
<file path=[Content_Types].xml><?xml version="1.0" encoding="utf-8"?>
<Types xmlns="http://schemas.openxmlformats.org/package/2006/content-types">
  <Default Extension="bin" ContentType="application/vnd.openxmlformats-officedocument.oleObject"/>
  <Default Extension="dat" ContentType="image/jpeg"/>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lsb" ContentType="application/vnd.ms-excel.sheet.binary.macroEnabled.12"/>
  <Default Extension="xml" ContentType="application/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drawings/drawing1.xml" ContentType="application/vnd.openxmlformats-officedocument.drawingml.chartshapes+xml"/>
  <Override PartName="/ppt/presentation.xml" ContentType="application/vnd.openxmlformats-officedocument.presentationml.presentation.main+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notesSlides/notesSlide2.xml" ContentType="application/vnd.openxmlformats-officedocument.presentationml.notesSlide+xml"/>
  <Override PartName="/ppt/notesSlides/notesSlide15.xml" ContentType="application/vnd.openxmlformats-officedocument.presentationml.notesSlide+xml"/>
  <Override PartName="/ppt/notesSlides/notesSlide14.xml" ContentType="application/vnd.openxmlformats-officedocument.presentationml.notesSlide+xml"/>
  <Override PartName="/ppt/notesSlides/notesSlide13.xml" ContentType="application/vnd.openxmlformats-officedocument.presentationml.notesSlide+xml"/>
  <Override PartName="/ppt/notesSlides/notesSlide12.xml" ContentType="application/vnd.openxmlformats-officedocument.presentationml.notesSlide+xml"/>
  <Override PartName="/ppt/notesSlides/notesSlide11.xml" ContentType="application/vnd.openxmlformats-officedocument.presentationml.notesSlide+xml"/>
  <Override PartName="/ppt/slideLayouts/slideLayout101.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notesSlides/notesSlide10.xml" ContentType="application/vnd.openxmlformats-officedocument.presentationml.notesSlide+xml"/>
  <Override PartName="/ppt/notesSlides/notesSlide9.xml" ContentType="application/vnd.openxmlformats-officedocument.presentationml.notesSlide+xml"/>
  <Override PartName="/ppt/notesSlides/notesSlide8.xml" ContentType="application/vnd.openxmlformats-officedocument.presentationml.notesSlide+xml"/>
  <Override PartName="/ppt/notesSlides/notesSlide7.xml" ContentType="application/vnd.openxmlformats-officedocument.presentationml.notesSlid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notesSlides/notesSlide6.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notesSlides/notesSlide24.xml" ContentType="application/vnd.openxmlformats-officedocument.presentationml.notesSlide+xml"/>
  <Override PartName="/ppt/notesSlides/notesSlide23.xml" ContentType="application/vnd.openxmlformats-officedocument.presentationml.notesSlide+xml"/>
  <Override PartName="/ppt/slideMasters/slideMaster6.xml" ContentType="application/vnd.openxmlformats-officedocument.presentationml.slideMaster+xml"/>
  <Override PartName="/ppt/notesSlides/notesSlide1.xml" ContentType="application/vnd.openxmlformats-officedocument.presentationml.notesSlide+xml"/>
  <Override PartName="/ppt/notesSlides/notesSlide22.xml" ContentType="application/vnd.openxmlformats-officedocument.presentationml.notesSlide+xml"/>
  <Override PartName="/ppt/notesSlides/notesSlide21.xml" ContentType="application/vnd.openxmlformats-officedocument.presentationml.notesSlide+xml"/>
  <Override PartName="/ppt/notesSlides/notesSlide20.xml" ContentType="application/vnd.openxmlformats-officedocument.presentationml.notesSlide+xml"/>
  <Override PartName="/ppt/notesSlides/notesSlide19.xml" ContentType="application/vnd.openxmlformats-officedocument.presentationml.notesSlide+xml"/>
  <Override PartName="/ppt/notesSlides/notesSlide18.xml" ContentType="application/vnd.openxmlformats-officedocument.presentationml.notesSlide+xml"/>
  <Override PartName="/ppt/notesSlides/notesSlide17.xml" ContentType="application/vnd.openxmlformats-officedocument.presentationml.notesSlide+xml"/>
  <Override PartName="/ppt/notesSlides/notesSlide16.xml" ContentType="application/vnd.openxmlformats-officedocument.presentationml.notesSlide+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notesMasters/notesMaster1.xml" ContentType="application/vnd.openxmlformats-officedocument.presentationml.notesMaster+xml"/>
  <Override PartName="/ppt/charts/chart19.xml" ContentType="application/vnd.openxmlformats-officedocument.drawingml.chart+xml"/>
  <Override PartName="/ppt/theme/theme1.xml" ContentType="application/vnd.openxmlformats-officedocument.theme+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theme/theme8.xml" ContentType="application/vnd.openxmlformats-officedocument.theme+xml"/>
  <Override PartName="/ppt/theme/theme2.xml" ContentType="application/vnd.openxmlformats-officedocument.theme+xml"/>
  <Override PartName="/ppt/theme/theme6.xml" ContentType="application/vnd.openxmlformats-officedocument.theme+xml"/>
  <Override PartName="/ppt/theme/theme3.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charts/chart1.xml" ContentType="application/vnd.openxmlformats-officedocument.drawingml.chart+xml"/>
  <Override PartName="/ppt/theme/theme7.xml" ContentType="application/vnd.openxmlformats-officedocument.them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heme/theme4.xml" ContentType="application/vnd.openxmlformats-officedocument.them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heme/theme5.xml" ContentType="application/vnd.openxmlformats-officedocument.them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015.xml" ContentType="application/vnd.openxmlformats-officedocument.presentationml.tags+xml"/>
  <Override PartName="/ppt/tags/tag1027.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014.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17.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013.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01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11.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010.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009.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008.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007.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006.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005.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004.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003.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002.xml" ContentType="application/vnd.openxmlformats-officedocument.presentationml.tags+xml"/>
  <Override PartName="/ppt/tags/tag101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001.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000.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999.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99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997.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996.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21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995.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994.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953.xml" ContentType="application/vnd.openxmlformats-officedocument.presentationml.tags+xml"/>
  <Override PartName="/ppt/tags/tag993.xml" ContentType="application/vnd.openxmlformats-officedocument.presentationml.tags+xml"/>
  <Override PartName="/ppt/tags/tag1190.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992.xml" ContentType="application/vnd.openxmlformats-officedocument.presentationml.tags+xml"/>
  <Override PartName="/ppt/tags/tag991.xml" ContentType="application/vnd.openxmlformats-officedocument.presentationml.tags+xml"/>
  <Override PartName="/ppt/tags/tag990.xml" ContentType="application/vnd.openxmlformats-officedocument.presentationml.tags+xml"/>
  <Override PartName="/ppt/tags/tag989.xml" ContentType="application/vnd.openxmlformats-officedocument.presentationml.tags+xml"/>
  <Override PartName="/ppt/tags/tag988.xml" ContentType="application/vnd.openxmlformats-officedocument.presentationml.tags+xml"/>
  <Override PartName="/ppt/tags/tag987.xml" ContentType="application/vnd.openxmlformats-officedocument.presentationml.tags+xml"/>
  <Override PartName="/ppt/tags/tag986.xml" ContentType="application/vnd.openxmlformats-officedocument.presentationml.tags+xml"/>
  <Override PartName="/ppt/tags/tag985.xml" ContentType="application/vnd.openxmlformats-officedocument.presentationml.tags+xml"/>
  <Override PartName="/ppt/tags/tag984.xml" ContentType="application/vnd.openxmlformats-officedocument.presentationml.tags+xml"/>
  <Override PartName="/ppt/tags/tag983.xml" ContentType="application/vnd.openxmlformats-officedocument.presentationml.tags+xml"/>
  <Override PartName="/ppt/tags/tag982.xml" ContentType="application/vnd.openxmlformats-officedocument.presentationml.tags+xml"/>
  <Override PartName="/ppt/tags/tag981.xml" ContentType="application/vnd.openxmlformats-officedocument.presentationml.tags+xml"/>
  <Override PartName="/ppt/tags/tag980.xml" ContentType="application/vnd.openxmlformats-officedocument.presentationml.tags+xml"/>
  <Override PartName="/ppt/tags/tag979.xml" ContentType="application/vnd.openxmlformats-officedocument.presentationml.tags+xml"/>
  <Override PartName="/ppt/tags/tag978.xml" ContentType="application/vnd.openxmlformats-officedocument.presentationml.tags+xml"/>
  <Override PartName="/ppt/tags/tag977.xml" ContentType="application/vnd.openxmlformats-officedocument.presentationml.tags+xml"/>
  <Override PartName="/ppt/tags/tag976.xml" ContentType="application/vnd.openxmlformats-officedocument.presentationml.tags+xml"/>
  <Override PartName="/ppt/tags/tag975.xml" ContentType="application/vnd.openxmlformats-officedocument.presentationml.tags+xml"/>
  <Override PartName="/ppt/tags/tag974.xml" ContentType="application/vnd.openxmlformats-officedocument.presentationml.tags+xml"/>
  <Override PartName="/ppt/tags/tag973.xml" ContentType="application/vnd.openxmlformats-officedocument.presentationml.tags+xml"/>
  <Override PartName="/ppt/tags/tag972.xml" ContentType="application/vnd.openxmlformats-officedocument.presentationml.tags+xml"/>
  <Override PartName="/ppt/tags/tag971.xml" ContentType="application/vnd.openxmlformats-officedocument.presentationml.tags+xml"/>
  <Override PartName="/ppt/tags/tag970.xml" ContentType="application/vnd.openxmlformats-officedocument.presentationml.tags+xml"/>
  <Override PartName="/ppt/tags/tag969.xml" ContentType="application/vnd.openxmlformats-officedocument.presentationml.tags+xml"/>
  <Override PartName="/ppt/tags/tag968.xml" ContentType="application/vnd.openxmlformats-officedocument.presentationml.tags+xml"/>
  <Override PartName="/ppt/tags/tag967.xml" ContentType="application/vnd.openxmlformats-officedocument.presentationml.tags+xml"/>
  <Override PartName="/ppt/tags/tag966.xml" ContentType="application/vnd.openxmlformats-officedocument.presentationml.tags+xml"/>
  <Override PartName="/ppt/tags/tag965.xml" ContentType="application/vnd.openxmlformats-officedocument.presentationml.tags+xml"/>
  <Override PartName="/ppt/tags/tag964.xml" ContentType="application/vnd.openxmlformats-officedocument.presentationml.tags+xml"/>
  <Override PartName="/ppt/tags/tag963.xml" ContentType="application/vnd.openxmlformats-officedocument.presentationml.tags+xml"/>
  <Override PartName="/ppt/tags/tag962.xml" ContentType="application/vnd.openxmlformats-officedocument.presentationml.tags+xml"/>
  <Override PartName="/ppt/tags/tag961.xml" ContentType="application/vnd.openxmlformats-officedocument.presentationml.tags+xml"/>
  <Override PartName="/ppt/tags/tag960.xml" ContentType="application/vnd.openxmlformats-officedocument.presentationml.tags+xml"/>
  <Override PartName="/ppt/tags/tag959.xml" ContentType="application/vnd.openxmlformats-officedocument.presentationml.tags+xml"/>
  <Override PartName="/ppt/tags/tag958.xml" ContentType="application/vnd.openxmlformats-officedocument.presentationml.tags+xml"/>
  <Override PartName="/ppt/tags/tag957.xml" ContentType="application/vnd.openxmlformats-officedocument.presentationml.tags+xml"/>
  <Override PartName="/ppt/tags/tag956.xml" ContentType="application/vnd.openxmlformats-officedocument.presentationml.tags+xml"/>
  <Override PartName="/ppt/tags/tag955.xml" ContentType="application/vnd.openxmlformats-officedocument.presentationml.tags+xml"/>
  <Override PartName="/ppt/tags/tag954.xml" ContentType="application/vnd.openxmlformats-officedocument.presentationml.tags+xml"/>
  <Override PartName="/ppt/tags/tag953.xml" ContentType="application/vnd.openxmlformats-officedocument.presentationml.tags+xml"/>
  <Override PartName="/ppt/tags/tag952.xml" ContentType="application/vnd.openxmlformats-officedocument.presentationml.tags+xml"/>
  <Override PartName="/ppt/tags/tag951.xml" ContentType="application/vnd.openxmlformats-officedocument.presentationml.tags+xml"/>
  <Override PartName="/ppt/tags/tag950.xml" ContentType="application/vnd.openxmlformats-officedocument.presentationml.tags+xml"/>
  <Override PartName="/ppt/tags/tag949.xml" ContentType="application/vnd.openxmlformats-officedocument.presentationml.tags+xml"/>
  <Override PartName="/ppt/tags/tag948.xml" ContentType="application/vnd.openxmlformats-officedocument.presentationml.tags+xml"/>
  <Override PartName="/ppt/tags/tag1191.xml" ContentType="application/vnd.openxmlformats-officedocument.presentationml.tags+xml"/>
  <Override PartName="/ppt/tags/tag947.xml" ContentType="application/vnd.openxmlformats-officedocument.presentationml.tags+xml"/>
  <Override PartName="/ppt/tags/tag946.xml" ContentType="application/vnd.openxmlformats-officedocument.presentationml.tags+xml"/>
  <Override PartName="/ppt/tags/tag945.xml" ContentType="application/vnd.openxmlformats-officedocument.presentationml.tags+xml"/>
  <Override PartName="/ppt/tags/tag944.xml" ContentType="application/vnd.openxmlformats-officedocument.presentationml.tags+xml"/>
  <Override PartName="/ppt/tags/tag943.xml" ContentType="application/vnd.openxmlformats-officedocument.presentationml.tags+xml"/>
  <Override PartName="/ppt/tags/tag942.xml" ContentType="application/vnd.openxmlformats-officedocument.presentationml.tags+xml"/>
  <Override PartName="/ppt/tags/tag941.xml" ContentType="application/vnd.openxmlformats-officedocument.presentationml.tags+xml"/>
  <Override PartName="/ppt/tags/tag940.xml" ContentType="application/vnd.openxmlformats-officedocument.presentationml.tags+xml"/>
  <Override PartName="/ppt/tags/tag939.xml" ContentType="application/vnd.openxmlformats-officedocument.presentationml.tags+xml"/>
  <Override PartName="/ppt/tags/tag938.xml" ContentType="application/vnd.openxmlformats-officedocument.presentationml.tags+xml"/>
  <Override PartName="/ppt/tags/tag937.xml" ContentType="application/vnd.openxmlformats-officedocument.presentationml.tags+xml"/>
  <Override PartName="/ppt/tags/tag936.xml" ContentType="application/vnd.openxmlformats-officedocument.presentationml.tags+xml"/>
  <Override PartName="/ppt/tags/tag935.xml" ContentType="application/vnd.openxmlformats-officedocument.presentationml.tags+xml"/>
  <Override PartName="/ppt/tags/tag934.xml" ContentType="application/vnd.openxmlformats-officedocument.presentationml.tags+xml"/>
  <Override PartName="/ppt/tags/tag933.xml" ContentType="application/vnd.openxmlformats-officedocument.presentationml.tags+xml"/>
  <Override PartName="/ppt/tags/tag932.xml" ContentType="application/vnd.openxmlformats-officedocument.presentationml.tags+xml"/>
  <Override PartName="/ppt/tags/tag931.xml" ContentType="application/vnd.openxmlformats-officedocument.presentationml.tags+xml"/>
  <Override PartName="/ppt/tags/tag930.xml" ContentType="application/vnd.openxmlformats-officedocument.presentationml.tags+xml"/>
  <Override PartName="/ppt/tags/tag929.xml" ContentType="application/vnd.openxmlformats-officedocument.presentationml.tags+xml"/>
  <Override PartName="/ppt/tags/tag928.xml" ContentType="application/vnd.openxmlformats-officedocument.presentationml.tags+xml"/>
  <Override PartName="/ppt/tags/tag927.xml" ContentType="application/vnd.openxmlformats-officedocument.presentationml.tags+xml"/>
  <Override PartName="/ppt/tags/tag926.xml" ContentType="application/vnd.openxmlformats-officedocument.presentationml.tags+xml"/>
  <Override PartName="/ppt/tags/tag925.xml" ContentType="application/vnd.openxmlformats-officedocument.presentationml.tags+xml"/>
  <Override PartName="/ppt/tags/tag924.xml" ContentType="application/vnd.openxmlformats-officedocument.presentationml.tags+xml"/>
  <Override PartName="/ppt/tags/tag923.xml" ContentType="application/vnd.openxmlformats-officedocument.presentationml.tags+xml"/>
  <Override PartName="/ppt/tags/tag922.xml" ContentType="application/vnd.openxmlformats-officedocument.presentationml.tags+xml"/>
  <Override PartName="/ppt/tags/tag921.xml" ContentType="application/vnd.openxmlformats-officedocument.presentationml.tags+xml"/>
  <Override PartName="/ppt/tags/tag920.xml" ContentType="application/vnd.openxmlformats-officedocument.presentationml.tags+xml"/>
  <Override PartName="/ppt/tags/tag919.xml" ContentType="application/vnd.openxmlformats-officedocument.presentationml.tags+xml"/>
  <Override PartName="/ppt/tags/tag918.xml" ContentType="application/vnd.openxmlformats-officedocument.presentationml.tags+xml"/>
  <Override PartName="/ppt/tags/tag917.xml" ContentType="application/vnd.openxmlformats-officedocument.presentationml.tags+xml"/>
  <Override PartName="/ppt/tags/tag916.xml" ContentType="application/vnd.openxmlformats-officedocument.presentationml.tags+xml"/>
  <Override PartName="/ppt/tags/tag915.xml" ContentType="application/vnd.openxmlformats-officedocument.presentationml.tags+xml"/>
  <Override PartName="/ppt/tags/tag914.xml" ContentType="application/vnd.openxmlformats-officedocument.presentationml.tags+xml"/>
  <Override PartName="/ppt/tags/tag913.xml" ContentType="application/vnd.openxmlformats-officedocument.presentationml.tags+xml"/>
  <Override PartName="/ppt/tags/tag912.xml" ContentType="application/vnd.openxmlformats-officedocument.presentationml.tags+xml"/>
  <Override PartName="/ppt/tags/tag911.xml" ContentType="application/vnd.openxmlformats-officedocument.presentationml.tags+xml"/>
  <Override PartName="/ppt/tags/tag910.xml" ContentType="application/vnd.openxmlformats-officedocument.presentationml.tags+xml"/>
  <Override PartName="/ppt/tags/tag909.xml" ContentType="application/vnd.openxmlformats-officedocument.presentationml.tags+xml"/>
  <Override PartName="/ppt/tags/tag908.xml" ContentType="application/vnd.openxmlformats-officedocument.presentationml.tags+xml"/>
  <Override PartName="/ppt/tags/tag907.xml" ContentType="application/vnd.openxmlformats-officedocument.presentationml.tags+xml"/>
  <Override PartName="/ppt/tags/tag906.xml" ContentType="application/vnd.openxmlformats-officedocument.presentationml.tags+xml"/>
  <Override PartName="/ppt/tags/tag905.xml" ContentType="application/vnd.openxmlformats-officedocument.presentationml.tags+xml"/>
  <Override PartName="/ppt/tags/tag904.xml" ContentType="application/vnd.openxmlformats-officedocument.presentationml.tags+xml"/>
  <Override PartName="/ppt/tags/tag903.xml" ContentType="application/vnd.openxmlformats-officedocument.presentationml.tags+xml"/>
  <Override PartName="/ppt/tags/tag902.xml" ContentType="application/vnd.openxmlformats-officedocument.presentationml.tags+xml"/>
  <Override PartName="/ppt/tags/tag901.xml" ContentType="application/vnd.openxmlformats-officedocument.presentationml.tags+xml"/>
  <Override PartName="/ppt/tags/tag900.xml" ContentType="application/vnd.openxmlformats-officedocument.presentationml.tags+xml"/>
  <Override PartName="/ppt/tags/tag899.xml" ContentType="application/vnd.openxmlformats-officedocument.presentationml.tags+xml"/>
  <Override PartName="/ppt/tags/tag898.xml" ContentType="application/vnd.openxmlformats-officedocument.presentationml.tags+xml"/>
  <Override PartName="/ppt/tags/tag897.xml" ContentType="application/vnd.openxmlformats-officedocument.presentationml.tags+xml"/>
  <Override PartName="/ppt/tags/tag896.xml" ContentType="application/vnd.openxmlformats-officedocument.presentationml.tags+xml"/>
  <Override PartName="/ppt/tags/tag895.xml" ContentType="application/vnd.openxmlformats-officedocument.presentationml.tags+xml"/>
  <Override PartName="/ppt/tags/tag894.xml" ContentType="application/vnd.openxmlformats-officedocument.presentationml.tags+xml"/>
  <Override PartName="/ppt/tags/tag893.xml" ContentType="application/vnd.openxmlformats-officedocument.presentationml.tags+xml"/>
  <Override PartName="/ppt/tags/tag892.xml" ContentType="application/vnd.openxmlformats-officedocument.presentationml.tags+xml"/>
  <Override PartName="/ppt/tags/tag891.xml" ContentType="application/vnd.openxmlformats-officedocument.presentationml.tags+xml"/>
  <Override PartName="/ppt/tags/tag890.xml" ContentType="application/vnd.openxmlformats-officedocument.presentationml.tags+xml"/>
  <Override PartName="/ppt/tags/tag889.xml" ContentType="application/vnd.openxmlformats-officedocument.presentationml.tags+xml"/>
  <Override PartName="/ppt/tags/tag888.xml" ContentType="application/vnd.openxmlformats-officedocument.presentationml.tags+xml"/>
  <Override PartName="/ppt/tags/tag887.xml" ContentType="application/vnd.openxmlformats-officedocument.presentationml.tags+xml"/>
  <Override PartName="/ppt/tags/tag886.xml" ContentType="application/vnd.openxmlformats-officedocument.presentationml.tags+xml"/>
  <Override PartName="/ppt/tags/tag885.xml" ContentType="application/vnd.openxmlformats-officedocument.presentationml.tags+xml"/>
  <Override PartName="/ppt/tags/tag884.xml" ContentType="application/vnd.openxmlformats-officedocument.presentationml.tags+xml"/>
  <Override PartName="/ppt/tags/tag883.xml" ContentType="application/vnd.openxmlformats-officedocument.presentationml.tags+xml"/>
  <Override PartName="/ppt/tags/tag882.xml" ContentType="application/vnd.openxmlformats-officedocument.presentationml.tags+xml"/>
  <Override PartName="/ppt/tags/tag881.xml" ContentType="application/vnd.openxmlformats-officedocument.presentationml.tags+xml"/>
  <Override PartName="/ppt/tags/tag880.xml" ContentType="application/vnd.openxmlformats-officedocument.presentationml.tags+xml"/>
  <Override PartName="/ppt/tags/tag879.xml" ContentType="application/vnd.openxmlformats-officedocument.presentationml.tags+xml"/>
  <Override PartName="/ppt/tags/tag878.xml" ContentType="application/vnd.openxmlformats-officedocument.presentationml.tags+xml"/>
  <Override PartName="/ppt/tags/tag877.xml" ContentType="application/vnd.openxmlformats-officedocument.presentationml.tags+xml"/>
  <Override PartName="/ppt/tags/tag876.xml" ContentType="application/vnd.openxmlformats-officedocument.presentationml.tags+xml"/>
  <Override PartName="/ppt/tags/tag875.xml" ContentType="application/vnd.openxmlformats-officedocument.presentationml.tags+xml"/>
  <Override PartName="/ppt/tags/tag874.xml" ContentType="application/vnd.openxmlformats-officedocument.presentationml.tags+xml"/>
  <Override PartName="/ppt/tags/tag873.xml" ContentType="application/vnd.openxmlformats-officedocument.presentationml.tags+xml"/>
  <Override PartName="/ppt/tags/tag872.xml" ContentType="application/vnd.openxmlformats-officedocument.presentationml.tags+xml"/>
  <Override PartName="/ppt/tags/tag871.xml" ContentType="application/vnd.openxmlformats-officedocument.presentationml.tags+xml"/>
  <Override PartName="/ppt/tags/tag870.xml" ContentType="application/vnd.openxmlformats-officedocument.presentationml.tags+xml"/>
  <Override PartName="/ppt/tags/tag869.xml" ContentType="application/vnd.openxmlformats-officedocument.presentationml.tags+xml"/>
  <Override PartName="/ppt/tags/tag868.xml" ContentType="application/vnd.openxmlformats-officedocument.presentationml.tags+xml"/>
  <Override PartName="/ppt/tags/tag867.xml" ContentType="application/vnd.openxmlformats-officedocument.presentationml.tags+xml"/>
  <Override PartName="/ppt/tags/tag866.xml" ContentType="application/vnd.openxmlformats-officedocument.presentationml.tags+xml"/>
  <Override PartName="/ppt/tags/tag865.xml" ContentType="application/vnd.openxmlformats-officedocument.presentationml.tags+xml"/>
  <Override PartName="/ppt/tags/tag864.xml" ContentType="application/vnd.openxmlformats-officedocument.presentationml.tags+xml"/>
  <Override PartName="/ppt/tags/tag863.xml" ContentType="application/vnd.openxmlformats-officedocument.presentationml.tags+xml"/>
  <Override PartName="/ppt/tags/tag862.xml" ContentType="application/vnd.openxmlformats-officedocument.presentationml.tags+xml"/>
  <Override PartName="/ppt/tags/tag861.xml" ContentType="application/vnd.openxmlformats-officedocument.presentationml.tags+xml"/>
  <Override PartName="/ppt/tags/tag860.xml" ContentType="application/vnd.openxmlformats-officedocument.presentationml.tags+xml"/>
  <Override PartName="/ppt/tags/tag859.xml" ContentType="application/vnd.openxmlformats-officedocument.presentationml.tags+xml"/>
  <Override PartName="/ppt/tags/tag858.xml" ContentType="application/vnd.openxmlformats-officedocument.presentationml.tags+xml"/>
  <Override PartName="/ppt/tags/tag857.xml" ContentType="application/vnd.openxmlformats-officedocument.presentationml.tags+xml"/>
  <Override PartName="/ppt/tags/tag856.xml" ContentType="application/vnd.openxmlformats-officedocument.presentationml.tags+xml"/>
  <Override PartName="/ppt/tags/tag855.xml" ContentType="application/vnd.openxmlformats-officedocument.presentationml.tags+xml"/>
  <Override PartName="/ppt/tags/tag854.xml" ContentType="application/vnd.openxmlformats-officedocument.presentationml.tags+xml"/>
  <Override PartName="/ppt/tags/tag853.xml" ContentType="application/vnd.openxmlformats-officedocument.presentationml.tags+xml"/>
  <Override PartName="/ppt/tags/tag852.xml" ContentType="application/vnd.openxmlformats-officedocument.presentationml.tags+xml"/>
  <Override PartName="/ppt/tags/tag851.xml" ContentType="application/vnd.openxmlformats-officedocument.presentationml.tags+xml"/>
  <Override PartName="/ppt/tags/tag850.xml" ContentType="application/vnd.openxmlformats-officedocument.presentationml.tags+xml"/>
  <Override PartName="/ppt/tags/tag849.xml" ContentType="application/vnd.openxmlformats-officedocument.presentationml.tags+xml"/>
  <Override PartName="/ppt/tags/tag848.xml" ContentType="application/vnd.openxmlformats-officedocument.presentationml.tags+xml"/>
  <Override PartName="/ppt/tags/tag847.xml" ContentType="application/vnd.openxmlformats-officedocument.presentationml.tags+xml"/>
  <Override PartName="/ppt/tags/tag846.xml" ContentType="application/vnd.openxmlformats-officedocument.presentationml.tags+xml"/>
  <Override PartName="/ppt/tags/tag845.xml" ContentType="application/vnd.openxmlformats-officedocument.presentationml.tags+xml"/>
  <Override PartName="/ppt/tags/tag844.xml" ContentType="application/vnd.openxmlformats-officedocument.presentationml.tags+xml"/>
  <Override PartName="/ppt/tags/tag843.xml" ContentType="application/vnd.openxmlformats-officedocument.presentationml.tags+xml"/>
  <Override PartName="/ppt/tags/tag842.xml" ContentType="application/vnd.openxmlformats-officedocument.presentationml.tags+xml"/>
  <Override PartName="/ppt/tags/tag841.xml" ContentType="application/vnd.openxmlformats-officedocument.presentationml.tags+xml"/>
  <Override PartName="/ppt/tags/tag840.xml" ContentType="application/vnd.openxmlformats-officedocument.presentationml.tags+xml"/>
  <Override PartName="/ppt/tags/tag839.xml" ContentType="application/vnd.openxmlformats-officedocument.presentationml.tags+xml"/>
  <Override PartName="/ppt/tags/tag838.xml" ContentType="application/vnd.openxmlformats-officedocument.presentationml.tags+xml"/>
  <Override PartName="/ppt/tags/tag837.xml" ContentType="application/vnd.openxmlformats-officedocument.presentationml.tags+xml"/>
  <Override PartName="/ppt/tags/tag836.xml" ContentType="application/vnd.openxmlformats-officedocument.presentationml.tags+xml"/>
  <Override PartName="/ppt/tags/tag835.xml" ContentType="application/vnd.openxmlformats-officedocument.presentationml.tags+xml"/>
  <Override PartName="/ppt/tags/tag834.xml" ContentType="application/vnd.openxmlformats-officedocument.presentationml.tags+xml"/>
  <Override PartName="/ppt/tags/tag833.xml" ContentType="application/vnd.openxmlformats-officedocument.presentationml.tags+xml"/>
  <Override PartName="/ppt/tags/tag832.xml" ContentType="application/vnd.openxmlformats-officedocument.presentationml.tags+xml"/>
  <Override PartName="/ppt/tags/tag831.xml" ContentType="application/vnd.openxmlformats-officedocument.presentationml.tags+xml"/>
  <Override PartName="/ppt/tags/tag830.xml" ContentType="application/vnd.openxmlformats-officedocument.presentationml.tags+xml"/>
  <Override PartName="/ppt/tags/tag829.xml" ContentType="application/vnd.openxmlformats-officedocument.presentationml.tags+xml"/>
  <Override PartName="/ppt/tags/tag828.xml" ContentType="application/vnd.openxmlformats-officedocument.presentationml.tags+xml"/>
  <Override PartName="/ppt/tags/tag827.xml" ContentType="application/vnd.openxmlformats-officedocument.presentationml.tags+xml"/>
  <Override PartName="/ppt/tags/tag826.xml" ContentType="application/vnd.openxmlformats-officedocument.presentationml.tags+xml"/>
  <Override PartName="/ppt/tags/tag825.xml" ContentType="application/vnd.openxmlformats-officedocument.presentationml.tags+xml"/>
  <Override PartName="/ppt/tags/tag824.xml" ContentType="application/vnd.openxmlformats-officedocument.presentationml.tags+xml"/>
  <Override PartName="/ppt/tags/tag823.xml" ContentType="application/vnd.openxmlformats-officedocument.presentationml.tags+xml"/>
  <Override PartName="/ppt/tags/tag822.xml" ContentType="application/vnd.openxmlformats-officedocument.presentationml.tags+xml"/>
  <Override PartName="/ppt/tags/tag821.xml" ContentType="application/vnd.openxmlformats-officedocument.presentationml.tags+xml"/>
  <Override PartName="/ppt/tags/tag820.xml" ContentType="application/vnd.openxmlformats-officedocument.presentationml.tags+xml"/>
  <Override PartName="/ppt/tags/tag819.xml" ContentType="application/vnd.openxmlformats-officedocument.presentationml.tags+xml"/>
  <Override PartName="/ppt/tags/tag818.xml" ContentType="application/vnd.openxmlformats-officedocument.presentationml.tags+xml"/>
  <Override PartName="/ppt/tags/tag817.xml" ContentType="application/vnd.openxmlformats-officedocument.presentationml.tags+xml"/>
  <Override PartName="/ppt/tags/tag816.xml" ContentType="application/vnd.openxmlformats-officedocument.presentationml.tags+xml"/>
  <Override PartName="/ppt/tags/tag815.xml" ContentType="application/vnd.openxmlformats-officedocument.presentationml.tags+xml"/>
  <Override PartName="/ppt/tags/tag814.xml" ContentType="application/vnd.openxmlformats-officedocument.presentationml.tags+xml"/>
  <Override PartName="/ppt/tags/tag813.xml" ContentType="application/vnd.openxmlformats-officedocument.presentationml.tags+xml"/>
  <Override PartName="/ppt/tags/tag812.xml" ContentType="application/vnd.openxmlformats-officedocument.presentationml.tags+xml"/>
  <Override PartName="/ppt/tags/tag811.xml" ContentType="application/vnd.openxmlformats-officedocument.presentationml.tags+xml"/>
  <Override PartName="/ppt/tags/tag810.xml" ContentType="application/vnd.openxmlformats-officedocument.presentationml.tags+xml"/>
  <Override PartName="/ppt/tags/tag809.xml" ContentType="application/vnd.openxmlformats-officedocument.presentationml.tags+xml"/>
  <Override PartName="/ppt/tags/tag808.xml" ContentType="application/vnd.openxmlformats-officedocument.presentationml.tags+xml"/>
  <Override PartName="/ppt/tags/tag807.xml" ContentType="application/vnd.openxmlformats-officedocument.presentationml.tags+xml"/>
  <Override PartName="/ppt/tags/tag806.xml" ContentType="application/vnd.openxmlformats-officedocument.presentationml.tags+xml"/>
  <Override PartName="/ppt/tags/tag805.xml" ContentType="application/vnd.openxmlformats-officedocument.presentationml.tags+xml"/>
  <Override PartName="/ppt/tags/tag804.xml" ContentType="application/vnd.openxmlformats-officedocument.presentationml.tags+xml"/>
  <Override PartName="/ppt/tags/tag803.xml" ContentType="application/vnd.openxmlformats-officedocument.presentationml.tags+xml"/>
  <Override PartName="/ppt/tags/tag802.xml" ContentType="application/vnd.openxmlformats-officedocument.presentationml.tags+xml"/>
  <Override PartName="/ppt/tags/tag801.xml" ContentType="application/vnd.openxmlformats-officedocument.presentationml.tags+xml"/>
  <Override PartName="/ppt/tags/tag800.xml" ContentType="application/vnd.openxmlformats-officedocument.presentationml.tags+xml"/>
  <Override PartName="/ppt/tags/tag799.xml" ContentType="application/vnd.openxmlformats-officedocument.presentationml.tags+xml"/>
  <Override PartName="/ppt/tags/tag798.xml" ContentType="application/vnd.openxmlformats-officedocument.presentationml.tags+xml"/>
  <Override PartName="/ppt/tags/tag797.xml" ContentType="application/vnd.openxmlformats-officedocument.presentationml.tags+xml"/>
  <Override PartName="/ppt/tags/tag796.xml" ContentType="application/vnd.openxmlformats-officedocument.presentationml.tags+xml"/>
  <Override PartName="/ppt/tags/tag795.xml" ContentType="application/vnd.openxmlformats-officedocument.presentationml.tags+xml"/>
  <Override PartName="/ppt/tags/tag794.xml" ContentType="application/vnd.openxmlformats-officedocument.presentationml.tags+xml"/>
  <Override PartName="/ppt/tags/tag793.xml" ContentType="application/vnd.openxmlformats-officedocument.presentationml.tags+xml"/>
  <Override PartName="/ppt/tags/tag792.xml" ContentType="application/vnd.openxmlformats-officedocument.presentationml.tags+xml"/>
  <Override PartName="/ppt/tags/tag791.xml" ContentType="application/vnd.openxmlformats-officedocument.presentationml.tags+xml"/>
  <Override PartName="/ppt/tags/tag790.xml" ContentType="application/vnd.openxmlformats-officedocument.presentationml.tags+xml"/>
  <Override PartName="/ppt/tags/tag1192.xml" ContentType="application/vnd.openxmlformats-officedocument.presentationml.tags+xml"/>
  <Override PartName="/ppt/tags/tag789.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788.xml" ContentType="application/vnd.openxmlformats-officedocument.presentationml.tags+xml"/>
  <Override PartName="/ppt/tags/tag1201.xml" ContentType="application/vnd.openxmlformats-officedocument.presentationml.tags+xml"/>
  <Override PartName="/ppt/tags/tag787.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786.xml" ContentType="application/vnd.openxmlformats-officedocument.presentationml.tags+xml"/>
  <Override PartName="/ppt/tags/tag785.xml" ContentType="application/vnd.openxmlformats-officedocument.presentationml.tags+xml"/>
  <Override PartName="/ppt/tags/tag1204.xml" ContentType="application/vnd.openxmlformats-officedocument.presentationml.tags+xml"/>
  <Override PartName="/ppt/tags/tag784.xml" ContentType="application/vnd.openxmlformats-officedocument.presentationml.tags+xml"/>
  <Override PartName="/ppt/tags/tag1205.xml" ContentType="application/vnd.openxmlformats-officedocument.presentationml.tags+xml"/>
  <Override PartName="/ppt/tags/tag783.xml" ContentType="application/vnd.openxmlformats-officedocument.presentationml.tags+xml"/>
  <Override PartName="/ppt/tags/tag782.xml" ContentType="application/vnd.openxmlformats-officedocument.presentationml.tags+xml"/>
  <Override PartName="/ppt/tags/tag1206.xml" ContentType="application/vnd.openxmlformats-officedocument.presentationml.tags+xml"/>
  <Override PartName="/ppt/tags/tag781.xml" ContentType="application/vnd.openxmlformats-officedocument.presentationml.tags+xml"/>
  <Override PartName="/ppt/tags/tag1207.xml" ContentType="application/vnd.openxmlformats-officedocument.presentationml.tags+xml"/>
  <Override PartName="/ppt/tags/tag780.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779.xml" ContentType="application/vnd.openxmlformats-officedocument.presentationml.tags+xml"/>
  <Override PartName="/ppt/tags/tag778.xml" ContentType="application/vnd.openxmlformats-officedocument.presentationml.tags+xml"/>
  <Override PartName="/ppt/tags/tag1210.xml" ContentType="application/vnd.openxmlformats-officedocument.presentationml.tags+xml"/>
  <Override PartName="/ppt/tags/tag777.xml" ContentType="application/vnd.openxmlformats-officedocument.presentationml.tags+xml"/>
  <Override PartName="/ppt/tags/tag1211.xml" ContentType="application/vnd.openxmlformats-officedocument.presentationml.tags+xml"/>
  <Override PartName="/ppt/tags/tag776.xml" ContentType="application/vnd.openxmlformats-officedocument.presentationml.tags+xml"/>
  <Override PartName="/ppt/tags/tag1212.xml" ContentType="application/vnd.openxmlformats-officedocument.presentationml.tags+xml"/>
  <Override PartName="/ppt/tags/tag775.xml" ContentType="application/vnd.openxmlformats-officedocument.presentationml.tags+xml"/>
  <Override PartName="/ppt/tags/tag1213.xml" ContentType="application/vnd.openxmlformats-officedocument.presentationml.tags+xml"/>
  <Override PartName="/ppt/tags/tag774.xml" ContentType="application/vnd.openxmlformats-officedocument.presentationml.tags+xml"/>
  <Override PartName="/ppt/tags/tag773.xml" ContentType="application/vnd.openxmlformats-officedocument.presentationml.tags+xml"/>
  <Override PartName="/ppt/tags/tag772.xml" ContentType="application/vnd.openxmlformats-officedocument.presentationml.tags+xml"/>
  <Override PartName="/ppt/tags/tag771.xml" ContentType="application/vnd.openxmlformats-officedocument.presentationml.tags+xml"/>
  <Override PartName="/ppt/tags/tag770.xml" ContentType="application/vnd.openxmlformats-officedocument.presentationml.tags+xml"/>
  <Override PartName="/ppt/tags/tag769.xml" ContentType="application/vnd.openxmlformats-officedocument.presentationml.tags+xml"/>
  <Override PartName="/ppt/tags/tag768.xml" ContentType="application/vnd.openxmlformats-officedocument.presentationml.tags+xml"/>
  <Override PartName="/ppt/tags/tag1642.xml" ContentType="application/vnd.openxmlformats-officedocument.presentationml.tag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695" r:id="rId5"/>
    <p:sldMasterId id="2147483723" r:id="rId6"/>
    <p:sldMasterId id="2147483742" r:id="rId7"/>
    <p:sldMasterId id="2147483758" r:id="rId8"/>
    <p:sldMasterId id="2147483775" r:id="rId9"/>
    <p:sldMasterId id="2147483805" r:id="rId10"/>
    <p:sldMasterId id="2147483822" r:id="rId11"/>
    <p:sldMasterId id="2147483846" r:id="rId12"/>
    <p:sldMasterId id="2147483861" r:id="rId13"/>
    <p:sldMasterId id="2147483874" r:id="rId14"/>
  </p:sldMasterIdLst>
  <p:notesMasterIdLst>
    <p:notesMasterId r:id="rId47"/>
  </p:notesMasterIdLst>
  <p:sldIdLst>
    <p:sldId id="2147479408" r:id="rId15"/>
    <p:sldId id="2147479591" r:id="rId16"/>
    <p:sldId id="2147479477" r:id="rId17"/>
    <p:sldId id="2147479458" r:id="rId18"/>
    <p:sldId id="2147479320" r:id="rId19"/>
    <p:sldId id="2147479459" r:id="rId20"/>
    <p:sldId id="2147479860" r:id="rId21"/>
    <p:sldId id="2147479859" r:id="rId22"/>
    <p:sldId id="2147479456" r:id="rId23"/>
    <p:sldId id="2147479447" r:id="rId24"/>
    <p:sldId id="2147479279" r:id="rId25"/>
    <p:sldId id="2147479862" r:id="rId26"/>
    <p:sldId id="2147479853" r:id="rId27"/>
    <p:sldId id="2147479495" r:id="rId28"/>
    <p:sldId id="2147479584" r:id="rId29"/>
    <p:sldId id="2147479585" r:id="rId30"/>
    <p:sldId id="2147479586" r:id="rId31"/>
    <p:sldId id="2147479474" r:id="rId32"/>
    <p:sldId id="2147479588" r:id="rId33"/>
    <p:sldId id="2147479509" r:id="rId34"/>
    <p:sldId id="2147481258" r:id="rId35"/>
    <p:sldId id="2147481259" r:id="rId36"/>
    <p:sldId id="2147481269" r:id="rId37"/>
    <p:sldId id="2147481271" r:id="rId38"/>
    <p:sldId id="2147481274" r:id="rId39"/>
    <p:sldId id="2147479187" r:id="rId40"/>
    <p:sldId id="2147481281" r:id="rId41"/>
    <p:sldId id="2147483126" r:id="rId42"/>
    <p:sldId id="2147479347" r:id="rId43"/>
    <p:sldId id="2147479448" r:id="rId44"/>
    <p:sldId id="2147479449" r:id="rId45"/>
    <p:sldId id="2147479410" r:id="rId46"/>
  </p:sldIdLst>
  <p:sldSz cx="12192000" cy="6858000"/>
  <p:notesSz cx="9872663" cy="6742113"/>
  <p:custDataLst>
    <p:tags r:id="rId48"/>
  </p:custDataLst>
  <p:defaultTextStyle>
    <a:defPPr>
      <a:defRPr lang="de-AT"/>
    </a:defPPr>
    <a:lvl1pPr algn="l" rtl="0" fontAlgn="base">
      <a:spcBef>
        <a:spcPct val="0"/>
      </a:spcBef>
      <a:spcAft>
        <a:spcPct val="0"/>
      </a:spcAft>
      <a:defRPr kern="1200">
        <a:solidFill>
          <a:schemeClr val="tx1"/>
        </a:solidFill>
        <a:latin typeface="Verdana" pitchFamily="34" charset="0"/>
        <a:ea typeface="+mn-ea"/>
        <a:cs typeface="+mn-cs"/>
      </a:defRPr>
    </a:lvl1pPr>
    <a:lvl2pPr marL="457200" algn="l" rtl="0" fontAlgn="base">
      <a:spcBef>
        <a:spcPct val="0"/>
      </a:spcBef>
      <a:spcAft>
        <a:spcPct val="0"/>
      </a:spcAft>
      <a:defRPr kern="1200">
        <a:solidFill>
          <a:schemeClr val="tx1"/>
        </a:solidFill>
        <a:latin typeface="Verdana" pitchFamily="34" charset="0"/>
        <a:ea typeface="+mn-ea"/>
        <a:cs typeface="+mn-cs"/>
      </a:defRPr>
    </a:lvl2pPr>
    <a:lvl3pPr marL="914400" algn="l" rtl="0" fontAlgn="base">
      <a:spcBef>
        <a:spcPct val="0"/>
      </a:spcBef>
      <a:spcAft>
        <a:spcPct val="0"/>
      </a:spcAft>
      <a:defRPr kern="1200">
        <a:solidFill>
          <a:schemeClr val="tx1"/>
        </a:solidFill>
        <a:latin typeface="Verdana" pitchFamily="34" charset="0"/>
        <a:ea typeface="+mn-ea"/>
        <a:cs typeface="+mn-cs"/>
      </a:defRPr>
    </a:lvl3pPr>
    <a:lvl4pPr marL="1371600" algn="l" rtl="0" fontAlgn="base">
      <a:spcBef>
        <a:spcPct val="0"/>
      </a:spcBef>
      <a:spcAft>
        <a:spcPct val="0"/>
      </a:spcAft>
      <a:defRPr kern="1200">
        <a:solidFill>
          <a:schemeClr val="tx1"/>
        </a:solidFill>
        <a:latin typeface="Verdana" pitchFamily="34" charset="0"/>
        <a:ea typeface="+mn-ea"/>
        <a:cs typeface="+mn-cs"/>
      </a:defRPr>
    </a:lvl4pPr>
    <a:lvl5pPr marL="1828800" algn="l" rtl="0" fontAlgn="base">
      <a:spcBef>
        <a:spcPct val="0"/>
      </a:spcBef>
      <a:spcAft>
        <a:spcPct val="0"/>
      </a:spcAft>
      <a:defRPr kern="1200">
        <a:solidFill>
          <a:schemeClr val="tx1"/>
        </a:solidFill>
        <a:latin typeface="Verdana" pitchFamily="34" charset="0"/>
        <a:ea typeface="+mn-ea"/>
        <a:cs typeface="+mn-cs"/>
      </a:defRPr>
    </a:lvl5pPr>
    <a:lvl6pPr marL="2286000" algn="l" defTabSz="914400" rtl="0" eaLnBrk="1" latinLnBrk="0" hangingPunct="1">
      <a:defRPr kern="1200">
        <a:solidFill>
          <a:schemeClr val="tx1"/>
        </a:solidFill>
        <a:latin typeface="Verdana" pitchFamily="34" charset="0"/>
        <a:ea typeface="+mn-ea"/>
        <a:cs typeface="+mn-cs"/>
      </a:defRPr>
    </a:lvl6pPr>
    <a:lvl7pPr marL="2743200" algn="l" defTabSz="914400" rtl="0" eaLnBrk="1" latinLnBrk="0" hangingPunct="1">
      <a:defRPr kern="1200">
        <a:solidFill>
          <a:schemeClr val="tx1"/>
        </a:solidFill>
        <a:latin typeface="Verdana" pitchFamily="34" charset="0"/>
        <a:ea typeface="+mn-ea"/>
        <a:cs typeface="+mn-cs"/>
      </a:defRPr>
    </a:lvl7pPr>
    <a:lvl8pPr marL="3200400" algn="l" defTabSz="914400" rtl="0" eaLnBrk="1" latinLnBrk="0" hangingPunct="1">
      <a:defRPr kern="1200">
        <a:solidFill>
          <a:schemeClr val="tx1"/>
        </a:solidFill>
        <a:latin typeface="Verdana" pitchFamily="34" charset="0"/>
        <a:ea typeface="+mn-ea"/>
        <a:cs typeface="+mn-cs"/>
      </a:defRPr>
    </a:lvl8pPr>
    <a:lvl9pPr marL="3657600" algn="l" defTabSz="914400" rtl="0" eaLnBrk="1" latinLnBrk="0" hangingPunct="1">
      <a:defRPr kern="1200">
        <a:solidFill>
          <a:schemeClr val="tx1"/>
        </a:solidFill>
        <a:latin typeface="Verdana" pitchFamily="34" charset="0"/>
        <a:ea typeface="+mn-ea"/>
        <a:cs typeface="+mn-cs"/>
      </a:defRPr>
    </a:lvl9pPr>
  </p:defaultTextStyle>
  <p:extLst>
    <p:ext uri="{521415D9-36F7-43E2-AB2F-B90AF26B5E84}">
      <p14:sectionLst xmlns:p14="http://schemas.microsoft.com/office/powerpoint/2010/main">
        <p14:section name="Default Section" id="{3F8498E9-451B-42E1-88DF-403E244F4916}">
          <p14:sldIdLst>
            <p14:sldId id="2147479408"/>
            <p14:sldId id="2147479591"/>
            <p14:sldId id="2147479477"/>
            <p14:sldId id="2147479458"/>
            <p14:sldId id="2147479320"/>
            <p14:sldId id="2147479459"/>
            <p14:sldId id="2147479860"/>
            <p14:sldId id="2147479859"/>
            <p14:sldId id="2147479456"/>
            <p14:sldId id="2147479447"/>
            <p14:sldId id="2147479279"/>
            <p14:sldId id="2147479862"/>
            <p14:sldId id="2147479853"/>
            <p14:sldId id="2147479495"/>
            <p14:sldId id="2147479584"/>
            <p14:sldId id="2147479585"/>
            <p14:sldId id="2147479586"/>
            <p14:sldId id="2147479474"/>
            <p14:sldId id="2147479588"/>
            <p14:sldId id="2147479509"/>
            <p14:sldId id="2147481258"/>
            <p14:sldId id="2147481259"/>
            <p14:sldId id="2147481269"/>
            <p14:sldId id="2147481271"/>
            <p14:sldId id="2147481274"/>
            <p14:sldId id="2147479187"/>
            <p14:sldId id="2147481281"/>
            <p14:sldId id="2147483126"/>
            <p14:sldId id="2147479347"/>
            <p14:sldId id="2147479448"/>
            <p14:sldId id="2147479449"/>
            <p14:sldId id="2147479410"/>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124" userDrawn="1">
          <p15:clr>
            <a:srgbClr val="A4A3A4"/>
          </p15:clr>
        </p15:guide>
        <p15:guide id="2" pos="311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FA1"/>
    <a:srgbClr val="5CC8A8"/>
    <a:srgbClr val="FF8A2B"/>
    <a:srgbClr val="BADDFE"/>
    <a:srgbClr val="8C5AC8"/>
    <a:srgbClr val="919191"/>
    <a:srgbClr val="71D2F1"/>
    <a:srgbClr val="FFC000"/>
    <a:srgbClr val="E6A0C8"/>
    <a:srgbClr val="4D4D4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4607E0F-B38E-40C5-8638-B83F21508155}" v="1" dt="2024-05-27T07:59:11.07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53" autoAdjust="0"/>
    <p:restoredTop sz="95226" autoAdjust="0"/>
  </p:normalViewPr>
  <p:slideViewPr>
    <p:cSldViewPr snapToGrid="0">
      <p:cViewPr varScale="1">
        <p:scale>
          <a:sx n="114" d="100"/>
          <a:sy n="114" d="100"/>
        </p:scale>
        <p:origin x="396" y="84"/>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66" d="100"/>
          <a:sy n="66" d="100"/>
        </p:scale>
        <p:origin x="0" y="0"/>
      </p:cViewPr>
      <p:guideLst>
        <p:guide orient="horz" pos="2124"/>
        <p:guide pos="311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microsoft.com/office/2015/10/relationships/revisionInfo" Target="revisionInfo.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tags" Target="tags/tag1.xml"/><Relationship Id="rId8" Type="http://schemas.openxmlformats.org/officeDocument/2006/relationships/slideMaster" Target="slideMasters/slideMaster5.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customXml" Target="../customXml/item4.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665711556829036E-2"/>
          <c:y val="1.9600452318130419E-2"/>
          <c:w val="0.90066857688634194"/>
          <c:h val="0.9607990953637392"/>
        </c:manualLayout>
      </c:layout>
      <c:barChart>
        <c:barDir val="col"/>
        <c:grouping val="stacked"/>
        <c:varyColors val="0"/>
        <c:ser>
          <c:idx val="0"/>
          <c:order val="0"/>
          <c:spPr>
            <a:solidFill>
              <a:srgbClr val="D0D0D0"/>
            </a:solidFill>
            <a:ln w="9525" algn="ctr">
              <a:solidFill>
                <a:schemeClr val="bg1"/>
              </a:solidFill>
              <a:prstDash val="solid"/>
            </a:ln>
          </c:spPr>
          <c:invertIfNegative val="0"/>
          <c:val>
            <c:numRef>
              <c:f>Sheet1!$A$1</c:f>
              <c:numCache>
                <c:formatCode>General</c:formatCode>
                <c:ptCount val="1"/>
                <c:pt idx="0">
                  <c:v>45.257173690375339</c:v>
                </c:pt>
              </c:numCache>
            </c:numRef>
          </c:val>
          <c:extLst>
            <c:ext xmlns:c16="http://schemas.microsoft.com/office/drawing/2014/chart" uri="{C3380CC4-5D6E-409C-BE32-E72D297353CC}">
              <c16:uniqueId val="{00000000-A6CA-4207-8DA7-AA41962E5B99}"/>
            </c:ext>
          </c:extLst>
        </c:ser>
        <c:ser>
          <c:idx val="1"/>
          <c:order val="1"/>
          <c:spPr>
            <a:solidFill>
              <a:srgbClr val="D0D0D0"/>
            </a:solidFill>
            <a:ln w="9525" algn="ctr">
              <a:solidFill>
                <a:schemeClr val="bg1"/>
              </a:solidFill>
              <a:prstDash val="solid"/>
            </a:ln>
          </c:spPr>
          <c:invertIfNegative val="0"/>
          <c:val>
            <c:numRef>
              <c:f>Sheet1!$A$2</c:f>
              <c:numCache>
                <c:formatCode>General</c:formatCode>
                <c:ptCount val="1"/>
                <c:pt idx="0">
                  <c:v>73.680131838238225</c:v>
                </c:pt>
              </c:numCache>
            </c:numRef>
          </c:val>
          <c:extLst>
            <c:ext xmlns:c16="http://schemas.microsoft.com/office/drawing/2014/chart" uri="{C3380CC4-5D6E-409C-BE32-E72D297353CC}">
              <c16:uniqueId val="{00000001-A6CA-4207-8DA7-AA41962E5B99}"/>
            </c:ext>
          </c:extLst>
        </c:ser>
        <c:ser>
          <c:idx val="2"/>
          <c:order val="2"/>
          <c:spPr>
            <a:solidFill>
              <a:srgbClr val="D0D0D0"/>
            </a:solidFill>
            <a:ln w="9525" algn="ctr">
              <a:solidFill>
                <a:schemeClr val="bg1"/>
              </a:solidFill>
              <a:prstDash val="solid"/>
            </a:ln>
          </c:spPr>
          <c:invertIfNegative val="0"/>
          <c:val>
            <c:numRef>
              <c:f>Sheet1!$A$3</c:f>
              <c:numCache>
                <c:formatCode>General</c:formatCode>
                <c:ptCount val="1"/>
                <c:pt idx="0">
                  <c:v>34.705356498158011</c:v>
                </c:pt>
              </c:numCache>
            </c:numRef>
          </c:val>
          <c:extLst>
            <c:ext xmlns:c16="http://schemas.microsoft.com/office/drawing/2014/chart" uri="{C3380CC4-5D6E-409C-BE32-E72D297353CC}">
              <c16:uniqueId val="{00000002-A6CA-4207-8DA7-AA41962E5B99}"/>
            </c:ext>
          </c:extLst>
        </c:ser>
        <c:ser>
          <c:idx val="3"/>
          <c:order val="3"/>
          <c:spPr>
            <a:solidFill>
              <a:srgbClr val="D0D0D0"/>
            </a:solidFill>
            <a:ln w="9525" algn="ctr">
              <a:solidFill>
                <a:schemeClr val="bg1"/>
              </a:solidFill>
              <a:prstDash val="solid"/>
            </a:ln>
          </c:spPr>
          <c:invertIfNegative val="0"/>
          <c:val>
            <c:numRef>
              <c:f>Sheet1!$A$4</c:f>
              <c:numCache>
                <c:formatCode>General</c:formatCode>
                <c:ptCount val="1"/>
                <c:pt idx="0">
                  <c:v>11.03683843343174</c:v>
                </c:pt>
              </c:numCache>
            </c:numRef>
          </c:val>
          <c:extLst>
            <c:ext xmlns:c16="http://schemas.microsoft.com/office/drawing/2014/chart" uri="{C3380CC4-5D6E-409C-BE32-E72D297353CC}">
              <c16:uniqueId val="{00000003-A6CA-4207-8DA7-AA41962E5B99}"/>
            </c:ext>
          </c:extLst>
        </c:ser>
        <c:ser>
          <c:idx val="4"/>
          <c:order val="4"/>
          <c:spPr>
            <a:solidFill>
              <a:schemeClr val="accent1"/>
            </a:solidFill>
            <a:ln w="9525" algn="ctr">
              <a:solidFill>
                <a:schemeClr val="bg1"/>
              </a:solidFill>
              <a:prstDash val="solid"/>
            </a:ln>
          </c:spPr>
          <c:invertIfNegative val="0"/>
          <c:val>
            <c:numRef>
              <c:f>Sheet1!$A$5</c:f>
              <c:numCache>
                <c:formatCode>General</c:formatCode>
                <c:ptCount val="1"/>
                <c:pt idx="0">
                  <c:v>131.57415178121693</c:v>
                </c:pt>
              </c:numCache>
            </c:numRef>
          </c:val>
          <c:extLst>
            <c:ext xmlns:c16="http://schemas.microsoft.com/office/drawing/2014/chart" uri="{C3380CC4-5D6E-409C-BE32-E72D297353CC}">
              <c16:uniqueId val="{00000004-A6CA-4207-8DA7-AA41962E5B99}"/>
            </c:ext>
          </c:extLst>
        </c:ser>
        <c:ser>
          <c:idx val="5"/>
          <c:order val="5"/>
          <c:spPr>
            <a:solidFill>
              <a:schemeClr val="accent1"/>
            </a:solidFill>
            <a:ln w="9525" algn="ctr">
              <a:solidFill>
                <a:schemeClr val="bg1"/>
              </a:solidFill>
              <a:prstDash val="solid"/>
            </a:ln>
          </c:spPr>
          <c:invertIfNegative val="0"/>
          <c:val>
            <c:numRef>
              <c:f>Sheet1!$A$6</c:f>
              <c:numCache>
                <c:formatCode>General</c:formatCode>
                <c:ptCount val="1"/>
                <c:pt idx="0">
                  <c:v>80.127851832307556</c:v>
                </c:pt>
              </c:numCache>
            </c:numRef>
          </c:val>
          <c:extLst>
            <c:ext xmlns:c16="http://schemas.microsoft.com/office/drawing/2014/chart" uri="{C3380CC4-5D6E-409C-BE32-E72D297353CC}">
              <c16:uniqueId val="{00000005-A6CA-4207-8DA7-AA41962E5B99}"/>
            </c:ext>
          </c:extLst>
        </c:ser>
        <c:dLbls>
          <c:showLegendKey val="0"/>
          <c:showVal val="0"/>
          <c:showCatName val="0"/>
          <c:showSerName val="0"/>
          <c:showPercent val="0"/>
          <c:showBubbleSize val="0"/>
        </c:dLbls>
        <c:gapWidth val="40"/>
        <c:overlap val="100"/>
        <c:axId val="2099556575"/>
        <c:axId val="1"/>
      </c:barChart>
      <c:catAx>
        <c:axId val="209955657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76.3815040737278"/>
          <c:min val="0"/>
        </c:scaling>
        <c:delete val="1"/>
        <c:axPos val="l"/>
        <c:numFmt formatCode="General" sourceLinked="1"/>
        <c:majorTickMark val="out"/>
        <c:minorTickMark val="none"/>
        <c:tickLblPos val="nextTo"/>
        <c:crossAx val="2099556575"/>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26064420584968E-3"/>
          <c:y val="1.9824628288219594E-2"/>
          <c:w val="0.95279526101443912"/>
          <c:h val="0.96035074342356086"/>
        </c:manualLayout>
      </c:layout>
      <c:scatterChart>
        <c:scatterStyle val="lineMarker"/>
        <c:varyColors val="0"/>
        <c:ser>
          <c:idx val="0"/>
          <c:order val="0"/>
          <c:spPr>
            <a:ln w="38100" algn="ctr">
              <a:solidFill>
                <a:schemeClr val="accent2"/>
              </a:solidFill>
              <a:prstDash val="solid"/>
            </a:ln>
          </c:spPr>
          <c:marker>
            <c:symbol val="none"/>
          </c:marker>
          <c:dLbls>
            <c:dLbl>
              <c:idx val="22"/>
              <c:layout>
                <c:manualLayout>
                  <c:x val="2.0733061828952241E-2"/>
                  <c:y val="0"/>
                </c:manualLayout>
              </c:layout>
              <c:numFmt formatCode="#,##0;&quot;-&quot;#,##0;0" sourceLinked="0"/>
              <c:spPr>
                <a:noFill/>
                <a:ln>
                  <a:noFill/>
                </a:ln>
              </c:spPr>
              <c:txPr>
                <a:bodyPr wrap="none"/>
                <a:lstStyle/>
                <a:p>
                  <a:pPr>
                    <a:defRPr sz="1400" kern="1200">
                      <a:solidFill>
                        <a:schemeClr val="tx1"/>
                      </a:solidFill>
                      <a:latin typeface="Bahnschrif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448-4880-9748-24A208C46F0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W$1</c:f>
              <c:numCache>
                <c:formatCode>General</c:formatCode>
                <c:ptCount val="23"/>
                <c:pt idx="0">
                  <c:v>10957</c:v>
                </c:pt>
                <c:pt idx="1">
                  <c:v>11323</c:v>
                </c:pt>
                <c:pt idx="2">
                  <c:v>11688</c:v>
                </c:pt>
                <c:pt idx="3">
                  <c:v>12053</c:v>
                </c:pt>
                <c:pt idx="4">
                  <c:v>12418</c:v>
                </c:pt>
                <c:pt idx="5">
                  <c:v>12784</c:v>
                </c:pt>
                <c:pt idx="6">
                  <c:v>13149</c:v>
                </c:pt>
                <c:pt idx="7">
                  <c:v>13514</c:v>
                </c:pt>
                <c:pt idx="8">
                  <c:v>13879</c:v>
                </c:pt>
                <c:pt idx="9">
                  <c:v>14245</c:v>
                </c:pt>
                <c:pt idx="10">
                  <c:v>14610</c:v>
                </c:pt>
                <c:pt idx="11">
                  <c:v>14975</c:v>
                </c:pt>
                <c:pt idx="12">
                  <c:v>15340</c:v>
                </c:pt>
                <c:pt idx="13">
                  <c:v>15706</c:v>
                </c:pt>
                <c:pt idx="14">
                  <c:v>16071</c:v>
                </c:pt>
                <c:pt idx="15">
                  <c:v>16436</c:v>
                </c:pt>
                <c:pt idx="16">
                  <c:v>16801</c:v>
                </c:pt>
                <c:pt idx="17">
                  <c:v>17167</c:v>
                </c:pt>
                <c:pt idx="18">
                  <c:v>17532</c:v>
                </c:pt>
                <c:pt idx="19">
                  <c:v>17897</c:v>
                </c:pt>
                <c:pt idx="20">
                  <c:v>18262</c:v>
                </c:pt>
                <c:pt idx="21">
                  <c:v>18628</c:v>
                </c:pt>
                <c:pt idx="22">
                  <c:v>18993</c:v>
                </c:pt>
              </c:numCache>
            </c:numRef>
          </c:xVal>
          <c:yVal>
            <c:numRef>
              <c:f>Sheet1!$A$2:$W$2</c:f>
              <c:numCache>
                <c:formatCode>General</c:formatCode>
                <c:ptCount val="23"/>
                <c:pt idx="0">
                  <c:v>32.559519999999999</c:v>
                </c:pt>
                <c:pt idx="1">
                  <c:v>32.956339999999997</c:v>
                </c:pt>
                <c:pt idx="2">
                  <c:v>33.204360000000001</c:v>
                </c:pt>
                <c:pt idx="3">
                  <c:v>32.361109999999996</c:v>
                </c:pt>
                <c:pt idx="4">
                  <c:v>32.361109999999996</c:v>
                </c:pt>
                <c:pt idx="5">
                  <c:v>31.914680000000001</c:v>
                </c:pt>
                <c:pt idx="6">
                  <c:v>31.121030000000001</c:v>
                </c:pt>
                <c:pt idx="7">
                  <c:v>29.484120000000001</c:v>
                </c:pt>
                <c:pt idx="8">
                  <c:v>29.93055</c:v>
                </c:pt>
                <c:pt idx="9">
                  <c:v>29.33531</c:v>
                </c:pt>
                <c:pt idx="10">
                  <c:v>28.98809</c:v>
                </c:pt>
                <c:pt idx="11">
                  <c:v>28.839279999999999</c:v>
                </c:pt>
                <c:pt idx="12">
                  <c:v>28.095230000000001</c:v>
                </c:pt>
                <c:pt idx="13">
                  <c:v>27.84721</c:v>
                </c:pt>
                <c:pt idx="14">
                  <c:v>28.54166</c:v>
                </c:pt>
                <c:pt idx="15">
                  <c:v>27.400780000000001</c:v>
                </c:pt>
                <c:pt idx="16">
                  <c:v>26.55753</c:v>
                </c:pt>
                <c:pt idx="17">
                  <c:v>25.86308</c:v>
                </c:pt>
                <c:pt idx="18">
                  <c:v>26.1111</c:v>
                </c:pt>
                <c:pt idx="19">
                  <c:v>26.656739999999999</c:v>
                </c:pt>
                <c:pt idx="20">
                  <c:v>24.72221</c:v>
                </c:pt>
                <c:pt idx="21">
                  <c:v>25.41666</c:v>
                </c:pt>
                <c:pt idx="22">
                  <c:v>21.894829999999999</c:v>
                </c:pt>
              </c:numCache>
            </c:numRef>
          </c:yVal>
          <c:smooth val="0"/>
          <c:extLst>
            <c:ext xmlns:c16="http://schemas.microsoft.com/office/drawing/2014/chart" uri="{C3380CC4-5D6E-409C-BE32-E72D297353CC}">
              <c16:uniqueId val="{00000001-A448-4880-9748-24A208C46F09}"/>
            </c:ext>
          </c:extLst>
        </c:ser>
        <c:ser>
          <c:idx val="1"/>
          <c:order val="1"/>
          <c:spPr>
            <a:ln w="38100" algn="ctr">
              <a:solidFill>
                <a:schemeClr val="accent1"/>
              </a:solidFill>
              <a:prstDash val="solid"/>
            </a:ln>
          </c:spPr>
          <c:marker>
            <c:symbol val="none"/>
          </c:marker>
          <c:dLbls>
            <c:dLbl>
              <c:idx val="22"/>
              <c:layout>
                <c:manualLayout>
                  <c:x val="1.8696778970751574E-2"/>
                  <c:y val="0"/>
                </c:manualLayout>
              </c:layout>
              <c:numFmt formatCode="#,##0;&quot;-&quot;#,##0;0" sourceLinked="0"/>
              <c:spPr>
                <a:noFill/>
                <a:ln>
                  <a:noFill/>
                </a:ln>
              </c:spPr>
              <c:txPr>
                <a:bodyPr wrap="none"/>
                <a:lstStyle/>
                <a:p>
                  <a:pPr>
                    <a:defRPr sz="1400" kern="1200">
                      <a:solidFill>
                        <a:schemeClr val="tx1"/>
                      </a:solidFill>
                      <a:latin typeface="Bahnschrif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448-4880-9748-24A208C46F0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W$1</c:f>
              <c:numCache>
                <c:formatCode>General</c:formatCode>
                <c:ptCount val="23"/>
                <c:pt idx="0">
                  <c:v>10957</c:v>
                </c:pt>
                <c:pt idx="1">
                  <c:v>11323</c:v>
                </c:pt>
                <c:pt idx="2">
                  <c:v>11688</c:v>
                </c:pt>
                <c:pt idx="3">
                  <c:v>12053</c:v>
                </c:pt>
                <c:pt idx="4">
                  <c:v>12418</c:v>
                </c:pt>
                <c:pt idx="5">
                  <c:v>12784</c:v>
                </c:pt>
                <c:pt idx="6">
                  <c:v>13149</c:v>
                </c:pt>
                <c:pt idx="7">
                  <c:v>13514</c:v>
                </c:pt>
                <c:pt idx="8">
                  <c:v>13879</c:v>
                </c:pt>
                <c:pt idx="9">
                  <c:v>14245</c:v>
                </c:pt>
                <c:pt idx="10">
                  <c:v>14610</c:v>
                </c:pt>
                <c:pt idx="11">
                  <c:v>14975</c:v>
                </c:pt>
                <c:pt idx="12">
                  <c:v>15340</c:v>
                </c:pt>
                <c:pt idx="13">
                  <c:v>15706</c:v>
                </c:pt>
                <c:pt idx="14">
                  <c:v>16071</c:v>
                </c:pt>
                <c:pt idx="15">
                  <c:v>16436</c:v>
                </c:pt>
                <c:pt idx="16">
                  <c:v>16801</c:v>
                </c:pt>
                <c:pt idx="17">
                  <c:v>17167</c:v>
                </c:pt>
                <c:pt idx="18">
                  <c:v>17532</c:v>
                </c:pt>
                <c:pt idx="19">
                  <c:v>17897</c:v>
                </c:pt>
                <c:pt idx="20">
                  <c:v>18262</c:v>
                </c:pt>
                <c:pt idx="21">
                  <c:v>18628</c:v>
                </c:pt>
                <c:pt idx="22">
                  <c:v>18993</c:v>
                </c:pt>
              </c:numCache>
            </c:numRef>
          </c:xVal>
          <c:yVal>
            <c:numRef>
              <c:f>Sheet1!$A$3:$W$3</c:f>
              <c:numCache>
                <c:formatCode>General</c:formatCode>
                <c:ptCount val="23"/>
                <c:pt idx="0">
                  <c:v>30.37698</c:v>
                </c:pt>
                <c:pt idx="1">
                  <c:v>29.33531</c:v>
                </c:pt>
                <c:pt idx="2">
                  <c:v>29.781739999999999</c:v>
                </c:pt>
                <c:pt idx="3">
                  <c:v>30.228169999999999</c:v>
                </c:pt>
                <c:pt idx="4">
                  <c:v>29.186499999999999</c:v>
                </c:pt>
                <c:pt idx="5">
                  <c:v>28.095230000000001</c:v>
                </c:pt>
                <c:pt idx="6">
                  <c:v>27.748010000000001</c:v>
                </c:pt>
                <c:pt idx="7">
                  <c:v>27.996020000000001</c:v>
                </c:pt>
                <c:pt idx="8">
                  <c:v>25.565470000000001</c:v>
                </c:pt>
                <c:pt idx="9">
                  <c:v>25.019829999999999</c:v>
                </c:pt>
                <c:pt idx="10">
                  <c:v>23.77975</c:v>
                </c:pt>
                <c:pt idx="11">
                  <c:v>24.771809999999999</c:v>
                </c:pt>
                <c:pt idx="12">
                  <c:v>25.51586</c:v>
                </c:pt>
                <c:pt idx="13">
                  <c:v>25.218240000000002</c:v>
                </c:pt>
                <c:pt idx="14">
                  <c:v>24.573399999999999</c:v>
                </c:pt>
                <c:pt idx="15">
                  <c:v>24.424589999999998</c:v>
                </c:pt>
                <c:pt idx="16">
                  <c:v>22.787690000000001</c:v>
                </c:pt>
                <c:pt idx="17">
                  <c:v>21.944430000000001</c:v>
                </c:pt>
                <c:pt idx="18">
                  <c:v>20.505939999999999</c:v>
                </c:pt>
                <c:pt idx="19">
                  <c:v>15.79363</c:v>
                </c:pt>
                <c:pt idx="20">
                  <c:v>12.76784</c:v>
                </c:pt>
                <c:pt idx="21">
                  <c:v>14.45435</c:v>
                </c:pt>
                <c:pt idx="22">
                  <c:v>16.091249999999999</c:v>
                </c:pt>
              </c:numCache>
            </c:numRef>
          </c:yVal>
          <c:smooth val="0"/>
          <c:extLst>
            <c:ext xmlns:c16="http://schemas.microsoft.com/office/drawing/2014/chart" uri="{C3380CC4-5D6E-409C-BE32-E72D297353CC}">
              <c16:uniqueId val="{00000003-A448-4880-9748-24A208C46F09}"/>
            </c:ext>
          </c:extLst>
        </c:ser>
        <c:ser>
          <c:idx val="2"/>
          <c:order val="2"/>
          <c:spPr>
            <a:ln w="38100" algn="ctr">
              <a:solidFill>
                <a:schemeClr val="accent3"/>
              </a:solidFill>
              <a:prstDash val="solid"/>
            </a:ln>
          </c:spPr>
          <c:marker>
            <c:symbol val="none"/>
          </c:marker>
          <c:dLbls>
            <c:dLbl>
              <c:idx val="22"/>
              <c:layout>
                <c:manualLayout>
                  <c:x val="2.1103295075897817E-2"/>
                  <c:y val="0"/>
                </c:manualLayout>
              </c:layout>
              <c:numFmt formatCode="#,##0;&quot;-&quot;#,##0;0" sourceLinked="0"/>
              <c:spPr>
                <a:noFill/>
                <a:ln>
                  <a:noFill/>
                </a:ln>
              </c:spPr>
              <c:txPr>
                <a:bodyPr wrap="none"/>
                <a:lstStyle/>
                <a:p>
                  <a:pPr>
                    <a:defRPr sz="1400" kern="1200">
                      <a:solidFill>
                        <a:schemeClr val="tx1"/>
                      </a:solidFill>
                      <a:latin typeface="Bahnschrif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448-4880-9748-24A208C46F0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W$1</c:f>
              <c:numCache>
                <c:formatCode>General</c:formatCode>
                <c:ptCount val="23"/>
                <c:pt idx="0">
                  <c:v>10957</c:v>
                </c:pt>
                <c:pt idx="1">
                  <c:v>11323</c:v>
                </c:pt>
                <c:pt idx="2">
                  <c:v>11688</c:v>
                </c:pt>
                <c:pt idx="3">
                  <c:v>12053</c:v>
                </c:pt>
                <c:pt idx="4">
                  <c:v>12418</c:v>
                </c:pt>
                <c:pt idx="5">
                  <c:v>12784</c:v>
                </c:pt>
                <c:pt idx="6">
                  <c:v>13149</c:v>
                </c:pt>
                <c:pt idx="7">
                  <c:v>13514</c:v>
                </c:pt>
                <c:pt idx="8">
                  <c:v>13879</c:v>
                </c:pt>
                <c:pt idx="9">
                  <c:v>14245</c:v>
                </c:pt>
                <c:pt idx="10">
                  <c:v>14610</c:v>
                </c:pt>
                <c:pt idx="11">
                  <c:v>14975</c:v>
                </c:pt>
                <c:pt idx="12">
                  <c:v>15340</c:v>
                </c:pt>
                <c:pt idx="13">
                  <c:v>15706</c:v>
                </c:pt>
                <c:pt idx="14">
                  <c:v>16071</c:v>
                </c:pt>
                <c:pt idx="15">
                  <c:v>16436</c:v>
                </c:pt>
                <c:pt idx="16">
                  <c:v>16801</c:v>
                </c:pt>
                <c:pt idx="17">
                  <c:v>17167</c:v>
                </c:pt>
                <c:pt idx="18">
                  <c:v>17532</c:v>
                </c:pt>
                <c:pt idx="19">
                  <c:v>17897</c:v>
                </c:pt>
                <c:pt idx="20">
                  <c:v>18262</c:v>
                </c:pt>
                <c:pt idx="21">
                  <c:v>18628</c:v>
                </c:pt>
                <c:pt idx="22">
                  <c:v>18993</c:v>
                </c:pt>
              </c:numCache>
            </c:numRef>
          </c:xVal>
          <c:yVal>
            <c:numRef>
              <c:f>Sheet1!$A$4:$W$4</c:f>
              <c:numCache>
                <c:formatCode>General</c:formatCode>
                <c:ptCount val="23"/>
                <c:pt idx="0">
                  <c:v>12.61903</c:v>
                </c:pt>
                <c:pt idx="1">
                  <c:v>13.214270000000001</c:v>
                </c:pt>
                <c:pt idx="2">
                  <c:v>13.7103</c:v>
                </c:pt>
                <c:pt idx="3">
                  <c:v>14.950379999999999</c:v>
                </c:pt>
                <c:pt idx="4">
                  <c:v>16.091249999999999</c:v>
                </c:pt>
                <c:pt idx="5">
                  <c:v>17.777760000000001</c:v>
                </c:pt>
                <c:pt idx="6">
                  <c:v>18.521809999999999</c:v>
                </c:pt>
                <c:pt idx="7">
                  <c:v>19.414670000000001</c:v>
                </c:pt>
                <c:pt idx="8">
                  <c:v>20.65475</c:v>
                </c:pt>
                <c:pt idx="9">
                  <c:v>20.05951</c:v>
                </c:pt>
                <c:pt idx="10">
                  <c:v>19.910699999999999</c:v>
                </c:pt>
                <c:pt idx="11">
                  <c:v>19.26586</c:v>
                </c:pt>
                <c:pt idx="12">
                  <c:v>16.736090000000001</c:v>
                </c:pt>
                <c:pt idx="13">
                  <c:v>14.305540000000001</c:v>
                </c:pt>
                <c:pt idx="14">
                  <c:v>12.61903</c:v>
                </c:pt>
                <c:pt idx="15">
                  <c:v>13.7103</c:v>
                </c:pt>
                <c:pt idx="16">
                  <c:v>16.190460000000002</c:v>
                </c:pt>
                <c:pt idx="17">
                  <c:v>17.97617</c:v>
                </c:pt>
                <c:pt idx="18">
                  <c:v>16.785699999999999</c:v>
                </c:pt>
                <c:pt idx="19">
                  <c:v>19.712289999999999</c:v>
                </c:pt>
                <c:pt idx="20">
                  <c:v>20.40673</c:v>
                </c:pt>
                <c:pt idx="21">
                  <c:v>19.315460000000002</c:v>
                </c:pt>
                <c:pt idx="22">
                  <c:v>20.009910000000001</c:v>
                </c:pt>
              </c:numCache>
            </c:numRef>
          </c:yVal>
          <c:smooth val="0"/>
          <c:extLst>
            <c:ext xmlns:c16="http://schemas.microsoft.com/office/drawing/2014/chart" uri="{C3380CC4-5D6E-409C-BE32-E72D297353CC}">
              <c16:uniqueId val="{00000005-A448-4880-9748-24A208C46F09}"/>
            </c:ext>
          </c:extLst>
        </c:ser>
        <c:ser>
          <c:idx val="3"/>
          <c:order val="3"/>
          <c:spPr>
            <a:ln w="38100" algn="ctr">
              <a:solidFill>
                <a:schemeClr val="accent4"/>
              </a:solidFill>
              <a:prstDash val="solid"/>
            </a:ln>
          </c:spPr>
          <c:marker>
            <c:symbol val="none"/>
          </c:marker>
          <c:dLbls>
            <c:dLbl>
              <c:idx val="22"/>
              <c:layout>
                <c:manualLayout>
                  <c:x val="1.906701221769715E-2"/>
                  <c:y val="0"/>
                </c:manualLayout>
              </c:layout>
              <c:numFmt formatCode="#,##0;&quot;-&quot;#,##0;0" sourceLinked="0"/>
              <c:spPr>
                <a:noFill/>
                <a:ln>
                  <a:noFill/>
                </a:ln>
              </c:spPr>
              <c:txPr>
                <a:bodyPr wrap="none"/>
                <a:lstStyle/>
                <a:p>
                  <a:pPr>
                    <a:defRPr sz="1400" kern="1200">
                      <a:solidFill>
                        <a:schemeClr val="tx1"/>
                      </a:solidFill>
                      <a:latin typeface="Bahnschrif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448-4880-9748-24A208C46F0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W$1</c:f>
              <c:numCache>
                <c:formatCode>General</c:formatCode>
                <c:ptCount val="23"/>
                <c:pt idx="0">
                  <c:v>10957</c:v>
                </c:pt>
                <c:pt idx="1">
                  <c:v>11323</c:v>
                </c:pt>
                <c:pt idx="2">
                  <c:v>11688</c:v>
                </c:pt>
                <c:pt idx="3">
                  <c:v>12053</c:v>
                </c:pt>
                <c:pt idx="4">
                  <c:v>12418</c:v>
                </c:pt>
                <c:pt idx="5">
                  <c:v>12784</c:v>
                </c:pt>
                <c:pt idx="6">
                  <c:v>13149</c:v>
                </c:pt>
                <c:pt idx="7">
                  <c:v>13514</c:v>
                </c:pt>
                <c:pt idx="8">
                  <c:v>13879</c:v>
                </c:pt>
                <c:pt idx="9">
                  <c:v>14245</c:v>
                </c:pt>
                <c:pt idx="10">
                  <c:v>14610</c:v>
                </c:pt>
                <c:pt idx="11">
                  <c:v>14975</c:v>
                </c:pt>
                <c:pt idx="12">
                  <c:v>15340</c:v>
                </c:pt>
                <c:pt idx="13">
                  <c:v>15706</c:v>
                </c:pt>
                <c:pt idx="14">
                  <c:v>16071</c:v>
                </c:pt>
                <c:pt idx="15">
                  <c:v>16436</c:v>
                </c:pt>
                <c:pt idx="16">
                  <c:v>16801</c:v>
                </c:pt>
                <c:pt idx="17">
                  <c:v>17167</c:v>
                </c:pt>
                <c:pt idx="18">
                  <c:v>17532</c:v>
                </c:pt>
                <c:pt idx="19">
                  <c:v>17897</c:v>
                </c:pt>
                <c:pt idx="20">
                  <c:v>18262</c:v>
                </c:pt>
                <c:pt idx="21">
                  <c:v>18628</c:v>
                </c:pt>
                <c:pt idx="22">
                  <c:v>18993</c:v>
                </c:pt>
              </c:numCache>
            </c:numRef>
          </c:xVal>
          <c:yVal>
            <c:numRef>
              <c:f>Sheet1!$A$5:$W$5</c:f>
              <c:numCache>
                <c:formatCode>General</c:formatCode>
                <c:ptCount val="23"/>
                <c:pt idx="0">
                  <c:v>13.41268</c:v>
                </c:pt>
                <c:pt idx="1">
                  <c:v>13.908709999999999</c:v>
                </c:pt>
                <c:pt idx="2">
                  <c:v>11.62696</c:v>
                </c:pt>
                <c:pt idx="3">
                  <c:v>10.783709999999999</c:v>
                </c:pt>
                <c:pt idx="4">
                  <c:v>11.32934</c:v>
                </c:pt>
                <c:pt idx="5">
                  <c:v>10.5853</c:v>
                </c:pt>
                <c:pt idx="6">
                  <c:v>10.5853</c:v>
                </c:pt>
                <c:pt idx="7">
                  <c:v>10.436489999999999</c:v>
                </c:pt>
                <c:pt idx="8">
                  <c:v>10.882910000000001</c:v>
                </c:pt>
                <c:pt idx="9">
                  <c:v>11.77577</c:v>
                </c:pt>
                <c:pt idx="10">
                  <c:v>12.569430000000001</c:v>
                </c:pt>
                <c:pt idx="11">
                  <c:v>10.6349</c:v>
                </c:pt>
                <c:pt idx="12">
                  <c:v>11.42855</c:v>
                </c:pt>
                <c:pt idx="13">
                  <c:v>12.81744</c:v>
                </c:pt>
                <c:pt idx="14">
                  <c:v>13.06546</c:v>
                </c:pt>
                <c:pt idx="15">
                  <c:v>11.72617</c:v>
                </c:pt>
                <c:pt idx="16">
                  <c:v>11.874980000000001</c:v>
                </c:pt>
                <c:pt idx="17">
                  <c:v>10.188470000000001</c:v>
                </c:pt>
                <c:pt idx="18">
                  <c:v>11.924580000000001</c:v>
                </c:pt>
                <c:pt idx="19">
                  <c:v>11.180529999999999</c:v>
                </c:pt>
                <c:pt idx="20">
                  <c:v>12.569430000000001</c:v>
                </c:pt>
                <c:pt idx="21">
                  <c:v>11.97418</c:v>
                </c:pt>
                <c:pt idx="22">
                  <c:v>10.188470000000001</c:v>
                </c:pt>
              </c:numCache>
            </c:numRef>
          </c:yVal>
          <c:smooth val="0"/>
          <c:extLst>
            <c:ext xmlns:c16="http://schemas.microsoft.com/office/drawing/2014/chart" uri="{C3380CC4-5D6E-409C-BE32-E72D297353CC}">
              <c16:uniqueId val="{00000007-A448-4880-9748-24A208C46F09}"/>
            </c:ext>
          </c:extLst>
        </c:ser>
        <c:ser>
          <c:idx val="4"/>
          <c:order val="4"/>
          <c:spPr>
            <a:ln w="38100" algn="ctr">
              <a:solidFill>
                <a:schemeClr val="accent6"/>
              </a:solidFill>
              <a:prstDash val="solid"/>
            </a:ln>
          </c:spPr>
          <c:marker>
            <c:symbol val="none"/>
          </c:marker>
          <c:dLbls>
            <c:dLbl>
              <c:idx val="22"/>
              <c:layout>
                <c:manualLayout>
                  <c:x val="1.5179563124768604E-2"/>
                  <c:y val="0"/>
                </c:manualLayout>
              </c:layout>
              <c:numFmt formatCode="#,##0;&quot;-&quot;#,##0;0" sourceLinked="0"/>
              <c:spPr>
                <a:noFill/>
                <a:ln>
                  <a:noFill/>
                </a:ln>
              </c:spPr>
              <c:txPr>
                <a:bodyPr wrap="none"/>
                <a:lstStyle/>
                <a:p>
                  <a:pPr>
                    <a:defRPr sz="1400" kern="1200">
                      <a:solidFill>
                        <a:schemeClr val="tx1"/>
                      </a:solidFill>
                      <a:latin typeface="Bahnschrif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448-4880-9748-24A208C46F0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W$1</c:f>
              <c:numCache>
                <c:formatCode>General</c:formatCode>
                <c:ptCount val="23"/>
                <c:pt idx="0">
                  <c:v>10957</c:v>
                </c:pt>
                <c:pt idx="1">
                  <c:v>11323</c:v>
                </c:pt>
                <c:pt idx="2">
                  <c:v>11688</c:v>
                </c:pt>
                <c:pt idx="3">
                  <c:v>12053</c:v>
                </c:pt>
                <c:pt idx="4">
                  <c:v>12418</c:v>
                </c:pt>
                <c:pt idx="5">
                  <c:v>12784</c:v>
                </c:pt>
                <c:pt idx="6">
                  <c:v>13149</c:v>
                </c:pt>
                <c:pt idx="7">
                  <c:v>13514</c:v>
                </c:pt>
                <c:pt idx="8">
                  <c:v>13879</c:v>
                </c:pt>
                <c:pt idx="9">
                  <c:v>14245</c:v>
                </c:pt>
                <c:pt idx="10">
                  <c:v>14610</c:v>
                </c:pt>
                <c:pt idx="11">
                  <c:v>14975</c:v>
                </c:pt>
                <c:pt idx="12">
                  <c:v>15340</c:v>
                </c:pt>
                <c:pt idx="13">
                  <c:v>15706</c:v>
                </c:pt>
                <c:pt idx="14">
                  <c:v>16071</c:v>
                </c:pt>
                <c:pt idx="15">
                  <c:v>16436</c:v>
                </c:pt>
                <c:pt idx="16">
                  <c:v>16801</c:v>
                </c:pt>
                <c:pt idx="17">
                  <c:v>17167</c:v>
                </c:pt>
                <c:pt idx="18">
                  <c:v>17532</c:v>
                </c:pt>
                <c:pt idx="19">
                  <c:v>17897</c:v>
                </c:pt>
                <c:pt idx="20">
                  <c:v>18262</c:v>
                </c:pt>
                <c:pt idx="21">
                  <c:v>18628</c:v>
                </c:pt>
                <c:pt idx="22">
                  <c:v>18993</c:v>
                </c:pt>
              </c:numCache>
            </c:numRef>
          </c:xVal>
          <c:yVal>
            <c:numRef>
              <c:f>Sheet1!$A$6:$W$6</c:f>
              <c:numCache>
                <c:formatCode>General</c:formatCode>
                <c:ptCount val="23"/>
                <c:pt idx="0">
                  <c:v>1.2102889999999999</c:v>
                </c:pt>
                <c:pt idx="1">
                  <c:v>1.2102889999999999</c:v>
                </c:pt>
                <c:pt idx="2">
                  <c:v>1.4087019999999999</c:v>
                </c:pt>
                <c:pt idx="3">
                  <c:v>1.458305</c:v>
                </c:pt>
                <c:pt idx="4">
                  <c:v>2.1527500000000002</c:v>
                </c:pt>
                <c:pt idx="5">
                  <c:v>2.2519559999999998</c:v>
                </c:pt>
                <c:pt idx="6">
                  <c:v>2.5495749999999999</c:v>
                </c:pt>
                <c:pt idx="7">
                  <c:v>2.7479879999999999</c:v>
                </c:pt>
                <c:pt idx="8">
                  <c:v>2.9960040000000001</c:v>
                </c:pt>
                <c:pt idx="9">
                  <c:v>3.4920360000000001</c:v>
                </c:pt>
                <c:pt idx="10">
                  <c:v>3.7896550000000002</c:v>
                </c:pt>
                <c:pt idx="11">
                  <c:v>4.1368780000000003</c:v>
                </c:pt>
                <c:pt idx="12">
                  <c:v>4.533703</c:v>
                </c:pt>
                <c:pt idx="13">
                  <c:v>4.9801320000000002</c:v>
                </c:pt>
                <c:pt idx="14">
                  <c:v>5.228148</c:v>
                </c:pt>
                <c:pt idx="15">
                  <c:v>5.1785449999999997</c:v>
                </c:pt>
                <c:pt idx="16">
                  <c:v>5.3273539999999997</c:v>
                </c:pt>
                <c:pt idx="17">
                  <c:v>5.4265600000000003</c:v>
                </c:pt>
                <c:pt idx="18">
                  <c:v>5.5257670000000001</c:v>
                </c:pt>
                <c:pt idx="19">
                  <c:v>5.6745789999999996</c:v>
                </c:pt>
                <c:pt idx="20">
                  <c:v>5.9225950000000003</c:v>
                </c:pt>
                <c:pt idx="21">
                  <c:v>5.872992</c:v>
                </c:pt>
                <c:pt idx="22">
                  <c:v>6.021801</c:v>
                </c:pt>
              </c:numCache>
            </c:numRef>
          </c:yVal>
          <c:smooth val="0"/>
          <c:extLst>
            <c:ext xmlns:c16="http://schemas.microsoft.com/office/drawing/2014/chart" uri="{C3380CC4-5D6E-409C-BE32-E72D297353CC}">
              <c16:uniqueId val="{00000009-A448-4880-9748-24A208C46F09}"/>
            </c:ext>
          </c:extLst>
        </c:ser>
        <c:ser>
          <c:idx val="5"/>
          <c:order val="5"/>
          <c:spPr>
            <a:ln w="38100" algn="ctr">
              <a:solidFill>
                <a:srgbClr val="FFC000"/>
              </a:solidFill>
              <a:prstDash val="solid"/>
            </a:ln>
          </c:spPr>
          <c:marker>
            <c:symbol val="none"/>
          </c:marker>
          <c:xVal>
            <c:numRef>
              <c:f>Sheet1!$A$1:$W$1</c:f>
              <c:numCache>
                <c:formatCode>General</c:formatCode>
                <c:ptCount val="23"/>
                <c:pt idx="0">
                  <c:v>10957</c:v>
                </c:pt>
                <c:pt idx="1">
                  <c:v>11323</c:v>
                </c:pt>
                <c:pt idx="2">
                  <c:v>11688</c:v>
                </c:pt>
                <c:pt idx="3">
                  <c:v>12053</c:v>
                </c:pt>
                <c:pt idx="4">
                  <c:v>12418</c:v>
                </c:pt>
                <c:pt idx="5">
                  <c:v>12784</c:v>
                </c:pt>
                <c:pt idx="6">
                  <c:v>13149</c:v>
                </c:pt>
                <c:pt idx="7">
                  <c:v>13514</c:v>
                </c:pt>
                <c:pt idx="8">
                  <c:v>13879</c:v>
                </c:pt>
                <c:pt idx="9">
                  <c:v>14245</c:v>
                </c:pt>
                <c:pt idx="10">
                  <c:v>14610</c:v>
                </c:pt>
                <c:pt idx="11">
                  <c:v>14975</c:v>
                </c:pt>
                <c:pt idx="12">
                  <c:v>15340</c:v>
                </c:pt>
                <c:pt idx="13">
                  <c:v>15706</c:v>
                </c:pt>
                <c:pt idx="14">
                  <c:v>16071</c:v>
                </c:pt>
                <c:pt idx="15">
                  <c:v>16436</c:v>
                </c:pt>
                <c:pt idx="16">
                  <c:v>16801</c:v>
                </c:pt>
                <c:pt idx="17">
                  <c:v>17167</c:v>
                </c:pt>
                <c:pt idx="18">
                  <c:v>17532</c:v>
                </c:pt>
                <c:pt idx="19">
                  <c:v>17897</c:v>
                </c:pt>
                <c:pt idx="20">
                  <c:v>18262</c:v>
                </c:pt>
                <c:pt idx="21">
                  <c:v>18628</c:v>
                </c:pt>
                <c:pt idx="22">
                  <c:v>18993</c:v>
                </c:pt>
              </c:numCache>
            </c:numRef>
          </c:xVal>
          <c:yVal>
            <c:numRef>
              <c:f>Sheet1!$A$7:$W$7</c:f>
              <c:numCache>
                <c:formatCode>General</c:formatCode>
                <c:ptCount val="23"/>
                <c:pt idx="0">
                  <c:v>0.86306660000000002</c:v>
                </c:pt>
                <c:pt idx="1">
                  <c:v>0.86306660000000002</c:v>
                </c:pt>
                <c:pt idx="2">
                  <c:v>1.3590979999999999</c:v>
                </c:pt>
                <c:pt idx="3">
                  <c:v>1.507908</c:v>
                </c:pt>
                <c:pt idx="4">
                  <c:v>2.0039400000000001</c:v>
                </c:pt>
                <c:pt idx="5">
                  <c:v>2.3015590000000001</c:v>
                </c:pt>
                <c:pt idx="6">
                  <c:v>2.847194</c:v>
                </c:pt>
                <c:pt idx="7">
                  <c:v>3.4920360000000001</c:v>
                </c:pt>
                <c:pt idx="8">
                  <c:v>4.0872739999999999</c:v>
                </c:pt>
                <c:pt idx="9">
                  <c:v>4.9801320000000002</c:v>
                </c:pt>
                <c:pt idx="10">
                  <c:v>5.4761639999999998</c:v>
                </c:pt>
                <c:pt idx="11">
                  <c:v>7.3610870000000004</c:v>
                </c:pt>
                <c:pt idx="12">
                  <c:v>8.849183</c:v>
                </c:pt>
                <c:pt idx="13">
                  <c:v>10.138870000000001</c:v>
                </c:pt>
                <c:pt idx="14">
                  <c:v>11.23014</c:v>
                </c:pt>
                <c:pt idx="15">
                  <c:v>12.66863</c:v>
                </c:pt>
                <c:pt idx="16">
                  <c:v>12.66863</c:v>
                </c:pt>
                <c:pt idx="17">
                  <c:v>14.35514</c:v>
                </c:pt>
                <c:pt idx="18">
                  <c:v>14.900779999999999</c:v>
                </c:pt>
                <c:pt idx="19">
                  <c:v>17.083320000000001</c:v>
                </c:pt>
                <c:pt idx="20">
                  <c:v>19.61308</c:v>
                </c:pt>
                <c:pt idx="21">
                  <c:v>19.26586</c:v>
                </c:pt>
                <c:pt idx="22">
                  <c:v>22.242049999999999</c:v>
                </c:pt>
              </c:numCache>
            </c:numRef>
          </c:yVal>
          <c:smooth val="0"/>
          <c:extLst>
            <c:ext xmlns:c16="http://schemas.microsoft.com/office/drawing/2014/chart" uri="{C3380CC4-5D6E-409C-BE32-E72D297353CC}">
              <c16:uniqueId val="{0000000A-A448-4880-9748-24A208C46F09}"/>
            </c:ext>
          </c:extLst>
        </c:ser>
        <c:dLbls>
          <c:showLegendKey val="0"/>
          <c:showVal val="0"/>
          <c:showCatName val="0"/>
          <c:showSerName val="0"/>
          <c:showPercent val="0"/>
          <c:showBubbleSize val="0"/>
        </c:dLbls>
        <c:axId val="245911552"/>
        <c:axId val="1"/>
      </c:scatterChart>
      <c:valAx>
        <c:axId val="245911552"/>
        <c:scaling>
          <c:orientation val="minMax"/>
          <c:max val="18993"/>
          <c:min val="10957"/>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 val="min"/>
        <c:crossBetween val="midCat"/>
      </c:valAx>
      <c:valAx>
        <c:axId val="1"/>
        <c:scaling>
          <c:orientation val="minMax"/>
          <c:max val="35"/>
          <c:min val="0"/>
        </c:scaling>
        <c:delete val="0"/>
        <c:axPos val="l"/>
        <c:majorGridlines>
          <c:spPr>
            <a:ln w="6350" algn="ctr">
              <a:solidFill>
                <a:srgbClr val="D0D0D0"/>
              </a:solidFill>
              <a:prstDash val="solid"/>
            </a:ln>
          </c:spPr>
        </c:majorGridlines>
        <c:numFmt formatCode="General" sourceLinked="1"/>
        <c:majorTickMark val="none"/>
        <c:minorTickMark val="none"/>
        <c:tickLblPos val="none"/>
        <c:spPr>
          <a:ln w="9525" algn="ctr">
            <a:solidFill>
              <a:schemeClr val="tx1"/>
            </a:solidFill>
            <a:prstDash val="solid"/>
          </a:ln>
        </c:spPr>
        <c:crossAx val="245911552"/>
        <c:crosses val="min"/>
        <c:crossBetween val="midCat"/>
        <c:majorUnit val="5"/>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3384137736381598E-3"/>
          <c:y val="2.2998673153471916E-2"/>
          <c:w val="0.98532317245272372"/>
          <c:h val="0.95400265369305615"/>
        </c:manualLayout>
      </c:layout>
      <c:barChart>
        <c:barDir val="col"/>
        <c:grouping val="stacked"/>
        <c:varyColors val="0"/>
        <c:ser>
          <c:idx val="0"/>
          <c:order val="0"/>
          <c:spPr>
            <a:solidFill>
              <a:schemeClr val="accent1"/>
            </a:solidFill>
            <a:ln w="9525" algn="ctr">
              <a:solidFill>
                <a:schemeClr val="bg1"/>
              </a:solidFill>
              <a:prstDash val="solid"/>
            </a:ln>
          </c:spPr>
          <c:invertIfNegative val="0"/>
          <c:dPt>
            <c:idx val="21"/>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0-8055-4335-9ACD-9977357B9365}"/>
              </c:ext>
            </c:extLst>
          </c:dPt>
          <c:dPt>
            <c:idx val="26"/>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1-8055-4335-9ACD-9977357B9365}"/>
              </c:ext>
            </c:extLst>
          </c:dPt>
          <c:val>
            <c:numRef>
              <c:f>Sheet1!$A$1:$AA$1</c:f>
              <c:numCache>
                <c:formatCode>General</c:formatCode>
                <c:ptCount val="27"/>
                <c:pt idx="0">
                  <c:v>56.799204824433133</c:v>
                </c:pt>
                <c:pt idx="1">
                  <c:v>55.248839773416648</c:v>
                </c:pt>
                <c:pt idx="2">
                  <c:v>53.084779836167414</c:v>
                </c:pt>
                <c:pt idx="3">
                  <c:v>52.376690225744248</c:v>
                </c:pt>
                <c:pt idx="4">
                  <c:v>50.784017362314081</c:v>
                </c:pt>
                <c:pt idx="5">
                  <c:v>51.940617968325029</c:v>
                </c:pt>
                <c:pt idx="6">
                  <c:v>49.826523883297682</c:v>
                </c:pt>
                <c:pt idx="7">
                  <c:v>49.438936395672229</c:v>
                </c:pt>
                <c:pt idx="8">
                  <c:v>50.316391339059308</c:v>
                </c:pt>
                <c:pt idx="9">
                  <c:v>48.505733736819415</c:v>
                </c:pt>
                <c:pt idx="10">
                  <c:v>49.342668072238531</c:v>
                </c:pt>
                <c:pt idx="11">
                  <c:v>50.773667074582214</c:v>
                </c:pt>
                <c:pt idx="12">
                  <c:v>51.53479851006977</c:v>
                </c:pt>
                <c:pt idx="13">
                  <c:v>50.406303688837362</c:v>
                </c:pt>
                <c:pt idx="14">
                  <c:v>50.384214825401983</c:v>
                </c:pt>
                <c:pt idx="15">
                  <c:v>46.853454417237273</c:v>
                </c:pt>
                <c:pt idx="16">
                  <c:v>48.801253040437651</c:v>
                </c:pt>
                <c:pt idx="21">
                  <c:v>29.535586508705229</c:v>
                </c:pt>
                <c:pt idx="26">
                  <c:v>10</c:v>
                </c:pt>
              </c:numCache>
            </c:numRef>
          </c:val>
          <c:extLst>
            <c:ext xmlns:c16="http://schemas.microsoft.com/office/drawing/2014/chart" uri="{C3380CC4-5D6E-409C-BE32-E72D297353CC}">
              <c16:uniqueId val="{00000002-8055-4335-9ACD-9977357B9365}"/>
            </c:ext>
          </c:extLst>
        </c:ser>
        <c:ser>
          <c:idx val="1"/>
          <c:order val="1"/>
          <c:spPr>
            <a:noFill/>
            <a:ln>
              <a:noFill/>
            </a:ln>
          </c:spPr>
          <c:invertIfNegative val="0"/>
          <c:dPt>
            <c:idx val="26"/>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3-8055-4335-9ACD-9977357B9365}"/>
              </c:ext>
            </c:extLst>
          </c:dPt>
          <c:val>
            <c:numRef>
              <c:f>Sheet1!$A$2:$AA$2</c:f>
              <c:numCache>
                <c:formatCode>General</c:formatCode>
                <c:ptCount val="27"/>
                <c:pt idx="0">
                  <c:v>35.72272753</c:v>
                </c:pt>
                <c:pt idx="1">
                  <c:v>34.838194259671411</c:v>
                </c:pt>
                <c:pt idx="2">
                  <c:v>34.219603293107653</c:v>
                </c:pt>
                <c:pt idx="3">
                  <c:v>34.323489000000002</c:v>
                </c:pt>
                <c:pt idx="4">
                  <c:v>29.285683499999998</c:v>
                </c:pt>
                <c:pt idx="5">
                  <c:v>32.689282999999989</c:v>
                </c:pt>
                <c:pt idx="6">
                  <c:v>32.617619355314602</c:v>
                </c:pt>
                <c:pt idx="7">
                  <c:v>30.294845358998288</c:v>
                </c:pt>
                <c:pt idx="8">
                  <c:v>29.857655000000008</c:v>
                </c:pt>
                <c:pt idx="9">
                  <c:v>28.107198000000004</c:v>
                </c:pt>
                <c:pt idx="10">
                  <c:v>29.49206499999999</c:v>
                </c:pt>
                <c:pt idx="11">
                  <c:v>29.000120000000003</c:v>
                </c:pt>
                <c:pt idx="12">
                  <c:v>30.555225999999998</c:v>
                </c:pt>
                <c:pt idx="13">
                  <c:v>28.402029000000006</c:v>
                </c:pt>
                <c:pt idx="14">
                  <c:v>29.563827000000003</c:v>
                </c:pt>
                <c:pt idx="15">
                  <c:v>27.034144999999995</c:v>
                </c:pt>
                <c:pt idx="16">
                  <c:v>28.703348999999996</c:v>
                </c:pt>
                <c:pt idx="26">
                  <c:v>-10</c:v>
                </c:pt>
              </c:numCache>
            </c:numRef>
          </c:val>
          <c:extLst>
            <c:ext xmlns:c16="http://schemas.microsoft.com/office/drawing/2014/chart" uri="{C3380CC4-5D6E-409C-BE32-E72D297353CC}">
              <c16:uniqueId val="{00000004-8055-4335-9ACD-9977357B9365}"/>
            </c:ext>
          </c:extLst>
        </c:ser>
        <c:dLbls>
          <c:showLegendKey val="0"/>
          <c:showVal val="0"/>
          <c:showCatName val="0"/>
          <c:showSerName val="0"/>
          <c:showPercent val="0"/>
          <c:showBubbleSize val="0"/>
        </c:dLbls>
        <c:gapWidth val="40"/>
        <c:overlap val="100"/>
        <c:axId val="277677216"/>
        <c:axId val="1"/>
      </c:barChart>
      <c:catAx>
        <c:axId val="27767721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92.521932354433133"/>
          <c:min val="-10"/>
        </c:scaling>
        <c:delete val="1"/>
        <c:axPos val="l"/>
        <c:numFmt formatCode="General" sourceLinked="1"/>
        <c:majorTickMark val="out"/>
        <c:minorTickMark val="none"/>
        <c:tickLblPos val="nextTo"/>
        <c:crossAx val="277677216"/>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3384137736381598E-3"/>
          <c:y val="2.2998673153471916E-2"/>
          <c:w val="0.98532317245272372"/>
          <c:h val="0.95400265369305615"/>
        </c:manualLayout>
      </c:layout>
      <c:barChart>
        <c:barDir val="col"/>
        <c:grouping val="stacked"/>
        <c:varyColors val="0"/>
        <c:ser>
          <c:idx val="0"/>
          <c:order val="0"/>
          <c:spPr>
            <a:solidFill>
              <a:schemeClr val="accent1"/>
            </a:solidFill>
            <a:ln w="9525" algn="ctr">
              <a:solidFill>
                <a:schemeClr val="bg1"/>
              </a:solidFill>
              <a:prstDash val="solid"/>
            </a:ln>
          </c:spPr>
          <c:invertIfNegative val="0"/>
          <c:dPt>
            <c:idx val="21"/>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0-A5B4-4043-9B2A-F4152101A94D}"/>
              </c:ext>
            </c:extLst>
          </c:dPt>
          <c:dPt>
            <c:idx val="26"/>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1-A5B4-4043-9B2A-F4152101A94D}"/>
              </c:ext>
            </c:extLst>
          </c:dPt>
          <c:dLbls>
            <c:dLbl>
              <c:idx val="0"/>
              <c:layout>
                <c:manualLayout>
                  <c:x val="0"/>
                  <c:y val="-0.3007518796992481"/>
                </c:manualLayout>
              </c:layout>
              <c:numFmt formatCode="#,##0;&quot;-&quot;#,##0;0" sourceLinked="0"/>
              <c:spPr>
                <a:noFill/>
                <a:ln>
                  <a:noFill/>
                </a:ln>
              </c:spPr>
              <c:txPr>
                <a:bodyPr wrap="none"/>
                <a:lstStyle/>
                <a:p>
                  <a:pPr>
                    <a:defRPr sz="1400" kern="1200">
                      <a:solidFill>
                        <a:schemeClr val="tx1"/>
                      </a:solidFill>
                      <a:latin typeface="Bahnschrift"/>
                      <a:ea typeface="Bahnschrift"/>
                      <a:cs typeface="Bahnschrift"/>
                      <a:sym typeface="Bahnschrif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5B4-4043-9B2A-F4152101A94D}"/>
                </c:ext>
              </c:extLst>
            </c:dLbl>
            <c:dLbl>
              <c:idx val="15"/>
              <c:layout>
                <c:manualLayout>
                  <c:x val="0"/>
                  <c:y val="-0.25475453339230431"/>
                </c:manualLayout>
              </c:layout>
              <c:numFmt formatCode="#,##0;&quot;-&quot;#,##0;0" sourceLinked="0"/>
              <c:spPr>
                <a:noFill/>
                <a:ln>
                  <a:noFill/>
                </a:ln>
              </c:spPr>
              <c:txPr>
                <a:bodyPr wrap="none"/>
                <a:lstStyle/>
                <a:p>
                  <a:pPr>
                    <a:defRPr sz="1400" kern="1200">
                      <a:solidFill>
                        <a:schemeClr val="tx1"/>
                      </a:solidFill>
                      <a:latin typeface="Bahnschrift"/>
                      <a:ea typeface="Bahnschrift"/>
                      <a:cs typeface="Bahnschrift"/>
                      <a:sym typeface="Bahnschrif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5B4-4043-9B2A-F4152101A94D}"/>
                </c:ext>
              </c:extLst>
            </c:dLbl>
            <c:dLbl>
              <c:idx val="16"/>
              <c:layout>
                <c:manualLayout>
                  <c:x val="0"/>
                  <c:y val="-0.26360017691287041"/>
                </c:manualLayout>
              </c:layout>
              <c:numFmt formatCode="#,##0;&quot;-&quot;#,##0;0" sourceLinked="0"/>
              <c:spPr>
                <a:noFill/>
                <a:ln>
                  <a:noFill/>
                </a:ln>
              </c:spPr>
              <c:txPr>
                <a:bodyPr wrap="none"/>
                <a:lstStyle/>
                <a:p>
                  <a:pPr>
                    <a:defRPr sz="1400" kern="1200">
                      <a:solidFill>
                        <a:schemeClr val="tx1"/>
                      </a:solidFill>
                      <a:latin typeface="Bahnschrift"/>
                      <a:ea typeface="Bahnschrift"/>
                      <a:cs typeface="Bahnschrift"/>
                      <a:sym typeface="Bahnschrif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5B4-4043-9B2A-F4152101A94D}"/>
                </c:ext>
              </c:extLst>
            </c:dLbl>
            <c:dLbl>
              <c:idx val="21"/>
              <c:layout>
                <c:manualLayout>
                  <c:x val="0"/>
                  <c:y val="-0.17425917735515259"/>
                </c:manualLayout>
              </c:layout>
              <c:numFmt formatCode="#,##0;&quot;-&quot;#,##0;0" sourceLinked="0"/>
              <c:spPr>
                <a:noFill/>
                <a:ln>
                  <a:noFill/>
                </a:ln>
              </c:spPr>
              <c:txPr>
                <a:bodyPr wrap="none"/>
                <a:lstStyle/>
                <a:p>
                  <a:pPr>
                    <a:defRPr sz="1400" kern="1200">
                      <a:solidFill>
                        <a:schemeClr val="tx1"/>
                      </a:solidFill>
                      <a:latin typeface="Bahnschrift"/>
                      <a:ea typeface="Bahnschrift"/>
                      <a:cs typeface="Bahnschrift"/>
                      <a:sym typeface="Bahnschrif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5B4-4043-9B2A-F4152101A94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A$1</c:f>
              <c:numCache>
                <c:formatCode>General</c:formatCode>
                <c:ptCount val="27"/>
                <c:pt idx="0">
                  <c:v>56.799204824433133</c:v>
                </c:pt>
                <c:pt idx="1">
                  <c:v>55.248839773416648</c:v>
                </c:pt>
                <c:pt idx="2">
                  <c:v>53.084779836167414</c:v>
                </c:pt>
                <c:pt idx="3">
                  <c:v>52.376690225744248</c:v>
                </c:pt>
                <c:pt idx="4">
                  <c:v>50.784017362314081</c:v>
                </c:pt>
                <c:pt idx="5">
                  <c:v>51.940617968325029</c:v>
                </c:pt>
                <c:pt idx="6">
                  <c:v>49.826523883297682</c:v>
                </c:pt>
                <c:pt idx="7">
                  <c:v>49.438936395672229</c:v>
                </c:pt>
                <c:pt idx="8">
                  <c:v>50.316391339059308</c:v>
                </c:pt>
                <c:pt idx="9">
                  <c:v>48.505733736819415</c:v>
                </c:pt>
                <c:pt idx="10">
                  <c:v>49.342668072238531</c:v>
                </c:pt>
                <c:pt idx="11">
                  <c:v>50.773667074582214</c:v>
                </c:pt>
                <c:pt idx="12">
                  <c:v>51.53479851006977</c:v>
                </c:pt>
                <c:pt idx="13">
                  <c:v>50.406303688837362</c:v>
                </c:pt>
                <c:pt idx="14">
                  <c:v>50.384214825401983</c:v>
                </c:pt>
                <c:pt idx="15">
                  <c:v>46.853454417237273</c:v>
                </c:pt>
                <c:pt idx="16">
                  <c:v>48.801253040437651</c:v>
                </c:pt>
                <c:pt idx="21">
                  <c:v>29.535586508705229</c:v>
                </c:pt>
                <c:pt idx="26">
                  <c:v>10</c:v>
                </c:pt>
              </c:numCache>
            </c:numRef>
          </c:val>
          <c:extLst>
            <c:ext xmlns:c16="http://schemas.microsoft.com/office/drawing/2014/chart" uri="{C3380CC4-5D6E-409C-BE32-E72D297353CC}">
              <c16:uniqueId val="{00000005-A5B4-4043-9B2A-F4152101A94D}"/>
            </c:ext>
          </c:extLst>
        </c:ser>
        <c:ser>
          <c:idx val="1"/>
          <c:order val="1"/>
          <c:spPr>
            <a:solidFill>
              <a:schemeClr val="accent1"/>
            </a:solidFill>
            <a:ln w="9525" algn="ctr">
              <a:solidFill>
                <a:schemeClr val="bg1"/>
              </a:solidFill>
              <a:prstDash val="solid"/>
            </a:ln>
          </c:spPr>
          <c:invertIfNegative val="0"/>
          <c:val>
            <c:numRef>
              <c:f>Sheet1!$A$2:$AA$2</c:f>
              <c:numCache>
                <c:formatCode>General</c:formatCode>
                <c:ptCount val="27"/>
                <c:pt idx="26">
                  <c:v>-10</c:v>
                </c:pt>
              </c:numCache>
            </c:numRef>
          </c:val>
          <c:extLst>
            <c:ext xmlns:c16="http://schemas.microsoft.com/office/drawing/2014/chart" uri="{C3380CC4-5D6E-409C-BE32-E72D297353CC}">
              <c16:uniqueId val="{00000006-A5B4-4043-9B2A-F4152101A94D}"/>
            </c:ext>
          </c:extLst>
        </c:ser>
        <c:dLbls>
          <c:showLegendKey val="0"/>
          <c:showVal val="0"/>
          <c:showCatName val="0"/>
          <c:showSerName val="0"/>
          <c:showPercent val="0"/>
          <c:showBubbleSize val="0"/>
        </c:dLbls>
        <c:gapWidth val="40"/>
        <c:overlap val="100"/>
        <c:axId val="277686032"/>
        <c:axId val="1"/>
      </c:barChart>
      <c:catAx>
        <c:axId val="27768603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92.521932354433133"/>
          <c:min val="-10"/>
        </c:scaling>
        <c:delete val="1"/>
        <c:axPos val="l"/>
        <c:numFmt formatCode="General" sourceLinked="1"/>
        <c:majorTickMark val="out"/>
        <c:minorTickMark val="none"/>
        <c:tickLblPos val="nextTo"/>
        <c:crossAx val="277686032"/>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298676748582222E-3"/>
          <c:y val="2.1452145214521452E-2"/>
          <c:w val="0.98034026465028357"/>
          <c:h val="0.95709570957095713"/>
        </c:manualLayout>
      </c:layout>
      <c:scatterChart>
        <c:scatterStyle val="lineMarker"/>
        <c:varyColors val="0"/>
        <c:ser>
          <c:idx val="0"/>
          <c:order val="0"/>
          <c:spPr>
            <a:ln w="25400" algn="ctr">
              <a:solidFill>
                <a:schemeClr val="accent1"/>
              </a:solidFill>
              <a:prstDash val="solid"/>
            </a:ln>
          </c:spPr>
          <c:marker>
            <c:symbol val="none"/>
          </c:marker>
          <c:xVal>
            <c:numRef>
              <c:f>Sheet1!$A$1:$AI$1</c:f>
              <c:numCache>
                <c:formatCode>General</c:formatCode>
                <c:ptCount val="35"/>
                <c:pt idx="0">
                  <c:v>7305</c:v>
                </c:pt>
                <c:pt idx="1">
                  <c:v>7670</c:v>
                </c:pt>
                <c:pt idx="2">
                  <c:v>8035</c:v>
                </c:pt>
                <c:pt idx="3">
                  <c:v>8401</c:v>
                </c:pt>
                <c:pt idx="4">
                  <c:v>8766</c:v>
                </c:pt>
                <c:pt idx="5">
                  <c:v>9131</c:v>
                </c:pt>
                <c:pt idx="6">
                  <c:v>9496</c:v>
                </c:pt>
                <c:pt idx="7">
                  <c:v>9862</c:v>
                </c:pt>
                <c:pt idx="8">
                  <c:v>10227</c:v>
                </c:pt>
                <c:pt idx="9">
                  <c:v>10592</c:v>
                </c:pt>
                <c:pt idx="10">
                  <c:v>10957</c:v>
                </c:pt>
                <c:pt idx="11">
                  <c:v>11323</c:v>
                </c:pt>
                <c:pt idx="12">
                  <c:v>11688</c:v>
                </c:pt>
                <c:pt idx="13">
                  <c:v>12053</c:v>
                </c:pt>
                <c:pt idx="14">
                  <c:v>12418</c:v>
                </c:pt>
                <c:pt idx="15">
                  <c:v>12784</c:v>
                </c:pt>
                <c:pt idx="16">
                  <c:v>13149</c:v>
                </c:pt>
                <c:pt idx="17">
                  <c:v>13514</c:v>
                </c:pt>
                <c:pt idx="18">
                  <c:v>13879</c:v>
                </c:pt>
                <c:pt idx="19">
                  <c:v>14245</c:v>
                </c:pt>
                <c:pt idx="20">
                  <c:v>14610</c:v>
                </c:pt>
                <c:pt idx="21">
                  <c:v>14975</c:v>
                </c:pt>
                <c:pt idx="22">
                  <c:v>15340</c:v>
                </c:pt>
                <c:pt idx="23">
                  <c:v>15706</c:v>
                </c:pt>
                <c:pt idx="24">
                  <c:v>16071</c:v>
                </c:pt>
                <c:pt idx="25">
                  <c:v>16436</c:v>
                </c:pt>
                <c:pt idx="26">
                  <c:v>16801</c:v>
                </c:pt>
                <c:pt idx="27">
                  <c:v>17167</c:v>
                </c:pt>
                <c:pt idx="28">
                  <c:v>17532</c:v>
                </c:pt>
                <c:pt idx="29">
                  <c:v>17897</c:v>
                </c:pt>
                <c:pt idx="30">
                  <c:v>18262</c:v>
                </c:pt>
                <c:pt idx="31">
                  <c:v>18628</c:v>
                </c:pt>
                <c:pt idx="32">
                  <c:v>21915</c:v>
                </c:pt>
                <c:pt idx="33">
                  <c:v>25567</c:v>
                </c:pt>
                <c:pt idx="34">
                  <c:v>25568</c:v>
                </c:pt>
              </c:numCache>
            </c:numRef>
          </c:xVal>
          <c:yVal>
            <c:numRef>
              <c:f>Sheet1!$A$2:$AI$2</c:f>
              <c:numCache>
                <c:formatCode>General</c:formatCode>
                <c:ptCount val="35"/>
                <c:pt idx="0">
                  <c:v>292.31564589999999</c:v>
                </c:pt>
                <c:pt idx="1">
                  <c:v>311.37890060000001</c:v>
                </c:pt>
                <c:pt idx="2">
                  <c:v>299.77669270000001</c:v>
                </c:pt>
                <c:pt idx="3">
                  <c:v>303.5673961</c:v>
                </c:pt>
                <c:pt idx="4">
                  <c:v>302.13595429999998</c:v>
                </c:pt>
                <c:pt idx="5">
                  <c:v>316.67347030000002</c:v>
                </c:pt>
                <c:pt idx="6">
                  <c:v>336.55650150000002</c:v>
                </c:pt>
                <c:pt idx="7">
                  <c:v>336.36671630000001</c:v>
                </c:pt>
                <c:pt idx="8">
                  <c:v>341.37737959999998</c:v>
                </c:pt>
                <c:pt idx="9">
                  <c:v>341.57241879999998</c:v>
                </c:pt>
                <c:pt idx="10">
                  <c:v>340.26779060000001</c:v>
                </c:pt>
                <c:pt idx="11">
                  <c:v>359.09230989999998</c:v>
                </c:pt>
                <c:pt idx="12">
                  <c:v>359.8799305</c:v>
                </c:pt>
                <c:pt idx="13">
                  <c:v>378.35999379999998</c:v>
                </c:pt>
                <c:pt idx="14">
                  <c:v>386.31851180000001</c:v>
                </c:pt>
                <c:pt idx="15">
                  <c:v>399.47675880000003</c:v>
                </c:pt>
                <c:pt idx="16">
                  <c:v>403.0855262</c:v>
                </c:pt>
                <c:pt idx="17">
                  <c:v>396.39321740000003</c:v>
                </c:pt>
                <c:pt idx="18">
                  <c:v>399.62421410000002</c:v>
                </c:pt>
                <c:pt idx="19">
                  <c:v>379.26769139999999</c:v>
                </c:pt>
                <c:pt idx="20">
                  <c:v>405.07259390000002</c:v>
                </c:pt>
                <c:pt idx="21">
                  <c:v>393.43519889999999</c:v>
                </c:pt>
                <c:pt idx="22">
                  <c:v>392.23694799999998</c:v>
                </c:pt>
                <c:pt idx="23">
                  <c:v>396.94986870000002</c:v>
                </c:pt>
                <c:pt idx="24">
                  <c:v>382.98030879999999</c:v>
                </c:pt>
                <c:pt idx="25">
                  <c:v>392.32930279999999</c:v>
                </c:pt>
                <c:pt idx="26">
                  <c:v>397.74760320000001</c:v>
                </c:pt>
                <c:pt idx="27">
                  <c:v>404.88129529999998</c:v>
                </c:pt>
                <c:pt idx="28">
                  <c:v>395.5964075</c:v>
                </c:pt>
                <c:pt idx="29">
                  <c:v>404.49017730000003</c:v>
                </c:pt>
                <c:pt idx="30">
                  <c:v>375.15222549999999</c:v>
                </c:pt>
                <c:pt idx="31">
                  <c:v>397.02845189999999</c:v>
                </c:pt>
              </c:numCache>
            </c:numRef>
          </c:yVal>
          <c:smooth val="0"/>
          <c:extLst>
            <c:ext xmlns:c16="http://schemas.microsoft.com/office/drawing/2014/chart" uri="{C3380CC4-5D6E-409C-BE32-E72D297353CC}">
              <c16:uniqueId val="{00000000-143E-4C49-91F8-A54C350460CE}"/>
            </c:ext>
          </c:extLst>
        </c:ser>
        <c:ser>
          <c:idx val="1"/>
          <c:order val="1"/>
          <c:spPr>
            <a:ln w="25400" algn="ctr">
              <a:solidFill>
                <a:srgbClr val="8C5AC8"/>
              </a:solidFill>
              <a:prstDash val="lgDash"/>
            </a:ln>
          </c:spPr>
          <c:marker>
            <c:symbol val="none"/>
          </c:marker>
          <c:xVal>
            <c:numRef>
              <c:f>Sheet1!$A$1:$AI$1</c:f>
              <c:numCache>
                <c:formatCode>General</c:formatCode>
                <c:ptCount val="35"/>
                <c:pt idx="0">
                  <c:v>7305</c:v>
                </c:pt>
                <c:pt idx="1">
                  <c:v>7670</c:v>
                </c:pt>
                <c:pt idx="2">
                  <c:v>8035</c:v>
                </c:pt>
                <c:pt idx="3">
                  <c:v>8401</c:v>
                </c:pt>
                <c:pt idx="4">
                  <c:v>8766</c:v>
                </c:pt>
                <c:pt idx="5">
                  <c:v>9131</c:v>
                </c:pt>
                <c:pt idx="6">
                  <c:v>9496</c:v>
                </c:pt>
                <c:pt idx="7">
                  <c:v>9862</c:v>
                </c:pt>
                <c:pt idx="8">
                  <c:v>10227</c:v>
                </c:pt>
                <c:pt idx="9">
                  <c:v>10592</c:v>
                </c:pt>
                <c:pt idx="10">
                  <c:v>10957</c:v>
                </c:pt>
                <c:pt idx="11">
                  <c:v>11323</c:v>
                </c:pt>
                <c:pt idx="12">
                  <c:v>11688</c:v>
                </c:pt>
                <c:pt idx="13">
                  <c:v>12053</c:v>
                </c:pt>
                <c:pt idx="14">
                  <c:v>12418</c:v>
                </c:pt>
                <c:pt idx="15">
                  <c:v>12784</c:v>
                </c:pt>
                <c:pt idx="16">
                  <c:v>13149</c:v>
                </c:pt>
                <c:pt idx="17">
                  <c:v>13514</c:v>
                </c:pt>
                <c:pt idx="18">
                  <c:v>13879</c:v>
                </c:pt>
                <c:pt idx="19">
                  <c:v>14245</c:v>
                </c:pt>
                <c:pt idx="20">
                  <c:v>14610</c:v>
                </c:pt>
                <c:pt idx="21">
                  <c:v>14975</c:v>
                </c:pt>
                <c:pt idx="22">
                  <c:v>15340</c:v>
                </c:pt>
                <c:pt idx="23">
                  <c:v>15706</c:v>
                </c:pt>
                <c:pt idx="24">
                  <c:v>16071</c:v>
                </c:pt>
                <c:pt idx="25">
                  <c:v>16436</c:v>
                </c:pt>
                <c:pt idx="26">
                  <c:v>16801</c:v>
                </c:pt>
                <c:pt idx="27">
                  <c:v>17167</c:v>
                </c:pt>
                <c:pt idx="28">
                  <c:v>17532</c:v>
                </c:pt>
                <c:pt idx="29">
                  <c:v>17897</c:v>
                </c:pt>
                <c:pt idx="30">
                  <c:v>18262</c:v>
                </c:pt>
                <c:pt idx="31">
                  <c:v>18628</c:v>
                </c:pt>
                <c:pt idx="32">
                  <c:v>21915</c:v>
                </c:pt>
                <c:pt idx="33">
                  <c:v>25567</c:v>
                </c:pt>
                <c:pt idx="34">
                  <c:v>25568</c:v>
                </c:pt>
              </c:numCache>
            </c:numRef>
          </c:xVal>
          <c:yVal>
            <c:numRef>
              <c:f>Sheet1!$A$3:$AI$3</c:f>
              <c:numCache>
                <c:formatCode>General</c:formatCode>
                <c:ptCount val="35"/>
                <c:pt idx="31">
                  <c:v>397.02845189999999</c:v>
                </c:pt>
                <c:pt idx="32">
                  <c:v>409.16666670000001</c:v>
                </c:pt>
                <c:pt idx="33">
                  <c:v>416.38888889999998</c:v>
                </c:pt>
              </c:numCache>
            </c:numRef>
          </c:yVal>
          <c:smooth val="0"/>
          <c:extLst>
            <c:ext xmlns:c16="http://schemas.microsoft.com/office/drawing/2014/chart" uri="{C3380CC4-5D6E-409C-BE32-E72D297353CC}">
              <c16:uniqueId val="{00000001-143E-4C49-91F8-A54C350460CE}"/>
            </c:ext>
          </c:extLst>
        </c:ser>
        <c:ser>
          <c:idx val="2"/>
          <c:order val="2"/>
          <c:spPr>
            <a:ln w="25400" algn="ctr">
              <a:solidFill>
                <a:srgbClr val="BF95DF"/>
              </a:solidFill>
              <a:prstDash val="lgDash"/>
            </a:ln>
          </c:spPr>
          <c:marker>
            <c:symbol val="none"/>
          </c:marker>
          <c:xVal>
            <c:numRef>
              <c:f>Sheet1!$A$1:$AI$1</c:f>
              <c:numCache>
                <c:formatCode>General</c:formatCode>
                <c:ptCount val="35"/>
                <c:pt idx="0">
                  <c:v>7305</c:v>
                </c:pt>
                <c:pt idx="1">
                  <c:v>7670</c:v>
                </c:pt>
                <c:pt idx="2">
                  <c:v>8035</c:v>
                </c:pt>
                <c:pt idx="3">
                  <c:v>8401</c:v>
                </c:pt>
                <c:pt idx="4">
                  <c:v>8766</c:v>
                </c:pt>
                <c:pt idx="5">
                  <c:v>9131</c:v>
                </c:pt>
                <c:pt idx="6">
                  <c:v>9496</c:v>
                </c:pt>
                <c:pt idx="7">
                  <c:v>9862</c:v>
                </c:pt>
                <c:pt idx="8">
                  <c:v>10227</c:v>
                </c:pt>
                <c:pt idx="9">
                  <c:v>10592</c:v>
                </c:pt>
                <c:pt idx="10">
                  <c:v>10957</c:v>
                </c:pt>
                <c:pt idx="11">
                  <c:v>11323</c:v>
                </c:pt>
                <c:pt idx="12">
                  <c:v>11688</c:v>
                </c:pt>
                <c:pt idx="13">
                  <c:v>12053</c:v>
                </c:pt>
                <c:pt idx="14">
                  <c:v>12418</c:v>
                </c:pt>
                <c:pt idx="15">
                  <c:v>12784</c:v>
                </c:pt>
                <c:pt idx="16">
                  <c:v>13149</c:v>
                </c:pt>
                <c:pt idx="17">
                  <c:v>13514</c:v>
                </c:pt>
                <c:pt idx="18">
                  <c:v>13879</c:v>
                </c:pt>
                <c:pt idx="19">
                  <c:v>14245</c:v>
                </c:pt>
                <c:pt idx="20">
                  <c:v>14610</c:v>
                </c:pt>
                <c:pt idx="21">
                  <c:v>14975</c:v>
                </c:pt>
                <c:pt idx="22">
                  <c:v>15340</c:v>
                </c:pt>
                <c:pt idx="23">
                  <c:v>15706</c:v>
                </c:pt>
                <c:pt idx="24">
                  <c:v>16071</c:v>
                </c:pt>
                <c:pt idx="25">
                  <c:v>16436</c:v>
                </c:pt>
                <c:pt idx="26">
                  <c:v>16801</c:v>
                </c:pt>
                <c:pt idx="27">
                  <c:v>17167</c:v>
                </c:pt>
                <c:pt idx="28">
                  <c:v>17532</c:v>
                </c:pt>
                <c:pt idx="29">
                  <c:v>17897</c:v>
                </c:pt>
                <c:pt idx="30">
                  <c:v>18262</c:v>
                </c:pt>
                <c:pt idx="31">
                  <c:v>18628</c:v>
                </c:pt>
                <c:pt idx="32">
                  <c:v>21915</c:v>
                </c:pt>
                <c:pt idx="33">
                  <c:v>25567</c:v>
                </c:pt>
                <c:pt idx="34">
                  <c:v>25568</c:v>
                </c:pt>
              </c:numCache>
            </c:numRef>
          </c:xVal>
          <c:yVal>
            <c:numRef>
              <c:f>Sheet1!$A$4:$AI$4</c:f>
              <c:numCache>
                <c:formatCode>General</c:formatCode>
                <c:ptCount val="35"/>
                <c:pt idx="31">
                  <c:v>397.02845189999999</c:v>
                </c:pt>
                <c:pt idx="32">
                  <c:v>396.11111110000002</c:v>
                </c:pt>
                <c:pt idx="33">
                  <c:v>394.72222219999998</c:v>
                </c:pt>
              </c:numCache>
            </c:numRef>
          </c:yVal>
          <c:smooth val="0"/>
          <c:extLst>
            <c:ext xmlns:c16="http://schemas.microsoft.com/office/drawing/2014/chart" uri="{C3380CC4-5D6E-409C-BE32-E72D297353CC}">
              <c16:uniqueId val="{00000002-143E-4C49-91F8-A54C350460CE}"/>
            </c:ext>
          </c:extLst>
        </c:ser>
        <c:ser>
          <c:idx val="3"/>
          <c:order val="3"/>
          <c:spPr>
            <a:ln w="25400" algn="ctr">
              <a:solidFill>
                <a:schemeClr val="accent1"/>
              </a:solidFill>
              <a:prstDash val="lgDash"/>
            </a:ln>
          </c:spPr>
          <c:marker>
            <c:symbol val="none"/>
          </c:marker>
          <c:xVal>
            <c:numRef>
              <c:f>Sheet1!$A$1:$AI$1</c:f>
              <c:numCache>
                <c:formatCode>General</c:formatCode>
                <c:ptCount val="35"/>
                <c:pt idx="0">
                  <c:v>7305</c:v>
                </c:pt>
                <c:pt idx="1">
                  <c:v>7670</c:v>
                </c:pt>
                <c:pt idx="2">
                  <c:v>8035</c:v>
                </c:pt>
                <c:pt idx="3">
                  <c:v>8401</c:v>
                </c:pt>
                <c:pt idx="4">
                  <c:v>8766</c:v>
                </c:pt>
                <c:pt idx="5">
                  <c:v>9131</c:v>
                </c:pt>
                <c:pt idx="6">
                  <c:v>9496</c:v>
                </c:pt>
                <c:pt idx="7">
                  <c:v>9862</c:v>
                </c:pt>
                <c:pt idx="8">
                  <c:v>10227</c:v>
                </c:pt>
                <c:pt idx="9">
                  <c:v>10592</c:v>
                </c:pt>
                <c:pt idx="10">
                  <c:v>10957</c:v>
                </c:pt>
                <c:pt idx="11">
                  <c:v>11323</c:v>
                </c:pt>
                <c:pt idx="12">
                  <c:v>11688</c:v>
                </c:pt>
                <c:pt idx="13">
                  <c:v>12053</c:v>
                </c:pt>
                <c:pt idx="14">
                  <c:v>12418</c:v>
                </c:pt>
                <c:pt idx="15">
                  <c:v>12784</c:v>
                </c:pt>
                <c:pt idx="16">
                  <c:v>13149</c:v>
                </c:pt>
                <c:pt idx="17">
                  <c:v>13514</c:v>
                </c:pt>
                <c:pt idx="18">
                  <c:v>13879</c:v>
                </c:pt>
                <c:pt idx="19">
                  <c:v>14245</c:v>
                </c:pt>
                <c:pt idx="20">
                  <c:v>14610</c:v>
                </c:pt>
                <c:pt idx="21">
                  <c:v>14975</c:v>
                </c:pt>
                <c:pt idx="22">
                  <c:v>15340</c:v>
                </c:pt>
                <c:pt idx="23">
                  <c:v>15706</c:v>
                </c:pt>
                <c:pt idx="24">
                  <c:v>16071</c:v>
                </c:pt>
                <c:pt idx="25">
                  <c:v>16436</c:v>
                </c:pt>
                <c:pt idx="26">
                  <c:v>16801</c:v>
                </c:pt>
                <c:pt idx="27">
                  <c:v>17167</c:v>
                </c:pt>
                <c:pt idx="28">
                  <c:v>17532</c:v>
                </c:pt>
                <c:pt idx="29">
                  <c:v>17897</c:v>
                </c:pt>
                <c:pt idx="30">
                  <c:v>18262</c:v>
                </c:pt>
                <c:pt idx="31">
                  <c:v>18628</c:v>
                </c:pt>
                <c:pt idx="32">
                  <c:v>21915</c:v>
                </c:pt>
                <c:pt idx="33">
                  <c:v>25567</c:v>
                </c:pt>
                <c:pt idx="34">
                  <c:v>25568</c:v>
                </c:pt>
              </c:numCache>
            </c:numRef>
          </c:xVal>
          <c:yVal>
            <c:numRef>
              <c:f>Sheet1!$A$5:$AI$5</c:f>
              <c:numCache>
                <c:formatCode>General</c:formatCode>
                <c:ptCount val="35"/>
                <c:pt idx="31">
                  <c:v>397.02845189999999</c:v>
                </c:pt>
                <c:pt idx="32">
                  <c:v>399.16666670000001</c:v>
                </c:pt>
                <c:pt idx="33">
                  <c:v>381.66666670000001</c:v>
                </c:pt>
                <c:pt idx="34">
                  <c:v>380.27777780000002</c:v>
                </c:pt>
              </c:numCache>
            </c:numRef>
          </c:yVal>
          <c:smooth val="0"/>
          <c:extLst>
            <c:ext xmlns:c16="http://schemas.microsoft.com/office/drawing/2014/chart" uri="{C3380CC4-5D6E-409C-BE32-E72D297353CC}">
              <c16:uniqueId val="{00000003-143E-4C49-91F8-A54C350460CE}"/>
            </c:ext>
          </c:extLst>
        </c:ser>
        <c:ser>
          <c:idx val="4"/>
          <c:order val="4"/>
          <c:spPr>
            <a:ln w="25400" algn="ctr">
              <a:solidFill>
                <a:srgbClr val="0A7EB4"/>
              </a:solidFill>
              <a:prstDash val="lgDash"/>
            </a:ln>
          </c:spPr>
          <c:marker>
            <c:symbol val="none"/>
          </c:marker>
          <c:xVal>
            <c:numRef>
              <c:f>Sheet1!$A$1:$AI$1</c:f>
              <c:numCache>
                <c:formatCode>General</c:formatCode>
                <c:ptCount val="35"/>
                <c:pt idx="0">
                  <c:v>7305</c:v>
                </c:pt>
                <c:pt idx="1">
                  <c:v>7670</c:v>
                </c:pt>
                <c:pt idx="2">
                  <c:v>8035</c:v>
                </c:pt>
                <c:pt idx="3">
                  <c:v>8401</c:v>
                </c:pt>
                <c:pt idx="4">
                  <c:v>8766</c:v>
                </c:pt>
                <c:pt idx="5">
                  <c:v>9131</c:v>
                </c:pt>
                <c:pt idx="6">
                  <c:v>9496</c:v>
                </c:pt>
                <c:pt idx="7">
                  <c:v>9862</c:v>
                </c:pt>
                <c:pt idx="8">
                  <c:v>10227</c:v>
                </c:pt>
                <c:pt idx="9">
                  <c:v>10592</c:v>
                </c:pt>
                <c:pt idx="10">
                  <c:v>10957</c:v>
                </c:pt>
                <c:pt idx="11">
                  <c:v>11323</c:v>
                </c:pt>
                <c:pt idx="12">
                  <c:v>11688</c:v>
                </c:pt>
                <c:pt idx="13">
                  <c:v>12053</c:v>
                </c:pt>
                <c:pt idx="14">
                  <c:v>12418</c:v>
                </c:pt>
                <c:pt idx="15">
                  <c:v>12784</c:v>
                </c:pt>
                <c:pt idx="16">
                  <c:v>13149</c:v>
                </c:pt>
                <c:pt idx="17">
                  <c:v>13514</c:v>
                </c:pt>
                <c:pt idx="18">
                  <c:v>13879</c:v>
                </c:pt>
                <c:pt idx="19">
                  <c:v>14245</c:v>
                </c:pt>
                <c:pt idx="20">
                  <c:v>14610</c:v>
                </c:pt>
                <c:pt idx="21">
                  <c:v>14975</c:v>
                </c:pt>
                <c:pt idx="22">
                  <c:v>15340</c:v>
                </c:pt>
                <c:pt idx="23">
                  <c:v>15706</c:v>
                </c:pt>
                <c:pt idx="24">
                  <c:v>16071</c:v>
                </c:pt>
                <c:pt idx="25">
                  <c:v>16436</c:v>
                </c:pt>
                <c:pt idx="26">
                  <c:v>16801</c:v>
                </c:pt>
                <c:pt idx="27">
                  <c:v>17167</c:v>
                </c:pt>
                <c:pt idx="28">
                  <c:v>17532</c:v>
                </c:pt>
                <c:pt idx="29">
                  <c:v>17897</c:v>
                </c:pt>
                <c:pt idx="30">
                  <c:v>18262</c:v>
                </c:pt>
                <c:pt idx="31">
                  <c:v>18628</c:v>
                </c:pt>
                <c:pt idx="32">
                  <c:v>21915</c:v>
                </c:pt>
                <c:pt idx="33">
                  <c:v>25567</c:v>
                </c:pt>
                <c:pt idx="34">
                  <c:v>25568</c:v>
                </c:pt>
              </c:numCache>
            </c:numRef>
          </c:xVal>
          <c:yVal>
            <c:numRef>
              <c:f>Sheet1!$A$6:$AI$6</c:f>
              <c:numCache>
                <c:formatCode>General</c:formatCode>
                <c:ptCount val="35"/>
                <c:pt idx="31">
                  <c:v>397.02845189999999</c:v>
                </c:pt>
                <c:pt idx="32">
                  <c:v>383.33333329999999</c:v>
                </c:pt>
                <c:pt idx="33">
                  <c:v>351.94444440000001</c:v>
                </c:pt>
                <c:pt idx="34">
                  <c:v>331.66666670000001</c:v>
                </c:pt>
              </c:numCache>
            </c:numRef>
          </c:yVal>
          <c:smooth val="0"/>
          <c:extLst>
            <c:ext xmlns:c16="http://schemas.microsoft.com/office/drawing/2014/chart" uri="{C3380CC4-5D6E-409C-BE32-E72D297353CC}">
              <c16:uniqueId val="{00000004-143E-4C49-91F8-A54C350460CE}"/>
            </c:ext>
          </c:extLst>
        </c:ser>
        <c:ser>
          <c:idx val="5"/>
          <c:order val="5"/>
          <c:spPr>
            <a:ln w="25400" algn="ctr">
              <a:solidFill>
                <a:schemeClr val="accent5"/>
              </a:solidFill>
              <a:prstDash val="solid"/>
            </a:ln>
          </c:spPr>
          <c:marker>
            <c:symbol val="none"/>
          </c:marker>
          <c:xVal>
            <c:numRef>
              <c:f>Sheet1!$A$1:$AI$1</c:f>
              <c:numCache>
                <c:formatCode>General</c:formatCode>
                <c:ptCount val="35"/>
                <c:pt idx="0">
                  <c:v>7305</c:v>
                </c:pt>
                <c:pt idx="1">
                  <c:v>7670</c:v>
                </c:pt>
                <c:pt idx="2">
                  <c:v>8035</c:v>
                </c:pt>
                <c:pt idx="3">
                  <c:v>8401</c:v>
                </c:pt>
                <c:pt idx="4">
                  <c:v>8766</c:v>
                </c:pt>
                <c:pt idx="5">
                  <c:v>9131</c:v>
                </c:pt>
                <c:pt idx="6">
                  <c:v>9496</c:v>
                </c:pt>
                <c:pt idx="7">
                  <c:v>9862</c:v>
                </c:pt>
                <c:pt idx="8">
                  <c:v>10227</c:v>
                </c:pt>
                <c:pt idx="9">
                  <c:v>10592</c:v>
                </c:pt>
                <c:pt idx="10">
                  <c:v>10957</c:v>
                </c:pt>
                <c:pt idx="11">
                  <c:v>11323</c:v>
                </c:pt>
                <c:pt idx="12">
                  <c:v>11688</c:v>
                </c:pt>
                <c:pt idx="13">
                  <c:v>12053</c:v>
                </c:pt>
                <c:pt idx="14">
                  <c:v>12418</c:v>
                </c:pt>
                <c:pt idx="15">
                  <c:v>12784</c:v>
                </c:pt>
                <c:pt idx="16">
                  <c:v>13149</c:v>
                </c:pt>
                <c:pt idx="17">
                  <c:v>13514</c:v>
                </c:pt>
                <c:pt idx="18">
                  <c:v>13879</c:v>
                </c:pt>
                <c:pt idx="19">
                  <c:v>14245</c:v>
                </c:pt>
                <c:pt idx="20">
                  <c:v>14610</c:v>
                </c:pt>
                <c:pt idx="21">
                  <c:v>14975</c:v>
                </c:pt>
                <c:pt idx="22">
                  <c:v>15340</c:v>
                </c:pt>
                <c:pt idx="23">
                  <c:v>15706</c:v>
                </c:pt>
                <c:pt idx="24">
                  <c:v>16071</c:v>
                </c:pt>
                <c:pt idx="25">
                  <c:v>16436</c:v>
                </c:pt>
                <c:pt idx="26">
                  <c:v>16801</c:v>
                </c:pt>
                <c:pt idx="27">
                  <c:v>17167</c:v>
                </c:pt>
                <c:pt idx="28">
                  <c:v>17532</c:v>
                </c:pt>
                <c:pt idx="29">
                  <c:v>17897</c:v>
                </c:pt>
                <c:pt idx="30">
                  <c:v>18262</c:v>
                </c:pt>
                <c:pt idx="31">
                  <c:v>18628</c:v>
                </c:pt>
                <c:pt idx="32">
                  <c:v>21915</c:v>
                </c:pt>
                <c:pt idx="33">
                  <c:v>25567</c:v>
                </c:pt>
                <c:pt idx="34">
                  <c:v>25568</c:v>
                </c:pt>
              </c:numCache>
            </c:numRef>
          </c:xVal>
          <c:yVal>
            <c:numRef>
              <c:f>Sheet1!$A$7:$AI$7</c:f>
              <c:numCache>
                <c:formatCode>General</c:formatCode>
                <c:ptCount val="35"/>
                <c:pt idx="0">
                  <c:v>211.76955860000001</c:v>
                </c:pt>
                <c:pt idx="1">
                  <c:v>228.80678209999999</c:v>
                </c:pt>
                <c:pt idx="2">
                  <c:v>223.56801530000001</c:v>
                </c:pt>
                <c:pt idx="3">
                  <c:v>228.2634812</c:v>
                </c:pt>
                <c:pt idx="4">
                  <c:v>223.57375709999999</c:v>
                </c:pt>
                <c:pt idx="5">
                  <c:v>234.73438530000001</c:v>
                </c:pt>
                <c:pt idx="6">
                  <c:v>254.54845470000001</c:v>
                </c:pt>
                <c:pt idx="7">
                  <c:v>249.2728209</c:v>
                </c:pt>
                <c:pt idx="8">
                  <c:v>256.6563337</c:v>
                </c:pt>
                <c:pt idx="9">
                  <c:v>259.07961369999998</c:v>
                </c:pt>
                <c:pt idx="10">
                  <c:v>259.88120270000002</c:v>
                </c:pt>
                <c:pt idx="11">
                  <c:v>276.59227270000002</c:v>
                </c:pt>
                <c:pt idx="12">
                  <c:v>278.71069160000002</c:v>
                </c:pt>
                <c:pt idx="13">
                  <c:v>293.68949980000002</c:v>
                </c:pt>
                <c:pt idx="14">
                  <c:v>298.22212309999998</c:v>
                </c:pt>
                <c:pt idx="15">
                  <c:v>306.99348049999998</c:v>
                </c:pt>
                <c:pt idx="16">
                  <c:v>307.98849130000002</c:v>
                </c:pt>
                <c:pt idx="17">
                  <c:v>303.26331049999999</c:v>
                </c:pt>
                <c:pt idx="18">
                  <c:v>303.83269410000003</c:v>
                </c:pt>
                <c:pt idx="19">
                  <c:v>294.511977</c:v>
                </c:pt>
                <c:pt idx="20">
                  <c:v>309.9528833</c:v>
                </c:pt>
                <c:pt idx="21">
                  <c:v>300.25014809999999</c:v>
                </c:pt>
                <c:pt idx="22">
                  <c:v>301.2617305</c:v>
                </c:pt>
                <c:pt idx="23">
                  <c:v>307.88709549999999</c:v>
                </c:pt>
                <c:pt idx="24">
                  <c:v>295.8235813</c:v>
                </c:pt>
                <c:pt idx="25">
                  <c:v>304.63120379999998</c:v>
                </c:pt>
                <c:pt idx="26">
                  <c:v>312.69661969999999</c:v>
                </c:pt>
                <c:pt idx="27">
                  <c:v>317.0865751</c:v>
                </c:pt>
                <c:pt idx="28">
                  <c:v>312.6842987</c:v>
                </c:pt>
                <c:pt idx="29">
                  <c:v>316.33629480000002</c:v>
                </c:pt>
                <c:pt idx="30">
                  <c:v>293.15687700000001</c:v>
                </c:pt>
                <c:pt idx="31">
                  <c:v>311.9855417</c:v>
                </c:pt>
              </c:numCache>
            </c:numRef>
          </c:yVal>
          <c:smooth val="0"/>
          <c:extLst>
            <c:ext xmlns:c16="http://schemas.microsoft.com/office/drawing/2014/chart" uri="{C3380CC4-5D6E-409C-BE32-E72D297353CC}">
              <c16:uniqueId val="{00000005-143E-4C49-91F8-A54C350460CE}"/>
            </c:ext>
          </c:extLst>
        </c:ser>
        <c:ser>
          <c:idx val="6"/>
          <c:order val="6"/>
          <c:spPr>
            <a:ln w="25400" algn="ctr">
              <a:solidFill>
                <a:schemeClr val="accent3"/>
              </a:solidFill>
              <a:prstDash val="lgDash"/>
            </a:ln>
          </c:spPr>
          <c:marker>
            <c:symbol val="none"/>
          </c:marker>
          <c:xVal>
            <c:numRef>
              <c:f>Sheet1!$A$1:$AI$1</c:f>
              <c:numCache>
                <c:formatCode>General</c:formatCode>
                <c:ptCount val="35"/>
                <c:pt idx="0">
                  <c:v>7305</c:v>
                </c:pt>
                <c:pt idx="1">
                  <c:v>7670</c:v>
                </c:pt>
                <c:pt idx="2">
                  <c:v>8035</c:v>
                </c:pt>
                <c:pt idx="3">
                  <c:v>8401</c:v>
                </c:pt>
                <c:pt idx="4">
                  <c:v>8766</c:v>
                </c:pt>
                <c:pt idx="5">
                  <c:v>9131</c:v>
                </c:pt>
                <c:pt idx="6">
                  <c:v>9496</c:v>
                </c:pt>
                <c:pt idx="7">
                  <c:v>9862</c:v>
                </c:pt>
                <c:pt idx="8">
                  <c:v>10227</c:v>
                </c:pt>
                <c:pt idx="9">
                  <c:v>10592</c:v>
                </c:pt>
                <c:pt idx="10">
                  <c:v>10957</c:v>
                </c:pt>
                <c:pt idx="11">
                  <c:v>11323</c:v>
                </c:pt>
                <c:pt idx="12">
                  <c:v>11688</c:v>
                </c:pt>
                <c:pt idx="13">
                  <c:v>12053</c:v>
                </c:pt>
                <c:pt idx="14">
                  <c:v>12418</c:v>
                </c:pt>
                <c:pt idx="15">
                  <c:v>12784</c:v>
                </c:pt>
                <c:pt idx="16">
                  <c:v>13149</c:v>
                </c:pt>
                <c:pt idx="17">
                  <c:v>13514</c:v>
                </c:pt>
                <c:pt idx="18">
                  <c:v>13879</c:v>
                </c:pt>
                <c:pt idx="19">
                  <c:v>14245</c:v>
                </c:pt>
                <c:pt idx="20">
                  <c:v>14610</c:v>
                </c:pt>
                <c:pt idx="21">
                  <c:v>14975</c:v>
                </c:pt>
                <c:pt idx="22">
                  <c:v>15340</c:v>
                </c:pt>
                <c:pt idx="23">
                  <c:v>15706</c:v>
                </c:pt>
                <c:pt idx="24">
                  <c:v>16071</c:v>
                </c:pt>
                <c:pt idx="25">
                  <c:v>16436</c:v>
                </c:pt>
                <c:pt idx="26">
                  <c:v>16801</c:v>
                </c:pt>
                <c:pt idx="27">
                  <c:v>17167</c:v>
                </c:pt>
                <c:pt idx="28">
                  <c:v>17532</c:v>
                </c:pt>
                <c:pt idx="29">
                  <c:v>17897</c:v>
                </c:pt>
                <c:pt idx="30">
                  <c:v>18262</c:v>
                </c:pt>
                <c:pt idx="31">
                  <c:v>18628</c:v>
                </c:pt>
                <c:pt idx="32">
                  <c:v>21915</c:v>
                </c:pt>
                <c:pt idx="33">
                  <c:v>25567</c:v>
                </c:pt>
                <c:pt idx="34">
                  <c:v>25568</c:v>
                </c:pt>
              </c:numCache>
            </c:numRef>
          </c:xVal>
          <c:yVal>
            <c:numRef>
              <c:f>Sheet1!$A$8:$AI$8</c:f>
              <c:numCache>
                <c:formatCode>General</c:formatCode>
                <c:ptCount val="35"/>
                <c:pt idx="31">
                  <c:v>311.9855417</c:v>
                </c:pt>
                <c:pt idx="32">
                  <c:v>327.77803999999998</c:v>
                </c:pt>
                <c:pt idx="33">
                  <c:v>334.16693400000003</c:v>
                </c:pt>
              </c:numCache>
            </c:numRef>
          </c:yVal>
          <c:smooth val="0"/>
          <c:extLst>
            <c:ext xmlns:c16="http://schemas.microsoft.com/office/drawing/2014/chart" uri="{C3380CC4-5D6E-409C-BE32-E72D297353CC}">
              <c16:uniqueId val="{00000006-143E-4C49-91F8-A54C350460CE}"/>
            </c:ext>
          </c:extLst>
        </c:ser>
        <c:ser>
          <c:idx val="7"/>
          <c:order val="7"/>
          <c:spPr>
            <a:ln w="25400" algn="ctr">
              <a:solidFill>
                <a:srgbClr val="FFC000"/>
              </a:solidFill>
              <a:prstDash val="lgDash"/>
            </a:ln>
          </c:spPr>
          <c:marker>
            <c:symbol val="none"/>
          </c:marker>
          <c:xVal>
            <c:numRef>
              <c:f>Sheet1!$A$1:$AI$1</c:f>
              <c:numCache>
                <c:formatCode>General</c:formatCode>
                <c:ptCount val="35"/>
                <c:pt idx="0">
                  <c:v>7305</c:v>
                </c:pt>
                <c:pt idx="1">
                  <c:v>7670</c:v>
                </c:pt>
                <c:pt idx="2">
                  <c:v>8035</c:v>
                </c:pt>
                <c:pt idx="3">
                  <c:v>8401</c:v>
                </c:pt>
                <c:pt idx="4">
                  <c:v>8766</c:v>
                </c:pt>
                <c:pt idx="5">
                  <c:v>9131</c:v>
                </c:pt>
                <c:pt idx="6">
                  <c:v>9496</c:v>
                </c:pt>
                <c:pt idx="7">
                  <c:v>9862</c:v>
                </c:pt>
                <c:pt idx="8">
                  <c:v>10227</c:v>
                </c:pt>
                <c:pt idx="9">
                  <c:v>10592</c:v>
                </c:pt>
                <c:pt idx="10">
                  <c:v>10957</c:v>
                </c:pt>
                <c:pt idx="11">
                  <c:v>11323</c:v>
                </c:pt>
                <c:pt idx="12">
                  <c:v>11688</c:v>
                </c:pt>
                <c:pt idx="13">
                  <c:v>12053</c:v>
                </c:pt>
                <c:pt idx="14">
                  <c:v>12418</c:v>
                </c:pt>
                <c:pt idx="15">
                  <c:v>12784</c:v>
                </c:pt>
                <c:pt idx="16">
                  <c:v>13149</c:v>
                </c:pt>
                <c:pt idx="17">
                  <c:v>13514</c:v>
                </c:pt>
                <c:pt idx="18">
                  <c:v>13879</c:v>
                </c:pt>
                <c:pt idx="19">
                  <c:v>14245</c:v>
                </c:pt>
                <c:pt idx="20">
                  <c:v>14610</c:v>
                </c:pt>
                <c:pt idx="21">
                  <c:v>14975</c:v>
                </c:pt>
                <c:pt idx="22">
                  <c:v>15340</c:v>
                </c:pt>
                <c:pt idx="23">
                  <c:v>15706</c:v>
                </c:pt>
                <c:pt idx="24">
                  <c:v>16071</c:v>
                </c:pt>
                <c:pt idx="25">
                  <c:v>16436</c:v>
                </c:pt>
                <c:pt idx="26">
                  <c:v>16801</c:v>
                </c:pt>
                <c:pt idx="27">
                  <c:v>17167</c:v>
                </c:pt>
                <c:pt idx="28">
                  <c:v>17532</c:v>
                </c:pt>
                <c:pt idx="29">
                  <c:v>17897</c:v>
                </c:pt>
                <c:pt idx="30">
                  <c:v>18262</c:v>
                </c:pt>
                <c:pt idx="31">
                  <c:v>18628</c:v>
                </c:pt>
                <c:pt idx="32">
                  <c:v>21915</c:v>
                </c:pt>
                <c:pt idx="33">
                  <c:v>25567</c:v>
                </c:pt>
                <c:pt idx="34">
                  <c:v>25568</c:v>
                </c:pt>
              </c:numCache>
            </c:numRef>
          </c:xVal>
          <c:yVal>
            <c:numRef>
              <c:f>Sheet1!$A$9:$AI$9</c:f>
              <c:numCache>
                <c:formatCode>General</c:formatCode>
                <c:ptCount val="35"/>
                <c:pt idx="31">
                  <c:v>311.9855417</c:v>
                </c:pt>
                <c:pt idx="32">
                  <c:v>315.00025199999999</c:v>
                </c:pt>
                <c:pt idx="33">
                  <c:v>314.72247399999998</c:v>
                </c:pt>
              </c:numCache>
            </c:numRef>
          </c:yVal>
          <c:smooth val="0"/>
          <c:extLst>
            <c:ext xmlns:c16="http://schemas.microsoft.com/office/drawing/2014/chart" uri="{C3380CC4-5D6E-409C-BE32-E72D297353CC}">
              <c16:uniqueId val="{00000007-143E-4C49-91F8-A54C350460CE}"/>
            </c:ext>
          </c:extLst>
        </c:ser>
        <c:ser>
          <c:idx val="8"/>
          <c:order val="8"/>
          <c:spPr>
            <a:ln w="25400" algn="ctr">
              <a:solidFill>
                <a:schemeClr val="accent5"/>
              </a:solidFill>
              <a:prstDash val="lgDash"/>
            </a:ln>
          </c:spPr>
          <c:marker>
            <c:symbol val="none"/>
          </c:marker>
          <c:xVal>
            <c:numRef>
              <c:f>Sheet1!$A$1:$AI$1</c:f>
              <c:numCache>
                <c:formatCode>General</c:formatCode>
                <c:ptCount val="35"/>
                <c:pt idx="0">
                  <c:v>7305</c:v>
                </c:pt>
                <c:pt idx="1">
                  <c:v>7670</c:v>
                </c:pt>
                <c:pt idx="2">
                  <c:v>8035</c:v>
                </c:pt>
                <c:pt idx="3">
                  <c:v>8401</c:v>
                </c:pt>
                <c:pt idx="4">
                  <c:v>8766</c:v>
                </c:pt>
                <c:pt idx="5">
                  <c:v>9131</c:v>
                </c:pt>
                <c:pt idx="6">
                  <c:v>9496</c:v>
                </c:pt>
                <c:pt idx="7">
                  <c:v>9862</c:v>
                </c:pt>
                <c:pt idx="8">
                  <c:v>10227</c:v>
                </c:pt>
                <c:pt idx="9">
                  <c:v>10592</c:v>
                </c:pt>
                <c:pt idx="10">
                  <c:v>10957</c:v>
                </c:pt>
                <c:pt idx="11">
                  <c:v>11323</c:v>
                </c:pt>
                <c:pt idx="12">
                  <c:v>11688</c:v>
                </c:pt>
                <c:pt idx="13">
                  <c:v>12053</c:v>
                </c:pt>
                <c:pt idx="14">
                  <c:v>12418</c:v>
                </c:pt>
                <c:pt idx="15">
                  <c:v>12784</c:v>
                </c:pt>
                <c:pt idx="16">
                  <c:v>13149</c:v>
                </c:pt>
                <c:pt idx="17">
                  <c:v>13514</c:v>
                </c:pt>
                <c:pt idx="18">
                  <c:v>13879</c:v>
                </c:pt>
                <c:pt idx="19">
                  <c:v>14245</c:v>
                </c:pt>
                <c:pt idx="20">
                  <c:v>14610</c:v>
                </c:pt>
                <c:pt idx="21">
                  <c:v>14975</c:v>
                </c:pt>
                <c:pt idx="22">
                  <c:v>15340</c:v>
                </c:pt>
                <c:pt idx="23">
                  <c:v>15706</c:v>
                </c:pt>
                <c:pt idx="24">
                  <c:v>16071</c:v>
                </c:pt>
                <c:pt idx="25">
                  <c:v>16436</c:v>
                </c:pt>
                <c:pt idx="26">
                  <c:v>16801</c:v>
                </c:pt>
                <c:pt idx="27">
                  <c:v>17167</c:v>
                </c:pt>
                <c:pt idx="28">
                  <c:v>17532</c:v>
                </c:pt>
                <c:pt idx="29">
                  <c:v>17897</c:v>
                </c:pt>
                <c:pt idx="30">
                  <c:v>18262</c:v>
                </c:pt>
                <c:pt idx="31">
                  <c:v>18628</c:v>
                </c:pt>
                <c:pt idx="32">
                  <c:v>21915</c:v>
                </c:pt>
                <c:pt idx="33">
                  <c:v>25567</c:v>
                </c:pt>
                <c:pt idx="34">
                  <c:v>25568</c:v>
                </c:pt>
              </c:numCache>
            </c:numRef>
          </c:xVal>
          <c:yVal>
            <c:numRef>
              <c:f>Sheet1!$A$10:$AI$10</c:f>
              <c:numCache>
                <c:formatCode>General</c:formatCode>
                <c:ptCount val="35"/>
                <c:pt idx="31">
                  <c:v>311.9855417</c:v>
                </c:pt>
                <c:pt idx="32">
                  <c:v>315</c:v>
                </c:pt>
                <c:pt idx="33">
                  <c:v>299.72222219999998</c:v>
                </c:pt>
                <c:pt idx="34">
                  <c:v>295.55555559999999</c:v>
                </c:pt>
              </c:numCache>
            </c:numRef>
          </c:yVal>
          <c:smooth val="0"/>
          <c:extLst>
            <c:ext xmlns:c16="http://schemas.microsoft.com/office/drawing/2014/chart" uri="{C3380CC4-5D6E-409C-BE32-E72D297353CC}">
              <c16:uniqueId val="{00000008-143E-4C49-91F8-A54C350460CE}"/>
            </c:ext>
          </c:extLst>
        </c:ser>
        <c:ser>
          <c:idx val="9"/>
          <c:order val="9"/>
          <c:spPr>
            <a:ln w="25400" algn="ctr">
              <a:solidFill>
                <a:srgbClr val="9B9B9B"/>
              </a:solidFill>
              <a:prstDash val="lgDash"/>
            </a:ln>
          </c:spPr>
          <c:marker>
            <c:symbol val="none"/>
          </c:marker>
          <c:xVal>
            <c:numRef>
              <c:f>Sheet1!$A$1:$AI$1</c:f>
              <c:numCache>
                <c:formatCode>General</c:formatCode>
                <c:ptCount val="35"/>
                <c:pt idx="0">
                  <c:v>7305</c:v>
                </c:pt>
                <c:pt idx="1">
                  <c:v>7670</c:v>
                </c:pt>
                <c:pt idx="2">
                  <c:v>8035</c:v>
                </c:pt>
                <c:pt idx="3">
                  <c:v>8401</c:v>
                </c:pt>
                <c:pt idx="4">
                  <c:v>8766</c:v>
                </c:pt>
                <c:pt idx="5">
                  <c:v>9131</c:v>
                </c:pt>
                <c:pt idx="6">
                  <c:v>9496</c:v>
                </c:pt>
                <c:pt idx="7">
                  <c:v>9862</c:v>
                </c:pt>
                <c:pt idx="8">
                  <c:v>10227</c:v>
                </c:pt>
                <c:pt idx="9">
                  <c:v>10592</c:v>
                </c:pt>
                <c:pt idx="10">
                  <c:v>10957</c:v>
                </c:pt>
                <c:pt idx="11">
                  <c:v>11323</c:v>
                </c:pt>
                <c:pt idx="12">
                  <c:v>11688</c:v>
                </c:pt>
                <c:pt idx="13">
                  <c:v>12053</c:v>
                </c:pt>
                <c:pt idx="14">
                  <c:v>12418</c:v>
                </c:pt>
                <c:pt idx="15">
                  <c:v>12784</c:v>
                </c:pt>
                <c:pt idx="16">
                  <c:v>13149</c:v>
                </c:pt>
                <c:pt idx="17">
                  <c:v>13514</c:v>
                </c:pt>
                <c:pt idx="18">
                  <c:v>13879</c:v>
                </c:pt>
                <c:pt idx="19">
                  <c:v>14245</c:v>
                </c:pt>
                <c:pt idx="20">
                  <c:v>14610</c:v>
                </c:pt>
                <c:pt idx="21">
                  <c:v>14975</c:v>
                </c:pt>
                <c:pt idx="22">
                  <c:v>15340</c:v>
                </c:pt>
                <c:pt idx="23">
                  <c:v>15706</c:v>
                </c:pt>
                <c:pt idx="24">
                  <c:v>16071</c:v>
                </c:pt>
                <c:pt idx="25">
                  <c:v>16436</c:v>
                </c:pt>
                <c:pt idx="26">
                  <c:v>16801</c:v>
                </c:pt>
                <c:pt idx="27">
                  <c:v>17167</c:v>
                </c:pt>
                <c:pt idx="28">
                  <c:v>17532</c:v>
                </c:pt>
                <c:pt idx="29">
                  <c:v>17897</c:v>
                </c:pt>
                <c:pt idx="30">
                  <c:v>18262</c:v>
                </c:pt>
                <c:pt idx="31">
                  <c:v>18628</c:v>
                </c:pt>
                <c:pt idx="32">
                  <c:v>21915</c:v>
                </c:pt>
                <c:pt idx="33">
                  <c:v>25567</c:v>
                </c:pt>
                <c:pt idx="34">
                  <c:v>25568</c:v>
                </c:pt>
              </c:numCache>
            </c:numRef>
          </c:xVal>
          <c:yVal>
            <c:numRef>
              <c:f>Sheet1!$A$11:$AI$11</c:f>
              <c:numCache>
                <c:formatCode>General</c:formatCode>
                <c:ptCount val="35"/>
                <c:pt idx="31">
                  <c:v>311.9855417</c:v>
                </c:pt>
                <c:pt idx="32">
                  <c:v>302.5</c:v>
                </c:pt>
                <c:pt idx="33">
                  <c:v>273.33333329999999</c:v>
                </c:pt>
                <c:pt idx="34">
                  <c:v>255.55555559999999</c:v>
                </c:pt>
              </c:numCache>
            </c:numRef>
          </c:yVal>
          <c:smooth val="0"/>
          <c:extLst>
            <c:ext xmlns:c16="http://schemas.microsoft.com/office/drawing/2014/chart" uri="{C3380CC4-5D6E-409C-BE32-E72D297353CC}">
              <c16:uniqueId val="{00000009-143E-4C49-91F8-A54C350460CE}"/>
            </c:ext>
          </c:extLst>
        </c:ser>
        <c:ser>
          <c:idx val="10"/>
          <c:order val="10"/>
          <c:spPr>
            <a:ln w="38100" algn="ctr">
              <a:solidFill>
                <a:srgbClr val="92D050"/>
              </a:solidFill>
              <a:prstDash val="sysDot"/>
            </a:ln>
          </c:spPr>
          <c:marker>
            <c:symbol val="none"/>
          </c:marker>
          <c:xVal>
            <c:numRef>
              <c:f>Sheet1!$A$1:$AI$1</c:f>
              <c:numCache>
                <c:formatCode>General</c:formatCode>
                <c:ptCount val="35"/>
                <c:pt idx="0">
                  <c:v>7305</c:v>
                </c:pt>
                <c:pt idx="1">
                  <c:v>7670</c:v>
                </c:pt>
                <c:pt idx="2">
                  <c:v>8035</c:v>
                </c:pt>
                <c:pt idx="3">
                  <c:v>8401</c:v>
                </c:pt>
                <c:pt idx="4">
                  <c:v>8766</c:v>
                </c:pt>
                <c:pt idx="5">
                  <c:v>9131</c:v>
                </c:pt>
                <c:pt idx="6">
                  <c:v>9496</c:v>
                </c:pt>
                <c:pt idx="7">
                  <c:v>9862</c:v>
                </c:pt>
                <c:pt idx="8">
                  <c:v>10227</c:v>
                </c:pt>
                <c:pt idx="9">
                  <c:v>10592</c:v>
                </c:pt>
                <c:pt idx="10">
                  <c:v>10957</c:v>
                </c:pt>
                <c:pt idx="11">
                  <c:v>11323</c:v>
                </c:pt>
                <c:pt idx="12">
                  <c:v>11688</c:v>
                </c:pt>
                <c:pt idx="13">
                  <c:v>12053</c:v>
                </c:pt>
                <c:pt idx="14">
                  <c:v>12418</c:v>
                </c:pt>
                <c:pt idx="15">
                  <c:v>12784</c:v>
                </c:pt>
                <c:pt idx="16">
                  <c:v>13149</c:v>
                </c:pt>
                <c:pt idx="17">
                  <c:v>13514</c:v>
                </c:pt>
                <c:pt idx="18">
                  <c:v>13879</c:v>
                </c:pt>
                <c:pt idx="19">
                  <c:v>14245</c:v>
                </c:pt>
                <c:pt idx="20">
                  <c:v>14610</c:v>
                </c:pt>
                <c:pt idx="21">
                  <c:v>14975</c:v>
                </c:pt>
                <c:pt idx="22">
                  <c:v>15340</c:v>
                </c:pt>
                <c:pt idx="23">
                  <c:v>15706</c:v>
                </c:pt>
                <c:pt idx="24">
                  <c:v>16071</c:v>
                </c:pt>
                <c:pt idx="25">
                  <c:v>16436</c:v>
                </c:pt>
                <c:pt idx="26">
                  <c:v>16801</c:v>
                </c:pt>
                <c:pt idx="27">
                  <c:v>17167</c:v>
                </c:pt>
                <c:pt idx="28">
                  <c:v>17532</c:v>
                </c:pt>
                <c:pt idx="29">
                  <c:v>17897</c:v>
                </c:pt>
                <c:pt idx="30">
                  <c:v>18262</c:v>
                </c:pt>
                <c:pt idx="31">
                  <c:v>18628</c:v>
                </c:pt>
                <c:pt idx="32">
                  <c:v>21915</c:v>
                </c:pt>
                <c:pt idx="33">
                  <c:v>25567</c:v>
                </c:pt>
                <c:pt idx="34">
                  <c:v>25568</c:v>
                </c:pt>
              </c:numCache>
            </c:numRef>
          </c:xVal>
          <c:yVal>
            <c:numRef>
              <c:f>Sheet1!$A$12:$AI$12</c:f>
              <c:numCache>
                <c:formatCode>General</c:formatCode>
                <c:ptCount val="35"/>
                <c:pt idx="31">
                  <c:v>311.9855417</c:v>
                </c:pt>
                <c:pt idx="32">
                  <c:v>236.11111109999999</c:v>
                </c:pt>
                <c:pt idx="33">
                  <c:v>194.44444440000001</c:v>
                </c:pt>
              </c:numCache>
            </c:numRef>
          </c:yVal>
          <c:smooth val="0"/>
          <c:extLst>
            <c:ext xmlns:c16="http://schemas.microsoft.com/office/drawing/2014/chart" uri="{C3380CC4-5D6E-409C-BE32-E72D297353CC}">
              <c16:uniqueId val="{0000000A-143E-4C49-91F8-A54C350460CE}"/>
            </c:ext>
          </c:extLst>
        </c:ser>
        <c:ser>
          <c:idx val="11"/>
          <c:order val="11"/>
          <c:spPr>
            <a:ln w="38100" algn="ctr">
              <a:solidFill>
                <a:srgbClr val="007800"/>
              </a:solidFill>
              <a:prstDash val="sysDot"/>
            </a:ln>
          </c:spPr>
          <c:marker>
            <c:symbol val="none"/>
          </c:marker>
          <c:xVal>
            <c:numRef>
              <c:f>Sheet1!$A$1:$AI$1</c:f>
              <c:numCache>
                <c:formatCode>General</c:formatCode>
                <c:ptCount val="35"/>
                <c:pt idx="0">
                  <c:v>7305</c:v>
                </c:pt>
                <c:pt idx="1">
                  <c:v>7670</c:v>
                </c:pt>
                <c:pt idx="2">
                  <c:v>8035</c:v>
                </c:pt>
                <c:pt idx="3">
                  <c:v>8401</c:v>
                </c:pt>
                <c:pt idx="4">
                  <c:v>8766</c:v>
                </c:pt>
                <c:pt idx="5">
                  <c:v>9131</c:v>
                </c:pt>
                <c:pt idx="6">
                  <c:v>9496</c:v>
                </c:pt>
                <c:pt idx="7">
                  <c:v>9862</c:v>
                </c:pt>
                <c:pt idx="8">
                  <c:v>10227</c:v>
                </c:pt>
                <c:pt idx="9">
                  <c:v>10592</c:v>
                </c:pt>
                <c:pt idx="10">
                  <c:v>10957</c:v>
                </c:pt>
                <c:pt idx="11">
                  <c:v>11323</c:v>
                </c:pt>
                <c:pt idx="12">
                  <c:v>11688</c:v>
                </c:pt>
                <c:pt idx="13">
                  <c:v>12053</c:v>
                </c:pt>
                <c:pt idx="14">
                  <c:v>12418</c:v>
                </c:pt>
                <c:pt idx="15">
                  <c:v>12784</c:v>
                </c:pt>
                <c:pt idx="16">
                  <c:v>13149</c:v>
                </c:pt>
                <c:pt idx="17">
                  <c:v>13514</c:v>
                </c:pt>
                <c:pt idx="18">
                  <c:v>13879</c:v>
                </c:pt>
                <c:pt idx="19">
                  <c:v>14245</c:v>
                </c:pt>
                <c:pt idx="20">
                  <c:v>14610</c:v>
                </c:pt>
                <c:pt idx="21">
                  <c:v>14975</c:v>
                </c:pt>
                <c:pt idx="22">
                  <c:v>15340</c:v>
                </c:pt>
                <c:pt idx="23">
                  <c:v>15706</c:v>
                </c:pt>
                <c:pt idx="24">
                  <c:v>16071</c:v>
                </c:pt>
                <c:pt idx="25">
                  <c:v>16436</c:v>
                </c:pt>
                <c:pt idx="26">
                  <c:v>16801</c:v>
                </c:pt>
                <c:pt idx="27">
                  <c:v>17167</c:v>
                </c:pt>
                <c:pt idx="28">
                  <c:v>17532</c:v>
                </c:pt>
                <c:pt idx="29">
                  <c:v>17897</c:v>
                </c:pt>
                <c:pt idx="30">
                  <c:v>18262</c:v>
                </c:pt>
                <c:pt idx="31">
                  <c:v>18628</c:v>
                </c:pt>
                <c:pt idx="32">
                  <c:v>21915</c:v>
                </c:pt>
                <c:pt idx="33">
                  <c:v>25567</c:v>
                </c:pt>
                <c:pt idx="34">
                  <c:v>25568</c:v>
                </c:pt>
              </c:numCache>
            </c:numRef>
          </c:xVal>
          <c:yVal>
            <c:numRef>
              <c:f>Sheet1!$A$13:$AI$13</c:f>
              <c:numCache>
                <c:formatCode>General</c:formatCode>
                <c:ptCount val="35"/>
                <c:pt idx="31">
                  <c:v>311.9855417</c:v>
                </c:pt>
                <c:pt idx="32">
                  <c:v>227.7777778</c:v>
                </c:pt>
                <c:pt idx="33">
                  <c:v>175</c:v>
                </c:pt>
              </c:numCache>
            </c:numRef>
          </c:yVal>
          <c:smooth val="0"/>
          <c:extLst>
            <c:ext xmlns:c16="http://schemas.microsoft.com/office/drawing/2014/chart" uri="{C3380CC4-5D6E-409C-BE32-E72D297353CC}">
              <c16:uniqueId val="{0000000B-143E-4C49-91F8-A54C350460CE}"/>
            </c:ext>
          </c:extLst>
        </c:ser>
        <c:ser>
          <c:idx val="12"/>
          <c:order val="12"/>
          <c:spPr>
            <a:ln w="25400" algn="ctr">
              <a:solidFill>
                <a:schemeClr val="accent2"/>
              </a:solidFill>
              <a:prstDash val="solid"/>
            </a:ln>
          </c:spPr>
          <c:marker>
            <c:symbol val="none"/>
          </c:marker>
          <c:xVal>
            <c:numRef>
              <c:f>Sheet1!$A$1:$AI$1</c:f>
              <c:numCache>
                <c:formatCode>General</c:formatCode>
                <c:ptCount val="35"/>
                <c:pt idx="0">
                  <c:v>7305</c:v>
                </c:pt>
                <c:pt idx="1">
                  <c:v>7670</c:v>
                </c:pt>
                <c:pt idx="2">
                  <c:v>8035</c:v>
                </c:pt>
                <c:pt idx="3">
                  <c:v>8401</c:v>
                </c:pt>
                <c:pt idx="4">
                  <c:v>8766</c:v>
                </c:pt>
                <c:pt idx="5">
                  <c:v>9131</c:v>
                </c:pt>
                <c:pt idx="6">
                  <c:v>9496</c:v>
                </c:pt>
                <c:pt idx="7">
                  <c:v>9862</c:v>
                </c:pt>
                <c:pt idx="8">
                  <c:v>10227</c:v>
                </c:pt>
                <c:pt idx="9">
                  <c:v>10592</c:v>
                </c:pt>
                <c:pt idx="10">
                  <c:v>10957</c:v>
                </c:pt>
                <c:pt idx="11">
                  <c:v>11323</c:v>
                </c:pt>
                <c:pt idx="12">
                  <c:v>11688</c:v>
                </c:pt>
                <c:pt idx="13">
                  <c:v>12053</c:v>
                </c:pt>
                <c:pt idx="14">
                  <c:v>12418</c:v>
                </c:pt>
                <c:pt idx="15">
                  <c:v>12784</c:v>
                </c:pt>
                <c:pt idx="16">
                  <c:v>13149</c:v>
                </c:pt>
                <c:pt idx="17">
                  <c:v>13514</c:v>
                </c:pt>
                <c:pt idx="18">
                  <c:v>13879</c:v>
                </c:pt>
                <c:pt idx="19">
                  <c:v>14245</c:v>
                </c:pt>
                <c:pt idx="20">
                  <c:v>14610</c:v>
                </c:pt>
                <c:pt idx="21">
                  <c:v>14975</c:v>
                </c:pt>
                <c:pt idx="22">
                  <c:v>15340</c:v>
                </c:pt>
                <c:pt idx="23">
                  <c:v>15706</c:v>
                </c:pt>
                <c:pt idx="24">
                  <c:v>16071</c:v>
                </c:pt>
                <c:pt idx="25">
                  <c:v>16436</c:v>
                </c:pt>
                <c:pt idx="26">
                  <c:v>16801</c:v>
                </c:pt>
                <c:pt idx="27">
                  <c:v>17167</c:v>
                </c:pt>
                <c:pt idx="28">
                  <c:v>17532</c:v>
                </c:pt>
                <c:pt idx="29">
                  <c:v>17897</c:v>
                </c:pt>
                <c:pt idx="30">
                  <c:v>18262</c:v>
                </c:pt>
                <c:pt idx="31">
                  <c:v>18628</c:v>
                </c:pt>
                <c:pt idx="32">
                  <c:v>21915</c:v>
                </c:pt>
                <c:pt idx="33">
                  <c:v>25567</c:v>
                </c:pt>
                <c:pt idx="34">
                  <c:v>25568</c:v>
                </c:pt>
              </c:numCache>
            </c:numRef>
          </c:xVal>
          <c:yVal>
            <c:numRef>
              <c:f>Sheet1!$A$14:$AI$14</c:f>
              <c:numCache>
                <c:formatCode>General</c:formatCode>
                <c:ptCount val="35"/>
                <c:pt idx="15">
                  <c:v>74.784316680000003</c:v>
                </c:pt>
                <c:pt idx="16">
                  <c:v>80.950345670000004</c:v>
                </c:pt>
                <c:pt idx="17">
                  <c:v>85.373970009999994</c:v>
                </c:pt>
                <c:pt idx="18">
                  <c:v>87.493134179999998</c:v>
                </c:pt>
                <c:pt idx="19">
                  <c:v>91.440575679999995</c:v>
                </c:pt>
                <c:pt idx="20">
                  <c:v>96.748905640000004</c:v>
                </c:pt>
                <c:pt idx="21">
                  <c:v>94.761903619999998</c:v>
                </c:pt>
                <c:pt idx="22">
                  <c:v>98.643481300000005</c:v>
                </c:pt>
                <c:pt idx="23">
                  <c:v>100.59882140000001</c:v>
                </c:pt>
                <c:pt idx="24">
                  <c:v>99.277520460000005</c:v>
                </c:pt>
                <c:pt idx="25">
                  <c:v>102.0723661</c:v>
                </c:pt>
                <c:pt idx="26">
                  <c:v>104.3751256</c:v>
                </c:pt>
                <c:pt idx="27">
                  <c:v>105.1006659</c:v>
                </c:pt>
                <c:pt idx="28">
                  <c:v>105.6680056</c:v>
                </c:pt>
                <c:pt idx="29">
                  <c:v>106.80871519999999</c:v>
                </c:pt>
                <c:pt idx="30">
                  <c:v>107.16518670000001</c:v>
                </c:pt>
                <c:pt idx="31">
                  <c:v>113.73414030000001</c:v>
                </c:pt>
              </c:numCache>
            </c:numRef>
          </c:yVal>
          <c:smooth val="0"/>
          <c:extLst>
            <c:ext xmlns:c16="http://schemas.microsoft.com/office/drawing/2014/chart" uri="{C3380CC4-5D6E-409C-BE32-E72D297353CC}">
              <c16:uniqueId val="{0000000C-143E-4C49-91F8-A54C350460CE}"/>
            </c:ext>
          </c:extLst>
        </c:ser>
        <c:ser>
          <c:idx val="13"/>
          <c:order val="13"/>
          <c:spPr>
            <a:ln w="25400" algn="ctr">
              <a:solidFill>
                <a:srgbClr val="9EDECB"/>
              </a:solidFill>
              <a:prstDash val="lgDash"/>
            </a:ln>
          </c:spPr>
          <c:marker>
            <c:symbol val="none"/>
          </c:marker>
          <c:xVal>
            <c:numRef>
              <c:f>Sheet1!$A$1:$AI$1</c:f>
              <c:numCache>
                <c:formatCode>General</c:formatCode>
                <c:ptCount val="35"/>
                <c:pt idx="0">
                  <c:v>7305</c:v>
                </c:pt>
                <c:pt idx="1">
                  <c:v>7670</c:v>
                </c:pt>
                <c:pt idx="2">
                  <c:v>8035</c:v>
                </c:pt>
                <c:pt idx="3">
                  <c:v>8401</c:v>
                </c:pt>
                <c:pt idx="4">
                  <c:v>8766</c:v>
                </c:pt>
                <c:pt idx="5">
                  <c:v>9131</c:v>
                </c:pt>
                <c:pt idx="6">
                  <c:v>9496</c:v>
                </c:pt>
                <c:pt idx="7">
                  <c:v>9862</c:v>
                </c:pt>
                <c:pt idx="8">
                  <c:v>10227</c:v>
                </c:pt>
                <c:pt idx="9">
                  <c:v>10592</c:v>
                </c:pt>
                <c:pt idx="10">
                  <c:v>10957</c:v>
                </c:pt>
                <c:pt idx="11">
                  <c:v>11323</c:v>
                </c:pt>
                <c:pt idx="12">
                  <c:v>11688</c:v>
                </c:pt>
                <c:pt idx="13">
                  <c:v>12053</c:v>
                </c:pt>
                <c:pt idx="14">
                  <c:v>12418</c:v>
                </c:pt>
                <c:pt idx="15">
                  <c:v>12784</c:v>
                </c:pt>
                <c:pt idx="16">
                  <c:v>13149</c:v>
                </c:pt>
                <c:pt idx="17">
                  <c:v>13514</c:v>
                </c:pt>
                <c:pt idx="18">
                  <c:v>13879</c:v>
                </c:pt>
                <c:pt idx="19">
                  <c:v>14245</c:v>
                </c:pt>
                <c:pt idx="20">
                  <c:v>14610</c:v>
                </c:pt>
                <c:pt idx="21">
                  <c:v>14975</c:v>
                </c:pt>
                <c:pt idx="22">
                  <c:v>15340</c:v>
                </c:pt>
                <c:pt idx="23">
                  <c:v>15706</c:v>
                </c:pt>
                <c:pt idx="24">
                  <c:v>16071</c:v>
                </c:pt>
                <c:pt idx="25">
                  <c:v>16436</c:v>
                </c:pt>
                <c:pt idx="26">
                  <c:v>16801</c:v>
                </c:pt>
                <c:pt idx="27">
                  <c:v>17167</c:v>
                </c:pt>
                <c:pt idx="28">
                  <c:v>17532</c:v>
                </c:pt>
                <c:pt idx="29">
                  <c:v>17897</c:v>
                </c:pt>
                <c:pt idx="30">
                  <c:v>18262</c:v>
                </c:pt>
                <c:pt idx="31">
                  <c:v>18628</c:v>
                </c:pt>
                <c:pt idx="32">
                  <c:v>21915</c:v>
                </c:pt>
                <c:pt idx="33">
                  <c:v>25567</c:v>
                </c:pt>
                <c:pt idx="34">
                  <c:v>25568</c:v>
                </c:pt>
              </c:numCache>
            </c:numRef>
          </c:xVal>
          <c:yVal>
            <c:numRef>
              <c:f>Sheet1!$A$15:$AI$15</c:f>
              <c:numCache>
                <c:formatCode>General</c:formatCode>
                <c:ptCount val="35"/>
                <c:pt idx="31">
                  <c:v>113.73414030000001</c:v>
                </c:pt>
                <c:pt idx="32">
                  <c:v>144.9</c:v>
                </c:pt>
                <c:pt idx="33">
                  <c:v>154.2138889</c:v>
                </c:pt>
              </c:numCache>
            </c:numRef>
          </c:yVal>
          <c:smooth val="0"/>
          <c:extLst>
            <c:ext xmlns:c16="http://schemas.microsoft.com/office/drawing/2014/chart" uri="{C3380CC4-5D6E-409C-BE32-E72D297353CC}">
              <c16:uniqueId val="{0000000D-143E-4C49-91F8-A54C350460CE}"/>
            </c:ext>
          </c:extLst>
        </c:ser>
        <c:ser>
          <c:idx val="14"/>
          <c:order val="14"/>
          <c:spPr>
            <a:ln w="25400" algn="ctr">
              <a:solidFill>
                <a:srgbClr val="E6A0C8"/>
              </a:solidFill>
              <a:prstDash val="lgDash"/>
            </a:ln>
          </c:spPr>
          <c:marker>
            <c:symbol val="none"/>
          </c:marker>
          <c:xVal>
            <c:numRef>
              <c:f>Sheet1!$A$1:$AI$1</c:f>
              <c:numCache>
                <c:formatCode>General</c:formatCode>
                <c:ptCount val="35"/>
                <c:pt idx="0">
                  <c:v>7305</c:v>
                </c:pt>
                <c:pt idx="1">
                  <c:v>7670</c:v>
                </c:pt>
                <c:pt idx="2">
                  <c:v>8035</c:v>
                </c:pt>
                <c:pt idx="3">
                  <c:v>8401</c:v>
                </c:pt>
                <c:pt idx="4">
                  <c:v>8766</c:v>
                </c:pt>
                <c:pt idx="5">
                  <c:v>9131</c:v>
                </c:pt>
                <c:pt idx="6">
                  <c:v>9496</c:v>
                </c:pt>
                <c:pt idx="7">
                  <c:v>9862</c:v>
                </c:pt>
                <c:pt idx="8">
                  <c:v>10227</c:v>
                </c:pt>
                <c:pt idx="9">
                  <c:v>10592</c:v>
                </c:pt>
                <c:pt idx="10">
                  <c:v>10957</c:v>
                </c:pt>
                <c:pt idx="11">
                  <c:v>11323</c:v>
                </c:pt>
                <c:pt idx="12">
                  <c:v>11688</c:v>
                </c:pt>
                <c:pt idx="13">
                  <c:v>12053</c:v>
                </c:pt>
                <c:pt idx="14">
                  <c:v>12418</c:v>
                </c:pt>
                <c:pt idx="15">
                  <c:v>12784</c:v>
                </c:pt>
                <c:pt idx="16">
                  <c:v>13149</c:v>
                </c:pt>
                <c:pt idx="17">
                  <c:v>13514</c:v>
                </c:pt>
                <c:pt idx="18">
                  <c:v>13879</c:v>
                </c:pt>
                <c:pt idx="19">
                  <c:v>14245</c:v>
                </c:pt>
                <c:pt idx="20">
                  <c:v>14610</c:v>
                </c:pt>
                <c:pt idx="21">
                  <c:v>14975</c:v>
                </c:pt>
                <c:pt idx="22">
                  <c:v>15340</c:v>
                </c:pt>
                <c:pt idx="23">
                  <c:v>15706</c:v>
                </c:pt>
                <c:pt idx="24">
                  <c:v>16071</c:v>
                </c:pt>
                <c:pt idx="25">
                  <c:v>16436</c:v>
                </c:pt>
                <c:pt idx="26">
                  <c:v>16801</c:v>
                </c:pt>
                <c:pt idx="27">
                  <c:v>17167</c:v>
                </c:pt>
                <c:pt idx="28">
                  <c:v>17532</c:v>
                </c:pt>
                <c:pt idx="29">
                  <c:v>17897</c:v>
                </c:pt>
                <c:pt idx="30">
                  <c:v>18262</c:v>
                </c:pt>
                <c:pt idx="31">
                  <c:v>18628</c:v>
                </c:pt>
                <c:pt idx="32">
                  <c:v>21915</c:v>
                </c:pt>
                <c:pt idx="33">
                  <c:v>25567</c:v>
                </c:pt>
                <c:pt idx="34">
                  <c:v>25568</c:v>
                </c:pt>
              </c:numCache>
            </c:numRef>
          </c:xVal>
          <c:yVal>
            <c:numRef>
              <c:f>Sheet1!$A$16:$AI$16</c:f>
              <c:numCache>
                <c:formatCode>General</c:formatCode>
                <c:ptCount val="35"/>
                <c:pt idx="31">
                  <c:v>113.73414030000001</c:v>
                </c:pt>
                <c:pt idx="32">
                  <c:v>117.3444444</c:v>
                </c:pt>
                <c:pt idx="33">
                  <c:v>123.97583</c:v>
                </c:pt>
              </c:numCache>
            </c:numRef>
          </c:yVal>
          <c:smooth val="0"/>
          <c:extLst>
            <c:ext xmlns:c16="http://schemas.microsoft.com/office/drawing/2014/chart" uri="{C3380CC4-5D6E-409C-BE32-E72D297353CC}">
              <c16:uniqueId val="{0000000E-143E-4C49-91F8-A54C350460CE}"/>
            </c:ext>
          </c:extLst>
        </c:ser>
        <c:ser>
          <c:idx val="15"/>
          <c:order val="15"/>
          <c:spPr>
            <a:ln w="25400" algn="ctr">
              <a:solidFill>
                <a:schemeClr val="accent2"/>
              </a:solidFill>
              <a:prstDash val="lgDash"/>
            </a:ln>
          </c:spPr>
          <c:marker>
            <c:symbol val="none"/>
          </c:marker>
          <c:xVal>
            <c:numRef>
              <c:f>Sheet1!$A$1:$AI$1</c:f>
              <c:numCache>
                <c:formatCode>General</c:formatCode>
                <c:ptCount val="35"/>
                <c:pt idx="0">
                  <c:v>7305</c:v>
                </c:pt>
                <c:pt idx="1">
                  <c:v>7670</c:v>
                </c:pt>
                <c:pt idx="2">
                  <c:v>8035</c:v>
                </c:pt>
                <c:pt idx="3">
                  <c:v>8401</c:v>
                </c:pt>
                <c:pt idx="4">
                  <c:v>8766</c:v>
                </c:pt>
                <c:pt idx="5">
                  <c:v>9131</c:v>
                </c:pt>
                <c:pt idx="6">
                  <c:v>9496</c:v>
                </c:pt>
                <c:pt idx="7">
                  <c:v>9862</c:v>
                </c:pt>
                <c:pt idx="8">
                  <c:v>10227</c:v>
                </c:pt>
                <c:pt idx="9">
                  <c:v>10592</c:v>
                </c:pt>
                <c:pt idx="10">
                  <c:v>10957</c:v>
                </c:pt>
                <c:pt idx="11">
                  <c:v>11323</c:v>
                </c:pt>
                <c:pt idx="12">
                  <c:v>11688</c:v>
                </c:pt>
                <c:pt idx="13">
                  <c:v>12053</c:v>
                </c:pt>
                <c:pt idx="14">
                  <c:v>12418</c:v>
                </c:pt>
                <c:pt idx="15">
                  <c:v>12784</c:v>
                </c:pt>
                <c:pt idx="16">
                  <c:v>13149</c:v>
                </c:pt>
                <c:pt idx="17">
                  <c:v>13514</c:v>
                </c:pt>
                <c:pt idx="18">
                  <c:v>13879</c:v>
                </c:pt>
                <c:pt idx="19">
                  <c:v>14245</c:v>
                </c:pt>
                <c:pt idx="20">
                  <c:v>14610</c:v>
                </c:pt>
                <c:pt idx="21">
                  <c:v>14975</c:v>
                </c:pt>
                <c:pt idx="22">
                  <c:v>15340</c:v>
                </c:pt>
                <c:pt idx="23">
                  <c:v>15706</c:v>
                </c:pt>
                <c:pt idx="24">
                  <c:v>16071</c:v>
                </c:pt>
                <c:pt idx="25">
                  <c:v>16436</c:v>
                </c:pt>
                <c:pt idx="26">
                  <c:v>16801</c:v>
                </c:pt>
                <c:pt idx="27">
                  <c:v>17167</c:v>
                </c:pt>
                <c:pt idx="28">
                  <c:v>17532</c:v>
                </c:pt>
                <c:pt idx="29">
                  <c:v>17897</c:v>
                </c:pt>
                <c:pt idx="30">
                  <c:v>18262</c:v>
                </c:pt>
                <c:pt idx="31">
                  <c:v>18628</c:v>
                </c:pt>
                <c:pt idx="32">
                  <c:v>21915</c:v>
                </c:pt>
                <c:pt idx="33">
                  <c:v>25567</c:v>
                </c:pt>
                <c:pt idx="34">
                  <c:v>25568</c:v>
                </c:pt>
              </c:numCache>
            </c:numRef>
          </c:xVal>
          <c:yVal>
            <c:numRef>
              <c:f>Sheet1!$A$17:$AI$17</c:f>
              <c:numCache>
                <c:formatCode>General</c:formatCode>
                <c:ptCount val="35"/>
                <c:pt idx="31">
                  <c:v>113.73414030000001</c:v>
                </c:pt>
                <c:pt idx="32">
                  <c:v>159.11500000000001</c:v>
                </c:pt>
                <c:pt idx="33">
                  <c:v>189.42</c:v>
                </c:pt>
                <c:pt idx="34">
                  <c:v>197.5444444</c:v>
                </c:pt>
              </c:numCache>
            </c:numRef>
          </c:yVal>
          <c:smooth val="0"/>
          <c:extLst>
            <c:ext xmlns:c16="http://schemas.microsoft.com/office/drawing/2014/chart" uri="{C3380CC4-5D6E-409C-BE32-E72D297353CC}">
              <c16:uniqueId val="{0000000F-143E-4C49-91F8-A54C350460CE}"/>
            </c:ext>
          </c:extLst>
        </c:ser>
        <c:ser>
          <c:idx val="16"/>
          <c:order val="16"/>
          <c:spPr>
            <a:ln w="25400" algn="ctr">
              <a:solidFill>
                <a:srgbClr val="E5546C"/>
              </a:solidFill>
              <a:prstDash val="lgDash"/>
            </a:ln>
          </c:spPr>
          <c:marker>
            <c:symbol val="none"/>
          </c:marker>
          <c:xVal>
            <c:numRef>
              <c:f>Sheet1!$A$1:$AI$1</c:f>
              <c:numCache>
                <c:formatCode>General</c:formatCode>
                <c:ptCount val="35"/>
                <c:pt idx="0">
                  <c:v>7305</c:v>
                </c:pt>
                <c:pt idx="1">
                  <c:v>7670</c:v>
                </c:pt>
                <c:pt idx="2">
                  <c:v>8035</c:v>
                </c:pt>
                <c:pt idx="3">
                  <c:v>8401</c:v>
                </c:pt>
                <c:pt idx="4">
                  <c:v>8766</c:v>
                </c:pt>
                <c:pt idx="5">
                  <c:v>9131</c:v>
                </c:pt>
                <c:pt idx="6">
                  <c:v>9496</c:v>
                </c:pt>
                <c:pt idx="7">
                  <c:v>9862</c:v>
                </c:pt>
                <c:pt idx="8">
                  <c:v>10227</c:v>
                </c:pt>
                <c:pt idx="9">
                  <c:v>10592</c:v>
                </c:pt>
                <c:pt idx="10">
                  <c:v>10957</c:v>
                </c:pt>
                <c:pt idx="11">
                  <c:v>11323</c:v>
                </c:pt>
                <c:pt idx="12">
                  <c:v>11688</c:v>
                </c:pt>
                <c:pt idx="13">
                  <c:v>12053</c:v>
                </c:pt>
                <c:pt idx="14">
                  <c:v>12418</c:v>
                </c:pt>
                <c:pt idx="15">
                  <c:v>12784</c:v>
                </c:pt>
                <c:pt idx="16">
                  <c:v>13149</c:v>
                </c:pt>
                <c:pt idx="17">
                  <c:v>13514</c:v>
                </c:pt>
                <c:pt idx="18">
                  <c:v>13879</c:v>
                </c:pt>
                <c:pt idx="19">
                  <c:v>14245</c:v>
                </c:pt>
                <c:pt idx="20">
                  <c:v>14610</c:v>
                </c:pt>
                <c:pt idx="21">
                  <c:v>14975</c:v>
                </c:pt>
                <c:pt idx="22">
                  <c:v>15340</c:v>
                </c:pt>
                <c:pt idx="23">
                  <c:v>15706</c:v>
                </c:pt>
                <c:pt idx="24">
                  <c:v>16071</c:v>
                </c:pt>
                <c:pt idx="25">
                  <c:v>16436</c:v>
                </c:pt>
                <c:pt idx="26">
                  <c:v>16801</c:v>
                </c:pt>
                <c:pt idx="27">
                  <c:v>17167</c:v>
                </c:pt>
                <c:pt idx="28">
                  <c:v>17532</c:v>
                </c:pt>
                <c:pt idx="29">
                  <c:v>17897</c:v>
                </c:pt>
                <c:pt idx="30">
                  <c:v>18262</c:v>
                </c:pt>
                <c:pt idx="31">
                  <c:v>18628</c:v>
                </c:pt>
                <c:pt idx="32">
                  <c:v>21915</c:v>
                </c:pt>
                <c:pt idx="33">
                  <c:v>25567</c:v>
                </c:pt>
                <c:pt idx="34">
                  <c:v>25568</c:v>
                </c:pt>
              </c:numCache>
            </c:numRef>
          </c:xVal>
          <c:yVal>
            <c:numRef>
              <c:f>Sheet1!$A$18:$AI$18</c:f>
              <c:numCache>
                <c:formatCode>General</c:formatCode>
                <c:ptCount val="35"/>
                <c:pt idx="31">
                  <c:v>113.73414030000001</c:v>
                </c:pt>
                <c:pt idx="32">
                  <c:v>136.39500000000001</c:v>
                </c:pt>
                <c:pt idx="33">
                  <c:v>145.06555560000001</c:v>
                </c:pt>
                <c:pt idx="34">
                  <c:v>149.84666669999999</c:v>
                </c:pt>
              </c:numCache>
            </c:numRef>
          </c:yVal>
          <c:smooth val="0"/>
          <c:extLst>
            <c:ext xmlns:c16="http://schemas.microsoft.com/office/drawing/2014/chart" uri="{C3380CC4-5D6E-409C-BE32-E72D297353CC}">
              <c16:uniqueId val="{00000010-143E-4C49-91F8-A54C350460CE}"/>
            </c:ext>
          </c:extLst>
        </c:ser>
        <c:dLbls>
          <c:showLegendKey val="0"/>
          <c:showVal val="0"/>
          <c:showCatName val="0"/>
          <c:showSerName val="0"/>
          <c:showPercent val="0"/>
          <c:showBubbleSize val="0"/>
        </c:dLbls>
        <c:axId val="240541807"/>
        <c:axId val="1"/>
      </c:scatterChart>
      <c:valAx>
        <c:axId val="240541807"/>
        <c:scaling>
          <c:orientation val="minMax"/>
          <c:max val="25568"/>
          <c:min val="7305"/>
        </c:scaling>
        <c:delete val="0"/>
        <c:axPos val="b"/>
        <c:numFmt formatCode="General" sourceLinked="1"/>
        <c:majorTickMark val="none"/>
        <c:minorTickMark val="none"/>
        <c:tickLblPos val="none"/>
        <c:spPr>
          <a:ln w="9525" algn="ctr">
            <a:solidFill>
              <a:schemeClr val="tx1"/>
            </a:solidFill>
            <a:prstDash val="solid"/>
          </a:ln>
        </c:spPr>
        <c:crossAx val="1"/>
        <c:crosses val="min"/>
        <c:crossBetween val="midCat"/>
      </c:valAx>
      <c:valAx>
        <c:axId val="1"/>
        <c:scaling>
          <c:orientation val="minMax"/>
          <c:max val="420"/>
          <c:min val="0"/>
        </c:scaling>
        <c:delete val="0"/>
        <c:axPos val="l"/>
        <c:majorGridlines>
          <c:spPr>
            <a:ln w="6350">
              <a:solidFill>
                <a:schemeClr val="bg1">
                  <a:lumMod val="75000"/>
                </a:schemeClr>
              </a:solidFill>
            </a:ln>
          </c:spPr>
        </c:majorGridlines>
        <c:numFmt formatCode="General" sourceLinked="1"/>
        <c:majorTickMark val="none"/>
        <c:minorTickMark val="none"/>
        <c:tickLblPos val="none"/>
        <c:spPr>
          <a:ln w="9525" algn="ctr">
            <a:solidFill>
              <a:schemeClr val="tx1"/>
            </a:solidFill>
            <a:prstDash val="solid"/>
          </a:ln>
        </c:spPr>
        <c:crossAx val="240541807"/>
        <c:crosses val="min"/>
        <c:crossBetween val="midCat"/>
        <c:majorUnit val="20"/>
      </c:valAx>
    </c:plotArea>
    <c:plotVisOnly val="0"/>
    <c:dispBlanksAs val="gap"/>
    <c:showDLblsOverMax val="1"/>
  </c:chart>
  <c:externalData r:id="rId1">
    <c:autoUpdate val="0"/>
  </c:externalData>
  <c:userShapes r:id="rId2"/>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642839776318988E-2"/>
          <c:y val="2.0464384100747739E-2"/>
          <c:w val="0.97471432044736206"/>
          <c:h val="0.95907123179850451"/>
        </c:manualLayout>
      </c:layout>
      <c:scatterChart>
        <c:scatterStyle val="lineMarker"/>
        <c:varyColors val="0"/>
        <c:ser>
          <c:idx val="0"/>
          <c:order val="0"/>
          <c:spPr>
            <a:ln w="38100" algn="ctr">
              <a:solidFill>
                <a:schemeClr val="accent5"/>
              </a:solidFill>
              <a:prstDash val="solid"/>
            </a:ln>
          </c:spPr>
          <c:marker>
            <c:symbol val="none"/>
          </c:marker>
          <c:xVal>
            <c:numRef>
              <c:f>Sheet1!$A$1:$AK$1</c:f>
              <c:numCache>
                <c:formatCode>General</c:formatCode>
                <c:ptCount val="37"/>
                <c:pt idx="0">
                  <c:v>7305</c:v>
                </c:pt>
                <c:pt idx="1">
                  <c:v>7670</c:v>
                </c:pt>
                <c:pt idx="2">
                  <c:v>8035</c:v>
                </c:pt>
                <c:pt idx="3">
                  <c:v>8401</c:v>
                </c:pt>
                <c:pt idx="4">
                  <c:v>8766</c:v>
                </c:pt>
                <c:pt idx="5">
                  <c:v>9131</c:v>
                </c:pt>
                <c:pt idx="6">
                  <c:v>9496</c:v>
                </c:pt>
                <c:pt idx="7">
                  <c:v>9862</c:v>
                </c:pt>
                <c:pt idx="8">
                  <c:v>10227</c:v>
                </c:pt>
                <c:pt idx="9">
                  <c:v>10592</c:v>
                </c:pt>
                <c:pt idx="10">
                  <c:v>10957</c:v>
                </c:pt>
                <c:pt idx="11">
                  <c:v>11323</c:v>
                </c:pt>
                <c:pt idx="12">
                  <c:v>11688</c:v>
                </c:pt>
                <c:pt idx="13">
                  <c:v>12053</c:v>
                </c:pt>
                <c:pt idx="14">
                  <c:v>12418</c:v>
                </c:pt>
                <c:pt idx="15">
                  <c:v>12784</c:v>
                </c:pt>
                <c:pt idx="16">
                  <c:v>13149</c:v>
                </c:pt>
                <c:pt idx="17">
                  <c:v>13514</c:v>
                </c:pt>
                <c:pt idx="18">
                  <c:v>13879</c:v>
                </c:pt>
                <c:pt idx="19">
                  <c:v>14245</c:v>
                </c:pt>
                <c:pt idx="20">
                  <c:v>14610</c:v>
                </c:pt>
                <c:pt idx="21">
                  <c:v>14975</c:v>
                </c:pt>
                <c:pt idx="22">
                  <c:v>15340</c:v>
                </c:pt>
                <c:pt idx="23">
                  <c:v>15706</c:v>
                </c:pt>
                <c:pt idx="24">
                  <c:v>16071</c:v>
                </c:pt>
                <c:pt idx="25">
                  <c:v>16436</c:v>
                </c:pt>
                <c:pt idx="26">
                  <c:v>16801</c:v>
                </c:pt>
                <c:pt idx="27">
                  <c:v>17167</c:v>
                </c:pt>
                <c:pt idx="28">
                  <c:v>17532</c:v>
                </c:pt>
                <c:pt idx="29">
                  <c:v>17897</c:v>
                </c:pt>
                <c:pt idx="30">
                  <c:v>18262</c:v>
                </c:pt>
                <c:pt idx="31">
                  <c:v>18628</c:v>
                </c:pt>
                <c:pt idx="32">
                  <c:v>20089</c:v>
                </c:pt>
                <c:pt idx="33">
                  <c:v>20819</c:v>
                </c:pt>
                <c:pt idx="34">
                  <c:v>21915</c:v>
                </c:pt>
                <c:pt idx="35">
                  <c:v>25567</c:v>
                </c:pt>
                <c:pt idx="36">
                  <c:v>29220</c:v>
                </c:pt>
              </c:numCache>
            </c:numRef>
          </c:xVal>
          <c:yVal>
            <c:numRef>
              <c:f>Sheet1!$A$2:$AK$2</c:f>
              <c:numCache>
                <c:formatCode>General</c:formatCode>
                <c:ptCount val="37"/>
                <c:pt idx="0">
                  <c:v>4.7934016574063776</c:v>
                </c:pt>
                <c:pt idx="1">
                  <c:v>6.8103975181663756</c:v>
                </c:pt>
                <c:pt idx="2">
                  <c:v>6.216386192091484</c:v>
                </c:pt>
                <c:pt idx="3">
                  <c:v>6.843427682411594</c:v>
                </c:pt>
                <c:pt idx="4">
                  <c:v>7.5085581220572806</c:v>
                </c:pt>
                <c:pt idx="5">
                  <c:v>8.5895943146463836</c:v>
                </c:pt>
                <c:pt idx="6">
                  <c:v>10.258002140726369</c:v>
                </c:pt>
                <c:pt idx="7">
                  <c:v>10.824459043926375</c:v>
                </c:pt>
                <c:pt idx="8">
                  <c:v>11.603990713926386</c:v>
                </c:pt>
                <c:pt idx="9">
                  <c:v>12.516377558850735</c:v>
                </c:pt>
                <c:pt idx="10">
                  <c:v>13.24914689295931</c:v>
                </c:pt>
                <c:pt idx="11">
                  <c:v>15.397290610327445</c:v>
                </c:pt>
                <c:pt idx="12">
                  <c:v>15.564549679256814</c:v>
                </c:pt>
                <c:pt idx="13">
                  <c:v>17.409302163512145</c:v>
                </c:pt>
                <c:pt idx="14">
                  <c:v>18.290682241189678</c:v>
                </c:pt>
                <c:pt idx="15">
                  <c:v>19.940963423851208</c:v>
                </c:pt>
                <c:pt idx="16">
                  <c:v>21.074493458906879</c:v>
                </c:pt>
                <c:pt idx="17">
                  <c:v>21.565562549101635</c:v>
                </c:pt>
                <c:pt idx="18">
                  <c:v>21.856580193288458</c:v>
                </c:pt>
                <c:pt idx="19">
                  <c:v>19.636198232364222</c:v>
                </c:pt>
                <c:pt idx="20">
                  <c:v>22.37497084825187</c:v>
                </c:pt>
                <c:pt idx="21">
                  <c:v>22.334739445619554</c:v>
                </c:pt>
                <c:pt idx="22">
                  <c:v>23.265887966905211</c:v>
                </c:pt>
                <c:pt idx="23">
                  <c:v>23.591330042752737</c:v>
                </c:pt>
                <c:pt idx="24">
                  <c:v>22.639770110536482</c:v>
                </c:pt>
                <c:pt idx="25">
                  <c:v>23.594487214030565</c:v>
                </c:pt>
                <c:pt idx="26">
                  <c:v>24.578352725267692</c:v>
                </c:pt>
                <c:pt idx="27">
                  <c:v>25.522620237682226</c:v>
                </c:pt>
                <c:pt idx="28">
                  <c:v>25.884750570182639</c:v>
                </c:pt>
                <c:pt idx="29">
                  <c:v>25.952134346533299</c:v>
                </c:pt>
                <c:pt idx="30">
                  <c:v>23.971843543973407</c:v>
                </c:pt>
                <c:pt idx="31">
                  <c:v>26.882244127333834</c:v>
                </c:pt>
              </c:numCache>
            </c:numRef>
          </c:yVal>
          <c:smooth val="0"/>
          <c:extLst>
            <c:ext xmlns:c16="http://schemas.microsoft.com/office/drawing/2014/chart" uri="{C3380CC4-5D6E-409C-BE32-E72D297353CC}">
              <c16:uniqueId val="{00000000-82D6-4250-9332-89F80003BA0F}"/>
            </c:ext>
          </c:extLst>
        </c:ser>
        <c:ser>
          <c:idx val="1"/>
          <c:order val="1"/>
          <c:spPr>
            <a:ln w="38100" algn="ctr">
              <a:solidFill>
                <a:srgbClr val="7F7F7F"/>
              </a:solidFill>
              <a:prstDash val="sysDot"/>
            </a:ln>
          </c:spPr>
          <c:marker>
            <c:symbol val="none"/>
          </c:marker>
          <c:xVal>
            <c:numRef>
              <c:f>Sheet1!$A$1:$AK$1</c:f>
              <c:numCache>
                <c:formatCode>General</c:formatCode>
                <c:ptCount val="37"/>
                <c:pt idx="0">
                  <c:v>7305</c:v>
                </c:pt>
                <c:pt idx="1">
                  <c:v>7670</c:v>
                </c:pt>
                <c:pt idx="2">
                  <c:v>8035</c:v>
                </c:pt>
                <c:pt idx="3">
                  <c:v>8401</c:v>
                </c:pt>
                <c:pt idx="4">
                  <c:v>8766</c:v>
                </c:pt>
                <c:pt idx="5">
                  <c:v>9131</c:v>
                </c:pt>
                <c:pt idx="6">
                  <c:v>9496</c:v>
                </c:pt>
                <c:pt idx="7">
                  <c:v>9862</c:v>
                </c:pt>
                <c:pt idx="8">
                  <c:v>10227</c:v>
                </c:pt>
                <c:pt idx="9">
                  <c:v>10592</c:v>
                </c:pt>
                <c:pt idx="10">
                  <c:v>10957</c:v>
                </c:pt>
                <c:pt idx="11">
                  <c:v>11323</c:v>
                </c:pt>
                <c:pt idx="12">
                  <c:v>11688</c:v>
                </c:pt>
                <c:pt idx="13">
                  <c:v>12053</c:v>
                </c:pt>
                <c:pt idx="14">
                  <c:v>12418</c:v>
                </c:pt>
                <c:pt idx="15">
                  <c:v>12784</c:v>
                </c:pt>
                <c:pt idx="16">
                  <c:v>13149</c:v>
                </c:pt>
                <c:pt idx="17">
                  <c:v>13514</c:v>
                </c:pt>
                <c:pt idx="18">
                  <c:v>13879</c:v>
                </c:pt>
                <c:pt idx="19">
                  <c:v>14245</c:v>
                </c:pt>
                <c:pt idx="20">
                  <c:v>14610</c:v>
                </c:pt>
                <c:pt idx="21">
                  <c:v>14975</c:v>
                </c:pt>
                <c:pt idx="22">
                  <c:v>15340</c:v>
                </c:pt>
                <c:pt idx="23">
                  <c:v>15706</c:v>
                </c:pt>
                <c:pt idx="24">
                  <c:v>16071</c:v>
                </c:pt>
                <c:pt idx="25">
                  <c:v>16436</c:v>
                </c:pt>
                <c:pt idx="26">
                  <c:v>16801</c:v>
                </c:pt>
                <c:pt idx="27">
                  <c:v>17167</c:v>
                </c:pt>
                <c:pt idx="28">
                  <c:v>17532</c:v>
                </c:pt>
                <c:pt idx="29">
                  <c:v>17897</c:v>
                </c:pt>
                <c:pt idx="30">
                  <c:v>18262</c:v>
                </c:pt>
                <c:pt idx="31">
                  <c:v>18628</c:v>
                </c:pt>
                <c:pt idx="32">
                  <c:v>20089</c:v>
                </c:pt>
                <c:pt idx="33">
                  <c:v>20819</c:v>
                </c:pt>
                <c:pt idx="34">
                  <c:v>21915</c:v>
                </c:pt>
                <c:pt idx="35">
                  <c:v>25567</c:v>
                </c:pt>
                <c:pt idx="36">
                  <c:v>29220</c:v>
                </c:pt>
              </c:numCache>
            </c:numRef>
          </c:xVal>
          <c:yVal>
            <c:numRef>
              <c:f>Sheet1!$A$3:$AK$3</c:f>
              <c:numCache>
                <c:formatCode>General</c:formatCode>
                <c:ptCount val="37"/>
                <c:pt idx="31">
                  <c:v>26.882244127333834</c:v>
                </c:pt>
                <c:pt idx="32">
                  <c:v>33.805132794371247</c:v>
                </c:pt>
                <c:pt idx="33">
                  <c:v>37.264207898366678</c:v>
                </c:pt>
                <c:pt idx="34">
                  <c:v>42.457559013406382</c:v>
                </c:pt>
                <c:pt idx="35">
                  <c:v>82.457559013406382</c:v>
                </c:pt>
              </c:numCache>
            </c:numRef>
          </c:yVal>
          <c:smooth val="0"/>
          <c:extLst>
            <c:ext xmlns:c16="http://schemas.microsoft.com/office/drawing/2014/chart" uri="{C3380CC4-5D6E-409C-BE32-E72D297353CC}">
              <c16:uniqueId val="{00000001-82D6-4250-9332-89F80003BA0F}"/>
            </c:ext>
          </c:extLst>
        </c:ser>
        <c:ser>
          <c:idx val="2"/>
          <c:order val="2"/>
          <c:spPr>
            <a:ln w="38100" algn="ctr">
              <a:solidFill>
                <a:srgbClr val="7F7F7F"/>
              </a:solidFill>
              <a:prstDash val="sysDot"/>
            </a:ln>
          </c:spPr>
          <c:marker>
            <c:symbol val="none"/>
          </c:marker>
          <c:xVal>
            <c:numRef>
              <c:f>Sheet1!$A$1:$AK$1</c:f>
              <c:numCache>
                <c:formatCode>General</c:formatCode>
                <c:ptCount val="37"/>
                <c:pt idx="0">
                  <c:v>7305</c:v>
                </c:pt>
                <c:pt idx="1">
                  <c:v>7670</c:v>
                </c:pt>
                <c:pt idx="2">
                  <c:v>8035</c:v>
                </c:pt>
                <c:pt idx="3">
                  <c:v>8401</c:v>
                </c:pt>
                <c:pt idx="4">
                  <c:v>8766</c:v>
                </c:pt>
                <c:pt idx="5">
                  <c:v>9131</c:v>
                </c:pt>
                <c:pt idx="6">
                  <c:v>9496</c:v>
                </c:pt>
                <c:pt idx="7">
                  <c:v>9862</c:v>
                </c:pt>
                <c:pt idx="8">
                  <c:v>10227</c:v>
                </c:pt>
                <c:pt idx="9">
                  <c:v>10592</c:v>
                </c:pt>
                <c:pt idx="10">
                  <c:v>10957</c:v>
                </c:pt>
                <c:pt idx="11">
                  <c:v>11323</c:v>
                </c:pt>
                <c:pt idx="12">
                  <c:v>11688</c:v>
                </c:pt>
                <c:pt idx="13">
                  <c:v>12053</c:v>
                </c:pt>
                <c:pt idx="14">
                  <c:v>12418</c:v>
                </c:pt>
                <c:pt idx="15">
                  <c:v>12784</c:v>
                </c:pt>
                <c:pt idx="16">
                  <c:v>13149</c:v>
                </c:pt>
                <c:pt idx="17">
                  <c:v>13514</c:v>
                </c:pt>
                <c:pt idx="18">
                  <c:v>13879</c:v>
                </c:pt>
                <c:pt idx="19">
                  <c:v>14245</c:v>
                </c:pt>
                <c:pt idx="20">
                  <c:v>14610</c:v>
                </c:pt>
                <c:pt idx="21">
                  <c:v>14975</c:v>
                </c:pt>
                <c:pt idx="22">
                  <c:v>15340</c:v>
                </c:pt>
                <c:pt idx="23">
                  <c:v>15706</c:v>
                </c:pt>
                <c:pt idx="24">
                  <c:v>16071</c:v>
                </c:pt>
                <c:pt idx="25">
                  <c:v>16436</c:v>
                </c:pt>
                <c:pt idx="26">
                  <c:v>16801</c:v>
                </c:pt>
                <c:pt idx="27">
                  <c:v>17167</c:v>
                </c:pt>
                <c:pt idx="28">
                  <c:v>17532</c:v>
                </c:pt>
                <c:pt idx="29">
                  <c:v>17897</c:v>
                </c:pt>
                <c:pt idx="30">
                  <c:v>18262</c:v>
                </c:pt>
                <c:pt idx="31">
                  <c:v>18628</c:v>
                </c:pt>
                <c:pt idx="32">
                  <c:v>20089</c:v>
                </c:pt>
                <c:pt idx="33">
                  <c:v>20819</c:v>
                </c:pt>
                <c:pt idx="34">
                  <c:v>21915</c:v>
                </c:pt>
                <c:pt idx="35">
                  <c:v>25567</c:v>
                </c:pt>
                <c:pt idx="36">
                  <c:v>29220</c:v>
                </c:pt>
              </c:numCache>
            </c:numRef>
          </c:xVal>
          <c:yVal>
            <c:numRef>
              <c:f>Sheet1!$A$4:$AK$4</c:f>
              <c:numCache>
                <c:formatCode>General</c:formatCode>
                <c:ptCount val="37"/>
                <c:pt idx="31">
                  <c:v>26.882244127333834</c:v>
                </c:pt>
                <c:pt idx="32">
                  <c:v>33.805132794371247</c:v>
                </c:pt>
                <c:pt idx="33">
                  <c:v>37.264207898366678</c:v>
                </c:pt>
                <c:pt idx="34">
                  <c:v>42.457559013406382</c:v>
                </c:pt>
                <c:pt idx="35">
                  <c:v>142.45755901340638</c:v>
                </c:pt>
              </c:numCache>
            </c:numRef>
          </c:yVal>
          <c:smooth val="0"/>
          <c:extLst>
            <c:ext xmlns:c16="http://schemas.microsoft.com/office/drawing/2014/chart" uri="{C3380CC4-5D6E-409C-BE32-E72D297353CC}">
              <c16:uniqueId val="{00000002-82D6-4250-9332-89F80003BA0F}"/>
            </c:ext>
          </c:extLst>
        </c:ser>
        <c:ser>
          <c:idx val="3"/>
          <c:order val="3"/>
          <c:spPr>
            <a:ln w="19050" algn="ctr">
              <a:solidFill>
                <a:srgbClr val="7F7F7F"/>
              </a:solidFill>
              <a:prstDash val="lgDash"/>
            </a:ln>
          </c:spPr>
          <c:marker>
            <c:symbol val="none"/>
          </c:marker>
          <c:xVal>
            <c:numRef>
              <c:f>Sheet1!$A$1:$AK$1</c:f>
              <c:numCache>
                <c:formatCode>General</c:formatCode>
                <c:ptCount val="37"/>
                <c:pt idx="0">
                  <c:v>7305</c:v>
                </c:pt>
                <c:pt idx="1">
                  <c:v>7670</c:v>
                </c:pt>
                <c:pt idx="2">
                  <c:v>8035</c:v>
                </c:pt>
                <c:pt idx="3">
                  <c:v>8401</c:v>
                </c:pt>
                <c:pt idx="4">
                  <c:v>8766</c:v>
                </c:pt>
                <c:pt idx="5">
                  <c:v>9131</c:v>
                </c:pt>
                <c:pt idx="6">
                  <c:v>9496</c:v>
                </c:pt>
                <c:pt idx="7">
                  <c:v>9862</c:v>
                </c:pt>
                <c:pt idx="8">
                  <c:v>10227</c:v>
                </c:pt>
                <c:pt idx="9">
                  <c:v>10592</c:v>
                </c:pt>
                <c:pt idx="10">
                  <c:v>10957</c:v>
                </c:pt>
                <c:pt idx="11">
                  <c:v>11323</c:v>
                </c:pt>
                <c:pt idx="12">
                  <c:v>11688</c:v>
                </c:pt>
                <c:pt idx="13">
                  <c:v>12053</c:v>
                </c:pt>
                <c:pt idx="14">
                  <c:v>12418</c:v>
                </c:pt>
                <c:pt idx="15">
                  <c:v>12784</c:v>
                </c:pt>
                <c:pt idx="16">
                  <c:v>13149</c:v>
                </c:pt>
                <c:pt idx="17">
                  <c:v>13514</c:v>
                </c:pt>
                <c:pt idx="18">
                  <c:v>13879</c:v>
                </c:pt>
                <c:pt idx="19">
                  <c:v>14245</c:v>
                </c:pt>
                <c:pt idx="20">
                  <c:v>14610</c:v>
                </c:pt>
                <c:pt idx="21">
                  <c:v>14975</c:v>
                </c:pt>
                <c:pt idx="22">
                  <c:v>15340</c:v>
                </c:pt>
                <c:pt idx="23">
                  <c:v>15706</c:v>
                </c:pt>
                <c:pt idx="24">
                  <c:v>16071</c:v>
                </c:pt>
                <c:pt idx="25">
                  <c:v>16436</c:v>
                </c:pt>
                <c:pt idx="26">
                  <c:v>16801</c:v>
                </c:pt>
                <c:pt idx="27">
                  <c:v>17167</c:v>
                </c:pt>
                <c:pt idx="28">
                  <c:v>17532</c:v>
                </c:pt>
                <c:pt idx="29">
                  <c:v>17897</c:v>
                </c:pt>
                <c:pt idx="30">
                  <c:v>18262</c:v>
                </c:pt>
                <c:pt idx="31">
                  <c:v>18628</c:v>
                </c:pt>
                <c:pt idx="32">
                  <c:v>20089</c:v>
                </c:pt>
                <c:pt idx="33">
                  <c:v>20819</c:v>
                </c:pt>
                <c:pt idx="34">
                  <c:v>21915</c:v>
                </c:pt>
                <c:pt idx="35">
                  <c:v>25567</c:v>
                </c:pt>
                <c:pt idx="36">
                  <c:v>29220</c:v>
                </c:pt>
              </c:numCache>
            </c:numRef>
          </c:xVal>
          <c:yVal>
            <c:numRef>
              <c:f>Sheet1!$A$5:$AK$5</c:f>
              <c:numCache>
                <c:formatCode>General</c:formatCode>
                <c:ptCount val="37"/>
                <c:pt idx="31">
                  <c:v>26.882244127333834</c:v>
                </c:pt>
                <c:pt idx="32">
                  <c:v>30.513169013406383</c:v>
                </c:pt>
                <c:pt idx="33">
                  <c:v>32.457615013406382</c:v>
                </c:pt>
                <c:pt idx="34">
                  <c:v>52.457559013406382</c:v>
                </c:pt>
              </c:numCache>
            </c:numRef>
          </c:yVal>
          <c:smooth val="0"/>
          <c:extLst>
            <c:ext xmlns:c16="http://schemas.microsoft.com/office/drawing/2014/chart" uri="{C3380CC4-5D6E-409C-BE32-E72D297353CC}">
              <c16:uniqueId val="{00000003-82D6-4250-9332-89F80003BA0F}"/>
            </c:ext>
          </c:extLst>
        </c:ser>
        <c:ser>
          <c:idx val="4"/>
          <c:order val="4"/>
          <c:spPr>
            <a:ln w="9525" algn="ctr">
              <a:solidFill>
                <a:srgbClr val="7F7F7F"/>
              </a:solidFill>
              <a:prstDash val="dash"/>
            </a:ln>
          </c:spPr>
          <c:marker>
            <c:symbol val="none"/>
          </c:marker>
          <c:xVal>
            <c:numRef>
              <c:f>Sheet1!$A$1:$AK$1</c:f>
              <c:numCache>
                <c:formatCode>General</c:formatCode>
                <c:ptCount val="37"/>
                <c:pt idx="0">
                  <c:v>7305</c:v>
                </c:pt>
                <c:pt idx="1">
                  <c:v>7670</c:v>
                </c:pt>
                <c:pt idx="2">
                  <c:v>8035</c:v>
                </c:pt>
                <c:pt idx="3">
                  <c:v>8401</c:v>
                </c:pt>
                <c:pt idx="4">
                  <c:v>8766</c:v>
                </c:pt>
                <c:pt idx="5">
                  <c:v>9131</c:v>
                </c:pt>
                <c:pt idx="6">
                  <c:v>9496</c:v>
                </c:pt>
                <c:pt idx="7">
                  <c:v>9862</c:v>
                </c:pt>
                <c:pt idx="8">
                  <c:v>10227</c:v>
                </c:pt>
                <c:pt idx="9">
                  <c:v>10592</c:v>
                </c:pt>
                <c:pt idx="10">
                  <c:v>10957</c:v>
                </c:pt>
                <c:pt idx="11">
                  <c:v>11323</c:v>
                </c:pt>
                <c:pt idx="12">
                  <c:v>11688</c:v>
                </c:pt>
                <c:pt idx="13">
                  <c:v>12053</c:v>
                </c:pt>
                <c:pt idx="14">
                  <c:v>12418</c:v>
                </c:pt>
                <c:pt idx="15">
                  <c:v>12784</c:v>
                </c:pt>
                <c:pt idx="16">
                  <c:v>13149</c:v>
                </c:pt>
                <c:pt idx="17">
                  <c:v>13514</c:v>
                </c:pt>
                <c:pt idx="18">
                  <c:v>13879</c:v>
                </c:pt>
                <c:pt idx="19">
                  <c:v>14245</c:v>
                </c:pt>
                <c:pt idx="20">
                  <c:v>14610</c:v>
                </c:pt>
                <c:pt idx="21">
                  <c:v>14975</c:v>
                </c:pt>
                <c:pt idx="22">
                  <c:v>15340</c:v>
                </c:pt>
                <c:pt idx="23">
                  <c:v>15706</c:v>
                </c:pt>
                <c:pt idx="24">
                  <c:v>16071</c:v>
                </c:pt>
                <c:pt idx="25">
                  <c:v>16436</c:v>
                </c:pt>
                <c:pt idx="26">
                  <c:v>16801</c:v>
                </c:pt>
                <c:pt idx="27">
                  <c:v>17167</c:v>
                </c:pt>
                <c:pt idx="28">
                  <c:v>17532</c:v>
                </c:pt>
                <c:pt idx="29">
                  <c:v>17897</c:v>
                </c:pt>
                <c:pt idx="30">
                  <c:v>18262</c:v>
                </c:pt>
                <c:pt idx="31">
                  <c:v>18628</c:v>
                </c:pt>
                <c:pt idx="32">
                  <c:v>20089</c:v>
                </c:pt>
                <c:pt idx="33">
                  <c:v>20819</c:v>
                </c:pt>
                <c:pt idx="34">
                  <c:v>21915</c:v>
                </c:pt>
                <c:pt idx="35">
                  <c:v>25567</c:v>
                </c:pt>
                <c:pt idx="36">
                  <c:v>29220</c:v>
                </c:pt>
              </c:numCache>
            </c:numRef>
          </c:xVal>
          <c:yVal>
            <c:numRef>
              <c:f>Sheet1!$A$6:$AK$6</c:f>
              <c:numCache>
                <c:formatCode>General</c:formatCode>
                <c:ptCount val="37"/>
                <c:pt idx="31">
                  <c:v>26.882244127333834</c:v>
                </c:pt>
                <c:pt idx="32">
                  <c:v>37.360958775509062</c:v>
                </c:pt>
                <c:pt idx="33">
                  <c:v>42.596729954953233</c:v>
                </c:pt>
                <c:pt idx="34">
                  <c:v>50.457559013406382</c:v>
                </c:pt>
                <c:pt idx="35">
                  <c:v>100.45755901340638</c:v>
                </c:pt>
              </c:numCache>
            </c:numRef>
          </c:yVal>
          <c:smooth val="0"/>
          <c:extLst>
            <c:ext xmlns:c16="http://schemas.microsoft.com/office/drawing/2014/chart" uri="{C3380CC4-5D6E-409C-BE32-E72D297353CC}">
              <c16:uniqueId val="{00000004-82D6-4250-9332-89F80003BA0F}"/>
            </c:ext>
          </c:extLst>
        </c:ser>
        <c:ser>
          <c:idx val="5"/>
          <c:order val="5"/>
          <c:spPr>
            <a:ln w="38100" algn="ctr">
              <a:solidFill>
                <a:srgbClr val="7F7F7F"/>
              </a:solidFill>
              <a:prstDash val="solid"/>
            </a:ln>
          </c:spPr>
          <c:marker>
            <c:symbol val="none"/>
          </c:marker>
          <c:xVal>
            <c:numRef>
              <c:f>Sheet1!$A$1:$AK$1</c:f>
              <c:numCache>
                <c:formatCode>General</c:formatCode>
                <c:ptCount val="37"/>
                <c:pt idx="0">
                  <c:v>7305</c:v>
                </c:pt>
                <c:pt idx="1">
                  <c:v>7670</c:v>
                </c:pt>
                <c:pt idx="2">
                  <c:v>8035</c:v>
                </c:pt>
                <c:pt idx="3">
                  <c:v>8401</c:v>
                </c:pt>
                <c:pt idx="4">
                  <c:v>8766</c:v>
                </c:pt>
                <c:pt idx="5">
                  <c:v>9131</c:v>
                </c:pt>
                <c:pt idx="6">
                  <c:v>9496</c:v>
                </c:pt>
                <c:pt idx="7">
                  <c:v>9862</c:v>
                </c:pt>
                <c:pt idx="8">
                  <c:v>10227</c:v>
                </c:pt>
                <c:pt idx="9">
                  <c:v>10592</c:v>
                </c:pt>
                <c:pt idx="10">
                  <c:v>10957</c:v>
                </c:pt>
                <c:pt idx="11">
                  <c:v>11323</c:v>
                </c:pt>
                <c:pt idx="12">
                  <c:v>11688</c:v>
                </c:pt>
                <c:pt idx="13">
                  <c:v>12053</c:v>
                </c:pt>
                <c:pt idx="14">
                  <c:v>12418</c:v>
                </c:pt>
                <c:pt idx="15">
                  <c:v>12784</c:v>
                </c:pt>
                <c:pt idx="16">
                  <c:v>13149</c:v>
                </c:pt>
                <c:pt idx="17">
                  <c:v>13514</c:v>
                </c:pt>
                <c:pt idx="18">
                  <c:v>13879</c:v>
                </c:pt>
                <c:pt idx="19">
                  <c:v>14245</c:v>
                </c:pt>
                <c:pt idx="20">
                  <c:v>14610</c:v>
                </c:pt>
                <c:pt idx="21">
                  <c:v>14975</c:v>
                </c:pt>
                <c:pt idx="22">
                  <c:v>15340</c:v>
                </c:pt>
                <c:pt idx="23">
                  <c:v>15706</c:v>
                </c:pt>
                <c:pt idx="24">
                  <c:v>16071</c:v>
                </c:pt>
                <c:pt idx="25">
                  <c:v>16436</c:v>
                </c:pt>
                <c:pt idx="26">
                  <c:v>16801</c:v>
                </c:pt>
                <c:pt idx="27">
                  <c:v>17167</c:v>
                </c:pt>
                <c:pt idx="28">
                  <c:v>17532</c:v>
                </c:pt>
                <c:pt idx="29">
                  <c:v>17897</c:v>
                </c:pt>
                <c:pt idx="30">
                  <c:v>18262</c:v>
                </c:pt>
                <c:pt idx="31">
                  <c:v>18628</c:v>
                </c:pt>
                <c:pt idx="32">
                  <c:v>20089</c:v>
                </c:pt>
                <c:pt idx="33">
                  <c:v>20819</c:v>
                </c:pt>
                <c:pt idx="34">
                  <c:v>21915</c:v>
                </c:pt>
                <c:pt idx="35">
                  <c:v>25567</c:v>
                </c:pt>
                <c:pt idx="36">
                  <c:v>29220</c:v>
                </c:pt>
              </c:numCache>
            </c:numRef>
          </c:xVal>
          <c:yVal>
            <c:numRef>
              <c:f>Sheet1!$A$7:$AK$7</c:f>
              <c:numCache>
                <c:formatCode>General</c:formatCode>
                <c:ptCount val="37"/>
                <c:pt idx="31">
                  <c:v>26.882244127333834</c:v>
                </c:pt>
                <c:pt idx="32">
                  <c:v>34.916328413476819</c:v>
                </c:pt>
                <c:pt idx="33">
                  <c:v>38.930621041049974</c:v>
                </c:pt>
                <c:pt idx="34">
                  <c:v>44.957559013406382</c:v>
                </c:pt>
                <c:pt idx="35">
                  <c:v>57.705813633529587</c:v>
                </c:pt>
                <c:pt idx="36">
                  <c:v>70.457559013406382</c:v>
                </c:pt>
              </c:numCache>
            </c:numRef>
          </c:yVal>
          <c:smooth val="0"/>
          <c:extLst>
            <c:ext xmlns:c16="http://schemas.microsoft.com/office/drawing/2014/chart" uri="{C3380CC4-5D6E-409C-BE32-E72D297353CC}">
              <c16:uniqueId val="{00000005-82D6-4250-9332-89F80003BA0F}"/>
            </c:ext>
          </c:extLst>
        </c:ser>
        <c:ser>
          <c:idx val="6"/>
          <c:order val="6"/>
          <c:spPr>
            <a:ln w="25400" algn="ctr">
              <a:solidFill>
                <a:srgbClr val="7F7F7F"/>
              </a:solidFill>
              <a:prstDash val="lgDash"/>
            </a:ln>
          </c:spPr>
          <c:marker>
            <c:symbol val="none"/>
          </c:marker>
          <c:xVal>
            <c:numRef>
              <c:f>Sheet1!$A$1:$AK$1</c:f>
              <c:numCache>
                <c:formatCode>General</c:formatCode>
                <c:ptCount val="37"/>
                <c:pt idx="0">
                  <c:v>7305</c:v>
                </c:pt>
                <c:pt idx="1">
                  <c:v>7670</c:v>
                </c:pt>
                <c:pt idx="2">
                  <c:v>8035</c:v>
                </c:pt>
                <c:pt idx="3">
                  <c:v>8401</c:v>
                </c:pt>
                <c:pt idx="4">
                  <c:v>8766</c:v>
                </c:pt>
                <c:pt idx="5">
                  <c:v>9131</c:v>
                </c:pt>
                <c:pt idx="6">
                  <c:v>9496</c:v>
                </c:pt>
                <c:pt idx="7">
                  <c:v>9862</c:v>
                </c:pt>
                <c:pt idx="8">
                  <c:v>10227</c:v>
                </c:pt>
                <c:pt idx="9">
                  <c:v>10592</c:v>
                </c:pt>
                <c:pt idx="10">
                  <c:v>10957</c:v>
                </c:pt>
                <c:pt idx="11">
                  <c:v>11323</c:v>
                </c:pt>
                <c:pt idx="12">
                  <c:v>11688</c:v>
                </c:pt>
                <c:pt idx="13">
                  <c:v>12053</c:v>
                </c:pt>
                <c:pt idx="14">
                  <c:v>12418</c:v>
                </c:pt>
                <c:pt idx="15">
                  <c:v>12784</c:v>
                </c:pt>
                <c:pt idx="16">
                  <c:v>13149</c:v>
                </c:pt>
                <c:pt idx="17">
                  <c:v>13514</c:v>
                </c:pt>
                <c:pt idx="18">
                  <c:v>13879</c:v>
                </c:pt>
                <c:pt idx="19">
                  <c:v>14245</c:v>
                </c:pt>
                <c:pt idx="20">
                  <c:v>14610</c:v>
                </c:pt>
                <c:pt idx="21">
                  <c:v>14975</c:v>
                </c:pt>
                <c:pt idx="22">
                  <c:v>15340</c:v>
                </c:pt>
                <c:pt idx="23">
                  <c:v>15706</c:v>
                </c:pt>
                <c:pt idx="24">
                  <c:v>16071</c:v>
                </c:pt>
                <c:pt idx="25">
                  <c:v>16436</c:v>
                </c:pt>
                <c:pt idx="26">
                  <c:v>16801</c:v>
                </c:pt>
                <c:pt idx="27">
                  <c:v>17167</c:v>
                </c:pt>
                <c:pt idx="28">
                  <c:v>17532</c:v>
                </c:pt>
                <c:pt idx="29">
                  <c:v>17897</c:v>
                </c:pt>
                <c:pt idx="30">
                  <c:v>18262</c:v>
                </c:pt>
                <c:pt idx="31">
                  <c:v>18628</c:v>
                </c:pt>
                <c:pt idx="32">
                  <c:v>20089</c:v>
                </c:pt>
                <c:pt idx="33">
                  <c:v>20819</c:v>
                </c:pt>
                <c:pt idx="34">
                  <c:v>21915</c:v>
                </c:pt>
                <c:pt idx="35">
                  <c:v>25567</c:v>
                </c:pt>
                <c:pt idx="36">
                  <c:v>29220</c:v>
                </c:pt>
              </c:numCache>
            </c:numRef>
          </c:xVal>
          <c:yVal>
            <c:numRef>
              <c:f>Sheet1!$A$8:$AK$8</c:f>
              <c:numCache>
                <c:formatCode>General</c:formatCode>
                <c:ptCount val="37"/>
                <c:pt idx="31">
                  <c:v>26.882244127333834</c:v>
                </c:pt>
                <c:pt idx="32">
                  <c:v>35.651460049591392</c:v>
                </c:pt>
                <c:pt idx="33">
                  <c:v>40.033066910130756</c:v>
                </c:pt>
                <c:pt idx="34">
                  <c:v>46.611479402118619</c:v>
                </c:pt>
                <c:pt idx="35">
                  <c:v>68.531518107173099</c:v>
                </c:pt>
                <c:pt idx="36">
                  <c:v>90.457559013406382</c:v>
                </c:pt>
              </c:numCache>
            </c:numRef>
          </c:yVal>
          <c:smooth val="0"/>
          <c:extLst>
            <c:ext xmlns:c16="http://schemas.microsoft.com/office/drawing/2014/chart" uri="{C3380CC4-5D6E-409C-BE32-E72D297353CC}">
              <c16:uniqueId val="{00000006-82D6-4250-9332-89F80003BA0F}"/>
            </c:ext>
          </c:extLst>
        </c:ser>
        <c:ser>
          <c:idx val="7"/>
          <c:order val="7"/>
          <c:spPr>
            <a:ln w="25400" algn="ctr">
              <a:solidFill>
                <a:srgbClr val="7F7F7F"/>
              </a:solidFill>
              <a:prstDash val="lgDash"/>
            </a:ln>
          </c:spPr>
          <c:marker>
            <c:symbol val="none"/>
          </c:marker>
          <c:xVal>
            <c:numRef>
              <c:f>Sheet1!$A$1:$AK$1</c:f>
              <c:numCache>
                <c:formatCode>General</c:formatCode>
                <c:ptCount val="37"/>
                <c:pt idx="0">
                  <c:v>7305</c:v>
                </c:pt>
                <c:pt idx="1">
                  <c:v>7670</c:v>
                </c:pt>
                <c:pt idx="2">
                  <c:v>8035</c:v>
                </c:pt>
                <c:pt idx="3">
                  <c:v>8401</c:v>
                </c:pt>
                <c:pt idx="4">
                  <c:v>8766</c:v>
                </c:pt>
                <c:pt idx="5">
                  <c:v>9131</c:v>
                </c:pt>
                <c:pt idx="6">
                  <c:v>9496</c:v>
                </c:pt>
                <c:pt idx="7">
                  <c:v>9862</c:v>
                </c:pt>
                <c:pt idx="8">
                  <c:v>10227</c:v>
                </c:pt>
                <c:pt idx="9">
                  <c:v>10592</c:v>
                </c:pt>
                <c:pt idx="10">
                  <c:v>10957</c:v>
                </c:pt>
                <c:pt idx="11">
                  <c:v>11323</c:v>
                </c:pt>
                <c:pt idx="12">
                  <c:v>11688</c:v>
                </c:pt>
                <c:pt idx="13">
                  <c:v>12053</c:v>
                </c:pt>
                <c:pt idx="14">
                  <c:v>12418</c:v>
                </c:pt>
                <c:pt idx="15">
                  <c:v>12784</c:v>
                </c:pt>
                <c:pt idx="16">
                  <c:v>13149</c:v>
                </c:pt>
                <c:pt idx="17">
                  <c:v>13514</c:v>
                </c:pt>
                <c:pt idx="18">
                  <c:v>13879</c:v>
                </c:pt>
                <c:pt idx="19">
                  <c:v>14245</c:v>
                </c:pt>
                <c:pt idx="20">
                  <c:v>14610</c:v>
                </c:pt>
                <c:pt idx="21">
                  <c:v>14975</c:v>
                </c:pt>
                <c:pt idx="22">
                  <c:v>15340</c:v>
                </c:pt>
                <c:pt idx="23">
                  <c:v>15706</c:v>
                </c:pt>
                <c:pt idx="24">
                  <c:v>16071</c:v>
                </c:pt>
                <c:pt idx="25">
                  <c:v>16436</c:v>
                </c:pt>
                <c:pt idx="26">
                  <c:v>16801</c:v>
                </c:pt>
                <c:pt idx="27">
                  <c:v>17167</c:v>
                </c:pt>
                <c:pt idx="28">
                  <c:v>17532</c:v>
                </c:pt>
                <c:pt idx="29">
                  <c:v>17897</c:v>
                </c:pt>
                <c:pt idx="30">
                  <c:v>18262</c:v>
                </c:pt>
                <c:pt idx="31">
                  <c:v>18628</c:v>
                </c:pt>
                <c:pt idx="32">
                  <c:v>20089</c:v>
                </c:pt>
                <c:pt idx="33">
                  <c:v>20819</c:v>
                </c:pt>
                <c:pt idx="34">
                  <c:v>21915</c:v>
                </c:pt>
                <c:pt idx="35">
                  <c:v>25567</c:v>
                </c:pt>
                <c:pt idx="36">
                  <c:v>29220</c:v>
                </c:pt>
              </c:numCache>
            </c:numRef>
          </c:xVal>
          <c:yVal>
            <c:numRef>
              <c:f>Sheet1!$A$9:$AK$9</c:f>
              <c:numCache>
                <c:formatCode>General</c:formatCode>
                <c:ptCount val="37"/>
                <c:pt idx="31">
                  <c:v>26.882244127333834</c:v>
                </c:pt>
                <c:pt idx="32">
                  <c:v>42.410240261071749</c:v>
                </c:pt>
                <c:pt idx="33">
                  <c:v>50.168924160886036</c:v>
                </c:pt>
                <c:pt idx="34">
                  <c:v>61.817578344716807</c:v>
                </c:pt>
                <c:pt idx="35">
                  <c:v>100.63225451200694</c:v>
                </c:pt>
                <c:pt idx="36">
                  <c:v>139.45755901340638</c:v>
                </c:pt>
              </c:numCache>
            </c:numRef>
          </c:yVal>
          <c:smooth val="0"/>
          <c:extLst>
            <c:ext xmlns:c16="http://schemas.microsoft.com/office/drawing/2014/chart" uri="{C3380CC4-5D6E-409C-BE32-E72D297353CC}">
              <c16:uniqueId val="{00000007-82D6-4250-9332-89F80003BA0F}"/>
            </c:ext>
          </c:extLst>
        </c:ser>
        <c:dLbls>
          <c:showLegendKey val="0"/>
          <c:showVal val="0"/>
          <c:showCatName val="0"/>
          <c:showSerName val="0"/>
          <c:showPercent val="0"/>
          <c:showBubbleSize val="0"/>
        </c:dLbls>
        <c:axId val="1102910112"/>
        <c:axId val="1"/>
      </c:scatterChart>
      <c:valAx>
        <c:axId val="1102910112"/>
        <c:scaling>
          <c:orientation val="minMax"/>
          <c:max val="29220"/>
          <c:min val="7305"/>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 val="min"/>
        <c:crossBetween val="midCat"/>
      </c:valAx>
      <c:valAx>
        <c:axId val="1"/>
        <c:scaling>
          <c:orientation val="minMax"/>
          <c:max val="142.45755901340638"/>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102910112"/>
        <c:crosses val="min"/>
        <c:crossBetween val="midCat"/>
        <c:majorUnit val="1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822060353798128E-2"/>
          <c:y val="2.4761904761904763E-2"/>
          <c:w val="0.97835587929240375"/>
          <c:h val="0.95047619047619047"/>
        </c:manualLayout>
      </c:layout>
      <c:scatterChart>
        <c:scatterStyle val="lineMarker"/>
        <c:varyColors val="0"/>
        <c:ser>
          <c:idx val="0"/>
          <c:order val="0"/>
          <c:spPr>
            <a:ln>
              <a:noFill/>
            </a:ln>
          </c:spPr>
          <c:marker>
            <c:symbol val="circle"/>
            <c:size val="5"/>
            <c:spPr>
              <a:solidFill>
                <a:schemeClr val="accent1"/>
              </a:solidFill>
              <a:ln w="9525" algn="ctr">
                <a:solidFill>
                  <a:schemeClr val="accent1"/>
                </a:solidFill>
                <a:prstDash val="solid"/>
              </a:ln>
            </c:spPr>
          </c:marker>
          <c:xVal>
            <c:numRef>
              <c:f>Sheet1!$A$1:$A$53</c:f>
              <c:numCache>
                <c:formatCode>General</c:formatCode>
                <c:ptCount val="53"/>
                <c:pt idx="0">
                  <c:v>2.5</c:v>
                </c:pt>
                <c:pt idx="1">
                  <c:v>2.7</c:v>
                </c:pt>
                <c:pt idx="2">
                  <c:v>2.9</c:v>
                </c:pt>
                <c:pt idx="3">
                  <c:v>2.9</c:v>
                </c:pt>
                <c:pt idx="4">
                  <c:v>2.8</c:v>
                </c:pt>
                <c:pt idx="5">
                  <c:v>2.9</c:v>
                </c:pt>
                <c:pt idx="6">
                  <c:v>2.9</c:v>
                </c:pt>
                <c:pt idx="7">
                  <c:v>2.8</c:v>
                </c:pt>
                <c:pt idx="8">
                  <c:v>3.1</c:v>
                </c:pt>
                <c:pt idx="9">
                  <c:v>3.3</c:v>
                </c:pt>
                <c:pt idx="10">
                  <c:v>3.3</c:v>
                </c:pt>
                <c:pt idx="11">
                  <c:v>3.4</c:v>
                </c:pt>
                <c:pt idx="12">
                  <c:v>3.5</c:v>
                </c:pt>
                <c:pt idx="13">
                  <c:v>3.7</c:v>
                </c:pt>
                <c:pt idx="14">
                  <c:v>4.0999999999999996</c:v>
                </c:pt>
                <c:pt idx="15">
                  <c:v>4.0999999999999996</c:v>
                </c:pt>
                <c:pt idx="16">
                  <c:v>4.3</c:v>
                </c:pt>
                <c:pt idx="17">
                  <c:v>4.3</c:v>
                </c:pt>
              </c:numCache>
            </c:numRef>
          </c:xVal>
          <c:yVal>
            <c:numRef>
              <c:f>Sheet1!$B$1:$B$53</c:f>
              <c:numCache>
                <c:formatCode>General</c:formatCode>
                <c:ptCount val="53"/>
                <c:pt idx="0">
                  <c:v>790</c:v>
                </c:pt>
                <c:pt idx="1">
                  <c:v>730</c:v>
                </c:pt>
                <c:pt idx="2">
                  <c:v>580</c:v>
                </c:pt>
                <c:pt idx="3">
                  <c:v>500</c:v>
                </c:pt>
                <c:pt idx="4">
                  <c:v>430</c:v>
                </c:pt>
                <c:pt idx="5">
                  <c:v>360</c:v>
                </c:pt>
                <c:pt idx="6">
                  <c:v>350</c:v>
                </c:pt>
                <c:pt idx="7">
                  <c:v>330</c:v>
                </c:pt>
                <c:pt idx="8">
                  <c:v>380</c:v>
                </c:pt>
                <c:pt idx="9">
                  <c:v>390</c:v>
                </c:pt>
                <c:pt idx="10">
                  <c:v>240</c:v>
                </c:pt>
                <c:pt idx="11">
                  <c:v>260</c:v>
                </c:pt>
                <c:pt idx="12">
                  <c:v>220</c:v>
                </c:pt>
                <c:pt idx="13">
                  <c:v>210</c:v>
                </c:pt>
                <c:pt idx="14">
                  <c:v>260</c:v>
                </c:pt>
                <c:pt idx="15">
                  <c:v>260</c:v>
                </c:pt>
                <c:pt idx="16">
                  <c:v>240</c:v>
                </c:pt>
                <c:pt idx="17">
                  <c:v>310</c:v>
                </c:pt>
              </c:numCache>
            </c:numRef>
          </c:yVal>
          <c:smooth val="0"/>
          <c:extLst>
            <c:ext xmlns:c16="http://schemas.microsoft.com/office/drawing/2014/chart" uri="{C3380CC4-5D6E-409C-BE32-E72D297353CC}">
              <c16:uniqueId val="{00000000-AED4-4EEC-927A-2D45EEAAA2B5}"/>
            </c:ext>
          </c:extLst>
        </c:ser>
        <c:ser>
          <c:idx val="1"/>
          <c:order val="1"/>
          <c:spPr>
            <a:ln>
              <a:noFill/>
            </a:ln>
          </c:spPr>
          <c:marker>
            <c:symbol val="triangle"/>
            <c:size val="5"/>
            <c:spPr>
              <a:solidFill>
                <a:schemeClr val="folHlink"/>
              </a:solidFill>
              <a:ln w="9525" algn="ctr">
                <a:solidFill>
                  <a:schemeClr val="folHlink"/>
                </a:solidFill>
                <a:prstDash val="solid"/>
              </a:ln>
            </c:spPr>
          </c:marker>
          <c:xVal>
            <c:numRef>
              <c:f>Sheet1!$A$1:$A$53</c:f>
              <c:numCache>
                <c:formatCode>General</c:formatCode>
                <c:ptCount val="53"/>
                <c:pt idx="18">
                  <c:v>3.8</c:v>
                </c:pt>
                <c:pt idx="19">
                  <c:v>4.3</c:v>
                </c:pt>
              </c:numCache>
            </c:numRef>
          </c:xVal>
          <c:yVal>
            <c:numRef>
              <c:f>Sheet1!$C$1:$C$53</c:f>
              <c:numCache>
                <c:formatCode>General</c:formatCode>
                <c:ptCount val="53"/>
                <c:pt idx="18">
                  <c:v>400</c:v>
                </c:pt>
                <c:pt idx="19">
                  <c:v>380</c:v>
                </c:pt>
              </c:numCache>
            </c:numRef>
          </c:yVal>
          <c:smooth val="0"/>
          <c:extLst>
            <c:ext xmlns:c16="http://schemas.microsoft.com/office/drawing/2014/chart" uri="{C3380CC4-5D6E-409C-BE32-E72D297353CC}">
              <c16:uniqueId val="{00000001-AED4-4EEC-927A-2D45EEAAA2B5}"/>
            </c:ext>
          </c:extLst>
        </c:ser>
        <c:ser>
          <c:idx val="2"/>
          <c:order val="2"/>
          <c:spPr>
            <a:ln>
              <a:noFill/>
            </a:ln>
          </c:spPr>
          <c:marker>
            <c:symbol val="diamond"/>
            <c:size val="5"/>
            <c:spPr>
              <a:solidFill>
                <a:srgbClr val="DF0000"/>
              </a:solidFill>
              <a:ln w="9525" algn="ctr">
                <a:solidFill>
                  <a:srgbClr val="DF0000"/>
                </a:solidFill>
                <a:prstDash val="solid"/>
              </a:ln>
            </c:spPr>
          </c:marker>
          <c:xVal>
            <c:numRef>
              <c:f>Sheet1!$A$1:$A$53</c:f>
              <c:numCache>
                <c:formatCode>General</c:formatCode>
                <c:ptCount val="53"/>
                <c:pt idx="20">
                  <c:v>3.9</c:v>
                </c:pt>
                <c:pt idx="21">
                  <c:v>3.4</c:v>
                </c:pt>
                <c:pt idx="22">
                  <c:v>3.5</c:v>
                </c:pt>
                <c:pt idx="23">
                  <c:v>3.9</c:v>
                </c:pt>
                <c:pt idx="24">
                  <c:v>3.5</c:v>
                </c:pt>
                <c:pt idx="25">
                  <c:v>3.7</c:v>
                </c:pt>
                <c:pt idx="26">
                  <c:v>3.7</c:v>
                </c:pt>
                <c:pt idx="27">
                  <c:v>4.3</c:v>
                </c:pt>
              </c:numCache>
            </c:numRef>
          </c:xVal>
          <c:yVal>
            <c:numRef>
              <c:f>Sheet1!$D$1:$D$53</c:f>
              <c:numCache>
                <c:formatCode>General</c:formatCode>
                <c:ptCount val="53"/>
                <c:pt idx="20">
                  <c:v>290</c:v>
                </c:pt>
                <c:pt idx="21">
                  <c:v>320</c:v>
                </c:pt>
                <c:pt idx="22">
                  <c:v>180</c:v>
                </c:pt>
                <c:pt idx="23">
                  <c:v>270</c:v>
                </c:pt>
                <c:pt idx="24">
                  <c:v>60</c:v>
                </c:pt>
                <c:pt idx="25">
                  <c:v>60</c:v>
                </c:pt>
                <c:pt idx="26">
                  <c:v>40</c:v>
                </c:pt>
                <c:pt idx="27">
                  <c:v>140</c:v>
                </c:pt>
              </c:numCache>
            </c:numRef>
          </c:yVal>
          <c:smooth val="0"/>
          <c:extLst>
            <c:ext xmlns:c16="http://schemas.microsoft.com/office/drawing/2014/chart" uri="{C3380CC4-5D6E-409C-BE32-E72D297353CC}">
              <c16:uniqueId val="{00000002-AED4-4EEC-927A-2D45EEAAA2B5}"/>
            </c:ext>
          </c:extLst>
        </c:ser>
        <c:ser>
          <c:idx val="3"/>
          <c:order val="3"/>
          <c:spPr>
            <a:ln>
              <a:noFill/>
            </a:ln>
          </c:spPr>
          <c:marker>
            <c:symbol val="square"/>
            <c:size val="5"/>
            <c:spPr>
              <a:solidFill>
                <a:schemeClr val="accent5"/>
              </a:solidFill>
              <a:ln w="9525" algn="ctr">
                <a:solidFill>
                  <a:schemeClr val="accent5"/>
                </a:solidFill>
                <a:prstDash val="solid"/>
              </a:ln>
            </c:spPr>
          </c:marker>
          <c:xVal>
            <c:numRef>
              <c:f>Sheet1!$A$1:$A$53</c:f>
              <c:numCache>
                <c:formatCode>General</c:formatCode>
                <c:ptCount val="53"/>
                <c:pt idx="28">
                  <c:v>3.4</c:v>
                </c:pt>
                <c:pt idx="29">
                  <c:v>3.9</c:v>
                </c:pt>
                <c:pt idx="30">
                  <c:v>4.0999999999999996</c:v>
                </c:pt>
                <c:pt idx="31">
                  <c:v>4.3</c:v>
                </c:pt>
                <c:pt idx="32">
                  <c:v>4.4000000000000004</c:v>
                </c:pt>
                <c:pt idx="33">
                  <c:v>4.4000000000000004</c:v>
                </c:pt>
                <c:pt idx="34">
                  <c:v>4.9000000000000004</c:v>
                </c:pt>
                <c:pt idx="35">
                  <c:v>4.9000000000000004</c:v>
                </c:pt>
                <c:pt idx="36">
                  <c:v>4.9000000000000004</c:v>
                </c:pt>
                <c:pt idx="37">
                  <c:v>4.5</c:v>
                </c:pt>
                <c:pt idx="38">
                  <c:v>5.4</c:v>
                </c:pt>
              </c:numCache>
            </c:numRef>
          </c:xVal>
          <c:yVal>
            <c:numRef>
              <c:f>Sheet1!$E$1:$E$53</c:f>
              <c:numCache>
                <c:formatCode>General</c:formatCode>
                <c:ptCount val="53"/>
                <c:pt idx="28">
                  <c:v>70</c:v>
                </c:pt>
                <c:pt idx="29">
                  <c:v>140</c:v>
                </c:pt>
                <c:pt idx="30">
                  <c:v>190</c:v>
                </c:pt>
                <c:pt idx="31">
                  <c:v>140</c:v>
                </c:pt>
                <c:pt idx="32">
                  <c:v>110</c:v>
                </c:pt>
                <c:pt idx="33">
                  <c:v>100</c:v>
                </c:pt>
                <c:pt idx="34">
                  <c:v>160</c:v>
                </c:pt>
                <c:pt idx="35">
                  <c:v>140</c:v>
                </c:pt>
                <c:pt idx="36">
                  <c:v>50</c:v>
                </c:pt>
                <c:pt idx="37">
                  <c:v>550</c:v>
                </c:pt>
                <c:pt idx="38">
                  <c:v>790</c:v>
                </c:pt>
              </c:numCache>
            </c:numRef>
          </c:yVal>
          <c:smooth val="0"/>
          <c:extLst>
            <c:ext xmlns:c16="http://schemas.microsoft.com/office/drawing/2014/chart" uri="{C3380CC4-5D6E-409C-BE32-E72D297353CC}">
              <c16:uniqueId val="{00000003-AED4-4EEC-927A-2D45EEAAA2B5}"/>
            </c:ext>
          </c:extLst>
        </c:ser>
        <c:ser>
          <c:idx val="4"/>
          <c:order val="4"/>
          <c:spPr>
            <a:ln>
              <a:noFill/>
            </a:ln>
          </c:spPr>
          <c:marker>
            <c:symbol val="circle"/>
            <c:size val="5"/>
            <c:spPr>
              <a:solidFill>
                <a:schemeClr val="accent2"/>
              </a:solidFill>
              <a:ln w="9525" algn="ctr">
                <a:solidFill>
                  <a:schemeClr val="accent2"/>
                </a:solidFill>
                <a:prstDash val="solid"/>
              </a:ln>
            </c:spPr>
          </c:marker>
          <c:xVal>
            <c:numRef>
              <c:f>Sheet1!$A$1:$A$53</c:f>
              <c:numCache>
                <c:formatCode>General</c:formatCode>
                <c:ptCount val="53"/>
                <c:pt idx="39">
                  <c:v>4</c:v>
                </c:pt>
                <c:pt idx="40">
                  <c:v>4.3</c:v>
                </c:pt>
                <c:pt idx="41">
                  <c:v>4.5</c:v>
                </c:pt>
                <c:pt idx="42">
                  <c:v>4.5999999999999996</c:v>
                </c:pt>
                <c:pt idx="43">
                  <c:v>5</c:v>
                </c:pt>
                <c:pt idx="44">
                  <c:v>5.0999999999999996</c:v>
                </c:pt>
                <c:pt idx="45">
                  <c:v>5.3</c:v>
                </c:pt>
              </c:numCache>
            </c:numRef>
          </c:xVal>
          <c:yVal>
            <c:numRef>
              <c:f>Sheet1!$F$1:$F$53</c:f>
              <c:numCache>
                <c:formatCode>General</c:formatCode>
                <c:ptCount val="53"/>
                <c:pt idx="39">
                  <c:v>60</c:v>
                </c:pt>
                <c:pt idx="40">
                  <c:v>140</c:v>
                </c:pt>
                <c:pt idx="41">
                  <c:v>210</c:v>
                </c:pt>
                <c:pt idx="42">
                  <c:v>210</c:v>
                </c:pt>
                <c:pt idx="43">
                  <c:v>240</c:v>
                </c:pt>
                <c:pt idx="44">
                  <c:v>340</c:v>
                </c:pt>
                <c:pt idx="45">
                  <c:v>360</c:v>
                </c:pt>
              </c:numCache>
            </c:numRef>
          </c:yVal>
          <c:smooth val="0"/>
          <c:extLst>
            <c:ext xmlns:c16="http://schemas.microsoft.com/office/drawing/2014/chart" uri="{C3380CC4-5D6E-409C-BE32-E72D297353CC}">
              <c16:uniqueId val="{00000004-AED4-4EEC-927A-2D45EEAAA2B5}"/>
            </c:ext>
          </c:extLst>
        </c:ser>
        <c:ser>
          <c:idx val="5"/>
          <c:order val="5"/>
          <c:spPr>
            <a:ln>
              <a:noFill/>
            </a:ln>
          </c:spPr>
          <c:marker>
            <c:symbol val="triangle"/>
            <c:size val="5"/>
            <c:spPr>
              <a:solidFill>
                <a:schemeClr val="accent3"/>
              </a:solidFill>
              <a:ln w="9525" algn="ctr">
                <a:solidFill>
                  <a:schemeClr val="accent3"/>
                </a:solidFill>
                <a:prstDash val="solid"/>
              </a:ln>
            </c:spPr>
          </c:marker>
          <c:xVal>
            <c:numRef>
              <c:f>Sheet1!$A$1:$A$53</c:f>
              <c:numCache>
                <c:formatCode>General</c:formatCode>
                <c:ptCount val="53"/>
                <c:pt idx="46">
                  <c:v>4.9000000000000004</c:v>
                </c:pt>
                <c:pt idx="47">
                  <c:v>4.9000000000000004</c:v>
                </c:pt>
                <c:pt idx="48">
                  <c:v>5.2</c:v>
                </c:pt>
                <c:pt idx="49">
                  <c:v>5.0999999999999996</c:v>
                </c:pt>
                <c:pt idx="50">
                  <c:v>5</c:v>
                </c:pt>
                <c:pt idx="51">
                  <c:v>5.0999999999999996</c:v>
                </c:pt>
              </c:numCache>
            </c:numRef>
          </c:xVal>
          <c:yVal>
            <c:numRef>
              <c:f>Sheet1!$G$1:$G$53</c:f>
              <c:numCache>
                <c:formatCode>General</c:formatCode>
                <c:ptCount val="53"/>
                <c:pt idx="46">
                  <c:v>500</c:v>
                </c:pt>
                <c:pt idx="47">
                  <c:v>300</c:v>
                </c:pt>
                <c:pt idx="48">
                  <c:v>300</c:v>
                </c:pt>
                <c:pt idx="49">
                  <c:v>290</c:v>
                </c:pt>
                <c:pt idx="50">
                  <c:v>240</c:v>
                </c:pt>
                <c:pt idx="51">
                  <c:v>190</c:v>
                </c:pt>
              </c:numCache>
            </c:numRef>
          </c:yVal>
          <c:smooth val="0"/>
          <c:extLst>
            <c:ext xmlns:c16="http://schemas.microsoft.com/office/drawing/2014/chart" uri="{C3380CC4-5D6E-409C-BE32-E72D297353CC}">
              <c16:uniqueId val="{00000005-AED4-4EEC-927A-2D45EEAAA2B5}"/>
            </c:ext>
          </c:extLst>
        </c:ser>
        <c:ser>
          <c:idx val="6"/>
          <c:order val="6"/>
          <c:spPr>
            <a:ln>
              <a:noFill/>
            </a:ln>
          </c:spPr>
          <c:marker>
            <c:symbol val="diamond"/>
            <c:size val="5"/>
            <c:spPr>
              <a:solidFill>
                <a:srgbClr val="FFC000"/>
              </a:solidFill>
              <a:ln w="9525" algn="ctr">
                <a:solidFill>
                  <a:srgbClr val="FFC000"/>
                </a:solidFill>
                <a:prstDash val="solid"/>
              </a:ln>
            </c:spPr>
          </c:marker>
          <c:xVal>
            <c:numRef>
              <c:f>Sheet1!$A$1:$A$53</c:f>
              <c:numCache>
                <c:formatCode>General</c:formatCode>
                <c:ptCount val="53"/>
                <c:pt idx="52">
                  <c:v>4.7</c:v>
                </c:pt>
              </c:numCache>
            </c:numRef>
          </c:xVal>
          <c:yVal>
            <c:numRef>
              <c:f>Sheet1!$H$1:$H$53</c:f>
              <c:numCache>
                <c:formatCode>General</c:formatCode>
                <c:ptCount val="53"/>
                <c:pt idx="52">
                  <c:v>300</c:v>
                </c:pt>
              </c:numCache>
            </c:numRef>
          </c:yVal>
          <c:smooth val="0"/>
          <c:extLst>
            <c:ext xmlns:c16="http://schemas.microsoft.com/office/drawing/2014/chart" uri="{C3380CC4-5D6E-409C-BE32-E72D297353CC}">
              <c16:uniqueId val="{00000006-AED4-4EEC-927A-2D45EEAAA2B5}"/>
            </c:ext>
          </c:extLst>
        </c:ser>
        <c:dLbls>
          <c:showLegendKey val="0"/>
          <c:showVal val="0"/>
          <c:showCatName val="0"/>
          <c:showSerName val="0"/>
          <c:showPercent val="0"/>
          <c:showBubbleSize val="0"/>
        </c:dLbls>
        <c:axId val="1257255567"/>
        <c:axId val="1"/>
      </c:scatterChart>
      <c:valAx>
        <c:axId val="1257255567"/>
        <c:scaling>
          <c:orientation val="minMax"/>
          <c:max val="5.5"/>
          <c:min val="0"/>
        </c:scaling>
        <c:delete val="0"/>
        <c:axPos val="b"/>
        <c:majorGridlines>
          <c:spPr>
            <a:ln>
              <a:noFill/>
            </a:ln>
          </c:spPr>
        </c:majorGridlines>
        <c:numFmt formatCode="General" sourceLinked="1"/>
        <c:majorTickMark val="none"/>
        <c:minorTickMark val="none"/>
        <c:tickLblPos val="none"/>
        <c:spPr>
          <a:ln w="3175" algn="ctr">
            <a:solidFill>
              <a:srgbClr val="747480"/>
            </a:solidFill>
            <a:prstDash val="solid"/>
          </a:ln>
        </c:spPr>
        <c:crossAx val="1"/>
        <c:crosses val="min"/>
        <c:crossBetween val="midCat"/>
        <c:majorUnit val="0.5"/>
      </c:valAx>
      <c:valAx>
        <c:axId val="1"/>
        <c:scaling>
          <c:orientation val="minMax"/>
          <c:max val="800"/>
          <c:min val="0"/>
        </c:scaling>
        <c:delete val="0"/>
        <c:axPos val="l"/>
        <c:majorGridlines>
          <c:spPr>
            <a:ln>
              <a:noFill/>
            </a:ln>
          </c:spPr>
        </c:majorGridlines>
        <c:numFmt formatCode="General" sourceLinked="1"/>
        <c:majorTickMark val="none"/>
        <c:minorTickMark val="none"/>
        <c:tickLblPos val="none"/>
        <c:spPr>
          <a:ln w="3175" algn="ctr">
            <a:solidFill>
              <a:srgbClr val="747480"/>
            </a:solidFill>
            <a:prstDash val="solid"/>
          </a:ln>
        </c:spPr>
        <c:crossAx val="1257255567"/>
        <c:crosses val="min"/>
        <c:crossBetween val="midCat"/>
        <c:majorUnit val="10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210092283526409E-2"/>
          <c:y val="2.4390243902439025E-2"/>
          <c:w val="0.97957981543294714"/>
          <c:h val="0.95121951219512191"/>
        </c:manualLayout>
      </c:layout>
      <c:barChart>
        <c:barDir val="col"/>
        <c:grouping val="stacked"/>
        <c:varyColors val="0"/>
        <c:ser>
          <c:idx val="0"/>
          <c:order val="0"/>
          <c:spPr>
            <a:noFill/>
            <a:ln>
              <a:noFill/>
            </a:ln>
          </c:spPr>
          <c:invertIfNegative val="0"/>
          <c:dPt>
            <c:idx val="0"/>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0-DC10-4F31-85B0-9BBD2F707935}"/>
              </c:ext>
            </c:extLst>
          </c:dPt>
          <c:dPt>
            <c:idx val="11"/>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1-DC10-4F31-85B0-9BBD2F707935}"/>
              </c:ext>
            </c:extLst>
          </c:dPt>
          <c:dPt>
            <c:idx val="21"/>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2-DC10-4F31-85B0-9BBD2F707935}"/>
              </c:ext>
            </c:extLst>
          </c:dPt>
          <c:dPt>
            <c:idx val="24"/>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3-DC10-4F31-85B0-9BBD2F707935}"/>
              </c:ext>
            </c:extLst>
          </c:dPt>
          <c:val>
            <c:numRef>
              <c:f>Sheet1!$A$1:$Y$1</c:f>
              <c:numCache>
                <c:formatCode>General</c:formatCode>
                <c:ptCount val="25"/>
                <c:pt idx="0">
                  <c:v>55</c:v>
                </c:pt>
                <c:pt idx="1">
                  <c:v>55</c:v>
                </c:pt>
                <c:pt idx="2">
                  <c:v>98</c:v>
                </c:pt>
                <c:pt idx="3">
                  <c:v>190</c:v>
                </c:pt>
                <c:pt idx="4">
                  <c:v>366</c:v>
                </c:pt>
                <c:pt idx="5">
                  <c:v>629</c:v>
                </c:pt>
                <c:pt idx="6">
                  <c:v>788</c:v>
                </c:pt>
                <c:pt idx="7">
                  <c:v>940</c:v>
                </c:pt>
                <c:pt idx="8">
                  <c:v>1096</c:v>
                </c:pt>
                <c:pt idx="9">
                  <c:v>1269</c:v>
                </c:pt>
                <c:pt idx="10">
                  <c:v>1455</c:v>
                </c:pt>
                <c:pt idx="11">
                  <c:v>1702</c:v>
                </c:pt>
                <c:pt idx="12">
                  <c:v>2043</c:v>
                </c:pt>
                <c:pt idx="13">
                  <c:v>2783</c:v>
                </c:pt>
                <c:pt idx="14">
                  <c:v>3983</c:v>
                </c:pt>
                <c:pt idx="15">
                  <c:v>5022.625</c:v>
                </c:pt>
                <c:pt idx="16">
                  <c:v>6062.25</c:v>
                </c:pt>
                <c:pt idx="17">
                  <c:v>7101.875</c:v>
                </c:pt>
                <c:pt idx="18">
                  <c:v>8141.5</c:v>
                </c:pt>
                <c:pt idx="19">
                  <c:v>9181.125</c:v>
                </c:pt>
                <c:pt idx="20">
                  <c:v>10220.75</c:v>
                </c:pt>
                <c:pt idx="21">
                  <c:v>11260.375</c:v>
                </c:pt>
                <c:pt idx="24">
                  <c:v>16124.36974789916</c:v>
                </c:pt>
              </c:numCache>
            </c:numRef>
          </c:val>
          <c:extLst>
            <c:ext xmlns:c16="http://schemas.microsoft.com/office/drawing/2014/chart" uri="{C3380CC4-5D6E-409C-BE32-E72D297353CC}">
              <c16:uniqueId val="{00000004-DC10-4F31-85B0-9BBD2F707935}"/>
            </c:ext>
          </c:extLst>
        </c:ser>
        <c:ser>
          <c:idx val="1"/>
          <c:order val="1"/>
          <c:spPr>
            <a:solidFill>
              <a:schemeClr val="accent4"/>
            </a:solidFill>
            <a:ln w="9525" algn="ctr">
              <a:solidFill>
                <a:schemeClr val="bg1"/>
              </a:solidFill>
              <a:prstDash val="solid"/>
            </a:ln>
          </c:spPr>
          <c:invertIfNegative val="0"/>
          <c:val>
            <c:numRef>
              <c:f>Sheet1!$A$2:$Y$2</c:f>
              <c:numCache>
                <c:formatCode>General</c:formatCode>
                <c:ptCount val="25"/>
                <c:pt idx="1">
                  <c:v>43</c:v>
                </c:pt>
                <c:pt idx="2">
                  <c:v>92</c:v>
                </c:pt>
                <c:pt idx="3">
                  <c:v>176</c:v>
                </c:pt>
                <c:pt idx="4">
                  <c:v>263</c:v>
                </c:pt>
                <c:pt idx="5">
                  <c:v>159</c:v>
                </c:pt>
                <c:pt idx="6">
                  <c:v>152</c:v>
                </c:pt>
                <c:pt idx="7">
                  <c:v>156</c:v>
                </c:pt>
                <c:pt idx="8">
                  <c:v>173</c:v>
                </c:pt>
                <c:pt idx="9">
                  <c:v>186</c:v>
                </c:pt>
                <c:pt idx="10">
                  <c:v>247</c:v>
                </c:pt>
                <c:pt idx="11">
                  <c:v>341</c:v>
                </c:pt>
                <c:pt idx="12">
                  <c:v>740</c:v>
                </c:pt>
                <c:pt idx="13">
                  <c:v>1200</c:v>
                </c:pt>
                <c:pt idx="14">
                  <c:v>1039.625</c:v>
                </c:pt>
                <c:pt idx="15">
                  <c:v>1039.625</c:v>
                </c:pt>
                <c:pt idx="16">
                  <c:v>1039.625</c:v>
                </c:pt>
                <c:pt idx="17">
                  <c:v>1039.625</c:v>
                </c:pt>
                <c:pt idx="18">
                  <c:v>1039.625</c:v>
                </c:pt>
                <c:pt idx="19">
                  <c:v>1039.625</c:v>
                </c:pt>
                <c:pt idx="20">
                  <c:v>1039.625</c:v>
                </c:pt>
                <c:pt idx="21">
                  <c:v>1039.625</c:v>
                </c:pt>
              </c:numCache>
            </c:numRef>
          </c:val>
          <c:extLst>
            <c:ext xmlns:c16="http://schemas.microsoft.com/office/drawing/2014/chart" uri="{C3380CC4-5D6E-409C-BE32-E72D297353CC}">
              <c16:uniqueId val="{00000005-DC10-4F31-85B0-9BBD2F707935}"/>
            </c:ext>
          </c:extLst>
        </c:ser>
        <c:dLbls>
          <c:showLegendKey val="0"/>
          <c:showVal val="0"/>
          <c:showCatName val="0"/>
          <c:showSerName val="0"/>
          <c:showPercent val="0"/>
          <c:showBubbleSize val="0"/>
        </c:dLbls>
        <c:gapWidth val="40"/>
        <c:overlap val="100"/>
        <c:axId val="1855613951"/>
        <c:axId val="1"/>
      </c:barChart>
      <c:catAx>
        <c:axId val="1855613951"/>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16124.36974789916"/>
          <c:min val="0"/>
        </c:scaling>
        <c:delete val="1"/>
        <c:axPos val="l"/>
        <c:numFmt formatCode="General" sourceLinked="1"/>
        <c:majorTickMark val="out"/>
        <c:minorTickMark val="none"/>
        <c:tickLblPos val="nextTo"/>
        <c:crossAx val="1855613951"/>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692987867571458E-2"/>
          <c:y val="2.4118738404452691E-2"/>
          <c:w val="0.97861402426485711"/>
          <c:h val="0.95176252319109467"/>
        </c:manualLayout>
      </c:layout>
      <c:barChart>
        <c:barDir val="col"/>
        <c:grouping val="stacked"/>
        <c:varyColors val="0"/>
        <c:ser>
          <c:idx val="0"/>
          <c:order val="0"/>
          <c:spPr>
            <a:noFill/>
            <a:ln>
              <a:noFill/>
            </a:ln>
          </c:spPr>
          <c:invertIfNegative val="0"/>
          <c:dPt>
            <c:idx val="0"/>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0-39E7-4136-BC43-3778129D5AE0}"/>
              </c:ext>
            </c:extLst>
          </c:dPt>
          <c:dPt>
            <c:idx val="9"/>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01-39E7-4136-BC43-3778129D5AE0}"/>
              </c:ext>
            </c:extLst>
          </c:dPt>
          <c:dPt>
            <c:idx val="19"/>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2-39E7-4136-BC43-3778129D5AE0}"/>
              </c:ext>
            </c:extLst>
          </c:dPt>
          <c:dPt>
            <c:idx val="22"/>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3-39E7-4136-BC43-3778129D5AE0}"/>
              </c:ext>
            </c:extLst>
          </c:dPt>
          <c:val>
            <c:numRef>
              <c:f>Sheet1!$A$1:$W$1</c:f>
              <c:numCache>
                <c:formatCode>General</c:formatCode>
                <c:ptCount val="23"/>
                <c:pt idx="0">
                  <c:v>1015</c:v>
                </c:pt>
                <c:pt idx="1">
                  <c:v>1103</c:v>
                </c:pt>
                <c:pt idx="2">
                  <c:v>1380</c:v>
                </c:pt>
                <c:pt idx="3">
                  <c:v>1694</c:v>
                </c:pt>
                <c:pt idx="4">
                  <c:v>2102</c:v>
                </c:pt>
                <c:pt idx="5">
                  <c:v>2426</c:v>
                </c:pt>
                <c:pt idx="6">
                  <c:v>2654</c:v>
                </c:pt>
                <c:pt idx="7">
                  <c:v>2849</c:v>
                </c:pt>
                <c:pt idx="8">
                  <c:v>3027</c:v>
                </c:pt>
                <c:pt idx="9">
                  <c:v>41</c:v>
                </c:pt>
                <c:pt idx="10">
                  <c:v>3147</c:v>
                </c:pt>
                <c:pt idx="11">
                  <c:v>3339</c:v>
                </c:pt>
                <c:pt idx="12">
                  <c:v>3628</c:v>
                </c:pt>
                <c:pt idx="13">
                  <c:v>3868</c:v>
                </c:pt>
                <c:pt idx="14">
                  <c:v>4392.7142857142853</c:v>
                </c:pt>
                <c:pt idx="15">
                  <c:v>4917.4285714285706</c:v>
                </c:pt>
                <c:pt idx="16">
                  <c:v>5442.142857142856</c:v>
                </c:pt>
                <c:pt idx="17">
                  <c:v>5966.8571428571413</c:v>
                </c:pt>
                <c:pt idx="18">
                  <c:v>6491.5714285714266</c:v>
                </c:pt>
                <c:pt idx="19">
                  <c:v>6975.2857142857147</c:v>
                </c:pt>
                <c:pt idx="22">
                  <c:v>10198.807157057658</c:v>
                </c:pt>
              </c:numCache>
            </c:numRef>
          </c:val>
          <c:extLst>
            <c:ext xmlns:c16="http://schemas.microsoft.com/office/drawing/2014/chart" uri="{C3380CC4-5D6E-409C-BE32-E72D297353CC}">
              <c16:uniqueId val="{00000004-39E7-4136-BC43-3778129D5AE0}"/>
            </c:ext>
          </c:extLst>
        </c:ser>
        <c:ser>
          <c:idx val="1"/>
          <c:order val="1"/>
          <c:spPr>
            <a:solidFill>
              <a:schemeClr val="accent4"/>
            </a:solidFill>
            <a:ln w="9525" algn="ctr">
              <a:solidFill>
                <a:schemeClr val="bg1"/>
              </a:solidFill>
              <a:prstDash val="solid"/>
            </a:ln>
          </c:spPr>
          <c:invertIfNegative val="0"/>
          <c:dPt>
            <c:idx val="9"/>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5-39E7-4136-BC43-3778129D5AE0}"/>
              </c:ext>
            </c:extLst>
          </c:dPt>
          <c:val>
            <c:numRef>
              <c:f>Sheet1!$A$2:$W$2</c:f>
              <c:numCache>
                <c:formatCode>General</c:formatCode>
                <c:ptCount val="23"/>
                <c:pt idx="0">
                  <c:v>88</c:v>
                </c:pt>
                <c:pt idx="1">
                  <c:v>277</c:v>
                </c:pt>
                <c:pt idx="2">
                  <c:v>314</c:v>
                </c:pt>
                <c:pt idx="3">
                  <c:v>408</c:v>
                </c:pt>
                <c:pt idx="4">
                  <c:v>324</c:v>
                </c:pt>
                <c:pt idx="5">
                  <c:v>228</c:v>
                </c:pt>
                <c:pt idx="6">
                  <c:v>195</c:v>
                </c:pt>
                <c:pt idx="7">
                  <c:v>178</c:v>
                </c:pt>
                <c:pt idx="8">
                  <c:v>120</c:v>
                </c:pt>
                <c:pt idx="9">
                  <c:v>3147</c:v>
                </c:pt>
                <c:pt idx="10">
                  <c:v>192</c:v>
                </c:pt>
                <c:pt idx="11">
                  <c:v>289</c:v>
                </c:pt>
                <c:pt idx="12">
                  <c:v>240</c:v>
                </c:pt>
                <c:pt idx="13">
                  <c:v>524.71428571428532</c:v>
                </c:pt>
                <c:pt idx="14">
                  <c:v>524.71428571428532</c:v>
                </c:pt>
                <c:pt idx="15">
                  <c:v>524.71428571428532</c:v>
                </c:pt>
                <c:pt idx="16">
                  <c:v>524.71428571428532</c:v>
                </c:pt>
                <c:pt idx="17">
                  <c:v>524.71428571428532</c:v>
                </c:pt>
                <c:pt idx="18">
                  <c:v>524.71428571428532</c:v>
                </c:pt>
                <c:pt idx="19">
                  <c:v>524.71428571428532</c:v>
                </c:pt>
              </c:numCache>
            </c:numRef>
          </c:val>
          <c:extLst>
            <c:ext xmlns:c16="http://schemas.microsoft.com/office/drawing/2014/chart" uri="{C3380CC4-5D6E-409C-BE32-E72D297353CC}">
              <c16:uniqueId val="{00000006-39E7-4136-BC43-3778129D5AE0}"/>
            </c:ext>
          </c:extLst>
        </c:ser>
        <c:dLbls>
          <c:showLegendKey val="0"/>
          <c:showVal val="0"/>
          <c:showCatName val="0"/>
          <c:showSerName val="0"/>
          <c:showPercent val="0"/>
          <c:showBubbleSize val="0"/>
        </c:dLbls>
        <c:gapWidth val="40"/>
        <c:overlap val="100"/>
        <c:axId val="1855591679"/>
        <c:axId val="1"/>
      </c:barChart>
      <c:catAx>
        <c:axId val="1855591679"/>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10198.807157057658"/>
          <c:min val="0"/>
        </c:scaling>
        <c:delete val="1"/>
        <c:axPos val="l"/>
        <c:numFmt formatCode="General" sourceLinked="1"/>
        <c:majorTickMark val="out"/>
        <c:minorTickMark val="none"/>
        <c:tickLblPos val="nextTo"/>
        <c:crossAx val="1855591679"/>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975984630163303E-2"/>
          <c:y val="2.2970903522205207E-2"/>
          <c:w val="0.95004803073967337"/>
          <c:h val="0.96018376722817766"/>
        </c:manualLayout>
      </c:layout>
      <c:barChart>
        <c:barDir val="bar"/>
        <c:grouping val="stacked"/>
        <c:varyColors val="0"/>
        <c:ser>
          <c:idx val="0"/>
          <c:order val="0"/>
          <c:spPr>
            <a:noFill/>
            <a:ln>
              <a:noFill/>
            </a:ln>
          </c:spPr>
          <c:invertIfNegative val="0"/>
          <c:dPt>
            <c:idx val="0"/>
            <c:invertIfNegative val="0"/>
            <c:bubble3D val="0"/>
            <c:spPr>
              <a:solidFill>
                <a:schemeClr val="accent1"/>
              </a:solidFill>
              <a:ln w="9525" algn="ctr">
                <a:solidFill>
                  <a:schemeClr val="bg2"/>
                </a:solidFill>
                <a:prstDash val="solid"/>
              </a:ln>
            </c:spPr>
            <c:extLst>
              <c:ext xmlns:c16="http://schemas.microsoft.com/office/drawing/2014/chart" uri="{C3380CC4-5D6E-409C-BE32-E72D297353CC}">
                <c16:uniqueId val="{00000001-F610-49EF-B488-149E02C4D19C}"/>
              </c:ext>
            </c:extLst>
          </c:dPt>
          <c:dPt>
            <c:idx val="4"/>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3-F610-49EF-B488-149E02C4D19C}"/>
              </c:ext>
            </c:extLst>
          </c:dPt>
          <c:dPt>
            <c:idx val="10"/>
            <c:invertIfNegative val="0"/>
            <c:bubble3D val="0"/>
            <c:spPr>
              <a:solidFill>
                <a:schemeClr val="accent1"/>
              </a:solidFill>
              <a:ln>
                <a:noFill/>
              </a:ln>
            </c:spPr>
            <c:extLst>
              <c:ext xmlns:c16="http://schemas.microsoft.com/office/drawing/2014/chart" uri="{C3380CC4-5D6E-409C-BE32-E72D297353CC}">
                <c16:uniqueId val="{00000005-F610-49EF-B488-149E02C4D19C}"/>
              </c:ext>
            </c:extLst>
          </c:dPt>
          <c:dLbls>
            <c:dLbl>
              <c:idx val="0"/>
              <c:layout>
                <c:manualLayout>
                  <c:x val="-4.8030739673390969E-4"/>
                  <c:y val="0"/>
                </c:manualLayout>
              </c:layout>
              <c:tx>
                <c:rich>
                  <a:bodyPr/>
                  <a:lstStyle/>
                  <a:p>
                    <a:pPr>
                      <a:defRPr/>
                    </a:pPr>
                    <a:r>
                      <a:rPr lang="en-US" dirty="0">
                        <a:solidFill>
                          <a:schemeClr val="bg1"/>
                        </a:solidFill>
                      </a:rPr>
                      <a:t>53</a:t>
                    </a:r>
                  </a:p>
                </c:rich>
              </c:tx>
              <c:numFmt formatCode="#,##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F610-49EF-B488-149E02C4D19C}"/>
                </c:ext>
              </c:extLst>
            </c:dLbl>
            <c:dLbl>
              <c:idx val="4"/>
              <c:layout>
                <c:manualLayout>
                  <c:x val="-4.8030739673390969E-4"/>
                  <c:y val="0"/>
                </c:manualLayout>
              </c:layout>
              <c:tx>
                <c:rich>
                  <a:bodyPr/>
                  <a:lstStyle/>
                  <a:p>
                    <a:pPr>
                      <a:defRPr/>
                    </a:pPr>
                    <a:r>
                      <a:rPr lang="en-US" dirty="0">
                        <a:solidFill>
                          <a:schemeClr val="bg1"/>
                        </a:solidFill>
                      </a:rPr>
                      <a:t>75</a:t>
                    </a:r>
                  </a:p>
                </c:rich>
              </c:tx>
              <c:numFmt formatCode="#,##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3-F610-49EF-B488-149E02C4D19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0;#,##0;0</c:formatCode>
                <c:ptCount val="11"/>
                <c:pt idx="0">
                  <c:v>53</c:v>
                </c:pt>
                <c:pt idx="1">
                  <c:v>53</c:v>
                </c:pt>
                <c:pt idx="2">
                  <c:v>67</c:v>
                </c:pt>
                <c:pt idx="3">
                  <c:v>74</c:v>
                </c:pt>
                <c:pt idx="4">
                  <c:v>74</c:v>
                </c:pt>
                <c:pt idx="5" formatCode="General">
                  <c:v>67</c:v>
                </c:pt>
                <c:pt idx="6">
                  <c:v>53</c:v>
                </c:pt>
                <c:pt idx="7">
                  <c:v>53</c:v>
                </c:pt>
                <c:pt idx="8">
                  <c:v>80</c:v>
                </c:pt>
                <c:pt idx="9" formatCode="General">
                  <c:v>120</c:v>
                </c:pt>
                <c:pt idx="10">
                  <c:v>140</c:v>
                </c:pt>
              </c:numCache>
            </c:numRef>
          </c:val>
          <c:extLst>
            <c:ext xmlns:c16="http://schemas.microsoft.com/office/drawing/2014/chart" uri="{C3380CC4-5D6E-409C-BE32-E72D297353CC}">
              <c16:uniqueId val="{00000006-F610-49EF-B488-149E02C4D19C}"/>
            </c:ext>
          </c:extLst>
        </c:ser>
        <c:ser>
          <c:idx val="1"/>
          <c:order val="1"/>
          <c:spPr>
            <a:solidFill>
              <a:schemeClr val="accent1"/>
            </a:solidFill>
            <a:ln w="9525" algn="ctr">
              <a:solidFill>
                <a:schemeClr val="bg2"/>
              </a:solidFill>
              <a:prstDash val="solid"/>
            </a:ln>
          </c:spPr>
          <c:invertIfNegative val="0"/>
          <c:dPt>
            <c:idx val="8"/>
            <c:invertIfNegative val="0"/>
            <c:bubble3D val="0"/>
            <c:spPr>
              <a:solidFill>
                <a:srgbClr val="FFFFFF"/>
              </a:solidFill>
              <a:ln>
                <a:noFill/>
              </a:ln>
            </c:spPr>
            <c:extLst>
              <c:ext xmlns:c16="http://schemas.microsoft.com/office/drawing/2014/chart" uri="{C3380CC4-5D6E-409C-BE32-E72D297353CC}">
                <c16:uniqueId val="{00000008-F610-49EF-B488-149E02C4D19C}"/>
              </c:ext>
            </c:extLst>
          </c:dPt>
          <c:dPt>
            <c:idx val="9"/>
            <c:invertIfNegative val="0"/>
            <c:bubble3D val="0"/>
            <c:spPr>
              <a:noFill/>
              <a:ln>
                <a:noFill/>
              </a:ln>
            </c:spPr>
            <c:extLst>
              <c:ext xmlns:c16="http://schemas.microsoft.com/office/drawing/2014/chart" uri="{C3380CC4-5D6E-409C-BE32-E72D297353CC}">
                <c16:uniqueId val="{0000000A-F610-49EF-B488-149E02C4D19C}"/>
              </c:ext>
            </c:extLst>
          </c:dPt>
          <c:dPt>
            <c:idx val="10"/>
            <c:invertIfNegative val="0"/>
            <c:bubble3D val="0"/>
            <c:spPr>
              <a:solidFill>
                <a:srgbClr val="00A9F4"/>
              </a:solidFill>
              <a:ln>
                <a:noFill/>
              </a:ln>
            </c:spPr>
            <c:extLst>
              <c:ext xmlns:c16="http://schemas.microsoft.com/office/drawing/2014/chart" uri="{C3380CC4-5D6E-409C-BE32-E72D297353CC}">
                <c16:uniqueId val="{0000000C-F610-49EF-B488-149E02C4D19C}"/>
              </c:ext>
            </c:extLst>
          </c:dPt>
          <c:dLbls>
            <c:dLbl>
              <c:idx val="1"/>
              <c:layout>
                <c:manualLayout>
                  <c:x val="0"/>
                  <c:y val="0"/>
                </c:manualLayout>
              </c:layout>
              <c:numFmt formatCode="#,##0;#,##0;0" sourceLinked="0"/>
              <c:spPr>
                <a:noFill/>
                <a:ln>
                  <a:noFill/>
                </a:ln>
              </c:spPr>
              <c:txPr>
                <a:bodyPr/>
                <a:lstStyle/>
                <a:p>
                  <a:pPr>
                    <a:defRPr>
                      <a:solidFill>
                        <a:schemeClr val="bg1"/>
                      </a:solidFill>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610-49EF-B488-149E02C4D19C}"/>
                </c:ext>
              </c:extLst>
            </c:dLbl>
            <c:dLbl>
              <c:idx val="2"/>
              <c:layout>
                <c:manualLayout>
                  <c:x val="0"/>
                  <c:y val="0"/>
                </c:manualLayout>
              </c:layout>
              <c:numFmt formatCode="#,##0;#,##0;0" sourceLinked="0"/>
              <c:spPr>
                <a:noFill/>
                <a:ln>
                  <a:noFill/>
                </a:ln>
              </c:spPr>
              <c:txPr>
                <a:bodyPr/>
                <a:lstStyle/>
                <a:p>
                  <a:pPr>
                    <a:defRPr>
                      <a:solidFill>
                        <a:schemeClr val="bg1"/>
                      </a:solidFill>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610-49EF-B488-149E02C4D19C}"/>
                </c:ext>
              </c:extLst>
            </c:dLbl>
            <c:dLbl>
              <c:idx val="3"/>
              <c:layout>
                <c:manualLayout>
                  <c:x val="0"/>
                  <c:y val="0"/>
                </c:manualLayout>
              </c:layout>
              <c:numFmt formatCode="#,##0;#,##0;0" sourceLinked="0"/>
              <c:spPr>
                <a:noFill/>
                <a:ln>
                  <a:noFill/>
                </a:ln>
              </c:spPr>
              <c:txPr>
                <a:bodyPr/>
                <a:lstStyle/>
                <a:p>
                  <a:pPr>
                    <a:defRPr>
                      <a:solidFill>
                        <a:schemeClr val="bg1"/>
                      </a:solidFill>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610-49EF-B488-149E02C4D19C}"/>
                </c:ext>
              </c:extLst>
            </c:dLbl>
            <c:dLbl>
              <c:idx val="6"/>
              <c:layout>
                <c:manualLayout>
                  <c:x val="0"/>
                  <c:y val="0"/>
                </c:manualLayout>
              </c:layout>
              <c:numFmt formatCode="#,##0;#,##0;0" sourceLinked="0"/>
              <c:spPr>
                <a:noFill/>
                <a:ln>
                  <a:noFill/>
                </a:ln>
              </c:spPr>
              <c:txPr>
                <a:bodyPr/>
                <a:lstStyle/>
                <a:p>
                  <a:pPr>
                    <a:defRPr>
                      <a:solidFill>
                        <a:schemeClr val="bg1"/>
                      </a:solidFill>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610-49EF-B488-149E02C4D19C}"/>
                </c:ext>
              </c:extLst>
            </c:dLbl>
            <c:dLbl>
              <c:idx val="7"/>
              <c:layout>
                <c:manualLayout>
                  <c:x val="0"/>
                  <c:y val="0"/>
                </c:manualLayout>
              </c:layout>
              <c:numFmt formatCode="#,##0;#,##0;0" sourceLinked="0"/>
              <c:spPr>
                <a:noFill/>
                <a:ln>
                  <a:noFill/>
                </a:ln>
              </c:spPr>
              <c:txPr>
                <a:bodyPr/>
                <a:lstStyle/>
                <a:p>
                  <a:pPr>
                    <a:defRPr>
                      <a:solidFill>
                        <a:schemeClr val="bg1"/>
                      </a:solidFill>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610-49EF-B488-149E02C4D19C}"/>
                </c:ext>
              </c:extLst>
            </c:dLbl>
            <c:spPr>
              <a:noFill/>
              <a:ln>
                <a:noFill/>
              </a:ln>
              <a:effectLst/>
            </c:spPr>
            <c:txPr>
              <a:bodyPr/>
              <a:lstStyle/>
              <a:p>
                <a:pPr>
                  <a:defRPr>
                    <a:solidFill>
                      <a:schemeClr val="bg1"/>
                    </a:solidFill>
                  </a:defRPr>
                </a:pPr>
                <a:endParaRPr lang="de-DE"/>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0;#,##0;0</c:formatCode>
                <c:ptCount val="11"/>
                <c:pt idx="1">
                  <c:v>14</c:v>
                </c:pt>
                <c:pt idx="2">
                  <c:v>26</c:v>
                </c:pt>
                <c:pt idx="3">
                  <c:v>19</c:v>
                </c:pt>
                <c:pt idx="5" formatCode="General">
                  <c:v>7</c:v>
                </c:pt>
                <c:pt idx="6">
                  <c:v>14</c:v>
                </c:pt>
                <c:pt idx="7">
                  <c:v>27</c:v>
                </c:pt>
                <c:pt idx="8" formatCode="General">
                  <c:v>40</c:v>
                </c:pt>
                <c:pt idx="9" formatCode="General">
                  <c:v>80</c:v>
                </c:pt>
                <c:pt idx="10" formatCode="General">
                  <c:v>60</c:v>
                </c:pt>
              </c:numCache>
            </c:numRef>
          </c:val>
          <c:extLst>
            <c:ext xmlns:c16="http://schemas.microsoft.com/office/drawing/2014/chart" uri="{C3380CC4-5D6E-409C-BE32-E72D297353CC}">
              <c16:uniqueId val="{00000012-F610-49EF-B488-149E02C4D19C}"/>
            </c:ext>
          </c:extLst>
        </c:ser>
        <c:ser>
          <c:idx val="2"/>
          <c:order val="2"/>
          <c:spPr>
            <a:solidFill>
              <a:srgbClr val="FFFFFF"/>
            </a:solidFill>
            <a:ln>
              <a:noFill/>
            </a:ln>
          </c:spPr>
          <c:invertIfNegative val="0"/>
          <c:dLbls>
            <c:dLbl>
              <c:idx val="7"/>
              <c:layout>
                <c:manualLayout>
                  <c:x val="0"/>
                  <c:y val="0"/>
                </c:manualLayout>
              </c:layout>
              <c:numFmt formatCode="#,##0;#,##0;0" sourceLinked="0"/>
              <c:spPr>
                <a:noFill/>
                <a:ln>
                  <a:noFill/>
                </a:ln>
              </c:spPr>
              <c:txPr>
                <a:bodyPr/>
                <a:lstStyle/>
                <a:p>
                  <a:pPr>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610-49EF-B488-149E02C4D19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K$3</c:f>
              <c:numCache>
                <c:formatCode>General</c:formatCode>
                <c:ptCount val="11"/>
              </c:numCache>
            </c:numRef>
          </c:val>
          <c:extLst>
            <c:ext xmlns:c16="http://schemas.microsoft.com/office/drawing/2014/chart" uri="{C3380CC4-5D6E-409C-BE32-E72D297353CC}">
              <c16:uniqueId val="{00000014-F610-49EF-B488-149E02C4D19C}"/>
            </c:ext>
          </c:extLst>
        </c:ser>
        <c:dLbls>
          <c:showLegendKey val="0"/>
          <c:showVal val="0"/>
          <c:showCatName val="0"/>
          <c:showSerName val="0"/>
          <c:showPercent val="0"/>
          <c:showBubbleSize val="0"/>
        </c:dLbls>
        <c:gapWidth val="40"/>
        <c:overlap val="100"/>
        <c:axId val="314274735"/>
        <c:axId val="1"/>
      </c:barChart>
      <c:catAx>
        <c:axId val="314274735"/>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80"/>
          <c:min val="0"/>
        </c:scaling>
        <c:delete val="1"/>
        <c:axPos val="t"/>
        <c:numFmt formatCode="#,##0;#,##0;0" sourceLinked="1"/>
        <c:majorTickMark val="out"/>
        <c:minorTickMark val="none"/>
        <c:tickLblPos val="nextTo"/>
        <c:crossAx val="314274735"/>
        <c:crosses val="min"/>
        <c:crossBetween val="between"/>
      </c:valAx>
    </c:plotArea>
    <c:plotVisOnly val="0"/>
    <c:dispBlanksAs val="gap"/>
    <c:showDLblsOverMax val="1"/>
  </c:chart>
  <c:txPr>
    <a:bodyPr/>
    <a:lstStyle/>
    <a:p>
      <a:pPr>
        <a:defRPr sz="1200">
          <a:latin typeface="Bahnschrift" panose="020B0502040204020203" pitchFamily="34" charset="0"/>
        </a:defRPr>
      </a:pPr>
      <a:endParaRPr lang="de-DE"/>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229539040451553E-2"/>
          <c:y val="3.4712950600801068E-2"/>
          <c:w val="0.97554092191909692"/>
          <c:h val="0.93057409879839781"/>
        </c:manualLayout>
      </c:layout>
      <c:barChart>
        <c:barDir val="col"/>
        <c:grouping val="stacked"/>
        <c:varyColors val="0"/>
        <c:ser>
          <c:idx val="0"/>
          <c:order val="0"/>
          <c:spPr>
            <a:noFill/>
            <a:ln>
              <a:noFill/>
            </a:ln>
          </c:spPr>
          <c:invertIfNegative val="0"/>
          <c:dPt>
            <c:idx val="0"/>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0-DB7C-43E7-B0F3-6178EE51DD60}"/>
              </c:ext>
            </c:extLst>
          </c:dPt>
          <c:dPt>
            <c:idx val="5"/>
            <c:invertIfNegative val="0"/>
            <c:bubble3D val="0"/>
            <c:spPr>
              <a:solidFill>
                <a:schemeClr val="accent3"/>
              </a:solidFill>
              <a:ln w="9525" algn="ctr">
                <a:solidFill>
                  <a:schemeClr val="bg1"/>
                </a:solidFill>
                <a:prstDash val="solid"/>
              </a:ln>
            </c:spPr>
            <c:extLst>
              <c:ext xmlns:c16="http://schemas.microsoft.com/office/drawing/2014/chart" uri="{C3380CC4-5D6E-409C-BE32-E72D297353CC}">
                <c16:uniqueId val="{00000001-DB7C-43E7-B0F3-6178EE51DD60}"/>
              </c:ext>
            </c:extLst>
          </c:dPt>
          <c:dLbls>
            <c:dLbl>
              <c:idx val="5"/>
              <c:layout>
                <c:manualLayout>
                  <c:x val="-2.8927563499529633E-2"/>
                  <c:y val="0"/>
                </c:manualLayout>
              </c:layout>
              <c:numFmt formatCode="#,##0;#,##0;0" sourceLinked="0"/>
              <c:spPr>
                <a:noFill/>
                <a:ln>
                  <a:noFill/>
                </a:ln>
              </c:spPr>
              <c:txPr>
                <a:bodyPr wrap="none"/>
                <a:lstStyle/>
                <a:p>
                  <a:pPr>
                    <a:defRPr sz="1200" kern="1200">
                      <a:solidFill>
                        <a:schemeClr val="tx1"/>
                      </a:solidFill>
                      <a:latin typeface="Bahnschrift"/>
                      <a:ea typeface="Bahnschrift"/>
                      <a:cs typeface="Bahnschrift"/>
                      <a:sym typeface="Bahnschrif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B7C-43E7-B0F3-6178EE51DD6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79.130742060389011</c:v>
                </c:pt>
                <c:pt idx="1">
                  <c:v>54.158849786399713</c:v>
                </c:pt>
                <c:pt idx="2">
                  <c:v>33.957454869885822</c:v>
                </c:pt>
                <c:pt idx="3">
                  <c:v>23.252305297909356</c:v>
                </c:pt>
                <c:pt idx="4">
                  <c:v>22.015691287155153</c:v>
                </c:pt>
                <c:pt idx="5">
                  <c:v>9.4210236829928675</c:v>
                </c:pt>
              </c:numCache>
            </c:numRef>
          </c:val>
          <c:extLst>
            <c:ext xmlns:c16="http://schemas.microsoft.com/office/drawing/2014/chart" uri="{C3380CC4-5D6E-409C-BE32-E72D297353CC}">
              <c16:uniqueId val="{00000002-DB7C-43E7-B0F3-6178EE51DD60}"/>
            </c:ext>
          </c:extLst>
        </c:ser>
        <c:ser>
          <c:idx val="1"/>
          <c:order val="1"/>
          <c:spPr>
            <a:solidFill>
              <a:schemeClr val="accent3"/>
            </a:solidFill>
            <a:ln w="9525" algn="ctr">
              <a:solidFill>
                <a:schemeClr val="bg1"/>
              </a:solidFill>
              <a:prstDash val="solid"/>
            </a:ln>
          </c:spPr>
          <c:invertIfNegative val="0"/>
          <c:dPt>
            <c:idx val="5"/>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03-DB7C-43E7-B0F3-6178EE51DD60}"/>
              </c:ext>
            </c:extLst>
          </c:dPt>
          <c:dLbls>
            <c:dLbl>
              <c:idx val="1"/>
              <c:layout>
                <c:manualLayout>
                  <c:x val="0"/>
                  <c:y val="-6.6755674232309744E-4"/>
                </c:manualLayout>
              </c:layout>
              <c:numFmt formatCode="#,##0;#,##0;0" sourceLinked="0"/>
              <c:spPr>
                <a:noFill/>
                <a:ln>
                  <a:noFill/>
                </a:ln>
              </c:spPr>
              <c:txPr>
                <a:bodyPr wrap="none"/>
                <a:lstStyle/>
                <a:p>
                  <a:pPr>
                    <a:defRPr sz="1200" kern="120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B7C-43E7-B0F3-6178EE51DD60}"/>
                </c:ext>
              </c:extLst>
            </c:dLbl>
            <c:dLbl>
              <c:idx val="2"/>
              <c:layout>
                <c:manualLayout>
                  <c:x val="0"/>
                  <c:y val="0"/>
                </c:manualLayout>
              </c:layout>
              <c:numFmt formatCode="#,##0;#,##0;0" sourceLinked="0"/>
              <c:spPr>
                <a:noFill/>
                <a:ln>
                  <a:noFill/>
                </a:ln>
              </c:spPr>
              <c:txPr>
                <a:bodyPr wrap="none"/>
                <a:lstStyle/>
                <a:p>
                  <a:pPr>
                    <a:defRPr sz="1200" kern="1200">
                      <a:solidFill>
                        <a:schemeClr val="tx1"/>
                      </a:solidFill>
                      <a:latin typeface="Bahnschrift"/>
                      <a:ea typeface="Bahnschrift"/>
                      <a:cs typeface="Bahnschrift"/>
                      <a:sym typeface="Bahnschrif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B7C-43E7-B0F3-6178EE51DD60}"/>
                </c:ext>
              </c:extLst>
            </c:dLbl>
            <c:dLbl>
              <c:idx val="3"/>
              <c:layout>
                <c:manualLayout>
                  <c:x val="-2.8927563499529633E-2"/>
                  <c:y val="0"/>
                </c:manualLayout>
              </c:layout>
              <c:numFmt formatCode="#,##0;#,##0;0" sourceLinked="0"/>
              <c:spPr>
                <a:noFill/>
                <a:ln>
                  <a:noFill/>
                </a:ln>
              </c:spPr>
              <c:txPr>
                <a:bodyPr wrap="none"/>
                <a:lstStyle/>
                <a:p>
                  <a:pPr>
                    <a:defRPr sz="1200" kern="1200">
                      <a:solidFill>
                        <a:schemeClr val="tx1"/>
                      </a:solidFill>
                      <a:latin typeface="Bahnschrift"/>
                      <a:ea typeface="Bahnschrift"/>
                      <a:cs typeface="Bahnschrift"/>
                      <a:sym typeface="Bahnschrif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B7C-43E7-B0F3-6178EE51DD6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1">
                  <c:v>24.896735822691795</c:v>
                </c:pt>
                <c:pt idx="2">
                  <c:v>20.136323530213048</c:v>
                </c:pt>
                <c:pt idx="3">
                  <c:v>10.705149571976467</c:v>
                </c:pt>
                <c:pt idx="4">
                  <c:v>1.2366140107542023</c:v>
                </c:pt>
                <c:pt idx="5">
                  <c:v>1.8456045345897962</c:v>
                </c:pt>
              </c:numCache>
            </c:numRef>
          </c:val>
          <c:extLst>
            <c:ext xmlns:c16="http://schemas.microsoft.com/office/drawing/2014/chart" uri="{C3380CC4-5D6E-409C-BE32-E72D297353CC}">
              <c16:uniqueId val="{00000007-DB7C-43E7-B0F3-6178EE51DD60}"/>
            </c:ext>
          </c:extLst>
        </c:ser>
        <c:ser>
          <c:idx val="2"/>
          <c:order val="2"/>
          <c:spPr>
            <a:solidFill>
              <a:schemeClr val="accent4"/>
            </a:solidFill>
            <a:ln w="9525" algn="ctr">
              <a:solidFill>
                <a:schemeClr val="bg1"/>
              </a:solidFill>
              <a:prstDash val="solid"/>
            </a:ln>
          </c:spPr>
          <c:invertIfNegative val="0"/>
          <c:dPt>
            <c:idx val="5"/>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8-DB7C-43E7-B0F3-6178EE51DD60}"/>
              </c:ext>
            </c:extLst>
          </c:dPt>
          <c:dLbls>
            <c:dLbl>
              <c:idx val="5"/>
              <c:layout>
                <c:manualLayout>
                  <c:x val="0"/>
                  <c:y val="0"/>
                </c:manualLayout>
              </c:layout>
              <c:numFmt formatCode="#,##0;#,##0;0" sourceLinked="0"/>
              <c:spPr>
                <a:noFill/>
                <a:ln>
                  <a:noFill/>
                </a:ln>
              </c:spPr>
              <c:txPr>
                <a:bodyPr wrap="none"/>
                <a:lstStyle/>
                <a:p>
                  <a:pPr>
                    <a:defRPr sz="1200" kern="120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B7C-43E7-B0F3-6178EE51DD6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1">
                  <c:v>7.5156451297502258E-2</c:v>
                </c:pt>
                <c:pt idx="2">
                  <c:v>6.5071386300843415E-2</c:v>
                </c:pt>
                <c:pt idx="3">
                  <c:v>0</c:v>
                </c:pt>
                <c:pt idx="5">
                  <c:v>10.74906306957249</c:v>
                </c:pt>
              </c:numCache>
            </c:numRef>
          </c:val>
          <c:extLst>
            <c:ext xmlns:c16="http://schemas.microsoft.com/office/drawing/2014/chart" uri="{C3380CC4-5D6E-409C-BE32-E72D297353CC}">
              <c16:uniqueId val="{00000009-DB7C-43E7-B0F3-6178EE51DD60}"/>
            </c:ext>
          </c:extLst>
        </c:ser>
        <c:dLbls>
          <c:showLegendKey val="0"/>
          <c:showVal val="0"/>
          <c:showCatName val="0"/>
          <c:showSerName val="0"/>
          <c:showPercent val="0"/>
          <c:showBubbleSize val="0"/>
        </c:dLbls>
        <c:gapWidth val="40"/>
        <c:overlap val="100"/>
        <c:axId val="1890527967"/>
        <c:axId val="1"/>
      </c:barChart>
      <c:catAx>
        <c:axId val="1890527967"/>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79.130742060389011"/>
          <c:min val="0"/>
        </c:scaling>
        <c:delete val="1"/>
        <c:axPos val="l"/>
        <c:numFmt formatCode="General" sourceLinked="1"/>
        <c:majorTickMark val="out"/>
        <c:minorTickMark val="none"/>
        <c:tickLblPos val="nextTo"/>
        <c:crossAx val="1890527967"/>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145802650957292E-2"/>
          <c:y val="2.369020501138952E-2"/>
          <c:w val="0.96170839469808544"/>
          <c:h val="0.95261958997722096"/>
        </c:manualLayout>
      </c:layout>
      <c:scatterChart>
        <c:scatterStyle val="lineMarker"/>
        <c:varyColors val="0"/>
        <c:ser>
          <c:idx val="0"/>
          <c:order val="0"/>
          <c:spPr>
            <a:ln w="25400" algn="ctr">
              <a:solidFill>
                <a:schemeClr val="accent1"/>
              </a:solidFill>
              <a:prstDash val="solid"/>
            </a:ln>
          </c:spPr>
          <c:marker>
            <c:symbol val="none"/>
          </c:marker>
          <c:xVal>
            <c:numRef>
              <c:f>Sheet1!$A$1:$NL$1</c:f>
              <c:numCache>
                <c:formatCode>General</c:formatCode>
                <c:ptCount val="376"/>
                <c:pt idx="0">
                  <c:v>9862</c:v>
                </c:pt>
                <c:pt idx="1">
                  <c:v>9893</c:v>
                </c:pt>
                <c:pt idx="2">
                  <c:v>9921</c:v>
                </c:pt>
                <c:pt idx="3">
                  <c:v>9952</c:v>
                </c:pt>
                <c:pt idx="4">
                  <c:v>9982</c:v>
                </c:pt>
                <c:pt idx="5">
                  <c:v>10013</c:v>
                </c:pt>
                <c:pt idx="6">
                  <c:v>10043</c:v>
                </c:pt>
                <c:pt idx="7">
                  <c:v>10074</c:v>
                </c:pt>
                <c:pt idx="8">
                  <c:v>10105</c:v>
                </c:pt>
                <c:pt idx="9">
                  <c:v>10135</c:v>
                </c:pt>
                <c:pt idx="10">
                  <c:v>10166</c:v>
                </c:pt>
                <c:pt idx="11">
                  <c:v>10196</c:v>
                </c:pt>
                <c:pt idx="12">
                  <c:v>10227</c:v>
                </c:pt>
                <c:pt idx="13">
                  <c:v>10258</c:v>
                </c:pt>
                <c:pt idx="14">
                  <c:v>10286</c:v>
                </c:pt>
                <c:pt idx="15">
                  <c:v>10317</c:v>
                </c:pt>
                <c:pt idx="16">
                  <c:v>10347</c:v>
                </c:pt>
                <c:pt idx="17">
                  <c:v>10378</c:v>
                </c:pt>
                <c:pt idx="18">
                  <c:v>10408</c:v>
                </c:pt>
                <c:pt idx="19">
                  <c:v>10439</c:v>
                </c:pt>
                <c:pt idx="20">
                  <c:v>10470</c:v>
                </c:pt>
                <c:pt idx="21">
                  <c:v>10500</c:v>
                </c:pt>
                <c:pt idx="22">
                  <c:v>10531</c:v>
                </c:pt>
                <c:pt idx="23">
                  <c:v>10561</c:v>
                </c:pt>
                <c:pt idx="24">
                  <c:v>10592</c:v>
                </c:pt>
                <c:pt idx="25">
                  <c:v>10623</c:v>
                </c:pt>
                <c:pt idx="26">
                  <c:v>10651</c:v>
                </c:pt>
                <c:pt idx="27">
                  <c:v>10682</c:v>
                </c:pt>
                <c:pt idx="28">
                  <c:v>10712</c:v>
                </c:pt>
                <c:pt idx="29">
                  <c:v>10743</c:v>
                </c:pt>
                <c:pt idx="30">
                  <c:v>10773</c:v>
                </c:pt>
                <c:pt idx="31">
                  <c:v>10804</c:v>
                </c:pt>
                <c:pt idx="32">
                  <c:v>10835</c:v>
                </c:pt>
                <c:pt idx="33">
                  <c:v>10865</c:v>
                </c:pt>
                <c:pt idx="34">
                  <c:v>10896</c:v>
                </c:pt>
                <c:pt idx="35">
                  <c:v>10926</c:v>
                </c:pt>
                <c:pt idx="36">
                  <c:v>10957</c:v>
                </c:pt>
                <c:pt idx="37">
                  <c:v>10988</c:v>
                </c:pt>
                <c:pt idx="38">
                  <c:v>11017</c:v>
                </c:pt>
                <c:pt idx="39">
                  <c:v>11048</c:v>
                </c:pt>
                <c:pt idx="40">
                  <c:v>11078</c:v>
                </c:pt>
                <c:pt idx="41">
                  <c:v>11109</c:v>
                </c:pt>
                <c:pt idx="42">
                  <c:v>11139</c:v>
                </c:pt>
                <c:pt idx="43">
                  <c:v>11170</c:v>
                </c:pt>
                <c:pt idx="44">
                  <c:v>11201</c:v>
                </c:pt>
                <c:pt idx="45">
                  <c:v>11231</c:v>
                </c:pt>
                <c:pt idx="46">
                  <c:v>11262</c:v>
                </c:pt>
                <c:pt idx="47">
                  <c:v>11292</c:v>
                </c:pt>
                <c:pt idx="48">
                  <c:v>11323</c:v>
                </c:pt>
                <c:pt idx="49">
                  <c:v>11354</c:v>
                </c:pt>
                <c:pt idx="50">
                  <c:v>11382</c:v>
                </c:pt>
                <c:pt idx="51">
                  <c:v>11413</c:v>
                </c:pt>
                <c:pt idx="52">
                  <c:v>11443</c:v>
                </c:pt>
                <c:pt idx="53">
                  <c:v>11474</c:v>
                </c:pt>
                <c:pt idx="54">
                  <c:v>11504</c:v>
                </c:pt>
                <c:pt idx="55">
                  <c:v>11535</c:v>
                </c:pt>
                <c:pt idx="56">
                  <c:v>11566</c:v>
                </c:pt>
                <c:pt idx="57">
                  <c:v>11596</c:v>
                </c:pt>
                <c:pt idx="58">
                  <c:v>11627</c:v>
                </c:pt>
                <c:pt idx="59">
                  <c:v>11657</c:v>
                </c:pt>
                <c:pt idx="60">
                  <c:v>11688</c:v>
                </c:pt>
                <c:pt idx="61">
                  <c:v>11719</c:v>
                </c:pt>
                <c:pt idx="62">
                  <c:v>11747</c:v>
                </c:pt>
                <c:pt idx="63">
                  <c:v>11778</c:v>
                </c:pt>
                <c:pt idx="64">
                  <c:v>11808</c:v>
                </c:pt>
                <c:pt idx="65">
                  <c:v>11839</c:v>
                </c:pt>
                <c:pt idx="66">
                  <c:v>11869</c:v>
                </c:pt>
                <c:pt idx="67">
                  <c:v>11900</c:v>
                </c:pt>
                <c:pt idx="68">
                  <c:v>11931</c:v>
                </c:pt>
                <c:pt idx="69">
                  <c:v>11961</c:v>
                </c:pt>
                <c:pt idx="70">
                  <c:v>11992</c:v>
                </c:pt>
                <c:pt idx="71">
                  <c:v>12022</c:v>
                </c:pt>
                <c:pt idx="72">
                  <c:v>12053</c:v>
                </c:pt>
                <c:pt idx="73">
                  <c:v>12084</c:v>
                </c:pt>
                <c:pt idx="74">
                  <c:v>12112</c:v>
                </c:pt>
                <c:pt idx="75">
                  <c:v>12143</c:v>
                </c:pt>
                <c:pt idx="76">
                  <c:v>12173</c:v>
                </c:pt>
                <c:pt idx="77">
                  <c:v>12204</c:v>
                </c:pt>
                <c:pt idx="78">
                  <c:v>12234</c:v>
                </c:pt>
                <c:pt idx="79">
                  <c:v>12265</c:v>
                </c:pt>
                <c:pt idx="80">
                  <c:v>12296</c:v>
                </c:pt>
                <c:pt idx="81">
                  <c:v>12326</c:v>
                </c:pt>
                <c:pt idx="82">
                  <c:v>12357</c:v>
                </c:pt>
                <c:pt idx="83">
                  <c:v>12387</c:v>
                </c:pt>
                <c:pt idx="84">
                  <c:v>12418</c:v>
                </c:pt>
                <c:pt idx="85">
                  <c:v>12449</c:v>
                </c:pt>
                <c:pt idx="86">
                  <c:v>12478</c:v>
                </c:pt>
                <c:pt idx="87">
                  <c:v>12509</c:v>
                </c:pt>
                <c:pt idx="88">
                  <c:v>12539</c:v>
                </c:pt>
                <c:pt idx="89">
                  <c:v>12570</c:v>
                </c:pt>
                <c:pt idx="90">
                  <c:v>12600</c:v>
                </c:pt>
                <c:pt idx="91">
                  <c:v>12631</c:v>
                </c:pt>
                <c:pt idx="92">
                  <c:v>12662</c:v>
                </c:pt>
                <c:pt idx="93">
                  <c:v>12692</c:v>
                </c:pt>
                <c:pt idx="94">
                  <c:v>12723</c:v>
                </c:pt>
                <c:pt idx="95">
                  <c:v>12753</c:v>
                </c:pt>
                <c:pt idx="96">
                  <c:v>12784</c:v>
                </c:pt>
                <c:pt idx="97">
                  <c:v>12815</c:v>
                </c:pt>
                <c:pt idx="98">
                  <c:v>12843</c:v>
                </c:pt>
                <c:pt idx="99">
                  <c:v>12874</c:v>
                </c:pt>
                <c:pt idx="100">
                  <c:v>12904</c:v>
                </c:pt>
                <c:pt idx="101">
                  <c:v>12935</c:v>
                </c:pt>
                <c:pt idx="102">
                  <c:v>12965</c:v>
                </c:pt>
                <c:pt idx="103">
                  <c:v>12996</c:v>
                </c:pt>
                <c:pt idx="104">
                  <c:v>13027</c:v>
                </c:pt>
                <c:pt idx="105">
                  <c:v>13057</c:v>
                </c:pt>
                <c:pt idx="106">
                  <c:v>13088</c:v>
                </c:pt>
                <c:pt idx="107">
                  <c:v>13118</c:v>
                </c:pt>
                <c:pt idx="108">
                  <c:v>13149</c:v>
                </c:pt>
                <c:pt idx="109">
                  <c:v>13180</c:v>
                </c:pt>
                <c:pt idx="110">
                  <c:v>13208</c:v>
                </c:pt>
                <c:pt idx="111">
                  <c:v>13239</c:v>
                </c:pt>
                <c:pt idx="112">
                  <c:v>13269</c:v>
                </c:pt>
                <c:pt idx="113">
                  <c:v>13300</c:v>
                </c:pt>
                <c:pt idx="114">
                  <c:v>13330</c:v>
                </c:pt>
                <c:pt idx="115">
                  <c:v>13361</c:v>
                </c:pt>
                <c:pt idx="116">
                  <c:v>13392</c:v>
                </c:pt>
                <c:pt idx="117">
                  <c:v>13422</c:v>
                </c:pt>
                <c:pt idx="118">
                  <c:v>13453</c:v>
                </c:pt>
                <c:pt idx="119">
                  <c:v>13483</c:v>
                </c:pt>
                <c:pt idx="120">
                  <c:v>13514</c:v>
                </c:pt>
                <c:pt idx="121">
                  <c:v>13545</c:v>
                </c:pt>
                <c:pt idx="122">
                  <c:v>13573</c:v>
                </c:pt>
                <c:pt idx="123">
                  <c:v>13604</c:v>
                </c:pt>
                <c:pt idx="124">
                  <c:v>13634</c:v>
                </c:pt>
                <c:pt idx="125">
                  <c:v>13665</c:v>
                </c:pt>
                <c:pt idx="126">
                  <c:v>13695</c:v>
                </c:pt>
                <c:pt idx="127">
                  <c:v>13726</c:v>
                </c:pt>
                <c:pt idx="128">
                  <c:v>13757</c:v>
                </c:pt>
                <c:pt idx="129">
                  <c:v>13787</c:v>
                </c:pt>
                <c:pt idx="130">
                  <c:v>13818</c:v>
                </c:pt>
                <c:pt idx="131">
                  <c:v>13848</c:v>
                </c:pt>
                <c:pt idx="132">
                  <c:v>13879</c:v>
                </c:pt>
                <c:pt idx="133">
                  <c:v>13910</c:v>
                </c:pt>
                <c:pt idx="134">
                  <c:v>13939</c:v>
                </c:pt>
                <c:pt idx="135">
                  <c:v>13970</c:v>
                </c:pt>
                <c:pt idx="136">
                  <c:v>14000</c:v>
                </c:pt>
                <c:pt idx="137">
                  <c:v>14031</c:v>
                </c:pt>
                <c:pt idx="138">
                  <c:v>14061</c:v>
                </c:pt>
                <c:pt idx="139">
                  <c:v>14092</c:v>
                </c:pt>
                <c:pt idx="140">
                  <c:v>14123</c:v>
                </c:pt>
                <c:pt idx="141">
                  <c:v>14153</c:v>
                </c:pt>
                <c:pt idx="142">
                  <c:v>14184</c:v>
                </c:pt>
                <c:pt idx="143">
                  <c:v>14214</c:v>
                </c:pt>
                <c:pt idx="144">
                  <c:v>14245</c:v>
                </c:pt>
                <c:pt idx="145">
                  <c:v>14276</c:v>
                </c:pt>
                <c:pt idx="146">
                  <c:v>14304</c:v>
                </c:pt>
                <c:pt idx="147">
                  <c:v>14335</c:v>
                </c:pt>
                <c:pt idx="148">
                  <c:v>14365</c:v>
                </c:pt>
                <c:pt idx="149">
                  <c:v>14396</c:v>
                </c:pt>
                <c:pt idx="150">
                  <c:v>14426</c:v>
                </c:pt>
                <c:pt idx="151">
                  <c:v>14457</c:v>
                </c:pt>
                <c:pt idx="152">
                  <c:v>14488</c:v>
                </c:pt>
                <c:pt idx="153">
                  <c:v>14518</c:v>
                </c:pt>
                <c:pt idx="154">
                  <c:v>14549</c:v>
                </c:pt>
                <c:pt idx="155">
                  <c:v>14579</c:v>
                </c:pt>
                <c:pt idx="156">
                  <c:v>14610</c:v>
                </c:pt>
                <c:pt idx="157">
                  <c:v>14641</c:v>
                </c:pt>
                <c:pt idx="158">
                  <c:v>14669</c:v>
                </c:pt>
                <c:pt idx="159">
                  <c:v>14700</c:v>
                </c:pt>
                <c:pt idx="160">
                  <c:v>14730</c:v>
                </c:pt>
                <c:pt idx="161">
                  <c:v>14761</c:v>
                </c:pt>
                <c:pt idx="162">
                  <c:v>14791</c:v>
                </c:pt>
                <c:pt idx="163">
                  <c:v>14822</c:v>
                </c:pt>
                <c:pt idx="164">
                  <c:v>14853</c:v>
                </c:pt>
                <c:pt idx="165">
                  <c:v>14883</c:v>
                </c:pt>
                <c:pt idx="166">
                  <c:v>14914</c:v>
                </c:pt>
                <c:pt idx="167">
                  <c:v>14944</c:v>
                </c:pt>
                <c:pt idx="168">
                  <c:v>14975</c:v>
                </c:pt>
                <c:pt idx="169">
                  <c:v>15006</c:v>
                </c:pt>
                <c:pt idx="170">
                  <c:v>15034</c:v>
                </c:pt>
                <c:pt idx="171">
                  <c:v>15065</c:v>
                </c:pt>
                <c:pt idx="172">
                  <c:v>15095</c:v>
                </c:pt>
                <c:pt idx="173">
                  <c:v>15126</c:v>
                </c:pt>
                <c:pt idx="174">
                  <c:v>15156</c:v>
                </c:pt>
                <c:pt idx="175">
                  <c:v>15187</c:v>
                </c:pt>
                <c:pt idx="176">
                  <c:v>15218</c:v>
                </c:pt>
                <c:pt idx="177">
                  <c:v>15248</c:v>
                </c:pt>
                <c:pt idx="178">
                  <c:v>15279</c:v>
                </c:pt>
                <c:pt idx="179">
                  <c:v>15309</c:v>
                </c:pt>
                <c:pt idx="180">
                  <c:v>15340</c:v>
                </c:pt>
                <c:pt idx="181">
                  <c:v>15371</c:v>
                </c:pt>
                <c:pt idx="182">
                  <c:v>15400</c:v>
                </c:pt>
                <c:pt idx="183">
                  <c:v>15431</c:v>
                </c:pt>
                <c:pt idx="184">
                  <c:v>15461</c:v>
                </c:pt>
                <c:pt idx="185">
                  <c:v>15492</c:v>
                </c:pt>
                <c:pt idx="186">
                  <c:v>15522</c:v>
                </c:pt>
                <c:pt idx="187">
                  <c:v>15553</c:v>
                </c:pt>
                <c:pt idx="188">
                  <c:v>15584</c:v>
                </c:pt>
                <c:pt idx="189">
                  <c:v>15614</c:v>
                </c:pt>
                <c:pt idx="190">
                  <c:v>15645</c:v>
                </c:pt>
                <c:pt idx="191">
                  <c:v>15675</c:v>
                </c:pt>
                <c:pt idx="192">
                  <c:v>15706</c:v>
                </c:pt>
                <c:pt idx="193">
                  <c:v>15737</c:v>
                </c:pt>
                <c:pt idx="194">
                  <c:v>15765</c:v>
                </c:pt>
                <c:pt idx="195">
                  <c:v>15796</c:v>
                </c:pt>
                <c:pt idx="196">
                  <c:v>15826</c:v>
                </c:pt>
                <c:pt idx="197">
                  <c:v>15857</c:v>
                </c:pt>
                <c:pt idx="198">
                  <c:v>15887</c:v>
                </c:pt>
                <c:pt idx="199">
                  <c:v>15918</c:v>
                </c:pt>
                <c:pt idx="200">
                  <c:v>15949</c:v>
                </c:pt>
                <c:pt idx="201">
                  <c:v>15979</c:v>
                </c:pt>
                <c:pt idx="202">
                  <c:v>16010</c:v>
                </c:pt>
                <c:pt idx="203">
                  <c:v>16040</c:v>
                </c:pt>
                <c:pt idx="204">
                  <c:v>16071</c:v>
                </c:pt>
                <c:pt idx="205">
                  <c:v>16102</c:v>
                </c:pt>
                <c:pt idx="206">
                  <c:v>16130</c:v>
                </c:pt>
                <c:pt idx="207">
                  <c:v>16161</c:v>
                </c:pt>
                <c:pt idx="208">
                  <c:v>16191</c:v>
                </c:pt>
                <c:pt idx="209">
                  <c:v>16222</c:v>
                </c:pt>
                <c:pt idx="210">
                  <c:v>16252</c:v>
                </c:pt>
                <c:pt idx="211">
                  <c:v>16283</c:v>
                </c:pt>
                <c:pt idx="212">
                  <c:v>16314</c:v>
                </c:pt>
                <c:pt idx="213">
                  <c:v>16344</c:v>
                </c:pt>
                <c:pt idx="214">
                  <c:v>16375</c:v>
                </c:pt>
                <c:pt idx="215">
                  <c:v>16405</c:v>
                </c:pt>
                <c:pt idx="216">
                  <c:v>16436</c:v>
                </c:pt>
                <c:pt idx="217">
                  <c:v>16467</c:v>
                </c:pt>
                <c:pt idx="218">
                  <c:v>16495</c:v>
                </c:pt>
                <c:pt idx="219">
                  <c:v>16526</c:v>
                </c:pt>
                <c:pt idx="220">
                  <c:v>16556</c:v>
                </c:pt>
                <c:pt idx="221">
                  <c:v>16587</c:v>
                </c:pt>
                <c:pt idx="222">
                  <c:v>16617</c:v>
                </c:pt>
                <c:pt idx="223">
                  <c:v>16648</c:v>
                </c:pt>
                <c:pt idx="224">
                  <c:v>16679</c:v>
                </c:pt>
                <c:pt idx="225">
                  <c:v>16709</c:v>
                </c:pt>
                <c:pt idx="226">
                  <c:v>16740</c:v>
                </c:pt>
                <c:pt idx="227">
                  <c:v>16770</c:v>
                </c:pt>
                <c:pt idx="228">
                  <c:v>16801</c:v>
                </c:pt>
                <c:pt idx="229">
                  <c:v>16832</c:v>
                </c:pt>
                <c:pt idx="230">
                  <c:v>16861</c:v>
                </c:pt>
                <c:pt idx="231">
                  <c:v>16892</c:v>
                </c:pt>
                <c:pt idx="232">
                  <c:v>16922</c:v>
                </c:pt>
                <c:pt idx="233">
                  <c:v>16953</c:v>
                </c:pt>
                <c:pt idx="234">
                  <c:v>16983</c:v>
                </c:pt>
                <c:pt idx="235">
                  <c:v>17014</c:v>
                </c:pt>
                <c:pt idx="236">
                  <c:v>17045</c:v>
                </c:pt>
                <c:pt idx="237">
                  <c:v>17075</c:v>
                </c:pt>
                <c:pt idx="238">
                  <c:v>17106</c:v>
                </c:pt>
                <c:pt idx="239">
                  <c:v>17136</c:v>
                </c:pt>
                <c:pt idx="240">
                  <c:v>17167</c:v>
                </c:pt>
                <c:pt idx="241">
                  <c:v>17198</c:v>
                </c:pt>
                <c:pt idx="242">
                  <c:v>17226</c:v>
                </c:pt>
                <c:pt idx="243">
                  <c:v>17257</c:v>
                </c:pt>
                <c:pt idx="244">
                  <c:v>17287</c:v>
                </c:pt>
                <c:pt idx="245">
                  <c:v>17318</c:v>
                </c:pt>
                <c:pt idx="246">
                  <c:v>17348</c:v>
                </c:pt>
                <c:pt idx="247">
                  <c:v>17379</c:v>
                </c:pt>
                <c:pt idx="248">
                  <c:v>17410</c:v>
                </c:pt>
                <c:pt idx="249">
                  <c:v>17440</c:v>
                </c:pt>
                <c:pt idx="250">
                  <c:v>17471</c:v>
                </c:pt>
                <c:pt idx="251">
                  <c:v>17501</c:v>
                </c:pt>
                <c:pt idx="252">
                  <c:v>17532</c:v>
                </c:pt>
                <c:pt idx="253">
                  <c:v>17563</c:v>
                </c:pt>
                <c:pt idx="254">
                  <c:v>17591</c:v>
                </c:pt>
                <c:pt idx="255">
                  <c:v>17622</c:v>
                </c:pt>
                <c:pt idx="256">
                  <c:v>17652</c:v>
                </c:pt>
                <c:pt idx="257">
                  <c:v>17683</c:v>
                </c:pt>
                <c:pt idx="258">
                  <c:v>17713</c:v>
                </c:pt>
                <c:pt idx="259">
                  <c:v>17744</c:v>
                </c:pt>
                <c:pt idx="260">
                  <c:v>17775</c:v>
                </c:pt>
                <c:pt idx="261">
                  <c:v>17805</c:v>
                </c:pt>
                <c:pt idx="262">
                  <c:v>17836</c:v>
                </c:pt>
                <c:pt idx="263">
                  <c:v>17866</c:v>
                </c:pt>
                <c:pt idx="264">
                  <c:v>17897</c:v>
                </c:pt>
                <c:pt idx="265">
                  <c:v>17928</c:v>
                </c:pt>
                <c:pt idx="266">
                  <c:v>17956</c:v>
                </c:pt>
                <c:pt idx="267">
                  <c:v>17987</c:v>
                </c:pt>
                <c:pt idx="268">
                  <c:v>18017</c:v>
                </c:pt>
                <c:pt idx="269">
                  <c:v>18048</c:v>
                </c:pt>
                <c:pt idx="270">
                  <c:v>18078</c:v>
                </c:pt>
                <c:pt idx="271">
                  <c:v>18109</c:v>
                </c:pt>
                <c:pt idx="272">
                  <c:v>18140</c:v>
                </c:pt>
                <c:pt idx="273">
                  <c:v>18170</c:v>
                </c:pt>
                <c:pt idx="274">
                  <c:v>18201</c:v>
                </c:pt>
                <c:pt idx="275">
                  <c:v>18231</c:v>
                </c:pt>
                <c:pt idx="276">
                  <c:v>18262</c:v>
                </c:pt>
                <c:pt idx="277">
                  <c:v>18293</c:v>
                </c:pt>
                <c:pt idx="278">
                  <c:v>18322</c:v>
                </c:pt>
                <c:pt idx="279">
                  <c:v>18353</c:v>
                </c:pt>
                <c:pt idx="280">
                  <c:v>18383</c:v>
                </c:pt>
                <c:pt idx="281">
                  <c:v>18414</c:v>
                </c:pt>
                <c:pt idx="282">
                  <c:v>18444</c:v>
                </c:pt>
                <c:pt idx="283">
                  <c:v>18475</c:v>
                </c:pt>
                <c:pt idx="284">
                  <c:v>18506</c:v>
                </c:pt>
                <c:pt idx="285">
                  <c:v>18536</c:v>
                </c:pt>
                <c:pt idx="286">
                  <c:v>18567</c:v>
                </c:pt>
                <c:pt idx="287">
                  <c:v>18597</c:v>
                </c:pt>
                <c:pt idx="288">
                  <c:v>18628</c:v>
                </c:pt>
                <c:pt idx="289">
                  <c:v>18659</c:v>
                </c:pt>
                <c:pt idx="290">
                  <c:v>18687</c:v>
                </c:pt>
                <c:pt idx="291">
                  <c:v>18718</c:v>
                </c:pt>
                <c:pt idx="292">
                  <c:v>18748</c:v>
                </c:pt>
                <c:pt idx="293">
                  <c:v>18779</c:v>
                </c:pt>
                <c:pt idx="294">
                  <c:v>18809</c:v>
                </c:pt>
                <c:pt idx="295">
                  <c:v>18840</c:v>
                </c:pt>
                <c:pt idx="296">
                  <c:v>18871</c:v>
                </c:pt>
                <c:pt idx="297">
                  <c:v>18901</c:v>
                </c:pt>
                <c:pt idx="298">
                  <c:v>18932</c:v>
                </c:pt>
                <c:pt idx="299">
                  <c:v>18962</c:v>
                </c:pt>
                <c:pt idx="300">
                  <c:v>18993</c:v>
                </c:pt>
                <c:pt idx="301">
                  <c:v>19024</c:v>
                </c:pt>
                <c:pt idx="302">
                  <c:v>19052</c:v>
                </c:pt>
                <c:pt idx="303">
                  <c:v>19083</c:v>
                </c:pt>
                <c:pt idx="304">
                  <c:v>19113</c:v>
                </c:pt>
                <c:pt idx="305">
                  <c:v>19144</c:v>
                </c:pt>
                <c:pt idx="306">
                  <c:v>19174</c:v>
                </c:pt>
                <c:pt idx="307">
                  <c:v>19205</c:v>
                </c:pt>
                <c:pt idx="308">
                  <c:v>19236</c:v>
                </c:pt>
                <c:pt idx="309">
                  <c:v>19266</c:v>
                </c:pt>
                <c:pt idx="310">
                  <c:v>19297</c:v>
                </c:pt>
                <c:pt idx="311">
                  <c:v>19327</c:v>
                </c:pt>
                <c:pt idx="312">
                  <c:v>19358</c:v>
                </c:pt>
                <c:pt idx="313">
                  <c:v>19389</c:v>
                </c:pt>
                <c:pt idx="314">
                  <c:v>19417</c:v>
                </c:pt>
                <c:pt idx="315">
                  <c:v>19448</c:v>
                </c:pt>
                <c:pt idx="316">
                  <c:v>19458</c:v>
                </c:pt>
                <c:pt idx="317">
                  <c:v>19478</c:v>
                </c:pt>
                <c:pt idx="318">
                  <c:v>19509</c:v>
                </c:pt>
                <c:pt idx="319">
                  <c:v>19539</c:v>
                </c:pt>
                <c:pt idx="320">
                  <c:v>19570</c:v>
                </c:pt>
                <c:pt idx="321">
                  <c:v>19601</c:v>
                </c:pt>
                <c:pt idx="322">
                  <c:v>19631</c:v>
                </c:pt>
                <c:pt idx="323">
                  <c:v>19662</c:v>
                </c:pt>
                <c:pt idx="324">
                  <c:v>19692</c:v>
                </c:pt>
                <c:pt idx="325">
                  <c:v>19723</c:v>
                </c:pt>
                <c:pt idx="326">
                  <c:v>19754</c:v>
                </c:pt>
                <c:pt idx="327">
                  <c:v>19783</c:v>
                </c:pt>
                <c:pt idx="328">
                  <c:v>19814</c:v>
                </c:pt>
                <c:pt idx="329">
                  <c:v>19844</c:v>
                </c:pt>
                <c:pt idx="330">
                  <c:v>19875</c:v>
                </c:pt>
                <c:pt idx="331">
                  <c:v>19905</c:v>
                </c:pt>
                <c:pt idx="332">
                  <c:v>19936</c:v>
                </c:pt>
                <c:pt idx="333">
                  <c:v>19967</c:v>
                </c:pt>
                <c:pt idx="334">
                  <c:v>19997</c:v>
                </c:pt>
                <c:pt idx="335">
                  <c:v>20028</c:v>
                </c:pt>
                <c:pt idx="336">
                  <c:v>20058</c:v>
                </c:pt>
                <c:pt idx="337">
                  <c:v>20089</c:v>
                </c:pt>
                <c:pt idx="338">
                  <c:v>20120</c:v>
                </c:pt>
                <c:pt idx="339">
                  <c:v>20148</c:v>
                </c:pt>
                <c:pt idx="340">
                  <c:v>20179</c:v>
                </c:pt>
                <c:pt idx="341">
                  <c:v>20209</c:v>
                </c:pt>
                <c:pt idx="342">
                  <c:v>20240</c:v>
                </c:pt>
                <c:pt idx="343">
                  <c:v>20270</c:v>
                </c:pt>
                <c:pt idx="344">
                  <c:v>20301</c:v>
                </c:pt>
                <c:pt idx="345">
                  <c:v>20332</c:v>
                </c:pt>
                <c:pt idx="346">
                  <c:v>20362</c:v>
                </c:pt>
                <c:pt idx="347">
                  <c:v>20393</c:v>
                </c:pt>
                <c:pt idx="348">
                  <c:v>20423</c:v>
                </c:pt>
                <c:pt idx="349">
                  <c:v>20454</c:v>
                </c:pt>
                <c:pt idx="350">
                  <c:v>20485</c:v>
                </c:pt>
                <c:pt idx="351">
                  <c:v>20513</c:v>
                </c:pt>
                <c:pt idx="352">
                  <c:v>20544</c:v>
                </c:pt>
                <c:pt idx="353">
                  <c:v>20574</c:v>
                </c:pt>
                <c:pt idx="354">
                  <c:v>20605</c:v>
                </c:pt>
                <c:pt idx="355">
                  <c:v>20635</c:v>
                </c:pt>
                <c:pt idx="356">
                  <c:v>20666</c:v>
                </c:pt>
                <c:pt idx="357">
                  <c:v>20697</c:v>
                </c:pt>
                <c:pt idx="358">
                  <c:v>20727</c:v>
                </c:pt>
                <c:pt idx="359">
                  <c:v>20758</c:v>
                </c:pt>
                <c:pt idx="360">
                  <c:v>20788</c:v>
                </c:pt>
                <c:pt idx="361">
                  <c:v>20819</c:v>
                </c:pt>
                <c:pt idx="362">
                  <c:v>20850</c:v>
                </c:pt>
                <c:pt idx="363">
                  <c:v>20878</c:v>
                </c:pt>
                <c:pt idx="364">
                  <c:v>20909</c:v>
                </c:pt>
                <c:pt idx="365">
                  <c:v>20939</c:v>
                </c:pt>
                <c:pt idx="366">
                  <c:v>20970</c:v>
                </c:pt>
                <c:pt idx="367">
                  <c:v>21000</c:v>
                </c:pt>
                <c:pt idx="368">
                  <c:v>21031</c:v>
                </c:pt>
                <c:pt idx="369">
                  <c:v>21062</c:v>
                </c:pt>
                <c:pt idx="370">
                  <c:v>21092</c:v>
                </c:pt>
                <c:pt idx="371">
                  <c:v>21123</c:v>
                </c:pt>
                <c:pt idx="372">
                  <c:v>21153</c:v>
                </c:pt>
                <c:pt idx="373">
                  <c:v>21184</c:v>
                </c:pt>
                <c:pt idx="374">
                  <c:v>21215</c:v>
                </c:pt>
                <c:pt idx="375">
                  <c:v>21244</c:v>
                </c:pt>
              </c:numCache>
            </c:numRef>
          </c:xVal>
          <c:yVal>
            <c:numRef>
              <c:f>Sheet1!$A$2:$NL$2</c:f>
              <c:numCache>
                <c:formatCode>General</c:formatCode>
                <c:ptCount val="376"/>
                <c:pt idx="156">
                  <c:v>12.840833333333336</c:v>
                </c:pt>
                <c:pt idx="157">
                  <c:v>14.369631578947367</c:v>
                </c:pt>
                <c:pt idx="158">
                  <c:v>14.104700000000003</c:v>
                </c:pt>
                <c:pt idx="159">
                  <c:v>12.600565217391305</c:v>
                </c:pt>
                <c:pt idx="160">
                  <c:v>15.146650000000003</c:v>
                </c:pt>
                <c:pt idx="161">
                  <c:v>19.31957894736842</c:v>
                </c:pt>
                <c:pt idx="162">
                  <c:v>21.177523809523812</c:v>
                </c:pt>
                <c:pt idx="163">
                  <c:v>21.514636363636367</c:v>
                </c:pt>
                <c:pt idx="164">
                  <c:v>21.866772727272728</c:v>
                </c:pt>
                <c:pt idx="165">
                  <c:v>20.443590909090911</c:v>
                </c:pt>
                <c:pt idx="166">
                  <c:v>19.969450000000002</c:v>
                </c:pt>
                <c:pt idx="167">
                  <c:v>20.165190476190475</c:v>
                </c:pt>
                <c:pt idx="168">
                  <c:v>24.359550000000002</c:v>
                </c:pt>
                <c:pt idx="169">
                  <c:v>22.828700000000001</c:v>
                </c:pt>
                <c:pt idx="170">
                  <c:v>22.648399999999999</c:v>
                </c:pt>
                <c:pt idx="171">
                  <c:v>25.166826086956522</c:v>
                </c:pt>
                <c:pt idx="172">
                  <c:v>24.026105263157898</c:v>
                </c:pt>
                <c:pt idx="173">
                  <c:v>24.520363636363641</c:v>
                </c:pt>
                <c:pt idx="174">
                  <c:v>23.663473684210526</c:v>
                </c:pt>
                <c:pt idx="175">
                  <c:v>22.329619047619047</c:v>
                </c:pt>
                <c:pt idx="176">
                  <c:v>22.74040909090909</c:v>
                </c:pt>
                <c:pt idx="177">
                  <c:v>26.011590909090909</c:v>
                </c:pt>
                <c:pt idx="178">
                  <c:v>24.098450000000003</c:v>
                </c:pt>
                <c:pt idx="179">
                  <c:v>24.350809523809527</c:v>
                </c:pt>
                <c:pt idx="180">
                  <c:v>23.061105263157899</c:v>
                </c:pt>
                <c:pt idx="181">
                  <c:v>22.643476190476186</c:v>
                </c:pt>
                <c:pt idx="182">
                  <c:v>27.466952380952382</c:v>
                </c:pt>
                <c:pt idx="183">
                  <c:v>25.929636363636362</c:v>
                </c:pt>
                <c:pt idx="184">
                  <c:v>26.473684210526319</c:v>
                </c:pt>
                <c:pt idx="185">
                  <c:v>26.463699999999996</c:v>
                </c:pt>
                <c:pt idx="186">
                  <c:v>26.378549999999997</c:v>
                </c:pt>
                <c:pt idx="187">
                  <c:v>25.49968181818182</c:v>
                </c:pt>
                <c:pt idx="188">
                  <c:v>25.855636363636361</c:v>
                </c:pt>
                <c:pt idx="189">
                  <c:v>26.020299999999999</c:v>
                </c:pt>
                <c:pt idx="190">
                  <c:v>26.74881818181818</c:v>
                </c:pt>
                <c:pt idx="191">
                  <c:v>27.096714285714285</c:v>
                </c:pt>
                <c:pt idx="192">
                  <c:v>27.267470588235295</c:v>
                </c:pt>
                <c:pt idx="193">
                  <c:v>26.848772727272728</c:v>
                </c:pt>
                <c:pt idx="194">
                  <c:v>25.536750000000001</c:v>
                </c:pt>
                <c:pt idx="195">
                  <c:v>27.977699999999999</c:v>
                </c:pt>
                <c:pt idx="196">
                  <c:v>28.016857142857145</c:v>
                </c:pt>
                <c:pt idx="197">
                  <c:v>27.421210526315793</c:v>
                </c:pt>
                <c:pt idx="198">
                  <c:v>26.91705</c:v>
                </c:pt>
                <c:pt idx="199">
                  <c:v>27.114173913043476</c:v>
                </c:pt>
                <c:pt idx="200">
                  <c:v>26.633190476190478</c:v>
                </c:pt>
                <c:pt idx="201">
                  <c:v>27.129857142857141</c:v>
                </c:pt>
                <c:pt idx="202">
                  <c:v>26.916782608695648</c:v>
                </c:pt>
                <c:pt idx="203">
                  <c:v>27.406350000000003</c:v>
                </c:pt>
                <c:pt idx="204">
                  <c:v>28.042944444444444</c:v>
                </c:pt>
                <c:pt idx="205">
                  <c:v>26.584285714285713</c:v>
                </c:pt>
                <c:pt idx="206">
                  <c:v>24.44755</c:v>
                </c:pt>
                <c:pt idx="207">
                  <c:v>23.593857142857143</c:v>
                </c:pt>
                <c:pt idx="208">
                  <c:v>21.700499999999998</c:v>
                </c:pt>
                <c:pt idx="209">
                  <c:v>20.79655</c:v>
                </c:pt>
                <c:pt idx="210">
                  <c:v>18.372421052631584</c:v>
                </c:pt>
                <c:pt idx="211">
                  <c:v>17.615652173913041</c:v>
                </c:pt>
                <c:pt idx="212">
                  <c:v>18.466249999999999</c:v>
                </c:pt>
                <c:pt idx="213">
                  <c:v>23.182181818181817</c:v>
                </c:pt>
                <c:pt idx="214">
                  <c:v>24.199869565217391</c:v>
                </c:pt>
                <c:pt idx="215">
                  <c:v>24.180650000000004</c:v>
                </c:pt>
                <c:pt idx="216">
                  <c:v>23.739444444444441</c:v>
                </c:pt>
                <c:pt idx="217">
                  <c:v>20.660307692307693</c:v>
                </c:pt>
                <c:pt idx="218">
                  <c:v>23.914999999999996</c:v>
                </c:pt>
                <c:pt idx="219">
                  <c:v>22.372181818181812</c:v>
                </c:pt>
                <c:pt idx="220">
                  <c:v>22.046700000000005</c:v>
                </c:pt>
                <c:pt idx="221">
                  <c:v>21.145277777777778</c:v>
                </c:pt>
                <c:pt idx="222">
                  <c:v>21.173571428571428</c:v>
                </c:pt>
                <c:pt idx="223">
                  <c:v>21.535478260869564</c:v>
                </c:pt>
                <c:pt idx="224">
                  <c:v>20.593333333333334</c:v>
                </c:pt>
                <c:pt idx="225">
                  <c:v>20.106307692307698</c:v>
                </c:pt>
                <c:pt idx="226">
                  <c:v>18.809714285714286</c:v>
                </c:pt>
                <c:pt idx="227">
                  <c:v>18.222592592592591</c:v>
                </c:pt>
                <c:pt idx="228">
                  <c:v>17.075217391304349</c:v>
                </c:pt>
                <c:pt idx="229">
                  <c:v>14.79680769230769</c:v>
                </c:pt>
                <c:pt idx="230">
                  <c:v>13.110629629629628</c:v>
                </c:pt>
                <c:pt idx="231">
                  <c:v>12.70876</c:v>
                </c:pt>
                <c:pt idx="232">
                  <c:v>12.770769230769231</c:v>
                </c:pt>
                <c:pt idx="233">
                  <c:v>14.012076923076924</c:v>
                </c:pt>
                <c:pt idx="234">
                  <c:v>15.318551724137933</c:v>
                </c:pt>
                <c:pt idx="235">
                  <c:v>15.399241379310348</c:v>
                </c:pt>
                <c:pt idx="236">
                  <c:v>13.506962962962961</c:v>
                </c:pt>
                <c:pt idx="237">
                  <c:v>13.22751851851852</c:v>
                </c:pt>
                <c:pt idx="238">
                  <c:v>16.799896551724139</c:v>
                </c:pt>
                <c:pt idx="239">
                  <c:v>18.156724137931036</c:v>
                </c:pt>
                <c:pt idx="240">
                  <c:v>18.186500000000002</c:v>
                </c:pt>
                <c:pt idx="241">
                  <c:v>20.408709677419349</c:v>
                </c:pt>
                <c:pt idx="242">
                  <c:v>20.102857142857147</c:v>
                </c:pt>
                <c:pt idx="243">
                  <c:v>16.88758064516129</c:v>
                </c:pt>
                <c:pt idx="244">
                  <c:v>17.040714285714284</c:v>
                </c:pt>
                <c:pt idx="245">
                  <c:v>16.991774193548387</c:v>
                </c:pt>
                <c:pt idx="246">
                  <c:v>16.671666666666667</c:v>
                </c:pt>
                <c:pt idx="247">
                  <c:v>16.266290322580648</c:v>
                </c:pt>
                <c:pt idx="248">
                  <c:v>16.624354838709678</c:v>
                </c:pt>
                <c:pt idx="249">
                  <c:v>17.551783333333333</c:v>
                </c:pt>
                <c:pt idx="250">
                  <c:v>18.243709677419353</c:v>
                </c:pt>
                <c:pt idx="251">
                  <c:v>19.727433333333337</c:v>
                </c:pt>
                <c:pt idx="252">
                  <c:v>20.734233333333339</c:v>
                </c:pt>
                <c:pt idx="253">
                  <c:v>18.576080645161284</c:v>
                </c:pt>
                <c:pt idx="254">
                  <c:v>20.608410714285718</c:v>
                </c:pt>
                <c:pt idx="255">
                  <c:v>22.105166666666669</c:v>
                </c:pt>
                <c:pt idx="256">
                  <c:v>19.966616666666667</c:v>
                </c:pt>
                <c:pt idx="257">
                  <c:v>21.825741935483869</c:v>
                </c:pt>
                <c:pt idx="258">
                  <c:v>22.325366666666664</c:v>
                </c:pt>
                <c:pt idx="259">
                  <c:v>22.931774193548382</c:v>
                </c:pt>
                <c:pt idx="260">
                  <c:v>24.392838709677417</c:v>
                </c:pt>
                <c:pt idx="261">
                  <c:v>28.031699999999997</c:v>
                </c:pt>
                <c:pt idx="262">
                  <c:v>26.45631666666667</c:v>
                </c:pt>
                <c:pt idx="263">
                  <c:v>24.594807692307697</c:v>
                </c:pt>
                <c:pt idx="264">
                  <c:v>23.986711538461542</c:v>
                </c:pt>
                <c:pt idx="265">
                  <c:v>22.05003571428572</c:v>
                </c:pt>
                <c:pt idx="266">
                  <c:v>19.139980769230771</c:v>
                </c:pt>
                <c:pt idx="267">
                  <c:v>17.002518518518521</c:v>
                </c:pt>
                <c:pt idx="268">
                  <c:v>17.244259259259259</c:v>
                </c:pt>
                <c:pt idx="269">
                  <c:v>16.005017857142853</c:v>
                </c:pt>
                <c:pt idx="270">
                  <c:v>13.073139999999999</c:v>
                </c:pt>
                <c:pt idx="271">
                  <c:v>11.373074074074074</c:v>
                </c:pt>
                <c:pt idx="272">
                  <c:v>10.580537037037036</c:v>
                </c:pt>
                <c:pt idx="273">
                  <c:v>11.689660714285711</c:v>
                </c:pt>
                <c:pt idx="274">
                  <c:v>10.94864814814815</c:v>
                </c:pt>
                <c:pt idx="275">
                  <c:v>14.949775862068964</c:v>
                </c:pt>
                <c:pt idx="276">
                  <c:v>13.543982758620688</c:v>
                </c:pt>
                <c:pt idx="277">
                  <c:v>12.245137931034481</c:v>
                </c:pt>
                <c:pt idx="278">
                  <c:v>10.306779999999998</c:v>
                </c:pt>
                <c:pt idx="279">
                  <c:v>9.4451071428571414</c:v>
                </c:pt>
                <c:pt idx="280">
                  <c:v>8.039439999999999</c:v>
                </c:pt>
                <c:pt idx="281">
                  <c:v>6.0993333333333331</c:v>
                </c:pt>
                <c:pt idx="282">
                  <c:v>5.8649655172413802</c:v>
                </c:pt>
                <c:pt idx="283">
                  <c:v>6.3688448275862077</c:v>
                </c:pt>
                <c:pt idx="284">
                  <c:v>8.898833333333334</c:v>
                </c:pt>
                <c:pt idx="285">
                  <c:v>11.408129629629627</c:v>
                </c:pt>
                <c:pt idx="286">
                  <c:v>13.241018518518517</c:v>
                </c:pt>
                <c:pt idx="287">
                  <c:v>13.074160714285716</c:v>
                </c:pt>
                <c:pt idx="288">
                  <c:v>15.314214285714286</c:v>
                </c:pt>
                <c:pt idx="289">
                  <c:v>19.243568965517245</c:v>
                </c:pt>
                <c:pt idx="290">
                  <c:v>17.623199999999997</c:v>
                </c:pt>
                <c:pt idx="291">
                  <c:v>18.070862068965514</c:v>
                </c:pt>
                <c:pt idx="292">
                  <c:v>21.03187037037037</c:v>
                </c:pt>
                <c:pt idx="293">
                  <c:v>25.295642857142855</c:v>
                </c:pt>
                <c:pt idx="294">
                  <c:v>29.290611111111112</c:v>
                </c:pt>
                <c:pt idx="295">
                  <c:v>35.845241379310345</c:v>
                </c:pt>
                <c:pt idx="296">
                  <c:v>43.957499999999996</c:v>
                </c:pt>
                <c:pt idx="297">
                  <c:v>64.41385714285714</c:v>
                </c:pt>
                <c:pt idx="298">
                  <c:v>87.262689655172409</c:v>
                </c:pt>
                <c:pt idx="299">
                  <c:v>81.957732142857139</c:v>
                </c:pt>
                <c:pt idx="300">
                  <c:v>114.56564285714285</c:v>
                </c:pt>
                <c:pt idx="301">
                  <c:v>86.022290322580631</c:v>
                </c:pt>
                <c:pt idx="302">
                  <c:v>83.526944444444453</c:v>
                </c:pt>
                <c:pt idx="303">
                  <c:v>130.32455172413793</c:v>
                </c:pt>
                <c:pt idx="304">
                  <c:v>102.30814814814813</c:v>
                </c:pt>
                <c:pt idx="305">
                  <c:v>91.295862068965477</c:v>
                </c:pt>
                <c:pt idx="306">
                  <c:v>108.48187037037039</c:v>
                </c:pt>
                <c:pt idx="307">
                  <c:v>174.91114999999996</c:v>
                </c:pt>
                <c:pt idx="308">
                  <c:v>233.50141379310341</c:v>
                </c:pt>
                <c:pt idx="309">
                  <c:v>188.88350000000003</c:v>
                </c:pt>
                <c:pt idx="310">
                  <c:v>79.330449999999999</c:v>
                </c:pt>
                <c:pt idx="311">
                  <c:v>99.548629629629644</c:v>
                </c:pt>
                <c:pt idx="312">
                  <c:v>114.86741071428573</c:v>
                </c:pt>
                <c:pt idx="313">
                  <c:v>60.75</c:v>
                </c:pt>
                <c:pt idx="314">
                  <c:v>49.6</c:v>
                </c:pt>
                <c:pt idx="315">
                  <c:v>43.2</c:v>
                </c:pt>
                <c:pt idx="316">
                  <c:v>46.15</c:v>
                </c:pt>
              </c:numCache>
            </c:numRef>
          </c:yVal>
          <c:smooth val="0"/>
          <c:extLst>
            <c:ext xmlns:c16="http://schemas.microsoft.com/office/drawing/2014/chart" uri="{C3380CC4-5D6E-409C-BE32-E72D297353CC}">
              <c16:uniqueId val="{00000000-8087-4B53-B89D-FC4B66629CCE}"/>
            </c:ext>
          </c:extLst>
        </c:ser>
        <c:ser>
          <c:idx val="1"/>
          <c:order val="1"/>
          <c:spPr>
            <a:ln w="25400" algn="ctr">
              <a:solidFill>
                <a:schemeClr val="accent5"/>
              </a:solidFill>
              <a:prstDash val="solid"/>
            </a:ln>
          </c:spPr>
          <c:marker>
            <c:symbol val="none"/>
          </c:marker>
          <c:xVal>
            <c:numRef>
              <c:f>Sheet1!$A$1:$NL$1</c:f>
              <c:numCache>
                <c:formatCode>General</c:formatCode>
                <c:ptCount val="376"/>
                <c:pt idx="0">
                  <c:v>9862</c:v>
                </c:pt>
                <c:pt idx="1">
                  <c:v>9893</c:v>
                </c:pt>
                <c:pt idx="2">
                  <c:v>9921</c:v>
                </c:pt>
                <c:pt idx="3">
                  <c:v>9952</c:v>
                </c:pt>
                <c:pt idx="4">
                  <c:v>9982</c:v>
                </c:pt>
                <c:pt idx="5">
                  <c:v>10013</c:v>
                </c:pt>
                <c:pt idx="6">
                  <c:v>10043</c:v>
                </c:pt>
                <c:pt idx="7">
                  <c:v>10074</c:v>
                </c:pt>
                <c:pt idx="8">
                  <c:v>10105</c:v>
                </c:pt>
                <c:pt idx="9">
                  <c:v>10135</c:v>
                </c:pt>
                <c:pt idx="10">
                  <c:v>10166</c:v>
                </c:pt>
                <c:pt idx="11">
                  <c:v>10196</c:v>
                </c:pt>
                <c:pt idx="12">
                  <c:v>10227</c:v>
                </c:pt>
                <c:pt idx="13">
                  <c:v>10258</c:v>
                </c:pt>
                <c:pt idx="14">
                  <c:v>10286</c:v>
                </c:pt>
                <c:pt idx="15">
                  <c:v>10317</c:v>
                </c:pt>
                <c:pt idx="16">
                  <c:v>10347</c:v>
                </c:pt>
                <c:pt idx="17">
                  <c:v>10378</c:v>
                </c:pt>
                <c:pt idx="18">
                  <c:v>10408</c:v>
                </c:pt>
                <c:pt idx="19">
                  <c:v>10439</c:v>
                </c:pt>
                <c:pt idx="20">
                  <c:v>10470</c:v>
                </c:pt>
                <c:pt idx="21">
                  <c:v>10500</c:v>
                </c:pt>
                <c:pt idx="22">
                  <c:v>10531</c:v>
                </c:pt>
                <c:pt idx="23">
                  <c:v>10561</c:v>
                </c:pt>
                <c:pt idx="24">
                  <c:v>10592</c:v>
                </c:pt>
                <c:pt idx="25">
                  <c:v>10623</c:v>
                </c:pt>
                <c:pt idx="26">
                  <c:v>10651</c:v>
                </c:pt>
                <c:pt idx="27">
                  <c:v>10682</c:v>
                </c:pt>
                <c:pt idx="28">
                  <c:v>10712</c:v>
                </c:pt>
                <c:pt idx="29">
                  <c:v>10743</c:v>
                </c:pt>
                <c:pt idx="30">
                  <c:v>10773</c:v>
                </c:pt>
                <c:pt idx="31">
                  <c:v>10804</c:v>
                </c:pt>
                <c:pt idx="32">
                  <c:v>10835</c:v>
                </c:pt>
                <c:pt idx="33">
                  <c:v>10865</c:v>
                </c:pt>
                <c:pt idx="34">
                  <c:v>10896</c:v>
                </c:pt>
                <c:pt idx="35">
                  <c:v>10926</c:v>
                </c:pt>
                <c:pt idx="36">
                  <c:v>10957</c:v>
                </c:pt>
                <c:pt idx="37">
                  <c:v>10988</c:v>
                </c:pt>
                <c:pt idx="38">
                  <c:v>11017</c:v>
                </c:pt>
                <c:pt idx="39">
                  <c:v>11048</c:v>
                </c:pt>
                <c:pt idx="40">
                  <c:v>11078</c:v>
                </c:pt>
                <c:pt idx="41">
                  <c:v>11109</c:v>
                </c:pt>
                <c:pt idx="42">
                  <c:v>11139</c:v>
                </c:pt>
                <c:pt idx="43">
                  <c:v>11170</c:v>
                </c:pt>
                <c:pt idx="44">
                  <c:v>11201</c:v>
                </c:pt>
                <c:pt idx="45">
                  <c:v>11231</c:v>
                </c:pt>
                <c:pt idx="46">
                  <c:v>11262</c:v>
                </c:pt>
                <c:pt idx="47">
                  <c:v>11292</c:v>
                </c:pt>
                <c:pt idx="48">
                  <c:v>11323</c:v>
                </c:pt>
                <c:pt idx="49">
                  <c:v>11354</c:v>
                </c:pt>
                <c:pt idx="50">
                  <c:v>11382</c:v>
                </c:pt>
                <c:pt idx="51">
                  <c:v>11413</c:v>
                </c:pt>
                <c:pt idx="52">
                  <c:v>11443</c:v>
                </c:pt>
                <c:pt idx="53">
                  <c:v>11474</c:v>
                </c:pt>
                <c:pt idx="54">
                  <c:v>11504</c:v>
                </c:pt>
                <c:pt idx="55">
                  <c:v>11535</c:v>
                </c:pt>
                <c:pt idx="56">
                  <c:v>11566</c:v>
                </c:pt>
                <c:pt idx="57">
                  <c:v>11596</c:v>
                </c:pt>
                <c:pt idx="58">
                  <c:v>11627</c:v>
                </c:pt>
                <c:pt idx="59">
                  <c:v>11657</c:v>
                </c:pt>
                <c:pt idx="60">
                  <c:v>11688</c:v>
                </c:pt>
                <c:pt idx="61">
                  <c:v>11719</c:v>
                </c:pt>
                <c:pt idx="62">
                  <c:v>11747</c:v>
                </c:pt>
                <c:pt idx="63">
                  <c:v>11778</c:v>
                </c:pt>
                <c:pt idx="64">
                  <c:v>11808</c:v>
                </c:pt>
                <c:pt idx="65">
                  <c:v>11839</c:v>
                </c:pt>
                <c:pt idx="66">
                  <c:v>11869</c:v>
                </c:pt>
                <c:pt idx="67">
                  <c:v>11900</c:v>
                </c:pt>
                <c:pt idx="68">
                  <c:v>11931</c:v>
                </c:pt>
                <c:pt idx="69">
                  <c:v>11961</c:v>
                </c:pt>
                <c:pt idx="70">
                  <c:v>11992</c:v>
                </c:pt>
                <c:pt idx="71">
                  <c:v>12022</c:v>
                </c:pt>
                <c:pt idx="72">
                  <c:v>12053</c:v>
                </c:pt>
                <c:pt idx="73">
                  <c:v>12084</c:v>
                </c:pt>
                <c:pt idx="74">
                  <c:v>12112</c:v>
                </c:pt>
                <c:pt idx="75">
                  <c:v>12143</c:v>
                </c:pt>
                <c:pt idx="76">
                  <c:v>12173</c:v>
                </c:pt>
                <c:pt idx="77">
                  <c:v>12204</c:v>
                </c:pt>
                <c:pt idx="78">
                  <c:v>12234</c:v>
                </c:pt>
                <c:pt idx="79">
                  <c:v>12265</c:v>
                </c:pt>
                <c:pt idx="80">
                  <c:v>12296</c:v>
                </c:pt>
                <c:pt idx="81">
                  <c:v>12326</c:v>
                </c:pt>
                <c:pt idx="82">
                  <c:v>12357</c:v>
                </c:pt>
                <c:pt idx="83">
                  <c:v>12387</c:v>
                </c:pt>
                <c:pt idx="84">
                  <c:v>12418</c:v>
                </c:pt>
                <c:pt idx="85">
                  <c:v>12449</c:v>
                </c:pt>
                <c:pt idx="86">
                  <c:v>12478</c:v>
                </c:pt>
                <c:pt idx="87">
                  <c:v>12509</c:v>
                </c:pt>
                <c:pt idx="88">
                  <c:v>12539</c:v>
                </c:pt>
                <c:pt idx="89">
                  <c:v>12570</c:v>
                </c:pt>
                <c:pt idx="90">
                  <c:v>12600</c:v>
                </c:pt>
                <c:pt idx="91">
                  <c:v>12631</c:v>
                </c:pt>
                <c:pt idx="92">
                  <c:v>12662</c:v>
                </c:pt>
                <c:pt idx="93">
                  <c:v>12692</c:v>
                </c:pt>
                <c:pt idx="94">
                  <c:v>12723</c:v>
                </c:pt>
                <c:pt idx="95">
                  <c:v>12753</c:v>
                </c:pt>
                <c:pt idx="96">
                  <c:v>12784</c:v>
                </c:pt>
                <c:pt idx="97">
                  <c:v>12815</c:v>
                </c:pt>
                <c:pt idx="98">
                  <c:v>12843</c:v>
                </c:pt>
                <c:pt idx="99">
                  <c:v>12874</c:v>
                </c:pt>
                <c:pt idx="100">
                  <c:v>12904</c:v>
                </c:pt>
                <c:pt idx="101">
                  <c:v>12935</c:v>
                </c:pt>
                <c:pt idx="102">
                  <c:v>12965</c:v>
                </c:pt>
                <c:pt idx="103">
                  <c:v>12996</c:v>
                </c:pt>
                <c:pt idx="104">
                  <c:v>13027</c:v>
                </c:pt>
                <c:pt idx="105">
                  <c:v>13057</c:v>
                </c:pt>
                <c:pt idx="106">
                  <c:v>13088</c:v>
                </c:pt>
                <c:pt idx="107">
                  <c:v>13118</c:v>
                </c:pt>
                <c:pt idx="108">
                  <c:v>13149</c:v>
                </c:pt>
                <c:pt idx="109">
                  <c:v>13180</c:v>
                </c:pt>
                <c:pt idx="110">
                  <c:v>13208</c:v>
                </c:pt>
                <c:pt idx="111">
                  <c:v>13239</c:v>
                </c:pt>
                <c:pt idx="112">
                  <c:v>13269</c:v>
                </c:pt>
                <c:pt idx="113">
                  <c:v>13300</c:v>
                </c:pt>
                <c:pt idx="114">
                  <c:v>13330</c:v>
                </c:pt>
                <c:pt idx="115">
                  <c:v>13361</c:v>
                </c:pt>
                <c:pt idx="116">
                  <c:v>13392</c:v>
                </c:pt>
                <c:pt idx="117">
                  <c:v>13422</c:v>
                </c:pt>
                <c:pt idx="118">
                  <c:v>13453</c:v>
                </c:pt>
                <c:pt idx="119">
                  <c:v>13483</c:v>
                </c:pt>
                <c:pt idx="120">
                  <c:v>13514</c:v>
                </c:pt>
                <c:pt idx="121">
                  <c:v>13545</c:v>
                </c:pt>
                <c:pt idx="122">
                  <c:v>13573</c:v>
                </c:pt>
                <c:pt idx="123">
                  <c:v>13604</c:v>
                </c:pt>
                <c:pt idx="124">
                  <c:v>13634</c:v>
                </c:pt>
                <c:pt idx="125">
                  <c:v>13665</c:v>
                </c:pt>
                <c:pt idx="126">
                  <c:v>13695</c:v>
                </c:pt>
                <c:pt idx="127">
                  <c:v>13726</c:v>
                </c:pt>
                <c:pt idx="128">
                  <c:v>13757</c:v>
                </c:pt>
                <c:pt idx="129">
                  <c:v>13787</c:v>
                </c:pt>
                <c:pt idx="130">
                  <c:v>13818</c:v>
                </c:pt>
                <c:pt idx="131">
                  <c:v>13848</c:v>
                </c:pt>
                <c:pt idx="132">
                  <c:v>13879</c:v>
                </c:pt>
                <c:pt idx="133">
                  <c:v>13910</c:v>
                </c:pt>
                <c:pt idx="134">
                  <c:v>13939</c:v>
                </c:pt>
                <c:pt idx="135">
                  <c:v>13970</c:v>
                </c:pt>
                <c:pt idx="136">
                  <c:v>14000</c:v>
                </c:pt>
                <c:pt idx="137">
                  <c:v>14031</c:v>
                </c:pt>
                <c:pt idx="138">
                  <c:v>14061</c:v>
                </c:pt>
                <c:pt idx="139">
                  <c:v>14092</c:v>
                </c:pt>
                <c:pt idx="140">
                  <c:v>14123</c:v>
                </c:pt>
                <c:pt idx="141">
                  <c:v>14153</c:v>
                </c:pt>
                <c:pt idx="142">
                  <c:v>14184</c:v>
                </c:pt>
                <c:pt idx="143">
                  <c:v>14214</c:v>
                </c:pt>
                <c:pt idx="144">
                  <c:v>14245</c:v>
                </c:pt>
                <c:pt idx="145">
                  <c:v>14276</c:v>
                </c:pt>
                <c:pt idx="146">
                  <c:v>14304</c:v>
                </c:pt>
                <c:pt idx="147">
                  <c:v>14335</c:v>
                </c:pt>
                <c:pt idx="148">
                  <c:v>14365</c:v>
                </c:pt>
                <c:pt idx="149">
                  <c:v>14396</c:v>
                </c:pt>
                <c:pt idx="150">
                  <c:v>14426</c:v>
                </c:pt>
                <c:pt idx="151">
                  <c:v>14457</c:v>
                </c:pt>
                <c:pt idx="152">
                  <c:v>14488</c:v>
                </c:pt>
                <c:pt idx="153">
                  <c:v>14518</c:v>
                </c:pt>
                <c:pt idx="154">
                  <c:v>14549</c:v>
                </c:pt>
                <c:pt idx="155">
                  <c:v>14579</c:v>
                </c:pt>
                <c:pt idx="156">
                  <c:v>14610</c:v>
                </c:pt>
                <c:pt idx="157">
                  <c:v>14641</c:v>
                </c:pt>
                <c:pt idx="158">
                  <c:v>14669</c:v>
                </c:pt>
                <c:pt idx="159">
                  <c:v>14700</c:v>
                </c:pt>
                <c:pt idx="160">
                  <c:v>14730</c:v>
                </c:pt>
                <c:pt idx="161">
                  <c:v>14761</c:v>
                </c:pt>
                <c:pt idx="162">
                  <c:v>14791</c:v>
                </c:pt>
                <c:pt idx="163">
                  <c:v>14822</c:v>
                </c:pt>
                <c:pt idx="164">
                  <c:v>14853</c:v>
                </c:pt>
                <c:pt idx="165">
                  <c:v>14883</c:v>
                </c:pt>
                <c:pt idx="166">
                  <c:v>14914</c:v>
                </c:pt>
                <c:pt idx="167">
                  <c:v>14944</c:v>
                </c:pt>
                <c:pt idx="168">
                  <c:v>14975</c:v>
                </c:pt>
                <c:pt idx="169">
                  <c:v>15006</c:v>
                </c:pt>
                <c:pt idx="170">
                  <c:v>15034</c:v>
                </c:pt>
                <c:pt idx="171">
                  <c:v>15065</c:v>
                </c:pt>
                <c:pt idx="172">
                  <c:v>15095</c:v>
                </c:pt>
                <c:pt idx="173">
                  <c:v>15126</c:v>
                </c:pt>
                <c:pt idx="174">
                  <c:v>15156</c:v>
                </c:pt>
                <c:pt idx="175">
                  <c:v>15187</c:v>
                </c:pt>
                <c:pt idx="176">
                  <c:v>15218</c:v>
                </c:pt>
                <c:pt idx="177">
                  <c:v>15248</c:v>
                </c:pt>
                <c:pt idx="178">
                  <c:v>15279</c:v>
                </c:pt>
                <c:pt idx="179">
                  <c:v>15309</c:v>
                </c:pt>
                <c:pt idx="180">
                  <c:v>15340</c:v>
                </c:pt>
                <c:pt idx="181">
                  <c:v>15371</c:v>
                </c:pt>
                <c:pt idx="182">
                  <c:v>15400</c:v>
                </c:pt>
                <c:pt idx="183">
                  <c:v>15431</c:v>
                </c:pt>
                <c:pt idx="184">
                  <c:v>15461</c:v>
                </c:pt>
                <c:pt idx="185">
                  <c:v>15492</c:v>
                </c:pt>
                <c:pt idx="186">
                  <c:v>15522</c:v>
                </c:pt>
                <c:pt idx="187">
                  <c:v>15553</c:v>
                </c:pt>
                <c:pt idx="188">
                  <c:v>15584</c:v>
                </c:pt>
                <c:pt idx="189">
                  <c:v>15614</c:v>
                </c:pt>
                <c:pt idx="190">
                  <c:v>15645</c:v>
                </c:pt>
                <c:pt idx="191">
                  <c:v>15675</c:v>
                </c:pt>
                <c:pt idx="192">
                  <c:v>15706</c:v>
                </c:pt>
                <c:pt idx="193">
                  <c:v>15737</c:v>
                </c:pt>
                <c:pt idx="194">
                  <c:v>15765</c:v>
                </c:pt>
                <c:pt idx="195">
                  <c:v>15796</c:v>
                </c:pt>
                <c:pt idx="196">
                  <c:v>15826</c:v>
                </c:pt>
                <c:pt idx="197">
                  <c:v>15857</c:v>
                </c:pt>
                <c:pt idx="198">
                  <c:v>15887</c:v>
                </c:pt>
                <c:pt idx="199">
                  <c:v>15918</c:v>
                </c:pt>
                <c:pt idx="200">
                  <c:v>15949</c:v>
                </c:pt>
                <c:pt idx="201">
                  <c:v>15979</c:v>
                </c:pt>
                <c:pt idx="202">
                  <c:v>16010</c:v>
                </c:pt>
                <c:pt idx="203">
                  <c:v>16040</c:v>
                </c:pt>
                <c:pt idx="204">
                  <c:v>16071</c:v>
                </c:pt>
                <c:pt idx="205">
                  <c:v>16102</c:v>
                </c:pt>
                <c:pt idx="206">
                  <c:v>16130</c:v>
                </c:pt>
                <c:pt idx="207">
                  <c:v>16161</c:v>
                </c:pt>
                <c:pt idx="208">
                  <c:v>16191</c:v>
                </c:pt>
                <c:pt idx="209">
                  <c:v>16222</c:v>
                </c:pt>
                <c:pt idx="210">
                  <c:v>16252</c:v>
                </c:pt>
                <c:pt idx="211">
                  <c:v>16283</c:v>
                </c:pt>
                <c:pt idx="212">
                  <c:v>16314</c:v>
                </c:pt>
                <c:pt idx="213">
                  <c:v>16344</c:v>
                </c:pt>
                <c:pt idx="214">
                  <c:v>16375</c:v>
                </c:pt>
                <c:pt idx="215">
                  <c:v>16405</c:v>
                </c:pt>
                <c:pt idx="216">
                  <c:v>16436</c:v>
                </c:pt>
                <c:pt idx="217">
                  <c:v>16467</c:v>
                </c:pt>
                <c:pt idx="218">
                  <c:v>16495</c:v>
                </c:pt>
                <c:pt idx="219">
                  <c:v>16526</c:v>
                </c:pt>
                <c:pt idx="220">
                  <c:v>16556</c:v>
                </c:pt>
                <c:pt idx="221">
                  <c:v>16587</c:v>
                </c:pt>
                <c:pt idx="222">
                  <c:v>16617</c:v>
                </c:pt>
                <c:pt idx="223">
                  <c:v>16648</c:v>
                </c:pt>
                <c:pt idx="224">
                  <c:v>16679</c:v>
                </c:pt>
                <c:pt idx="225">
                  <c:v>16709</c:v>
                </c:pt>
                <c:pt idx="226">
                  <c:v>16740</c:v>
                </c:pt>
                <c:pt idx="227">
                  <c:v>16770</c:v>
                </c:pt>
                <c:pt idx="228">
                  <c:v>16801</c:v>
                </c:pt>
                <c:pt idx="229">
                  <c:v>16832</c:v>
                </c:pt>
                <c:pt idx="230">
                  <c:v>16861</c:v>
                </c:pt>
                <c:pt idx="231">
                  <c:v>16892</c:v>
                </c:pt>
                <c:pt idx="232">
                  <c:v>16922</c:v>
                </c:pt>
                <c:pt idx="233">
                  <c:v>16953</c:v>
                </c:pt>
                <c:pt idx="234">
                  <c:v>16983</c:v>
                </c:pt>
                <c:pt idx="235">
                  <c:v>17014</c:v>
                </c:pt>
                <c:pt idx="236">
                  <c:v>17045</c:v>
                </c:pt>
                <c:pt idx="237">
                  <c:v>17075</c:v>
                </c:pt>
                <c:pt idx="238">
                  <c:v>17106</c:v>
                </c:pt>
                <c:pt idx="239">
                  <c:v>17136</c:v>
                </c:pt>
                <c:pt idx="240">
                  <c:v>17167</c:v>
                </c:pt>
                <c:pt idx="241">
                  <c:v>17198</c:v>
                </c:pt>
                <c:pt idx="242">
                  <c:v>17226</c:v>
                </c:pt>
                <c:pt idx="243">
                  <c:v>17257</c:v>
                </c:pt>
                <c:pt idx="244">
                  <c:v>17287</c:v>
                </c:pt>
                <c:pt idx="245">
                  <c:v>17318</c:v>
                </c:pt>
                <c:pt idx="246">
                  <c:v>17348</c:v>
                </c:pt>
                <c:pt idx="247">
                  <c:v>17379</c:v>
                </c:pt>
                <c:pt idx="248">
                  <c:v>17410</c:v>
                </c:pt>
                <c:pt idx="249">
                  <c:v>17440</c:v>
                </c:pt>
                <c:pt idx="250">
                  <c:v>17471</c:v>
                </c:pt>
                <c:pt idx="251">
                  <c:v>17501</c:v>
                </c:pt>
                <c:pt idx="252">
                  <c:v>17532</c:v>
                </c:pt>
                <c:pt idx="253">
                  <c:v>17563</c:v>
                </c:pt>
                <c:pt idx="254">
                  <c:v>17591</c:v>
                </c:pt>
                <c:pt idx="255">
                  <c:v>17622</c:v>
                </c:pt>
                <c:pt idx="256">
                  <c:v>17652</c:v>
                </c:pt>
                <c:pt idx="257">
                  <c:v>17683</c:v>
                </c:pt>
                <c:pt idx="258">
                  <c:v>17713</c:v>
                </c:pt>
                <c:pt idx="259">
                  <c:v>17744</c:v>
                </c:pt>
                <c:pt idx="260">
                  <c:v>17775</c:v>
                </c:pt>
                <c:pt idx="261">
                  <c:v>17805</c:v>
                </c:pt>
                <c:pt idx="262">
                  <c:v>17836</c:v>
                </c:pt>
                <c:pt idx="263">
                  <c:v>17866</c:v>
                </c:pt>
                <c:pt idx="264">
                  <c:v>17897</c:v>
                </c:pt>
                <c:pt idx="265">
                  <c:v>17928</c:v>
                </c:pt>
                <c:pt idx="266">
                  <c:v>17956</c:v>
                </c:pt>
                <c:pt idx="267">
                  <c:v>17987</c:v>
                </c:pt>
                <c:pt idx="268">
                  <c:v>18017</c:v>
                </c:pt>
                <c:pt idx="269">
                  <c:v>18048</c:v>
                </c:pt>
                <c:pt idx="270">
                  <c:v>18078</c:v>
                </c:pt>
                <c:pt idx="271">
                  <c:v>18109</c:v>
                </c:pt>
                <c:pt idx="272">
                  <c:v>18140</c:v>
                </c:pt>
                <c:pt idx="273">
                  <c:v>18170</c:v>
                </c:pt>
                <c:pt idx="274">
                  <c:v>18201</c:v>
                </c:pt>
                <c:pt idx="275">
                  <c:v>18231</c:v>
                </c:pt>
                <c:pt idx="276">
                  <c:v>18262</c:v>
                </c:pt>
                <c:pt idx="277">
                  <c:v>18293</c:v>
                </c:pt>
                <c:pt idx="278">
                  <c:v>18322</c:v>
                </c:pt>
                <c:pt idx="279">
                  <c:v>18353</c:v>
                </c:pt>
                <c:pt idx="280">
                  <c:v>18383</c:v>
                </c:pt>
                <c:pt idx="281">
                  <c:v>18414</c:v>
                </c:pt>
                <c:pt idx="282">
                  <c:v>18444</c:v>
                </c:pt>
                <c:pt idx="283">
                  <c:v>18475</c:v>
                </c:pt>
                <c:pt idx="284">
                  <c:v>18506</c:v>
                </c:pt>
                <c:pt idx="285">
                  <c:v>18536</c:v>
                </c:pt>
                <c:pt idx="286">
                  <c:v>18567</c:v>
                </c:pt>
                <c:pt idx="287">
                  <c:v>18597</c:v>
                </c:pt>
                <c:pt idx="288">
                  <c:v>18628</c:v>
                </c:pt>
                <c:pt idx="289">
                  <c:v>18659</c:v>
                </c:pt>
                <c:pt idx="290">
                  <c:v>18687</c:v>
                </c:pt>
                <c:pt idx="291">
                  <c:v>18718</c:v>
                </c:pt>
                <c:pt idx="292">
                  <c:v>18748</c:v>
                </c:pt>
                <c:pt idx="293">
                  <c:v>18779</c:v>
                </c:pt>
                <c:pt idx="294">
                  <c:v>18809</c:v>
                </c:pt>
                <c:pt idx="295">
                  <c:v>18840</c:v>
                </c:pt>
                <c:pt idx="296">
                  <c:v>18871</c:v>
                </c:pt>
                <c:pt idx="297">
                  <c:v>18901</c:v>
                </c:pt>
                <c:pt idx="298">
                  <c:v>18932</c:v>
                </c:pt>
                <c:pt idx="299">
                  <c:v>18962</c:v>
                </c:pt>
                <c:pt idx="300">
                  <c:v>18993</c:v>
                </c:pt>
                <c:pt idx="301">
                  <c:v>19024</c:v>
                </c:pt>
                <c:pt idx="302">
                  <c:v>19052</c:v>
                </c:pt>
                <c:pt idx="303">
                  <c:v>19083</c:v>
                </c:pt>
                <c:pt idx="304">
                  <c:v>19113</c:v>
                </c:pt>
                <c:pt idx="305">
                  <c:v>19144</c:v>
                </c:pt>
                <c:pt idx="306">
                  <c:v>19174</c:v>
                </c:pt>
                <c:pt idx="307">
                  <c:v>19205</c:v>
                </c:pt>
                <c:pt idx="308">
                  <c:v>19236</c:v>
                </c:pt>
                <c:pt idx="309">
                  <c:v>19266</c:v>
                </c:pt>
                <c:pt idx="310">
                  <c:v>19297</c:v>
                </c:pt>
                <c:pt idx="311">
                  <c:v>19327</c:v>
                </c:pt>
                <c:pt idx="312">
                  <c:v>19358</c:v>
                </c:pt>
                <c:pt idx="313">
                  <c:v>19389</c:v>
                </c:pt>
                <c:pt idx="314">
                  <c:v>19417</c:v>
                </c:pt>
                <c:pt idx="315">
                  <c:v>19448</c:v>
                </c:pt>
                <c:pt idx="316">
                  <c:v>19458</c:v>
                </c:pt>
                <c:pt idx="317">
                  <c:v>19478</c:v>
                </c:pt>
                <c:pt idx="318">
                  <c:v>19509</c:v>
                </c:pt>
                <c:pt idx="319">
                  <c:v>19539</c:v>
                </c:pt>
                <c:pt idx="320">
                  <c:v>19570</c:v>
                </c:pt>
                <c:pt idx="321">
                  <c:v>19601</c:v>
                </c:pt>
                <c:pt idx="322">
                  <c:v>19631</c:v>
                </c:pt>
                <c:pt idx="323">
                  <c:v>19662</c:v>
                </c:pt>
                <c:pt idx="324">
                  <c:v>19692</c:v>
                </c:pt>
                <c:pt idx="325">
                  <c:v>19723</c:v>
                </c:pt>
                <c:pt idx="326">
                  <c:v>19754</c:v>
                </c:pt>
                <c:pt idx="327">
                  <c:v>19783</c:v>
                </c:pt>
                <c:pt idx="328">
                  <c:v>19814</c:v>
                </c:pt>
                <c:pt idx="329">
                  <c:v>19844</c:v>
                </c:pt>
                <c:pt idx="330">
                  <c:v>19875</c:v>
                </c:pt>
                <c:pt idx="331">
                  <c:v>19905</c:v>
                </c:pt>
                <c:pt idx="332">
                  <c:v>19936</c:v>
                </c:pt>
                <c:pt idx="333">
                  <c:v>19967</c:v>
                </c:pt>
                <c:pt idx="334">
                  <c:v>19997</c:v>
                </c:pt>
                <c:pt idx="335">
                  <c:v>20028</c:v>
                </c:pt>
                <c:pt idx="336">
                  <c:v>20058</c:v>
                </c:pt>
                <c:pt idx="337">
                  <c:v>20089</c:v>
                </c:pt>
                <c:pt idx="338">
                  <c:v>20120</c:v>
                </c:pt>
                <c:pt idx="339">
                  <c:v>20148</c:v>
                </c:pt>
                <c:pt idx="340">
                  <c:v>20179</c:v>
                </c:pt>
                <c:pt idx="341">
                  <c:v>20209</c:v>
                </c:pt>
                <c:pt idx="342">
                  <c:v>20240</c:v>
                </c:pt>
                <c:pt idx="343">
                  <c:v>20270</c:v>
                </c:pt>
                <c:pt idx="344">
                  <c:v>20301</c:v>
                </c:pt>
                <c:pt idx="345">
                  <c:v>20332</c:v>
                </c:pt>
                <c:pt idx="346">
                  <c:v>20362</c:v>
                </c:pt>
                <c:pt idx="347">
                  <c:v>20393</c:v>
                </c:pt>
                <c:pt idx="348">
                  <c:v>20423</c:v>
                </c:pt>
                <c:pt idx="349">
                  <c:v>20454</c:v>
                </c:pt>
                <c:pt idx="350">
                  <c:v>20485</c:v>
                </c:pt>
                <c:pt idx="351">
                  <c:v>20513</c:v>
                </c:pt>
                <c:pt idx="352">
                  <c:v>20544</c:v>
                </c:pt>
                <c:pt idx="353">
                  <c:v>20574</c:v>
                </c:pt>
                <c:pt idx="354">
                  <c:v>20605</c:v>
                </c:pt>
                <c:pt idx="355">
                  <c:v>20635</c:v>
                </c:pt>
                <c:pt idx="356">
                  <c:v>20666</c:v>
                </c:pt>
                <c:pt idx="357">
                  <c:v>20697</c:v>
                </c:pt>
                <c:pt idx="358">
                  <c:v>20727</c:v>
                </c:pt>
                <c:pt idx="359">
                  <c:v>20758</c:v>
                </c:pt>
                <c:pt idx="360">
                  <c:v>20788</c:v>
                </c:pt>
                <c:pt idx="361">
                  <c:v>20819</c:v>
                </c:pt>
                <c:pt idx="362">
                  <c:v>20850</c:v>
                </c:pt>
                <c:pt idx="363">
                  <c:v>20878</c:v>
                </c:pt>
                <c:pt idx="364">
                  <c:v>20909</c:v>
                </c:pt>
                <c:pt idx="365">
                  <c:v>20939</c:v>
                </c:pt>
                <c:pt idx="366">
                  <c:v>20970</c:v>
                </c:pt>
                <c:pt idx="367">
                  <c:v>21000</c:v>
                </c:pt>
                <c:pt idx="368">
                  <c:v>21031</c:v>
                </c:pt>
                <c:pt idx="369">
                  <c:v>21062</c:v>
                </c:pt>
                <c:pt idx="370">
                  <c:v>21092</c:v>
                </c:pt>
                <c:pt idx="371">
                  <c:v>21123</c:v>
                </c:pt>
                <c:pt idx="372">
                  <c:v>21153</c:v>
                </c:pt>
                <c:pt idx="373">
                  <c:v>21184</c:v>
                </c:pt>
                <c:pt idx="374">
                  <c:v>21215</c:v>
                </c:pt>
                <c:pt idx="375">
                  <c:v>21244</c:v>
                </c:pt>
              </c:numCache>
            </c:numRef>
          </c:xVal>
          <c:yVal>
            <c:numRef>
              <c:f>Sheet1!$A$3:$NL$3</c:f>
              <c:numCache>
                <c:formatCode>General</c:formatCode>
                <c:ptCount val="376"/>
                <c:pt idx="0">
                  <c:v>9.6792374891395241</c:v>
                </c:pt>
                <c:pt idx="1">
                  <c:v>6.2927642058887727</c:v>
                </c:pt>
                <c:pt idx="2">
                  <c:v>5.6087560328855961</c:v>
                </c:pt>
                <c:pt idx="3">
                  <c:v>6.0494738124452168</c:v>
                </c:pt>
                <c:pt idx="4">
                  <c:v>6.6799953663429283</c:v>
                </c:pt>
                <c:pt idx="5">
                  <c:v>6.6045324589842771</c:v>
                </c:pt>
                <c:pt idx="6">
                  <c:v>6.763137095257715</c:v>
                </c:pt>
                <c:pt idx="7">
                  <c:v>7.9204182590553192</c:v>
                </c:pt>
                <c:pt idx="8">
                  <c:v>8.934419404862755</c:v>
                </c:pt>
                <c:pt idx="9">
                  <c:v>9.3504193641907172</c:v>
                </c:pt>
                <c:pt idx="10">
                  <c:v>9.0139953622215039</c:v>
                </c:pt>
                <c:pt idx="11">
                  <c:v>7.2135056115965499</c:v>
                </c:pt>
                <c:pt idx="12">
                  <c:v>6.5563813673232074</c:v>
                </c:pt>
                <c:pt idx="13">
                  <c:v>6.9910656393562736</c:v>
                </c:pt>
                <c:pt idx="14">
                  <c:v>7.0489691581726905</c:v>
                </c:pt>
                <c:pt idx="15">
                  <c:v>7.5992156250581635</c:v>
                </c:pt>
                <c:pt idx="16">
                  <c:v>6.5842949458014894</c:v>
                </c:pt>
                <c:pt idx="17">
                  <c:v>6.7226687342361444</c:v>
                </c:pt>
                <c:pt idx="18">
                  <c:v>6.7465579443168018</c:v>
                </c:pt>
                <c:pt idx="19">
                  <c:v>5.7302669038550658</c:v>
                </c:pt>
                <c:pt idx="20">
                  <c:v>5.9722087331414047</c:v>
                </c:pt>
                <c:pt idx="21">
                  <c:v>5.4591979554987589</c:v>
                </c:pt>
                <c:pt idx="22">
                  <c:v>6.2124186381237472</c:v>
                </c:pt>
                <c:pt idx="23">
                  <c:v>5.0071526396895356</c:v>
                </c:pt>
                <c:pt idx="24">
                  <c:v>5.4380272409430912</c:v>
                </c:pt>
                <c:pt idx="25">
                  <c:v>5.3885534356142966</c:v>
                </c:pt>
                <c:pt idx="26">
                  <c:v>5.612178189193294</c:v>
                </c:pt>
                <c:pt idx="27">
                  <c:v>6.8536103430728046</c:v>
                </c:pt>
                <c:pt idx="28">
                  <c:v>7.2557772778219851</c:v>
                </c:pt>
                <c:pt idx="29">
                  <c:v>7.5620791638025864</c:v>
                </c:pt>
                <c:pt idx="30">
                  <c:v>7.6132977615431319</c:v>
                </c:pt>
                <c:pt idx="31">
                  <c:v>9.0098043877388818</c:v>
                </c:pt>
                <c:pt idx="32">
                  <c:v>8.2858405527819414</c:v>
                </c:pt>
                <c:pt idx="33">
                  <c:v>8.7008655505691674</c:v>
                </c:pt>
                <c:pt idx="34">
                  <c:v>7.8223792518023627</c:v>
                </c:pt>
                <c:pt idx="35">
                  <c:v>7.9650388270840802</c:v>
                </c:pt>
                <c:pt idx="36">
                  <c:v>8.1457854909437515</c:v>
                </c:pt>
                <c:pt idx="37">
                  <c:v>9.2295065528985099</c:v>
                </c:pt>
                <c:pt idx="38">
                  <c:v>9.8723168686373839</c:v>
                </c:pt>
                <c:pt idx="39">
                  <c:v>10.95344304615525</c:v>
                </c:pt>
                <c:pt idx="40">
                  <c:v>13.520517067250998</c:v>
                </c:pt>
                <c:pt idx="41">
                  <c:v>15.42149979574271</c:v>
                </c:pt>
                <c:pt idx="42">
                  <c:v>14.488076105332119</c:v>
                </c:pt>
                <c:pt idx="43">
                  <c:v>16.719154335534672</c:v>
                </c:pt>
                <c:pt idx="44">
                  <c:v>19.797542327287598</c:v>
                </c:pt>
                <c:pt idx="45">
                  <c:v>20.029175629446208</c:v>
                </c:pt>
                <c:pt idx="46">
                  <c:v>21.993252936555791</c:v>
                </c:pt>
                <c:pt idx="47">
                  <c:v>33.843820945992327</c:v>
                </c:pt>
                <c:pt idx="48">
                  <c:v>29.710324142231158</c:v>
                </c:pt>
                <c:pt idx="49">
                  <c:v>20.768270111585007</c:v>
                </c:pt>
                <c:pt idx="50">
                  <c:v>19.621221265815581</c:v>
                </c:pt>
                <c:pt idx="51">
                  <c:v>19.853155914724386</c:v>
                </c:pt>
                <c:pt idx="52">
                  <c:v>16.354236379325311</c:v>
                </c:pt>
                <c:pt idx="53">
                  <c:v>14.877129483399017</c:v>
                </c:pt>
                <c:pt idx="54">
                  <c:v>12.32922095855464</c:v>
                </c:pt>
                <c:pt idx="55">
                  <c:v>11.253815269728001</c:v>
                </c:pt>
                <c:pt idx="56">
                  <c:v>8.2017233855232679</c:v>
                </c:pt>
                <c:pt idx="57">
                  <c:v>9.2657781405174973</c:v>
                </c:pt>
                <c:pt idx="58">
                  <c:v>8.9884176759196706</c:v>
                </c:pt>
                <c:pt idx="59">
                  <c:v>8.7941794668246587</c:v>
                </c:pt>
                <c:pt idx="60">
                  <c:v>8.9620384794032439</c:v>
                </c:pt>
                <c:pt idx="61">
                  <c:v>9.0990443550079139</c:v>
                </c:pt>
                <c:pt idx="62">
                  <c:v>11.804965915023683</c:v>
                </c:pt>
                <c:pt idx="63">
                  <c:v>13.212515016514935</c:v>
                </c:pt>
                <c:pt idx="64">
                  <c:v>13.02344134781667</c:v>
                </c:pt>
                <c:pt idx="65">
                  <c:v>11.642852966293882</c:v>
                </c:pt>
                <c:pt idx="66">
                  <c:v>10.282507037948625</c:v>
                </c:pt>
                <c:pt idx="67">
                  <c:v>10.782897981555962</c:v>
                </c:pt>
                <c:pt idx="68">
                  <c:v>12.350227159058202</c:v>
                </c:pt>
                <c:pt idx="69">
                  <c:v>14.363617312015602</c:v>
                </c:pt>
                <c:pt idx="70">
                  <c:v>13.765780105689025</c:v>
                </c:pt>
                <c:pt idx="71">
                  <c:v>15.882894373982683</c:v>
                </c:pt>
                <c:pt idx="72">
                  <c:v>17.442975962987067</c:v>
                </c:pt>
                <c:pt idx="73">
                  <c:v>24.419949866719236</c:v>
                </c:pt>
                <c:pt idx="74">
                  <c:v>18.723049768158461</c:v>
                </c:pt>
                <c:pt idx="75">
                  <c:v>16.544860794849843</c:v>
                </c:pt>
                <c:pt idx="76">
                  <c:v>17.116683550745549</c:v>
                </c:pt>
                <c:pt idx="77">
                  <c:v>17.027063624114529</c:v>
                </c:pt>
                <c:pt idx="78">
                  <c:v>15.09239572162652</c:v>
                </c:pt>
                <c:pt idx="79">
                  <c:v>15.285561315475862</c:v>
                </c:pt>
                <c:pt idx="80">
                  <c:v>14.04749095085654</c:v>
                </c:pt>
                <c:pt idx="81">
                  <c:v>13.511987479800283</c:v>
                </c:pt>
                <c:pt idx="82">
                  <c:v>13.033902837191947</c:v>
                </c:pt>
                <c:pt idx="83">
                  <c:v>17.02460378567023</c:v>
                </c:pt>
                <c:pt idx="84">
                  <c:v>16.610282745901625</c:v>
                </c:pt>
                <c:pt idx="85">
                  <c:v>14.489325138302377</c:v>
                </c:pt>
                <c:pt idx="86">
                  <c:v>14.998730551753177</c:v>
                </c:pt>
                <c:pt idx="87">
                  <c:v>16.256427805724403</c:v>
                </c:pt>
                <c:pt idx="88">
                  <c:v>17.988553791704867</c:v>
                </c:pt>
                <c:pt idx="89">
                  <c:v>17.625743977354059</c:v>
                </c:pt>
                <c:pt idx="90">
                  <c:v>16.496005123470447</c:v>
                </c:pt>
                <c:pt idx="91">
                  <c:v>15.160714713553142</c:v>
                </c:pt>
                <c:pt idx="92">
                  <c:v>14.382492560655619</c:v>
                </c:pt>
                <c:pt idx="93">
                  <c:v>17.34755754232393</c:v>
                </c:pt>
                <c:pt idx="94">
                  <c:v>16.205768513893897</c:v>
                </c:pt>
                <c:pt idx="95">
                  <c:v>16.745146141096381</c:v>
                </c:pt>
                <c:pt idx="96">
                  <c:v>15.995633084638312</c:v>
                </c:pt>
                <c:pt idx="97">
                  <c:v>16.098470591213864</c:v>
                </c:pt>
                <c:pt idx="98">
                  <c:v>17.989929373964589</c:v>
                </c:pt>
                <c:pt idx="99">
                  <c:v>18.883084010817939</c:v>
                </c:pt>
                <c:pt idx="100">
                  <c:v>17.391331626231249</c:v>
                </c:pt>
                <c:pt idx="101">
                  <c:v>20.139068578593349</c:v>
                </c:pt>
                <c:pt idx="102">
                  <c:v>21.628844945390373</c:v>
                </c:pt>
                <c:pt idx="103">
                  <c:v>26.454368502855136</c:v>
                </c:pt>
                <c:pt idx="104">
                  <c:v>32.712682922041139</c:v>
                </c:pt>
                <c:pt idx="105">
                  <c:v>38.111477916418913</c:v>
                </c:pt>
                <c:pt idx="106">
                  <c:v>29.819327016136153</c:v>
                </c:pt>
                <c:pt idx="107">
                  <c:v>37.557733056950049</c:v>
                </c:pt>
                <c:pt idx="108">
                  <c:v>24.499306611486443</c:v>
                </c:pt>
                <c:pt idx="109">
                  <c:v>21.550969939508192</c:v>
                </c:pt>
                <c:pt idx="110">
                  <c:v>19.558781907031364</c:v>
                </c:pt>
                <c:pt idx="111">
                  <c:v>19.909489115146481</c:v>
                </c:pt>
                <c:pt idx="112">
                  <c:v>16.69998841585732</c:v>
                </c:pt>
                <c:pt idx="113">
                  <c:v>16.750513471719117</c:v>
                </c:pt>
                <c:pt idx="114">
                  <c:v>16.598008417218196</c:v>
                </c:pt>
                <c:pt idx="115">
                  <c:v>19.017009804491209</c:v>
                </c:pt>
                <c:pt idx="116">
                  <c:v>13.137026795259718</c:v>
                </c:pt>
                <c:pt idx="117">
                  <c:v>15.828267824755061</c:v>
                </c:pt>
                <c:pt idx="118">
                  <c:v>19.62888712171279</c:v>
                </c:pt>
                <c:pt idx="119">
                  <c:v>17.37963610909803</c:v>
                </c:pt>
                <c:pt idx="120">
                  <c:v>17.193266941294088</c:v>
                </c:pt>
                <c:pt idx="121">
                  <c:v>20.878945284552351</c:v>
                </c:pt>
                <c:pt idx="122">
                  <c:v>18.320742343709295</c:v>
                </c:pt>
                <c:pt idx="123">
                  <c:v>19.186354255528673</c:v>
                </c:pt>
                <c:pt idx="124">
                  <c:v>19.294472708976148</c:v>
                </c:pt>
                <c:pt idx="125">
                  <c:v>18.689351668150056</c:v>
                </c:pt>
                <c:pt idx="126">
                  <c:v>15.473549838186029</c:v>
                </c:pt>
                <c:pt idx="127">
                  <c:v>15.580326646642163</c:v>
                </c:pt>
                <c:pt idx="128">
                  <c:v>14.929347387318685</c:v>
                </c:pt>
                <c:pt idx="129">
                  <c:v>16.164922054742743</c:v>
                </c:pt>
                <c:pt idx="130">
                  <c:v>16.498369378376854</c:v>
                </c:pt>
                <c:pt idx="131">
                  <c:v>16.650876466396603</c:v>
                </c:pt>
                <c:pt idx="132">
                  <c:v>18.523584487493181</c:v>
                </c:pt>
                <c:pt idx="133">
                  <c:v>19.758400831918117</c:v>
                </c:pt>
                <c:pt idx="134">
                  <c:v>20.678980336017375</c:v>
                </c:pt>
                <c:pt idx="135">
                  <c:v>22.052950177920582</c:v>
                </c:pt>
                <c:pt idx="136">
                  <c:v>24.718670826863914</c:v>
                </c:pt>
                <c:pt idx="137">
                  <c:v>27.840337764028749</c:v>
                </c:pt>
                <c:pt idx="138">
                  <c:v>23.995339702846646</c:v>
                </c:pt>
                <c:pt idx="139">
                  <c:v>18.820894751009693</c:v>
                </c:pt>
                <c:pt idx="140">
                  <c:v>18.213603122062434</c:v>
                </c:pt>
                <c:pt idx="141">
                  <c:v>17.263049547577317</c:v>
                </c:pt>
                <c:pt idx="142">
                  <c:v>17.902219689989646</c:v>
                </c:pt>
                <c:pt idx="143">
                  <c:v>14.765904011305505</c:v>
                </c:pt>
                <c:pt idx="144">
                  <c:v>13.505266377815962</c:v>
                </c:pt>
                <c:pt idx="145">
                  <c:v>12.063261776877914</c:v>
                </c:pt>
                <c:pt idx="146">
                  <c:v>10.35408495569866</c:v>
                </c:pt>
                <c:pt idx="147">
                  <c:v>9.0542044851765642</c:v>
                </c:pt>
                <c:pt idx="148">
                  <c:v>9.5739944724396455</c:v>
                </c:pt>
                <c:pt idx="149">
                  <c:v>9.2509547701814192</c:v>
                </c:pt>
                <c:pt idx="150">
                  <c:v>8.1864272572207053</c:v>
                </c:pt>
                <c:pt idx="151">
                  <c:v>7.5091987160231417</c:v>
                </c:pt>
                <c:pt idx="152">
                  <c:v>7.0061141897078869</c:v>
                </c:pt>
                <c:pt idx="153">
                  <c:v>9.2350755594243719</c:v>
                </c:pt>
                <c:pt idx="154">
                  <c:v>8.3736344221861092</c:v>
                </c:pt>
                <c:pt idx="155">
                  <c:v>12.529253082017666</c:v>
                </c:pt>
                <c:pt idx="156">
                  <c:v>13.927796018712188</c:v>
                </c:pt>
                <c:pt idx="157">
                  <c:v>13.266826127457168</c:v>
                </c:pt>
                <c:pt idx="158">
                  <c:v>10.788273148827416</c:v>
                </c:pt>
                <c:pt idx="159">
                  <c:v>10.265696578644766</c:v>
                </c:pt>
                <c:pt idx="160">
                  <c:v>11.236438965301922</c:v>
                </c:pt>
                <c:pt idx="161">
                  <c:v>13.413069188012459</c:v>
                </c:pt>
                <c:pt idx="162">
                  <c:v>12.354926502451622</c:v>
                </c:pt>
                <c:pt idx="163">
                  <c:v>11.429883243309641</c:v>
                </c:pt>
                <c:pt idx="164">
                  <c:v>10.139544339085068</c:v>
                </c:pt>
                <c:pt idx="165">
                  <c:v>8.4266269948237795</c:v>
                </c:pt>
                <c:pt idx="166">
                  <c:v>9.2848360806766941</c:v>
                </c:pt>
                <c:pt idx="167">
                  <c:v>10.974562648641454</c:v>
                </c:pt>
                <c:pt idx="168">
                  <c:v>11.466022414363753</c:v>
                </c:pt>
                <c:pt idx="169">
                  <c:v>10.21903395422952</c:v>
                </c:pt>
                <c:pt idx="170">
                  <c:v>9.6661008561065405</c:v>
                </c:pt>
                <c:pt idx="171">
                  <c:v>10.007365559881393</c:v>
                </c:pt>
                <c:pt idx="172">
                  <c:v>10.271706603519283</c:v>
                </c:pt>
                <c:pt idx="173">
                  <c:v>10.75365823298791</c:v>
                </c:pt>
                <c:pt idx="174">
                  <c:v>10.557886628154952</c:v>
                </c:pt>
                <c:pt idx="175">
                  <c:v>9.6647840693893272</c:v>
                </c:pt>
                <c:pt idx="176">
                  <c:v>9.6744474888337635</c:v>
                </c:pt>
                <c:pt idx="177">
                  <c:v>8.8784635941461261</c:v>
                </c:pt>
                <c:pt idx="178">
                  <c:v>8.1492946623855662</c:v>
                </c:pt>
                <c:pt idx="179">
                  <c:v>8.2274172060695179</c:v>
                </c:pt>
                <c:pt idx="180">
                  <c:v>7.0605757649170338</c:v>
                </c:pt>
                <c:pt idx="181">
                  <c:v>6.4702589543148239</c:v>
                </c:pt>
                <c:pt idx="182">
                  <c:v>5.6061014941771781</c:v>
                </c:pt>
                <c:pt idx="183">
                  <c:v>5.0564783960200765</c:v>
                </c:pt>
                <c:pt idx="184">
                  <c:v>6.4821552388329104</c:v>
                </c:pt>
                <c:pt idx="185">
                  <c:v>6.6959104722063927</c:v>
                </c:pt>
                <c:pt idx="186">
                  <c:v>8.1944926485390894</c:v>
                </c:pt>
                <c:pt idx="187">
                  <c:v>7.8122157292942651</c:v>
                </c:pt>
                <c:pt idx="188">
                  <c:v>7.5574775395723215</c:v>
                </c:pt>
                <c:pt idx="189">
                  <c:v>8.7296965035776299</c:v>
                </c:pt>
                <c:pt idx="190">
                  <c:v>9.4122743021315642</c:v>
                </c:pt>
                <c:pt idx="191">
                  <c:v>8.6814619870270331</c:v>
                </c:pt>
                <c:pt idx="192">
                  <c:v>8.5445506379000307</c:v>
                </c:pt>
                <c:pt idx="193">
                  <c:v>8.5167126737207024</c:v>
                </c:pt>
                <c:pt idx="194">
                  <c:v>10.036821643901987</c:v>
                </c:pt>
                <c:pt idx="195">
                  <c:v>10.92435675655387</c:v>
                </c:pt>
                <c:pt idx="196">
                  <c:v>10.624339398985228</c:v>
                </c:pt>
                <c:pt idx="197">
                  <c:v>9.913585376922315</c:v>
                </c:pt>
                <c:pt idx="198">
                  <c:v>9.4448265573871168</c:v>
                </c:pt>
                <c:pt idx="199">
                  <c:v>8.7902055201640561</c:v>
                </c:pt>
                <c:pt idx="200">
                  <c:v>9.25305009366331</c:v>
                </c:pt>
                <c:pt idx="201">
                  <c:v>9.2041198480914179</c:v>
                </c:pt>
                <c:pt idx="202">
                  <c:v>9.2078321635371623</c:v>
                </c:pt>
                <c:pt idx="203">
                  <c:v>10.557099569728837</c:v>
                </c:pt>
                <c:pt idx="204">
                  <c:v>11.797596094461751</c:v>
                </c:pt>
                <c:pt idx="205">
                  <c:v>14.980929535846261</c:v>
                </c:pt>
                <c:pt idx="206">
                  <c:v>12.090950759372301</c:v>
                </c:pt>
                <c:pt idx="207">
                  <c:v>11.513439425941154</c:v>
                </c:pt>
                <c:pt idx="208">
                  <c:v>11.378592750562149</c:v>
                </c:pt>
                <c:pt idx="209">
                  <c:v>11.520384572339125</c:v>
                </c:pt>
                <c:pt idx="210">
                  <c:v>10.210395603795666</c:v>
                </c:pt>
                <c:pt idx="211">
                  <c:v>10.018381893807302</c:v>
                </c:pt>
                <c:pt idx="212">
                  <c:v>10.368623439371344</c:v>
                </c:pt>
                <c:pt idx="213">
                  <c:v>10.177013262997702</c:v>
                </c:pt>
                <c:pt idx="214">
                  <c:v>11.265652896397118</c:v>
                </c:pt>
                <c:pt idx="215">
                  <c:v>9.6442241914075417</c:v>
                </c:pt>
                <c:pt idx="216">
                  <c:v>8.7729904118797144</c:v>
                </c:pt>
                <c:pt idx="217">
                  <c:v>8.6232203459230021</c:v>
                </c:pt>
                <c:pt idx="218">
                  <c:v>8.9270440985290254</c:v>
                </c:pt>
                <c:pt idx="219">
                  <c:v>8.2349640701400002</c:v>
                </c:pt>
                <c:pt idx="220">
                  <c:v>8.7143866844553006</c:v>
                </c:pt>
                <c:pt idx="221">
                  <c:v>8.4570997608088128</c:v>
                </c:pt>
                <c:pt idx="222">
                  <c:v>8.8065437521965642</c:v>
                </c:pt>
                <c:pt idx="223">
                  <c:v>8.4910158152802548</c:v>
                </c:pt>
                <c:pt idx="224">
                  <c:v>8.090872437054502</c:v>
                </c:pt>
                <c:pt idx="225">
                  <c:v>7.1087116227808274</c:v>
                </c:pt>
                <c:pt idx="226">
                  <c:v>6.6519351965905855</c:v>
                </c:pt>
                <c:pt idx="227">
                  <c:v>6.0484012713642761</c:v>
                </c:pt>
                <c:pt idx="228">
                  <c:v>7.1710574843638559</c:v>
                </c:pt>
                <c:pt idx="229">
                  <c:v>6.1227067024714144</c:v>
                </c:pt>
                <c:pt idx="230">
                  <c:v>5.3039846931289674</c:v>
                </c:pt>
                <c:pt idx="231">
                  <c:v>5.777063551153133</c:v>
                </c:pt>
                <c:pt idx="232">
                  <c:v>5.7953456466180544</c:v>
                </c:pt>
                <c:pt idx="233">
                  <c:v>7.8678164199118967</c:v>
                </c:pt>
                <c:pt idx="234">
                  <c:v>8.7015028713178708</c:v>
                </c:pt>
                <c:pt idx="235">
                  <c:v>8.5854451651647548</c:v>
                </c:pt>
                <c:pt idx="236">
                  <c:v>9.0996274384022975</c:v>
                </c:pt>
                <c:pt idx="237">
                  <c:v>9.2294282204653477</c:v>
                </c:pt>
                <c:pt idx="238">
                  <c:v>8.0716269265809295</c:v>
                </c:pt>
                <c:pt idx="239">
                  <c:v>11.623040720507998</c:v>
                </c:pt>
                <c:pt idx="240">
                  <c:v>10.592880530656393</c:v>
                </c:pt>
                <c:pt idx="241">
                  <c:v>9.1349447744744445</c:v>
                </c:pt>
                <c:pt idx="242">
                  <c:v>9.1913362700506003</c:v>
                </c:pt>
                <c:pt idx="243">
                  <c:v>9.8725941836619793</c:v>
                </c:pt>
                <c:pt idx="244">
                  <c:v>9.7214921640148617</c:v>
                </c:pt>
                <c:pt idx="245">
                  <c:v>9.0497675853291515</c:v>
                </c:pt>
                <c:pt idx="246">
                  <c:v>8.8276690153580528</c:v>
                </c:pt>
                <c:pt idx="247">
                  <c:v>8.3777524900109519</c:v>
                </c:pt>
                <c:pt idx="248">
                  <c:v>8.5360505679511096</c:v>
                </c:pt>
                <c:pt idx="249">
                  <c:v>8.3596787945583149</c:v>
                </c:pt>
                <c:pt idx="250">
                  <c:v>8.7478978097457585</c:v>
                </c:pt>
                <c:pt idx="251">
                  <c:v>8.1336761057900642</c:v>
                </c:pt>
                <c:pt idx="252">
                  <c:v>10.827128886856768</c:v>
                </c:pt>
                <c:pt idx="253">
                  <c:v>7.3820916092004998</c:v>
                </c:pt>
                <c:pt idx="254">
                  <c:v>7.4442088401786579</c:v>
                </c:pt>
                <c:pt idx="255">
                  <c:v>7.7860590778343797</c:v>
                </c:pt>
                <c:pt idx="256">
                  <c:v>8.0935459325555907</c:v>
                </c:pt>
                <c:pt idx="257">
                  <c:v>8.6784407123188583</c:v>
                </c:pt>
                <c:pt idx="258">
                  <c:v>8.2638450784963364</c:v>
                </c:pt>
                <c:pt idx="259">
                  <c:v>8.7451657789409385</c:v>
                </c:pt>
                <c:pt idx="260">
                  <c:v>8.7732733706166766</c:v>
                </c:pt>
                <c:pt idx="261">
                  <c:v>9.7455174752875564</c:v>
                </c:pt>
                <c:pt idx="262">
                  <c:v>12.280317421375706</c:v>
                </c:pt>
                <c:pt idx="263">
                  <c:v>12.113558243565551</c:v>
                </c:pt>
                <c:pt idx="264">
                  <c:v>9.2930020882311783</c:v>
                </c:pt>
                <c:pt idx="265">
                  <c:v>8.0898259124921932</c:v>
                </c:pt>
                <c:pt idx="266">
                  <c:v>8.9104321649020193</c:v>
                </c:pt>
                <c:pt idx="267">
                  <c:v>8.047521692695625</c:v>
                </c:pt>
                <c:pt idx="268">
                  <c:v>8.0522697912792456</c:v>
                </c:pt>
                <c:pt idx="269">
                  <c:v>7.2502281017227901</c:v>
                </c:pt>
                <c:pt idx="270">
                  <c:v>7.2109828266870482</c:v>
                </c:pt>
                <c:pt idx="271">
                  <c:v>6.808983481818399</c:v>
                </c:pt>
                <c:pt idx="272">
                  <c:v>7.9350880571602103</c:v>
                </c:pt>
                <c:pt idx="273">
                  <c:v>7.1922069293788873</c:v>
                </c:pt>
                <c:pt idx="274">
                  <c:v>8.1833424323798667</c:v>
                </c:pt>
                <c:pt idx="275">
                  <c:v>6.8171576170961981</c:v>
                </c:pt>
                <c:pt idx="276">
                  <c:v>6.2083244401527269</c:v>
                </c:pt>
                <c:pt idx="277">
                  <c:v>5.9759066915525576</c:v>
                </c:pt>
                <c:pt idx="278">
                  <c:v>5.5326947906821209</c:v>
                </c:pt>
                <c:pt idx="279">
                  <c:v>5.4607920947483706</c:v>
                </c:pt>
                <c:pt idx="280">
                  <c:v>5.4751495371428769</c:v>
                </c:pt>
                <c:pt idx="281">
                  <c:v>4.9395744785393294</c:v>
                </c:pt>
                <c:pt idx="282">
                  <c:v>5.2640769096908251</c:v>
                </c:pt>
                <c:pt idx="283">
                  <c:v>6.6342825117462993</c:v>
                </c:pt>
                <c:pt idx="284">
                  <c:v>5.5593103377679807</c:v>
                </c:pt>
                <c:pt idx="285">
                  <c:v>6.9284760211689314</c:v>
                </c:pt>
                <c:pt idx="286">
                  <c:v>7.5263737967932673</c:v>
                </c:pt>
                <c:pt idx="287">
                  <c:v>7.2634683574969872</c:v>
                </c:pt>
                <c:pt idx="288">
                  <c:v>7.598402769294812</c:v>
                </c:pt>
                <c:pt idx="289">
                  <c:v>15.092180393147052</c:v>
                </c:pt>
                <c:pt idx="290">
                  <c:v>7.5135902835831594</c:v>
                </c:pt>
                <c:pt idx="291">
                  <c:v>7.5880745211911105</c:v>
                </c:pt>
                <c:pt idx="292">
                  <c:v>8.1712604590696447</c:v>
                </c:pt>
                <c:pt idx="293">
                  <c:v>9.232711861630797</c:v>
                </c:pt>
                <c:pt idx="294">
                  <c:v>11.080688570346434</c:v>
                </c:pt>
                <c:pt idx="295">
                  <c:v>11.801718191155043</c:v>
                </c:pt>
                <c:pt idx="296">
                  <c:v>14.959070136588064</c:v>
                </c:pt>
                <c:pt idx="297">
                  <c:v>16.206532311282931</c:v>
                </c:pt>
                <c:pt idx="298">
                  <c:v>15.107552367856252</c:v>
                </c:pt>
                <c:pt idx="299">
                  <c:v>11.352214282545866</c:v>
                </c:pt>
                <c:pt idx="300">
                  <c:v>13.202376714175061</c:v>
                </c:pt>
                <c:pt idx="301">
                  <c:v>14.10672676586902</c:v>
                </c:pt>
                <c:pt idx="302">
                  <c:v>15.169847989053846</c:v>
                </c:pt>
                <c:pt idx="303">
                  <c:v>20.850647863487005</c:v>
                </c:pt>
                <c:pt idx="304">
                  <c:v>26.25662792975081</c:v>
                </c:pt>
                <c:pt idx="305">
                  <c:v>24.868069716894542</c:v>
                </c:pt>
                <c:pt idx="306">
                  <c:v>24.399325979028973</c:v>
                </c:pt>
                <c:pt idx="307">
                  <c:v>29.672379768042557</c:v>
                </c:pt>
                <c:pt idx="308">
                  <c:v>27.168121035516986</c:v>
                </c:pt>
                <c:pt idx="309">
                  <c:v>19.626963636797907</c:v>
                </c:pt>
                <c:pt idx="310">
                  <c:v>18.225976691654925</c:v>
                </c:pt>
                <c:pt idx="311">
                  <c:v>17.822989364351983</c:v>
                </c:pt>
                <c:pt idx="312">
                  <c:v>10.365508699257177</c:v>
                </c:pt>
                <c:pt idx="313">
                  <c:v>7.5849196952274349</c:v>
                </c:pt>
                <c:pt idx="314">
                  <c:v>7.3618338218383945</c:v>
                </c:pt>
                <c:pt idx="315">
                  <c:v>6.788184433123714</c:v>
                </c:pt>
              </c:numCache>
            </c:numRef>
          </c:yVal>
          <c:smooth val="0"/>
          <c:extLst>
            <c:ext xmlns:c16="http://schemas.microsoft.com/office/drawing/2014/chart" uri="{C3380CC4-5D6E-409C-BE32-E72D297353CC}">
              <c16:uniqueId val="{00000001-8087-4B53-B89D-FC4B66629CCE}"/>
            </c:ext>
          </c:extLst>
        </c:ser>
        <c:ser>
          <c:idx val="2"/>
          <c:order val="2"/>
          <c:spPr>
            <a:ln w="9525" algn="ctr">
              <a:solidFill>
                <a:schemeClr val="accent1"/>
              </a:solidFill>
              <a:prstDash val="lgDash"/>
            </a:ln>
          </c:spPr>
          <c:marker>
            <c:symbol val="none"/>
          </c:marker>
          <c:xVal>
            <c:numRef>
              <c:f>Sheet1!$A$1:$NL$1</c:f>
              <c:numCache>
                <c:formatCode>General</c:formatCode>
                <c:ptCount val="376"/>
                <c:pt idx="0">
                  <c:v>9862</c:v>
                </c:pt>
                <c:pt idx="1">
                  <c:v>9893</c:v>
                </c:pt>
                <c:pt idx="2">
                  <c:v>9921</c:v>
                </c:pt>
                <c:pt idx="3">
                  <c:v>9952</c:v>
                </c:pt>
                <c:pt idx="4">
                  <c:v>9982</c:v>
                </c:pt>
                <c:pt idx="5">
                  <c:v>10013</c:v>
                </c:pt>
                <c:pt idx="6">
                  <c:v>10043</c:v>
                </c:pt>
                <c:pt idx="7">
                  <c:v>10074</c:v>
                </c:pt>
                <c:pt idx="8">
                  <c:v>10105</c:v>
                </c:pt>
                <c:pt idx="9">
                  <c:v>10135</c:v>
                </c:pt>
                <c:pt idx="10">
                  <c:v>10166</c:v>
                </c:pt>
                <c:pt idx="11">
                  <c:v>10196</c:v>
                </c:pt>
                <c:pt idx="12">
                  <c:v>10227</c:v>
                </c:pt>
                <c:pt idx="13">
                  <c:v>10258</c:v>
                </c:pt>
                <c:pt idx="14">
                  <c:v>10286</c:v>
                </c:pt>
                <c:pt idx="15">
                  <c:v>10317</c:v>
                </c:pt>
                <c:pt idx="16">
                  <c:v>10347</c:v>
                </c:pt>
                <c:pt idx="17">
                  <c:v>10378</c:v>
                </c:pt>
                <c:pt idx="18">
                  <c:v>10408</c:v>
                </c:pt>
                <c:pt idx="19">
                  <c:v>10439</c:v>
                </c:pt>
                <c:pt idx="20">
                  <c:v>10470</c:v>
                </c:pt>
                <c:pt idx="21">
                  <c:v>10500</c:v>
                </c:pt>
                <c:pt idx="22">
                  <c:v>10531</c:v>
                </c:pt>
                <c:pt idx="23">
                  <c:v>10561</c:v>
                </c:pt>
                <c:pt idx="24">
                  <c:v>10592</c:v>
                </c:pt>
                <c:pt idx="25">
                  <c:v>10623</c:v>
                </c:pt>
                <c:pt idx="26">
                  <c:v>10651</c:v>
                </c:pt>
                <c:pt idx="27">
                  <c:v>10682</c:v>
                </c:pt>
                <c:pt idx="28">
                  <c:v>10712</c:v>
                </c:pt>
                <c:pt idx="29">
                  <c:v>10743</c:v>
                </c:pt>
                <c:pt idx="30">
                  <c:v>10773</c:v>
                </c:pt>
                <c:pt idx="31">
                  <c:v>10804</c:v>
                </c:pt>
                <c:pt idx="32">
                  <c:v>10835</c:v>
                </c:pt>
                <c:pt idx="33">
                  <c:v>10865</c:v>
                </c:pt>
                <c:pt idx="34">
                  <c:v>10896</c:v>
                </c:pt>
                <c:pt idx="35">
                  <c:v>10926</c:v>
                </c:pt>
                <c:pt idx="36">
                  <c:v>10957</c:v>
                </c:pt>
                <c:pt idx="37">
                  <c:v>10988</c:v>
                </c:pt>
                <c:pt idx="38">
                  <c:v>11017</c:v>
                </c:pt>
                <c:pt idx="39">
                  <c:v>11048</c:v>
                </c:pt>
                <c:pt idx="40">
                  <c:v>11078</c:v>
                </c:pt>
                <c:pt idx="41">
                  <c:v>11109</c:v>
                </c:pt>
                <c:pt idx="42">
                  <c:v>11139</c:v>
                </c:pt>
                <c:pt idx="43">
                  <c:v>11170</c:v>
                </c:pt>
                <c:pt idx="44">
                  <c:v>11201</c:v>
                </c:pt>
                <c:pt idx="45">
                  <c:v>11231</c:v>
                </c:pt>
                <c:pt idx="46">
                  <c:v>11262</c:v>
                </c:pt>
                <c:pt idx="47">
                  <c:v>11292</c:v>
                </c:pt>
                <c:pt idx="48">
                  <c:v>11323</c:v>
                </c:pt>
                <c:pt idx="49">
                  <c:v>11354</c:v>
                </c:pt>
                <c:pt idx="50">
                  <c:v>11382</c:v>
                </c:pt>
                <c:pt idx="51">
                  <c:v>11413</c:v>
                </c:pt>
                <c:pt idx="52">
                  <c:v>11443</c:v>
                </c:pt>
                <c:pt idx="53">
                  <c:v>11474</c:v>
                </c:pt>
                <c:pt idx="54">
                  <c:v>11504</c:v>
                </c:pt>
                <c:pt idx="55">
                  <c:v>11535</c:v>
                </c:pt>
                <c:pt idx="56">
                  <c:v>11566</c:v>
                </c:pt>
                <c:pt idx="57">
                  <c:v>11596</c:v>
                </c:pt>
                <c:pt idx="58">
                  <c:v>11627</c:v>
                </c:pt>
                <c:pt idx="59">
                  <c:v>11657</c:v>
                </c:pt>
                <c:pt idx="60">
                  <c:v>11688</c:v>
                </c:pt>
                <c:pt idx="61">
                  <c:v>11719</c:v>
                </c:pt>
                <c:pt idx="62">
                  <c:v>11747</c:v>
                </c:pt>
                <c:pt idx="63">
                  <c:v>11778</c:v>
                </c:pt>
                <c:pt idx="64">
                  <c:v>11808</c:v>
                </c:pt>
                <c:pt idx="65">
                  <c:v>11839</c:v>
                </c:pt>
                <c:pt idx="66">
                  <c:v>11869</c:v>
                </c:pt>
                <c:pt idx="67">
                  <c:v>11900</c:v>
                </c:pt>
                <c:pt idx="68">
                  <c:v>11931</c:v>
                </c:pt>
                <c:pt idx="69">
                  <c:v>11961</c:v>
                </c:pt>
                <c:pt idx="70">
                  <c:v>11992</c:v>
                </c:pt>
                <c:pt idx="71">
                  <c:v>12022</c:v>
                </c:pt>
                <c:pt idx="72">
                  <c:v>12053</c:v>
                </c:pt>
                <c:pt idx="73">
                  <c:v>12084</c:v>
                </c:pt>
                <c:pt idx="74">
                  <c:v>12112</c:v>
                </c:pt>
                <c:pt idx="75">
                  <c:v>12143</c:v>
                </c:pt>
                <c:pt idx="76">
                  <c:v>12173</c:v>
                </c:pt>
                <c:pt idx="77">
                  <c:v>12204</c:v>
                </c:pt>
                <c:pt idx="78">
                  <c:v>12234</c:v>
                </c:pt>
                <c:pt idx="79">
                  <c:v>12265</c:v>
                </c:pt>
                <c:pt idx="80">
                  <c:v>12296</c:v>
                </c:pt>
                <c:pt idx="81">
                  <c:v>12326</c:v>
                </c:pt>
                <c:pt idx="82">
                  <c:v>12357</c:v>
                </c:pt>
                <c:pt idx="83">
                  <c:v>12387</c:v>
                </c:pt>
                <c:pt idx="84">
                  <c:v>12418</c:v>
                </c:pt>
                <c:pt idx="85">
                  <c:v>12449</c:v>
                </c:pt>
                <c:pt idx="86">
                  <c:v>12478</c:v>
                </c:pt>
                <c:pt idx="87">
                  <c:v>12509</c:v>
                </c:pt>
                <c:pt idx="88">
                  <c:v>12539</c:v>
                </c:pt>
                <c:pt idx="89">
                  <c:v>12570</c:v>
                </c:pt>
                <c:pt idx="90">
                  <c:v>12600</c:v>
                </c:pt>
                <c:pt idx="91">
                  <c:v>12631</c:v>
                </c:pt>
                <c:pt idx="92">
                  <c:v>12662</c:v>
                </c:pt>
                <c:pt idx="93">
                  <c:v>12692</c:v>
                </c:pt>
                <c:pt idx="94">
                  <c:v>12723</c:v>
                </c:pt>
                <c:pt idx="95">
                  <c:v>12753</c:v>
                </c:pt>
                <c:pt idx="96">
                  <c:v>12784</c:v>
                </c:pt>
                <c:pt idx="97">
                  <c:v>12815</c:v>
                </c:pt>
                <c:pt idx="98">
                  <c:v>12843</c:v>
                </c:pt>
                <c:pt idx="99">
                  <c:v>12874</c:v>
                </c:pt>
                <c:pt idx="100">
                  <c:v>12904</c:v>
                </c:pt>
                <c:pt idx="101">
                  <c:v>12935</c:v>
                </c:pt>
                <c:pt idx="102">
                  <c:v>12965</c:v>
                </c:pt>
                <c:pt idx="103">
                  <c:v>12996</c:v>
                </c:pt>
                <c:pt idx="104">
                  <c:v>13027</c:v>
                </c:pt>
                <c:pt idx="105">
                  <c:v>13057</c:v>
                </c:pt>
                <c:pt idx="106">
                  <c:v>13088</c:v>
                </c:pt>
                <c:pt idx="107">
                  <c:v>13118</c:v>
                </c:pt>
                <c:pt idx="108">
                  <c:v>13149</c:v>
                </c:pt>
                <c:pt idx="109">
                  <c:v>13180</c:v>
                </c:pt>
                <c:pt idx="110">
                  <c:v>13208</c:v>
                </c:pt>
                <c:pt idx="111">
                  <c:v>13239</c:v>
                </c:pt>
                <c:pt idx="112">
                  <c:v>13269</c:v>
                </c:pt>
                <c:pt idx="113">
                  <c:v>13300</c:v>
                </c:pt>
                <c:pt idx="114">
                  <c:v>13330</c:v>
                </c:pt>
                <c:pt idx="115">
                  <c:v>13361</c:v>
                </c:pt>
                <c:pt idx="116">
                  <c:v>13392</c:v>
                </c:pt>
                <c:pt idx="117">
                  <c:v>13422</c:v>
                </c:pt>
                <c:pt idx="118">
                  <c:v>13453</c:v>
                </c:pt>
                <c:pt idx="119">
                  <c:v>13483</c:v>
                </c:pt>
                <c:pt idx="120">
                  <c:v>13514</c:v>
                </c:pt>
                <c:pt idx="121">
                  <c:v>13545</c:v>
                </c:pt>
                <c:pt idx="122">
                  <c:v>13573</c:v>
                </c:pt>
                <c:pt idx="123">
                  <c:v>13604</c:v>
                </c:pt>
                <c:pt idx="124">
                  <c:v>13634</c:v>
                </c:pt>
                <c:pt idx="125">
                  <c:v>13665</c:v>
                </c:pt>
                <c:pt idx="126">
                  <c:v>13695</c:v>
                </c:pt>
                <c:pt idx="127">
                  <c:v>13726</c:v>
                </c:pt>
                <c:pt idx="128">
                  <c:v>13757</c:v>
                </c:pt>
                <c:pt idx="129">
                  <c:v>13787</c:v>
                </c:pt>
                <c:pt idx="130">
                  <c:v>13818</c:v>
                </c:pt>
                <c:pt idx="131">
                  <c:v>13848</c:v>
                </c:pt>
                <c:pt idx="132">
                  <c:v>13879</c:v>
                </c:pt>
                <c:pt idx="133">
                  <c:v>13910</c:v>
                </c:pt>
                <c:pt idx="134">
                  <c:v>13939</c:v>
                </c:pt>
                <c:pt idx="135">
                  <c:v>13970</c:v>
                </c:pt>
                <c:pt idx="136">
                  <c:v>14000</c:v>
                </c:pt>
                <c:pt idx="137">
                  <c:v>14031</c:v>
                </c:pt>
                <c:pt idx="138">
                  <c:v>14061</c:v>
                </c:pt>
                <c:pt idx="139">
                  <c:v>14092</c:v>
                </c:pt>
                <c:pt idx="140">
                  <c:v>14123</c:v>
                </c:pt>
                <c:pt idx="141">
                  <c:v>14153</c:v>
                </c:pt>
                <c:pt idx="142">
                  <c:v>14184</c:v>
                </c:pt>
                <c:pt idx="143">
                  <c:v>14214</c:v>
                </c:pt>
                <c:pt idx="144">
                  <c:v>14245</c:v>
                </c:pt>
                <c:pt idx="145">
                  <c:v>14276</c:v>
                </c:pt>
                <c:pt idx="146">
                  <c:v>14304</c:v>
                </c:pt>
                <c:pt idx="147">
                  <c:v>14335</c:v>
                </c:pt>
                <c:pt idx="148">
                  <c:v>14365</c:v>
                </c:pt>
                <c:pt idx="149">
                  <c:v>14396</c:v>
                </c:pt>
                <c:pt idx="150">
                  <c:v>14426</c:v>
                </c:pt>
                <c:pt idx="151">
                  <c:v>14457</c:v>
                </c:pt>
                <c:pt idx="152">
                  <c:v>14488</c:v>
                </c:pt>
                <c:pt idx="153">
                  <c:v>14518</c:v>
                </c:pt>
                <c:pt idx="154">
                  <c:v>14549</c:v>
                </c:pt>
                <c:pt idx="155">
                  <c:v>14579</c:v>
                </c:pt>
                <c:pt idx="156">
                  <c:v>14610</c:v>
                </c:pt>
                <c:pt idx="157">
                  <c:v>14641</c:v>
                </c:pt>
                <c:pt idx="158">
                  <c:v>14669</c:v>
                </c:pt>
                <c:pt idx="159">
                  <c:v>14700</c:v>
                </c:pt>
                <c:pt idx="160">
                  <c:v>14730</c:v>
                </c:pt>
                <c:pt idx="161">
                  <c:v>14761</c:v>
                </c:pt>
                <c:pt idx="162">
                  <c:v>14791</c:v>
                </c:pt>
                <c:pt idx="163">
                  <c:v>14822</c:v>
                </c:pt>
                <c:pt idx="164">
                  <c:v>14853</c:v>
                </c:pt>
                <c:pt idx="165">
                  <c:v>14883</c:v>
                </c:pt>
                <c:pt idx="166">
                  <c:v>14914</c:v>
                </c:pt>
                <c:pt idx="167">
                  <c:v>14944</c:v>
                </c:pt>
                <c:pt idx="168">
                  <c:v>14975</c:v>
                </c:pt>
                <c:pt idx="169">
                  <c:v>15006</c:v>
                </c:pt>
                <c:pt idx="170">
                  <c:v>15034</c:v>
                </c:pt>
                <c:pt idx="171">
                  <c:v>15065</c:v>
                </c:pt>
                <c:pt idx="172">
                  <c:v>15095</c:v>
                </c:pt>
                <c:pt idx="173">
                  <c:v>15126</c:v>
                </c:pt>
                <c:pt idx="174">
                  <c:v>15156</c:v>
                </c:pt>
                <c:pt idx="175">
                  <c:v>15187</c:v>
                </c:pt>
                <c:pt idx="176">
                  <c:v>15218</c:v>
                </c:pt>
                <c:pt idx="177">
                  <c:v>15248</c:v>
                </c:pt>
                <c:pt idx="178">
                  <c:v>15279</c:v>
                </c:pt>
                <c:pt idx="179">
                  <c:v>15309</c:v>
                </c:pt>
                <c:pt idx="180">
                  <c:v>15340</c:v>
                </c:pt>
                <c:pt idx="181">
                  <c:v>15371</c:v>
                </c:pt>
                <c:pt idx="182">
                  <c:v>15400</c:v>
                </c:pt>
                <c:pt idx="183">
                  <c:v>15431</c:v>
                </c:pt>
                <c:pt idx="184">
                  <c:v>15461</c:v>
                </c:pt>
                <c:pt idx="185">
                  <c:v>15492</c:v>
                </c:pt>
                <c:pt idx="186">
                  <c:v>15522</c:v>
                </c:pt>
                <c:pt idx="187">
                  <c:v>15553</c:v>
                </c:pt>
                <c:pt idx="188">
                  <c:v>15584</c:v>
                </c:pt>
                <c:pt idx="189">
                  <c:v>15614</c:v>
                </c:pt>
                <c:pt idx="190">
                  <c:v>15645</c:v>
                </c:pt>
                <c:pt idx="191">
                  <c:v>15675</c:v>
                </c:pt>
                <c:pt idx="192">
                  <c:v>15706</c:v>
                </c:pt>
                <c:pt idx="193">
                  <c:v>15737</c:v>
                </c:pt>
                <c:pt idx="194">
                  <c:v>15765</c:v>
                </c:pt>
                <c:pt idx="195">
                  <c:v>15796</c:v>
                </c:pt>
                <c:pt idx="196">
                  <c:v>15826</c:v>
                </c:pt>
                <c:pt idx="197">
                  <c:v>15857</c:v>
                </c:pt>
                <c:pt idx="198">
                  <c:v>15887</c:v>
                </c:pt>
                <c:pt idx="199">
                  <c:v>15918</c:v>
                </c:pt>
                <c:pt idx="200">
                  <c:v>15949</c:v>
                </c:pt>
                <c:pt idx="201">
                  <c:v>15979</c:v>
                </c:pt>
                <c:pt idx="202">
                  <c:v>16010</c:v>
                </c:pt>
                <c:pt idx="203">
                  <c:v>16040</c:v>
                </c:pt>
                <c:pt idx="204">
                  <c:v>16071</c:v>
                </c:pt>
                <c:pt idx="205">
                  <c:v>16102</c:v>
                </c:pt>
                <c:pt idx="206">
                  <c:v>16130</c:v>
                </c:pt>
                <c:pt idx="207">
                  <c:v>16161</c:v>
                </c:pt>
                <c:pt idx="208">
                  <c:v>16191</c:v>
                </c:pt>
                <c:pt idx="209">
                  <c:v>16222</c:v>
                </c:pt>
                <c:pt idx="210">
                  <c:v>16252</c:v>
                </c:pt>
                <c:pt idx="211">
                  <c:v>16283</c:v>
                </c:pt>
                <c:pt idx="212">
                  <c:v>16314</c:v>
                </c:pt>
                <c:pt idx="213">
                  <c:v>16344</c:v>
                </c:pt>
                <c:pt idx="214">
                  <c:v>16375</c:v>
                </c:pt>
                <c:pt idx="215">
                  <c:v>16405</c:v>
                </c:pt>
                <c:pt idx="216">
                  <c:v>16436</c:v>
                </c:pt>
                <c:pt idx="217">
                  <c:v>16467</c:v>
                </c:pt>
                <c:pt idx="218">
                  <c:v>16495</c:v>
                </c:pt>
                <c:pt idx="219">
                  <c:v>16526</c:v>
                </c:pt>
                <c:pt idx="220">
                  <c:v>16556</c:v>
                </c:pt>
                <c:pt idx="221">
                  <c:v>16587</c:v>
                </c:pt>
                <c:pt idx="222">
                  <c:v>16617</c:v>
                </c:pt>
                <c:pt idx="223">
                  <c:v>16648</c:v>
                </c:pt>
                <c:pt idx="224">
                  <c:v>16679</c:v>
                </c:pt>
                <c:pt idx="225">
                  <c:v>16709</c:v>
                </c:pt>
                <c:pt idx="226">
                  <c:v>16740</c:v>
                </c:pt>
                <c:pt idx="227">
                  <c:v>16770</c:v>
                </c:pt>
                <c:pt idx="228">
                  <c:v>16801</c:v>
                </c:pt>
                <c:pt idx="229">
                  <c:v>16832</c:v>
                </c:pt>
                <c:pt idx="230">
                  <c:v>16861</c:v>
                </c:pt>
                <c:pt idx="231">
                  <c:v>16892</c:v>
                </c:pt>
                <c:pt idx="232">
                  <c:v>16922</c:v>
                </c:pt>
                <c:pt idx="233">
                  <c:v>16953</c:v>
                </c:pt>
                <c:pt idx="234">
                  <c:v>16983</c:v>
                </c:pt>
                <c:pt idx="235">
                  <c:v>17014</c:v>
                </c:pt>
                <c:pt idx="236">
                  <c:v>17045</c:v>
                </c:pt>
                <c:pt idx="237">
                  <c:v>17075</c:v>
                </c:pt>
                <c:pt idx="238">
                  <c:v>17106</c:v>
                </c:pt>
                <c:pt idx="239">
                  <c:v>17136</c:v>
                </c:pt>
                <c:pt idx="240">
                  <c:v>17167</c:v>
                </c:pt>
                <c:pt idx="241">
                  <c:v>17198</c:v>
                </c:pt>
                <c:pt idx="242">
                  <c:v>17226</c:v>
                </c:pt>
                <c:pt idx="243">
                  <c:v>17257</c:v>
                </c:pt>
                <c:pt idx="244">
                  <c:v>17287</c:v>
                </c:pt>
                <c:pt idx="245">
                  <c:v>17318</c:v>
                </c:pt>
                <c:pt idx="246">
                  <c:v>17348</c:v>
                </c:pt>
                <c:pt idx="247">
                  <c:v>17379</c:v>
                </c:pt>
                <c:pt idx="248">
                  <c:v>17410</c:v>
                </c:pt>
                <c:pt idx="249">
                  <c:v>17440</c:v>
                </c:pt>
                <c:pt idx="250">
                  <c:v>17471</c:v>
                </c:pt>
                <c:pt idx="251">
                  <c:v>17501</c:v>
                </c:pt>
                <c:pt idx="252">
                  <c:v>17532</c:v>
                </c:pt>
                <c:pt idx="253">
                  <c:v>17563</c:v>
                </c:pt>
                <c:pt idx="254">
                  <c:v>17591</c:v>
                </c:pt>
                <c:pt idx="255">
                  <c:v>17622</c:v>
                </c:pt>
                <c:pt idx="256">
                  <c:v>17652</c:v>
                </c:pt>
                <c:pt idx="257">
                  <c:v>17683</c:v>
                </c:pt>
                <c:pt idx="258">
                  <c:v>17713</c:v>
                </c:pt>
                <c:pt idx="259">
                  <c:v>17744</c:v>
                </c:pt>
                <c:pt idx="260">
                  <c:v>17775</c:v>
                </c:pt>
                <c:pt idx="261">
                  <c:v>17805</c:v>
                </c:pt>
                <c:pt idx="262">
                  <c:v>17836</c:v>
                </c:pt>
                <c:pt idx="263">
                  <c:v>17866</c:v>
                </c:pt>
                <c:pt idx="264">
                  <c:v>17897</c:v>
                </c:pt>
                <c:pt idx="265">
                  <c:v>17928</c:v>
                </c:pt>
                <c:pt idx="266">
                  <c:v>17956</c:v>
                </c:pt>
                <c:pt idx="267">
                  <c:v>17987</c:v>
                </c:pt>
                <c:pt idx="268">
                  <c:v>18017</c:v>
                </c:pt>
                <c:pt idx="269">
                  <c:v>18048</c:v>
                </c:pt>
                <c:pt idx="270">
                  <c:v>18078</c:v>
                </c:pt>
                <c:pt idx="271">
                  <c:v>18109</c:v>
                </c:pt>
                <c:pt idx="272">
                  <c:v>18140</c:v>
                </c:pt>
                <c:pt idx="273">
                  <c:v>18170</c:v>
                </c:pt>
                <c:pt idx="274">
                  <c:v>18201</c:v>
                </c:pt>
                <c:pt idx="275">
                  <c:v>18231</c:v>
                </c:pt>
                <c:pt idx="276">
                  <c:v>18262</c:v>
                </c:pt>
                <c:pt idx="277">
                  <c:v>18293</c:v>
                </c:pt>
                <c:pt idx="278">
                  <c:v>18322</c:v>
                </c:pt>
                <c:pt idx="279">
                  <c:v>18353</c:v>
                </c:pt>
                <c:pt idx="280">
                  <c:v>18383</c:v>
                </c:pt>
                <c:pt idx="281">
                  <c:v>18414</c:v>
                </c:pt>
                <c:pt idx="282">
                  <c:v>18444</c:v>
                </c:pt>
                <c:pt idx="283">
                  <c:v>18475</c:v>
                </c:pt>
                <c:pt idx="284">
                  <c:v>18506</c:v>
                </c:pt>
                <c:pt idx="285">
                  <c:v>18536</c:v>
                </c:pt>
                <c:pt idx="286">
                  <c:v>18567</c:v>
                </c:pt>
                <c:pt idx="287">
                  <c:v>18597</c:v>
                </c:pt>
                <c:pt idx="288">
                  <c:v>18628</c:v>
                </c:pt>
                <c:pt idx="289">
                  <c:v>18659</c:v>
                </c:pt>
                <c:pt idx="290">
                  <c:v>18687</c:v>
                </c:pt>
                <c:pt idx="291">
                  <c:v>18718</c:v>
                </c:pt>
                <c:pt idx="292">
                  <c:v>18748</c:v>
                </c:pt>
                <c:pt idx="293">
                  <c:v>18779</c:v>
                </c:pt>
                <c:pt idx="294">
                  <c:v>18809</c:v>
                </c:pt>
                <c:pt idx="295">
                  <c:v>18840</c:v>
                </c:pt>
                <c:pt idx="296">
                  <c:v>18871</c:v>
                </c:pt>
                <c:pt idx="297">
                  <c:v>18901</c:v>
                </c:pt>
                <c:pt idx="298">
                  <c:v>18932</c:v>
                </c:pt>
                <c:pt idx="299">
                  <c:v>18962</c:v>
                </c:pt>
                <c:pt idx="300">
                  <c:v>18993</c:v>
                </c:pt>
                <c:pt idx="301">
                  <c:v>19024</c:v>
                </c:pt>
                <c:pt idx="302">
                  <c:v>19052</c:v>
                </c:pt>
                <c:pt idx="303">
                  <c:v>19083</c:v>
                </c:pt>
                <c:pt idx="304">
                  <c:v>19113</c:v>
                </c:pt>
                <c:pt idx="305">
                  <c:v>19144</c:v>
                </c:pt>
                <c:pt idx="306">
                  <c:v>19174</c:v>
                </c:pt>
                <c:pt idx="307">
                  <c:v>19205</c:v>
                </c:pt>
                <c:pt idx="308">
                  <c:v>19236</c:v>
                </c:pt>
                <c:pt idx="309">
                  <c:v>19266</c:v>
                </c:pt>
                <c:pt idx="310">
                  <c:v>19297</c:v>
                </c:pt>
                <c:pt idx="311">
                  <c:v>19327</c:v>
                </c:pt>
                <c:pt idx="312">
                  <c:v>19358</c:v>
                </c:pt>
                <c:pt idx="313">
                  <c:v>19389</c:v>
                </c:pt>
                <c:pt idx="314">
                  <c:v>19417</c:v>
                </c:pt>
                <c:pt idx="315">
                  <c:v>19448</c:v>
                </c:pt>
                <c:pt idx="316">
                  <c:v>19458</c:v>
                </c:pt>
                <c:pt idx="317">
                  <c:v>19478</c:v>
                </c:pt>
                <c:pt idx="318">
                  <c:v>19509</c:v>
                </c:pt>
                <c:pt idx="319">
                  <c:v>19539</c:v>
                </c:pt>
                <c:pt idx="320">
                  <c:v>19570</c:v>
                </c:pt>
                <c:pt idx="321">
                  <c:v>19601</c:v>
                </c:pt>
                <c:pt idx="322">
                  <c:v>19631</c:v>
                </c:pt>
                <c:pt idx="323">
                  <c:v>19662</c:v>
                </c:pt>
                <c:pt idx="324">
                  <c:v>19692</c:v>
                </c:pt>
                <c:pt idx="325">
                  <c:v>19723</c:v>
                </c:pt>
                <c:pt idx="326">
                  <c:v>19754</c:v>
                </c:pt>
                <c:pt idx="327">
                  <c:v>19783</c:v>
                </c:pt>
                <c:pt idx="328">
                  <c:v>19814</c:v>
                </c:pt>
                <c:pt idx="329">
                  <c:v>19844</c:v>
                </c:pt>
                <c:pt idx="330">
                  <c:v>19875</c:v>
                </c:pt>
                <c:pt idx="331">
                  <c:v>19905</c:v>
                </c:pt>
                <c:pt idx="332">
                  <c:v>19936</c:v>
                </c:pt>
                <c:pt idx="333">
                  <c:v>19967</c:v>
                </c:pt>
                <c:pt idx="334">
                  <c:v>19997</c:v>
                </c:pt>
                <c:pt idx="335">
                  <c:v>20028</c:v>
                </c:pt>
                <c:pt idx="336">
                  <c:v>20058</c:v>
                </c:pt>
                <c:pt idx="337">
                  <c:v>20089</c:v>
                </c:pt>
                <c:pt idx="338">
                  <c:v>20120</c:v>
                </c:pt>
                <c:pt idx="339">
                  <c:v>20148</c:v>
                </c:pt>
                <c:pt idx="340">
                  <c:v>20179</c:v>
                </c:pt>
                <c:pt idx="341">
                  <c:v>20209</c:v>
                </c:pt>
                <c:pt idx="342">
                  <c:v>20240</c:v>
                </c:pt>
                <c:pt idx="343">
                  <c:v>20270</c:v>
                </c:pt>
                <c:pt idx="344">
                  <c:v>20301</c:v>
                </c:pt>
                <c:pt idx="345">
                  <c:v>20332</c:v>
                </c:pt>
                <c:pt idx="346">
                  <c:v>20362</c:v>
                </c:pt>
                <c:pt idx="347">
                  <c:v>20393</c:v>
                </c:pt>
                <c:pt idx="348">
                  <c:v>20423</c:v>
                </c:pt>
                <c:pt idx="349">
                  <c:v>20454</c:v>
                </c:pt>
                <c:pt idx="350">
                  <c:v>20485</c:v>
                </c:pt>
                <c:pt idx="351">
                  <c:v>20513</c:v>
                </c:pt>
                <c:pt idx="352">
                  <c:v>20544</c:v>
                </c:pt>
                <c:pt idx="353">
                  <c:v>20574</c:v>
                </c:pt>
                <c:pt idx="354">
                  <c:v>20605</c:v>
                </c:pt>
                <c:pt idx="355">
                  <c:v>20635</c:v>
                </c:pt>
                <c:pt idx="356">
                  <c:v>20666</c:v>
                </c:pt>
                <c:pt idx="357">
                  <c:v>20697</c:v>
                </c:pt>
                <c:pt idx="358">
                  <c:v>20727</c:v>
                </c:pt>
                <c:pt idx="359">
                  <c:v>20758</c:v>
                </c:pt>
                <c:pt idx="360">
                  <c:v>20788</c:v>
                </c:pt>
                <c:pt idx="361">
                  <c:v>20819</c:v>
                </c:pt>
                <c:pt idx="362">
                  <c:v>20850</c:v>
                </c:pt>
                <c:pt idx="363">
                  <c:v>20878</c:v>
                </c:pt>
                <c:pt idx="364">
                  <c:v>20909</c:v>
                </c:pt>
                <c:pt idx="365">
                  <c:v>20939</c:v>
                </c:pt>
                <c:pt idx="366">
                  <c:v>20970</c:v>
                </c:pt>
                <c:pt idx="367">
                  <c:v>21000</c:v>
                </c:pt>
                <c:pt idx="368">
                  <c:v>21031</c:v>
                </c:pt>
                <c:pt idx="369">
                  <c:v>21062</c:v>
                </c:pt>
                <c:pt idx="370">
                  <c:v>21092</c:v>
                </c:pt>
                <c:pt idx="371">
                  <c:v>21123</c:v>
                </c:pt>
                <c:pt idx="372">
                  <c:v>21153</c:v>
                </c:pt>
                <c:pt idx="373">
                  <c:v>21184</c:v>
                </c:pt>
                <c:pt idx="374">
                  <c:v>21215</c:v>
                </c:pt>
                <c:pt idx="375">
                  <c:v>21244</c:v>
                </c:pt>
              </c:numCache>
            </c:numRef>
          </c:xVal>
          <c:yVal>
            <c:numRef>
              <c:f>Sheet1!$A$4:$NL$4</c:f>
              <c:numCache>
                <c:formatCode>General</c:formatCode>
                <c:ptCount val="376"/>
                <c:pt idx="156">
                  <c:v>19.934129843741687</c:v>
                </c:pt>
                <c:pt idx="157">
                  <c:v>19.934129843741687</c:v>
                </c:pt>
                <c:pt idx="158">
                  <c:v>19.934129843741687</c:v>
                </c:pt>
                <c:pt idx="159">
                  <c:v>19.934129843741687</c:v>
                </c:pt>
                <c:pt idx="160">
                  <c:v>19.934129843741687</c:v>
                </c:pt>
                <c:pt idx="161">
                  <c:v>19.934129843741687</c:v>
                </c:pt>
                <c:pt idx="162">
                  <c:v>19.934129843741687</c:v>
                </c:pt>
                <c:pt idx="163">
                  <c:v>19.934129843741687</c:v>
                </c:pt>
                <c:pt idx="164">
                  <c:v>19.934129843741687</c:v>
                </c:pt>
                <c:pt idx="165">
                  <c:v>19.934129843741687</c:v>
                </c:pt>
                <c:pt idx="166">
                  <c:v>19.934129843741687</c:v>
                </c:pt>
                <c:pt idx="167">
                  <c:v>19.934129843741687</c:v>
                </c:pt>
                <c:pt idx="168">
                  <c:v>19.934129843741687</c:v>
                </c:pt>
                <c:pt idx="169">
                  <c:v>19.934129843741687</c:v>
                </c:pt>
                <c:pt idx="170">
                  <c:v>19.934129843741687</c:v>
                </c:pt>
                <c:pt idx="171">
                  <c:v>19.934129843741687</c:v>
                </c:pt>
                <c:pt idx="172">
                  <c:v>19.934129843741687</c:v>
                </c:pt>
                <c:pt idx="173">
                  <c:v>19.934129843741687</c:v>
                </c:pt>
                <c:pt idx="174">
                  <c:v>19.934129843741687</c:v>
                </c:pt>
                <c:pt idx="175">
                  <c:v>19.934129843741687</c:v>
                </c:pt>
                <c:pt idx="176">
                  <c:v>19.934129843741687</c:v>
                </c:pt>
                <c:pt idx="177">
                  <c:v>19.934129843741687</c:v>
                </c:pt>
                <c:pt idx="178">
                  <c:v>19.934129843741687</c:v>
                </c:pt>
                <c:pt idx="179">
                  <c:v>19.934129843741687</c:v>
                </c:pt>
                <c:pt idx="180">
                  <c:v>19.934129843741687</c:v>
                </c:pt>
                <c:pt idx="181">
                  <c:v>19.934129843741687</c:v>
                </c:pt>
                <c:pt idx="182">
                  <c:v>19.934129843741687</c:v>
                </c:pt>
                <c:pt idx="183">
                  <c:v>19.934129843741687</c:v>
                </c:pt>
                <c:pt idx="184">
                  <c:v>19.934129843741687</c:v>
                </c:pt>
                <c:pt idx="185">
                  <c:v>19.934129843741687</c:v>
                </c:pt>
                <c:pt idx="186">
                  <c:v>19.934129843741687</c:v>
                </c:pt>
                <c:pt idx="187">
                  <c:v>19.934129843741687</c:v>
                </c:pt>
                <c:pt idx="188">
                  <c:v>19.934129843741687</c:v>
                </c:pt>
                <c:pt idx="189">
                  <c:v>19.934129843741687</c:v>
                </c:pt>
                <c:pt idx="190">
                  <c:v>19.934129843741687</c:v>
                </c:pt>
                <c:pt idx="191">
                  <c:v>19.934129843741687</c:v>
                </c:pt>
                <c:pt idx="192">
                  <c:v>19.934129843741687</c:v>
                </c:pt>
                <c:pt idx="193">
                  <c:v>19.934129843741687</c:v>
                </c:pt>
                <c:pt idx="194">
                  <c:v>19.934129843741687</c:v>
                </c:pt>
                <c:pt idx="195">
                  <c:v>19.934129843741687</c:v>
                </c:pt>
                <c:pt idx="196">
                  <c:v>19.934129843741687</c:v>
                </c:pt>
                <c:pt idx="197">
                  <c:v>19.934129843741687</c:v>
                </c:pt>
                <c:pt idx="198">
                  <c:v>19.934129843741687</c:v>
                </c:pt>
                <c:pt idx="199">
                  <c:v>19.934129843741687</c:v>
                </c:pt>
                <c:pt idx="200">
                  <c:v>19.934129843741687</c:v>
                </c:pt>
                <c:pt idx="201">
                  <c:v>19.934129843741687</c:v>
                </c:pt>
                <c:pt idx="202">
                  <c:v>19.934129843741687</c:v>
                </c:pt>
                <c:pt idx="203">
                  <c:v>19.934129843741687</c:v>
                </c:pt>
                <c:pt idx="204">
                  <c:v>19.934129843741687</c:v>
                </c:pt>
                <c:pt idx="205">
                  <c:v>19.934129843741687</c:v>
                </c:pt>
                <c:pt idx="206">
                  <c:v>19.934129843741687</c:v>
                </c:pt>
                <c:pt idx="207">
                  <c:v>19.934129843741687</c:v>
                </c:pt>
                <c:pt idx="208">
                  <c:v>19.934129843741687</c:v>
                </c:pt>
                <c:pt idx="209">
                  <c:v>19.934129843741687</c:v>
                </c:pt>
                <c:pt idx="210">
                  <c:v>19.934129843741687</c:v>
                </c:pt>
                <c:pt idx="211">
                  <c:v>19.934129843741687</c:v>
                </c:pt>
                <c:pt idx="212">
                  <c:v>19.934129843741687</c:v>
                </c:pt>
                <c:pt idx="213">
                  <c:v>19.934129843741687</c:v>
                </c:pt>
                <c:pt idx="214">
                  <c:v>19.934129843741687</c:v>
                </c:pt>
                <c:pt idx="215">
                  <c:v>19.934129843741687</c:v>
                </c:pt>
                <c:pt idx="216">
                  <c:v>19.934129843741687</c:v>
                </c:pt>
                <c:pt idx="217">
                  <c:v>19.934129843741687</c:v>
                </c:pt>
                <c:pt idx="218">
                  <c:v>19.934129843741687</c:v>
                </c:pt>
                <c:pt idx="219">
                  <c:v>19.934129843741687</c:v>
                </c:pt>
                <c:pt idx="220">
                  <c:v>19.934129843741687</c:v>
                </c:pt>
                <c:pt idx="221">
                  <c:v>19.934129843741687</c:v>
                </c:pt>
                <c:pt idx="222">
                  <c:v>19.934129843741687</c:v>
                </c:pt>
                <c:pt idx="223">
                  <c:v>19.934129843741687</c:v>
                </c:pt>
                <c:pt idx="224">
                  <c:v>19.934129843741687</c:v>
                </c:pt>
                <c:pt idx="225">
                  <c:v>19.934129843741687</c:v>
                </c:pt>
                <c:pt idx="226">
                  <c:v>19.934129843741687</c:v>
                </c:pt>
                <c:pt idx="227">
                  <c:v>19.934129843741687</c:v>
                </c:pt>
                <c:pt idx="228">
                  <c:v>19.934129843741687</c:v>
                </c:pt>
                <c:pt idx="229">
                  <c:v>19.934129843741687</c:v>
                </c:pt>
                <c:pt idx="230">
                  <c:v>19.934129843741687</c:v>
                </c:pt>
                <c:pt idx="231">
                  <c:v>19.934129843741687</c:v>
                </c:pt>
                <c:pt idx="232">
                  <c:v>19.934129843741687</c:v>
                </c:pt>
                <c:pt idx="233">
                  <c:v>19.934129843741687</c:v>
                </c:pt>
                <c:pt idx="234">
                  <c:v>19.934129843741687</c:v>
                </c:pt>
                <c:pt idx="235">
                  <c:v>19.934129843741687</c:v>
                </c:pt>
                <c:pt idx="236">
                  <c:v>19.934129843741687</c:v>
                </c:pt>
                <c:pt idx="237">
                  <c:v>19.934129843741687</c:v>
                </c:pt>
                <c:pt idx="238">
                  <c:v>19.934129843741687</c:v>
                </c:pt>
                <c:pt idx="239">
                  <c:v>19.934129843741687</c:v>
                </c:pt>
                <c:pt idx="240">
                  <c:v>19.934129843741687</c:v>
                </c:pt>
                <c:pt idx="241">
                  <c:v>19.934129843741687</c:v>
                </c:pt>
                <c:pt idx="242">
                  <c:v>19.934129843741687</c:v>
                </c:pt>
                <c:pt idx="243">
                  <c:v>19.934129843741687</c:v>
                </c:pt>
                <c:pt idx="244">
                  <c:v>19.934129843741687</c:v>
                </c:pt>
                <c:pt idx="245">
                  <c:v>19.934129843741687</c:v>
                </c:pt>
                <c:pt idx="246">
                  <c:v>19.934129843741687</c:v>
                </c:pt>
                <c:pt idx="247">
                  <c:v>19.934129843741687</c:v>
                </c:pt>
                <c:pt idx="248">
                  <c:v>19.934129843741687</c:v>
                </c:pt>
                <c:pt idx="249">
                  <c:v>19.934129843741687</c:v>
                </c:pt>
                <c:pt idx="250">
                  <c:v>19.934129843741687</c:v>
                </c:pt>
                <c:pt idx="251">
                  <c:v>19.934129843741687</c:v>
                </c:pt>
                <c:pt idx="252">
                  <c:v>19.934129843741687</c:v>
                </c:pt>
                <c:pt idx="253">
                  <c:v>19.934129843741687</c:v>
                </c:pt>
                <c:pt idx="254">
                  <c:v>19.934129843741687</c:v>
                </c:pt>
                <c:pt idx="255">
                  <c:v>19.934129843741687</c:v>
                </c:pt>
                <c:pt idx="256">
                  <c:v>19.934129843741687</c:v>
                </c:pt>
                <c:pt idx="257">
                  <c:v>19.934129843741687</c:v>
                </c:pt>
                <c:pt idx="258">
                  <c:v>19.934129843741687</c:v>
                </c:pt>
                <c:pt idx="259">
                  <c:v>19.934129843741687</c:v>
                </c:pt>
                <c:pt idx="260">
                  <c:v>19.934129843741687</c:v>
                </c:pt>
                <c:pt idx="261">
                  <c:v>19.934129843741687</c:v>
                </c:pt>
                <c:pt idx="262">
                  <c:v>19.934129843741687</c:v>
                </c:pt>
                <c:pt idx="263">
                  <c:v>19.934129843741687</c:v>
                </c:pt>
                <c:pt idx="264">
                  <c:v>19.934129843741687</c:v>
                </c:pt>
                <c:pt idx="265">
                  <c:v>19.934129843741687</c:v>
                </c:pt>
                <c:pt idx="266">
                  <c:v>19.934129843741687</c:v>
                </c:pt>
                <c:pt idx="267">
                  <c:v>19.934129843741687</c:v>
                </c:pt>
                <c:pt idx="268">
                  <c:v>19.934129843741687</c:v>
                </c:pt>
                <c:pt idx="269">
                  <c:v>19.934129843741687</c:v>
                </c:pt>
                <c:pt idx="270">
                  <c:v>19.934129843741687</c:v>
                </c:pt>
                <c:pt idx="271">
                  <c:v>19.934129843741687</c:v>
                </c:pt>
                <c:pt idx="272">
                  <c:v>19.934129843741687</c:v>
                </c:pt>
                <c:pt idx="273">
                  <c:v>19.934129843741687</c:v>
                </c:pt>
                <c:pt idx="274">
                  <c:v>19.934129843741687</c:v>
                </c:pt>
                <c:pt idx="275">
                  <c:v>19.934129843741687</c:v>
                </c:pt>
                <c:pt idx="276">
                  <c:v>19.934129843741687</c:v>
                </c:pt>
                <c:pt idx="277">
                  <c:v>19.934129843741687</c:v>
                </c:pt>
                <c:pt idx="278">
                  <c:v>19.934129843741687</c:v>
                </c:pt>
                <c:pt idx="279">
                  <c:v>19.934129843741687</c:v>
                </c:pt>
                <c:pt idx="280">
                  <c:v>19.934129843741687</c:v>
                </c:pt>
                <c:pt idx="281">
                  <c:v>19.934129843741687</c:v>
                </c:pt>
                <c:pt idx="282">
                  <c:v>19.934129843741687</c:v>
                </c:pt>
                <c:pt idx="283">
                  <c:v>19.934129843741687</c:v>
                </c:pt>
                <c:pt idx="284">
                  <c:v>19.934129843741687</c:v>
                </c:pt>
                <c:pt idx="285">
                  <c:v>19.934129843741687</c:v>
                </c:pt>
                <c:pt idx="286">
                  <c:v>19.934129843741687</c:v>
                </c:pt>
                <c:pt idx="287">
                  <c:v>19.934129843741687</c:v>
                </c:pt>
              </c:numCache>
            </c:numRef>
          </c:yVal>
          <c:smooth val="0"/>
          <c:extLst>
            <c:ext xmlns:c16="http://schemas.microsoft.com/office/drawing/2014/chart" uri="{C3380CC4-5D6E-409C-BE32-E72D297353CC}">
              <c16:uniqueId val="{00000002-8087-4B53-B89D-FC4B66629CCE}"/>
            </c:ext>
          </c:extLst>
        </c:ser>
        <c:ser>
          <c:idx val="3"/>
          <c:order val="3"/>
          <c:spPr>
            <a:ln w="9525" algn="ctr">
              <a:solidFill>
                <a:schemeClr val="accent4"/>
              </a:solidFill>
              <a:prstDash val="lgDash"/>
            </a:ln>
          </c:spPr>
          <c:marker>
            <c:symbol val="none"/>
          </c:marker>
          <c:xVal>
            <c:numRef>
              <c:f>Sheet1!$A$1:$NL$1</c:f>
              <c:numCache>
                <c:formatCode>General</c:formatCode>
                <c:ptCount val="376"/>
                <c:pt idx="0">
                  <c:v>9862</c:v>
                </c:pt>
                <c:pt idx="1">
                  <c:v>9893</c:v>
                </c:pt>
                <c:pt idx="2">
                  <c:v>9921</c:v>
                </c:pt>
                <c:pt idx="3">
                  <c:v>9952</c:v>
                </c:pt>
                <c:pt idx="4">
                  <c:v>9982</c:v>
                </c:pt>
                <c:pt idx="5">
                  <c:v>10013</c:v>
                </c:pt>
                <c:pt idx="6">
                  <c:v>10043</c:v>
                </c:pt>
                <c:pt idx="7">
                  <c:v>10074</c:v>
                </c:pt>
                <c:pt idx="8">
                  <c:v>10105</c:v>
                </c:pt>
                <c:pt idx="9">
                  <c:v>10135</c:v>
                </c:pt>
                <c:pt idx="10">
                  <c:v>10166</c:v>
                </c:pt>
                <c:pt idx="11">
                  <c:v>10196</c:v>
                </c:pt>
                <c:pt idx="12">
                  <c:v>10227</c:v>
                </c:pt>
                <c:pt idx="13">
                  <c:v>10258</c:v>
                </c:pt>
                <c:pt idx="14">
                  <c:v>10286</c:v>
                </c:pt>
                <c:pt idx="15">
                  <c:v>10317</c:v>
                </c:pt>
                <c:pt idx="16">
                  <c:v>10347</c:v>
                </c:pt>
                <c:pt idx="17">
                  <c:v>10378</c:v>
                </c:pt>
                <c:pt idx="18">
                  <c:v>10408</c:v>
                </c:pt>
                <c:pt idx="19">
                  <c:v>10439</c:v>
                </c:pt>
                <c:pt idx="20">
                  <c:v>10470</c:v>
                </c:pt>
                <c:pt idx="21">
                  <c:v>10500</c:v>
                </c:pt>
                <c:pt idx="22">
                  <c:v>10531</c:v>
                </c:pt>
                <c:pt idx="23">
                  <c:v>10561</c:v>
                </c:pt>
                <c:pt idx="24">
                  <c:v>10592</c:v>
                </c:pt>
                <c:pt idx="25">
                  <c:v>10623</c:v>
                </c:pt>
                <c:pt idx="26">
                  <c:v>10651</c:v>
                </c:pt>
                <c:pt idx="27">
                  <c:v>10682</c:v>
                </c:pt>
                <c:pt idx="28">
                  <c:v>10712</c:v>
                </c:pt>
                <c:pt idx="29">
                  <c:v>10743</c:v>
                </c:pt>
                <c:pt idx="30">
                  <c:v>10773</c:v>
                </c:pt>
                <c:pt idx="31">
                  <c:v>10804</c:v>
                </c:pt>
                <c:pt idx="32">
                  <c:v>10835</c:v>
                </c:pt>
                <c:pt idx="33">
                  <c:v>10865</c:v>
                </c:pt>
                <c:pt idx="34">
                  <c:v>10896</c:v>
                </c:pt>
                <c:pt idx="35">
                  <c:v>10926</c:v>
                </c:pt>
                <c:pt idx="36">
                  <c:v>10957</c:v>
                </c:pt>
                <c:pt idx="37">
                  <c:v>10988</c:v>
                </c:pt>
                <c:pt idx="38">
                  <c:v>11017</c:v>
                </c:pt>
                <c:pt idx="39">
                  <c:v>11048</c:v>
                </c:pt>
                <c:pt idx="40">
                  <c:v>11078</c:v>
                </c:pt>
                <c:pt idx="41">
                  <c:v>11109</c:v>
                </c:pt>
                <c:pt idx="42">
                  <c:v>11139</c:v>
                </c:pt>
                <c:pt idx="43">
                  <c:v>11170</c:v>
                </c:pt>
                <c:pt idx="44">
                  <c:v>11201</c:v>
                </c:pt>
                <c:pt idx="45">
                  <c:v>11231</c:v>
                </c:pt>
                <c:pt idx="46">
                  <c:v>11262</c:v>
                </c:pt>
                <c:pt idx="47">
                  <c:v>11292</c:v>
                </c:pt>
                <c:pt idx="48">
                  <c:v>11323</c:v>
                </c:pt>
                <c:pt idx="49">
                  <c:v>11354</c:v>
                </c:pt>
                <c:pt idx="50">
                  <c:v>11382</c:v>
                </c:pt>
                <c:pt idx="51">
                  <c:v>11413</c:v>
                </c:pt>
                <c:pt idx="52">
                  <c:v>11443</c:v>
                </c:pt>
                <c:pt idx="53">
                  <c:v>11474</c:v>
                </c:pt>
                <c:pt idx="54">
                  <c:v>11504</c:v>
                </c:pt>
                <c:pt idx="55">
                  <c:v>11535</c:v>
                </c:pt>
                <c:pt idx="56">
                  <c:v>11566</c:v>
                </c:pt>
                <c:pt idx="57">
                  <c:v>11596</c:v>
                </c:pt>
                <c:pt idx="58">
                  <c:v>11627</c:v>
                </c:pt>
                <c:pt idx="59">
                  <c:v>11657</c:v>
                </c:pt>
                <c:pt idx="60">
                  <c:v>11688</c:v>
                </c:pt>
                <c:pt idx="61">
                  <c:v>11719</c:v>
                </c:pt>
                <c:pt idx="62">
                  <c:v>11747</c:v>
                </c:pt>
                <c:pt idx="63">
                  <c:v>11778</c:v>
                </c:pt>
                <c:pt idx="64">
                  <c:v>11808</c:v>
                </c:pt>
                <c:pt idx="65">
                  <c:v>11839</c:v>
                </c:pt>
                <c:pt idx="66">
                  <c:v>11869</c:v>
                </c:pt>
                <c:pt idx="67">
                  <c:v>11900</c:v>
                </c:pt>
                <c:pt idx="68">
                  <c:v>11931</c:v>
                </c:pt>
                <c:pt idx="69">
                  <c:v>11961</c:v>
                </c:pt>
                <c:pt idx="70">
                  <c:v>11992</c:v>
                </c:pt>
                <c:pt idx="71">
                  <c:v>12022</c:v>
                </c:pt>
                <c:pt idx="72">
                  <c:v>12053</c:v>
                </c:pt>
                <c:pt idx="73">
                  <c:v>12084</c:v>
                </c:pt>
                <c:pt idx="74">
                  <c:v>12112</c:v>
                </c:pt>
                <c:pt idx="75">
                  <c:v>12143</c:v>
                </c:pt>
                <c:pt idx="76">
                  <c:v>12173</c:v>
                </c:pt>
                <c:pt idx="77">
                  <c:v>12204</c:v>
                </c:pt>
                <c:pt idx="78">
                  <c:v>12234</c:v>
                </c:pt>
                <c:pt idx="79">
                  <c:v>12265</c:v>
                </c:pt>
                <c:pt idx="80">
                  <c:v>12296</c:v>
                </c:pt>
                <c:pt idx="81">
                  <c:v>12326</c:v>
                </c:pt>
                <c:pt idx="82">
                  <c:v>12357</c:v>
                </c:pt>
                <c:pt idx="83">
                  <c:v>12387</c:v>
                </c:pt>
                <c:pt idx="84">
                  <c:v>12418</c:v>
                </c:pt>
                <c:pt idx="85">
                  <c:v>12449</c:v>
                </c:pt>
                <c:pt idx="86">
                  <c:v>12478</c:v>
                </c:pt>
                <c:pt idx="87">
                  <c:v>12509</c:v>
                </c:pt>
                <c:pt idx="88">
                  <c:v>12539</c:v>
                </c:pt>
                <c:pt idx="89">
                  <c:v>12570</c:v>
                </c:pt>
                <c:pt idx="90">
                  <c:v>12600</c:v>
                </c:pt>
                <c:pt idx="91">
                  <c:v>12631</c:v>
                </c:pt>
                <c:pt idx="92">
                  <c:v>12662</c:v>
                </c:pt>
                <c:pt idx="93">
                  <c:v>12692</c:v>
                </c:pt>
                <c:pt idx="94">
                  <c:v>12723</c:v>
                </c:pt>
                <c:pt idx="95">
                  <c:v>12753</c:v>
                </c:pt>
                <c:pt idx="96">
                  <c:v>12784</c:v>
                </c:pt>
                <c:pt idx="97">
                  <c:v>12815</c:v>
                </c:pt>
                <c:pt idx="98">
                  <c:v>12843</c:v>
                </c:pt>
                <c:pt idx="99">
                  <c:v>12874</c:v>
                </c:pt>
                <c:pt idx="100">
                  <c:v>12904</c:v>
                </c:pt>
                <c:pt idx="101">
                  <c:v>12935</c:v>
                </c:pt>
                <c:pt idx="102">
                  <c:v>12965</c:v>
                </c:pt>
                <c:pt idx="103">
                  <c:v>12996</c:v>
                </c:pt>
                <c:pt idx="104">
                  <c:v>13027</c:v>
                </c:pt>
                <c:pt idx="105">
                  <c:v>13057</c:v>
                </c:pt>
                <c:pt idx="106">
                  <c:v>13088</c:v>
                </c:pt>
                <c:pt idx="107">
                  <c:v>13118</c:v>
                </c:pt>
                <c:pt idx="108">
                  <c:v>13149</c:v>
                </c:pt>
                <c:pt idx="109">
                  <c:v>13180</c:v>
                </c:pt>
                <c:pt idx="110">
                  <c:v>13208</c:v>
                </c:pt>
                <c:pt idx="111">
                  <c:v>13239</c:v>
                </c:pt>
                <c:pt idx="112">
                  <c:v>13269</c:v>
                </c:pt>
                <c:pt idx="113">
                  <c:v>13300</c:v>
                </c:pt>
                <c:pt idx="114">
                  <c:v>13330</c:v>
                </c:pt>
                <c:pt idx="115">
                  <c:v>13361</c:v>
                </c:pt>
                <c:pt idx="116">
                  <c:v>13392</c:v>
                </c:pt>
                <c:pt idx="117">
                  <c:v>13422</c:v>
                </c:pt>
                <c:pt idx="118">
                  <c:v>13453</c:v>
                </c:pt>
                <c:pt idx="119">
                  <c:v>13483</c:v>
                </c:pt>
                <c:pt idx="120">
                  <c:v>13514</c:v>
                </c:pt>
                <c:pt idx="121">
                  <c:v>13545</c:v>
                </c:pt>
                <c:pt idx="122">
                  <c:v>13573</c:v>
                </c:pt>
                <c:pt idx="123">
                  <c:v>13604</c:v>
                </c:pt>
                <c:pt idx="124">
                  <c:v>13634</c:v>
                </c:pt>
                <c:pt idx="125">
                  <c:v>13665</c:v>
                </c:pt>
                <c:pt idx="126">
                  <c:v>13695</c:v>
                </c:pt>
                <c:pt idx="127">
                  <c:v>13726</c:v>
                </c:pt>
                <c:pt idx="128">
                  <c:v>13757</c:v>
                </c:pt>
                <c:pt idx="129">
                  <c:v>13787</c:v>
                </c:pt>
                <c:pt idx="130">
                  <c:v>13818</c:v>
                </c:pt>
                <c:pt idx="131">
                  <c:v>13848</c:v>
                </c:pt>
                <c:pt idx="132">
                  <c:v>13879</c:v>
                </c:pt>
                <c:pt idx="133">
                  <c:v>13910</c:v>
                </c:pt>
                <c:pt idx="134">
                  <c:v>13939</c:v>
                </c:pt>
                <c:pt idx="135">
                  <c:v>13970</c:v>
                </c:pt>
                <c:pt idx="136">
                  <c:v>14000</c:v>
                </c:pt>
                <c:pt idx="137">
                  <c:v>14031</c:v>
                </c:pt>
                <c:pt idx="138">
                  <c:v>14061</c:v>
                </c:pt>
                <c:pt idx="139">
                  <c:v>14092</c:v>
                </c:pt>
                <c:pt idx="140">
                  <c:v>14123</c:v>
                </c:pt>
                <c:pt idx="141">
                  <c:v>14153</c:v>
                </c:pt>
                <c:pt idx="142">
                  <c:v>14184</c:v>
                </c:pt>
                <c:pt idx="143">
                  <c:v>14214</c:v>
                </c:pt>
                <c:pt idx="144">
                  <c:v>14245</c:v>
                </c:pt>
                <c:pt idx="145">
                  <c:v>14276</c:v>
                </c:pt>
                <c:pt idx="146">
                  <c:v>14304</c:v>
                </c:pt>
                <c:pt idx="147">
                  <c:v>14335</c:v>
                </c:pt>
                <c:pt idx="148">
                  <c:v>14365</c:v>
                </c:pt>
                <c:pt idx="149">
                  <c:v>14396</c:v>
                </c:pt>
                <c:pt idx="150">
                  <c:v>14426</c:v>
                </c:pt>
                <c:pt idx="151">
                  <c:v>14457</c:v>
                </c:pt>
                <c:pt idx="152">
                  <c:v>14488</c:v>
                </c:pt>
                <c:pt idx="153">
                  <c:v>14518</c:v>
                </c:pt>
                <c:pt idx="154">
                  <c:v>14549</c:v>
                </c:pt>
                <c:pt idx="155">
                  <c:v>14579</c:v>
                </c:pt>
                <c:pt idx="156">
                  <c:v>14610</c:v>
                </c:pt>
                <c:pt idx="157">
                  <c:v>14641</c:v>
                </c:pt>
                <c:pt idx="158">
                  <c:v>14669</c:v>
                </c:pt>
                <c:pt idx="159">
                  <c:v>14700</c:v>
                </c:pt>
                <c:pt idx="160">
                  <c:v>14730</c:v>
                </c:pt>
                <c:pt idx="161">
                  <c:v>14761</c:v>
                </c:pt>
                <c:pt idx="162">
                  <c:v>14791</c:v>
                </c:pt>
                <c:pt idx="163">
                  <c:v>14822</c:v>
                </c:pt>
                <c:pt idx="164">
                  <c:v>14853</c:v>
                </c:pt>
                <c:pt idx="165">
                  <c:v>14883</c:v>
                </c:pt>
                <c:pt idx="166">
                  <c:v>14914</c:v>
                </c:pt>
                <c:pt idx="167">
                  <c:v>14944</c:v>
                </c:pt>
                <c:pt idx="168">
                  <c:v>14975</c:v>
                </c:pt>
                <c:pt idx="169">
                  <c:v>15006</c:v>
                </c:pt>
                <c:pt idx="170">
                  <c:v>15034</c:v>
                </c:pt>
                <c:pt idx="171">
                  <c:v>15065</c:v>
                </c:pt>
                <c:pt idx="172">
                  <c:v>15095</c:v>
                </c:pt>
                <c:pt idx="173">
                  <c:v>15126</c:v>
                </c:pt>
                <c:pt idx="174">
                  <c:v>15156</c:v>
                </c:pt>
                <c:pt idx="175">
                  <c:v>15187</c:v>
                </c:pt>
                <c:pt idx="176">
                  <c:v>15218</c:v>
                </c:pt>
                <c:pt idx="177">
                  <c:v>15248</c:v>
                </c:pt>
                <c:pt idx="178">
                  <c:v>15279</c:v>
                </c:pt>
                <c:pt idx="179">
                  <c:v>15309</c:v>
                </c:pt>
                <c:pt idx="180">
                  <c:v>15340</c:v>
                </c:pt>
                <c:pt idx="181">
                  <c:v>15371</c:v>
                </c:pt>
                <c:pt idx="182">
                  <c:v>15400</c:v>
                </c:pt>
                <c:pt idx="183">
                  <c:v>15431</c:v>
                </c:pt>
                <c:pt idx="184">
                  <c:v>15461</c:v>
                </c:pt>
                <c:pt idx="185">
                  <c:v>15492</c:v>
                </c:pt>
                <c:pt idx="186">
                  <c:v>15522</c:v>
                </c:pt>
                <c:pt idx="187">
                  <c:v>15553</c:v>
                </c:pt>
                <c:pt idx="188">
                  <c:v>15584</c:v>
                </c:pt>
                <c:pt idx="189">
                  <c:v>15614</c:v>
                </c:pt>
                <c:pt idx="190">
                  <c:v>15645</c:v>
                </c:pt>
                <c:pt idx="191">
                  <c:v>15675</c:v>
                </c:pt>
                <c:pt idx="192">
                  <c:v>15706</c:v>
                </c:pt>
                <c:pt idx="193">
                  <c:v>15737</c:v>
                </c:pt>
                <c:pt idx="194">
                  <c:v>15765</c:v>
                </c:pt>
                <c:pt idx="195">
                  <c:v>15796</c:v>
                </c:pt>
                <c:pt idx="196">
                  <c:v>15826</c:v>
                </c:pt>
                <c:pt idx="197">
                  <c:v>15857</c:v>
                </c:pt>
                <c:pt idx="198">
                  <c:v>15887</c:v>
                </c:pt>
                <c:pt idx="199">
                  <c:v>15918</c:v>
                </c:pt>
                <c:pt idx="200">
                  <c:v>15949</c:v>
                </c:pt>
                <c:pt idx="201">
                  <c:v>15979</c:v>
                </c:pt>
                <c:pt idx="202">
                  <c:v>16010</c:v>
                </c:pt>
                <c:pt idx="203">
                  <c:v>16040</c:v>
                </c:pt>
                <c:pt idx="204">
                  <c:v>16071</c:v>
                </c:pt>
                <c:pt idx="205">
                  <c:v>16102</c:v>
                </c:pt>
                <c:pt idx="206">
                  <c:v>16130</c:v>
                </c:pt>
                <c:pt idx="207">
                  <c:v>16161</c:v>
                </c:pt>
                <c:pt idx="208">
                  <c:v>16191</c:v>
                </c:pt>
                <c:pt idx="209">
                  <c:v>16222</c:v>
                </c:pt>
                <c:pt idx="210">
                  <c:v>16252</c:v>
                </c:pt>
                <c:pt idx="211">
                  <c:v>16283</c:v>
                </c:pt>
                <c:pt idx="212">
                  <c:v>16314</c:v>
                </c:pt>
                <c:pt idx="213">
                  <c:v>16344</c:v>
                </c:pt>
                <c:pt idx="214">
                  <c:v>16375</c:v>
                </c:pt>
                <c:pt idx="215">
                  <c:v>16405</c:v>
                </c:pt>
                <c:pt idx="216">
                  <c:v>16436</c:v>
                </c:pt>
                <c:pt idx="217">
                  <c:v>16467</c:v>
                </c:pt>
                <c:pt idx="218">
                  <c:v>16495</c:v>
                </c:pt>
                <c:pt idx="219">
                  <c:v>16526</c:v>
                </c:pt>
                <c:pt idx="220">
                  <c:v>16556</c:v>
                </c:pt>
                <c:pt idx="221">
                  <c:v>16587</c:v>
                </c:pt>
                <c:pt idx="222">
                  <c:v>16617</c:v>
                </c:pt>
                <c:pt idx="223">
                  <c:v>16648</c:v>
                </c:pt>
                <c:pt idx="224">
                  <c:v>16679</c:v>
                </c:pt>
                <c:pt idx="225">
                  <c:v>16709</c:v>
                </c:pt>
                <c:pt idx="226">
                  <c:v>16740</c:v>
                </c:pt>
                <c:pt idx="227">
                  <c:v>16770</c:v>
                </c:pt>
                <c:pt idx="228">
                  <c:v>16801</c:v>
                </c:pt>
                <c:pt idx="229">
                  <c:v>16832</c:v>
                </c:pt>
                <c:pt idx="230">
                  <c:v>16861</c:v>
                </c:pt>
                <c:pt idx="231">
                  <c:v>16892</c:v>
                </c:pt>
                <c:pt idx="232">
                  <c:v>16922</c:v>
                </c:pt>
                <c:pt idx="233">
                  <c:v>16953</c:v>
                </c:pt>
                <c:pt idx="234">
                  <c:v>16983</c:v>
                </c:pt>
                <c:pt idx="235">
                  <c:v>17014</c:v>
                </c:pt>
                <c:pt idx="236">
                  <c:v>17045</c:v>
                </c:pt>
                <c:pt idx="237">
                  <c:v>17075</c:v>
                </c:pt>
                <c:pt idx="238">
                  <c:v>17106</c:v>
                </c:pt>
                <c:pt idx="239">
                  <c:v>17136</c:v>
                </c:pt>
                <c:pt idx="240">
                  <c:v>17167</c:v>
                </c:pt>
                <c:pt idx="241">
                  <c:v>17198</c:v>
                </c:pt>
                <c:pt idx="242">
                  <c:v>17226</c:v>
                </c:pt>
                <c:pt idx="243">
                  <c:v>17257</c:v>
                </c:pt>
                <c:pt idx="244">
                  <c:v>17287</c:v>
                </c:pt>
                <c:pt idx="245">
                  <c:v>17318</c:v>
                </c:pt>
                <c:pt idx="246">
                  <c:v>17348</c:v>
                </c:pt>
                <c:pt idx="247">
                  <c:v>17379</c:v>
                </c:pt>
                <c:pt idx="248">
                  <c:v>17410</c:v>
                </c:pt>
                <c:pt idx="249">
                  <c:v>17440</c:v>
                </c:pt>
                <c:pt idx="250">
                  <c:v>17471</c:v>
                </c:pt>
                <c:pt idx="251">
                  <c:v>17501</c:v>
                </c:pt>
                <c:pt idx="252">
                  <c:v>17532</c:v>
                </c:pt>
                <c:pt idx="253">
                  <c:v>17563</c:v>
                </c:pt>
                <c:pt idx="254">
                  <c:v>17591</c:v>
                </c:pt>
                <c:pt idx="255">
                  <c:v>17622</c:v>
                </c:pt>
                <c:pt idx="256">
                  <c:v>17652</c:v>
                </c:pt>
                <c:pt idx="257">
                  <c:v>17683</c:v>
                </c:pt>
                <c:pt idx="258">
                  <c:v>17713</c:v>
                </c:pt>
                <c:pt idx="259">
                  <c:v>17744</c:v>
                </c:pt>
                <c:pt idx="260">
                  <c:v>17775</c:v>
                </c:pt>
                <c:pt idx="261">
                  <c:v>17805</c:v>
                </c:pt>
                <c:pt idx="262">
                  <c:v>17836</c:v>
                </c:pt>
                <c:pt idx="263">
                  <c:v>17866</c:v>
                </c:pt>
                <c:pt idx="264">
                  <c:v>17897</c:v>
                </c:pt>
                <c:pt idx="265">
                  <c:v>17928</c:v>
                </c:pt>
                <c:pt idx="266">
                  <c:v>17956</c:v>
                </c:pt>
                <c:pt idx="267">
                  <c:v>17987</c:v>
                </c:pt>
                <c:pt idx="268">
                  <c:v>18017</c:v>
                </c:pt>
                <c:pt idx="269">
                  <c:v>18048</c:v>
                </c:pt>
                <c:pt idx="270">
                  <c:v>18078</c:v>
                </c:pt>
                <c:pt idx="271">
                  <c:v>18109</c:v>
                </c:pt>
                <c:pt idx="272">
                  <c:v>18140</c:v>
                </c:pt>
                <c:pt idx="273">
                  <c:v>18170</c:v>
                </c:pt>
                <c:pt idx="274">
                  <c:v>18201</c:v>
                </c:pt>
                <c:pt idx="275">
                  <c:v>18231</c:v>
                </c:pt>
                <c:pt idx="276">
                  <c:v>18262</c:v>
                </c:pt>
                <c:pt idx="277">
                  <c:v>18293</c:v>
                </c:pt>
                <c:pt idx="278">
                  <c:v>18322</c:v>
                </c:pt>
                <c:pt idx="279">
                  <c:v>18353</c:v>
                </c:pt>
                <c:pt idx="280">
                  <c:v>18383</c:v>
                </c:pt>
                <c:pt idx="281">
                  <c:v>18414</c:v>
                </c:pt>
                <c:pt idx="282">
                  <c:v>18444</c:v>
                </c:pt>
                <c:pt idx="283">
                  <c:v>18475</c:v>
                </c:pt>
                <c:pt idx="284">
                  <c:v>18506</c:v>
                </c:pt>
                <c:pt idx="285">
                  <c:v>18536</c:v>
                </c:pt>
                <c:pt idx="286">
                  <c:v>18567</c:v>
                </c:pt>
                <c:pt idx="287">
                  <c:v>18597</c:v>
                </c:pt>
                <c:pt idx="288">
                  <c:v>18628</c:v>
                </c:pt>
                <c:pt idx="289">
                  <c:v>18659</c:v>
                </c:pt>
                <c:pt idx="290">
                  <c:v>18687</c:v>
                </c:pt>
                <c:pt idx="291">
                  <c:v>18718</c:v>
                </c:pt>
                <c:pt idx="292">
                  <c:v>18748</c:v>
                </c:pt>
                <c:pt idx="293">
                  <c:v>18779</c:v>
                </c:pt>
                <c:pt idx="294">
                  <c:v>18809</c:v>
                </c:pt>
                <c:pt idx="295">
                  <c:v>18840</c:v>
                </c:pt>
                <c:pt idx="296">
                  <c:v>18871</c:v>
                </c:pt>
                <c:pt idx="297">
                  <c:v>18901</c:v>
                </c:pt>
                <c:pt idx="298">
                  <c:v>18932</c:v>
                </c:pt>
                <c:pt idx="299">
                  <c:v>18962</c:v>
                </c:pt>
                <c:pt idx="300">
                  <c:v>18993</c:v>
                </c:pt>
                <c:pt idx="301">
                  <c:v>19024</c:v>
                </c:pt>
                <c:pt idx="302">
                  <c:v>19052</c:v>
                </c:pt>
                <c:pt idx="303">
                  <c:v>19083</c:v>
                </c:pt>
                <c:pt idx="304">
                  <c:v>19113</c:v>
                </c:pt>
                <c:pt idx="305">
                  <c:v>19144</c:v>
                </c:pt>
                <c:pt idx="306">
                  <c:v>19174</c:v>
                </c:pt>
                <c:pt idx="307">
                  <c:v>19205</c:v>
                </c:pt>
                <c:pt idx="308">
                  <c:v>19236</c:v>
                </c:pt>
                <c:pt idx="309">
                  <c:v>19266</c:v>
                </c:pt>
                <c:pt idx="310">
                  <c:v>19297</c:v>
                </c:pt>
                <c:pt idx="311">
                  <c:v>19327</c:v>
                </c:pt>
                <c:pt idx="312">
                  <c:v>19358</c:v>
                </c:pt>
                <c:pt idx="313">
                  <c:v>19389</c:v>
                </c:pt>
                <c:pt idx="314">
                  <c:v>19417</c:v>
                </c:pt>
                <c:pt idx="315">
                  <c:v>19448</c:v>
                </c:pt>
                <c:pt idx="316">
                  <c:v>19458</c:v>
                </c:pt>
                <c:pt idx="317">
                  <c:v>19478</c:v>
                </c:pt>
                <c:pt idx="318">
                  <c:v>19509</c:v>
                </c:pt>
                <c:pt idx="319">
                  <c:v>19539</c:v>
                </c:pt>
                <c:pt idx="320">
                  <c:v>19570</c:v>
                </c:pt>
                <c:pt idx="321">
                  <c:v>19601</c:v>
                </c:pt>
                <c:pt idx="322">
                  <c:v>19631</c:v>
                </c:pt>
                <c:pt idx="323">
                  <c:v>19662</c:v>
                </c:pt>
                <c:pt idx="324">
                  <c:v>19692</c:v>
                </c:pt>
                <c:pt idx="325">
                  <c:v>19723</c:v>
                </c:pt>
                <c:pt idx="326">
                  <c:v>19754</c:v>
                </c:pt>
                <c:pt idx="327">
                  <c:v>19783</c:v>
                </c:pt>
                <c:pt idx="328">
                  <c:v>19814</c:v>
                </c:pt>
                <c:pt idx="329">
                  <c:v>19844</c:v>
                </c:pt>
                <c:pt idx="330">
                  <c:v>19875</c:v>
                </c:pt>
                <c:pt idx="331">
                  <c:v>19905</c:v>
                </c:pt>
                <c:pt idx="332">
                  <c:v>19936</c:v>
                </c:pt>
                <c:pt idx="333">
                  <c:v>19967</c:v>
                </c:pt>
                <c:pt idx="334">
                  <c:v>19997</c:v>
                </c:pt>
                <c:pt idx="335">
                  <c:v>20028</c:v>
                </c:pt>
                <c:pt idx="336">
                  <c:v>20058</c:v>
                </c:pt>
                <c:pt idx="337">
                  <c:v>20089</c:v>
                </c:pt>
                <c:pt idx="338">
                  <c:v>20120</c:v>
                </c:pt>
                <c:pt idx="339">
                  <c:v>20148</c:v>
                </c:pt>
                <c:pt idx="340">
                  <c:v>20179</c:v>
                </c:pt>
                <c:pt idx="341">
                  <c:v>20209</c:v>
                </c:pt>
                <c:pt idx="342">
                  <c:v>20240</c:v>
                </c:pt>
                <c:pt idx="343">
                  <c:v>20270</c:v>
                </c:pt>
                <c:pt idx="344">
                  <c:v>20301</c:v>
                </c:pt>
                <c:pt idx="345">
                  <c:v>20332</c:v>
                </c:pt>
                <c:pt idx="346">
                  <c:v>20362</c:v>
                </c:pt>
                <c:pt idx="347">
                  <c:v>20393</c:v>
                </c:pt>
                <c:pt idx="348">
                  <c:v>20423</c:v>
                </c:pt>
                <c:pt idx="349">
                  <c:v>20454</c:v>
                </c:pt>
                <c:pt idx="350">
                  <c:v>20485</c:v>
                </c:pt>
                <c:pt idx="351">
                  <c:v>20513</c:v>
                </c:pt>
                <c:pt idx="352">
                  <c:v>20544</c:v>
                </c:pt>
                <c:pt idx="353">
                  <c:v>20574</c:v>
                </c:pt>
                <c:pt idx="354">
                  <c:v>20605</c:v>
                </c:pt>
                <c:pt idx="355">
                  <c:v>20635</c:v>
                </c:pt>
                <c:pt idx="356">
                  <c:v>20666</c:v>
                </c:pt>
                <c:pt idx="357">
                  <c:v>20697</c:v>
                </c:pt>
                <c:pt idx="358">
                  <c:v>20727</c:v>
                </c:pt>
                <c:pt idx="359">
                  <c:v>20758</c:v>
                </c:pt>
                <c:pt idx="360">
                  <c:v>20788</c:v>
                </c:pt>
                <c:pt idx="361">
                  <c:v>20819</c:v>
                </c:pt>
                <c:pt idx="362">
                  <c:v>20850</c:v>
                </c:pt>
                <c:pt idx="363">
                  <c:v>20878</c:v>
                </c:pt>
                <c:pt idx="364">
                  <c:v>20909</c:v>
                </c:pt>
                <c:pt idx="365">
                  <c:v>20939</c:v>
                </c:pt>
                <c:pt idx="366">
                  <c:v>20970</c:v>
                </c:pt>
                <c:pt idx="367">
                  <c:v>21000</c:v>
                </c:pt>
                <c:pt idx="368">
                  <c:v>21031</c:v>
                </c:pt>
                <c:pt idx="369">
                  <c:v>21062</c:v>
                </c:pt>
                <c:pt idx="370">
                  <c:v>21092</c:v>
                </c:pt>
                <c:pt idx="371">
                  <c:v>21123</c:v>
                </c:pt>
                <c:pt idx="372">
                  <c:v>21153</c:v>
                </c:pt>
                <c:pt idx="373">
                  <c:v>21184</c:v>
                </c:pt>
                <c:pt idx="374">
                  <c:v>21215</c:v>
                </c:pt>
                <c:pt idx="375">
                  <c:v>21244</c:v>
                </c:pt>
              </c:numCache>
            </c:numRef>
          </c:xVal>
          <c:yVal>
            <c:numRef>
              <c:f>Sheet1!$A$5:$NL$5</c:f>
              <c:numCache>
                <c:formatCode>General</c:formatCode>
                <c:ptCount val="376"/>
                <c:pt idx="156">
                  <c:v>8.8356184840357734</c:v>
                </c:pt>
                <c:pt idx="157">
                  <c:v>8.8356184840357734</c:v>
                </c:pt>
                <c:pt idx="158">
                  <c:v>8.8356184840357734</c:v>
                </c:pt>
                <c:pt idx="159">
                  <c:v>8.8356184840357734</c:v>
                </c:pt>
                <c:pt idx="160">
                  <c:v>8.8356184840357734</c:v>
                </c:pt>
                <c:pt idx="161">
                  <c:v>8.8356184840357734</c:v>
                </c:pt>
                <c:pt idx="162">
                  <c:v>8.8356184840357734</c:v>
                </c:pt>
                <c:pt idx="163">
                  <c:v>8.8356184840357734</c:v>
                </c:pt>
                <c:pt idx="164">
                  <c:v>8.8356184840357734</c:v>
                </c:pt>
                <c:pt idx="165">
                  <c:v>8.8356184840357734</c:v>
                </c:pt>
                <c:pt idx="166">
                  <c:v>8.8356184840357734</c:v>
                </c:pt>
                <c:pt idx="167">
                  <c:v>8.8356184840357734</c:v>
                </c:pt>
                <c:pt idx="168">
                  <c:v>8.8356184840357734</c:v>
                </c:pt>
                <c:pt idx="169">
                  <c:v>8.8356184840357734</c:v>
                </c:pt>
                <c:pt idx="170">
                  <c:v>8.8356184840357734</c:v>
                </c:pt>
                <c:pt idx="171">
                  <c:v>8.8356184840357734</c:v>
                </c:pt>
                <c:pt idx="172">
                  <c:v>8.8356184840357734</c:v>
                </c:pt>
                <c:pt idx="173">
                  <c:v>8.8356184840357734</c:v>
                </c:pt>
                <c:pt idx="174">
                  <c:v>8.8356184840357734</c:v>
                </c:pt>
                <c:pt idx="175">
                  <c:v>8.8356184840357734</c:v>
                </c:pt>
                <c:pt idx="176">
                  <c:v>8.8356184840357734</c:v>
                </c:pt>
                <c:pt idx="177">
                  <c:v>8.8356184840357734</c:v>
                </c:pt>
                <c:pt idx="178">
                  <c:v>8.8356184840357734</c:v>
                </c:pt>
                <c:pt idx="179">
                  <c:v>8.8356184840357734</c:v>
                </c:pt>
                <c:pt idx="180">
                  <c:v>8.8356184840357734</c:v>
                </c:pt>
                <c:pt idx="181">
                  <c:v>8.8356184840357734</c:v>
                </c:pt>
                <c:pt idx="182">
                  <c:v>8.8356184840357734</c:v>
                </c:pt>
                <c:pt idx="183">
                  <c:v>8.8356184840357734</c:v>
                </c:pt>
                <c:pt idx="184">
                  <c:v>8.8356184840357734</c:v>
                </c:pt>
                <c:pt idx="185">
                  <c:v>8.8356184840357734</c:v>
                </c:pt>
                <c:pt idx="186">
                  <c:v>8.8356184840357734</c:v>
                </c:pt>
                <c:pt idx="187">
                  <c:v>8.8356184840357734</c:v>
                </c:pt>
                <c:pt idx="188">
                  <c:v>8.8356184840357734</c:v>
                </c:pt>
                <c:pt idx="189">
                  <c:v>8.8356184840357734</c:v>
                </c:pt>
                <c:pt idx="190">
                  <c:v>8.8356184840357734</c:v>
                </c:pt>
                <c:pt idx="191">
                  <c:v>8.8356184840357734</c:v>
                </c:pt>
                <c:pt idx="192">
                  <c:v>8.8356184840357734</c:v>
                </c:pt>
                <c:pt idx="193">
                  <c:v>8.8356184840357734</c:v>
                </c:pt>
                <c:pt idx="194">
                  <c:v>8.8356184840357734</c:v>
                </c:pt>
                <c:pt idx="195">
                  <c:v>8.8356184840357734</c:v>
                </c:pt>
                <c:pt idx="196">
                  <c:v>8.8356184840357734</c:v>
                </c:pt>
                <c:pt idx="197">
                  <c:v>8.8356184840357734</c:v>
                </c:pt>
                <c:pt idx="198">
                  <c:v>8.8356184840357734</c:v>
                </c:pt>
                <c:pt idx="199">
                  <c:v>8.8356184840357734</c:v>
                </c:pt>
                <c:pt idx="200">
                  <c:v>8.8356184840357734</c:v>
                </c:pt>
                <c:pt idx="201">
                  <c:v>8.8356184840357734</c:v>
                </c:pt>
                <c:pt idx="202">
                  <c:v>8.8356184840357734</c:v>
                </c:pt>
                <c:pt idx="203">
                  <c:v>8.8356184840357734</c:v>
                </c:pt>
                <c:pt idx="204">
                  <c:v>8.8356184840357734</c:v>
                </c:pt>
                <c:pt idx="205">
                  <c:v>8.8356184840357734</c:v>
                </c:pt>
                <c:pt idx="206">
                  <c:v>8.8356184840357734</c:v>
                </c:pt>
                <c:pt idx="207">
                  <c:v>8.8356184840357734</c:v>
                </c:pt>
                <c:pt idx="208">
                  <c:v>8.8356184840357734</c:v>
                </c:pt>
                <c:pt idx="209">
                  <c:v>8.8356184840357734</c:v>
                </c:pt>
                <c:pt idx="210">
                  <c:v>8.8356184840357734</c:v>
                </c:pt>
                <c:pt idx="211">
                  <c:v>8.8356184840357734</c:v>
                </c:pt>
                <c:pt idx="212">
                  <c:v>8.8356184840357734</c:v>
                </c:pt>
                <c:pt idx="213">
                  <c:v>8.8356184840357734</c:v>
                </c:pt>
                <c:pt idx="214">
                  <c:v>8.8356184840357734</c:v>
                </c:pt>
                <c:pt idx="215">
                  <c:v>8.8356184840357734</c:v>
                </c:pt>
                <c:pt idx="216">
                  <c:v>8.8356184840357734</c:v>
                </c:pt>
                <c:pt idx="217">
                  <c:v>8.8356184840357734</c:v>
                </c:pt>
                <c:pt idx="218">
                  <c:v>8.8356184840357734</c:v>
                </c:pt>
                <c:pt idx="219">
                  <c:v>8.8356184840357734</c:v>
                </c:pt>
                <c:pt idx="220">
                  <c:v>8.8356184840357734</c:v>
                </c:pt>
                <c:pt idx="221">
                  <c:v>8.8356184840357734</c:v>
                </c:pt>
                <c:pt idx="222">
                  <c:v>8.8356184840357734</c:v>
                </c:pt>
                <c:pt idx="223">
                  <c:v>8.8356184840357734</c:v>
                </c:pt>
                <c:pt idx="224">
                  <c:v>8.8356184840357734</c:v>
                </c:pt>
                <c:pt idx="225">
                  <c:v>8.8356184840357734</c:v>
                </c:pt>
                <c:pt idx="226">
                  <c:v>8.8356184840357734</c:v>
                </c:pt>
                <c:pt idx="227">
                  <c:v>8.8356184840357734</c:v>
                </c:pt>
                <c:pt idx="228">
                  <c:v>8.8356184840357734</c:v>
                </c:pt>
                <c:pt idx="229">
                  <c:v>8.8356184840357734</c:v>
                </c:pt>
                <c:pt idx="230">
                  <c:v>8.8356184840357734</c:v>
                </c:pt>
                <c:pt idx="231">
                  <c:v>8.8356184840357734</c:v>
                </c:pt>
                <c:pt idx="232">
                  <c:v>8.8356184840357734</c:v>
                </c:pt>
                <c:pt idx="233">
                  <c:v>8.8356184840357734</c:v>
                </c:pt>
                <c:pt idx="234">
                  <c:v>8.8356184840357734</c:v>
                </c:pt>
                <c:pt idx="235">
                  <c:v>8.8356184840357734</c:v>
                </c:pt>
                <c:pt idx="236">
                  <c:v>8.8356184840357734</c:v>
                </c:pt>
                <c:pt idx="237">
                  <c:v>8.8356184840357734</c:v>
                </c:pt>
                <c:pt idx="238">
                  <c:v>8.8356184840357734</c:v>
                </c:pt>
                <c:pt idx="239">
                  <c:v>8.8356184840357734</c:v>
                </c:pt>
                <c:pt idx="240">
                  <c:v>8.8356184840357734</c:v>
                </c:pt>
                <c:pt idx="241">
                  <c:v>8.8356184840357734</c:v>
                </c:pt>
                <c:pt idx="242">
                  <c:v>8.8356184840357734</c:v>
                </c:pt>
                <c:pt idx="243">
                  <c:v>8.8356184840357734</c:v>
                </c:pt>
                <c:pt idx="244">
                  <c:v>8.8356184840357734</c:v>
                </c:pt>
                <c:pt idx="245">
                  <c:v>8.8356184840357734</c:v>
                </c:pt>
                <c:pt idx="246">
                  <c:v>8.8356184840357734</c:v>
                </c:pt>
                <c:pt idx="247">
                  <c:v>8.8356184840357734</c:v>
                </c:pt>
                <c:pt idx="248">
                  <c:v>8.8356184840357734</c:v>
                </c:pt>
                <c:pt idx="249">
                  <c:v>8.8356184840357734</c:v>
                </c:pt>
                <c:pt idx="250">
                  <c:v>8.8356184840357734</c:v>
                </c:pt>
                <c:pt idx="251">
                  <c:v>8.8356184840357734</c:v>
                </c:pt>
                <c:pt idx="252">
                  <c:v>8.8356184840357734</c:v>
                </c:pt>
                <c:pt idx="253">
                  <c:v>8.8356184840357734</c:v>
                </c:pt>
                <c:pt idx="254">
                  <c:v>8.8356184840357734</c:v>
                </c:pt>
                <c:pt idx="255">
                  <c:v>8.8356184840357734</c:v>
                </c:pt>
                <c:pt idx="256">
                  <c:v>8.8356184840357734</c:v>
                </c:pt>
                <c:pt idx="257">
                  <c:v>8.8356184840357734</c:v>
                </c:pt>
                <c:pt idx="258">
                  <c:v>8.8356184840357734</c:v>
                </c:pt>
                <c:pt idx="259">
                  <c:v>8.8356184840357734</c:v>
                </c:pt>
                <c:pt idx="260">
                  <c:v>8.8356184840357734</c:v>
                </c:pt>
                <c:pt idx="261">
                  <c:v>8.8356184840357734</c:v>
                </c:pt>
                <c:pt idx="262">
                  <c:v>8.8356184840357734</c:v>
                </c:pt>
                <c:pt idx="263">
                  <c:v>8.8356184840357734</c:v>
                </c:pt>
                <c:pt idx="264">
                  <c:v>8.8356184840357734</c:v>
                </c:pt>
                <c:pt idx="265">
                  <c:v>8.8356184840357734</c:v>
                </c:pt>
                <c:pt idx="266">
                  <c:v>8.8356184840357734</c:v>
                </c:pt>
                <c:pt idx="267">
                  <c:v>8.8356184840357734</c:v>
                </c:pt>
                <c:pt idx="268">
                  <c:v>8.8356184840357734</c:v>
                </c:pt>
                <c:pt idx="269">
                  <c:v>8.8356184840357734</c:v>
                </c:pt>
                <c:pt idx="270">
                  <c:v>8.8356184840357734</c:v>
                </c:pt>
                <c:pt idx="271">
                  <c:v>8.8356184840357734</c:v>
                </c:pt>
                <c:pt idx="272">
                  <c:v>8.8356184840357734</c:v>
                </c:pt>
                <c:pt idx="273">
                  <c:v>8.8356184840357734</c:v>
                </c:pt>
                <c:pt idx="274">
                  <c:v>8.8356184840357734</c:v>
                </c:pt>
                <c:pt idx="275">
                  <c:v>8.8356184840357734</c:v>
                </c:pt>
                <c:pt idx="276">
                  <c:v>8.8356184840357734</c:v>
                </c:pt>
                <c:pt idx="277">
                  <c:v>8.8356184840357734</c:v>
                </c:pt>
                <c:pt idx="278">
                  <c:v>8.8356184840357734</c:v>
                </c:pt>
                <c:pt idx="279">
                  <c:v>8.8356184840357734</c:v>
                </c:pt>
                <c:pt idx="280">
                  <c:v>8.8356184840357734</c:v>
                </c:pt>
                <c:pt idx="281">
                  <c:v>8.8356184840357734</c:v>
                </c:pt>
                <c:pt idx="282">
                  <c:v>8.8356184840357734</c:v>
                </c:pt>
                <c:pt idx="283">
                  <c:v>8.8356184840357734</c:v>
                </c:pt>
                <c:pt idx="284">
                  <c:v>8.8356184840357734</c:v>
                </c:pt>
                <c:pt idx="285">
                  <c:v>8.8356184840357734</c:v>
                </c:pt>
                <c:pt idx="286">
                  <c:v>8.8356184840357734</c:v>
                </c:pt>
                <c:pt idx="287">
                  <c:v>8.8356184840357734</c:v>
                </c:pt>
              </c:numCache>
            </c:numRef>
          </c:yVal>
          <c:smooth val="0"/>
          <c:extLst>
            <c:ext xmlns:c16="http://schemas.microsoft.com/office/drawing/2014/chart" uri="{C3380CC4-5D6E-409C-BE32-E72D297353CC}">
              <c16:uniqueId val="{00000003-8087-4B53-B89D-FC4B66629CCE}"/>
            </c:ext>
          </c:extLst>
        </c:ser>
        <c:ser>
          <c:idx val="4"/>
          <c:order val="4"/>
          <c:spPr>
            <a:ln w="38100" algn="ctr">
              <a:solidFill>
                <a:schemeClr val="accent5"/>
              </a:solidFill>
              <a:prstDash val="sysDot"/>
            </a:ln>
          </c:spPr>
          <c:marker>
            <c:symbol val="none"/>
          </c:marker>
          <c:xVal>
            <c:numRef>
              <c:f>Sheet1!$A$1:$NL$1</c:f>
              <c:numCache>
                <c:formatCode>General</c:formatCode>
                <c:ptCount val="376"/>
                <c:pt idx="0">
                  <c:v>9862</c:v>
                </c:pt>
                <c:pt idx="1">
                  <c:v>9893</c:v>
                </c:pt>
                <c:pt idx="2">
                  <c:v>9921</c:v>
                </c:pt>
                <c:pt idx="3">
                  <c:v>9952</c:v>
                </c:pt>
                <c:pt idx="4">
                  <c:v>9982</c:v>
                </c:pt>
                <c:pt idx="5">
                  <c:v>10013</c:v>
                </c:pt>
                <c:pt idx="6">
                  <c:v>10043</c:v>
                </c:pt>
                <c:pt idx="7">
                  <c:v>10074</c:v>
                </c:pt>
                <c:pt idx="8">
                  <c:v>10105</c:v>
                </c:pt>
                <c:pt idx="9">
                  <c:v>10135</c:v>
                </c:pt>
                <c:pt idx="10">
                  <c:v>10166</c:v>
                </c:pt>
                <c:pt idx="11">
                  <c:v>10196</c:v>
                </c:pt>
                <c:pt idx="12">
                  <c:v>10227</c:v>
                </c:pt>
                <c:pt idx="13">
                  <c:v>10258</c:v>
                </c:pt>
                <c:pt idx="14">
                  <c:v>10286</c:v>
                </c:pt>
                <c:pt idx="15">
                  <c:v>10317</c:v>
                </c:pt>
                <c:pt idx="16">
                  <c:v>10347</c:v>
                </c:pt>
                <c:pt idx="17">
                  <c:v>10378</c:v>
                </c:pt>
                <c:pt idx="18">
                  <c:v>10408</c:v>
                </c:pt>
                <c:pt idx="19">
                  <c:v>10439</c:v>
                </c:pt>
                <c:pt idx="20">
                  <c:v>10470</c:v>
                </c:pt>
                <c:pt idx="21">
                  <c:v>10500</c:v>
                </c:pt>
                <c:pt idx="22">
                  <c:v>10531</c:v>
                </c:pt>
                <c:pt idx="23">
                  <c:v>10561</c:v>
                </c:pt>
                <c:pt idx="24">
                  <c:v>10592</c:v>
                </c:pt>
                <c:pt idx="25">
                  <c:v>10623</c:v>
                </c:pt>
                <c:pt idx="26">
                  <c:v>10651</c:v>
                </c:pt>
                <c:pt idx="27">
                  <c:v>10682</c:v>
                </c:pt>
                <c:pt idx="28">
                  <c:v>10712</c:v>
                </c:pt>
                <c:pt idx="29">
                  <c:v>10743</c:v>
                </c:pt>
                <c:pt idx="30">
                  <c:v>10773</c:v>
                </c:pt>
                <c:pt idx="31">
                  <c:v>10804</c:v>
                </c:pt>
                <c:pt idx="32">
                  <c:v>10835</c:v>
                </c:pt>
                <c:pt idx="33">
                  <c:v>10865</c:v>
                </c:pt>
                <c:pt idx="34">
                  <c:v>10896</c:v>
                </c:pt>
                <c:pt idx="35">
                  <c:v>10926</c:v>
                </c:pt>
                <c:pt idx="36">
                  <c:v>10957</c:v>
                </c:pt>
                <c:pt idx="37">
                  <c:v>10988</c:v>
                </c:pt>
                <c:pt idx="38">
                  <c:v>11017</c:v>
                </c:pt>
                <c:pt idx="39">
                  <c:v>11048</c:v>
                </c:pt>
                <c:pt idx="40">
                  <c:v>11078</c:v>
                </c:pt>
                <c:pt idx="41">
                  <c:v>11109</c:v>
                </c:pt>
                <c:pt idx="42">
                  <c:v>11139</c:v>
                </c:pt>
                <c:pt idx="43">
                  <c:v>11170</c:v>
                </c:pt>
                <c:pt idx="44">
                  <c:v>11201</c:v>
                </c:pt>
                <c:pt idx="45">
                  <c:v>11231</c:v>
                </c:pt>
                <c:pt idx="46">
                  <c:v>11262</c:v>
                </c:pt>
                <c:pt idx="47">
                  <c:v>11292</c:v>
                </c:pt>
                <c:pt idx="48">
                  <c:v>11323</c:v>
                </c:pt>
                <c:pt idx="49">
                  <c:v>11354</c:v>
                </c:pt>
                <c:pt idx="50">
                  <c:v>11382</c:v>
                </c:pt>
                <c:pt idx="51">
                  <c:v>11413</c:v>
                </c:pt>
                <c:pt idx="52">
                  <c:v>11443</c:v>
                </c:pt>
                <c:pt idx="53">
                  <c:v>11474</c:v>
                </c:pt>
                <c:pt idx="54">
                  <c:v>11504</c:v>
                </c:pt>
                <c:pt idx="55">
                  <c:v>11535</c:v>
                </c:pt>
                <c:pt idx="56">
                  <c:v>11566</c:v>
                </c:pt>
                <c:pt idx="57">
                  <c:v>11596</c:v>
                </c:pt>
                <c:pt idx="58">
                  <c:v>11627</c:v>
                </c:pt>
                <c:pt idx="59">
                  <c:v>11657</c:v>
                </c:pt>
                <c:pt idx="60">
                  <c:v>11688</c:v>
                </c:pt>
                <c:pt idx="61">
                  <c:v>11719</c:v>
                </c:pt>
                <c:pt idx="62">
                  <c:v>11747</c:v>
                </c:pt>
                <c:pt idx="63">
                  <c:v>11778</c:v>
                </c:pt>
                <c:pt idx="64">
                  <c:v>11808</c:v>
                </c:pt>
                <c:pt idx="65">
                  <c:v>11839</c:v>
                </c:pt>
                <c:pt idx="66">
                  <c:v>11869</c:v>
                </c:pt>
                <c:pt idx="67">
                  <c:v>11900</c:v>
                </c:pt>
                <c:pt idx="68">
                  <c:v>11931</c:v>
                </c:pt>
                <c:pt idx="69">
                  <c:v>11961</c:v>
                </c:pt>
                <c:pt idx="70">
                  <c:v>11992</c:v>
                </c:pt>
                <c:pt idx="71">
                  <c:v>12022</c:v>
                </c:pt>
                <c:pt idx="72">
                  <c:v>12053</c:v>
                </c:pt>
                <c:pt idx="73">
                  <c:v>12084</c:v>
                </c:pt>
                <c:pt idx="74">
                  <c:v>12112</c:v>
                </c:pt>
                <c:pt idx="75">
                  <c:v>12143</c:v>
                </c:pt>
                <c:pt idx="76">
                  <c:v>12173</c:v>
                </c:pt>
                <c:pt idx="77">
                  <c:v>12204</c:v>
                </c:pt>
                <c:pt idx="78">
                  <c:v>12234</c:v>
                </c:pt>
                <c:pt idx="79">
                  <c:v>12265</c:v>
                </c:pt>
                <c:pt idx="80">
                  <c:v>12296</c:v>
                </c:pt>
                <c:pt idx="81">
                  <c:v>12326</c:v>
                </c:pt>
                <c:pt idx="82">
                  <c:v>12357</c:v>
                </c:pt>
                <c:pt idx="83">
                  <c:v>12387</c:v>
                </c:pt>
                <c:pt idx="84">
                  <c:v>12418</c:v>
                </c:pt>
                <c:pt idx="85">
                  <c:v>12449</c:v>
                </c:pt>
                <c:pt idx="86">
                  <c:v>12478</c:v>
                </c:pt>
                <c:pt idx="87">
                  <c:v>12509</c:v>
                </c:pt>
                <c:pt idx="88">
                  <c:v>12539</c:v>
                </c:pt>
                <c:pt idx="89">
                  <c:v>12570</c:v>
                </c:pt>
                <c:pt idx="90">
                  <c:v>12600</c:v>
                </c:pt>
                <c:pt idx="91">
                  <c:v>12631</c:v>
                </c:pt>
                <c:pt idx="92">
                  <c:v>12662</c:v>
                </c:pt>
                <c:pt idx="93">
                  <c:v>12692</c:v>
                </c:pt>
                <c:pt idx="94">
                  <c:v>12723</c:v>
                </c:pt>
                <c:pt idx="95">
                  <c:v>12753</c:v>
                </c:pt>
                <c:pt idx="96">
                  <c:v>12784</c:v>
                </c:pt>
                <c:pt idx="97">
                  <c:v>12815</c:v>
                </c:pt>
                <c:pt idx="98">
                  <c:v>12843</c:v>
                </c:pt>
                <c:pt idx="99">
                  <c:v>12874</c:v>
                </c:pt>
                <c:pt idx="100">
                  <c:v>12904</c:v>
                </c:pt>
                <c:pt idx="101">
                  <c:v>12935</c:v>
                </c:pt>
                <c:pt idx="102">
                  <c:v>12965</c:v>
                </c:pt>
                <c:pt idx="103">
                  <c:v>12996</c:v>
                </c:pt>
                <c:pt idx="104">
                  <c:v>13027</c:v>
                </c:pt>
                <c:pt idx="105">
                  <c:v>13057</c:v>
                </c:pt>
                <c:pt idx="106">
                  <c:v>13088</c:v>
                </c:pt>
                <c:pt idx="107">
                  <c:v>13118</c:v>
                </c:pt>
                <c:pt idx="108">
                  <c:v>13149</c:v>
                </c:pt>
                <c:pt idx="109">
                  <c:v>13180</c:v>
                </c:pt>
                <c:pt idx="110">
                  <c:v>13208</c:v>
                </c:pt>
                <c:pt idx="111">
                  <c:v>13239</c:v>
                </c:pt>
                <c:pt idx="112">
                  <c:v>13269</c:v>
                </c:pt>
                <c:pt idx="113">
                  <c:v>13300</c:v>
                </c:pt>
                <c:pt idx="114">
                  <c:v>13330</c:v>
                </c:pt>
                <c:pt idx="115">
                  <c:v>13361</c:v>
                </c:pt>
                <c:pt idx="116">
                  <c:v>13392</c:v>
                </c:pt>
                <c:pt idx="117">
                  <c:v>13422</c:v>
                </c:pt>
                <c:pt idx="118">
                  <c:v>13453</c:v>
                </c:pt>
                <c:pt idx="119">
                  <c:v>13483</c:v>
                </c:pt>
                <c:pt idx="120">
                  <c:v>13514</c:v>
                </c:pt>
                <c:pt idx="121">
                  <c:v>13545</c:v>
                </c:pt>
                <c:pt idx="122">
                  <c:v>13573</c:v>
                </c:pt>
                <c:pt idx="123">
                  <c:v>13604</c:v>
                </c:pt>
                <c:pt idx="124">
                  <c:v>13634</c:v>
                </c:pt>
                <c:pt idx="125">
                  <c:v>13665</c:v>
                </c:pt>
                <c:pt idx="126">
                  <c:v>13695</c:v>
                </c:pt>
                <c:pt idx="127">
                  <c:v>13726</c:v>
                </c:pt>
                <c:pt idx="128">
                  <c:v>13757</c:v>
                </c:pt>
                <c:pt idx="129">
                  <c:v>13787</c:v>
                </c:pt>
                <c:pt idx="130">
                  <c:v>13818</c:v>
                </c:pt>
                <c:pt idx="131">
                  <c:v>13848</c:v>
                </c:pt>
                <c:pt idx="132">
                  <c:v>13879</c:v>
                </c:pt>
                <c:pt idx="133">
                  <c:v>13910</c:v>
                </c:pt>
                <c:pt idx="134">
                  <c:v>13939</c:v>
                </c:pt>
                <c:pt idx="135">
                  <c:v>13970</c:v>
                </c:pt>
                <c:pt idx="136">
                  <c:v>14000</c:v>
                </c:pt>
                <c:pt idx="137">
                  <c:v>14031</c:v>
                </c:pt>
                <c:pt idx="138">
                  <c:v>14061</c:v>
                </c:pt>
                <c:pt idx="139">
                  <c:v>14092</c:v>
                </c:pt>
                <c:pt idx="140">
                  <c:v>14123</c:v>
                </c:pt>
                <c:pt idx="141">
                  <c:v>14153</c:v>
                </c:pt>
                <c:pt idx="142">
                  <c:v>14184</c:v>
                </c:pt>
                <c:pt idx="143">
                  <c:v>14214</c:v>
                </c:pt>
                <c:pt idx="144">
                  <c:v>14245</c:v>
                </c:pt>
                <c:pt idx="145">
                  <c:v>14276</c:v>
                </c:pt>
                <c:pt idx="146">
                  <c:v>14304</c:v>
                </c:pt>
                <c:pt idx="147">
                  <c:v>14335</c:v>
                </c:pt>
                <c:pt idx="148">
                  <c:v>14365</c:v>
                </c:pt>
                <c:pt idx="149">
                  <c:v>14396</c:v>
                </c:pt>
                <c:pt idx="150">
                  <c:v>14426</c:v>
                </c:pt>
                <c:pt idx="151">
                  <c:v>14457</c:v>
                </c:pt>
                <c:pt idx="152">
                  <c:v>14488</c:v>
                </c:pt>
                <c:pt idx="153">
                  <c:v>14518</c:v>
                </c:pt>
                <c:pt idx="154">
                  <c:v>14549</c:v>
                </c:pt>
                <c:pt idx="155">
                  <c:v>14579</c:v>
                </c:pt>
                <c:pt idx="156">
                  <c:v>14610</c:v>
                </c:pt>
                <c:pt idx="157">
                  <c:v>14641</c:v>
                </c:pt>
                <c:pt idx="158">
                  <c:v>14669</c:v>
                </c:pt>
                <c:pt idx="159">
                  <c:v>14700</c:v>
                </c:pt>
                <c:pt idx="160">
                  <c:v>14730</c:v>
                </c:pt>
                <c:pt idx="161">
                  <c:v>14761</c:v>
                </c:pt>
                <c:pt idx="162">
                  <c:v>14791</c:v>
                </c:pt>
                <c:pt idx="163">
                  <c:v>14822</c:v>
                </c:pt>
                <c:pt idx="164">
                  <c:v>14853</c:v>
                </c:pt>
                <c:pt idx="165">
                  <c:v>14883</c:v>
                </c:pt>
                <c:pt idx="166">
                  <c:v>14914</c:v>
                </c:pt>
                <c:pt idx="167">
                  <c:v>14944</c:v>
                </c:pt>
                <c:pt idx="168">
                  <c:v>14975</c:v>
                </c:pt>
                <c:pt idx="169">
                  <c:v>15006</c:v>
                </c:pt>
                <c:pt idx="170">
                  <c:v>15034</c:v>
                </c:pt>
                <c:pt idx="171">
                  <c:v>15065</c:v>
                </c:pt>
                <c:pt idx="172">
                  <c:v>15095</c:v>
                </c:pt>
                <c:pt idx="173">
                  <c:v>15126</c:v>
                </c:pt>
                <c:pt idx="174">
                  <c:v>15156</c:v>
                </c:pt>
                <c:pt idx="175">
                  <c:v>15187</c:v>
                </c:pt>
                <c:pt idx="176">
                  <c:v>15218</c:v>
                </c:pt>
                <c:pt idx="177">
                  <c:v>15248</c:v>
                </c:pt>
                <c:pt idx="178">
                  <c:v>15279</c:v>
                </c:pt>
                <c:pt idx="179">
                  <c:v>15309</c:v>
                </c:pt>
                <c:pt idx="180">
                  <c:v>15340</c:v>
                </c:pt>
                <c:pt idx="181">
                  <c:v>15371</c:v>
                </c:pt>
                <c:pt idx="182">
                  <c:v>15400</c:v>
                </c:pt>
                <c:pt idx="183">
                  <c:v>15431</c:v>
                </c:pt>
                <c:pt idx="184">
                  <c:v>15461</c:v>
                </c:pt>
                <c:pt idx="185">
                  <c:v>15492</c:v>
                </c:pt>
                <c:pt idx="186">
                  <c:v>15522</c:v>
                </c:pt>
                <c:pt idx="187">
                  <c:v>15553</c:v>
                </c:pt>
                <c:pt idx="188">
                  <c:v>15584</c:v>
                </c:pt>
                <c:pt idx="189">
                  <c:v>15614</c:v>
                </c:pt>
                <c:pt idx="190">
                  <c:v>15645</c:v>
                </c:pt>
                <c:pt idx="191">
                  <c:v>15675</c:v>
                </c:pt>
                <c:pt idx="192">
                  <c:v>15706</c:v>
                </c:pt>
                <c:pt idx="193">
                  <c:v>15737</c:v>
                </c:pt>
                <c:pt idx="194">
                  <c:v>15765</c:v>
                </c:pt>
                <c:pt idx="195">
                  <c:v>15796</c:v>
                </c:pt>
                <c:pt idx="196">
                  <c:v>15826</c:v>
                </c:pt>
                <c:pt idx="197">
                  <c:v>15857</c:v>
                </c:pt>
                <c:pt idx="198">
                  <c:v>15887</c:v>
                </c:pt>
                <c:pt idx="199">
                  <c:v>15918</c:v>
                </c:pt>
                <c:pt idx="200">
                  <c:v>15949</c:v>
                </c:pt>
                <c:pt idx="201">
                  <c:v>15979</c:v>
                </c:pt>
                <c:pt idx="202">
                  <c:v>16010</c:v>
                </c:pt>
                <c:pt idx="203">
                  <c:v>16040</c:v>
                </c:pt>
                <c:pt idx="204">
                  <c:v>16071</c:v>
                </c:pt>
                <c:pt idx="205">
                  <c:v>16102</c:v>
                </c:pt>
                <c:pt idx="206">
                  <c:v>16130</c:v>
                </c:pt>
                <c:pt idx="207">
                  <c:v>16161</c:v>
                </c:pt>
                <c:pt idx="208">
                  <c:v>16191</c:v>
                </c:pt>
                <c:pt idx="209">
                  <c:v>16222</c:v>
                </c:pt>
                <c:pt idx="210">
                  <c:v>16252</c:v>
                </c:pt>
                <c:pt idx="211">
                  <c:v>16283</c:v>
                </c:pt>
                <c:pt idx="212">
                  <c:v>16314</c:v>
                </c:pt>
                <c:pt idx="213">
                  <c:v>16344</c:v>
                </c:pt>
                <c:pt idx="214">
                  <c:v>16375</c:v>
                </c:pt>
                <c:pt idx="215">
                  <c:v>16405</c:v>
                </c:pt>
                <c:pt idx="216">
                  <c:v>16436</c:v>
                </c:pt>
                <c:pt idx="217">
                  <c:v>16467</c:v>
                </c:pt>
                <c:pt idx="218">
                  <c:v>16495</c:v>
                </c:pt>
                <c:pt idx="219">
                  <c:v>16526</c:v>
                </c:pt>
                <c:pt idx="220">
                  <c:v>16556</c:v>
                </c:pt>
                <c:pt idx="221">
                  <c:v>16587</c:v>
                </c:pt>
                <c:pt idx="222">
                  <c:v>16617</c:v>
                </c:pt>
                <c:pt idx="223">
                  <c:v>16648</c:v>
                </c:pt>
                <c:pt idx="224">
                  <c:v>16679</c:v>
                </c:pt>
                <c:pt idx="225">
                  <c:v>16709</c:v>
                </c:pt>
                <c:pt idx="226">
                  <c:v>16740</c:v>
                </c:pt>
                <c:pt idx="227">
                  <c:v>16770</c:v>
                </c:pt>
                <c:pt idx="228">
                  <c:v>16801</c:v>
                </c:pt>
                <c:pt idx="229">
                  <c:v>16832</c:v>
                </c:pt>
                <c:pt idx="230">
                  <c:v>16861</c:v>
                </c:pt>
                <c:pt idx="231">
                  <c:v>16892</c:v>
                </c:pt>
                <c:pt idx="232">
                  <c:v>16922</c:v>
                </c:pt>
                <c:pt idx="233">
                  <c:v>16953</c:v>
                </c:pt>
                <c:pt idx="234">
                  <c:v>16983</c:v>
                </c:pt>
                <c:pt idx="235">
                  <c:v>17014</c:v>
                </c:pt>
                <c:pt idx="236">
                  <c:v>17045</c:v>
                </c:pt>
                <c:pt idx="237">
                  <c:v>17075</c:v>
                </c:pt>
                <c:pt idx="238">
                  <c:v>17106</c:v>
                </c:pt>
                <c:pt idx="239">
                  <c:v>17136</c:v>
                </c:pt>
                <c:pt idx="240">
                  <c:v>17167</c:v>
                </c:pt>
                <c:pt idx="241">
                  <c:v>17198</c:v>
                </c:pt>
                <c:pt idx="242">
                  <c:v>17226</c:v>
                </c:pt>
                <c:pt idx="243">
                  <c:v>17257</c:v>
                </c:pt>
                <c:pt idx="244">
                  <c:v>17287</c:v>
                </c:pt>
                <c:pt idx="245">
                  <c:v>17318</c:v>
                </c:pt>
                <c:pt idx="246">
                  <c:v>17348</c:v>
                </c:pt>
                <c:pt idx="247">
                  <c:v>17379</c:v>
                </c:pt>
                <c:pt idx="248">
                  <c:v>17410</c:v>
                </c:pt>
                <c:pt idx="249">
                  <c:v>17440</c:v>
                </c:pt>
                <c:pt idx="250">
                  <c:v>17471</c:v>
                </c:pt>
                <c:pt idx="251">
                  <c:v>17501</c:v>
                </c:pt>
                <c:pt idx="252">
                  <c:v>17532</c:v>
                </c:pt>
                <c:pt idx="253">
                  <c:v>17563</c:v>
                </c:pt>
                <c:pt idx="254">
                  <c:v>17591</c:v>
                </c:pt>
                <c:pt idx="255">
                  <c:v>17622</c:v>
                </c:pt>
                <c:pt idx="256">
                  <c:v>17652</c:v>
                </c:pt>
                <c:pt idx="257">
                  <c:v>17683</c:v>
                </c:pt>
                <c:pt idx="258">
                  <c:v>17713</c:v>
                </c:pt>
                <c:pt idx="259">
                  <c:v>17744</c:v>
                </c:pt>
                <c:pt idx="260">
                  <c:v>17775</c:v>
                </c:pt>
                <c:pt idx="261">
                  <c:v>17805</c:v>
                </c:pt>
                <c:pt idx="262">
                  <c:v>17836</c:v>
                </c:pt>
                <c:pt idx="263">
                  <c:v>17866</c:v>
                </c:pt>
                <c:pt idx="264">
                  <c:v>17897</c:v>
                </c:pt>
                <c:pt idx="265">
                  <c:v>17928</c:v>
                </c:pt>
                <c:pt idx="266">
                  <c:v>17956</c:v>
                </c:pt>
                <c:pt idx="267">
                  <c:v>17987</c:v>
                </c:pt>
                <c:pt idx="268">
                  <c:v>18017</c:v>
                </c:pt>
                <c:pt idx="269">
                  <c:v>18048</c:v>
                </c:pt>
                <c:pt idx="270">
                  <c:v>18078</c:v>
                </c:pt>
                <c:pt idx="271">
                  <c:v>18109</c:v>
                </c:pt>
                <c:pt idx="272">
                  <c:v>18140</c:v>
                </c:pt>
                <c:pt idx="273">
                  <c:v>18170</c:v>
                </c:pt>
                <c:pt idx="274">
                  <c:v>18201</c:v>
                </c:pt>
                <c:pt idx="275">
                  <c:v>18231</c:v>
                </c:pt>
                <c:pt idx="276">
                  <c:v>18262</c:v>
                </c:pt>
                <c:pt idx="277">
                  <c:v>18293</c:v>
                </c:pt>
                <c:pt idx="278">
                  <c:v>18322</c:v>
                </c:pt>
                <c:pt idx="279">
                  <c:v>18353</c:v>
                </c:pt>
                <c:pt idx="280">
                  <c:v>18383</c:v>
                </c:pt>
                <c:pt idx="281">
                  <c:v>18414</c:v>
                </c:pt>
                <c:pt idx="282">
                  <c:v>18444</c:v>
                </c:pt>
                <c:pt idx="283">
                  <c:v>18475</c:v>
                </c:pt>
                <c:pt idx="284">
                  <c:v>18506</c:v>
                </c:pt>
                <c:pt idx="285">
                  <c:v>18536</c:v>
                </c:pt>
                <c:pt idx="286">
                  <c:v>18567</c:v>
                </c:pt>
                <c:pt idx="287">
                  <c:v>18597</c:v>
                </c:pt>
                <c:pt idx="288">
                  <c:v>18628</c:v>
                </c:pt>
                <c:pt idx="289">
                  <c:v>18659</c:v>
                </c:pt>
                <c:pt idx="290">
                  <c:v>18687</c:v>
                </c:pt>
                <c:pt idx="291">
                  <c:v>18718</c:v>
                </c:pt>
                <c:pt idx="292">
                  <c:v>18748</c:v>
                </c:pt>
                <c:pt idx="293">
                  <c:v>18779</c:v>
                </c:pt>
                <c:pt idx="294">
                  <c:v>18809</c:v>
                </c:pt>
                <c:pt idx="295">
                  <c:v>18840</c:v>
                </c:pt>
                <c:pt idx="296">
                  <c:v>18871</c:v>
                </c:pt>
                <c:pt idx="297">
                  <c:v>18901</c:v>
                </c:pt>
                <c:pt idx="298">
                  <c:v>18932</c:v>
                </c:pt>
                <c:pt idx="299">
                  <c:v>18962</c:v>
                </c:pt>
                <c:pt idx="300">
                  <c:v>18993</c:v>
                </c:pt>
                <c:pt idx="301">
                  <c:v>19024</c:v>
                </c:pt>
                <c:pt idx="302">
                  <c:v>19052</c:v>
                </c:pt>
                <c:pt idx="303">
                  <c:v>19083</c:v>
                </c:pt>
                <c:pt idx="304">
                  <c:v>19113</c:v>
                </c:pt>
                <c:pt idx="305">
                  <c:v>19144</c:v>
                </c:pt>
                <c:pt idx="306">
                  <c:v>19174</c:v>
                </c:pt>
                <c:pt idx="307">
                  <c:v>19205</c:v>
                </c:pt>
                <c:pt idx="308">
                  <c:v>19236</c:v>
                </c:pt>
                <c:pt idx="309">
                  <c:v>19266</c:v>
                </c:pt>
                <c:pt idx="310">
                  <c:v>19297</c:v>
                </c:pt>
                <c:pt idx="311">
                  <c:v>19327</c:v>
                </c:pt>
                <c:pt idx="312">
                  <c:v>19358</c:v>
                </c:pt>
                <c:pt idx="313">
                  <c:v>19389</c:v>
                </c:pt>
                <c:pt idx="314">
                  <c:v>19417</c:v>
                </c:pt>
                <c:pt idx="315">
                  <c:v>19448</c:v>
                </c:pt>
                <c:pt idx="316">
                  <c:v>19458</c:v>
                </c:pt>
                <c:pt idx="317">
                  <c:v>19478</c:v>
                </c:pt>
                <c:pt idx="318">
                  <c:v>19509</c:v>
                </c:pt>
                <c:pt idx="319">
                  <c:v>19539</c:v>
                </c:pt>
                <c:pt idx="320">
                  <c:v>19570</c:v>
                </c:pt>
                <c:pt idx="321">
                  <c:v>19601</c:v>
                </c:pt>
                <c:pt idx="322">
                  <c:v>19631</c:v>
                </c:pt>
                <c:pt idx="323">
                  <c:v>19662</c:v>
                </c:pt>
                <c:pt idx="324">
                  <c:v>19692</c:v>
                </c:pt>
                <c:pt idx="325">
                  <c:v>19723</c:v>
                </c:pt>
                <c:pt idx="326">
                  <c:v>19754</c:v>
                </c:pt>
                <c:pt idx="327">
                  <c:v>19783</c:v>
                </c:pt>
                <c:pt idx="328">
                  <c:v>19814</c:v>
                </c:pt>
                <c:pt idx="329">
                  <c:v>19844</c:v>
                </c:pt>
                <c:pt idx="330">
                  <c:v>19875</c:v>
                </c:pt>
                <c:pt idx="331">
                  <c:v>19905</c:v>
                </c:pt>
                <c:pt idx="332">
                  <c:v>19936</c:v>
                </c:pt>
                <c:pt idx="333">
                  <c:v>19967</c:v>
                </c:pt>
                <c:pt idx="334">
                  <c:v>19997</c:v>
                </c:pt>
                <c:pt idx="335">
                  <c:v>20028</c:v>
                </c:pt>
                <c:pt idx="336">
                  <c:v>20058</c:v>
                </c:pt>
                <c:pt idx="337">
                  <c:v>20089</c:v>
                </c:pt>
                <c:pt idx="338">
                  <c:v>20120</c:v>
                </c:pt>
                <c:pt idx="339">
                  <c:v>20148</c:v>
                </c:pt>
                <c:pt idx="340">
                  <c:v>20179</c:v>
                </c:pt>
                <c:pt idx="341">
                  <c:v>20209</c:v>
                </c:pt>
                <c:pt idx="342">
                  <c:v>20240</c:v>
                </c:pt>
                <c:pt idx="343">
                  <c:v>20270</c:v>
                </c:pt>
                <c:pt idx="344">
                  <c:v>20301</c:v>
                </c:pt>
                <c:pt idx="345">
                  <c:v>20332</c:v>
                </c:pt>
                <c:pt idx="346">
                  <c:v>20362</c:v>
                </c:pt>
                <c:pt idx="347">
                  <c:v>20393</c:v>
                </c:pt>
                <c:pt idx="348">
                  <c:v>20423</c:v>
                </c:pt>
                <c:pt idx="349">
                  <c:v>20454</c:v>
                </c:pt>
                <c:pt idx="350">
                  <c:v>20485</c:v>
                </c:pt>
                <c:pt idx="351">
                  <c:v>20513</c:v>
                </c:pt>
                <c:pt idx="352">
                  <c:v>20544</c:v>
                </c:pt>
                <c:pt idx="353">
                  <c:v>20574</c:v>
                </c:pt>
                <c:pt idx="354">
                  <c:v>20605</c:v>
                </c:pt>
                <c:pt idx="355">
                  <c:v>20635</c:v>
                </c:pt>
                <c:pt idx="356">
                  <c:v>20666</c:v>
                </c:pt>
                <c:pt idx="357">
                  <c:v>20697</c:v>
                </c:pt>
                <c:pt idx="358">
                  <c:v>20727</c:v>
                </c:pt>
                <c:pt idx="359">
                  <c:v>20758</c:v>
                </c:pt>
                <c:pt idx="360">
                  <c:v>20788</c:v>
                </c:pt>
                <c:pt idx="361">
                  <c:v>20819</c:v>
                </c:pt>
                <c:pt idx="362">
                  <c:v>20850</c:v>
                </c:pt>
                <c:pt idx="363">
                  <c:v>20878</c:v>
                </c:pt>
                <c:pt idx="364">
                  <c:v>20909</c:v>
                </c:pt>
                <c:pt idx="365">
                  <c:v>20939</c:v>
                </c:pt>
                <c:pt idx="366">
                  <c:v>20970</c:v>
                </c:pt>
                <c:pt idx="367">
                  <c:v>21000</c:v>
                </c:pt>
                <c:pt idx="368">
                  <c:v>21031</c:v>
                </c:pt>
                <c:pt idx="369">
                  <c:v>21062</c:v>
                </c:pt>
                <c:pt idx="370">
                  <c:v>21092</c:v>
                </c:pt>
                <c:pt idx="371">
                  <c:v>21123</c:v>
                </c:pt>
                <c:pt idx="372">
                  <c:v>21153</c:v>
                </c:pt>
                <c:pt idx="373">
                  <c:v>21184</c:v>
                </c:pt>
                <c:pt idx="374">
                  <c:v>21215</c:v>
                </c:pt>
                <c:pt idx="375">
                  <c:v>21244</c:v>
                </c:pt>
              </c:numCache>
            </c:numRef>
          </c:xVal>
          <c:yVal>
            <c:numRef>
              <c:f>Sheet1!$A$6:$NL$6</c:f>
              <c:numCache>
                <c:formatCode>General</c:formatCode>
                <c:ptCount val="376"/>
                <c:pt idx="315">
                  <c:v>6.788184433123714</c:v>
                </c:pt>
                <c:pt idx="316">
                  <c:v>6.8816680372105505</c:v>
                </c:pt>
                <c:pt idx="317">
                  <c:v>7.0686352453842245</c:v>
                </c:pt>
                <c:pt idx="318">
                  <c:v>7.6359107520020748</c:v>
                </c:pt>
                <c:pt idx="319">
                  <c:v>8.3800614868069516</c:v>
                </c:pt>
                <c:pt idx="320">
                  <c:v>8.5425954802761108</c:v>
                </c:pt>
                <c:pt idx="321">
                  <c:v>8.472482777210983</c:v>
                </c:pt>
                <c:pt idx="322">
                  <c:v>8.7465597073746633</c:v>
                </c:pt>
                <c:pt idx="323">
                  <c:v>9.9607842468207366</c:v>
                </c:pt>
                <c:pt idx="324">
                  <c:v>11.441118363809451</c:v>
                </c:pt>
                <c:pt idx="325">
                  <c:v>12.217138509098476</c:v>
                </c:pt>
                <c:pt idx="326">
                  <c:v>11.906411756878025</c:v>
                </c:pt>
                <c:pt idx="327">
                  <c:v>10.943955560256729</c:v>
                </c:pt>
                <c:pt idx="328">
                  <c:v>10.016555715167996</c:v>
                </c:pt>
                <c:pt idx="329">
                  <c:v>10.022929597264826</c:v>
                </c:pt>
                <c:pt idx="330">
                  <c:v>10.485036049284986</c:v>
                </c:pt>
                <c:pt idx="331">
                  <c:v>10.940768619208313</c:v>
                </c:pt>
                <c:pt idx="332">
                  <c:v>11.065059320096495</c:v>
                </c:pt>
                <c:pt idx="333">
                  <c:v>10.947142501305144</c:v>
                </c:pt>
                <c:pt idx="334">
                  <c:v>11.187756550460469</c:v>
                </c:pt>
                <c:pt idx="335">
                  <c:v>12.413135383575993</c:v>
                </c:pt>
                <c:pt idx="336">
                  <c:v>13.926932381573065</c:v>
                </c:pt>
                <c:pt idx="337">
                  <c:v>14.867079990855459</c:v>
                </c:pt>
                <c:pt idx="338">
                  <c:v>14.401786597786884</c:v>
                </c:pt>
                <c:pt idx="339">
                  <c:v>13.230585762494414</c:v>
                </c:pt>
                <c:pt idx="340">
                  <c:v>11.995646106233641</c:v>
                </c:pt>
                <c:pt idx="341">
                  <c:v>11.941468108410589</c:v>
                </c:pt>
                <c:pt idx="342">
                  <c:v>12.417915795148614</c:v>
                </c:pt>
                <c:pt idx="343">
                  <c:v>12.880022247168775</c:v>
                </c:pt>
                <c:pt idx="344">
                  <c:v>12.953321891282316</c:v>
                </c:pt>
                <c:pt idx="345">
                  <c:v>12.857713659829871</c:v>
                </c:pt>
                <c:pt idx="346">
                  <c:v>13.068051769025255</c:v>
                </c:pt>
                <c:pt idx="347">
                  <c:v>14.132490079195826</c:v>
                </c:pt>
                <c:pt idx="348">
                  <c:v>15.308471326060918</c:v>
                </c:pt>
                <c:pt idx="349">
                  <c:v>16.047841649293172</c:v>
                </c:pt>
                <c:pt idx="350">
                  <c:v>15.455070614288005</c:v>
                </c:pt>
                <c:pt idx="351">
                  <c:v>14.100620668711677</c:v>
                </c:pt>
                <c:pt idx="352">
                  <c:v>12.242634037485795</c:v>
                </c:pt>
                <c:pt idx="353">
                  <c:v>12.175708275469082</c:v>
                </c:pt>
                <c:pt idx="354">
                  <c:v>12.462532969826423</c:v>
                </c:pt>
                <c:pt idx="355">
                  <c:v>12.778040133619498</c:v>
                </c:pt>
                <c:pt idx="356">
                  <c:v>12.85133977773304</c:v>
                </c:pt>
                <c:pt idx="357">
                  <c:v>12.758918487329009</c:v>
                </c:pt>
                <c:pt idx="358">
                  <c:v>12.982004360718053</c:v>
                </c:pt>
                <c:pt idx="359">
                  <c:v>14.04325572984021</c:v>
                </c:pt>
                <c:pt idx="360">
                  <c:v>15.263854151383114</c:v>
                </c:pt>
              </c:numCache>
            </c:numRef>
          </c:yVal>
          <c:smooth val="0"/>
          <c:extLst>
            <c:ext xmlns:c16="http://schemas.microsoft.com/office/drawing/2014/chart" uri="{C3380CC4-5D6E-409C-BE32-E72D297353CC}">
              <c16:uniqueId val="{00000004-8087-4B53-B89D-FC4B66629CCE}"/>
            </c:ext>
          </c:extLst>
        </c:ser>
        <c:ser>
          <c:idx val="5"/>
          <c:order val="5"/>
          <c:spPr>
            <a:ln w="38100" algn="ctr">
              <a:solidFill>
                <a:schemeClr val="accent1"/>
              </a:solidFill>
              <a:prstDash val="sysDot"/>
            </a:ln>
          </c:spPr>
          <c:marker>
            <c:symbol val="none"/>
          </c:marker>
          <c:xVal>
            <c:numRef>
              <c:f>Sheet1!$A$1:$NL$1</c:f>
              <c:numCache>
                <c:formatCode>General</c:formatCode>
                <c:ptCount val="376"/>
                <c:pt idx="0">
                  <c:v>9862</c:v>
                </c:pt>
                <c:pt idx="1">
                  <c:v>9893</c:v>
                </c:pt>
                <c:pt idx="2">
                  <c:v>9921</c:v>
                </c:pt>
                <c:pt idx="3">
                  <c:v>9952</c:v>
                </c:pt>
                <c:pt idx="4">
                  <c:v>9982</c:v>
                </c:pt>
                <c:pt idx="5">
                  <c:v>10013</c:v>
                </c:pt>
                <c:pt idx="6">
                  <c:v>10043</c:v>
                </c:pt>
                <c:pt idx="7">
                  <c:v>10074</c:v>
                </c:pt>
                <c:pt idx="8">
                  <c:v>10105</c:v>
                </c:pt>
                <c:pt idx="9">
                  <c:v>10135</c:v>
                </c:pt>
                <c:pt idx="10">
                  <c:v>10166</c:v>
                </c:pt>
                <c:pt idx="11">
                  <c:v>10196</c:v>
                </c:pt>
                <c:pt idx="12">
                  <c:v>10227</c:v>
                </c:pt>
                <c:pt idx="13">
                  <c:v>10258</c:v>
                </c:pt>
                <c:pt idx="14">
                  <c:v>10286</c:v>
                </c:pt>
                <c:pt idx="15">
                  <c:v>10317</c:v>
                </c:pt>
                <c:pt idx="16">
                  <c:v>10347</c:v>
                </c:pt>
                <c:pt idx="17">
                  <c:v>10378</c:v>
                </c:pt>
                <c:pt idx="18">
                  <c:v>10408</c:v>
                </c:pt>
                <c:pt idx="19">
                  <c:v>10439</c:v>
                </c:pt>
                <c:pt idx="20">
                  <c:v>10470</c:v>
                </c:pt>
                <c:pt idx="21">
                  <c:v>10500</c:v>
                </c:pt>
                <c:pt idx="22">
                  <c:v>10531</c:v>
                </c:pt>
                <c:pt idx="23">
                  <c:v>10561</c:v>
                </c:pt>
                <c:pt idx="24">
                  <c:v>10592</c:v>
                </c:pt>
                <c:pt idx="25">
                  <c:v>10623</c:v>
                </c:pt>
                <c:pt idx="26">
                  <c:v>10651</c:v>
                </c:pt>
                <c:pt idx="27">
                  <c:v>10682</c:v>
                </c:pt>
                <c:pt idx="28">
                  <c:v>10712</c:v>
                </c:pt>
                <c:pt idx="29">
                  <c:v>10743</c:v>
                </c:pt>
                <c:pt idx="30">
                  <c:v>10773</c:v>
                </c:pt>
                <c:pt idx="31">
                  <c:v>10804</c:v>
                </c:pt>
                <c:pt idx="32">
                  <c:v>10835</c:v>
                </c:pt>
                <c:pt idx="33">
                  <c:v>10865</c:v>
                </c:pt>
                <c:pt idx="34">
                  <c:v>10896</c:v>
                </c:pt>
                <c:pt idx="35">
                  <c:v>10926</c:v>
                </c:pt>
                <c:pt idx="36">
                  <c:v>10957</c:v>
                </c:pt>
                <c:pt idx="37">
                  <c:v>10988</c:v>
                </c:pt>
                <c:pt idx="38">
                  <c:v>11017</c:v>
                </c:pt>
                <c:pt idx="39">
                  <c:v>11048</c:v>
                </c:pt>
                <c:pt idx="40">
                  <c:v>11078</c:v>
                </c:pt>
                <c:pt idx="41">
                  <c:v>11109</c:v>
                </c:pt>
                <c:pt idx="42">
                  <c:v>11139</c:v>
                </c:pt>
                <c:pt idx="43">
                  <c:v>11170</c:v>
                </c:pt>
                <c:pt idx="44">
                  <c:v>11201</c:v>
                </c:pt>
                <c:pt idx="45">
                  <c:v>11231</c:v>
                </c:pt>
                <c:pt idx="46">
                  <c:v>11262</c:v>
                </c:pt>
                <c:pt idx="47">
                  <c:v>11292</c:v>
                </c:pt>
                <c:pt idx="48">
                  <c:v>11323</c:v>
                </c:pt>
                <c:pt idx="49">
                  <c:v>11354</c:v>
                </c:pt>
                <c:pt idx="50">
                  <c:v>11382</c:v>
                </c:pt>
                <c:pt idx="51">
                  <c:v>11413</c:v>
                </c:pt>
                <c:pt idx="52">
                  <c:v>11443</c:v>
                </c:pt>
                <c:pt idx="53">
                  <c:v>11474</c:v>
                </c:pt>
                <c:pt idx="54">
                  <c:v>11504</c:v>
                </c:pt>
                <c:pt idx="55">
                  <c:v>11535</c:v>
                </c:pt>
                <c:pt idx="56">
                  <c:v>11566</c:v>
                </c:pt>
                <c:pt idx="57">
                  <c:v>11596</c:v>
                </c:pt>
                <c:pt idx="58">
                  <c:v>11627</c:v>
                </c:pt>
                <c:pt idx="59">
                  <c:v>11657</c:v>
                </c:pt>
                <c:pt idx="60">
                  <c:v>11688</c:v>
                </c:pt>
                <c:pt idx="61">
                  <c:v>11719</c:v>
                </c:pt>
                <c:pt idx="62">
                  <c:v>11747</c:v>
                </c:pt>
                <c:pt idx="63">
                  <c:v>11778</c:v>
                </c:pt>
                <c:pt idx="64">
                  <c:v>11808</c:v>
                </c:pt>
                <c:pt idx="65">
                  <c:v>11839</c:v>
                </c:pt>
                <c:pt idx="66">
                  <c:v>11869</c:v>
                </c:pt>
                <c:pt idx="67">
                  <c:v>11900</c:v>
                </c:pt>
                <c:pt idx="68">
                  <c:v>11931</c:v>
                </c:pt>
                <c:pt idx="69">
                  <c:v>11961</c:v>
                </c:pt>
                <c:pt idx="70">
                  <c:v>11992</c:v>
                </c:pt>
                <c:pt idx="71">
                  <c:v>12022</c:v>
                </c:pt>
                <c:pt idx="72">
                  <c:v>12053</c:v>
                </c:pt>
                <c:pt idx="73">
                  <c:v>12084</c:v>
                </c:pt>
                <c:pt idx="74">
                  <c:v>12112</c:v>
                </c:pt>
                <c:pt idx="75">
                  <c:v>12143</c:v>
                </c:pt>
                <c:pt idx="76">
                  <c:v>12173</c:v>
                </c:pt>
                <c:pt idx="77">
                  <c:v>12204</c:v>
                </c:pt>
                <c:pt idx="78">
                  <c:v>12234</c:v>
                </c:pt>
                <c:pt idx="79">
                  <c:v>12265</c:v>
                </c:pt>
                <c:pt idx="80">
                  <c:v>12296</c:v>
                </c:pt>
                <c:pt idx="81">
                  <c:v>12326</c:v>
                </c:pt>
                <c:pt idx="82">
                  <c:v>12357</c:v>
                </c:pt>
                <c:pt idx="83">
                  <c:v>12387</c:v>
                </c:pt>
                <c:pt idx="84">
                  <c:v>12418</c:v>
                </c:pt>
                <c:pt idx="85">
                  <c:v>12449</c:v>
                </c:pt>
                <c:pt idx="86">
                  <c:v>12478</c:v>
                </c:pt>
                <c:pt idx="87">
                  <c:v>12509</c:v>
                </c:pt>
                <c:pt idx="88">
                  <c:v>12539</c:v>
                </c:pt>
                <c:pt idx="89">
                  <c:v>12570</c:v>
                </c:pt>
                <c:pt idx="90">
                  <c:v>12600</c:v>
                </c:pt>
                <c:pt idx="91">
                  <c:v>12631</c:v>
                </c:pt>
                <c:pt idx="92">
                  <c:v>12662</c:v>
                </c:pt>
                <c:pt idx="93">
                  <c:v>12692</c:v>
                </c:pt>
                <c:pt idx="94">
                  <c:v>12723</c:v>
                </c:pt>
                <c:pt idx="95">
                  <c:v>12753</c:v>
                </c:pt>
                <c:pt idx="96">
                  <c:v>12784</c:v>
                </c:pt>
                <c:pt idx="97">
                  <c:v>12815</c:v>
                </c:pt>
                <c:pt idx="98">
                  <c:v>12843</c:v>
                </c:pt>
                <c:pt idx="99">
                  <c:v>12874</c:v>
                </c:pt>
                <c:pt idx="100">
                  <c:v>12904</c:v>
                </c:pt>
                <c:pt idx="101">
                  <c:v>12935</c:v>
                </c:pt>
                <c:pt idx="102">
                  <c:v>12965</c:v>
                </c:pt>
                <c:pt idx="103">
                  <c:v>12996</c:v>
                </c:pt>
                <c:pt idx="104">
                  <c:v>13027</c:v>
                </c:pt>
                <c:pt idx="105">
                  <c:v>13057</c:v>
                </c:pt>
                <c:pt idx="106">
                  <c:v>13088</c:v>
                </c:pt>
                <c:pt idx="107">
                  <c:v>13118</c:v>
                </c:pt>
                <c:pt idx="108">
                  <c:v>13149</c:v>
                </c:pt>
                <c:pt idx="109">
                  <c:v>13180</c:v>
                </c:pt>
                <c:pt idx="110">
                  <c:v>13208</c:v>
                </c:pt>
                <c:pt idx="111">
                  <c:v>13239</c:v>
                </c:pt>
                <c:pt idx="112">
                  <c:v>13269</c:v>
                </c:pt>
                <c:pt idx="113">
                  <c:v>13300</c:v>
                </c:pt>
                <c:pt idx="114">
                  <c:v>13330</c:v>
                </c:pt>
                <c:pt idx="115">
                  <c:v>13361</c:v>
                </c:pt>
                <c:pt idx="116">
                  <c:v>13392</c:v>
                </c:pt>
                <c:pt idx="117">
                  <c:v>13422</c:v>
                </c:pt>
                <c:pt idx="118">
                  <c:v>13453</c:v>
                </c:pt>
                <c:pt idx="119">
                  <c:v>13483</c:v>
                </c:pt>
                <c:pt idx="120">
                  <c:v>13514</c:v>
                </c:pt>
                <c:pt idx="121">
                  <c:v>13545</c:v>
                </c:pt>
                <c:pt idx="122">
                  <c:v>13573</c:v>
                </c:pt>
                <c:pt idx="123">
                  <c:v>13604</c:v>
                </c:pt>
                <c:pt idx="124">
                  <c:v>13634</c:v>
                </c:pt>
                <c:pt idx="125">
                  <c:v>13665</c:v>
                </c:pt>
                <c:pt idx="126">
                  <c:v>13695</c:v>
                </c:pt>
                <c:pt idx="127">
                  <c:v>13726</c:v>
                </c:pt>
                <c:pt idx="128">
                  <c:v>13757</c:v>
                </c:pt>
                <c:pt idx="129">
                  <c:v>13787</c:v>
                </c:pt>
                <c:pt idx="130">
                  <c:v>13818</c:v>
                </c:pt>
                <c:pt idx="131">
                  <c:v>13848</c:v>
                </c:pt>
                <c:pt idx="132">
                  <c:v>13879</c:v>
                </c:pt>
                <c:pt idx="133">
                  <c:v>13910</c:v>
                </c:pt>
                <c:pt idx="134">
                  <c:v>13939</c:v>
                </c:pt>
                <c:pt idx="135">
                  <c:v>13970</c:v>
                </c:pt>
                <c:pt idx="136">
                  <c:v>14000</c:v>
                </c:pt>
                <c:pt idx="137">
                  <c:v>14031</c:v>
                </c:pt>
                <c:pt idx="138">
                  <c:v>14061</c:v>
                </c:pt>
                <c:pt idx="139">
                  <c:v>14092</c:v>
                </c:pt>
                <c:pt idx="140">
                  <c:v>14123</c:v>
                </c:pt>
                <c:pt idx="141">
                  <c:v>14153</c:v>
                </c:pt>
                <c:pt idx="142">
                  <c:v>14184</c:v>
                </c:pt>
                <c:pt idx="143">
                  <c:v>14214</c:v>
                </c:pt>
                <c:pt idx="144">
                  <c:v>14245</c:v>
                </c:pt>
                <c:pt idx="145">
                  <c:v>14276</c:v>
                </c:pt>
                <c:pt idx="146">
                  <c:v>14304</c:v>
                </c:pt>
                <c:pt idx="147">
                  <c:v>14335</c:v>
                </c:pt>
                <c:pt idx="148">
                  <c:v>14365</c:v>
                </c:pt>
                <c:pt idx="149">
                  <c:v>14396</c:v>
                </c:pt>
                <c:pt idx="150">
                  <c:v>14426</c:v>
                </c:pt>
                <c:pt idx="151">
                  <c:v>14457</c:v>
                </c:pt>
                <c:pt idx="152">
                  <c:v>14488</c:v>
                </c:pt>
                <c:pt idx="153">
                  <c:v>14518</c:v>
                </c:pt>
                <c:pt idx="154">
                  <c:v>14549</c:v>
                </c:pt>
                <c:pt idx="155">
                  <c:v>14579</c:v>
                </c:pt>
                <c:pt idx="156">
                  <c:v>14610</c:v>
                </c:pt>
                <c:pt idx="157">
                  <c:v>14641</c:v>
                </c:pt>
                <c:pt idx="158">
                  <c:v>14669</c:v>
                </c:pt>
                <c:pt idx="159">
                  <c:v>14700</c:v>
                </c:pt>
                <c:pt idx="160">
                  <c:v>14730</c:v>
                </c:pt>
                <c:pt idx="161">
                  <c:v>14761</c:v>
                </c:pt>
                <c:pt idx="162">
                  <c:v>14791</c:v>
                </c:pt>
                <c:pt idx="163">
                  <c:v>14822</c:v>
                </c:pt>
                <c:pt idx="164">
                  <c:v>14853</c:v>
                </c:pt>
                <c:pt idx="165">
                  <c:v>14883</c:v>
                </c:pt>
                <c:pt idx="166">
                  <c:v>14914</c:v>
                </c:pt>
                <c:pt idx="167">
                  <c:v>14944</c:v>
                </c:pt>
                <c:pt idx="168">
                  <c:v>14975</c:v>
                </c:pt>
                <c:pt idx="169">
                  <c:v>15006</c:v>
                </c:pt>
                <c:pt idx="170">
                  <c:v>15034</c:v>
                </c:pt>
                <c:pt idx="171">
                  <c:v>15065</c:v>
                </c:pt>
                <c:pt idx="172">
                  <c:v>15095</c:v>
                </c:pt>
                <c:pt idx="173">
                  <c:v>15126</c:v>
                </c:pt>
                <c:pt idx="174">
                  <c:v>15156</c:v>
                </c:pt>
                <c:pt idx="175">
                  <c:v>15187</c:v>
                </c:pt>
                <c:pt idx="176">
                  <c:v>15218</c:v>
                </c:pt>
                <c:pt idx="177">
                  <c:v>15248</c:v>
                </c:pt>
                <c:pt idx="178">
                  <c:v>15279</c:v>
                </c:pt>
                <c:pt idx="179">
                  <c:v>15309</c:v>
                </c:pt>
                <c:pt idx="180">
                  <c:v>15340</c:v>
                </c:pt>
                <c:pt idx="181">
                  <c:v>15371</c:v>
                </c:pt>
                <c:pt idx="182">
                  <c:v>15400</c:v>
                </c:pt>
                <c:pt idx="183">
                  <c:v>15431</c:v>
                </c:pt>
                <c:pt idx="184">
                  <c:v>15461</c:v>
                </c:pt>
                <c:pt idx="185">
                  <c:v>15492</c:v>
                </c:pt>
                <c:pt idx="186">
                  <c:v>15522</c:v>
                </c:pt>
                <c:pt idx="187">
                  <c:v>15553</c:v>
                </c:pt>
                <c:pt idx="188">
                  <c:v>15584</c:v>
                </c:pt>
                <c:pt idx="189">
                  <c:v>15614</c:v>
                </c:pt>
                <c:pt idx="190">
                  <c:v>15645</c:v>
                </c:pt>
                <c:pt idx="191">
                  <c:v>15675</c:v>
                </c:pt>
                <c:pt idx="192">
                  <c:v>15706</c:v>
                </c:pt>
                <c:pt idx="193">
                  <c:v>15737</c:v>
                </c:pt>
                <c:pt idx="194">
                  <c:v>15765</c:v>
                </c:pt>
                <c:pt idx="195">
                  <c:v>15796</c:v>
                </c:pt>
                <c:pt idx="196">
                  <c:v>15826</c:v>
                </c:pt>
                <c:pt idx="197">
                  <c:v>15857</c:v>
                </c:pt>
                <c:pt idx="198">
                  <c:v>15887</c:v>
                </c:pt>
                <c:pt idx="199">
                  <c:v>15918</c:v>
                </c:pt>
                <c:pt idx="200">
                  <c:v>15949</c:v>
                </c:pt>
                <c:pt idx="201">
                  <c:v>15979</c:v>
                </c:pt>
                <c:pt idx="202">
                  <c:v>16010</c:v>
                </c:pt>
                <c:pt idx="203">
                  <c:v>16040</c:v>
                </c:pt>
                <c:pt idx="204">
                  <c:v>16071</c:v>
                </c:pt>
                <c:pt idx="205">
                  <c:v>16102</c:v>
                </c:pt>
                <c:pt idx="206">
                  <c:v>16130</c:v>
                </c:pt>
                <c:pt idx="207">
                  <c:v>16161</c:v>
                </c:pt>
                <c:pt idx="208">
                  <c:v>16191</c:v>
                </c:pt>
                <c:pt idx="209">
                  <c:v>16222</c:v>
                </c:pt>
                <c:pt idx="210">
                  <c:v>16252</c:v>
                </c:pt>
                <c:pt idx="211">
                  <c:v>16283</c:v>
                </c:pt>
                <c:pt idx="212">
                  <c:v>16314</c:v>
                </c:pt>
                <c:pt idx="213">
                  <c:v>16344</c:v>
                </c:pt>
                <c:pt idx="214">
                  <c:v>16375</c:v>
                </c:pt>
                <c:pt idx="215">
                  <c:v>16405</c:v>
                </c:pt>
                <c:pt idx="216">
                  <c:v>16436</c:v>
                </c:pt>
                <c:pt idx="217">
                  <c:v>16467</c:v>
                </c:pt>
                <c:pt idx="218">
                  <c:v>16495</c:v>
                </c:pt>
                <c:pt idx="219">
                  <c:v>16526</c:v>
                </c:pt>
                <c:pt idx="220">
                  <c:v>16556</c:v>
                </c:pt>
                <c:pt idx="221">
                  <c:v>16587</c:v>
                </c:pt>
                <c:pt idx="222">
                  <c:v>16617</c:v>
                </c:pt>
                <c:pt idx="223">
                  <c:v>16648</c:v>
                </c:pt>
                <c:pt idx="224">
                  <c:v>16679</c:v>
                </c:pt>
                <c:pt idx="225">
                  <c:v>16709</c:v>
                </c:pt>
                <c:pt idx="226">
                  <c:v>16740</c:v>
                </c:pt>
                <c:pt idx="227">
                  <c:v>16770</c:v>
                </c:pt>
                <c:pt idx="228">
                  <c:v>16801</c:v>
                </c:pt>
                <c:pt idx="229">
                  <c:v>16832</c:v>
                </c:pt>
                <c:pt idx="230">
                  <c:v>16861</c:v>
                </c:pt>
                <c:pt idx="231">
                  <c:v>16892</c:v>
                </c:pt>
                <c:pt idx="232">
                  <c:v>16922</c:v>
                </c:pt>
                <c:pt idx="233">
                  <c:v>16953</c:v>
                </c:pt>
                <c:pt idx="234">
                  <c:v>16983</c:v>
                </c:pt>
                <c:pt idx="235">
                  <c:v>17014</c:v>
                </c:pt>
                <c:pt idx="236">
                  <c:v>17045</c:v>
                </c:pt>
                <c:pt idx="237">
                  <c:v>17075</c:v>
                </c:pt>
                <c:pt idx="238">
                  <c:v>17106</c:v>
                </c:pt>
                <c:pt idx="239">
                  <c:v>17136</c:v>
                </c:pt>
                <c:pt idx="240">
                  <c:v>17167</c:v>
                </c:pt>
                <c:pt idx="241">
                  <c:v>17198</c:v>
                </c:pt>
                <c:pt idx="242">
                  <c:v>17226</c:v>
                </c:pt>
                <c:pt idx="243">
                  <c:v>17257</c:v>
                </c:pt>
                <c:pt idx="244">
                  <c:v>17287</c:v>
                </c:pt>
                <c:pt idx="245">
                  <c:v>17318</c:v>
                </c:pt>
                <c:pt idx="246">
                  <c:v>17348</c:v>
                </c:pt>
                <c:pt idx="247">
                  <c:v>17379</c:v>
                </c:pt>
                <c:pt idx="248">
                  <c:v>17410</c:v>
                </c:pt>
                <c:pt idx="249">
                  <c:v>17440</c:v>
                </c:pt>
                <c:pt idx="250">
                  <c:v>17471</c:v>
                </c:pt>
                <c:pt idx="251">
                  <c:v>17501</c:v>
                </c:pt>
                <c:pt idx="252">
                  <c:v>17532</c:v>
                </c:pt>
                <c:pt idx="253">
                  <c:v>17563</c:v>
                </c:pt>
                <c:pt idx="254">
                  <c:v>17591</c:v>
                </c:pt>
                <c:pt idx="255">
                  <c:v>17622</c:v>
                </c:pt>
                <c:pt idx="256">
                  <c:v>17652</c:v>
                </c:pt>
                <c:pt idx="257">
                  <c:v>17683</c:v>
                </c:pt>
                <c:pt idx="258">
                  <c:v>17713</c:v>
                </c:pt>
                <c:pt idx="259">
                  <c:v>17744</c:v>
                </c:pt>
                <c:pt idx="260">
                  <c:v>17775</c:v>
                </c:pt>
                <c:pt idx="261">
                  <c:v>17805</c:v>
                </c:pt>
                <c:pt idx="262">
                  <c:v>17836</c:v>
                </c:pt>
                <c:pt idx="263">
                  <c:v>17866</c:v>
                </c:pt>
                <c:pt idx="264">
                  <c:v>17897</c:v>
                </c:pt>
                <c:pt idx="265">
                  <c:v>17928</c:v>
                </c:pt>
                <c:pt idx="266">
                  <c:v>17956</c:v>
                </c:pt>
                <c:pt idx="267">
                  <c:v>17987</c:v>
                </c:pt>
                <c:pt idx="268">
                  <c:v>18017</c:v>
                </c:pt>
                <c:pt idx="269">
                  <c:v>18048</c:v>
                </c:pt>
                <c:pt idx="270">
                  <c:v>18078</c:v>
                </c:pt>
                <c:pt idx="271">
                  <c:v>18109</c:v>
                </c:pt>
                <c:pt idx="272">
                  <c:v>18140</c:v>
                </c:pt>
                <c:pt idx="273">
                  <c:v>18170</c:v>
                </c:pt>
                <c:pt idx="274">
                  <c:v>18201</c:v>
                </c:pt>
                <c:pt idx="275">
                  <c:v>18231</c:v>
                </c:pt>
                <c:pt idx="276">
                  <c:v>18262</c:v>
                </c:pt>
                <c:pt idx="277">
                  <c:v>18293</c:v>
                </c:pt>
                <c:pt idx="278">
                  <c:v>18322</c:v>
                </c:pt>
                <c:pt idx="279">
                  <c:v>18353</c:v>
                </c:pt>
                <c:pt idx="280">
                  <c:v>18383</c:v>
                </c:pt>
                <c:pt idx="281">
                  <c:v>18414</c:v>
                </c:pt>
                <c:pt idx="282">
                  <c:v>18444</c:v>
                </c:pt>
                <c:pt idx="283">
                  <c:v>18475</c:v>
                </c:pt>
                <c:pt idx="284">
                  <c:v>18506</c:v>
                </c:pt>
                <c:pt idx="285">
                  <c:v>18536</c:v>
                </c:pt>
                <c:pt idx="286">
                  <c:v>18567</c:v>
                </c:pt>
                <c:pt idx="287">
                  <c:v>18597</c:v>
                </c:pt>
                <c:pt idx="288">
                  <c:v>18628</c:v>
                </c:pt>
                <c:pt idx="289">
                  <c:v>18659</c:v>
                </c:pt>
                <c:pt idx="290">
                  <c:v>18687</c:v>
                </c:pt>
                <c:pt idx="291">
                  <c:v>18718</c:v>
                </c:pt>
                <c:pt idx="292">
                  <c:v>18748</c:v>
                </c:pt>
                <c:pt idx="293">
                  <c:v>18779</c:v>
                </c:pt>
                <c:pt idx="294">
                  <c:v>18809</c:v>
                </c:pt>
                <c:pt idx="295">
                  <c:v>18840</c:v>
                </c:pt>
                <c:pt idx="296">
                  <c:v>18871</c:v>
                </c:pt>
                <c:pt idx="297">
                  <c:v>18901</c:v>
                </c:pt>
                <c:pt idx="298">
                  <c:v>18932</c:v>
                </c:pt>
                <c:pt idx="299">
                  <c:v>18962</c:v>
                </c:pt>
                <c:pt idx="300">
                  <c:v>18993</c:v>
                </c:pt>
                <c:pt idx="301">
                  <c:v>19024</c:v>
                </c:pt>
                <c:pt idx="302">
                  <c:v>19052</c:v>
                </c:pt>
                <c:pt idx="303">
                  <c:v>19083</c:v>
                </c:pt>
                <c:pt idx="304">
                  <c:v>19113</c:v>
                </c:pt>
                <c:pt idx="305">
                  <c:v>19144</c:v>
                </c:pt>
                <c:pt idx="306">
                  <c:v>19174</c:v>
                </c:pt>
                <c:pt idx="307">
                  <c:v>19205</c:v>
                </c:pt>
                <c:pt idx="308">
                  <c:v>19236</c:v>
                </c:pt>
                <c:pt idx="309">
                  <c:v>19266</c:v>
                </c:pt>
                <c:pt idx="310">
                  <c:v>19297</c:v>
                </c:pt>
                <c:pt idx="311">
                  <c:v>19327</c:v>
                </c:pt>
                <c:pt idx="312">
                  <c:v>19358</c:v>
                </c:pt>
                <c:pt idx="313">
                  <c:v>19389</c:v>
                </c:pt>
                <c:pt idx="314">
                  <c:v>19417</c:v>
                </c:pt>
                <c:pt idx="315">
                  <c:v>19448</c:v>
                </c:pt>
                <c:pt idx="316">
                  <c:v>19458</c:v>
                </c:pt>
                <c:pt idx="317">
                  <c:v>19478</c:v>
                </c:pt>
                <c:pt idx="318">
                  <c:v>19509</c:v>
                </c:pt>
                <c:pt idx="319">
                  <c:v>19539</c:v>
                </c:pt>
                <c:pt idx="320">
                  <c:v>19570</c:v>
                </c:pt>
                <c:pt idx="321">
                  <c:v>19601</c:v>
                </c:pt>
                <c:pt idx="322">
                  <c:v>19631</c:v>
                </c:pt>
                <c:pt idx="323">
                  <c:v>19662</c:v>
                </c:pt>
                <c:pt idx="324">
                  <c:v>19692</c:v>
                </c:pt>
                <c:pt idx="325">
                  <c:v>19723</c:v>
                </c:pt>
                <c:pt idx="326">
                  <c:v>19754</c:v>
                </c:pt>
                <c:pt idx="327">
                  <c:v>19783</c:v>
                </c:pt>
                <c:pt idx="328">
                  <c:v>19814</c:v>
                </c:pt>
                <c:pt idx="329">
                  <c:v>19844</c:v>
                </c:pt>
                <c:pt idx="330">
                  <c:v>19875</c:v>
                </c:pt>
                <c:pt idx="331">
                  <c:v>19905</c:v>
                </c:pt>
                <c:pt idx="332">
                  <c:v>19936</c:v>
                </c:pt>
                <c:pt idx="333">
                  <c:v>19967</c:v>
                </c:pt>
                <c:pt idx="334">
                  <c:v>19997</c:v>
                </c:pt>
                <c:pt idx="335">
                  <c:v>20028</c:v>
                </c:pt>
                <c:pt idx="336">
                  <c:v>20058</c:v>
                </c:pt>
                <c:pt idx="337">
                  <c:v>20089</c:v>
                </c:pt>
                <c:pt idx="338">
                  <c:v>20120</c:v>
                </c:pt>
                <c:pt idx="339">
                  <c:v>20148</c:v>
                </c:pt>
                <c:pt idx="340">
                  <c:v>20179</c:v>
                </c:pt>
                <c:pt idx="341">
                  <c:v>20209</c:v>
                </c:pt>
                <c:pt idx="342">
                  <c:v>20240</c:v>
                </c:pt>
                <c:pt idx="343">
                  <c:v>20270</c:v>
                </c:pt>
                <c:pt idx="344">
                  <c:v>20301</c:v>
                </c:pt>
                <c:pt idx="345">
                  <c:v>20332</c:v>
                </c:pt>
                <c:pt idx="346">
                  <c:v>20362</c:v>
                </c:pt>
                <c:pt idx="347">
                  <c:v>20393</c:v>
                </c:pt>
                <c:pt idx="348">
                  <c:v>20423</c:v>
                </c:pt>
                <c:pt idx="349">
                  <c:v>20454</c:v>
                </c:pt>
                <c:pt idx="350">
                  <c:v>20485</c:v>
                </c:pt>
                <c:pt idx="351">
                  <c:v>20513</c:v>
                </c:pt>
                <c:pt idx="352">
                  <c:v>20544</c:v>
                </c:pt>
                <c:pt idx="353">
                  <c:v>20574</c:v>
                </c:pt>
                <c:pt idx="354">
                  <c:v>20605</c:v>
                </c:pt>
                <c:pt idx="355">
                  <c:v>20635</c:v>
                </c:pt>
                <c:pt idx="356">
                  <c:v>20666</c:v>
                </c:pt>
                <c:pt idx="357">
                  <c:v>20697</c:v>
                </c:pt>
                <c:pt idx="358">
                  <c:v>20727</c:v>
                </c:pt>
                <c:pt idx="359">
                  <c:v>20758</c:v>
                </c:pt>
                <c:pt idx="360">
                  <c:v>20788</c:v>
                </c:pt>
                <c:pt idx="361">
                  <c:v>20819</c:v>
                </c:pt>
                <c:pt idx="362">
                  <c:v>20850</c:v>
                </c:pt>
                <c:pt idx="363">
                  <c:v>20878</c:v>
                </c:pt>
                <c:pt idx="364">
                  <c:v>20909</c:v>
                </c:pt>
                <c:pt idx="365">
                  <c:v>20939</c:v>
                </c:pt>
                <c:pt idx="366">
                  <c:v>20970</c:v>
                </c:pt>
                <c:pt idx="367">
                  <c:v>21000</c:v>
                </c:pt>
                <c:pt idx="368">
                  <c:v>21031</c:v>
                </c:pt>
                <c:pt idx="369">
                  <c:v>21062</c:v>
                </c:pt>
                <c:pt idx="370">
                  <c:v>21092</c:v>
                </c:pt>
                <c:pt idx="371">
                  <c:v>21123</c:v>
                </c:pt>
                <c:pt idx="372">
                  <c:v>21153</c:v>
                </c:pt>
                <c:pt idx="373">
                  <c:v>21184</c:v>
                </c:pt>
                <c:pt idx="374">
                  <c:v>21215</c:v>
                </c:pt>
                <c:pt idx="375">
                  <c:v>21244</c:v>
                </c:pt>
              </c:numCache>
            </c:numRef>
          </c:xVal>
          <c:yVal>
            <c:numRef>
              <c:f>Sheet1!$A$7:$NL$7</c:f>
              <c:numCache>
                <c:formatCode>General</c:formatCode>
                <c:ptCount val="376"/>
                <c:pt idx="316">
                  <c:v>46.15</c:v>
                </c:pt>
                <c:pt idx="317">
                  <c:v>45.457999999999998</c:v>
                </c:pt>
                <c:pt idx="318">
                  <c:v>45.701000000000001</c:v>
                </c:pt>
                <c:pt idx="319">
                  <c:v>45.744</c:v>
                </c:pt>
                <c:pt idx="320">
                  <c:v>46.8645</c:v>
                </c:pt>
                <c:pt idx="321">
                  <c:v>47.984999999999999</c:v>
                </c:pt>
                <c:pt idx="322">
                  <c:v>50.32377049180328</c:v>
                </c:pt>
                <c:pt idx="323">
                  <c:v>52.740499999999997</c:v>
                </c:pt>
                <c:pt idx="324">
                  <c:v>55.079270491803278</c:v>
                </c:pt>
                <c:pt idx="325">
                  <c:v>57.496000000000002</c:v>
                </c:pt>
                <c:pt idx="326">
                  <c:v>56.823879120879127</c:v>
                </c:pt>
                <c:pt idx="327">
                  <c:v>56.195120879120878</c:v>
                </c:pt>
                <c:pt idx="328">
                  <c:v>55.523000000000003</c:v>
                </c:pt>
                <c:pt idx="329">
                  <c:v>55.301131868131868</c:v>
                </c:pt>
                <c:pt idx="330">
                  <c:v>55.071868131868136</c:v>
                </c:pt>
                <c:pt idx="331">
                  <c:v>54.85</c:v>
                </c:pt>
                <c:pt idx="332">
                  <c:v>56.105499999999999</c:v>
                </c:pt>
                <c:pt idx="333">
                  <c:v>57.361000000000004</c:v>
                </c:pt>
                <c:pt idx="334">
                  <c:v>58.576000000000001</c:v>
                </c:pt>
                <c:pt idx="335">
                  <c:v>56.17912087912088</c:v>
                </c:pt>
                <c:pt idx="336">
                  <c:v>53.85956043956044</c:v>
                </c:pt>
                <c:pt idx="337">
                  <c:v>51.462681318681319</c:v>
                </c:pt>
                <c:pt idx="338">
                  <c:v>49.065802197802199</c:v>
                </c:pt>
                <c:pt idx="339">
                  <c:v>46.900879120879118</c:v>
                </c:pt>
                <c:pt idx="340">
                  <c:v>44.503999999999998</c:v>
                </c:pt>
                <c:pt idx="341">
                  <c:v>45.155639344262291</c:v>
                </c:pt>
                <c:pt idx="342">
                  <c:v>45.829000000000001</c:v>
                </c:pt>
                <c:pt idx="343">
                  <c:v>46.480639344262293</c:v>
                </c:pt>
                <c:pt idx="344">
                  <c:v>47.153999999999996</c:v>
                </c:pt>
                <c:pt idx="345">
                  <c:v>47.827360655737706</c:v>
                </c:pt>
                <c:pt idx="346">
                  <c:v>48.478999999999999</c:v>
                </c:pt>
                <c:pt idx="347">
                  <c:v>45.377652173913042</c:v>
                </c:pt>
                <c:pt idx="348">
                  <c:v>42.376347826086956</c:v>
                </c:pt>
                <c:pt idx="349">
                  <c:v>39.274999999999999</c:v>
                </c:pt>
                <c:pt idx="350">
                  <c:v>38.852635616438356</c:v>
                </c:pt>
                <c:pt idx="351">
                  <c:v>38.471145205479452</c:v>
                </c:pt>
                <c:pt idx="352">
                  <c:v>38.048780821917809</c:v>
                </c:pt>
                <c:pt idx="353">
                  <c:v>37.64004109589041</c:v>
                </c:pt>
                <c:pt idx="354">
                  <c:v>37.217676712328768</c:v>
                </c:pt>
                <c:pt idx="355">
                  <c:v>36.808936986301369</c:v>
                </c:pt>
                <c:pt idx="356">
                  <c:v>36.386572602739726</c:v>
                </c:pt>
                <c:pt idx="357">
                  <c:v>35.964208219178083</c:v>
                </c:pt>
                <c:pt idx="358">
                  <c:v>35.555468493150684</c:v>
                </c:pt>
                <c:pt idx="359">
                  <c:v>35.133104109589041</c:v>
                </c:pt>
                <c:pt idx="360">
                  <c:v>34.724364383561642</c:v>
                </c:pt>
                <c:pt idx="361">
                  <c:v>34.302</c:v>
                </c:pt>
              </c:numCache>
            </c:numRef>
          </c:yVal>
          <c:smooth val="0"/>
          <c:extLst>
            <c:ext xmlns:c16="http://schemas.microsoft.com/office/drawing/2014/chart" uri="{C3380CC4-5D6E-409C-BE32-E72D297353CC}">
              <c16:uniqueId val="{00000005-8087-4B53-B89D-FC4B66629CCE}"/>
            </c:ext>
          </c:extLst>
        </c:ser>
        <c:dLbls>
          <c:showLegendKey val="0"/>
          <c:showVal val="0"/>
          <c:showCatName val="0"/>
          <c:showSerName val="0"/>
          <c:showPercent val="0"/>
          <c:showBubbleSize val="0"/>
        </c:dLbls>
        <c:axId val="1333617023"/>
        <c:axId val="1"/>
      </c:scatterChart>
      <c:valAx>
        <c:axId val="1333617023"/>
        <c:scaling>
          <c:orientation val="minMax"/>
          <c:max val="21915"/>
          <c:min val="9131"/>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 val="min"/>
        <c:crossBetween val="midCat"/>
      </c:valAx>
      <c:valAx>
        <c:axId val="1"/>
        <c:scaling>
          <c:orientation val="minMax"/>
          <c:max val="24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333617023"/>
        <c:crosses val="min"/>
        <c:crossBetween val="midCat"/>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369172216936251E-2"/>
          <c:y val="2.8169014084507043E-2"/>
          <c:w val="0.97526165556612754"/>
          <c:h val="0.94366197183098588"/>
        </c:manualLayout>
      </c:layout>
      <c:barChart>
        <c:barDir val="col"/>
        <c:grouping val="stacked"/>
        <c:varyColors val="0"/>
        <c:ser>
          <c:idx val="0"/>
          <c:order val="0"/>
          <c:spPr>
            <a:solidFill>
              <a:schemeClr val="accent1"/>
            </a:solidFill>
            <a:ln w="9525" algn="ctr">
              <a:solidFill>
                <a:schemeClr val="bg1"/>
              </a:solidFill>
              <a:prstDash val="solid"/>
            </a:ln>
          </c:spPr>
          <c:invertIfNegative val="0"/>
          <c:dPt>
            <c:idx val="31"/>
            <c:invertIfNegative val="0"/>
            <c:bubble3D val="0"/>
            <c:spPr>
              <a:solidFill>
                <a:srgbClr val="E6E6E6"/>
              </a:solidFill>
              <a:ln w="9525" algn="ctr">
                <a:solidFill>
                  <a:schemeClr val="accent1"/>
                </a:solidFill>
                <a:prstDash val="solid"/>
              </a:ln>
            </c:spPr>
            <c:extLst>
              <c:ext xmlns:c16="http://schemas.microsoft.com/office/drawing/2014/chart" uri="{C3380CC4-5D6E-409C-BE32-E72D297353CC}">
                <c16:uniqueId val="{00000000-406C-463C-A903-3A0B32B909D8}"/>
              </c:ext>
            </c:extLst>
          </c:dPt>
          <c:dPt>
            <c:idx val="32"/>
            <c:invertIfNegative val="0"/>
            <c:bubble3D val="0"/>
            <c:spPr>
              <a:solidFill>
                <a:srgbClr val="E6E6E6"/>
              </a:solidFill>
              <a:ln w="9525" algn="ctr">
                <a:solidFill>
                  <a:schemeClr val="accent1"/>
                </a:solidFill>
                <a:prstDash val="solid"/>
              </a:ln>
            </c:spPr>
            <c:extLst>
              <c:ext xmlns:c16="http://schemas.microsoft.com/office/drawing/2014/chart" uri="{C3380CC4-5D6E-409C-BE32-E72D297353CC}">
                <c16:uniqueId val="{00000001-406C-463C-A903-3A0B32B909D8}"/>
              </c:ext>
            </c:extLst>
          </c:dPt>
          <c:dPt>
            <c:idx val="35"/>
            <c:invertIfNegative val="0"/>
            <c:bubble3D val="0"/>
            <c:spPr>
              <a:noFill/>
              <a:ln w="9525" algn="ctr">
                <a:solidFill>
                  <a:schemeClr val="accent1"/>
                </a:solidFill>
                <a:prstDash val="solid"/>
              </a:ln>
            </c:spPr>
            <c:extLst>
              <c:ext xmlns:c16="http://schemas.microsoft.com/office/drawing/2014/chart" uri="{C3380CC4-5D6E-409C-BE32-E72D297353CC}">
                <c16:uniqueId val="{00000002-406C-463C-A903-3A0B32B909D8}"/>
              </c:ext>
            </c:extLst>
          </c:dPt>
          <c:val>
            <c:numRef>
              <c:f>Sheet1!$A$1:$AJ$1</c:f>
              <c:numCache>
                <c:formatCode>General</c:formatCode>
                <c:ptCount val="36"/>
                <c:pt idx="0">
                  <c:v>0.33</c:v>
                </c:pt>
                <c:pt idx="1">
                  <c:v>0.32500000000000001</c:v>
                </c:pt>
                <c:pt idx="2">
                  <c:v>0.38999999999999996</c:v>
                </c:pt>
                <c:pt idx="3">
                  <c:v>0.36</c:v>
                </c:pt>
                <c:pt idx="4">
                  <c:v>0.38999999999999996</c:v>
                </c:pt>
                <c:pt idx="5">
                  <c:v>0.38</c:v>
                </c:pt>
                <c:pt idx="6">
                  <c:v>0.41000000000000003</c:v>
                </c:pt>
                <c:pt idx="7">
                  <c:v>0.36</c:v>
                </c:pt>
                <c:pt idx="8">
                  <c:v>0.37</c:v>
                </c:pt>
                <c:pt idx="9">
                  <c:v>0.38</c:v>
                </c:pt>
                <c:pt idx="10">
                  <c:v>0.41000000000000003</c:v>
                </c:pt>
                <c:pt idx="11">
                  <c:v>0.48</c:v>
                </c:pt>
                <c:pt idx="12">
                  <c:v>0.44</c:v>
                </c:pt>
                <c:pt idx="13">
                  <c:v>0.54999999999999993</c:v>
                </c:pt>
                <c:pt idx="14">
                  <c:v>0.57000000000000006</c:v>
                </c:pt>
                <c:pt idx="15">
                  <c:v>0.80999999999999994</c:v>
                </c:pt>
                <c:pt idx="16">
                  <c:v>1</c:v>
                </c:pt>
                <c:pt idx="17">
                  <c:v>0.91</c:v>
                </c:pt>
                <c:pt idx="18">
                  <c:v>1.1199999999999999</c:v>
                </c:pt>
                <c:pt idx="19">
                  <c:v>1.4200000000000002</c:v>
                </c:pt>
                <c:pt idx="20">
                  <c:v>1.3599999999999999</c:v>
                </c:pt>
                <c:pt idx="21">
                  <c:v>1.08</c:v>
                </c:pt>
                <c:pt idx="22">
                  <c:v>1.03</c:v>
                </c:pt>
                <c:pt idx="23">
                  <c:v>0.86999999999999988</c:v>
                </c:pt>
                <c:pt idx="24">
                  <c:v>0.82000000000000006</c:v>
                </c:pt>
                <c:pt idx="25">
                  <c:v>0.67999999999999994</c:v>
                </c:pt>
                <c:pt idx="26">
                  <c:v>0.66</c:v>
                </c:pt>
                <c:pt idx="27">
                  <c:v>0.53</c:v>
                </c:pt>
                <c:pt idx="28">
                  <c:v>0.5</c:v>
                </c:pt>
                <c:pt idx="29">
                  <c:v>0.49</c:v>
                </c:pt>
                <c:pt idx="30">
                  <c:v>0.45999999999999996</c:v>
                </c:pt>
                <c:pt idx="31">
                  <c:v>1.7999999999999998</c:v>
                </c:pt>
                <c:pt idx="32">
                  <c:v>1.7000000000000002</c:v>
                </c:pt>
                <c:pt idx="35">
                  <c:v>3</c:v>
                </c:pt>
              </c:numCache>
            </c:numRef>
          </c:val>
          <c:extLst>
            <c:ext xmlns:c16="http://schemas.microsoft.com/office/drawing/2014/chart" uri="{C3380CC4-5D6E-409C-BE32-E72D297353CC}">
              <c16:uniqueId val="{00000003-406C-463C-A903-3A0B32B909D8}"/>
            </c:ext>
          </c:extLst>
        </c:ser>
        <c:ser>
          <c:idx val="1"/>
          <c:order val="1"/>
          <c:spPr>
            <a:solidFill>
              <a:srgbClr val="359AFF"/>
            </a:solidFill>
            <a:ln w="9525" algn="ctr">
              <a:solidFill>
                <a:schemeClr val="bg1"/>
              </a:solidFill>
              <a:prstDash val="solid"/>
            </a:ln>
          </c:spPr>
          <c:invertIfNegative val="0"/>
          <c:val>
            <c:numRef>
              <c:f>Sheet1!$A$2:$AJ$2</c:f>
              <c:numCache>
                <c:formatCode>General</c:formatCode>
                <c:ptCount val="36"/>
                <c:pt idx="0">
                  <c:v>0.59999999999999987</c:v>
                </c:pt>
                <c:pt idx="1">
                  <c:v>0.59000000000000008</c:v>
                </c:pt>
                <c:pt idx="2">
                  <c:v>0.65000000000000013</c:v>
                </c:pt>
                <c:pt idx="3">
                  <c:v>0.54</c:v>
                </c:pt>
                <c:pt idx="4">
                  <c:v>0.56000000000000005</c:v>
                </c:pt>
                <c:pt idx="5">
                  <c:v>0.51</c:v>
                </c:pt>
                <c:pt idx="6">
                  <c:v>0.53</c:v>
                </c:pt>
                <c:pt idx="7">
                  <c:v>0.41000000000000003</c:v>
                </c:pt>
                <c:pt idx="8">
                  <c:v>0.42000000000000004</c:v>
                </c:pt>
                <c:pt idx="9">
                  <c:v>0.42000000000000004</c:v>
                </c:pt>
                <c:pt idx="10">
                  <c:v>0.42000000000000004</c:v>
                </c:pt>
                <c:pt idx="11">
                  <c:v>0.44999999999999996</c:v>
                </c:pt>
                <c:pt idx="12">
                  <c:v>0.41000000000000009</c:v>
                </c:pt>
                <c:pt idx="13">
                  <c:v>0.47000000000000008</c:v>
                </c:pt>
                <c:pt idx="14">
                  <c:v>0.47</c:v>
                </c:pt>
                <c:pt idx="15">
                  <c:v>0.63</c:v>
                </c:pt>
                <c:pt idx="16">
                  <c:v>0.57000000000000006</c:v>
                </c:pt>
                <c:pt idx="17">
                  <c:v>0.56999999999999995</c:v>
                </c:pt>
                <c:pt idx="18">
                  <c:v>0.49</c:v>
                </c:pt>
                <c:pt idx="19">
                  <c:v>0.61999999999999988</c:v>
                </c:pt>
                <c:pt idx="20">
                  <c:v>0.75</c:v>
                </c:pt>
                <c:pt idx="21">
                  <c:v>0.95000000000000018</c:v>
                </c:pt>
                <c:pt idx="22">
                  <c:v>1.0000000000000002</c:v>
                </c:pt>
                <c:pt idx="23">
                  <c:v>1.01</c:v>
                </c:pt>
                <c:pt idx="24">
                  <c:v>0.79</c:v>
                </c:pt>
                <c:pt idx="25">
                  <c:v>0.76</c:v>
                </c:pt>
                <c:pt idx="26">
                  <c:v>0.62</c:v>
                </c:pt>
                <c:pt idx="27">
                  <c:v>0.91999999999999993</c:v>
                </c:pt>
                <c:pt idx="28">
                  <c:v>0.91000000000000014</c:v>
                </c:pt>
                <c:pt idx="29">
                  <c:v>1.01</c:v>
                </c:pt>
                <c:pt idx="30">
                  <c:v>0.99000000000000021</c:v>
                </c:pt>
              </c:numCache>
            </c:numRef>
          </c:val>
          <c:extLst>
            <c:ext xmlns:c16="http://schemas.microsoft.com/office/drawing/2014/chart" uri="{C3380CC4-5D6E-409C-BE32-E72D297353CC}">
              <c16:uniqueId val="{00000004-406C-463C-A903-3A0B32B909D8}"/>
            </c:ext>
          </c:extLst>
        </c:ser>
        <c:dLbls>
          <c:showLegendKey val="0"/>
          <c:showVal val="0"/>
          <c:showCatName val="0"/>
          <c:showSerName val="0"/>
          <c:showPercent val="0"/>
          <c:showBubbleSize val="0"/>
        </c:dLbls>
        <c:gapWidth val="40"/>
        <c:overlap val="100"/>
        <c:axId val="2018069872"/>
        <c:axId val="1"/>
      </c:barChart>
      <c:catAx>
        <c:axId val="2018069872"/>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3"/>
          <c:min val="0"/>
        </c:scaling>
        <c:delete val="1"/>
        <c:axPos val="l"/>
        <c:numFmt formatCode="General" sourceLinked="1"/>
        <c:majorTickMark val="out"/>
        <c:minorTickMark val="none"/>
        <c:tickLblPos val="nextTo"/>
        <c:crossAx val="2018069872"/>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826566729127629E-2"/>
          <c:y val="3.6011080332409975E-2"/>
          <c:w val="0.97834686654174474"/>
          <c:h val="0.92797783933518008"/>
        </c:manualLayout>
      </c:layout>
      <c:barChart>
        <c:barDir val="col"/>
        <c:grouping val="stacked"/>
        <c:varyColors val="0"/>
        <c:ser>
          <c:idx val="0"/>
          <c:order val="0"/>
          <c:spPr>
            <a:solidFill>
              <a:srgbClr val="007800"/>
            </a:solidFill>
            <a:ln w="9525" algn="ctr">
              <a:solidFill>
                <a:schemeClr val="bg1"/>
              </a:solidFill>
              <a:prstDash val="solid"/>
            </a:ln>
          </c:spPr>
          <c:invertIfNegative val="0"/>
          <c:dPt>
            <c:idx val="0"/>
            <c:invertIfNegative val="0"/>
            <c:bubble3D val="0"/>
            <c:spPr>
              <a:solidFill>
                <a:srgbClr val="D0D0D0"/>
              </a:solidFill>
              <a:ln w="9525" algn="ctr">
                <a:solidFill>
                  <a:schemeClr val="bg1"/>
                </a:solidFill>
                <a:prstDash val="solid"/>
              </a:ln>
            </c:spPr>
            <c:extLst>
              <c:ext xmlns:c16="http://schemas.microsoft.com/office/drawing/2014/chart" uri="{C3380CC4-5D6E-409C-BE32-E72D297353CC}">
                <c16:uniqueId val="{00000000-85F6-4CEE-9203-1A550F4DF1DD}"/>
              </c:ext>
            </c:extLst>
          </c:dPt>
          <c:dLbls>
            <c:dLbl>
              <c:idx val="0"/>
              <c:layout>
                <c:manualLayout>
                  <c:x val="0"/>
                  <c:y val="0"/>
                </c:manualLayout>
              </c:layout>
              <c:numFmt formatCode="#,##0;&quot;-&quot;#,##0;0" sourceLinked="0"/>
              <c:spPr>
                <a:noFill/>
                <a:ln>
                  <a:noFill/>
                </a:ln>
              </c:spPr>
              <c:txPr>
                <a:bodyPr wrap="none"/>
                <a:lstStyle/>
                <a:p>
                  <a:pPr>
                    <a:defRPr sz="1200" kern="1200">
                      <a:solidFill>
                        <a:schemeClr val="tx1"/>
                      </a:solidFill>
                      <a:latin typeface="Bahnschrift"/>
                      <a:ea typeface="Bahnschrift"/>
                      <a:cs typeface="Bahnschrift"/>
                      <a:sym typeface="Bahnschrif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5F6-4CEE-9203-1A550F4DF1DD}"/>
                </c:ext>
              </c:extLst>
            </c:dLbl>
            <c:dLbl>
              <c:idx val="2"/>
              <c:layout>
                <c:manualLayout>
                  <c:x val="0"/>
                  <c:y val="0"/>
                </c:manualLayout>
              </c:layout>
              <c:numFmt formatCode="#,##0;&quot;-&quot;#,##0;0" sourceLinked="0"/>
              <c:spPr>
                <a:noFill/>
                <a:ln>
                  <a:noFill/>
                </a:ln>
              </c:spPr>
              <c:txPr>
                <a:bodyPr wrap="none"/>
                <a:lstStyle/>
                <a:p>
                  <a:pPr>
                    <a:defRPr sz="1200" kern="1200">
                      <a:solidFill>
                        <a:schemeClr val="bg1"/>
                      </a:solidFill>
                      <a:latin typeface="Bahnschrift"/>
                      <a:ea typeface="Bahnschrift"/>
                      <a:cs typeface="Bahnschrift"/>
                      <a:sym typeface="Bahnschrif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5F6-4CEE-9203-1A550F4DF1DD}"/>
                </c:ext>
              </c:extLst>
            </c:dLbl>
            <c:dLbl>
              <c:idx val="4"/>
              <c:layout>
                <c:manualLayout>
                  <c:x val="0"/>
                  <c:y val="-6.925207756232687E-4"/>
                </c:manualLayout>
              </c:layout>
              <c:numFmt formatCode="#,##0;&quot;-&quot;#,##0;0" sourceLinked="0"/>
              <c:spPr>
                <a:noFill/>
                <a:ln>
                  <a:noFill/>
                </a:ln>
              </c:spPr>
              <c:txPr>
                <a:bodyPr wrap="none"/>
                <a:lstStyle/>
                <a:p>
                  <a:pPr>
                    <a:defRPr sz="1200" kern="1200">
                      <a:solidFill>
                        <a:schemeClr val="bg1"/>
                      </a:solidFill>
                      <a:latin typeface="Bahnschrift"/>
                      <a:ea typeface="Bahnschrift"/>
                      <a:cs typeface="Bahnschrift"/>
                      <a:sym typeface="Bahnschrif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5F6-4CEE-9203-1A550F4DF1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80.12785183230757</c:v>
                </c:pt>
                <c:pt idx="2">
                  <c:v>72</c:v>
                </c:pt>
                <c:pt idx="4">
                  <c:v>15</c:v>
                </c:pt>
                <c:pt idx="6">
                  <c:v>20</c:v>
                </c:pt>
              </c:numCache>
            </c:numRef>
          </c:val>
          <c:extLst>
            <c:ext xmlns:c16="http://schemas.microsoft.com/office/drawing/2014/chart" uri="{C3380CC4-5D6E-409C-BE32-E72D297353CC}">
              <c16:uniqueId val="{00000003-85F6-4CEE-9203-1A550F4DF1DD}"/>
            </c:ext>
          </c:extLst>
        </c:ser>
        <c:ser>
          <c:idx val="1"/>
          <c:order val="1"/>
          <c:spPr>
            <a:solidFill>
              <a:srgbClr val="1DA3BA"/>
            </a:solidFill>
            <a:ln w="9525" algn="ctr">
              <a:solidFill>
                <a:schemeClr val="bg1"/>
              </a:solidFill>
              <a:prstDash val="solid"/>
            </a:ln>
          </c:spPr>
          <c:invertIfNegative val="0"/>
          <c:dPt>
            <c:idx val="0"/>
            <c:invertIfNegative val="0"/>
            <c:bubble3D val="0"/>
            <c:spPr>
              <a:solidFill>
                <a:srgbClr val="007800"/>
              </a:solidFill>
              <a:ln w="9525" algn="ctr">
                <a:solidFill>
                  <a:schemeClr val="bg1"/>
                </a:solidFill>
                <a:prstDash val="solid"/>
              </a:ln>
            </c:spPr>
            <c:extLst>
              <c:ext xmlns:c16="http://schemas.microsoft.com/office/drawing/2014/chart" uri="{C3380CC4-5D6E-409C-BE32-E72D297353CC}">
                <c16:uniqueId val="{00000004-85F6-4CEE-9203-1A550F4DF1DD}"/>
              </c:ext>
            </c:extLst>
          </c:dPt>
          <c:dLbls>
            <c:dLbl>
              <c:idx val="2"/>
              <c:layout>
                <c:manualLayout>
                  <c:x val="0"/>
                  <c:y val="0"/>
                </c:manualLayout>
              </c:layout>
              <c:numFmt formatCode="#,##0;&quot;-&quot;#,##0;0" sourceLinked="0"/>
              <c:spPr>
                <a:noFill/>
                <a:ln>
                  <a:noFill/>
                </a:ln>
              </c:spPr>
              <c:txPr>
                <a:bodyPr wrap="none"/>
                <a:lstStyle/>
                <a:p>
                  <a:pPr>
                    <a:defRPr sz="1200" kern="1200">
                      <a:solidFill>
                        <a:schemeClr val="bg1"/>
                      </a:solidFill>
                      <a:latin typeface="Bahnschrift"/>
                      <a:ea typeface="Bahnschrift"/>
                      <a:cs typeface="Bahnschrift"/>
                      <a:sym typeface="Bahnschrif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5F6-4CEE-9203-1A550F4DF1DD}"/>
                </c:ext>
              </c:extLst>
            </c:dLbl>
            <c:dLbl>
              <c:idx val="4"/>
              <c:layout>
                <c:manualLayout>
                  <c:x val="0"/>
                  <c:y val="0"/>
                </c:manualLayout>
              </c:layout>
              <c:numFmt formatCode="#,##0;&quot;-&quot;#,##0;0" sourceLinked="0"/>
              <c:spPr>
                <a:noFill/>
                <a:ln>
                  <a:noFill/>
                </a:ln>
              </c:spPr>
              <c:txPr>
                <a:bodyPr wrap="none"/>
                <a:lstStyle/>
                <a:p>
                  <a:pPr>
                    <a:defRPr sz="1200" kern="1200">
                      <a:solidFill>
                        <a:schemeClr val="bg1"/>
                      </a:solidFill>
                      <a:latin typeface="Bahnschrift"/>
                      <a:ea typeface="Bahnschrift"/>
                      <a:cs typeface="Bahnschrift"/>
                      <a:sym typeface="Bahnschrif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5F6-4CEE-9203-1A550F4DF1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2.0612423217107505</c:v>
                </c:pt>
                <c:pt idx="2">
                  <c:v>42</c:v>
                </c:pt>
                <c:pt idx="4">
                  <c:v>59</c:v>
                </c:pt>
              </c:numCache>
            </c:numRef>
          </c:val>
          <c:extLst>
            <c:ext xmlns:c16="http://schemas.microsoft.com/office/drawing/2014/chart" uri="{C3380CC4-5D6E-409C-BE32-E72D297353CC}">
              <c16:uniqueId val="{00000007-85F6-4CEE-9203-1A550F4DF1DD}"/>
            </c:ext>
          </c:extLst>
        </c:ser>
        <c:ser>
          <c:idx val="2"/>
          <c:order val="2"/>
          <c:spPr>
            <a:solidFill>
              <a:schemeClr val="accent5"/>
            </a:solidFill>
            <a:ln w="9525" algn="ctr">
              <a:solidFill>
                <a:schemeClr val="bg1"/>
              </a:solidFill>
              <a:prstDash val="solid"/>
            </a:ln>
          </c:spPr>
          <c:invertIfNegative val="0"/>
          <c:dLbls>
            <c:dLbl>
              <c:idx val="2"/>
              <c:layout>
                <c:manualLayout>
                  <c:x val="0"/>
                  <c:y val="-6.925207756232687E-4"/>
                </c:manualLayout>
              </c:layout>
              <c:numFmt formatCode="#,##0;&quot;-&quot;#,##0;0" sourceLinked="0"/>
              <c:spPr>
                <a:noFill/>
                <a:ln>
                  <a:noFill/>
                </a:ln>
              </c:spPr>
              <c:txPr>
                <a:bodyPr wrap="none"/>
                <a:lstStyle/>
                <a:p>
                  <a:pPr>
                    <a:defRPr sz="1200" kern="1200">
                      <a:solidFill>
                        <a:schemeClr val="bg1"/>
                      </a:solidFill>
                      <a:latin typeface="Bahnschrift"/>
                      <a:ea typeface="Bahnschrift"/>
                      <a:cs typeface="Bahnschrift"/>
                      <a:sym typeface="Bahnschrif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5F6-4CEE-9203-1A550F4DF1DD}"/>
                </c:ext>
              </c:extLst>
            </c:dLbl>
            <c:dLbl>
              <c:idx val="4"/>
              <c:layout>
                <c:manualLayout>
                  <c:x val="0"/>
                  <c:y val="0"/>
                </c:manualLayout>
              </c:layout>
              <c:numFmt formatCode="#,##0;&quot;-&quot;#,##0;0" sourceLinked="0"/>
              <c:spPr>
                <a:noFill/>
                <a:ln>
                  <a:noFill/>
                </a:ln>
              </c:spPr>
              <c:txPr>
                <a:bodyPr wrap="none"/>
                <a:lstStyle/>
                <a:p>
                  <a:pPr>
                    <a:defRPr sz="1200" kern="1200">
                      <a:solidFill>
                        <a:schemeClr val="bg1"/>
                      </a:solidFill>
                      <a:latin typeface="Bahnschrift"/>
                      <a:ea typeface="Bahnschrift"/>
                      <a:cs typeface="Bahnschrift"/>
                      <a:sym typeface="Bahnschrift"/>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5F6-4CEE-9203-1A550F4DF1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G$3</c:f>
              <c:numCache>
                <c:formatCode>General</c:formatCode>
                <c:ptCount val="7"/>
                <c:pt idx="2">
                  <c:v>25</c:v>
                </c:pt>
                <c:pt idx="4">
                  <c:v>16</c:v>
                </c:pt>
              </c:numCache>
            </c:numRef>
          </c:val>
          <c:extLst>
            <c:ext xmlns:c16="http://schemas.microsoft.com/office/drawing/2014/chart" uri="{C3380CC4-5D6E-409C-BE32-E72D297353CC}">
              <c16:uniqueId val="{0000000A-85F6-4CEE-9203-1A550F4DF1DD}"/>
            </c:ext>
          </c:extLst>
        </c:ser>
        <c:dLbls>
          <c:showLegendKey val="0"/>
          <c:showVal val="0"/>
          <c:showCatName val="0"/>
          <c:showSerName val="0"/>
          <c:showPercent val="0"/>
          <c:showBubbleSize val="0"/>
        </c:dLbls>
        <c:gapWidth val="40"/>
        <c:overlap val="100"/>
        <c:axId val="771510415"/>
        <c:axId val="1"/>
      </c:barChart>
      <c:catAx>
        <c:axId val="771510415"/>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139"/>
          <c:min val="0"/>
        </c:scaling>
        <c:delete val="1"/>
        <c:axPos val="l"/>
        <c:numFmt formatCode="General" sourceLinked="1"/>
        <c:majorTickMark val="out"/>
        <c:minorTickMark val="none"/>
        <c:tickLblPos val="nextTo"/>
        <c:crossAx val="771510415"/>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48065650644783E-2"/>
          <c:y val="2.0750199521149242E-2"/>
          <c:w val="0.93903868698710435"/>
          <c:h val="0.95849960095770148"/>
        </c:manualLayout>
      </c:layout>
      <c:barChart>
        <c:barDir val="bar"/>
        <c:grouping val="stacked"/>
        <c:varyColors val="0"/>
        <c:ser>
          <c:idx val="0"/>
          <c:order val="0"/>
          <c:spPr>
            <a:solidFill>
              <a:schemeClr val="accent2"/>
            </a:solidFill>
            <a:ln w="9525" algn="ctr">
              <a:solidFill>
                <a:schemeClr val="bg1"/>
              </a:solidFill>
              <a:prstDash val="solid"/>
            </a:ln>
          </c:spPr>
          <c:invertIfNegative val="0"/>
          <c:val>
            <c:numRef>
              <c:f>Sheet1!$A$1:$G$1</c:f>
              <c:numCache>
                <c:formatCode>General</c:formatCode>
                <c:ptCount val="7"/>
                <c:pt idx="0">
                  <c:v>0</c:v>
                </c:pt>
                <c:pt idx="1">
                  <c:v>0</c:v>
                </c:pt>
                <c:pt idx="2">
                  <c:v>0</c:v>
                </c:pt>
                <c:pt idx="3">
                  <c:v>0</c:v>
                </c:pt>
                <c:pt idx="4">
                  <c:v>0</c:v>
                </c:pt>
                <c:pt idx="5">
                  <c:v>0</c:v>
                </c:pt>
                <c:pt idx="6">
                  <c:v>0</c:v>
                </c:pt>
              </c:numCache>
            </c:numRef>
          </c:val>
          <c:extLst>
            <c:ext xmlns:c16="http://schemas.microsoft.com/office/drawing/2014/chart" uri="{C3380CC4-5D6E-409C-BE32-E72D297353CC}">
              <c16:uniqueId val="{00000000-ACAD-493E-AF7E-E364B0BA5CAD}"/>
            </c:ext>
          </c:extLst>
        </c:ser>
        <c:ser>
          <c:idx val="1"/>
          <c:order val="1"/>
          <c:spPr>
            <a:solidFill>
              <a:schemeClr val="accent1"/>
            </a:solidFill>
            <a:ln w="9525" algn="ctr">
              <a:solidFill>
                <a:schemeClr val="bg1"/>
              </a:solidFill>
              <a:prstDash val="solid"/>
            </a:ln>
          </c:spPr>
          <c:invertIfNegative val="0"/>
          <c:dPt>
            <c:idx val="5"/>
            <c:invertIfNegative val="0"/>
            <c:bubble3D val="0"/>
            <c:spPr>
              <a:solidFill>
                <a:schemeClr val="accent1"/>
              </a:solidFill>
              <a:ln w="9525" algn="ctr">
                <a:solidFill>
                  <a:schemeClr val="accent1"/>
                </a:solidFill>
                <a:prstDash val="solid"/>
              </a:ln>
            </c:spPr>
            <c:extLst>
              <c:ext xmlns:c16="http://schemas.microsoft.com/office/drawing/2014/chart" uri="{C3380CC4-5D6E-409C-BE32-E72D297353CC}">
                <c16:uniqueId val="{00000001-ACAD-493E-AF7E-E364B0BA5CAD}"/>
              </c:ext>
            </c:extLst>
          </c:dPt>
          <c:dLbls>
            <c:dLbl>
              <c:idx val="0"/>
              <c:layout>
                <c:manualLayout>
                  <c:x val="0"/>
                  <c:y val="0"/>
                </c:manualLayout>
              </c:layout>
              <c:numFmt formatCode="#,##0;&quot;-&quot;#,##0;0" sourceLinked="0"/>
              <c:spPr>
                <a:noFill/>
                <a:ln>
                  <a:noFill/>
                </a:ln>
              </c:spPr>
              <c:txPr>
                <a:bodyPr wrap="none"/>
                <a:lstStyle/>
                <a:p>
                  <a:pPr>
                    <a:defRPr sz="1200"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CAD-493E-AF7E-E364B0BA5CAD}"/>
                </c:ext>
              </c:extLst>
            </c:dLbl>
            <c:dLbl>
              <c:idx val="1"/>
              <c:layout>
                <c:manualLayout>
                  <c:x val="0"/>
                  <c:y val="0"/>
                </c:manualLayout>
              </c:layout>
              <c:numFmt formatCode="#,##0;&quot;-&quot;#,##0;0" sourceLinked="0"/>
              <c:spPr>
                <a:noFill/>
                <a:ln>
                  <a:noFill/>
                </a:ln>
              </c:spPr>
              <c:txPr>
                <a:bodyPr wrap="none"/>
                <a:lstStyle/>
                <a:p>
                  <a:pPr>
                    <a:defRPr sz="1200"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CAD-493E-AF7E-E364B0BA5CAD}"/>
                </c:ext>
              </c:extLst>
            </c:dLbl>
            <c:dLbl>
              <c:idx val="2"/>
              <c:layout>
                <c:manualLayout>
                  <c:x val="0"/>
                  <c:y val="0"/>
                </c:manualLayout>
              </c:layout>
              <c:numFmt formatCode="#,##0;&quot;-&quot;#,##0;0" sourceLinked="0"/>
              <c:spPr>
                <a:noFill/>
                <a:ln>
                  <a:noFill/>
                </a:ln>
              </c:spPr>
              <c:txPr>
                <a:bodyPr wrap="none"/>
                <a:lstStyle/>
                <a:p>
                  <a:pPr>
                    <a:defRPr sz="1200"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CAD-493E-AF7E-E364B0BA5CAD}"/>
                </c:ext>
              </c:extLst>
            </c:dLbl>
            <c:dLbl>
              <c:idx val="3"/>
              <c:layout>
                <c:manualLayout>
                  <c:x val="0"/>
                  <c:y val="0"/>
                </c:manualLayout>
              </c:layout>
              <c:numFmt formatCode="#,##0;&quot;-&quot;#,##0;0" sourceLinked="0"/>
              <c:spPr>
                <a:noFill/>
                <a:ln>
                  <a:noFill/>
                </a:ln>
              </c:spPr>
              <c:txPr>
                <a:bodyPr wrap="none"/>
                <a:lstStyle/>
                <a:p>
                  <a:pPr>
                    <a:defRPr sz="1200"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CAD-493E-AF7E-E364B0BA5CAD}"/>
                </c:ext>
              </c:extLst>
            </c:dLbl>
            <c:dLbl>
              <c:idx val="4"/>
              <c:layout>
                <c:manualLayout>
                  <c:x val="0"/>
                  <c:y val="0"/>
                </c:manualLayout>
              </c:layout>
              <c:numFmt formatCode="#,##0;&quot;-&quot;#,##0;0" sourceLinked="0"/>
              <c:spPr>
                <a:noFill/>
                <a:ln>
                  <a:noFill/>
                </a:ln>
              </c:spPr>
              <c:txPr>
                <a:bodyPr wrap="none"/>
                <a:lstStyle/>
                <a:p>
                  <a:pPr>
                    <a:defRPr sz="1200"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CAD-493E-AF7E-E364B0BA5CAD}"/>
                </c:ext>
              </c:extLst>
            </c:dLbl>
            <c:dLbl>
              <c:idx val="5"/>
              <c:layout>
                <c:manualLayout>
                  <c:x val="0"/>
                  <c:y val="0"/>
                </c:manualLayout>
              </c:layout>
              <c:numFmt formatCode="#,##0;&quot;-&quot;#,##0;0" sourceLinked="0"/>
              <c:spPr>
                <a:noFill/>
                <a:ln>
                  <a:noFill/>
                </a:ln>
              </c:spPr>
              <c:txPr>
                <a:bodyPr wrap="none"/>
                <a:lstStyle/>
                <a:p>
                  <a:pPr>
                    <a:defRPr sz="1200"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CAD-493E-AF7E-E364B0BA5CAD}"/>
                </c:ext>
              </c:extLst>
            </c:dLbl>
            <c:dLbl>
              <c:idx val="6"/>
              <c:layout>
                <c:manualLayout>
                  <c:x val="-5.8616647127784287E-4"/>
                  <c:y val="0"/>
                </c:manualLayout>
              </c:layout>
              <c:numFmt formatCode="#,##0;&quot;-&quot;#,##0;0" sourceLinked="0"/>
              <c:spPr>
                <a:noFill/>
                <a:ln>
                  <a:noFill/>
                </a:ln>
              </c:spPr>
              <c:txPr>
                <a:bodyPr wrap="none"/>
                <a:lstStyle/>
                <a:p>
                  <a:pPr>
                    <a:defRPr sz="1200" kern="1200">
                      <a:solidFill>
                        <a:schemeClr val="bg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CAD-493E-AF7E-E364B0BA5CA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240</c:v>
                </c:pt>
                <c:pt idx="1">
                  <c:v>210</c:v>
                </c:pt>
                <c:pt idx="2">
                  <c:v>100</c:v>
                </c:pt>
                <c:pt idx="3">
                  <c:v>90</c:v>
                </c:pt>
                <c:pt idx="4">
                  <c:v>90</c:v>
                </c:pt>
                <c:pt idx="5">
                  <c:v>50</c:v>
                </c:pt>
                <c:pt idx="6">
                  <c:v>22.06</c:v>
                </c:pt>
              </c:numCache>
            </c:numRef>
          </c:val>
          <c:extLst>
            <c:ext xmlns:c16="http://schemas.microsoft.com/office/drawing/2014/chart" uri="{C3380CC4-5D6E-409C-BE32-E72D297353CC}">
              <c16:uniqueId val="{00000008-ACAD-493E-AF7E-E364B0BA5CAD}"/>
            </c:ext>
          </c:extLst>
        </c:ser>
        <c:ser>
          <c:idx val="2"/>
          <c:order val="2"/>
          <c:spPr>
            <a:solidFill>
              <a:schemeClr val="bg1"/>
            </a:solidFill>
            <a:ln w="9525" algn="ctr">
              <a:solidFill>
                <a:schemeClr val="accent1"/>
              </a:solidFill>
              <a:prstDash val="solid"/>
            </a:ln>
          </c:spPr>
          <c:invertIfNegative val="0"/>
          <c:dLbls>
            <c:dLbl>
              <c:idx val="5"/>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CAD-493E-AF7E-E364B0BA5CA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G$3</c:f>
              <c:numCache>
                <c:formatCode>General</c:formatCode>
                <c:ptCount val="7"/>
                <c:pt idx="5">
                  <c:v>18</c:v>
                </c:pt>
              </c:numCache>
            </c:numRef>
          </c:val>
          <c:extLst>
            <c:ext xmlns:c16="http://schemas.microsoft.com/office/drawing/2014/chart" uri="{C3380CC4-5D6E-409C-BE32-E72D297353CC}">
              <c16:uniqueId val="{0000000A-ACAD-493E-AF7E-E364B0BA5CAD}"/>
            </c:ext>
          </c:extLst>
        </c:ser>
        <c:dLbls>
          <c:showLegendKey val="0"/>
          <c:showVal val="0"/>
          <c:showCatName val="0"/>
          <c:showSerName val="0"/>
          <c:showPercent val="0"/>
          <c:showBubbleSize val="0"/>
        </c:dLbls>
        <c:gapWidth val="40"/>
        <c:overlap val="100"/>
        <c:axId val="611994624"/>
        <c:axId val="1"/>
      </c:barChart>
      <c:catAx>
        <c:axId val="611994624"/>
        <c:scaling>
          <c:orientation val="maxMin"/>
        </c:scaling>
        <c:delete val="0"/>
        <c:axPos val="l"/>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240"/>
          <c:min val="0"/>
        </c:scaling>
        <c:delete val="1"/>
        <c:axPos val="t"/>
        <c:numFmt formatCode="General" sourceLinked="1"/>
        <c:majorTickMark val="out"/>
        <c:minorTickMark val="none"/>
        <c:tickLblPos val="nextTo"/>
        <c:crossAx val="611994624"/>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936635105608158E-2"/>
          <c:y val="2.369020501138952E-2"/>
          <c:w val="0.96212672978878366"/>
          <c:h val="0.95261958997722096"/>
        </c:manualLayout>
      </c:layout>
      <c:scatterChart>
        <c:scatterStyle val="lineMarker"/>
        <c:varyColors val="0"/>
        <c:ser>
          <c:idx val="0"/>
          <c:order val="0"/>
          <c:spPr>
            <a:ln w="25400" algn="ctr">
              <a:solidFill>
                <a:schemeClr val="accent1"/>
              </a:solidFill>
              <a:prstDash val="solid"/>
            </a:ln>
          </c:spPr>
          <c:marker>
            <c:symbol val="none"/>
          </c:marker>
          <c:xVal>
            <c:numRef>
              <c:f>Sheet1!$A$1:$HV$1</c:f>
              <c:numCache>
                <c:formatCode>General</c:formatCode>
                <c:ptCount val="230"/>
                <c:pt idx="0">
                  <c:v>14245</c:v>
                </c:pt>
                <c:pt idx="1">
                  <c:v>14276</c:v>
                </c:pt>
                <c:pt idx="2">
                  <c:v>14304</c:v>
                </c:pt>
                <c:pt idx="3">
                  <c:v>14335</c:v>
                </c:pt>
                <c:pt idx="4">
                  <c:v>14365</c:v>
                </c:pt>
                <c:pt idx="5">
                  <c:v>14396</c:v>
                </c:pt>
                <c:pt idx="6">
                  <c:v>14426</c:v>
                </c:pt>
                <c:pt idx="7">
                  <c:v>14457</c:v>
                </c:pt>
                <c:pt idx="8">
                  <c:v>14488</c:v>
                </c:pt>
                <c:pt idx="9">
                  <c:v>14518</c:v>
                </c:pt>
                <c:pt idx="10">
                  <c:v>14549</c:v>
                </c:pt>
                <c:pt idx="11">
                  <c:v>14579</c:v>
                </c:pt>
                <c:pt idx="12">
                  <c:v>14610</c:v>
                </c:pt>
                <c:pt idx="13">
                  <c:v>14641</c:v>
                </c:pt>
                <c:pt idx="14">
                  <c:v>14669</c:v>
                </c:pt>
                <c:pt idx="15">
                  <c:v>14700</c:v>
                </c:pt>
                <c:pt idx="16">
                  <c:v>14730</c:v>
                </c:pt>
                <c:pt idx="17">
                  <c:v>14761</c:v>
                </c:pt>
                <c:pt idx="18">
                  <c:v>14791</c:v>
                </c:pt>
                <c:pt idx="19">
                  <c:v>14822</c:v>
                </c:pt>
                <c:pt idx="20">
                  <c:v>14853</c:v>
                </c:pt>
                <c:pt idx="21">
                  <c:v>14883</c:v>
                </c:pt>
                <c:pt idx="22">
                  <c:v>14914</c:v>
                </c:pt>
                <c:pt idx="23">
                  <c:v>14944</c:v>
                </c:pt>
                <c:pt idx="24">
                  <c:v>14975</c:v>
                </c:pt>
                <c:pt idx="25">
                  <c:v>15006</c:v>
                </c:pt>
                <c:pt idx="26">
                  <c:v>15034</c:v>
                </c:pt>
                <c:pt idx="27">
                  <c:v>15065</c:v>
                </c:pt>
                <c:pt idx="28">
                  <c:v>15095</c:v>
                </c:pt>
                <c:pt idx="29">
                  <c:v>15126</c:v>
                </c:pt>
                <c:pt idx="30">
                  <c:v>15156</c:v>
                </c:pt>
                <c:pt idx="31">
                  <c:v>15187</c:v>
                </c:pt>
                <c:pt idx="32">
                  <c:v>15218</c:v>
                </c:pt>
                <c:pt idx="33">
                  <c:v>15248</c:v>
                </c:pt>
                <c:pt idx="34">
                  <c:v>15279</c:v>
                </c:pt>
                <c:pt idx="35">
                  <c:v>15309</c:v>
                </c:pt>
                <c:pt idx="36">
                  <c:v>15340</c:v>
                </c:pt>
                <c:pt idx="37">
                  <c:v>15371</c:v>
                </c:pt>
                <c:pt idx="38">
                  <c:v>15400</c:v>
                </c:pt>
                <c:pt idx="39">
                  <c:v>15431</c:v>
                </c:pt>
                <c:pt idx="40">
                  <c:v>15461</c:v>
                </c:pt>
                <c:pt idx="41">
                  <c:v>15492</c:v>
                </c:pt>
                <c:pt idx="42">
                  <c:v>15522</c:v>
                </c:pt>
                <c:pt idx="43">
                  <c:v>15553</c:v>
                </c:pt>
                <c:pt idx="44">
                  <c:v>15584</c:v>
                </c:pt>
                <c:pt idx="45">
                  <c:v>15614</c:v>
                </c:pt>
                <c:pt idx="46">
                  <c:v>15645</c:v>
                </c:pt>
                <c:pt idx="47">
                  <c:v>15675</c:v>
                </c:pt>
                <c:pt idx="48">
                  <c:v>15706</c:v>
                </c:pt>
                <c:pt idx="49">
                  <c:v>15737</c:v>
                </c:pt>
                <c:pt idx="50">
                  <c:v>15765</c:v>
                </c:pt>
                <c:pt idx="51">
                  <c:v>15796</c:v>
                </c:pt>
                <c:pt idx="52">
                  <c:v>15826</c:v>
                </c:pt>
                <c:pt idx="53">
                  <c:v>15857</c:v>
                </c:pt>
                <c:pt idx="54">
                  <c:v>15887</c:v>
                </c:pt>
                <c:pt idx="55">
                  <c:v>15918</c:v>
                </c:pt>
                <c:pt idx="56">
                  <c:v>15949</c:v>
                </c:pt>
                <c:pt idx="57">
                  <c:v>15979</c:v>
                </c:pt>
                <c:pt idx="58">
                  <c:v>16010</c:v>
                </c:pt>
                <c:pt idx="59">
                  <c:v>16040</c:v>
                </c:pt>
                <c:pt idx="60">
                  <c:v>16071</c:v>
                </c:pt>
                <c:pt idx="61">
                  <c:v>16102</c:v>
                </c:pt>
                <c:pt idx="62">
                  <c:v>16130</c:v>
                </c:pt>
                <c:pt idx="63">
                  <c:v>16161</c:v>
                </c:pt>
                <c:pt idx="64">
                  <c:v>16191</c:v>
                </c:pt>
                <c:pt idx="65">
                  <c:v>16222</c:v>
                </c:pt>
                <c:pt idx="66">
                  <c:v>16252</c:v>
                </c:pt>
                <c:pt idx="67">
                  <c:v>16283</c:v>
                </c:pt>
                <c:pt idx="68">
                  <c:v>16314</c:v>
                </c:pt>
                <c:pt idx="69">
                  <c:v>16344</c:v>
                </c:pt>
                <c:pt idx="70">
                  <c:v>16375</c:v>
                </c:pt>
                <c:pt idx="71">
                  <c:v>16405</c:v>
                </c:pt>
                <c:pt idx="72">
                  <c:v>16436</c:v>
                </c:pt>
                <c:pt idx="73">
                  <c:v>16467</c:v>
                </c:pt>
                <c:pt idx="74">
                  <c:v>16495</c:v>
                </c:pt>
                <c:pt idx="75">
                  <c:v>16526</c:v>
                </c:pt>
                <c:pt idx="76">
                  <c:v>16556</c:v>
                </c:pt>
                <c:pt idx="77">
                  <c:v>16587</c:v>
                </c:pt>
                <c:pt idx="78">
                  <c:v>16617</c:v>
                </c:pt>
                <c:pt idx="79">
                  <c:v>16648</c:v>
                </c:pt>
                <c:pt idx="80">
                  <c:v>16679</c:v>
                </c:pt>
                <c:pt idx="81">
                  <c:v>16709</c:v>
                </c:pt>
                <c:pt idx="82">
                  <c:v>16740</c:v>
                </c:pt>
                <c:pt idx="83">
                  <c:v>16770</c:v>
                </c:pt>
                <c:pt idx="84">
                  <c:v>16801</c:v>
                </c:pt>
                <c:pt idx="85">
                  <c:v>16832</c:v>
                </c:pt>
                <c:pt idx="86">
                  <c:v>16861</c:v>
                </c:pt>
                <c:pt idx="87">
                  <c:v>16892</c:v>
                </c:pt>
                <c:pt idx="88">
                  <c:v>16922</c:v>
                </c:pt>
                <c:pt idx="89">
                  <c:v>16953</c:v>
                </c:pt>
                <c:pt idx="90">
                  <c:v>16983</c:v>
                </c:pt>
                <c:pt idx="91">
                  <c:v>17014</c:v>
                </c:pt>
                <c:pt idx="92">
                  <c:v>17045</c:v>
                </c:pt>
                <c:pt idx="93">
                  <c:v>17075</c:v>
                </c:pt>
                <c:pt idx="94">
                  <c:v>17106</c:v>
                </c:pt>
                <c:pt idx="95">
                  <c:v>17136</c:v>
                </c:pt>
                <c:pt idx="96">
                  <c:v>17167</c:v>
                </c:pt>
                <c:pt idx="97">
                  <c:v>17198</c:v>
                </c:pt>
                <c:pt idx="98">
                  <c:v>17226</c:v>
                </c:pt>
                <c:pt idx="99">
                  <c:v>17257</c:v>
                </c:pt>
                <c:pt idx="100">
                  <c:v>17287</c:v>
                </c:pt>
                <c:pt idx="101">
                  <c:v>17318</c:v>
                </c:pt>
                <c:pt idx="102">
                  <c:v>17348</c:v>
                </c:pt>
                <c:pt idx="103">
                  <c:v>17379</c:v>
                </c:pt>
                <c:pt idx="104">
                  <c:v>17410</c:v>
                </c:pt>
                <c:pt idx="105">
                  <c:v>17440</c:v>
                </c:pt>
                <c:pt idx="106">
                  <c:v>17471</c:v>
                </c:pt>
                <c:pt idx="107">
                  <c:v>17501</c:v>
                </c:pt>
                <c:pt idx="108">
                  <c:v>17532</c:v>
                </c:pt>
                <c:pt idx="109">
                  <c:v>17563</c:v>
                </c:pt>
                <c:pt idx="110">
                  <c:v>17591</c:v>
                </c:pt>
                <c:pt idx="111">
                  <c:v>17622</c:v>
                </c:pt>
                <c:pt idx="112">
                  <c:v>17652</c:v>
                </c:pt>
                <c:pt idx="113">
                  <c:v>17683</c:v>
                </c:pt>
                <c:pt idx="114">
                  <c:v>17713</c:v>
                </c:pt>
                <c:pt idx="115">
                  <c:v>17744</c:v>
                </c:pt>
                <c:pt idx="116">
                  <c:v>17775</c:v>
                </c:pt>
                <c:pt idx="117">
                  <c:v>17805</c:v>
                </c:pt>
                <c:pt idx="118">
                  <c:v>17836</c:v>
                </c:pt>
                <c:pt idx="119">
                  <c:v>17866</c:v>
                </c:pt>
                <c:pt idx="120">
                  <c:v>17897</c:v>
                </c:pt>
                <c:pt idx="121">
                  <c:v>17928</c:v>
                </c:pt>
                <c:pt idx="122">
                  <c:v>17956</c:v>
                </c:pt>
                <c:pt idx="123">
                  <c:v>17987</c:v>
                </c:pt>
                <c:pt idx="124">
                  <c:v>18017</c:v>
                </c:pt>
                <c:pt idx="125">
                  <c:v>18048</c:v>
                </c:pt>
                <c:pt idx="126">
                  <c:v>18078</c:v>
                </c:pt>
                <c:pt idx="127">
                  <c:v>18109</c:v>
                </c:pt>
                <c:pt idx="128">
                  <c:v>18140</c:v>
                </c:pt>
                <c:pt idx="129">
                  <c:v>18170</c:v>
                </c:pt>
                <c:pt idx="130">
                  <c:v>18201</c:v>
                </c:pt>
                <c:pt idx="131">
                  <c:v>18231</c:v>
                </c:pt>
                <c:pt idx="132">
                  <c:v>18262</c:v>
                </c:pt>
                <c:pt idx="133">
                  <c:v>18293</c:v>
                </c:pt>
                <c:pt idx="134">
                  <c:v>18322</c:v>
                </c:pt>
                <c:pt idx="135">
                  <c:v>18353</c:v>
                </c:pt>
                <c:pt idx="136">
                  <c:v>18383</c:v>
                </c:pt>
                <c:pt idx="137">
                  <c:v>18414</c:v>
                </c:pt>
                <c:pt idx="138">
                  <c:v>18444</c:v>
                </c:pt>
                <c:pt idx="139">
                  <c:v>18475</c:v>
                </c:pt>
                <c:pt idx="140">
                  <c:v>18506</c:v>
                </c:pt>
                <c:pt idx="141">
                  <c:v>18536</c:v>
                </c:pt>
                <c:pt idx="142">
                  <c:v>18567</c:v>
                </c:pt>
                <c:pt idx="143">
                  <c:v>18597</c:v>
                </c:pt>
                <c:pt idx="144">
                  <c:v>18628</c:v>
                </c:pt>
                <c:pt idx="145">
                  <c:v>18659</c:v>
                </c:pt>
                <c:pt idx="146">
                  <c:v>18687</c:v>
                </c:pt>
                <c:pt idx="147">
                  <c:v>18718</c:v>
                </c:pt>
                <c:pt idx="148">
                  <c:v>18748</c:v>
                </c:pt>
                <c:pt idx="149">
                  <c:v>18779</c:v>
                </c:pt>
                <c:pt idx="150">
                  <c:v>18809</c:v>
                </c:pt>
                <c:pt idx="151">
                  <c:v>18840</c:v>
                </c:pt>
                <c:pt idx="152">
                  <c:v>18871</c:v>
                </c:pt>
                <c:pt idx="153">
                  <c:v>18901</c:v>
                </c:pt>
                <c:pt idx="154">
                  <c:v>18932</c:v>
                </c:pt>
                <c:pt idx="155">
                  <c:v>18962</c:v>
                </c:pt>
                <c:pt idx="156">
                  <c:v>18993</c:v>
                </c:pt>
                <c:pt idx="157">
                  <c:v>19024</c:v>
                </c:pt>
                <c:pt idx="158">
                  <c:v>19052</c:v>
                </c:pt>
                <c:pt idx="159">
                  <c:v>19083</c:v>
                </c:pt>
                <c:pt idx="160">
                  <c:v>19113</c:v>
                </c:pt>
                <c:pt idx="161">
                  <c:v>19144</c:v>
                </c:pt>
                <c:pt idx="162">
                  <c:v>19174</c:v>
                </c:pt>
                <c:pt idx="163">
                  <c:v>19205</c:v>
                </c:pt>
                <c:pt idx="164">
                  <c:v>19236</c:v>
                </c:pt>
                <c:pt idx="165">
                  <c:v>19266</c:v>
                </c:pt>
                <c:pt idx="166">
                  <c:v>19297</c:v>
                </c:pt>
                <c:pt idx="167">
                  <c:v>19327</c:v>
                </c:pt>
                <c:pt idx="168">
                  <c:v>19358</c:v>
                </c:pt>
                <c:pt idx="169">
                  <c:v>19389</c:v>
                </c:pt>
                <c:pt idx="170">
                  <c:v>19417</c:v>
                </c:pt>
                <c:pt idx="171">
                  <c:v>19448</c:v>
                </c:pt>
                <c:pt idx="172">
                  <c:v>19478</c:v>
                </c:pt>
                <c:pt idx="173">
                  <c:v>19509</c:v>
                </c:pt>
                <c:pt idx="174">
                  <c:v>19539</c:v>
                </c:pt>
                <c:pt idx="175">
                  <c:v>19570</c:v>
                </c:pt>
                <c:pt idx="176">
                  <c:v>19601</c:v>
                </c:pt>
                <c:pt idx="177">
                  <c:v>19631</c:v>
                </c:pt>
                <c:pt idx="178">
                  <c:v>19662</c:v>
                </c:pt>
                <c:pt idx="179">
                  <c:v>19692</c:v>
                </c:pt>
                <c:pt idx="180">
                  <c:v>19723</c:v>
                </c:pt>
                <c:pt idx="181">
                  <c:v>19754</c:v>
                </c:pt>
                <c:pt idx="182">
                  <c:v>19783</c:v>
                </c:pt>
                <c:pt idx="183">
                  <c:v>19814</c:v>
                </c:pt>
                <c:pt idx="184">
                  <c:v>19844</c:v>
                </c:pt>
                <c:pt idx="185">
                  <c:v>19875</c:v>
                </c:pt>
                <c:pt idx="186">
                  <c:v>19905</c:v>
                </c:pt>
                <c:pt idx="187">
                  <c:v>19936</c:v>
                </c:pt>
                <c:pt idx="188">
                  <c:v>19967</c:v>
                </c:pt>
                <c:pt idx="189">
                  <c:v>19997</c:v>
                </c:pt>
                <c:pt idx="190">
                  <c:v>20028</c:v>
                </c:pt>
                <c:pt idx="191">
                  <c:v>20058</c:v>
                </c:pt>
                <c:pt idx="192">
                  <c:v>20089</c:v>
                </c:pt>
                <c:pt idx="193">
                  <c:v>20120</c:v>
                </c:pt>
                <c:pt idx="194">
                  <c:v>20148</c:v>
                </c:pt>
                <c:pt idx="195">
                  <c:v>20179</c:v>
                </c:pt>
                <c:pt idx="196">
                  <c:v>20209</c:v>
                </c:pt>
                <c:pt idx="197">
                  <c:v>20240</c:v>
                </c:pt>
                <c:pt idx="198">
                  <c:v>20270</c:v>
                </c:pt>
                <c:pt idx="199">
                  <c:v>20301</c:v>
                </c:pt>
                <c:pt idx="200">
                  <c:v>20332</c:v>
                </c:pt>
                <c:pt idx="201">
                  <c:v>20362</c:v>
                </c:pt>
                <c:pt idx="202">
                  <c:v>20393</c:v>
                </c:pt>
                <c:pt idx="203">
                  <c:v>20423</c:v>
                </c:pt>
                <c:pt idx="204">
                  <c:v>20454</c:v>
                </c:pt>
                <c:pt idx="205">
                  <c:v>20485</c:v>
                </c:pt>
                <c:pt idx="206">
                  <c:v>20513</c:v>
                </c:pt>
                <c:pt idx="207">
                  <c:v>20544</c:v>
                </c:pt>
                <c:pt idx="208">
                  <c:v>20574</c:v>
                </c:pt>
                <c:pt idx="209">
                  <c:v>20605</c:v>
                </c:pt>
                <c:pt idx="210">
                  <c:v>20635</c:v>
                </c:pt>
                <c:pt idx="211">
                  <c:v>20666</c:v>
                </c:pt>
                <c:pt idx="212">
                  <c:v>20697</c:v>
                </c:pt>
                <c:pt idx="213">
                  <c:v>20727</c:v>
                </c:pt>
                <c:pt idx="214">
                  <c:v>20758</c:v>
                </c:pt>
                <c:pt idx="215">
                  <c:v>20788</c:v>
                </c:pt>
                <c:pt idx="216">
                  <c:v>20819</c:v>
                </c:pt>
                <c:pt idx="217">
                  <c:v>20850</c:v>
                </c:pt>
                <c:pt idx="218">
                  <c:v>20878</c:v>
                </c:pt>
                <c:pt idx="219">
                  <c:v>20909</c:v>
                </c:pt>
                <c:pt idx="220">
                  <c:v>20939</c:v>
                </c:pt>
                <c:pt idx="221">
                  <c:v>20970</c:v>
                </c:pt>
                <c:pt idx="222">
                  <c:v>21000</c:v>
                </c:pt>
                <c:pt idx="223">
                  <c:v>21031</c:v>
                </c:pt>
                <c:pt idx="224">
                  <c:v>21062</c:v>
                </c:pt>
                <c:pt idx="225">
                  <c:v>21092</c:v>
                </c:pt>
                <c:pt idx="226">
                  <c:v>21123</c:v>
                </c:pt>
                <c:pt idx="227">
                  <c:v>21153</c:v>
                </c:pt>
                <c:pt idx="228">
                  <c:v>21184</c:v>
                </c:pt>
                <c:pt idx="229">
                  <c:v>21215</c:v>
                </c:pt>
              </c:numCache>
            </c:numRef>
          </c:xVal>
          <c:yVal>
            <c:numRef>
              <c:f>Sheet1!$A$2:$HV$2</c:f>
              <c:numCache>
                <c:formatCode>General</c:formatCode>
                <c:ptCount val="230"/>
                <c:pt idx="0">
                  <c:v>55.689051612903221</c:v>
                </c:pt>
                <c:pt idx="1">
                  <c:v>47.171632142857142</c:v>
                </c:pt>
                <c:pt idx="2">
                  <c:v>36.607158064516128</c:v>
                </c:pt>
                <c:pt idx="3">
                  <c:v>32.990899999999996</c:v>
                </c:pt>
                <c:pt idx="4">
                  <c:v>30.28573225806451</c:v>
                </c:pt>
                <c:pt idx="5">
                  <c:v>33.492506666666664</c:v>
                </c:pt>
                <c:pt idx="6">
                  <c:v>34.87688709677419</c:v>
                </c:pt>
                <c:pt idx="7">
                  <c:v>35.874858064516125</c:v>
                </c:pt>
                <c:pt idx="8">
                  <c:v>39.577853333333337</c:v>
                </c:pt>
                <c:pt idx="9">
                  <c:v>46.389535483870965</c:v>
                </c:pt>
                <c:pt idx="10">
                  <c:v>36.573869999999992</c:v>
                </c:pt>
                <c:pt idx="11">
                  <c:v>37.842987096774188</c:v>
                </c:pt>
                <c:pt idx="12">
                  <c:v>41.758225806451598</c:v>
                </c:pt>
                <c:pt idx="13">
                  <c:v>42.336771428571417</c:v>
                </c:pt>
                <c:pt idx="14">
                  <c:v>39.050616129032257</c:v>
                </c:pt>
                <c:pt idx="15">
                  <c:v>40.378529999999998</c:v>
                </c:pt>
                <c:pt idx="16">
                  <c:v>42.254212903225806</c:v>
                </c:pt>
                <c:pt idx="17">
                  <c:v>43.141439999999982</c:v>
                </c:pt>
                <c:pt idx="18">
                  <c:v>46.612280645161292</c:v>
                </c:pt>
                <c:pt idx="19">
                  <c:v>39.934345161290324</c:v>
                </c:pt>
                <c:pt idx="20">
                  <c:v>46.113663333333335</c:v>
                </c:pt>
                <c:pt idx="21">
                  <c:v>51.236283870967732</c:v>
                </c:pt>
                <c:pt idx="22">
                  <c:v>49.703516666666673</c:v>
                </c:pt>
                <c:pt idx="23">
                  <c:v>54.98006451612904</c:v>
                </c:pt>
                <c:pt idx="24">
                  <c:v>50.341919354838701</c:v>
                </c:pt>
                <c:pt idx="25">
                  <c:v>50.879582142857153</c:v>
                </c:pt>
                <c:pt idx="26">
                  <c:v>55.068732258064529</c:v>
                </c:pt>
                <c:pt idx="27">
                  <c:v>52.520996666666655</c:v>
                </c:pt>
                <c:pt idx="28">
                  <c:v>57.92485483870967</c:v>
                </c:pt>
                <c:pt idx="29">
                  <c:v>53.150686666666665</c:v>
                </c:pt>
                <c:pt idx="30">
                  <c:v>46.810367741935487</c:v>
                </c:pt>
                <c:pt idx="31">
                  <c:v>48.621754838709684</c:v>
                </c:pt>
                <c:pt idx="32">
                  <c:v>53.751229999999993</c:v>
                </c:pt>
                <c:pt idx="33">
                  <c:v>52.129783870967749</c:v>
                </c:pt>
                <c:pt idx="34">
                  <c:v>55.786323333333328</c:v>
                </c:pt>
                <c:pt idx="35">
                  <c:v>44.692377419354834</c:v>
                </c:pt>
                <c:pt idx="36">
                  <c:v>41.376129032258056</c:v>
                </c:pt>
                <c:pt idx="37">
                  <c:v>54.474658620689659</c:v>
                </c:pt>
                <c:pt idx="38">
                  <c:v>41.717974193548372</c:v>
                </c:pt>
                <c:pt idx="39">
                  <c:v>42.449713333333328</c:v>
                </c:pt>
                <c:pt idx="40">
                  <c:v>38.83020322580645</c:v>
                </c:pt>
                <c:pt idx="41">
                  <c:v>38.992509999999996</c:v>
                </c:pt>
                <c:pt idx="42">
                  <c:v>40.55797419354839</c:v>
                </c:pt>
                <c:pt idx="43">
                  <c:v>45.266716129032254</c:v>
                </c:pt>
                <c:pt idx="44">
                  <c:v>45.755653333333335</c:v>
                </c:pt>
                <c:pt idx="45">
                  <c:v>44.764509677419355</c:v>
                </c:pt>
                <c:pt idx="46">
                  <c:v>44.785868965517238</c:v>
                </c:pt>
                <c:pt idx="47">
                  <c:v>40.407338709677418</c:v>
                </c:pt>
                <c:pt idx="48">
                  <c:v>42.97182258064516</c:v>
                </c:pt>
                <c:pt idx="49">
                  <c:v>43.358057142857149</c:v>
                </c:pt>
                <c:pt idx="50">
                  <c:v>38.841506451612901</c:v>
                </c:pt>
                <c:pt idx="51">
                  <c:v>37.053660000000001</c:v>
                </c:pt>
                <c:pt idx="52">
                  <c:v>31.339912903225809</c:v>
                </c:pt>
                <c:pt idx="53">
                  <c:v>27.781723333333332</c:v>
                </c:pt>
                <c:pt idx="54">
                  <c:v>35.814377419354827</c:v>
                </c:pt>
                <c:pt idx="55">
                  <c:v>37.465093548387088</c:v>
                </c:pt>
                <c:pt idx="56">
                  <c:v>42.55028333333334</c:v>
                </c:pt>
                <c:pt idx="57">
                  <c:v>37.611338709677412</c:v>
                </c:pt>
                <c:pt idx="58">
                  <c:v>39.104590000000002</c:v>
                </c:pt>
                <c:pt idx="59">
                  <c:v>35.734509677419354</c:v>
                </c:pt>
                <c:pt idx="60">
                  <c:v>36.520112903225794</c:v>
                </c:pt>
                <c:pt idx="61">
                  <c:v>33.554557142857142</c:v>
                </c:pt>
                <c:pt idx="62">
                  <c:v>31.229506451612906</c:v>
                </c:pt>
                <c:pt idx="63">
                  <c:v>31.12654666666667</c:v>
                </c:pt>
                <c:pt idx="64">
                  <c:v>31.237322580645159</c:v>
                </c:pt>
                <c:pt idx="65">
                  <c:v>30.968520000000005</c:v>
                </c:pt>
                <c:pt idx="66">
                  <c:v>32.006106451612901</c:v>
                </c:pt>
                <c:pt idx="67">
                  <c:v>28.654822580645163</c:v>
                </c:pt>
                <c:pt idx="68">
                  <c:v>34.713150000000006</c:v>
                </c:pt>
                <c:pt idx="69">
                  <c:v>35.472787096774198</c:v>
                </c:pt>
                <c:pt idx="70">
                  <c:v>36.46746333333332</c:v>
                </c:pt>
                <c:pt idx="71">
                  <c:v>33.049890322580644</c:v>
                </c:pt>
                <c:pt idx="72">
                  <c:v>29.24175806451613</c:v>
                </c:pt>
                <c:pt idx="73">
                  <c:v>35.981114285714284</c:v>
                </c:pt>
                <c:pt idx="74">
                  <c:v>31.040264516129032</c:v>
                </c:pt>
                <c:pt idx="75">
                  <c:v>30.381143333333331</c:v>
                </c:pt>
                <c:pt idx="76">
                  <c:v>25.220919354838717</c:v>
                </c:pt>
                <c:pt idx="77">
                  <c:v>29.957803333333334</c:v>
                </c:pt>
                <c:pt idx="78">
                  <c:v>35.397154838709675</c:v>
                </c:pt>
                <c:pt idx="79">
                  <c:v>31.552099999999996</c:v>
                </c:pt>
                <c:pt idx="80">
                  <c:v>32.262479999999996</c:v>
                </c:pt>
                <c:pt idx="81">
                  <c:v>38.455206451612895</c:v>
                </c:pt>
                <c:pt idx="82">
                  <c:v>32.365883333333343</c:v>
                </c:pt>
                <c:pt idx="83">
                  <c:v>28.461590322580641</c:v>
                </c:pt>
                <c:pt idx="84">
                  <c:v>29.588458064516132</c:v>
                </c:pt>
                <c:pt idx="85">
                  <c:v>22.441406896551722</c:v>
                </c:pt>
                <c:pt idx="86">
                  <c:v>24.110022580645158</c:v>
                </c:pt>
                <c:pt idx="87">
                  <c:v>24.294346666666666</c:v>
                </c:pt>
                <c:pt idx="88">
                  <c:v>23.012270967741941</c:v>
                </c:pt>
                <c:pt idx="89">
                  <c:v>27.631916666666665</c:v>
                </c:pt>
                <c:pt idx="90">
                  <c:v>27.138596774193552</c:v>
                </c:pt>
                <c:pt idx="91">
                  <c:v>27.259429032258065</c:v>
                </c:pt>
                <c:pt idx="92">
                  <c:v>30.142166666666665</c:v>
                </c:pt>
                <c:pt idx="93">
                  <c:v>36.874006451612914</c:v>
                </c:pt>
                <c:pt idx="94">
                  <c:v>39.201386666666664</c:v>
                </c:pt>
                <c:pt idx="95">
                  <c:v>37.753896774193556</c:v>
                </c:pt>
                <c:pt idx="96">
                  <c:v>51.374629032258071</c:v>
                </c:pt>
                <c:pt idx="97">
                  <c:v>40.563757142857149</c:v>
                </c:pt>
                <c:pt idx="98">
                  <c:v>31.469683870967742</c:v>
                </c:pt>
                <c:pt idx="99">
                  <c:v>28.997400000000003</c:v>
                </c:pt>
                <c:pt idx="100">
                  <c:v>31.661761290322584</c:v>
                </c:pt>
                <c:pt idx="101">
                  <c:v>30.235613333333333</c:v>
                </c:pt>
                <c:pt idx="102">
                  <c:v>33.504232258064512</c:v>
                </c:pt>
                <c:pt idx="103">
                  <c:v>30.771900000000002</c:v>
                </c:pt>
                <c:pt idx="104">
                  <c:v>34.705733333333335</c:v>
                </c:pt>
                <c:pt idx="105">
                  <c:v>30.134535483870959</c:v>
                </c:pt>
                <c:pt idx="106">
                  <c:v>40.112386666666673</c:v>
                </c:pt>
                <c:pt idx="107">
                  <c:v>30.779551612903223</c:v>
                </c:pt>
                <c:pt idx="108">
                  <c:v>29.779612903225807</c:v>
                </c:pt>
                <c:pt idx="109">
                  <c:v>40.146667857142859</c:v>
                </c:pt>
                <c:pt idx="110">
                  <c:v>36.851154838709668</c:v>
                </c:pt>
                <c:pt idx="111">
                  <c:v>31.938173333333332</c:v>
                </c:pt>
                <c:pt idx="112">
                  <c:v>32.52094838709678</c:v>
                </c:pt>
                <c:pt idx="113">
                  <c:v>42.694686666666669</c:v>
                </c:pt>
                <c:pt idx="114">
                  <c:v>49.180364516129025</c:v>
                </c:pt>
                <c:pt idx="115">
                  <c:v>56.629396774193545</c:v>
                </c:pt>
                <c:pt idx="116">
                  <c:v>55.552356666666668</c:v>
                </c:pt>
                <c:pt idx="117">
                  <c:v>62.387225806451603</c:v>
                </c:pt>
                <c:pt idx="118">
                  <c:v>62.243309999999994</c:v>
                </c:pt>
                <c:pt idx="119">
                  <c:v>55.243709677419368</c:v>
                </c:pt>
                <c:pt idx="120">
                  <c:v>57.321464516129026</c:v>
                </c:pt>
                <c:pt idx="121">
                  <c:v>46.7328607142857</c:v>
                </c:pt>
                <c:pt idx="122">
                  <c:v>33.232061290322584</c:v>
                </c:pt>
                <c:pt idx="123">
                  <c:v>38.743103333333337</c:v>
                </c:pt>
                <c:pt idx="124">
                  <c:v>38.597512903225805</c:v>
                </c:pt>
                <c:pt idx="125">
                  <c:v>33.195013333333328</c:v>
                </c:pt>
                <c:pt idx="126">
                  <c:v>39.543941935483872</c:v>
                </c:pt>
                <c:pt idx="127">
                  <c:v>37.158538709677423</c:v>
                </c:pt>
                <c:pt idx="128">
                  <c:v>37.637190000000004</c:v>
                </c:pt>
                <c:pt idx="129">
                  <c:v>39.430316129032263</c:v>
                </c:pt>
                <c:pt idx="130">
                  <c:v>42.632873333333336</c:v>
                </c:pt>
                <c:pt idx="131">
                  <c:v>38.043351612903216</c:v>
                </c:pt>
                <c:pt idx="132">
                  <c:v>40.311519354838708</c:v>
                </c:pt>
                <c:pt idx="133">
                  <c:v>29.550648275862077</c:v>
                </c:pt>
                <c:pt idx="134">
                  <c:v>25.194093548387098</c:v>
                </c:pt>
                <c:pt idx="135">
                  <c:v>19.488383333333338</c:v>
                </c:pt>
                <c:pt idx="136">
                  <c:v>18.221070967741937</c:v>
                </c:pt>
                <c:pt idx="137">
                  <c:v>25.86387666666667</c:v>
                </c:pt>
                <c:pt idx="138">
                  <c:v>32.313106451612903</c:v>
                </c:pt>
                <c:pt idx="139">
                  <c:v>34.654493548387101</c:v>
                </c:pt>
                <c:pt idx="140">
                  <c:v>44.845406666666669</c:v>
                </c:pt>
                <c:pt idx="141">
                  <c:v>35.662903225806453</c:v>
                </c:pt>
                <c:pt idx="142">
                  <c:v>40.084630000000018</c:v>
                </c:pt>
                <c:pt idx="143">
                  <c:v>50.49907741935484</c:v>
                </c:pt>
                <c:pt idx="144">
                  <c:v>57.758829032258063</c:v>
                </c:pt>
                <c:pt idx="145">
                  <c:v>50.964510714285716</c:v>
                </c:pt>
                <c:pt idx="146">
                  <c:v>52.950761290322582</c:v>
                </c:pt>
                <c:pt idx="147">
                  <c:v>61.758913333333332</c:v>
                </c:pt>
                <c:pt idx="148">
                  <c:v>56.233858064516134</c:v>
                </c:pt>
                <c:pt idx="149">
                  <c:v>74.220239999999976</c:v>
                </c:pt>
                <c:pt idx="150">
                  <c:v>83.665593548387122</c:v>
                </c:pt>
                <c:pt idx="151">
                  <c:v>82.093483870967745</c:v>
                </c:pt>
                <c:pt idx="152">
                  <c:v>135.46655000000001</c:v>
                </c:pt>
                <c:pt idx="153">
                  <c:v>174.05346451612903</c:v>
                </c:pt>
                <c:pt idx="154">
                  <c:v>206.51723000000004</c:v>
                </c:pt>
                <c:pt idx="155">
                  <c:v>268.33777419354846</c:v>
                </c:pt>
                <c:pt idx="156">
                  <c:v>192.31963225806456</c:v>
                </c:pt>
                <c:pt idx="157">
                  <c:v>167.98302142857139</c:v>
                </c:pt>
                <c:pt idx="158">
                  <c:v>290.69909032258067</c:v>
                </c:pt>
                <c:pt idx="159">
                  <c:v>194.87705333333335</c:v>
                </c:pt>
                <c:pt idx="160">
                  <c:v>185.32934516129029</c:v>
                </c:pt>
                <c:pt idx="161">
                  <c:v>226.18985000000004</c:v>
                </c:pt>
                <c:pt idx="162">
                  <c:v>364.01409999999998</c:v>
                </c:pt>
                <c:pt idx="163">
                  <c:v>481.99880967741933</c:v>
                </c:pt>
                <c:pt idx="164">
                  <c:v>408.03548333333333</c:v>
                </c:pt>
                <c:pt idx="165">
                  <c:v>178.2925129032258</c:v>
                </c:pt>
                <c:pt idx="166">
                  <c:v>210.52574333333339</c:v>
                </c:pt>
                <c:pt idx="167">
                  <c:v>271.6496225806452</c:v>
                </c:pt>
                <c:pt idx="168">
                  <c:v>142.27345161290319</c:v>
                </c:pt>
                <c:pt idx="169">
                  <c:v>144.65</c:v>
                </c:pt>
                <c:pt idx="170">
                  <c:v>113.23</c:v>
                </c:pt>
              </c:numCache>
            </c:numRef>
          </c:yVal>
          <c:smooth val="0"/>
          <c:extLst>
            <c:ext xmlns:c16="http://schemas.microsoft.com/office/drawing/2014/chart" uri="{C3380CC4-5D6E-409C-BE32-E72D297353CC}">
              <c16:uniqueId val="{00000000-C880-4448-A8B8-C380C24FAC1A}"/>
            </c:ext>
          </c:extLst>
        </c:ser>
        <c:ser>
          <c:idx val="1"/>
          <c:order val="1"/>
          <c:spPr>
            <a:ln w="25400" algn="ctr">
              <a:solidFill>
                <a:schemeClr val="accent5"/>
              </a:solidFill>
              <a:prstDash val="solid"/>
            </a:ln>
          </c:spPr>
          <c:marker>
            <c:symbol val="none"/>
          </c:marker>
          <c:xVal>
            <c:numRef>
              <c:f>Sheet1!$A$1:$HV$1</c:f>
              <c:numCache>
                <c:formatCode>General</c:formatCode>
                <c:ptCount val="230"/>
                <c:pt idx="0">
                  <c:v>14245</c:v>
                </c:pt>
                <c:pt idx="1">
                  <c:v>14276</c:v>
                </c:pt>
                <c:pt idx="2">
                  <c:v>14304</c:v>
                </c:pt>
                <c:pt idx="3">
                  <c:v>14335</c:v>
                </c:pt>
                <c:pt idx="4">
                  <c:v>14365</c:v>
                </c:pt>
                <c:pt idx="5">
                  <c:v>14396</c:v>
                </c:pt>
                <c:pt idx="6">
                  <c:v>14426</c:v>
                </c:pt>
                <c:pt idx="7">
                  <c:v>14457</c:v>
                </c:pt>
                <c:pt idx="8">
                  <c:v>14488</c:v>
                </c:pt>
                <c:pt idx="9">
                  <c:v>14518</c:v>
                </c:pt>
                <c:pt idx="10">
                  <c:v>14549</c:v>
                </c:pt>
                <c:pt idx="11">
                  <c:v>14579</c:v>
                </c:pt>
                <c:pt idx="12">
                  <c:v>14610</c:v>
                </c:pt>
                <c:pt idx="13">
                  <c:v>14641</c:v>
                </c:pt>
                <c:pt idx="14">
                  <c:v>14669</c:v>
                </c:pt>
                <c:pt idx="15">
                  <c:v>14700</c:v>
                </c:pt>
                <c:pt idx="16">
                  <c:v>14730</c:v>
                </c:pt>
                <c:pt idx="17">
                  <c:v>14761</c:v>
                </c:pt>
                <c:pt idx="18">
                  <c:v>14791</c:v>
                </c:pt>
                <c:pt idx="19">
                  <c:v>14822</c:v>
                </c:pt>
                <c:pt idx="20">
                  <c:v>14853</c:v>
                </c:pt>
                <c:pt idx="21">
                  <c:v>14883</c:v>
                </c:pt>
                <c:pt idx="22">
                  <c:v>14914</c:v>
                </c:pt>
                <c:pt idx="23">
                  <c:v>14944</c:v>
                </c:pt>
                <c:pt idx="24">
                  <c:v>14975</c:v>
                </c:pt>
                <c:pt idx="25">
                  <c:v>15006</c:v>
                </c:pt>
                <c:pt idx="26">
                  <c:v>15034</c:v>
                </c:pt>
                <c:pt idx="27">
                  <c:v>15065</c:v>
                </c:pt>
                <c:pt idx="28">
                  <c:v>15095</c:v>
                </c:pt>
                <c:pt idx="29">
                  <c:v>15126</c:v>
                </c:pt>
                <c:pt idx="30">
                  <c:v>15156</c:v>
                </c:pt>
                <c:pt idx="31">
                  <c:v>15187</c:v>
                </c:pt>
                <c:pt idx="32">
                  <c:v>15218</c:v>
                </c:pt>
                <c:pt idx="33">
                  <c:v>15248</c:v>
                </c:pt>
                <c:pt idx="34">
                  <c:v>15279</c:v>
                </c:pt>
                <c:pt idx="35">
                  <c:v>15309</c:v>
                </c:pt>
                <c:pt idx="36">
                  <c:v>15340</c:v>
                </c:pt>
                <c:pt idx="37">
                  <c:v>15371</c:v>
                </c:pt>
                <c:pt idx="38">
                  <c:v>15400</c:v>
                </c:pt>
                <c:pt idx="39">
                  <c:v>15431</c:v>
                </c:pt>
                <c:pt idx="40">
                  <c:v>15461</c:v>
                </c:pt>
                <c:pt idx="41">
                  <c:v>15492</c:v>
                </c:pt>
                <c:pt idx="42">
                  <c:v>15522</c:v>
                </c:pt>
                <c:pt idx="43">
                  <c:v>15553</c:v>
                </c:pt>
                <c:pt idx="44">
                  <c:v>15584</c:v>
                </c:pt>
                <c:pt idx="45">
                  <c:v>15614</c:v>
                </c:pt>
                <c:pt idx="46">
                  <c:v>15645</c:v>
                </c:pt>
                <c:pt idx="47">
                  <c:v>15675</c:v>
                </c:pt>
                <c:pt idx="48">
                  <c:v>15706</c:v>
                </c:pt>
                <c:pt idx="49">
                  <c:v>15737</c:v>
                </c:pt>
                <c:pt idx="50">
                  <c:v>15765</c:v>
                </c:pt>
                <c:pt idx="51">
                  <c:v>15796</c:v>
                </c:pt>
                <c:pt idx="52">
                  <c:v>15826</c:v>
                </c:pt>
                <c:pt idx="53">
                  <c:v>15857</c:v>
                </c:pt>
                <c:pt idx="54">
                  <c:v>15887</c:v>
                </c:pt>
                <c:pt idx="55">
                  <c:v>15918</c:v>
                </c:pt>
                <c:pt idx="56">
                  <c:v>15949</c:v>
                </c:pt>
                <c:pt idx="57">
                  <c:v>15979</c:v>
                </c:pt>
                <c:pt idx="58">
                  <c:v>16010</c:v>
                </c:pt>
                <c:pt idx="59">
                  <c:v>16040</c:v>
                </c:pt>
                <c:pt idx="60">
                  <c:v>16071</c:v>
                </c:pt>
                <c:pt idx="61">
                  <c:v>16102</c:v>
                </c:pt>
                <c:pt idx="62">
                  <c:v>16130</c:v>
                </c:pt>
                <c:pt idx="63">
                  <c:v>16161</c:v>
                </c:pt>
                <c:pt idx="64">
                  <c:v>16191</c:v>
                </c:pt>
                <c:pt idx="65">
                  <c:v>16222</c:v>
                </c:pt>
                <c:pt idx="66">
                  <c:v>16252</c:v>
                </c:pt>
                <c:pt idx="67">
                  <c:v>16283</c:v>
                </c:pt>
                <c:pt idx="68">
                  <c:v>16314</c:v>
                </c:pt>
                <c:pt idx="69">
                  <c:v>16344</c:v>
                </c:pt>
                <c:pt idx="70">
                  <c:v>16375</c:v>
                </c:pt>
                <c:pt idx="71">
                  <c:v>16405</c:v>
                </c:pt>
                <c:pt idx="72">
                  <c:v>16436</c:v>
                </c:pt>
                <c:pt idx="73">
                  <c:v>16467</c:v>
                </c:pt>
                <c:pt idx="74">
                  <c:v>16495</c:v>
                </c:pt>
                <c:pt idx="75">
                  <c:v>16526</c:v>
                </c:pt>
                <c:pt idx="76">
                  <c:v>16556</c:v>
                </c:pt>
                <c:pt idx="77">
                  <c:v>16587</c:v>
                </c:pt>
                <c:pt idx="78">
                  <c:v>16617</c:v>
                </c:pt>
                <c:pt idx="79">
                  <c:v>16648</c:v>
                </c:pt>
                <c:pt idx="80">
                  <c:v>16679</c:v>
                </c:pt>
                <c:pt idx="81">
                  <c:v>16709</c:v>
                </c:pt>
                <c:pt idx="82">
                  <c:v>16740</c:v>
                </c:pt>
                <c:pt idx="83">
                  <c:v>16770</c:v>
                </c:pt>
                <c:pt idx="84">
                  <c:v>16801</c:v>
                </c:pt>
                <c:pt idx="85">
                  <c:v>16832</c:v>
                </c:pt>
                <c:pt idx="86">
                  <c:v>16861</c:v>
                </c:pt>
                <c:pt idx="87">
                  <c:v>16892</c:v>
                </c:pt>
                <c:pt idx="88">
                  <c:v>16922</c:v>
                </c:pt>
                <c:pt idx="89">
                  <c:v>16953</c:v>
                </c:pt>
                <c:pt idx="90">
                  <c:v>16983</c:v>
                </c:pt>
                <c:pt idx="91">
                  <c:v>17014</c:v>
                </c:pt>
                <c:pt idx="92">
                  <c:v>17045</c:v>
                </c:pt>
                <c:pt idx="93">
                  <c:v>17075</c:v>
                </c:pt>
                <c:pt idx="94">
                  <c:v>17106</c:v>
                </c:pt>
                <c:pt idx="95">
                  <c:v>17136</c:v>
                </c:pt>
                <c:pt idx="96">
                  <c:v>17167</c:v>
                </c:pt>
                <c:pt idx="97">
                  <c:v>17198</c:v>
                </c:pt>
                <c:pt idx="98">
                  <c:v>17226</c:v>
                </c:pt>
                <c:pt idx="99">
                  <c:v>17257</c:v>
                </c:pt>
                <c:pt idx="100">
                  <c:v>17287</c:v>
                </c:pt>
                <c:pt idx="101">
                  <c:v>17318</c:v>
                </c:pt>
                <c:pt idx="102">
                  <c:v>17348</c:v>
                </c:pt>
                <c:pt idx="103">
                  <c:v>17379</c:v>
                </c:pt>
                <c:pt idx="104">
                  <c:v>17410</c:v>
                </c:pt>
                <c:pt idx="105">
                  <c:v>17440</c:v>
                </c:pt>
                <c:pt idx="106">
                  <c:v>17471</c:v>
                </c:pt>
                <c:pt idx="107">
                  <c:v>17501</c:v>
                </c:pt>
                <c:pt idx="108">
                  <c:v>17532</c:v>
                </c:pt>
                <c:pt idx="109">
                  <c:v>17563</c:v>
                </c:pt>
                <c:pt idx="110">
                  <c:v>17591</c:v>
                </c:pt>
                <c:pt idx="111">
                  <c:v>17622</c:v>
                </c:pt>
                <c:pt idx="112">
                  <c:v>17652</c:v>
                </c:pt>
                <c:pt idx="113">
                  <c:v>17683</c:v>
                </c:pt>
                <c:pt idx="114">
                  <c:v>17713</c:v>
                </c:pt>
                <c:pt idx="115">
                  <c:v>17744</c:v>
                </c:pt>
                <c:pt idx="116">
                  <c:v>17775</c:v>
                </c:pt>
                <c:pt idx="117">
                  <c:v>17805</c:v>
                </c:pt>
                <c:pt idx="118">
                  <c:v>17836</c:v>
                </c:pt>
                <c:pt idx="119">
                  <c:v>17866</c:v>
                </c:pt>
                <c:pt idx="120">
                  <c:v>17897</c:v>
                </c:pt>
                <c:pt idx="121">
                  <c:v>17928</c:v>
                </c:pt>
                <c:pt idx="122">
                  <c:v>17956</c:v>
                </c:pt>
                <c:pt idx="123">
                  <c:v>17987</c:v>
                </c:pt>
                <c:pt idx="124">
                  <c:v>18017</c:v>
                </c:pt>
                <c:pt idx="125">
                  <c:v>18048</c:v>
                </c:pt>
                <c:pt idx="126">
                  <c:v>18078</c:v>
                </c:pt>
                <c:pt idx="127">
                  <c:v>18109</c:v>
                </c:pt>
                <c:pt idx="128">
                  <c:v>18140</c:v>
                </c:pt>
                <c:pt idx="129">
                  <c:v>18170</c:v>
                </c:pt>
                <c:pt idx="130">
                  <c:v>18201</c:v>
                </c:pt>
                <c:pt idx="131">
                  <c:v>18231</c:v>
                </c:pt>
                <c:pt idx="132">
                  <c:v>18262</c:v>
                </c:pt>
                <c:pt idx="133">
                  <c:v>18293</c:v>
                </c:pt>
                <c:pt idx="134">
                  <c:v>18322</c:v>
                </c:pt>
                <c:pt idx="135">
                  <c:v>18353</c:v>
                </c:pt>
                <c:pt idx="136">
                  <c:v>18383</c:v>
                </c:pt>
                <c:pt idx="137">
                  <c:v>18414</c:v>
                </c:pt>
                <c:pt idx="138">
                  <c:v>18444</c:v>
                </c:pt>
                <c:pt idx="139">
                  <c:v>18475</c:v>
                </c:pt>
                <c:pt idx="140">
                  <c:v>18506</c:v>
                </c:pt>
                <c:pt idx="141">
                  <c:v>18536</c:v>
                </c:pt>
                <c:pt idx="142">
                  <c:v>18567</c:v>
                </c:pt>
                <c:pt idx="143">
                  <c:v>18597</c:v>
                </c:pt>
                <c:pt idx="144">
                  <c:v>18628</c:v>
                </c:pt>
                <c:pt idx="145">
                  <c:v>18659</c:v>
                </c:pt>
                <c:pt idx="146">
                  <c:v>18687</c:v>
                </c:pt>
                <c:pt idx="147">
                  <c:v>18718</c:v>
                </c:pt>
                <c:pt idx="148">
                  <c:v>18748</c:v>
                </c:pt>
                <c:pt idx="149">
                  <c:v>18779</c:v>
                </c:pt>
                <c:pt idx="150">
                  <c:v>18809</c:v>
                </c:pt>
                <c:pt idx="151">
                  <c:v>18840</c:v>
                </c:pt>
                <c:pt idx="152">
                  <c:v>18871</c:v>
                </c:pt>
                <c:pt idx="153">
                  <c:v>18901</c:v>
                </c:pt>
                <c:pt idx="154">
                  <c:v>18932</c:v>
                </c:pt>
                <c:pt idx="155">
                  <c:v>18962</c:v>
                </c:pt>
                <c:pt idx="156">
                  <c:v>18993</c:v>
                </c:pt>
                <c:pt idx="157">
                  <c:v>19024</c:v>
                </c:pt>
                <c:pt idx="158">
                  <c:v>19052</c:v>
                </c:pt>
                <c:pt idx="159">
                  <c:v>19083</c:v>
                </c:pt>
                <c:pt idx="160">
                  <c:v>19113</c:v>
                </c:pt>
                <c:pt idx="161">
                  <c:v>19144</c:v>
                </c:pt>
                <c:pt idx="162">
                  <c:v>19174</c:v>
                </c:pt>
                <c:pt idx="163">
                  <c:v>19205</c:v>
                </c:pt>
                <c:pt idx="164">
                  <c:v>19236</c:v>
                </c:pt>
                <c:pt idx="165">
                  <c:v>19266</c:v>
                </c:pt>
                <c:pt idx="166">
                  <c:v>19297</c:v>
                </c:pt>
                <c:pt idx="167">
                  <c:v>19327</c:v>
                </c:pt>
                <c:pt idx="168">
                  <c:v>19358</c:v>
                </c:pt>
                <c:pt idx="169">
                  <c:v>19389</c:v>
                </c:pt>
                <c:pt idx="170">
                  <c:v>19417</c:v>
                </c:pt>
                <c:pt idx="171">
                  <c:v>19448</c:v>
                </c:pt>
                <c:pt idx="172">
                  <c:v>19478</c:v>
                </c:pt>
                <c:pt idx="173">
                  <c:v>19509</c:v>
                </c:pt>
                <c:pt idx="174">
                  <c:v>19539</c:v>
                </c:pt>
                <c:pt idx="175">
                  <c:v>19570</c:v>
                </c:pt>
                <c:pt idx="176">
                  <c:v>19601</c:v>
                </c:pt>
                <c:pt idx="177">
                  <c:v>19631</c:v>
                </c:pt>
                <c:pt idx="178">
                  <c:v>19662</c:v>
                </c:pt>
                <c:pt idx="179">
                  <c:v>19692</c:v>
                </c:pt>
                <c:pt idx="180">
                  <c:v>19723</c:v>
                </c:pt>
                <c:pt idx="181">
                  <c:v>19754</c:v>
                </c:pt>
                <c:pt idx="182">
                  <c:v>19783</c:v>
                </c:pt>
                <c:pt idx="183">
                  <c:v>19814</c:v>
                </c:pt>
                <c:pt idx="184">
                  <c:v>19844</c:v>
                </c:pt>
                <c:pt idx="185">
                  <c:v>19875</c:v>
                </c:pt>
                <c:pt idx="186">
                  <c:v>19905</c:v>
                </c:pt>
                <c:pt idx="187">
                  <c:v>19936</c:v>
                </c:pt>
                <c:pt idx="188">
                  <c:v>19967</c:v>
                </c:pt>
                <c:pt idx="189">
                  <c:v>19997</c:v>
                </c:pt>
                <c:pt idx="190">
                  <c:v>20028</c:v>
                </c:pt>
                <c:pt idx="191">
                  <c:v>20058</c:v>
                </c:pt>
                <c:pt idx="192">
                  <c:v>20089</c:v>
                </c:pt>
                <c:pt idx="193">
                  <c:v>20120</c:v>
                </c:pt>
                <c:pt idx="194">
                  <c:v>20148</c:v>
                </c:pt>
                <c:pt idx="195">
                  <c:v>20179</c:v>
                </c:pt>
                <c:pt idx="196">
                  <c:v>20209</c:v>
                </c:pt>
                <c:pt idx="197">
                  <c:v>20240</c:v>
                </c:pt>
                <c:pt idx="198">
                  <c:v>20270</c:v>
                </c:pt>
                <c:pt idx="199">
                  <c:v>20301</c:v>
                </c:pt>
                <c:pt idx="200">
                  <c:v>20332</c:v>
                </c:pt>
                <c:pt idx="201">
                  <c:v>20362</c:v>
                </c:pt>
                <c:pt idx="202">
                  <c:v>20393</c:v>
                </c:pt>
                <c:pt idx="203">
                  <c:v>20423</c:v>
                </c:pt>
                <c:pt idx="204">
                  <c:v>20454</c:v>
                </c:pt>
                <c:pt idx="205">
                  <c:v>20485</c:v>
                </c:pt>
                <c:pt idx="206">
                  <c:v>20513</c:v>
                </c:pt>
                <c:pt idx="207">
                  <c:v>20544</c:v>
                </c:pt>
                <c:pt idx="208">
                  <c:v>20574</c:v>
                </c:pt>
                <c:pt idx="209">
                  <c:v>20605</c:v>
                </c:pt>
                <c:pt idx="210">
                  <c:v>20635</c:v>
                </c:pt>
                <c:pt idx="211">
                  <c:v>20666</c:v>
                </c:pt>
                <c:pt idx="212">
                  <c:v>20697</c:v>
                </c:pt>
                <c:pt idx="213">
                  <c:v>20727</c:v>
                </c:pt>
                <c:pt idx="214">
                  <c:v>20758</c:v>
                </c:pt>
                <c:pt idx="215">
                  <c:v>20788</c:v>
                </c:pt>
                <c:pt idx="216">
                  <c:v>20819</c:v>
                </c:pt>
                <c:pt idx="217">
                  <c:v>20850</c:v>
                </c:pt>
                <c:pt idx="218">
                  <c:v>20878</c:v>
                </c:pt>
                <c:pt idx="219">
                  <c:v>20909</c:v>
                </c:pt>
                <c:pt idx="220">
                  <c:v>20939</c:v>
                </c:pt>
                <c:pt idx="221">
                  <c:v>20970</c:v>
                </c:pt>
                <c:pt idx="222">
                  <c:v>21000</c:v>
                </c:pt>
                <c:pt idx="223">
                  <c:v>21031</c:v>
                </c:pt>
                <c:pt idx="224">
                  <c:v>21062</c:v>
                </c:pt>
                <c:pt idx="225">
                  <c:v>21092</c:v>
                </c:pt>
                <c:pt idx="226">
                  <c:v>21123</c:v>
                </c:pt>
                <c:pt idx="227">
                  <c:v>21153</c:v>
                </c:pt>
                <c:pt idx="228">
                  <c:v>21184</c:v>
                </c:pt>
                <c:pt idx="229">
                  <c:v>21215</c:v>
                </c:pt>
              </c:numCache>
            </c:numRef>
          </c:xVal>
          <c:yVal>
            <c:numRef>
              <c:f>Sheet1!$A$3:$HV$3</c:f>
              <c:numCache>
                <c:formatCode>General</c:formatCode>
                <c:ptCount val="230"/>
                <c:pt idx="0">
                  <c:v>40.927125276932728</c:v>
                </c:pt>
                <c:pt idx="1">
                  <c:v>35.50322264773574</c:v>
                </c:pt>
                <c:pt idx="2">
                  <c:v>30.138597267543762</c:v>
                </c:pt>
                <c:pt idx="3">
                  <c:v>22.735498952113097</c:v>
                </c:pt>
                <c:pt idx="4">
                  <c:v>24.196195827909776</c:v>
                </c:pt>
                <c:pt idx="5">
                  <c:v>23.372515962516569</c:v>
                </c:pt>
                <c:pt idx="6">
                  <c:v>26.947512316171476</c:v>
                </c:pt>
                <c:pt idx="7">
                  <c:v>28.689170896223107</c:v>
                </c:pt>
                <c:pt idx="8">
                  <c:v>24.345222553851986</c:v>
                </c:pt>
                <c:pt idx="9">
                  <c:v>27.839105264976165</c:v>
                </c:pt>
                <c:pt idx="10">
                  <c:v>24.510038572598315</c:v>
                </c:pt>
                <c:pt idx="11">
                  <c:v>36.424799457587433</c:v>
                </c:pt>
                <c:pt idx="12">
                  <c:v>39.822056842633764</c:v>
                </c:pt>
                <c:pt idx="13">
                  <c:v>35.33560048680129</c:v>
                </c:pt>
                <c:pt idx="14">
                  <c:v>29.588633349023301</c:v>
                </c:pt>
                <c:pt idx="15">
                  <c:v>30.185811435167381</c:v>
                </c:pt>
                <c:pt idx="16">
                  <c:v>32.589615391893943</c:v>
                </c:pt>
                <c:pt idx="17">
                  <c:v>29.480601518531756</c:v>
                </c:pt>
                <c:pt idx="18">
                  <c:v>47.469071508119171</c:v>
                </c:pt>
                <c:pt idx="19">
                  <c:v>41.027036091993274</c:v>
                </c:pt>
                <c:pt idx="20">
                  <c:v>31.968915341261496</c:v>
                </c:pt>
                <c:pt idx="21">
                  <c:v>25.035451784464662</c:v>
                </c:pt>
                <c:pt idx="22">
                  <c:v>28.015856565787399</c:v>
                </c:pt>
                <c:pt idx="23">
                  <c:v>40.835801397615072</c:v>
                </c:pt>
                <c:pt idx="24">
                  <c:v>36.498710374186906</c:v>
                </c:pt>
                <c:pt idx="25">
                  <c:v>29.604364060226828</c:v>
                </c:pt>
                <c:pt idx="26">
                  <c:v>24.286774677222478</c:v>
                </c:pt>
                <c:pt idx="27">
                  <c:v>28.61129927885905</c:v>
                </c:pt>
                <c:pt idx="28">
                  <c:v>29.729066223724089</c:v>
                </c:pt>
                <c:pt idx="29">
                  <c:v>31.125521225830621</c:v>
                </c:pt>
                <c:pt idx="30">
                  <c:v>42.022232510861947</c:v>
                </c:pt>
                <c:pt idx="31">
                  <c:v>29.449920457429183</c:v>
                </c:pt>
                <c:pt idx="32">
                  <c:v>28.631109720147172</c:v>
                </c:pt>
                <c:pt idx="33">
                  <c:v>25.5666999640098</c:v>
                </c:pt>
                <c:pt idx="34">
                  <c:v>26.823768382728367</c:v>
                </c:pt>
                <c:pt idx="35">
                  <c:v>28.085436894934212</c:v>
                </c:pt>
                <c:pt idx="36">
                  <c:v>25.979470240137221</c:v>
                </c:pt>
                <c:pt idx="37">
                  <c:v>22.121103951254419</c:v>
                </c:pt>
                <c:pt idx="38">
                  <c:v>19.536584010262601</c:v>
                </c:pt>
                <c:pt idx="39">
                  <c:v>18.374170559325105</c:v>
                </c:pt>
                <c:pt idx="40">
                  <c:v>21.413884160992072</c:v>
                </c:pt>
                <c:pt idx="41">
                  <c:v>29.265331978881171</c:v>
                </c:pt>
                <c:pt idx="42">
                  <c:v>36.497732011088409</c:v>
                </c:pt>
                <c:pt idx="43">
                  <c:v>31.883303745518088</c:v>
                </c:pt>
                <c:pt idx="44">
                  <c:v>26.221926205328927</c:v>
                </c:pt>
                <c:pt idx="45">
                  <c:v>28.570182993559772</c:v>
                </c:pt>
                <c:pt idx="46">
                  <c:v>30.140547591636182</c:v>
                </c:pt>
                <c:pt idx="47">
                  <c:v>22.995554280272383</c:v>
                </c:pt>
                <c:pt idx="48">
                  <c:v>33.93992434432824</c:v>
                </c:pt>
                <c:pt idx="49">
                  <c:v>34.13355878644694</c:v>
                </c:pt>
                <c:pt idx="50">
                  <c:v>32.864374725804176</c:v>
                </c:pt>
                <c:pt idx="51">
                  <c:v>29.904187170538556</c:v>
                </c:pt>
                <c:pt idx="52">
                  <c:v>33.573476612268735</c:v>
                </c:pt>
                <c:pt idx="53">
                  <c:v>31.772274039408952</c:v>
                </c:pt>
                <c:pt idx="54">
                  <c:v>42.65433561975609</c:v>
                </c:pt>
                <c:pt idx="55">
                  <c:v>30.599132220741375</c:v>
                </c:pt>
                <c:pt idx="56">
                  <c:v>32.062118650034691</c:v>
                </c:pt>
                <c:pt idx="57">
                  <c:v>28.115700747209324</c:v>
                </c:pt>
                <c:pt idx="58">
                  <c:v>30.365200845043596</c:v>
                </c:pt>
                <c:pt idx="59">
                  <c:v>46.770480685354322</c:v>
                </c:pt>
                <c:pt idx="60">
                  <c:v>74.3902510867769</c:v>
                </c:pt>
                <c:pt idx="61">
                  <c:v>68.154750842776338</c:v>
                </c:pt>
                <c:pt idx="62">
                  <c:v>38.398890751959534</c:v>
                </c:pt>
                <c:pt idx="63">
                  <c:v>29.028782558213837</c:v>
                </c:pt>
                <c:pt idx="64">
                  <c:v>31.779500735457052</c:v>
                </c:pt>
                <c:pt idx="65">
                  <c:v>34.578058734491307</c:v>
                </c:pt>
                <c:pt idx="66">
                  <c:v>32.901703095547759</c:v>
                </c:pt>
                <c:pt idx="67">
                  <c:v>31.308336476665506</c:v>
                </c:pt>
                <c:pt idx="68">
                  <c:v>31.379741631158442</c:v>
                </c:pt>
                <c:pt idx="69">
                  <c:v>30.248512127521074</c:v>
                </c:pt>
                <c:pt idx="70">
                  <c:v>34.592219080209205</c:v>
                </c:pt>
                <c:pt idx="71">
                  <c:v>28.180256761869142</c:v>
                </c:pt>
                <c:pt idx="72">
                  <c:v>34.97739509624909</c:v>
                </c:pt>
                <c:pt idx="73">
                  <c:v>49.327066802009824</c:v>
                </c:pt>
                <c:pt idx="74">
                  <c:v>30.484540693765268</c:v>
                </c:pt>
                <c:pt idx="75">
                  <c:v>24.732065787616062</c:v>
                </c:pt>
                <c:pt idx="76">
                  <c:v>31.606509433301937</c:v>
                </c:pt>
                <c:pt idx="77">
                  <c:v>35.095816837845263</c:v>
                </c:pt>
                <c:pt idx="78">
                  <c:v>36.201068813523001</c:v>
                </c:pt>
                <c:pt idx="79">
                  <c:v>31.566249373793628</c:v>
                </c:pt>
                <c:pt idx="80">
                  <c:v>28.233020507177201</c:v>
                </c:pt>
                <c:pt idx="81">
                  <c:v>26.172336572994197</c:v>
                </c:pt>
                <c:pt idx="82">
                  <c:v>25.276568451475409</c:v>
                </c:pt>
                <c:pt idx="83">
                  <c:v>23.157019569859589</c:v>
                </c:pt>
                <c:pt idx="84">
                  <c:v>29.138801043519102</c:v>
                </c:pt>
                <c:pt idx="85">
                  <c:v>21.78165428453719</c:v>
                </c:pt>
                <c:pt idx="86">
                  <c:v>16.725409880630952</c:v>
                </c:pt>
                <c:pt idx="87">
                  <c:v>21.092382689165522</c:v>
                </c:pt>
                <c:pt idx="88">
                  <c:v>19.880309322641583</c:v>
                </c:pt>
                <c:pt idx="89">
                  <c:v>24.802671790105695</c:v>
                </c:pt>
                <c:pt idx="90">
                  <c:v>34.970778660979711</c:v>
                </c:pt>
                <c:pt idx="91">
                  <c:v>34.454496039932359</c:v>
                </c:pt>
                <c:pt idx="92">
                  <c:v>30.090927466721812</c:v>
                </c:pt>
                <c:pt idx="93">
                  <c:v>26.433958741986672</c:v>
                </c:pt>
                <c:pt idx="94">
                  <c:v>21.356202734515499</c:v>
                </c:pt>
                <c:pt idx="95">
                  <c:v>42.28066699644976</c:v>
                </c:pt>
                <c:pt idx="96">
                  <c:v>33.001126223294904</c:v>
                </c:pt>
                <c:pt idx="97">
                  <c:v>25.51657544066498</c:v>
                </c:pt>
                <c:pt idx="98">
                  <c:v>23.715072012432177</c:v>
                </c:pt>
                <c:pt idx="99">
                  <c:v>24.112088939515509</c:v>
                </c:pt>
                <c:pt idx="100">
                  <c:v>25.409249528167546</c:v>
                </c:pt>
                <c:pt idx="101">
                  <c:v>23.802996950149272</c:v>
                </c:pt>
                <c:pt idx="102">
                  <c:v>30.881679658282629</c:v>
                </c:pt>
                <c:pt idx="103">
                  <c:v>37.616413204150426</c:v>
                </c:pt>
                <c:pt idx="104">
                  <c:v>28.42186291353087</c:v>
                </c:pt>
                <c:pt idx="105">
                  <c:v>27.793944876914694</c:v>
                </c:pt>
                <c:pt idx="106">
                  <c:v>28.231873563507396</c:v>
                </c:pt>
                <c:pt idx="107">
                  <c:v>38.767214939119576</c:v>
                </c:pt>
                <c:pt idx="108">
                  <c:v>52.164311159733479</c:v>
                </c:pt>
                <c:pt idx="109">
                  <c:v>23.577132290932813</c:v>
                </c:pt>
                <c:pt idx="110">
                  <c:v>24.000864167409141</c:v>
                </c:pt>
                <c:pt idx="111">
                  <c:v>26.856289036598692</c:v>
                </c:pt>
                <c:pt idx="112">
                  <c:v>24.279957843463059</c:v>
                </c:pt>
                <c:pt idx="113">
                  <c:v>25.676517487766723</c:v>
                </c:pt>
                <c:pt idx="114">
                  <c:v>51.037745900917983</c:v>
                </c:pt>
                <c:pt idx="115">
                  <c:v>52.473213804101484</c:v>
                </c:pt>
                <c:pt idx="116">
                  <c:v>32.138802128040538</c:v>
                </c:pt>
                <c:pt idx="117">
                  <c:v>36.382333325278253</c:v>
                </c:pt>
                <c:pt idx="118">
                  <c:v>46.506359864535554</c:v>
                </c:pt>
                <c:pt idx="119">
                  <c:v>43.081177389749563</c:v>
                </c:pt>
                <c:pt idx="120">
                  <c:v>41.193771264901315</c:v>
                </c:pt>
                <c:pt idx="121">
                  <c:v>61.592738889491358</c:v>
                </c:pt>
                <c:pt idx="122">
                  <c:v>44.425242071906013</c:v>
                </c:pt>
                <c:pt idx="123">
                  <c:v>20.08499709394005</c:v>
                </c:pt>
                <c:pt idx="124">
                  <c:v>18.967728716285841</c:v>
                </c:pt>
                <c:pt idx="125">
                  <c:v>22.027218014003058</c:v>
                </c:pt>
                <c:pt idx="126">
                  <c:v>31.186279672597284</c:v>
                </c:pt>
                <c:pt idx="127">
                  <c:v>30.849463590035441</c:v>
                </c:pt>
                <c:pt idx="128">
                  <c:v>28.816325516913714</c:v>
                </c:pt>
                <c:pt idx="129">
                  <c:v>28.119233176862068</c:v>
                </c:pt>
                <c:pt idx="130">
                  <c:v>34.190549549667324</c:v>
                </c:pt>
                <c:pt idx="131">
                  <c:v>32.495618651173437</c:v>
                </c:pt>
                <c:pt idx="132">
                  <c:v>22.97192131159084</c:v>
                </c:pt>
                <c:pt idx="133">
                  <c:v>19.81225395097497</c:v>
                </c:pt>
                <c:pt idx="134">
                  <c:v>20.399810464526372</c:v>
                </c:pt>
                <c:pt idx="135">
                  <c:v>17.453312703448276</c:v>
                </c:pt>
                <c:pt idx="136">
                  <c:v>14.111883408641189</c:v>
                </c:pt>
                <c:pt idx="137">
                  <c:v>16.003689975845823</c:v>
                </c:pt>
                <c:pt idx="138">
                  <c:v>25.644551861828777</c:v>
                </c:pt>
                <c:pt idx="139">
                  <c:v>52.828204735456751</c:v>
                </c:pt>
                <c:pt idx="140">
                  <c:v>37.250934281442618</c:v>
                </c:pt>
                <c:pt idx="141">
                  <c:v>29.519321317600003</c:v>
                </c:pt>
                <c:pt idx="142">
                  <c:v>22.991830402451615</c:v>
                </c:pt>
                <c:pt idx="143">
                  <c:v>27.159888857776288</c:v>
                </c:pt>
                <c:pt idx="144">
                  <c:v>25.442434238378709</c:v>
                </c:pt>
                <c:pt idx="145">
                  <c:v>55.660347341742366</c:v>
                </c:pt>
                <c:pt idx="146">
                  <c:v>26.942466579949315</c:v>
                </c:pt>
                <c:pt idx="147">
                  <c:v>29.874126067167474</c:v>
                </c:pt>
                <c:pt idx="148">
                  <c:v>29.736660985567518</c:v>
                </c:pt>
                <c:pt idx="149">
                  <c:v>54.42574360489067</c:v>
                </c:pt>
                <c:pt idx="150">
                  <c:v>69.858791219364946</c:v>
                </c:pt>
                <c:pt idx="151">
                  <c:v>55.662966019298963</c:v>
                </c:pt>
                <c:pt idx="152">
                  <c:v>61.320910764637752</c:v>
                </c:pt>
                <c:pt idx="153">
                  <c:v>56.870224035679875</c:v>
                </c:pt>
                <c:pt idx="154">
                  <c:v>46.385217634498922</c:v>
                </c:pt>
                <c:pt idx="155">
                  <c:v>53.721302569176686</c:v>
                </c:pt>
                <c:pt idx="156">
                  <c:v>71.196516402488214</c:v>
                </c:pt>
                <c:pt idx="157">
                  <c:v>55.16768711037686</c:v>
                </c:pt>
                <c:pt idx="158">
                  <c:v>40.418195859782031</c:v>
                </c:pt>
                <c:pt idx="159">
                  <c:v>74.815431680540811</c:v>
                </c:pt>
                <c:pt idx="160">
                  <c:v>71.856831452563654</c:v>
                </c:pt>
                <c:pt idx="161">
                  <c:v>67.378013240434612</c:v>
                </c:pt>
                <c:pt idx="162">
                  <c:v>103.30040330768041</c:v>
                </c:pt>
                <c:pt idx="163">
                  <c:v>140.86233333482784</c:v>
                </c:pt>
                <c:pt idx="164">
                  <c:v>122.19662837543299</c:v>
                </c:pt>
                <c:pt idx="165">
                  <c:v>71.978622656989828</c:v>
                </c:pt>
                <c:pt idx="166">
                  <c:v>81.462951711924333</c:v>
                </c:pt>
                <c:pt idx="167">
                  <c:v>206.42541744176592</c:v>
                </c:pt>
                <c:pt idx="168">
                  <c:v>87.476831843153533</c:v>
                </c:pt>
              </c:numCache>
            </c:numRef>
          </c:yVal>
          <c:smooth val="0"/>
          <c:extLst>
            <c:ext xmlns:c16="http://schemas.microsoft.com/office/drawing/2014/chart" uri="{C3380CC4-5D6E-409C-BE32-E72D297353CC}">
              <c16:uniqueId val="{00000001-C880-4448-A8B8-C380C24FAC1A}"/>
            </c:ext>
          </c:extLst>
        </c:ser>
        <c:ser>
          <c:idx val="2"/>
          <c:order val="2"/>
          <c:spPr>
            <a:ln w="9525" algn="ctr">
              <a:solidFill>
                <a:schemeClr val="accent1"/>
              </a:solidFill>
              <a:prstDash val="lgDash"/>
            </a:ln>
          </c:spPr>
          <c:marker>
            <c:symbol val="none"/>
          </c:marker>
          <c:xVal>
            <c:numRef>
              <c:f>Sheet1!$A$1:$HV$1</c:f>
              <c:numCache>
                <c:formatCode>General</c:formatCode>
                <c:ptCount val="230"/>
                <c:pt idx="0">
                  <c:v>14245</c:v>
                </c:pt>
                <c:pt idx="1">
                  <c:v>14276</c:v>
                </c:pt>
                <c:pt idx="2">
                  <c:v>14304</c:v>
                </c:pt>
                <c:pt idx="3">
                  <c:v>14335</c:v>
                </c:pt>
                <c:pt idx="4">
                  <c:v>14365</c:v>
                </c:pt>
                <c:pt idx="5">
                  <c:v>14396</c:v>
                </c:pt>
                <c:pt idx="6">
                  <c:v>14426</c:v>
                </c:pt>
                <c:pt idx="7">
                  <c:v>14457</c:v>
                </c:pt>
                <c:pt idx="8">
                  <c:v>14488</c:v>
                </c:pt>
                <c:pt idx="9">
                  <c:v>14518</c:v>
                </c:pt>
                <c:pt idx="10">
                  <c:v>14549</c:v>
                </c:pt>
                <c:pt idx="11">
                  <c:v>14579</c:v>
                </c:pt>
                <c:pt idx="12">
                  <c:v>14610</c:v>
                </c:pt>
                <c:pt idx="13">
                  <c:v>14641</c:v>
                </c:pt>
                <c:pt idx="14">
                  <c:v>14669</c:v>
                </c:pt>
                <c:pt idx="15">
                  <c:v>14700</c:v>
                </c:pt>
                <c:pt idx="16">
                  <c:v>14730</c:v>
                </c:pt>
                <c:pt idx="17">
                  <c:v>14761</c:v>
                </c:pt>
                <c:pt idx="18">
                  <c:v>14791</c:v>
                </c:pt>
                <c:pt idx="19">
                  <c:v>14822</c:v>
                </c:pt>
                <c:pt idx="20">
                  <c:v>14853</c:v>
                </c:pt>
                <c:pt idx="21">
                  <c:v>14883</c:v>
                </c:pt>
                <c:pt idx="22">
                  <c:v>14914</c:v>
                </c:pt>
                <c:pt idx="23">
                  <c:v>14944</c:v>
                </c:pt>
                <c:pt idx="24">
                  <c:v>14975</c:v>
                </c:pt>
                <c:pt idx="25">
                  <c:v>15006</c:v>
                </c:pt>
                <c:pt idx="26">
                  <c:v>15034</c:v>
                </c:pt>
                <c:pt idx="27">
                  <c:v>15065</c:v>
                </c:pt>
                <c:pt idx="28">
                  <c:v>15095</c:v>
                </c:pt>
                <c:pt idx="29">
                  <c:v>15126</c:v>
                </c:pt>
                <c:pt idx="30">
                  <c:v>15156</c:v>
                </c:pt>
                <c:pt idx="31">
                  <c:v>15187</c:v>
                </c:pt>
                <c:pt idx="32">
                  <c:v>15218</c:v>
                </c:pt>
                <c:pt idx="33">
                  <c:v>15248</c:v>
                </c:pt>
                <c:pt idx="34">
                  <c:v>15279</c:v>
                </c:pt>
                <c:pt idx="35">
                  <c:v>15309</c:v>
                </c:pt>
                <c:pt idx="36">
                  <c:v>15340</c:v>
                </c:pt>
                <c:pt idx="37">
                  <c:v>15371</c:v>
                </c:pt>
                <c:pt idx="38">
                  <c:v>15400</c:v>
                </c:pt>
                <c:pt idx="39">
                  <c:v>15431</c:v>
                </c:pt>
                <c:pt idx="40">
                  <c:v>15461</c:v>
                </c:pt>
                <c:pt idx="41">
                  <c:v>15492</c:v>
                </c:pt>
                <c:pt idx="42">
                  <c:v>15522</c:v>
                </c:pt>
                <c:pt idx="43">
                  <c:v>15553</c:v>
                </c:pt>
                <c:pt idx="44">
                  <c:v>15584</c:v>
                </c:pt>
                <c:pt idx="45">
                  <c:v>15614</c:v>
                </c:pt>
                <c:pt idx="46">
                  <c:v>15645</c:v>
                </c:pt>
                <c:pt idx="47">
                  <c:v>15675</c:v>
                </c:pt>
                <c:pt idx="48">
                  <c:v>15706</c:v>
                </c:pt>
                <c:pt idx="49">
                  <c:v>15737</c:v>
                </c:pt>
                <c:pt idx="50">
                  <c:v>15765</c:v>
                </c:pt>
                <c:pt idx="51">
                  <c:v>15796</c:v>
                </c:pt>
                <c:pt idx="52">
                  <c:v>15826</c:v>
                </c:pt>
                <c:pt idx="53">
                  <c:v>15857</c:v>
                </c:pt>
                <c:pt idx="54">
                  <c:v>15887</c:v>
                </c:pt>
                <c:pt idx="55">
                  <c:v>15918</c:v>
                </c:pt>
                <c:pt idx="56">
                  <c:v>15949</c:v>
                </c:pt>
                <c:pt idx="57">
                  <c:v>15979</c:v>
                </c:pt>
                <c:pt idx="58">
                  <c:v>16010</c:v>
                </c:pt>
                <c:pt idx="59">
                  <c:v>16040</c:v>
                </c:pt>
                <c:pt idx="60">
                  <c:v>16071</c:v>
                </c:pt>
                <c:pt idx="61">
                  <c:v>16102</c:v>
                </c:pt>
                <c:pt idx="62">
                  <c:v>16130</c:v>
                </c:pt>
                <c:pt idx="63">
                  <c:v>16161</c:v>
                </c:pt>
                <c:pt idx="64">
                  <c:v>16191</c:v>
                </c:pt>
                <c:pt idx="65">
                  <c:v>16222</c:v>
                </c:pt>
                <c:pt idx="66">
                  <c:v>16252</c:v>
                </c:pt>
                <c:pt idx="67">
                  <c:v>16283</c:v>
                </c:pt>
                <c:pt idx="68">
                  <c:v>16314</c:v>
                </c:pt>
                <c:pt idx="69">
                  <c:v>16344</c:v>
                </c:pt>
                <c:pt idx="70">
                  <c:v>16375</c:v>
                </c:pt>
                <c:pt idx="71">
                  <c:v>16405</c:v>
                </c:pt>
                <c:pt idx="72">
                  <c:v>16436</c:v>
                </c:pt>
                <c:pt idx="73">
                  <c:v>16467</c:v>
                </c:pt>
                <c:pt idx="74">
                  <c:v>16495</c:v>
                </c:pt>
                <c:pt idx="75">
                  <c:v>16526</c:v>
                </c:pt>
                <c:pt idx="76">
                  <c:v>16556</c:v>
                </c:pt>
                <c:pt idx="77">
                  <c:v>16587</c:v>
                </c:pt>
                <c:pt idx="78">
                  <c:v>16617</c:v>
                </c:pt>
                <c:pt idx="79">
                  <c:v>16648</c:v>
                </c:pt>
                <c:pt idx="80">
                  <c:v>16679</c:v>
                </c:pt>
                <c:pt idx="81">
                  <c:v>16709</c:v>
                </c:pt>
                <c:pt idx="82">
                  <c:v>16740</c:v>
                </c:pt>
                <c:pt idx="83">
                  <c:v>16770</c:v>
                </c:pt>
                <c:pt idx="84">
                  <c:v>16801</c:v>
                </c:pt>
                <c:pt idx="85">
                  <c:v>16832</c:v>
                </c:pt>
                <c:pt idx="86">
                  <c:v>16861</c:v>
                </c:pt>
                <c:pt idx="87">
                  <c:v>16892</c:v>
                </c:pt>
                <c:pt idx="88">
                  <c:v>16922</c:v>
                </c:pt>
                <c:pt idx="89">
                  <c:v>16953</c:v>
                </c:pt>
                <c:pt idx="90">
                  <c:v>16983</c:v>
                </c:pt>
                <c:pt idx="91">
                  <c:v>17014</c:v>
                </c:pt>
                <c:pt idx="92">
                  <c:v>17045</c:v>
                </c:pt>
                <c:pt idx="93">
                  <c:v>17075</c:v>
                </c:pt>
                <c:pt idx="94">
                  <c:v>17106</c:v>
                </c:pt>
                <c:pt idx="95">
                  <c:v>17136</c:v>
                </c:pt>
                <c:pt idx="96">
                  <c:v>17167</c:v>
                </c:pt>
                <c:pt idx="97">
                  <c:v>17198</c:v>
                </c:pt>
                <c:pt idx="98">
                  <c:v>17226</c:v>
                </c:pt>
                <c:pt idx="99">
                  <c:v>17257</c:v>
                </c:pt>
                <c:pt idx="100">
                  <c:v>17287</c:v>
                </c:pt>
                <c:pt idx="101">
                  <c:v>17318</c:v>
                </c:pt>
                <c:pt idx="102">
                  <c:v>17348</c:v>
                </c:pt>
                <c:pt idx="103">
                  <c:v>17379</c:v>
                </c:pt>
                <c:pt idx="104">
                  <c:v>17410</c:v>
                </c:pt>
                <c:pt idx="105">
                  <c:v>17440</c:v>
                </c:pt>
                <c:pt idx="106">
                  <c:v>17471</c:v>
                </c:pt>
                <c:pt idx="107">
                  <c:v>17501</c:v>
                </c:pt>
                <c:pt idx="108">
                  <c:v>17532</c:v>
                </c:pt>
                <c:pt idx="109">
                  <c:v>17563</c:v>
                </c:pt>
                <c:pt idx="110">
                  <c:v>17591</c:v>
                </c:pt>
                <c:pt idx="111">
                  <c:v>17622</c:v>
                </c:pt>
                <c:pt idx="112">
                  <c:v>17652</c:v>
                </c:pt>
                <c:pt idx="113">
                  <c:v>17683</c:v>
                </c:pt>
                <c:pt idx="114">
                  <c:v>17713</c:v>
                </c:pt>
                <c:pt idx="115">
                  <c:v>17744</c:v>
                </c:pt>
                <c:pt idx="116">
                  <c:v>17775</c:v>
                </c:pt>
                <c:pt idx="117">
                  <c:v>17805</c:v>
                </c:pt>
                <c:pt idx="118">
                  <c:v>17836</c:v>
                </c:pt>
                <c:pt idx="119">
                  <c:v>17866</c:v>
                </c:pt>
                <c:pt idx="120">
                  <c:v>17897</c:v>
                </c:pt>
                <c:pt idx="121">
                  <c:v>17928</c:v>
                </c:pt>
                <c:pt idx="122">
                  <c:v>17956</c:v>
                </c:pt>
                <c:pt idx="123">
                  <c:v>17987</c:v>
                </c:pt>
                <c:pt idx="124">
                  <c:v>18017</c:v>
                </c:pt>
                <c:pt idx="125">
                  <c:v>18048</c:v>
                </c:pt>
                <c:pt idx="126">
                  <c:v>18078</c:v>
                </c:pt>
                <c:pt idx="127">
                  <c:v>18109</c:v>
                </c:pt>
                <c:pt idx="128">
                  <c:v>18140</c:v>
                </c:pt>
                <c:pt idx="129">
                  <c:v>18170</c:v>
                </c:pt>
                <c:pt idx="130">
                  <c:v>18201</c:v>
                </c:pt>
                <c:pt idx="131">
                  <c:v>18231</c:v>
                </c:pt>
                <c:pt idx="132">
                  <c:v>18262</c:v>
                </c:pt>
                <c:pt idx="133">
                  <c:v>18293</c:v>
                </c:pt>
                <c:pt idx="134">
                  <c:v>18322</c:v>
                </c:pt>
                <c:pt idx="135">
                  <c:v>18353</c:v>
                </c:pt>
                <c:pt idx="136">
                  <c:v>18383</c:v>
                </c:pt>
                <c:pt idx="137">
                  <c:v>18414</c:v>
                </c:pt>
                <c:pt idx="138">
                  <c:v>18444</c:v>
                </c:pt>
                <c:pt idx="139">
                  <c:v>18475</c:v>
                </c:pt>
                <c:pt idx="140">
                  <c:v>18506</c:v>
                </c:pt>
                <c:pt idx="141">
                  <c:v>18536</c:v>
                </c:pt>
                <c:pt idx="142">
                  <c:v>18567</c:v>
                </c:pt>
                <c:pt idx="143">
                  <c:v>18597</c:v>
                </c:pt>
                <c:pt idx="144">
                  <c:v>18628</c:v>
                </c:pt>
                <c:pt idx="145">
                  <c:v>18659</c:v>
                </c:pt>
                <c:pt idx="146">
                  <c:v>18687</c:v>
                </c:pt>
                <c:pt idx="147">
                  <c:v>18718</c:v>
                </c:pt>
                <c:pt idx="148">
                  <c:v>18748</c:v>
                </c:pt>
                <c:pt idx="149">
                  <c:v>18779</c:v>
                </c:pt>
                <c:pt idx="150">
                  <c:v>18809</c:v>
                </c:pt>
                <c:pt idx="151">
                  <c:v>18840</c:v>
                </c:pt>
                <c:pt idx="152">
                  <c:v>18871</c:v>
                </c:pt>
                <c:pt idx="153">
                  <c:v>18901</c:v>
                </c:pt>
                <c:pt idx="154">
                  <c:v>18932</c:v>
                </c:pt>
                <c:pt idx="155">
                  <c:v>18962</c:v>
                </c:pt>
                <c:pt idx="156">
                  <c:v>18993</c:v>
                </c:pt>
                <c:pt idx="157">
                  <c:v>19024</c:v>
                </c:pt>
                <c:pt idx="158">
                  <c:v>19052</c:v>
                </c:pt>
                <c:pt idx="159">
                  <c:v>19083</c:v>
                </c:pt>
                <c:pt idx="160">
                  <c:v>19113</c:v>
                </c:pt>
                <c:pt idx="161">
                  <c:v>19144</c:v>
                </c:pt>
                <c:pt idx="162">
                  <c:v>19174</c:v>
                </c:pt>
                <c:pt idx="163">
                  <c:v>19205</c:v>
                </c:pt>
                <c:pt idx="164">
                  <c:v>19236</c:v>
                </c:pt>
                <c:pt idx="165">
                  <c:v>19266</c:v>
                </c:pt>
                <c:pt idx="166">
                  <c:v>19297</c:v>
                </c:pt>
                <c:pt idx="167">
                  <c:v>19327</c:v>
                </c:pt>
                <c:pt idx="168">
                  <c:v>19358</c:v>
                </c:pt>
                <c:pt idx="169">
                  <c:v>19389</c:v>
                </c:pt>
                <c:pt idx="170">
                  <c:v>19417</c:v>
                </c:pt>
                <c:pt idx="171">
                  <c:v>19448</c:v>
                </c:pt>
                <c:pt idx="172">
                  <c:v>19478</c:v>
                </c:pt>
                <c:pt idx="173">
                  <c:v>19509</c:v>
                </c:pt>
                <c:pt idx="174">
                  <c:v>19539</c:v>
                </c:pt>
                <c:pt idx="175">
                  <c:v>19570</c:v>
                </c:pt>
                <c:pt idx="176">
                  <c:v>19601</c:v>
                </c:pt>
                <c:pt idx="177">
                  <c:v>19631</c:v>
                </c:pt>
                <c:pt idx="178">
                  <c:v>19662</c:v>
                </c:pt>
                <c:pt idx="179">
                  <c:v>19692</c:v>
                </c:pt>
                <c:pt idx="180">
                  <c:v>19723</c:v>
                </c:pt>
                <c:pt idx="181">
                  <c:v>19754</c:v>
                </c:pt>
                <c:pt idx="182">
                  <c:v>19783</c:v>
                </c:pt>
                <c:pt idx="183">
                  <c:v>19814</c:v>
                </c:pt>
                <c:pt idx="184">
                  <c:v>19844</c:v>
                </c:pt>
                <c:pt idx="185">
                  <c:v>19875</c:v>
                </c:pt>
                <c:pt idx="186">
                  <c:v>19905</c:v>
                </c:pt>
                <c:pt idx="187">
                  <c:v>19936</c:v>
                </c:pt>
                <c:pt idx="188">
                  <c:v>19967</c:v>
                </c:pt>
                <c:pt idx="189">
                  <c:v>19997</c:v>
                </c:pt>
                <c:pt idx="190">
                  <c:v>20028</c:v>
                </c:pt>
                <c:pt idx="191">
                  <c:v>20058</c:v>
                </c:pt>
                <c:pt idx="192">
                  <c:v>20089</c:v>
                </c:pt>
                <c:pt idx="193">
                  <c:v>20120</c:v>
                </c:pt>
                <c:pt idx="194">
                  <c:v>20148</c:v>
                </c:pt>
                <c:pt idx="195">
                  <c:v>20179</c:v>
                </c:pt>
                <c:pt idx="196">
                  <c:v>20209</c:v>
                </c:pt>
                <c:pt idx="197">
                  <c:v>20240</c:v>
                </c:pt>
                <c:pt idx="198">
                  <c:v>20270</c:v>
                </c:pt>
                <c:pt idx="199">
                  <c:v>20301</c:v>
                </c:pt>
                <c:pt idx="200">
                  <c:v>20332</c:v>
                </c:pt>
                <c:pt idx="201">
                  <c:v>20362</c:v>
                </c:pt>
                <c:pt idx="202">
                  <c:v>20393</c:v>
                </c:pt>
                <c:pt idx="203">
                  <c:v>20423</c:v>
                </c:pt>
                <c:pt idx="204">
                  <c:v>20454</c:v>
                </c:pt>
                <c:pt idx="205">
                  <c:v>20485</c:v>
                </c:pt>
                <c:pt idx="206">
                  <c:v>20513</c:v>
                </c:pt>
                <c:pt idx="207">
                  <c:v>20544</c:v>
                </c:pt>
                <c:pt idx="208">
                  <c:v>20574</c:v>
                </c:pt>
                <c:pt idx="209">
                  <c:v>20605</c:v>
                </c:pt>
                <c:pt idx="210">
                  <c:v>20635</c:v>
                </c:pt>
                <c:pt idx="211">
                  <c:v>20666</c:v>
                </c:pt>
                <c:pt idx="212">
                  <c:v>20697</c:v>
                </c:pt>
                <c:pt idx="213">
                  <c:v>20727</c:v>
                </c:pt>
                <c:pt idx="214">
                  <c:v>20758</c:v>
                </c:pt>
                <c:pt idx="215">
                  <c:v>20788</c:v>
                </c:pt>
                <c:pt idx="216">
                  <c:v>20819</c:v>
                </c:pt>
                <c:pt idx="217">
                  <c:v>20850</c:v>
                </c:pt>
                <c:pt idx="218">
                  <c:v>20878</c:v>
                </c:pt>
                <c:pt idx="219">
                  <c:v>20909</c:v>
                </c:pt>
                <c:pt idx="220">
                  <c:v>20939</c:v>
                </c:pt>
                <c:pt idx="221">
                  <c:v>20970</c:v>
                </c:pt>
                <c:pt idx="222">
                  <c:v>21000</c:v>
                </c:pt>
                <c:pt idx="223">
                  <c:v>21031</c:v>
                </c:pt>
                <c:pt idx="224">
                  <c:v>21062</c:v>
                </c:pt>
                <c:pt idx="225">
                  <c:v>21092</c:v>
                </c:pt>
                <c:pt idx="226">
                  <c:v>21123</c:v>
                </c:pt>
                <c:pt idx="227">
                  <c:v>21153</c:v>
                </c:pt>
                <c:pt idx="228">
                  <c:v>21184</c:v>
                </c:pt>
                <c:pt idx="229">
                  <c:v>21215</c:v>
                </c:pt>
              </c:numCache>
            </c:numRef>
          </c:xVal>
          <c:yVal>
            <c:numRef>
              <c:f>Sheet1!$A$4:$HV$4</c:f>
              <c:numCache>
                <c:formatCode>General</c:formatCode>
                <c:ptCount val="230"/>
                <c:pt idx="0">
                  <c:v>38.671944390423491</c:v>
                </c:pt>
                <c:pt idx="1">
                  <c:v>38.671944390423491</c:v>
                </c:pt>
                <c:pt idx="2">
                  <c:v>38.671944390423491</c:v>
                </c:pt>
                <c:pt idx="3">
                  <c:v>38.671944390423491</c:v>
                </c:pt>
                <c:pt idx="4">
                  <c:v>38.671944390423491</c:v>
                </c:pt>
                <c:pt idx="5">
                  <c:v>38.671944390423491</c:v>
                </c:pt>
                <c:pt idx="6">
                  <c:v>38.671944390423491</c:v>
                </c:pt>
                <c:pt idx="7">
                  <c:v>38.671944390423491</c:v>
                </c:pt>
                <c:pt idx="8">
                  <c:v>38.671944390423491</c:v>
                </c:pt>
                <c:pt idx="9">
                  <c:v>38.671944390423491</c:v>
                </c:pt>
                <c:pt idx="10">
                  <c:v>38.671944390423491</c:v>
                </c:pt>
                <c:pt idx="11">
                  <c:v>38.671944390423491</c:v>
                </c:pt>
                <c:pt idx="12">
                  <c:v>38.671944390423491</c:v>
                </c:pt>
                <c:pt idx="13">
                  <c:v>38.671944390423491</c:v>
                </c:pt>
                <c:pt idx="14">
                  <c:v>38.671944390423491</c:v>
                </c:pt>
                <c:pt idx="15">
                  <c:v>38.671944390423491</c:v>
                </c:pt>
                <c:pt idx="16">
                  <c:v>38.671944390423491</c:v>
                </c:pt>
                <c:pt idx="17">
                  <c:v>38.671944390423491</c:v>
                </c:pt>
                <c:pt idx="18">
                  <c:v>38.671944390423491</c:v>
                </c:pt>
                <c:pt idx="19">
                  <c:v>38.671944390423491</c:v>
                </c:pt>
                <c:pt idx="20">
                  <c:v>38.671944390423491</c:v>
                </c:pt>
                <c:pt idx="21">
                  <c:v>38.671944390423491</c:v>
                </c:pt>
                <c:pt idx="22">
                  <c:v>38.671944390423491</c:v>
                </c:pt>
                <c:pt idx="23">
                  <c:v>38.671944390423491</c:v>
                </c:pt>
                <c:pt idx="24">
                  <c:v>38.671944390423491</c:v>
                </c:pt>
                <c:pt idx="25">
                  <c:v>38.671944390423491</c:v>
                </c:pt>
                <c:pt idx="26">
                  <c:v>38.671944390423491</c:v>
                </c:pt>
                <c:pt idx="27">
                  <c:v>38.671944390423491</c:v>
                </c:pt>
                <c:pt idx="28">
                  <c:v>38.671944390423491</c:v>
                </c:pt>
                <c:pt idx="29">
                  <c:v>38.671944390423491</c:v>
                </c:pt>
                <c:pt idx="30">
                  <c:v>38.671944390423491</c:v>
                </c:pt>
                <c:pt idx="31">
                  <c:v>38.671944390423491</c:v>
                </c:pt>
                <c:pt idx="32">
                  <c:v>38.671944390423491</c:v>
                </c:pt>
                <c:pt idx="33">
                  <c:v>38.671944390423491</c:v>
                </c:pt>
                <c:pt idx="34">
                  <c:v>38.671944390423491</c:v>
                </c:pt>
                <c:pt idx="35">
                  <c:v>38.671944390423491</c:v>
                </c:pt>
                <c:pt idx="36">
                  <c:v>38.671944390423491</c:v>
                </c:pt>
                <c:pt idx="37">
                  <c:v>38.671944390423491</c:v>
                </c:pt>
                <c:pt idx="38">
                  <c:v>38.671944390423491</c:v>
                </c:pt>
                <c:pt idx="39">
                  <c:v>38.671944390423491</c:v>
                </c:pt>
                <c:pt idx="40">
                  <c:v>38.671944390423491</c:v>
                </c:pt>
                <c:pt idx="41">
                  <c:v>38.671944390423491</c:v>
                </c:pt>
                <c:pt idx="42">
                  <c:v>38.671944390423491</c:v>
                </c:pt>
                <c:pt idx="43">
                  <c:v>38.671944390423491</c:v>
                </c:pt>
                <c:pt idx="44">
                  <c:v>38.671944390423491</c:v>
                </c:pt>
                <c:pt idx="45">
                  <c:v>38.671944390423491</c:v>
                </c:pt>
                <c:pt idx="46">
                  <c:v>38.671944390423491</c:v>
                </c:pt>
                <c:pt idx="47">
                  <c:v>38.671944390423491</c:v>
                </c:pt>
                <c:pt idx="48">
                  <c:v>38.671944390423491</c:v>
                </c:pt>
                <c:pt idx="49">
                  <c:v>38.671944390423491</c:v>
                </c:pt>
                <c:pt idx="50">
                  <c:v>38.671944390423491</c:v>
                </c:pt>
                <c:pt idx="51">
                  <c:v>38.671944390423491</c:v>
                </c:pt>
                <c:pt idx="52">
                  <c:v>38.671944390423491</c:v>
                </c:pt>
                <c:pt idx="53">
                  <c:v>38.671944390423491</c:v>
                </c:pt>
                <c:pt idx="54">
                  <c:v>38.671944390423491</c:v>
                </c:pt>
                <c:pt idx="55">
                  <c:v>38.671944390423491</c:v>
                </c:pt>
                <c:pt idx="56">
                  <c:v>38.671944390423491</c:v>
                </c:pt>
                <c:pt idx="57">
                  <c:v>38.671944390423491</c:v>
                </c:pt>
                <c:pt idx="58">
                  <c:v>38.671944390423491</c:v>
                </c:pt>
                <c:pt idx="59">
                  <c:v>38.671944390423491</c:v>
                </c:pt>
                <c:pt idx="60">
                  <c:v>38.671944390423491</c:v>
                </c:pt>
                <c:pt idx="61">
                  <c:v>38.671944390423491</c:v>
                </c:pt>
                <c:pt idx="62">
                  <c:v>38.671944390423491</c:v>
                </c:pt>
                <c:pt idx="63">
                  <c:v>38.671944390423491</c:v>
                </c:pt>
                <c:pt idx="64">
                  <c:v>38.671944390423491</c:v>
                </c:pt>
                <c:pt idx="65">
                  <c:v>38.671944390423491</c:v>
                </c:pt>
                <c:pt idx="66">
                  <c:v>38.671944390423491</c:v>
                </c:pt>
                <c:pt idx="67">
                  <c:v>38.671944390423491</c:v>
                </c:pt>
                <c:pt idx="68">
                  <c:v>38.671944390423491</c:v>
                </c:pt>
                <c:pt idx="69">
                  <c:v>38.671944390423491</c:v>
                </c:pt>
                <c:pt idx="70">
                  <c:v>38.671944390423491</c:v>
                </c:pt>
                <c:pt idx="71">
                  <c:v>38.671944390423491</c:v>
                </c:pt>
                <c:pt idx="72">
                  <c:v>38.671944390423491</c:v>
                </c:pt>
                <c:pt idx="73">
                  <c:v>38.671944390423491</c:v>
                </c:pt>
                <c:pt idx="74">
                  <c:v>38.671944390423491</c:v>
                </c:pt>
                <c:pt idx="75">
                  <c:v>38.671944390423491</c:v>
                </c:pt>
                <c:pt idx="76">
                  <c:v>38.671944390423491</c:v>
                </c:pt>
                <c:pt idx="77">
                  <c:v>38.671944390423491</c:v>
                </c:pt>
                <c:pt idx="78">
                  <c:v>38.671944390423491</c:v>
                </c:pt>
                <c:pt idx="79">
                  <c:v>38.671944390423491</c:v>
                </c:pt>
                <c:pt idx="80">
                  <c:v>38.671944390423491</c:v>
                </c:pt>
                <c:pt idx="81">
                  <c:v>38.671944390423491</c:v>
                </c:pt>
                <c:pt idx="82">
                  <c:v>38.671944390423491</c:v>
                </c:pt>
                <c:pt idx="83">
                  <c:v>38.671944390423491</c:v>
                </c:pt>
                <c:pt idx="84">
                  <c:v>38.671944390423491</c:v>
                </c:pt>
                <c:pt idx="85">
                  <c:v>38.671944390423491</c:v>
                </c:pt>
                <c:pt idx="86">
                  <c:v>38.671944390423491</c:v>
                </c:pt>
                <c:pt idx="87">
                  <c:v>38.671944390423491</c:v>
                </c:pt>
                <c:pt idx="88">
                  <c:v>38.671944390423491</c:v>
                </c:pt>
                <c:pt idx="89">
                  <c:v>38.671944390423491</c:v>
                </c:pt>
                <c:pt idx="90">
                  <c:v>38.671944390423491</c:v>
                </c:pt>
                <c:pt idx="91">
                  <c:v>38.671944390423491</c:v>
                </c:pt>
                <c:pt idx="92">
                  <c:v>38.671944390423491</c:v>
                </c:pt>
                <c:pt idx="93">
                  <c:v>38.671944390423491</c:v>
                </c:pt>
                <c:pt idx="94">
                  <c:v>38.671944390423491</c:v>
                </c:pt>
                <c:pt idx="95">
                  <c:v>38.671944390423491</c:v>
                </c:pt>
                <c:pt idx="96">
                  <c:v>38.671944390423491</c:v>
                </c:pt>
                <c:pt idx="97">
                  <c:v>38.671944390423491</c:v>
                </c:pt>
                <c:pt idx="98">
                  <c:v>38.671944390423491</c:v>
                </c:pt>
                <c:pt idx="99">
                  <c:v>38.671944390423491</c:v>
                </c:pt>
                <c:pt idx="100">
                  <c:v>38.671944390423491</c:v>
                </c:pt>
                <c:pt idx="101">
                  <c:v>38.671944390423491</c:v>
                </c:pt>
                <c:pt idx="102">
                  <c:v>38.671944390423491</c:v>
                </c:pt>
                <c:pt idx="103">
                  <c:v>38.671944390423491</c:v>
                </c:pt>
                <c:pt idx="104">
                  <c:v>38.671944390423491</c:v>
                </c:pt>
                <c:pt idx="105">
                  <c:v>38.671944390423491</c:v>
                </c:pt>
                <c:pt idx="106">
                  <c:v>38.671944390423491</c:v>
                </c:pt>
                <c:pt idx="107">
                  <c:v>38.671944390423491</c:v>
                </c:pt>
                <c:pt idx="108">
                  <c:v>38.671944390423491</c:v>
                </c:pt>
                <c:pt idx="109">
                  <c:v>38.671944390423491</c:v>
                </c:pt>
                <c:pt idx="110">
                  <c:v>38.671944390423491</c:v>
                </c:pt>
                <c:pt idx="111">
                  <c:v>38.671944390423491</c:v>
                </c:pt>
                <c:pt idx="112">
                  <c:v>38.671944390423491</c:v>
                </c:pt>
                <c:pt idx="113">
                  <c:v>38.671944390423491</c:v>
                </c:pt>
                <c:pt idx="114">
                  <c:v>38.671944390423491</c:v>
                </c:pt>
                <c:pt idx="115">
                  <c:v>38.671944390423491</c:v>
                </c:pt>
                <c:pt idx="116">
                  <c:v>38.671944390423491</c:v>
                </c:pt>
                <c:pt idx="117">
                  <c:v>38.671944390423491</c:v>
                </c:pt>
                <c:pt idx="118">
                  <c:v>38.671944390423491</c:v>
                </c:pt>
                <c:pt idx="119">
                  <c:v>38.671944390423491</c:v>
                </c:pt>
                <c:pt idx="120">
                  <c:v>38.671944390423491</c:v>
                </c:pt>
                <c:pt idx="121">
                  <c:v>38.671944390423491</c:v>
                </c:pt>
                <c:pt idx="122">
                  <c:v>38.671944390423491</c:v>
                </c:pt>
                <c:pt idx="123">
                  <c:v>38.671944390423491</c:v>
                </c:pt>
                <c:pt idx="124">
                  <c:v>38.671944390423491</c:v>
                </c:pt>
                <c:pt idx="125">
                  <c:v>38.671944390423491</c:v>
                </c:pt>
                <c:pt idx="126">
                  <c:v>38.671944390423491</c:v>
                </c:pt>
                <c:pt idx="127">
                  <c:v>38.671944390423491</c:v>
                </c:pt>
                <c:pt idx="128">
                  <c:v>38.671944390423491</c:v>
                </c:pt>
                <c:pt idx="129">
                  <c:v>38.671944390423491</c:v>
                </c:pt>
                <c:pt idx="130">
                  <c:v>38.671944390423491</c:v>
                </c:pt>
                <c:pt idx="131">
                  <c:v>38.671944390423491</c:v>
                </c:pt>
                <c:pt idx="132">
                  <c:v>38.671944390423491</c:v>
                </c:pt>
                <c:pt idx="133">
                  <c:v>38.671944390423491</c:v>
                </c:pt>
                <c:pt idx="134">
                  <c:v>38.671944390423491</c:v>
                </c:pt>
                <c:pt idx="135">
                  <c:v>38.671944390423491</c:v>
                </c:pt>
                <c:pt idx="136">
                  <c:v>38.671944390423491</c:v>
                </c:pt>
                <c:pt idx="137">
                  <c:v>38.671944390423491</c:v>
                </c:pt>
                <c:pt idx="138">
                  <c:v>38.671944390423491</c:v>
                </c:pt>
                <c:pt idx="139">
                  <c:v>38.671944390423491</c:v>
                </c:pt>
                <c:pt idx="140">
                  <c:v>38.671944390423491</c:v>
                </c:pt>
                <c:pt idx="141">
                  <c:v>38.671944390423491</c:v>
                </c:pt>
                <c:pt idx="142">
                  <c:v>38.671944390423491</c:v>
                </c:pt>
                <c:pt idx="143">
                  <c:v>38.671944390423491</c:v>
                </c:pt>
              </c:numCache>
            </c:numRef>
          </c:yVal>
          <c:smooth val="0"/>
          <c:extLst>
            <c:ext xmlns:c16="http://schemas.microsoft.com/office/drawing/2014/chart" uri="{C3380CC4-5D6E-409C-BE32-E72D297353CC}">
              <c16:uniqueId val="{00000002-C880-4448-A8B8-C380C24FAC1A}"/>
            </c:ext>
          </c:extLst>
        </c:ser>
        <c:ser>
          <c:idx val="3"/>
          <c:order val="3"/>
          <c:spPr>
            <a:ln w="9525" algn="ctr">
              <a:solidFill>
                <a:schemeClr val="accent4"/>
              </a:solidFill>
              <a:prstDash val="lgDash"/>
            </a:ln>
          </c:spPr>
          <c:marker>
            <c:symbol val="none"/>
          </c:marker>
          <c:xVal>
            <c:numRef>
              <c:f>Sheet1!$A$1:$HV$1</c:f>
              <c:numCache>
                <c:formatCode>General</c:formatCode>
                <c:ptCount val="230"/>
                <c:pt idx="0">
                  <c:v>14245</c:v>
                </c:pt>
                <c:pt idx="1">
                  <c:v>14276</c:v>
                </c:pt>
                <c:pt idx="2">
                  <c:v>14304</c:v>
                </c:pt>
                <c:pt idx="3">
                  <c:v>14335</c:v>
                </c:pt>
                <c:pt idx="4">
                  <c:v>14365</c:v>
                </c:pt>
                <c:pt idx="5">
                  <c:v>14396</c:v>
                </c:pt>
                <c:pt idx="6">
                  <c:v>14426</c:v>
                </c:pt>
                <c:pt idx="7">
                  <c:v>14457</c:v>
                </c:pt>
                <c:pt idx="8">
                  <c:v>14488</c:v>
                </c:pt>
                <c:pt idx="9">
                  <c:v>14518</c:v>
                </c:pt>
                <c:pt idx="10">
                  <c:v>14549</c:v>
                </c:pt>
                <c:pt idx="11">
                  <c:v>14579</c:v>
                </c:pt>
                <c:pt idx="12">
                  <c:v>14610</c:v>
                </c:pt>
                <c:pt idx="13">
                  <c:v>14641</c:v>
                </c:pt>
                <c:pt idx="14">
                  <c:v>14669</c:v>
                </c:pt>
                <c:pt idx="15">
                  <c:v>14700</c:v>
                </c:pt>
                <c:pt idx="16">
                  <c:v>14730</c:v>
                </c:pt>
                <c:pt idx="17">
                  <c:v>14761</c:v>
                </c:pt>
                <c:pt idx="18">
                  <c:v>14791</c:v>
                </c:pt>
                <c:pt idx="19">
                  <c:v>14822</c:v>
                </c:pt>
                <c:pt idx="20">
                  <c:v>14853</c:v>
                </c:pt>
                <c:pt idx="21">
                  <c:v>14883</c:v>
                </c:pt>
                <c:pt idx="22">
                  <c:v>14914</c:v>
                </c:pt>
                <c:pt idx="23">
                  <c:v>14944</c:v>
                </c:pt>
                <c:pt idx="24">
                  <c:v>14975</c:v>
                </c:pt>
                <c:pt idx="25">
                  <c:v>15006</c:v>
                </c:pt>
                <c:pt idx="26">
                  <c:v>15034</c:v>
                </c:pt>
                <c:pt idx="27">
                  <c:v>15065</c:v>
                </c:pt>
                <c:pt idx="28">
                  <c:v>15095</c:v>
                </c:pt>
                <c:pt idx="29">
                  <c:v>15126</c:v>
                </c:pt>
                <c:pt idx="30">
                  <c:v>15156</c:v>
                </c:pt>
                <c:pt idx="31">
                  <c:v>15187</c:v>
                </c:pt>
                <c:pt idx="32">
                  <c:v>15218</c:v>
                </c:pt>
                <c:pt idx="33">
                  <c:v>15248</c:v>
                </c:pt>
                <c:pt idx="34">
                  <c:v>15279</c:v>
                </c:pt>
                <c:pt idx="35">
                  <c:v>15309</c:v>
                </c:pt>
                <c:pt idx="36">
                  <c:v>15340</c:v>
                </c:pt>
                <c:pt idx="37">
                  <c:v>15371</c:v>
                </c:pt>
                <c:pt idx="38">
                  <c:v>15400</c:v>
                </c:pt>
                <c:pt idx="39">
                  <c:v>15431</c:v>
                </c:pt>
                <c:pt idx="40">
                  <c:v>15461</c:v>
                </c:pt>
                <c:pt idx="41">
                  <c:v>15492</c:v>
                </c:pt>
                <c:pt idx="42">
                  <c:v>15522</c:v>
                </c:pt>
                <c:pt idx="43">
                  <c:v>15553</c:v>
                </c:pt>
                <c:pt idx="44">
                  <c:v>15584</c:v>
                </c:pt>
                <c:pt idx="45">
                  <c:v>15614</c:v>
                </c:pt>
                <c:pt idx="46">
                  <c:v>15645</c:v>
                </c:pt>
                <c:pt idx="47">
                  <c:v>15675</c:v>
                </c:pt>
                <c:pt idx="48">
                  <c:v>15706</c:v>
                </c:pt>
                <c:pt idx="49">
                  <c:v>15737</c:v>
                </c:pt>
                <c:pt idx="50">
                  <c:v>15765</c:v>
                </c:pt>
                <c:pt idx="51">
                  <c:v>15796</c:v>
                </c:pt>
                <c:pt idx="52">
                  <c:v>15826</c:v>
                </c:pt>
                <c:pt idx="53">
                  <c:v>15857</c:v>
                </c:pt>
                <c:pt idx="54">
                  <c:v>15887</c:v>
                </c:pt>
                <c:pt idx="55">
                  <c:v>15918</c:v>
                </c:pt>
                <c:pt idx="56">
                  <c:v>15949</c:v>
                </c:pt>
                <c:pt idx="57">
                  <c:v>15979</c:v>
                </c:pt>
                <c:pt idx="58">
                  <c:v>16010</c:v>
                </c:pt>
                <c:pt idx="59">
                  <c:v>16040</c:v>
                </c:pt>
                <c:pt idx="60">
                  <c:v>16071</c:v>
                </c:pt>
                <c:pt idx="61">
                  <c:v>16102</c:v>
                </c:pt>
                <c:pt idx="62">
                  <c:v>16130</c:v>
                </c:pt>
                <c:pt idx="63">
                  <c:v>16161</c:v>
                </c:pt>
                <c:pt idx="64">
                  <c:v>16191</c:v>
                </c:pt>
                <c:pt idx="65">
                  <c:v>16222</c:v>
                </c:pt>
                <c:pt idx="66">
                  <c:v>16252</c:v>
                </c:pt>
                <c:pt idx="67">
                  <c:v>16283</c:v>
                </c:pt>
                <c:pt idx="68">
                  <c:v>16314</c:v>
                </c:pt>
                <c:pt idx="69">
                  <c:v>16344</c:v>
                </c:pt>
                <c:pt idx="70">
                  <c:v>16375</c:v>
                </c:pt>
                <c:pt idx="71">
                  <c:v>16405</c:v>
                </c:pt>
                <c:pt idx="72">
                  <c:v>16436</c:v>
                </c:pt>
                <c:pt idx="73">
                  <c:v>16467</c:v>
                </c:pt>
                <c:pt idx="74">
                  <c:v>16495</c:v>
                </c:pt>
                <c:pt idx="75">
                  <c:v>16526</c:v>
                </c:pt>
                <c:pt idx="76">
                  <c:v>16556</c:v>
                </c:pt>
                <c:pt idx="77">
                  <c:v>16587</c:v>
                </c:pt>
                <c:pt idx="78">
                  <c:v>16617</c:v>
                </c:pt>
                <c:pt idx="79">
                  <c:v>16648</c:v>
                </c:pt>
                <c:pt idx="80">
                  <c:v>16679</c:v>
                </c:pt>
                <c:pt idx="81">
                  <c:v>16709</c:v>
                </c:pt>
                <c:pt idx="82">
                  <c:v>16740</c:v>
                </c:pt>
                <c:pt idx="83">
                  <c:v>16770</c:v>
                </c:pt>
                <c:pt idx="84">
                  <c:v>16801</c:v>
                </c:pt>
                <c:pt idx="85">
                  <c:v>16832</c:v>
                </c:pt>
                <c:pt idx="86">
                  <c:v>16861</c:v>
                </c:pt>
                <c:pt idx="87">
                  <c:v>16892</c:v>
                </c:pt>
                <c:pt idx="88">
                  <c:v>16922</c:v>
                </c:pt>
                <c:pt idx="89">
                  <c:v>16953</c:v>
                </c:pt>
                <c:pt idx="90">
                  <c:v>16983</c:v>
                </c:pt>
                <c:pt idx="91">
                  <c:v>17014</c:v>
                </c:pt>
                <c:pt idx="92">
                  <c:v>17045</c:v>
                </c:pt>
                <c:pt idx="93">
                  <c:v>17075</c:v>
                </c:pt>
                <c:pt idx="94">
                  <c:v>17106</c:v>
                </c:pt>
                <c:pt idx="95">
                  <c:v>17136</c:v>
                </c:pt>
                <c:pt idx="96">
                  <c:v>17167</c:v>
                </c:pt>
                <c:pt idx="97">
                  <c:v>17198</c:v>
                </c:pt>
                <c:pt idx="98">
                  <c:v>17226</c:v>
                </c:pt>
                <c:pt idx="99">
                  <c:v>17257</c:v>
                </c:pt>
                <c:pt idx="100">
                  <c:v>17287</c:v>
                </c:pt>
                <c:pt idx="101">
                  <c:v>17318</c:v>
                </c:pt>
                <c:pt idx="102">
                  <c:v>17348</c:v>
                </c:pt>
                <c:pt idx="103">
                  <c:v>17379</c:v>
                </c:pt>
                <c:pt idx="104">
                  <c:v>17410</c:v>
                </c:pt>
                <c:pt idx="105">
                  <c:v>17440</c:v>
                </c:pt>
                <c:pt idx="106">
                  <c:v>17471</c:v>
                </c:pt>
                <c:pt idx="107">
                  <c:v>17501</c:v>
                </c:pt>
                <c:pt idx="108">
                  <c:v>17532</c:v>
                </c:pt>
                <c:pt idx="109">
                  <c:v>17563</c:v>
                </c:pt>
                <c:pt idx="110">
                  <c:v>17591</c:v>
                </c:pt>
                <c:pt idx="111">
                  <c:v>17622</c:v>
                </c:pt>
                <c:pt idx="112">
                  <c:v>17652</c:v>
                </c:pt>
                <c:pt idx="113">
                  <c:v>17683</c:v>
                </c:pt>
                <c:pt idx="114">
                  <c:v>17713</c:v>
                </c:pt>
                <c:pt idx="115">
                  <c:v>17744</c:v>
                </c:pt>
                <c:pt idx="116">
                  <c:v>17775</c:v>
                </c:pt>
                <c:pt idx="117">
                  <c:v>17805</c:v>
                </c:pt>
                <c:pt idx="118">
                  <c:v>17836</c:v>
                </c:pt>
                <c:pt idx="119">
                  <c:v>17866</c:v>
                </c:pt>
                <c:pt idx="120">
                  <c:v>17897</c:v>
                </c:pt>
                <c:pt idx="121">
                  <c:v>17928</c:v>
                </c:pt>
                <c:pt idx="122">
                  <c:v>17956</c:v>
                </c:pt>
                <c:pt idx="123">
                  <c:v>17987</c:v>
                </c:pt>
                <c:pt idx="124">
                  <c:v>18017</c:v>
                </c:pt>
                <c:pt idx="125">
                  <c:v>18048</c:v>
                </c:pt>
                <c:pt idx="126">
                  <c:v>18078</c:v>
                </c:pt>
                <c:pt idx="127">
                  <c:v>18109</c:v>
                </c:pt>
                <c:pt idx="128">
                  <c:v>18140</c:v>
                </c:pt>
                <c:pt idx="129">
                  <c:v>18170</c:v>
                </c:pt>
                <c:pt idx="130">
                  <c:v>18201</c:v>
                </c:pt>
                <c:pt idx="131">
                  <c:v>18231</c:v>
                </c:pt>
                <c:pt idx="132">
                  <c:v>18262</c:v>
                </c:pt>
                <c:pt idx="133">
                  <c:v>18293</c:v>
                </c:pt>
                <c:pt idx="134">
                  <c:v>18322</c:v>
                </c:pt>
                <c:pt idx="135">
                  <c:v>18353</c:v>
                </c:pt>
                <c:pt idx="136">
                  <c:v>18383</c:v>
                </c:pt>
                <c:pt idx="137">
                  <c:v>18414</c:v>
                </c:pt>
                <c:pt idx="138">
                  <c:v>18444</c:v>
                </c:pt>
                <c:pt idx="139">
                  <c:v>18475</c:v>
                </c:pt>
                <c:pt idx="140">
                  <c:v>18506</c:v>
                </c:pt>
                <c:pt idx="141">
                  <c:v>18536</c:v>
                </c:pt>
                <c:pt idx="142">
                  <c:v>18567</c:v>
                </c:pt>
                <c:pt idx="143">
                  <c:v>18597</c:v>
                </c:pt>
                <c:pt idx="144">
                  <c:v>18628</c:v>
                </c:pt>
                <c:pt idx="145">
                  <c:v>18659</c:v>
                </c:pt>
                <c:pt idx="146">
                  <c:v>18687</c:v>
                </c:pt>
                <c:pt idx="147">
                  <c:v>18718</c:v>
                </c:pt>
                <c:pt idx="148">
                  <c:v>18748</c:v>
                </c:pt>
                <c:pt idx="149">
                  <c:v>18779</c:v>
                </c:pt>
                <c:pt idx="150">
                  <c:v>18809</c:v>
                </c:pt>
                <c:pt idx="151">
                  <c:v>18840</c:v>
                </c:pt>
                <c:pt idx="152">
                  <c:v>18871</c:v>
                </c:pt>
                <c:pt idx="153">
                  <c:v>18901</c:v>
                </c:pt>
                <c:pt idx="154">
                  <c:v>18932</c:v>
                </c:pt>
                <c:pt idx="155">
                  <c:v>18962</c:v>
                </c:pt>
                <c:pt idx="156">
                  <c:v>18993</c:v>
                </c:pt>
                <c:pt idx="157">
                  <c:v>19024</c:v>
                </c:pt>
                <c:pt idx="158">
                  <c:v>19052</c:v>
                </c:pt>
                <c:pt idx="159">
                  <c:v>19083</c:v>
                </c:pt>
                <c:pt idx="160">
                  <c:v>19113</c:v>
                </c:pt>
                <c:pt idx="161">
                  <c:v>19144</c:v>
                </c:pt>
                <c:pt idx="162">
                  <c:v>19174</c:v>
                </c:pt>
                <c:pt idx="163">
                  <c:v>19205</c:v>
                </c:pt>
                <c:pt idx="164">
                  <c:v>19236</c:v>
                </c:pt>
                <c:pt idx="165">
                  <c:v>19266</c:v>
                </c:pt>
                <c:pt idx="166">
                  <c:v>19297</c:v>
                </c:pt>
                <c:pt idx="167">
                  <c:v>19327</c:v>
                </c:pt>
                <c:pt idx="168">
                  <c:v>19358</c:v>
                </c:pt>
                <c:pt idx="169">
                  <c:v>19389</c:v>
                </c:pt>
                <c:pt idx="170">
                  <c:v>19417</c:v>
                </c:pt>
                <c:pt idx="171">
                  <c:v>19448</c:v>
                </c:pt>
                <c:pt idx="172">
                  <c:v>19478</c:v>
                </c:pt>
                <c:pt idx="173">
                  <c:v>19509</c:v>
                </c:pt>
                <c:pt idx="174">
                  <c:v>19539</c:v>
                </c:pt>
                <c:pt idx="175">
                  <c:v>19570</c:v>
                </c:pt>
                <c:pt idx="176">
                  <c:v>19601</c:v>
                </c:pt>
                <c:pt idx="177">
                  <c:v>19631</c:v>
                </c:pt>
                <c:pt idx="178">
                  <c:v>19662</c:v>
                </c:pt>
                <c:pt idx="179">
                  <c:v>19692</c:v>
                </c:pt>
                <c:pt idx="180">
                  <c:v>19723</c:v>
                </c:pt>
                <c:pt idx="181">
                  <c:v>19754</c:v>
                </c:pt>
                <c:pt idx="182">
                  <c:v>19783</c:v>
                </c:pt>
                <c:pt idx="183">
                  <c:v>19814</c:v>
                </c:pt>
                <c:pt idx="184">
                  <c:v>19844</c:v>
                </c:pt>
                <c:pt idx="185">
                  <c:v>19875</c:v>
                </c:pt>
                <c:pt idx="186">
                  <c:v>19905</c:v>
                </c:pt>
                <c:pt idx="187">
                  <c:v>19936</c:v>
                </c:pt>
                <c:pt idx="188">
                  <c:v>19967</c:v>
                </c:pt>
                <c:pt idx="189">
                  <c:v>19997</c:v>
                </c:pt>
                <c:pt idx="190">
                  <c:v>20028</c:v>
                </c:pt>
                <c:pt idx="191">
                  <c:v>20058</c:v>
                </c:pt>
                <c:pt idx="192">
                  <c:v>20089</c:v>
                </c:pt>
                <c:pt idx="193">
                  <c:v>20120</c:v>
                </c:pt>
                <c:pt idx="194">
                  <c:v>20148</c:v>
                </c:pt>
                <c:pt idx="195">
                  <c:v>20179</c:v>
                </c:pt>
                <c:pt idx="196">
                  <c:v>20209</c:v>
                </c:pt>
                <c:pt idx="197">
                  <c:v>20240</c:v>
                </c:pt>
                <c:pt idx="198">
                  <c:v>20270</c:v>
                </c:pt>
                <c:pt idx="199">
                  <c:v>20301</c:v>
                </c:pt>
                <c:pt idx="200">
                  <c:v>20332</c:v>
                </c:pt>
                <c:pt idx="201">
                  <c:v>20362</c:v>
                </c:pt>
                <c:pt idx="202">
                  <c:v>20393</c:v>
                </c:pt>
                <c:pt idx="203">
                  <c:v>20423</c:v>
                </c:pt>
                <c:pt idx="204">
                  <c:v>20454</c:v>
                </c:pt>
                <c:pt idx="205">
                  <c:v>20485</c:v>
                </c:pt>
                <c:pt idx="206">
                  <c:v>20513</c:v>
                </c:pt>
                <c:pt idx="207">
                  <c:v>20544</c:v>
                </c:pt>
                <c:pt idx="208">
                  <c:v>20574</c:v>
                </c:pt>
                <c:pt idx="209">
                  <c:v>20605</c:v>
                </c:pt>
                <c:pt idx="210">
                  <c:v>20635</c:v>
                </c:pt>
                <c:pt idx="211">
                  <c:v>20666</c:v>
                </c:pt>
                <c:pt idx="212">
                  <c:v>20697</c:v>
                </c:pt>
                <c:pt idx="213">
                  <c:v>20727</c:v>
                </c:pt>
                <c:pt idx="214">
                  <c:v>20758</c:v>
                </c:pt>
                <c:pt idx="215">
                  <c:v>20788</c:v>
                </c:pt>
                <c:pt idx="216">
                  <c:v>20819</c:v>
                </c:pt>
                <c:pt idx="217">
                  <c:v>20850</c:v>
                </c:pt>
                <c:pt idx="218">
                  <c:v>20878</c:v>
                </c:pt>
                <c:pt idx="219">
                  <c:v>20909</c:v>
                </c:pt>
                <c:pt idx="220">
                  <c:v>20939</c:v>
                </c:pt>
                <c:pt idx="221">
                  <c:v>20970</c:v>
                </c:pt>
                <c:pt idx="222">
                  <c:v>21000</c:v>
                </c:pt>
                <c:pt idx="223">
                  <c:v>21031</c:v>
                </c:pt>
                <c:pt idx="224">
                  <c:v>21062</c:v>
                </c:pt>
                <c:pt idx="225">
                  <c:v>21092</c:v>
                </c:pt>
                <c:pt idx="226">
                  <c:v>21123</c:v>
                </c:pt>
                <c:pt idx="227">
                  <c:v>21153</c:v>
                </c:pt>
                <c:pt idx="228">
                  <c:v>21184</c:v>
                </c:pt>
                <c:pt idx="229">
                  <c:v>21215</c:v>
                </c:pt>
              </c:numCache>
            </c:numRef>
          </c:xVal>
          <c:yVal>
            <c:numRef>
              <c:f>Sheet1!$A$5:$HV$5</c:f>
              <c:numCache>
                <c:formatCode>General</c:formatCode>
                <c:ptCount val="230"/>
                <c:pt idx="0">
                  <c:v>31.163148682332398</c:v>
                </c:pt>
                <c:pt idx="1">
                  <c:v>31.163148682332398</c:v>
                </c:pt>
                <c:pt idx="2">
                  <c:v>31.163148682332398</c:v>
                </c:pt>
                <c:pt idx="3">
                  <c:v>31.163148682332398</c:v>
                </c:pt>
                <c:pt idx="4">
                  <c:v>31.163148682332398</c:v>
                </c:pt>
                <c:pt idx="5">
                  <c:v>31.163148682332398</c:v>
                </c:pt>
                <c:pt idx="6">
                  <c:v>31.163148682332398</c:v>
                </c:pt>
                <c:pt idx="7">
                  <c:v>31.163148682332398</c:v>
                </c:pt>
                <c:pt idx="8">
                  <c:v>31.163148682332398</c:v>
                </c:pt>
                <c:pt idx="9">
                  <c:v>31.163148682332398</c:v>
                </c:pt>
                <c:pt idx="10">
                  <c:v>31.163148682332398</c:v>
                </c:pt>
                <c:pt idx="11">
                  <c:v>31.163148682332398</c:v>
                </c:pt>
                <c:pt idx="12">
                  <c:v>31.163148682332398</c:v>
                </c:pt>
                <c:pt idx="13">
                  <c:v>31.163148682332398</c:v>
                </c:pt>
                <c:pt idx="14">
                  <c:v>31.163148682332398</c:v>
                </c:pt>
                <c:pt idx="15">
                  <c:v>31.163148682332398</c:v>
                </c:pt>
                <c:pt idx="16">
                  <c:v>31.163148682332398</c:v>
                </c:pt>
                <c:pt idx="17">
                  <c:v>31.163148682332398</c:v>
                </c:pt>
                <c:pt idx="18">
                  <c:v>31.163148682332398</c:v>
                </c:pt>
                <c:pt idx="19">
                  <c:v>31.163148682332398</c:v>
                </c:pt>
                <c:pt idx="20">
                  <c:v>31.163148682332398</c:v>
                </c:pt>
                <c:pt idx="21">
                  <c:v>31.163148682332398</c:v>
                </c:pt>
                <c:pt idx="22">
                  <c:v>31.163148682332398</c:v>
                </c:pt>
                <c:pt idx="23">
                  <c:v>31.163148682332398</c:v>
                </c:pt>
                <c:pt idx="24">
                  <c:v>31.163148682332398</c:v>
                </c:pt>
                <c:pt idx="25">
                  <c:v>31.163148682332398</c:v>
                </c:pt>
                <c:pt idx="26">
                  <c:v>31.163148682332398</c:v>
                </c:pt>
                <c:pt idx="27">
                  <c:v>31.163148682332398</c:v>
                </c:pt>
                <c:pt idx="28">
                  <c:v>31.163148682332398</c:v>
                </c:pt>
                <c:pt idx="29">
                  <c:v>31.163148682332398</c:v>
                </c:pt>
                <c:pt idx="30">
                  <c:v>31.163148682332398</c:v>
                </c:pt>
                <c:pt idx="31">
                  <c:v>31.163148682332398</c:v>
                </c:pt>
                <c:pt idx="32">
                  <c:v>31.163148682332398</c:v>
                </c:pt>
                <c:pt idx="33">
                  <c:v>31.163148682332398</c:v>
                </c:pt>
                <c:pt idx="34">
                  <c:v>31.163148682332398</c:v>
                </c:pt>
                <c:pt idx="35">
                  <c:v>31.163148682332398</c:v>
                </c:pt>
                <c:pt idx="36">
                  <c:v>31.163148682332398</c:v>
                </c:pt>
                <c:pt idx="37">
                  <c:v>31.163148682332398</c:v>
                </c:pt>
                <c:pt idx="38">
                  <c:v>31.163148682332398</c:v>
                </c:pt>
                <c:pt idx="39">
                  <c:v>31.163148682332398</c:v>
                </c:pt>
                <c:pt idx="40">
                  <c:v>31.163148682332398</c:v>
                </c:pt>
                <c:pt idx="41">
                  <c:v>31.163148682332398</c:v>
                </c:pt>
                <c:pt idx="42">
                  <c:v>31.163148682332398</c:v>
                </c:pt>
                <c:pt idx="43">
                  <c:v>31.163148682332398</c:v>
                </c:pt>
                <c:pt idx="44">
                  <c:v>31.163148682332398</c:v>
                </c:pt>
                <c:pt idx="45">
                  <c:v>31.163148682332398</c:v>
                </c:pt>
                <c:pt idx="46">
                  <c:v>31.163148682332398</c:v>
                </c:pt>
                <c:pt idx="47">
                  <c:v>31.163148682332398</c:v>
                </c:pt>
                <c:pt idx="48">
                  <c:v>31.163148682332398</c:v>
                </c:pt>
                <c:pt idx="49">
                  <c:v>31.163148682332398</c:v>
                </c:pt>
                <c:pt idx="50">
                  <c:v>31.163148682332398</c:v>
                </c:pt>
                <c:pt idx="51">
                  <c:v>31.163148682332398</c:v>
                </c:pt>
                <c:pt idx="52">
                  <c:v>31.163148682332398</c:v>
                </c:pt>
                <c:pt idx="53">
                  <c:v>31.163148682332398</c:v>
                </c:pt>
                <c:pt idx="54">
                  <c:v>31.163148682332398</c:v>
                </c:pt>
                <c:pt idx="55">
                  <c:v>31.163148682332398</c:v>
                </c:pt>
                <c:pt idx="56">
                  <c:v>31.163148682332398</c:v>
                </c:pt>
                <c:pt idx="57">
                  <c:v>31.163148682332398</c:v>
                </c:pt>
                <c:pt idx="58">
                  <c:v>31.163148682332398</c:v>
                </c:pt>
                <c:pt idx="59">
                  <c:v>31.163148682332398</c:v>
                </c:pt>
                <c:pt idx="60">
                  <c:v>31.163148682332398</c:v>
                </c:pt>
                <c:pt idx="61">
                  <c:v>31.163148682332398</c:v>
                </c:pt>
                <c:pt idx="62">
                  <c:v>31.163148682332398</c:v>
                </c:pt>
                <c:pt idx="63">
                  <c:v>31.163148682332398</c:v>
                </c:pt>
                <c:pt idx="64">
                  <c:v>31.163148682332398</c:v>
                </c:pt>
                <c:pt idx="65">
                  <c:v>31.163148682332398</c:v>
                </c:pt>
                <c:pt idx="66">
                  <c:v>31.163148682332398</c:v>
                </c:pt>
                <c:pt idx="67">
                  <c:v>31.163148682332398</c:v>
                </c:pt>
                <c:pt idx="68">
                  <c:v>31.163148682332398</c:v>
                </c:pt>
                <c:pt idx="69">
                  <c:v>31.163148682332398</c:v>
                </c:pt>
                <c:pt idx="70">
                  <c:v>31.163148682332398</c:v>
                </c:pt>
                <c:pt idx="71">
                  <c:v>31.163148682332398</c:v>
                </c:pt>
                <c:pt idx="72">
                  <c:v>31.163148682332398</c:v>
                </c:pt>
                <c:pt idx="73">
                  <c:v>31.163148682332398</c:v>
                </c:pt>
                <c:pt idx="74">
                  <c:v>31.163148682332398</c:v>
                </c:pt>
                <c:pt idx="75">
                  <c:v>31.163148682332398</c:v>
                </c:pt>
                <c:pt idx="76">
                  <c:v>31.163148682332398</c:v>
                </c:pt>
                <c:pt idx="77">
                  <c:v>31.163148682332398</c:v>
                </c:pt>
                <c:pt idx="78">
                  <c:v>31.163148682332398</c:v>
                </c:pt>
                <c:pt idx="79">
                  <c:v>31.163148682332398</c:v>
                </c:pt>
                <c:pt idx="80">
                  <c:v>31.163148682332398</c:v>
                </c:pt>
                <c:pt idx="81">
                  <c:v>31.163148682332398</c:v>
                </c:pt>
                <c:pt idx="82">
                  <c:v>31.163148682332398</c:v>
                </c:pt>
                <c:pt idx="83">
                  <c:v>31.163148682332398</c:v>
                </c:pt>
                <c:pt idx="84">
                  <c:v>31.163148682332398</c:v>
                </c:pt>
                <c:pt idx="85">
                  <c:v>31.163148682332398</c:v>
                </c:pt>
                <c:pt idx="86">
                  <c:v>31.163148682332398</c:v>
                </c:pt>
                <c:pt idx="87">
                  <c:v>31.163148682332398</c:v>
                </c:pt>
                <c:pt idx="88">
                  <c:v>31.163148682332398</c:v>
                </c:pt>
                <c:pt idx="89">
                  <c:v>31.163148682332398</c:v>
                </c:pt>
                <c:pt idx="90">
                  <c:v>31.163148682332398</c:v>
                </c:pt>
                <c:pt idx="91">
                  <c:v>31.163148682332398</c:v>
                </c:pt>
                <c:pt idx="92">
                  <c:v>31.163148682332398</c:v>
                </c:pt>
                <c:pt idx="93">
                  <c:v>31.163148682332398</c:v>
                </c:pt>
                <c:pt idx="94">
                  <c:v>31.163148682332398</c:v>
                </c:pt>
                <c:pt idx="95">
                  <c:v>31.163148682332398</c:v>
                </c:pt>
                <c:pt idx="96">
                  <c:v>31.163148682332398</c:v>
                </c:pt>
                <c:pt idx="97">
                  <c:v>31.163148682332398</c:v>
                </c:pt>
                <c:pt idx="98">
                  <c:v>31.163148682332398</c:v>
                </c:pt>
                <c:pt idx="99">
                  <c:v>31.163148682332398</c:v>
                </c:pt>
                <c:pt idx="100">
                  <c:v>31.163148682332398</c:v>
                </c:pt>
                <c:pt idx="101">
                  <c:v>31.163148682332398</c:v>
                </c:pt>
                <c:pt idx="102">
                  <c:v>31.163148682332398</c:v>
                </c:pt>
                <c:pt idx="103">
                  <c:v>31.163148682332398</c:v>
                </c:pt>
                <c:pt idx="104">
                  <c:v>31.163148682332398</c:v>
                </c:pt>
                <c:pt idx="105">
                  <c:v>31.163148682332398</c:v>
                </c:pt>
                <c:pt idx="106">
                  <c:v>31.163148682332398</c:v>
                </c:pt>
                <c:pt idx="107">
                  <c:v>31.163148682332398</c:v>
                </c:pt>
                <c:pt idx="108">
                  <c:v>31.163148682332398</c:v>
                </c:pt>
                <c:pt idx="109">
                  <c:v>31.163148682332398</c:v>
                </c:pt>
                <c:pt idx="110">
                  <c:v>31.163148682332398</c:v>
                </c:pt>
                <c:pt idx="111">
                  <c:v>31.163148682332398</c:v>
                </c:pt>
                <c:pt idx="112">
                  <c:v>31.163148682332398</c:v>
                </c:pt>
                <c:pt idx="113">
                  <c:v>31.163148682332398</c:v>
                </c:pt>
                <c:pt idx="114">
                  <c:v>31.163148682332398</c:v>
                </c:pt>
                <c:pt idx="115">
                  <c:v>31.163148682332398</c:v>
                </c:pt>
                <c:pt idx="116">
                  <c:v>31.163148682332398</c:v>
                </c:pt>
                <c:pt idx="117">
                  <c:v>31.163148682332398</c:v>
                </c:pt>
                <c:pt idx="118">
                  <c:v>31.163148682332398</c:v>
                </c:pt>
                <c:pt idx="119">
                  <c:v>31.163148682332398</c:v>
                </c:pt>
                <c:pt idx="120">
                  <c:v>31.163148682332398</c:v>
                </c:pt>
                <c:pt idx="121">
                  <c:v>31.163148682332398</c:v>
                </c:pt>
                <c:pt idx="122">
                  <c:v>31.163148682332398</c:v>
                </c:pt>
                <c:pt idx="123">
                  <c:v>31.163148682332398</c:v>
                </c:pt>
                <c:pt idx="124">
                  <c:v>31.163148682332398</c:v>
                </c:pt>
                <c:pt idx="125">
                  <c:v>31.163148682332398</c:v>
                </c:pt>
                <c:pt idx="126">
                  <c:v>31.163148682332398</c:v>
                </c:pt>
                <c:pt idx="127">
                  <c:v>31.163148682332398</c:v>
                </c:pt>
                <c:pt idx="128">
                  <c:v>31.163148682332398</c:v>
                </c:pt>
                <c:pt idx="129">
                  <c:v>31.163148682332398</c:v>
                </c:pt>
                <c:pt idx="130">
                  <c:v>31.163148682332398</c:v>
                </c:pt>
                <c:pt idx="131">
                  <c:v>31.163148682332398</c:v>
                </c:pt>
                <c:pt idx="132">
                  <c:v>31.163148682332398</c:v>
                </c:pt>
                <c:pt idx="133">
                  <c:v>31.163148682332398</c:v>
                </c:pt>
                <c:pt idx="134">
                  <c:v>31.163148682332398</c:v>
                </c:pt>
                <c:pt idx="135">
                  <c:v>31.163148682332398</c:v>
                </c:pt>
                <c:pt idx="136">
                  <c:v>31.163148682332398</c:v>
                </c:pt>
                <c:pt idx="137">
                  <c:v>31.163148682332398</c:v>
                </c:pt>
                <c:pt idx="138">
                  <c:v>31.163148682332398</c:v>
                </c:pt>
                <c:pt idx="139">
                  <c:v>31.163148682332398</c:v>
                </c:pt>
                <c:pt idx="140">
                  <c:v>31.163148682332398</c:v>
                </c:pt>
                <c:pt idx="141">
                  <c:v>31.163148682332398</c:v>
                </c:pt>
                <c:pt idx="142">
                  <c:v>31.163148682332398</c:v>
                </c:pt>
                <c:pt idx="143">
                  <c:v>31.163148682332398</c:v>
                </c:pt>
              </c:numCache>
            </c:numRef>
          </c:yVal>
          <c:smooth val="0"/>
          <c:extLst>
            <c:ext xmlns:c16="http://schemas.microsoft.com/office/drawing/2014/chart" uri="{C3380CC4-5D6E-409C-BE32-E72D297353CC}">
              <c16:uniqueId val="{00000003-C880-4448-A8B8-C380C24FAC1A}"/>
            </c:ext>
          </c:extLst>
        </c:ser>
        <c:ser>
          <c:idx val="4"/>
          <c:order val="4"/>
          <c:spPr>
            <a:ln w="38100" algn="ctr">
              <a:solidFill>
                <a:schemeClr val="accent1"/>
              </a:solidFill>
              <a:prstDash val="sysDot"/>
            </a:ln>
          </c:spPr>
          <c:marker>
            <c:symbol val="none"/>
          </c:marker>
          <c:xVal>
            <c:numRef>
              <c:f>Sheet1!$A$1:$HV$1</c:f>
              <c:numCache>
                <c:formatCode>General</c:formatCode>
                <c:ptCount val="230"/>
                <c:pt idx="0">
                  <c:v>14245</c:v>
                </c:pt>
                <c:pt idx="1">
                  <c:v>14276</c:v>
                </c:pt>
                <c:pt idx="2">
                  <c:v>14304</c:v>
                </c:pt>
                <c:pt idx="3">
                  <c:v>14335</c:v>
                </c:pt>
                <c:pt idx="4">
                  <c:v>14365</c:v>
                </c:pt>
                <c:pt idx="5">
                  <c:v>14396</c:v>
                </c:pt>
                <c:pt idx="6">
                  <c:v>14426</c:v>
                </c:pt>
                <c:pt idx="7">
                  <c:v>14457</c:v>
                </c:pt>
                <c:pt idx="8">
                  <c:v>14488</c:v>
                </c:pt>
                <c:pt idx="9">
                  <c:v>14518</c:v>
                </c:pt>
                <c:pt idx="10">
                  <c:v>14549</c:v>
                </c:pt>
                <c:pt idx="11">
                  <c:v>14579</c:v>
                </c:pt>
                <c:pt idx="12">
                  <c:v>14610</c:v>
                </c:pt>
                <c:pt idx="13">
                  <c:v>14641</c:v>
                </c:pt>
                <c:pt idx="14">
                  <c:v>14669</c:v>
                </c:pt>
                <c:pt idx="15">
                  <c:v>14700</c:v>
                </c:pt>
                <c:pt idx="16">
                  <c:v>14730</c:v>
                </c:pt>
                <c:pt idx="17">
                  <c:v>14761</c:v>
                </c:pt>
                <c:pt idx="18">
                  <c:v>14791</c:v>
                </c:pt>
                <c:pt idx="19">
                  <c:v>14822</c:v>
                </c:pt>
                <c:pt idx="20">
                  <c:v>14853</c:v>
                </c:pt>
                <c:pt idx="21">
                  <c:v>14883</c:v>
                </c:pt>
                <c:pt idx="22">
                  <c:v>14914</c:v>
                </c:pt>
                <c:pt idx="23">
                  <c:v>14944</c:v>
                </c:pt>
                <c:pt idx="24">
                  <c:v>14975</c:v>
                </c:pt>
                <c:pt idx="25">
                  <c:v>15006</c:v>
                </c:pt>
                <c:pt idx="26">
                  <c:v>15034</c:v>
                </c:pt>
                <c:pt idx="27">
                  <c:v>15065</c:v>
                </c:pt>
                <c:pt idx="28">
                  <c:v>15095</c:v>
                </c:pt>
                <c:pt idx="29">
                  <c:v>15126</c:v>
                </c:pt>
                <c:pt idx="30">
                  <c:v>15156</c:v>
                </c:pt>
                <c:pt idx="31">
                  <c:v>15187</c:v>
                </c:pt>
                <c:pt idx="32">
                  <c:v>15218</c:v>
                </c:pt>
                <c:pt idx="33">
                  <c:v>15248</c:v>
                </c:pt>
                <c:pt idx="34">
                  <c:v>15279</c:v>
                </c:pt>
                <c:pt idx="35">
                  <c:v>15309</c:v>
                </c:pt>
                <c:pt idx="36">
                  <c:v>15340</c:v>
                </c:pt>
                <c:pt idx="37">
                  <c:v>15371</c:v>
                </c:pt>
                <c:pt idx="38">
                  <c:v>15400</c:v>
                </c:pt>
                <c:pt idx="39">
                  <c:v>15431</c:v>
                </c:pt>
                <c:pt idx="40">
                  <c:v>15461</c:v>
                </c:pt>
                <c:pt idx="41">
                  <c:v>15492</c:v>
                </c:pt>
                <c:pt idx="42">
                  <c:v>15522</c:v>
                </c:pt>
                <c:pt idx="43">
                  <c:v>15553</c:v>
                </c:pt>
                <c:pt idx="44">
                  <c:v>15584</c:v>
                </c:pt>
                <c:pt idx="45">
                  <c:v>15614</c:v>
                </c:pt>
                <c:pt idx="46">
                  <c:v>15645</c:v>
                </c:pt>
                <c:pt idx="47">
                  <c:v>15675</c:v>
                </c:pt>
                <c:pt idx="48">
                  <c:v>15706</c:v>
                </c:pt>
                <c:pt idx="49">
                  <c:v>15737</c:v>
                </c:pt>
                <c:pt idx="50">
                  <c:v>15765</c:v>
                </c:pt>
                <c:pt idx="51">
                  <c:v>15796</c:v>
                </c:pt>
                <c:pt idx="52">
                  <c:v>15826</c:v>
                </c:pt>
                <c:pt idx="53">
                  <c:v>15857</c:v>
                </c:pt>
                <c:pt idx="54">
                  <c:v>15887</c:v>
                </c:pt>
                <c:pt idx="55">
                  <c:v>15918</c:v>
                </c:pt>
                <c:pt idx="56">
                  <c:v>15949</c:v>
                </c:pt>
                <c:pt idx="57">
                  <c:v>15979</c:v>
                </c:pt>
                <c:pt idx="58">
                  <c:v>16010</c:v>
                </c:pt>
                <c:pt idx="59">
                  <c:v>16040</c:v>
                </c:pt>
                <c:pt idx="60">
                  <c:v>16071</c:v>
                </c:pt>
                <c:pt idx="61">
                  <c:v>16102</c:v>
                </c:pt>
                <c:pt idx="62">
                  <c:v>16130</c:v>
                </c:pt>
                <c:pt idx="63">
                  <c:v>16161</c:v>
                </c:pt>
                <c:pt idx="64">
                  <c:v>16191</c:v>
                </c:pt>
                <c:pt idx="65">
                  <c:v>16222</c:v>
                </c:pt>
                <c:pt idx="66">
                  <c:v>16252</c:v>
                </c:pt>
                <c:pt idx="67">
                  <c:v>16283</c:v>
                </c:pt>
                <c:pt idx="68">
                  <c:v>16314</c:v>
                </c:pt>
                <c:pt idx="69">
                  <c:v>16344</c:v>
                </c:pt>
                <c:pt idx="70">
                  <c:v>16375</c:v>
                </c:pt>
                <c:pt idx="71">
                  <c:v>16405</c:v>
                </c:pt>
                <c:pt idx="72">
                  <c:v>16436</c:v>
                </c:pt>
                <c:pt idx="73">
                  <c:v>16467</c:v>
                </c:pt>
                <c:pt idx="74">
                  <c:v>16495</c:v>
                </c:pt>
                <c:pt idx="75">
                  <c:v>16526</c:v>
                </c:pt>
                <c:pt idx="76">
                  <c:v>16556</c:v>
                </c:pt>
                <c:pt idx="77">
                  <c:v>16587</c:v>
                </c:pt>
                <c:pt idx="78">
                  <c:v>16617</c:v>
                </c:pt>
                <c:pt idx="79">
                  <c:v>16648</c:v>
                </c:pt>
                <c:pt idx="80">
                  <c:v>16679</c:v>
                </c:pt>
                <c:pt idx="81">
                  <c:v>16709</c:v>
                </c:pt>
                <c:pt idx="82">
                  <c:v>16740</c:v>
                </c:pt>
                <c:pt idx="83">
                  <c:v>16770</c:v>
                </c:pt>
                <c:pt idx="84">
                  <c:v>16801</c:v>
                </c:pt>
                <c:pt idx="85">
                  <c:v>16832</c:v>
                </c:pt>
                <c:pt idx="86">
                  <c:v>16861</c:v>
                </c:pt>
                <c:pt idx="87">
                  <c:v>16892</c:v>
                </c:pt>
                <c:pt idx="88">
                  <c:v>16922</c:v>
                </c:pt>
                <c:pt idx="89">
                  <c:v>16953</c:v>
                </c:pt>
                <c:pt idx="90">
                  <c:v>16983</c:v>
                </c:pt>
                <c:pt idx="91">
                  <c:v>17014</c:v>
                </c:pt>
                <c:pt idx="92">
                  <c:v>17045</c:v>
                </c:pt>
                <c:pt idx="93">
                  <c:v>17075</c:v>
                </c:pt>
                <c:pt idx="94">
                  <c:v>17106</c:v>
                </c:pt>
                <c:pt idx="95">
                  <c:v>17136</c:v>
                </c:pt>
                <c:pt idx="96">
                  <c:v>17167</c:v>
                </c:pt>
                <c:pt idx="97">
                  <c:v>17198</c:v>
                </c:pt>
                <c:pt idx="98">
                  <c:v>17226</c:v>
                </c:pt>
                <c:pt idx="99">
                  <c:v>17257</c:v>
                </c:pt>
                <c:pt idx="100">
                  <c:v>17287</c:v>
                </c:pt>
                <c:pt idx="101">
                  <c:v>17318</c:v>
                </c:pt>
                <c:pt idx="102">
                  <c:v>17348</c:v>
                </c:pt>
                <c:pt idx="103">
                  <c:v>17379</c:v>
                </c:pt>
                <c:pt idx="104">
                  <c:v>17410</c:v>
                </c:pt>
                <c:pt idx="105">
                  <c:v>17440</c:v>
                </c:pt>
                <c:pt idx="106">
                  <c:v>17471</c:v>
                </c:pt>
                <c:pt idx="107">
                  <c:v>17501</c:v>
                </c:pt>
                <c:pt idx="108">
                  <c:v>17532</c:v>
                </c:pt>
                <c:pt idx="109">
                  <c:v>17563</c:v>
                </c:pt>
                <c:pt idx="110">
                  <c:v>17591</c:v>
                </c:pt>
                <c:pt idx="111">
                  <c:v>17622</c:v>
                </c:pt>
                <c:pt idx="112">
                  <c:v>17652</c:v>
                </c:pt>
                <c:pt idx="113">
                  <c:v>17683</c:v>
                </c:pt>
                <c:pt idx="114">
                  <c:v>17713</c:v>
                </c:pt>
                <c:pt idx="115">
                  <c:v>17744</c:v>
                </c:pt>
                <c:pt idx="116">
                  <c:v>17775</c:v>
                </c:pt>
                <c:pt idx="117">
                  <c:v>17805</c:v>
                </c:pt>
                <c:pt idx="118">
                  <c:v>17836</c:v>
                </c:pt>
                <c:pt idx="119">
                  <c:v>17866</c:v>
                </c:pt>
                <c:pt idx="120">
                  <c:v>17897</c:v>
                </c:pt>
                <c:pt idx="121">
                  <c:v>17928</c:v>
                </c:pt>
                <c:pt idx="122">
                  <c:v>17956</c:v>
                </c:pt>
                <c:pt idx="123">
                  <c:v>17987</c:v>
                </c:pt>
                <c:pt idx="124">
                  <c:v>18017</c:v>
                </c:pt>
                <c:pt idx="125">
                  <c:v>18048</c:v>
                </c:pt>
                <c:pt idx="126">
                  <c:v>18078</c:v>
                </c:pt>
                <c:pt idx="127">
                  <c:v>18109</c:v>
                </c:pt>
                <c:pt idx="128">
                  <c:v>18140</c:v>
                </c:pt>
                <c:pt idx="129">
                  <c:v>18170</c:v>
                </c:pt>
                <c:pt idx="130">
                  <c:v>18201</c:v>
                </c:pt>
                <c:pt idx="131">
                  <c:v>18231</c:v>
                </c:pt>
                <c:pt idx="132">
                  <c:v>18262</c:v>
                </c:pt>
                <c:pt idx="133">
                  <c:v>18293</c:v>
                </c:pt>
                <c:pt idx="134">
                  <c:v>18322</c:v>
                </c:pt>
                <c:pt idx="135">
                  <c:v>18353</c:v>
                </c:pt>
                <c:pt idx="136">
                  <c:v>18383</c:v>
                </c:pt>
                <c:pt idx="137">
                  <c:v>18414</c:v>
                </c:pt>
                <c:pt idx="138">
                  <c:v>18444</c:v>
                </c:pt>
                <c:pt idx="139">
                  <c:v>18475</c:v>
                </c:pt>
                <c:pt idx="140">
                  <c:v>18506</c:v>
                </c:pt>
                <c:pt idx="141">
                  <c:v>18536</c:v>
                </c:pt>
                <c:pt idx="142">
                  <c:v>18567</c:v>
                </c:pt>
                <c:pt idx="143">
                  <c:v>18597</c:v>
                </c:pt>
                <c:pt idx="144">
                  <c:v>18628</c:v>
                </c:pt>
                <c:pt idx="145">
                  <c:v>18659</c:v>
                </c:pt>
                <c:pt idx="146">
                  <c:v>18687</c:v>
                </c:pt>
                <c:pt idx="147">
                  <c:v>18718</c:v>
                </c:pt>
                <c:pt idx="148">
                  <c:v>18748</c:v>
                </c:pt>
                <c:pt idx="149">
                  <c:v>18779</c:v>
                </c:pt>
                <c:pt idx="150">
                  <c:v>18809</c:v>
                </c:pt>
                <c:pt idx="151">
                  <c:v>18840</c:v>
                </c:pt>
                <c:pt idx="152">
                  <c:v>18871</c:v>
                </c:pt>
                <c:pt idx="153">
                  <c:v>18901</c:v>
                </c:pt>
                <c:pt idx="154">
                  <c:v>18932</c:v>
                </c:pt>
                <c:pt idx="155">
                  <c:v>18962</c:v>
                </c:pt>
                <c:pt idx="156">
                  <c:v>18993</c:v>
                </c:pt>
                <c:pt idx="157">
                  <c:v>19024</c:v>
                </c:pt>
                <c:pt idx="158">
                  <c:v>19052</c:v>
                </c:pt>
                <c:pt idx="159">
                  <c:v>19083</c:v>
                </c:pt>
                <c:pt idx="160">
                  <c:v>19113</c:v>
                </c:pt>
                <c:pt idx="161">
                  <c:v>19144</c:v>
                </c:pt>
                <c:pt idx="162">
                  <c:v>19174</c:v>
                </c:pt>
                <c:pt idx="163">
                  <c:v>19205</c:v>
                </c:pt>
                <c:pt idx="164">
                  <c:v>19236</c:v>
                </c:pt>
                <c:pt idx="165">
                  <c:v>19266</c:v>
                </c:pt>
                <c:pt idx="166">
                  <c:v>19297</c:v>
                </c:pt>
                <c:pt idx="167">
                  <c:v>19327</c:v>
                </c:pt>
                <c:pt idx="168">
                  <c:v>19358</c:v>
                </c:pt>
                <c:pt idx="169">
                  <c:v>19389</c:v>
                </c:pt>
                <c:pt idx="170">
                  <c:v>19417</c:v>
                </c:pt>
                <c:pt idx="171">
                  <c:v>19448</c:v>
                </c:pt>
                <c:pt idx="172">
                  <c:v>19478</c:v>
                </c:pt>
                <c:pt idx="173">
                  <c:v>19509</c:v>
                </c:pt>
                <c:pt idx="174">
                  <c:v>19539</c:v>
                </c:pt>
                <c:pt idx="175">
                  <c:v>19570</c:v>
                </c:pt>
                <c:pt idx="176">
                  <c:v>19601</c:v>
                </c:pt>
                <c:pt idx="177">
                  <c:v>19631</c:v>
                </c:pt>
                <c:pt idx="178">
                  <c:v>19662</c:v>
                </c:pt>
                <c:pt idx="179">
                  <c:v>19692</c:v>
                </c:pt>
                <c:pt idx="180">
                  <c:v>19723</c:v>
                </c:pt>
                <c:pt idx="181">
                  <c:v>19754</c:v>
                </c:pt>
                <c:pt idx="182">
                  <c:v>19783</c:v>
                </c:pt>
                <c:pt idx="183">
                  <c:v>19814</c:v>
                </c:pt>
                <c:pt idx="184">
                  <c:v>19844</c:v>
                </c:pt>
                <c:pt idx="185">
                  <c:v>19875</c:v>
                </c:pt>
                <c:pt idx="186">
                  <c:v>19905</c:v>
                </c:pt>
                <c:pt idx="187">
                  <c:v>19936</c:v>
                </c:pt>
                <c:pt idx="188">
                  <c:v>19967</c:v>
                </c:pt>
                <c:pt idx="189">
                  <c:v>19997</c:v>
                </c:pt>
                <c:pt idx="190">
                  <c:v>20028</c:v>
                </c:pt>
                <c:pt idx="191">
                  <c:v>20058</c:v>
                </c:pt>
                <c:pt idx="192">
                  <c:v>20089</c:v>
                </c:pt>
                <c:pt idx="193">
                  <c:v>20120</c:v>
                </c:pt>
                <c:pt idx="194">
                  <c:v>20148</c:v>
                </c:pt>
                <c:pt idx="195">
                  <c:v>20179</c:v>
                </c:pt>
                <c:pt idx="196">
                  <c:v>20209</c:v>
                </c:pt>
                <c:pt idx="197">
                  <c:v>20240</c:v>
                </c:pt>
                <c:pt idx="198">
                  <c:v>20270</c:v>
                </c:pt>
                <c:pt idx="199">
                  <c:v>20301</c:v>
                </c:pt>
                <c:pt idx="200">
                  <c:v>20332</c:v>
                </c:pt>
                <c:pt idx="201">
                  <c:v>20362</c:v>
                </c:pt>
                <c:pt idx="202">
                  <c:v>20393</c:v>
                </c:pt>
                <c:pt idx="203">
                  <c:v>20423</c:v>
                </c:pt>
                <c:pt idx="204">
                  <c:v>20454</c:v>
                </c:pt>
                <c:pt idx="205">
                  <c:v>20485</c:v>
                </c:pt>
                <c:pt idx="206">
                  <c:v>20513</c:v>
                </c:pt>
                <c:pt idx="207">
                  <c:v>20544</c:v>
                </c:pt>
                <c:pt idx="208">
                  <c:v>20574</c:v>
                </c:pt>
                <c:pt idx="209">
                  <c:v>20605</c:v>
                </c:pt>
                <c:pt idx="210">
                  <c:v>20635</c:v>
                </c:pt>
                <c:pt idx="211">
                  <c:v>20666</c:v>
                </c:pt>
                <c:pt idx="212">
                  <c:v>20697</c:v>
                </c:pt>
                <c:pt idx="213">
                  <c:v>20727</c:v>
                </c:pt>
                <c:pt idx="214">
                  <c:v>20758</c:v>
                </c:pt>
                <c:pt idx="215">
                  <c:v>20788</c:v>
                </c:pt>
                <c:pt idx="216">
                  <c:v>20819</c:v>
                </c:pt>
                <c:pt idx="217">
                  <c:v>20850</c:v>
                </c:pt>
                <c:pt idx="218">
                  <c:v>20878</c:v>
                </c:pt>
                <c:pt idx="219">
                  <c:v>20909</c:v>
                </c:pt>
                <c:pt idx="220">
                  <c:v>20939</c:v>
                </c:pt>
                <c:pt idx="221">
                  <c:v>20970</c:v>
                </c:pt>
                <c:pt idx="222">
                  <c:v>21000</c:v>
                </c:pt>
                <c:pt idx="223">
                  <c:v>21031</c:v>
                </c:pt>
                <c:pt idx="224">
                  <c:v>21062</c:v>
                </c:pt>
                <c:pt idx="225">
                  <c:v>21092</c:v>
                </c:pt>
                <c:pt idx="226">
                  <c:v>21123</c:v>
                </c:pt>
                <c:pt idx="227">
                  <c:v>21153</c:v>
                </c:pt>
                <c:pt idx="228">
                  <c:v>21184</c:v>
                </c:pt>
                <c:pt idx="229">
                  <c:v>21215</c:v>
                </c:pt>
              </c:numCache>
            </c:numRef>
          </c:xVal>
          <c:yVal>
            <c:numRef>
              <c:f>Sheet1!$A$6:$HV$6</c:f>
              <c:numCache>
                <c:formatCode>General</c:formatCode>
                <c:ptCount val="230"/>
                <c:pt idx="170">
                  <c:v>113.23</c:v>
                </c:pt>
                <c:pt idx="171">
                  <c:v>109.91</c:v>
                </c:pt>
                <c:pt idx="172">
                  <c:v>112.87</c:v>
                </c:pt>
                <c:pt idx="173">
                  <c:v>122.76</c:v>
                </c:pt>
                <c:pt idx="174">
                  <c:v>128.97999999999999</c:v>
                </c:pt>
                <c:pt idx="175">
                  <c:v>128.75</c:v>
                </c:pt>
                <c:pt idx="176">
                  <c:v>141.96</c:v>
                </c:pt>
                <c:pt idx="177">
                  <c:v>154.69</c:v>
                </c:pt>
                <c:pt idx="178">
                  <c:v>178.22</c:v>
                </c:pt>
                <c:pt idx="179">
                  <c:v>171.7</c:v>
                </c:pt>
                <c:pt idx="180">
                  <c:v>185.07</c:v>
                </c:pt>
                <c:pt idx="181">
                  <c:v>178.78</c:v>
                </c:pt>
                <c:pt idx="182">
                  <c:v>170.49</c:v>
                </c:pt>
                <c:pt idx="183">
                  <c:v>155.19999999999999</c:v>
                </c:pt>
                <c:pt idx="184">
                  <c:v>130.63</c:v>
                </c:pt>
                <c:pt idx="185">
                  <c:v>130.62</c:v>
                </c:pt>
                <c:pt idx="186">
                  <c:v>132.61000000000001</c:v>
                </c:pt>
                <c:pt idx="187">
                  <c:v>137.25</c:v>
                </c:pt>
                <c:pt idx="188">
                  <c:v>153.22</c:v>
                </c:pt>
                <c:pt idx="189">
                  <c:v>169.58</c:v>
                </c:pt>
                <c:pt idx="190">
                  <c:v>174.92</c:v>
                </c:pt>
                <c:pt idx="191">
                  <c:v>175.33</c:v>
                </c:pt>
                <c:pt idx="192">
                  <c:v>176.13</c:v>
                </c:pt>
                <c:pt idx="193">
                  <c:v>172.23</c:v>
                </c:pt>
                <c:pt idx="194">
                  <c:v>162.68</c:v>
                </c:pt>
                <c:pt idx="195">
                  <c:v>116.75</c:v>
                </c:pt>
                <c:pt idx="196">
                  <c:v>113.65</c:v>
                </c:pt>
                <c:pt idx="197">
                  <c:v>108.4</c:v>
                </c:pt>
                <c:pt idx="198">
                  <c:v>107.48</c:v>
                </c:pt>
                <c:pt idx="199">
                  <c:v>109.87</c:v>
                </c:pt>
                <c:pt idx="200">
                  <c:v>119.06</c:v>
                </c:pt>
                <c:pt idx="201">
                  <c:v>141.82</c:v>
                </c:pt>
                <c:pt idx="202">
                  <c:v>150.88</c:v>
                </c:pt>
                <c:pt idx="203">
                  <c:v>155.99</c:v>
                </c:pt>
                <c:pt idx="204">
                  <c:v>151.16</c:v>
                </c:pt>
                <c:pt idx="205">
                  <c:v>145.47999999999999</c:v>
                </c:pt>
                <c:pt idx="206">
                  <c:v>134.88</c:v>
                </c:pt>
                <c:pt idx="207">
                  <c:v>119.06</c:v>
                </c:pt>
                <c:pt idx="208">
                  <c:v>106.45</c:v>
                </c:pt>
                <c:pt idx="209">
                  <c:v>100.01</c:v>
                </c:pt>
                <c:pt idx="210">
                  <c:v>99.05</c:v>
                </c:pt>
                <c:pt idx="211">
                  <c:v>103.28</c:v>
                </c:pt>
                <c:pt idx="212">
                  <c:v>111.47</c:v>
                </c:pt>
                <c:pt idx="213">
                  <c:v>120.5</c:v>
                </c:pt>
                <c:pt idx="214">
                  <c:v>127.34</c:v>
                </c:pt>
                <c:pt idx="215">
                  <c:v>131.21</c:v>
                </c:pt>
                <c:pt idx="216">
                  <c:v>125.39</c:v>
                </c:pt>
                <c:pt idx="217">
                  <c:v>121.89</c:v>
                </c:pt>
                <c:pt idx="218">
                  <c:v>112.18</c:v>
                </c:pt>
                <c:pt idx="219">
                  <c:v>99.09</c:v>
                </c:pt>
                <c:pt idx="220">
                  <c:v>89.93</c:v>
                </c:pt>
                <c:pt idx="221">
                  <c:v>87.42</c:v>
                </c:pt>
                <c:pt idx="222">
                  <c:v>90.5</c:v>
                </c:pt>
                <c:pt idx="223">
                  <c:v>98.27</c:v>
                </c:pt>
                <c:pt idx="224">
                  <c:v>109.17</c:v>
                </c:pt>
                <c:pt idx="225">
                  <c:v>121.79</c:v>
                </c:pt>
                <c:pt idx="226">
                  <c:v>128.82</c:v>
                </c:pt>
                <c:pt idx="227">
                  <c:v>129.88</c:v>
                </c:pt>
                <c:pt idx="228">
                  <c:v>127.53</c:v>
                </c:pt>
                <c:pt idx="229">
                  <c:v>121.68</c:v>
                </c:pt>
              </c:numCache>
            </c:numRef>
          </c:yVal>
          <c:smooth val="0"/>
          <c:extLst>
            <c:ext xmlns:c16="http://schemas.microsoft.com/office/drawing/2014/chart" uri="{C3380CC4-5D6E-409C-BE32-E72D297353CC}">
              <c16:uniqueId val="{00000004-C880-4448-A8B8-C380C24FAC1A}"/>
            </c:ext>
          </c:extLst>
        </c:ser>
        <c:dLbls>
          <c:showLegendKey val="0"/>
          <c:showVal val="0"/>
          <c:showCatName val="0"/>
          <c:showSerName val="0"/>
          <c:showPercent val="0"/>
          <c:showBubbleSize val="0"/>
        </c:dLbls>
        <c:axId val="1273651855"/>
        <c:axId val="1"/>
      </c:scatterChart>
      <c:valAx>
        <c:axId val="1273651855"/>
        <c:scaling>
          <c:orientation val="minMax"/>
          <c:max val="21915"/>
          <c:min val="13879"/>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 val="min"/>
        <c:crossBetween val="midCat"/>
      </c:valAx>
      <c:valAx>
        <c:axId val="1"/>
        <c:scaling>
          <c:orientation val="minMax"/>
          <c:max val="50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273651855"/>
        <c:crosses val="min"/>
        <c:crossBetween val="midCat"/>
        <c:majorUnit val="5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018593371059015E-2"/>
          <c:y val="2.7154046997389034E-2"/>
          <c:w val="0.81932093775262738"/>
          <c:h val="0.94569190600522191"/>
        </c:manualLayout>
      </c:layout>
      <c:barChart>
        <c:barDir val="bar"/>
        <c:grouping val="stacked"/>
        <c:varyColors val="0"/>
        <c:ser>
          <c:idx val="0"/>
          <c:order val="0"/>
          <c:spPr>
            <a:solidFill>
              <a:schemeClr val="accent1"/>
            </a:solidFill>
            <a:ln w="9525" algn="ctr">
              <a:solidFill>
                <a:schemeClr val="bg1"/>
              </a:solidFill>
              <a:prstDash val="solid"/>
            </a:ln>
          </c:spPr>
          <c:invertIfNegative val="0"/>
          <c:dLbls>
            <c:dLbl>
              <c:idx val="0"/>
              <c:layout>
                <c:manualLayout>
                  <c:x val="0.422433115424032"/>
                  <c:y val="2.0920619079275661E-3"/>
                </c:manualLayout>
              </c:layout>
              <c:tx>
                <c:rich>
                  <a:bodyPr wrap="none"/>
                  <a:lstStyle/>
                  <a:p>
                    <a:pPr>
                      <a:defRPr sz="1200">
                        <a:solidFill>
                          <a:srgbClr val="000000"/>
                        </a:solidFill>
                        <a:latin typeface="Bahnschrift"/>
                        <a:ea typeface="+mn-ea"/>
                        <a:cs typeface="+mn-cs"/>
                      </a:defRPr>
                    </a:pPr>
                    <a:r>
                      <a:rPr lang="en-US" sz="1200" dirty="0">
                        <a:solidFill>
                          <a:schemeClr val="bg1"/>
                        </a:solidFill>
                      </a:rPr>
                      <a:t>bis</a:t>
                    </a:r>
                    <a:r>
                      <a:rPr lang="en-US" sz="1200" dirty="0"/>
                      <a:t> </a:t>
                    </a:r>
                    <a:r>
                      <a:rPr lang="en-US" sz="1200" dirty="0" err="1">
                        <a:solidFill>
                          <a:schemeClr val="bg1"/>
                        </a:solidFill>
                      </a:rPr>
                      <a:t>zu</a:t>
                    </a:r>
                    <a:r>
                      <a:rPr lang="en-US" sz="1200" dirty="0">
                        <a:solidFill>
                          <a:schemeClr val="bg1"/>
                        </a:solidFill>
                      </a:rPr>
                      <a:t>   </a:t>
                    </a:r>
                    <a:r>
                      <a:rPr lang="en-US" sz="1200" dirty="0">
                        <a:solidFill>
                          <a:schemeClr val="tx1"/>
                        </a:solidFill>
                      </a:rPr>
                      <a:t>+</a:t>
                    </a:r>
                    <a:r>
                      <a:rPr lang="en-US" sz="1200" dirty="0"/>
                      <a:t>30.000</a:t>
                    </a:r>
                  </a:p>
                </c:rich>
              </c:tx>
              <c:numFmt formatCode="&quot;+&quot;#,##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21616814874696844"/>
                      <c:h val="5.013054005788696E-2"/>
                    </c:manualLayout>
                  </c15:layout>
                  <c15:showDataLabelsRange val="0"/>
                </c:ext>
                <c:ext xmlns:c16="http://schemas.microsoft.com/office/drawing/2014/chart" uri="{C3380CC4-5D6E-409C-BE32-E72D297353CC}">
                  <c16:uniqueId val="{00000000-2802-49A5-AD85-35E83C2BCDBD}"/>
                </c:ext>
              </c:extLst>
            </c:dLbl>
            <c:dLbl>
              <c:idx val="1"/>
              <c:layout>
                <c:manualLayout>
                  <c:x val="0.41511721907841553"/>
                  <c:y val="0"/>
                </c:manualLayout>
              </c:layout>
              <c:numFmt formatCode="&quot;+&quot;#,##0;&quot;-&quot;#,##0;0" sourceLinked="0"/>
              <c:spPr>
                <a:noFill/>
                <a:ln>
                  <a:noFill/>
                </a:ln>
              </c:spPr>
              <c:txPr>
                <a:bodyPr wrap="none"/>
                <a:lstStyle/>
                <a:p>
                  <a:pPr>
                    <a:defRPr sz="1200">
                      <a:solidFill>
                        <a:srgbClr val="000000"/>
                      </a:solidFill>
                      <a:latin typeface="Bahnschrif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802-49A5-AD85-35E83C2BCDBD}"/>
                </c:ext>
              </c:extLst>
            </c:dLbl>
            <c:dLbl>
              <c:idx val="2"/>
              <c:layout>
                <c:manualLayout>
                  <c:x val="0.40986257073565074"/>
                  <c:y val="0"/>
                </c:manualLayout>
              </c:layout>
              <c:numFmt formatCode="&quot;+&quot;#,##0;&quot;-&quot;#,##0;0" sourceLinked="0"/>
              <c:spPr>
                <a:noFill/>
                <a:ln>
                  <a:noFill/>
                </a:ln>
              </c:spPr>
              <c:txPr>
                <a:bodyPr wrap="none"/>
                <a:lstStyle/>
                <a:p>
                  <a:pPr>
                    <a:defRPr sz="1200">
                      <a:solidFill>
                        <a:srgbClr val="000000"/>
                      </a:solidFill>
                      <a:latin typeface="Bahnschrif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802-49A5-AD85-35E83C2BCDBD}"/>
                </c:ext>
              </c:extLst>
            </c:dLbl>
            <c:dLbl>
              <c:idx val="3"/>
              <c:layout>
                <c:manualLayout>
                  <c:x val="0.26434923201293453"/>
                  <c:y val="0"/>
                </c:manualLayout>
              </c:layout>
              <c:numFmt formatCode="&quot;+&quot;#,##0;&quot;-&quot;#,##0;0" sourceLinked="0"/>
              <c:spPr>
                <a:noFill/>
                <a:ln>
                  <a:noFill/>
                </a:ln>
              </c:spPr>
              <c:txPr>
                <a:bodyPr wrap="none"/>
                <a:lstStyle/>
                <a:p>
                  <a:pPr>
                    <a:defRPr sz="1200">
                      <a:solidFill>
                        <a:srgbClr val="000000"/>
                      </a:solidFill>
                      <a:latin typeface="Bahnschrif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802-49A5-AD85-35E83C2BCDBD}"/>
                </c:ext>
              </c:extLst>
            </c:dLbl>
            <c:dLbl>
              <c:idx val="4"/>
              <c:layout>
                <c:manualLayout>
                  <c:x val="0.22392886014551333"/>
                  <c:y val="0"/>
                </c:manualLayout>
              </c:layout>
              <c:numFmt formatCode="&quot;+&quot;#,##0;&quot;-&quot;#,##0;0" sourceLinked="0"/>
              <c:spPr>
                <a:noFill/>
                <a:ln>
                  <a:noFill/>
                </a:ln>
              </c:spPr>
              <c:txPr>
                <a:bodyPr wrap="none"/>
                <a:lstStyle/>
                <a:p>
                  <a:pPr>
                    <a:defRPr sz="1200">
                      <a:solidFill>
                        <a:srgbClr val="000000"/>
                      </a:solidFill>
                      <a:latin typeface="Bahnschrif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802-49A5-AD85-35E83C2BCDBD}"/>
                </c:ext>
              </c:extLst>
            </c:dLbl>
            <c:dLbl>
              <c:idx val="5"/>
              <c:layout>
                <c:manualLayout>
                  <c:x val="0.18310428455941793"/>
                  <c:y val="0"/>
                </c:manualLayout>
              </c:layout>
              <c:numFmt formatCode="&quot;+&quot;#,##0;&quot;-&quot;#,##0;0" sourceLinked="0"/>
              <c:spPr>
                <a:noFill/>
                <a:ln>
                  <a:noFill/>
                </a:ln>
              </c:spPr>
              <c:txPr>
                <a:bodyPr wrap="none"/>
                <a:lstStyle/>
                <a:p>
                  <a:pPr>
                    <a:defRPr sz="1200">
                      <a:solidFill>
                        <a:srgbClr val="000000"/>
                      </a:solidFill>
                      <a:latin typeface="Bahnschrif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802-49A5-AD85-35E83C2BCDBD}"/>
                </c:ext>
              </c:extLst>
            </c:dLbl>
            <c:dLbl>
              <c:idx val="6"/>
              <c:layout>
                <c:manualLayout>
                  <c:x val="0.17582861762328214"/>
                  <c:y val="0"/>
                </c:manualLayout>
              </c:layout>
              <c:numFmt formatCode="&quot;+&quot;#,##0;&quot;-&quot;#,##0;0" sourceLinked="0"/>
              <c:spPr>
                <a:noFill/>
                <a:ln>
                  <a:noFill/>
                </a:ln>
              </c:spPr>
              <c:txPr>
                <a:bodyPr wrap="none"/>
                <a:lstStyle/>
                <a:p>
                  <a:pPr>
                    <a:defRPr sz="1200">
                      <a:solidFill>
                        <a:srgbClr val="000000"/>
                      </a:solidFill>
                      <a:latin typeface="Bahnschrif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802-49A5-AD85-35E83C2BCDBD}"/>
                </c:ext>
              </c:extLst>
            </c:dLbl>
            <c:dLbl>
              <c:idx val="7"/>
              <c:layout>
                <c:manualLayout>
                  <c:x val="0.14430072756669363"/>
                  <c:y val="0"/>
                </c:manualLayout>
              </c:layout>
              <c:numFmt formatCode="&quot;+&quot;#,##0;&quot;-&quot;#,##0;0" sourceLinked="0"/>
              <c:spPr>
                <a:noFill/>
                <a:ln>
                  <a:noFill/>
                </a:ln>
              </c:spPr>
              <c:txPr>
                <a:bodyPr wrap="none"/>
                <a:lstStyle/>
                <a:p>
                  <a:pPr>
                    <a:defRPr sz="1200">
                      <a:solidFill>
                        <a:srgbClr val="000000"/>
                      </a:solidFill>
                      <a:latin typeface="Bahnschrif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802-49A5-AD85-35E83C2BCDBD}"/>
                </c:ext>
              </c:extLst>
            </c:dLbl>
            <c:dLbl>
              <c:idx val="8"/>
              <c:layout>
                <c:manualLayout>
                  <c:x val="0.1269199676637025"/>
                  <c:y val="0"/>
                </c:manualLayout>
              </c:layout>
              <c:numFmt formatCode="&quot;+&quot;#,##0;&quot;-&quot;#,##0;0" sourceLinked="0"/>
              <c:spPr>
                <a:noFill/>
                <a:ln>
                  <a:noFill/>
                </a:ln>
              </c:spPr>
              <c:txPr>
                <a:bodyPr wrap="none"/>
                <a:lstStyle/>
                <a:p>
                  <a:pPr>
                    <a:defRPr sz="1200">
                      <a:solidFill>
                        <a:srgbClr val="000000"/>
                      </a:solidFill>
                      <a:latin typeface="Bahnschrif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802-49A5-AD85-35E83C2BCDB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30000</c:v>
                </c:pt>
                <c:pt idx="1">
                  <c:v>24600</c:v>
                </c:pt>
                <c:pt idx="2">
                  <c:v>24200</c:v>
                </c:pt>
                <c:pt idx="3">
                  <c:v>13800</c:v>
                </c:pt>
                <c:pt idx="4">
                  <c:v>10900</c:v>
                </c:pt>
                <c:pt idx="5">
                  <c:v>8300</c:v>
                </c:pt>
                <c:pt idx="6">
                  <c:v>7900</c:v>
                </c:pt>
                <c:pt idx="7">
                  <c:v>5500</c:v>
                </c:pt>
                <c:pt idx="8">
                  <c:v>4200</c:v>
                </c:pt>
              </c:numCache>
            </c:numRef>
          </c:val>
          <c:extLst>
            <c:ext xmlns:c16="http://schemas.microsoft.com/office/drawing/2014/chart" uri="{C3380CC4-5D6E-409C-BE32-E72D297353CC}">
              <c16:uniqueId val="{00000009-2802-49A5-AD85-35E83C2BCDBD}"/>
            </c:ext>
          </c:extLst>
        </c:ser>
        <c:dLbls>
          <c:showLegendKey val="0"/>
          <c:showVal val="0"/>
          <c:showCatName val="0"/>
          <c:showSerName val="0"/>
          <c:showPercent val="0"/>
          <c:showBubbleSize val="0"/>
        </c:dLbls>
        <c:gapWidth val="80"/>
        <c:overlap val="100"/>
        <c:axId val="1760974591"/>
        <c:axId val="1"/>
      </c:barChart>
      <c:catAx>
        <c:axId val="1760974591"/>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0000"/>
          <c:min val="0"/>
        </c:scaling>
        <c:delete val="1"/>
        <c:axPos val="t"/>
        <c:numFmt formatCode="General" sourceLinked="1"/>
        <c:majorTickMark val="out"/>
        <c:minorTickMark val="none"/>
        <c:tickLblPos val="nextTo"/>
        <c:crossAx val="1760974591"/>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980331899200985E-2"/>
          <c:y val="9.1598231206569805E-2"/>
          <c:w val="0.96803933620159799"/>
          <c:h val="0.87555274794693616"/>
        </c:manualLayout>
      </c:layout>
      <c:barChart>
        <c:barDir val="col"/>
        <c:grouping val="stacked"/>
        <c:varyColors val="0"/>
        <c:ser>
          <c:idx val="0"/>
          <c:order val="0"/>
          <c:spPr>
            <a:solidFill>
              <a:schemeClr val="accent1"/>
            </a:solidFill>
            <a:ln w="9525" algn="ctr">
              <a:solidFill>
                <a:schemeClr val="bg1"/>
              </a:solidFill>
              <a:prstDash val="solid"/>
            </a:ln>
          </c:spPr>
          <c:invertIfNegative val="0"/>
          <c:dPt>
            <c:idx val="3"/>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0-A29D-43BE-9059-8D8552C04F7C}"/>
              </c:ext>
            </c:extLst>
          </c:dPt>
          <c:dLbls>
            <c:dLbl>
              <c:idx val="0"/>
              <c:layout>
                <c:manualLayout>
                  <c:x val="0"/>
                  <c:y val="-0.20088439671509792"/>
                </c:manualLayout>
              </c:layout>
              <c:numFmt formatCode="#,##0;&quot;-&quot;#,##0;0" sourceLinked="0"/>
              <c:spPr>
                <a:noFill/>
                <a:ln>
                  <a:noFill/>
                </a:ln>
              </c:spPr>
              <c:txPr>
                <a:bodyPr wrap="none"/>
                <a:lstStyle/>
                <a:p>
                  <a:pPr>
                    <a:defRPr sz="1200">
                      <a:solidFill>
                        <a:srgbClr val="000000"/>
                      </a:solidFill>
                      <a:latin typeface="Bahnschrif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29D-43BE-9059-8D8552C04F7C}"/>
                </c:ext>
              </c:extLst>
            </c:dLbl>
            <c:dLbl>
              <c:idx val="1"/>
              <c:layout>
                <c:manualLayout>
                  <c:x val="0"/>
                  <c:y val="-0.22299431459254579"/>
                </c:manualLayout>
              </c:layout>
              <c:numFmt formatCode="#,##0;&quot;-&quot;#,##0;0" sourceLinked="0"/>
              <c:spPr>
                <a:noFill/>
                <a:ln>
                  <a:noFill/>
                </a:ln>
              </c:spPr>
              <c:txPr>
                <a:bodyPr wrap="none"/>
                <a:lstStyle/>
                <a:p>
                  <a:pPr>
                    <a:defRPr sz="1200">
                      <a:solidFill>
                        <a:srgbClr val="000000"/>
                      </a:solidFill>
                      <a:latin typeface="Bahnschrif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29D-43BE-9059-8D8552C04F7C}"/>
                </c:ext>
              </c:extLst>
            </c:dLbl>
            <c:dLbl>
              <c:idx val="2"/>
              <c:layout>
                <c:manualLayout>
                  <c:x val="0"/>
                  <c:y val="-0.29564118761844599"/>
                </c:manualLayout>
              </c:layout>
              <c:numFmt formatCode="#,##0;&quot;-&quot;#,##0;0" sourceLinked="0"/>
              <c:spPr>
                <a:noFill/>
                <a:ln>
                  <a:noFill/>
                </a:ln>
              </c:spPr>
              <c:txPr>
                <a:bodyPr wrap="none"/>
                <a:lstStyle/>
                <a:p>
                  <a:pPr>
                    <a:defRPr sz="1200">
                      <a:solidFill>
                        <a:srgbClr val="000000"/>
                      </a:solidFill>
                      <a:latin typeface="Bahnschrif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29D-43BE-9059-8D8552C04F7C}"/>
                </c:ext>
              </c:extLst>
            </c:dLbl>
            <c:dLbl>
              <c:idx val="3"/>
              <c:layout>
                <c:manualLayout>
                  <c:x val="0"/>
                  <c:y val="-0.4845230574857865"/>
                </c:manualLayout>
              </c:layout>
              <c:numFmt formatCode="#,##0;&quot;-&quot;#,##0;0" sourceLinked="0"/>
              <c:spPr>
                <a:noFill/>
                <a:ln>
                  <a:noFill/>
                </a:ln>
              </c:spPr>
              <c:txPr>
                <a:bodyPr wrap="none"/>
                <a:lstStyle/>
                <a:p>
                  <a:pPr>
                    <a:defRPr sz="1200">
                      <a:solidFill>
                        <a:srgbClr val="000000"/>
                      </a:solidFill>
                      <a:latin typeface="Bahnschrif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29D-43BE-9059-8D8552C04F7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28200</c:v>
                </c:pt>
                <c:pt idx="1">
                  <c:v>146100</c:v>
                </c:pt>
                <c:pt idx="2">
                  <c:v>206500</c:v>
                </c:pt>
                <c:pt idx="3">
                  <c:v>363000</c:v>
                </c:pt>
              </c:numCache>
            </c:numRef>
          </c:val>
          <c:extLst>
            <c:ext xmlns:c16="http://schemas.microsoft.com/office/drawing/2014/chart" uri="{C3380CC4-5D6E-409C-BE32-E72D297353CC}">
              <c16:uniqueId val="{00000004-A29D-43BE-9059-8D8552C04F7C}"/>
            </c:ext>
          </c:extLst>
        </c:ser>
        <c:dLbls>
          <c:showLegendKey val="0"/>
          <c:showVal val="0"/>
          <c:showCatName val="0"/>
          <c:showSerName val="0"/>
          <c:showPercent val="0"/>
          <c:showBubbleSize val="0"/>
        </c:dLbls>
        <c:gapWidth val="80"/>
        <c:overlap val="100"/>
        <c:axId val="1760968095"/>
        <c:axId val="1"/>
      </c:barChart>
      <c:catAx>
        <c:axId val="176096809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63000"/>
          <c:min val="0"/>
        </c:scaling>
        <c:delete val="1"/>
        <c:axPos val="l"/>
        <c:numFmt formatCode="General" sourceLinked="1"/>
        <c:majorTickMark val="out"/>
        <c:minorTickMark val="none"/>
        <c:tickLblPos val="nextTo"/>
        <c:crossAx val="1760968095"/>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85216925549009E-2"/>
          <c:y val="1.9870080244554833E-2"/>
          <c:w val="0.94429566148901978"/>
          <c:h val="0.96025983951089033"/>
        </c:manualLayout>
      </c:layout>
      <c:barChart>
        <c:barDir val="bar"/>
        <c:grouping val="stacked"/>
        <c:varyColors val="0"/>
        <c:ser>
          <c:idx val="0"/>
          <c:order val="0"/>
          <c:spPr>
            <a:solidFill>
              <a:srgbClr val="FFA2A2"/>
            </a:solidFill>
            <a:ln w="9525" algn="ctr">
              <a:solidFill>
                <a:schemeClr val="bg1"/>
              </a:solidFill>
              <a:prstDash val="solid"/>
            </a:ln>
          </c:spPr>
          <c:invertIfNegative val="0"/>
          <c:dPt>
            <c:idx val="1"/>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1-7D78-4415-861B-A950D7BC5DBF}"/>
              </c:ext>
            </c:extLst>
          </c:dPt>
          <c:val>
            <c:numRef>
              <c:f>Sheet1!$A$1:$F$1</c:f>
              <c:numCache>
                <c:formatCode>General</c:formatCode>
                <c:ptCount val="6"/>
                <c:pt idx="0">
                  <c:v>6</c:v>
                </c:pt>
                <c:pt idx="1">
                  <c:v>90</c:v>
                </c:pt>
                <c:pt idx="2">
                  <c:v>2.6</c:v>
                </c:pt>
                <c:pt idx="3">
                  <c:v>15.5</c:v>
                </c:pt>
                <c:pt idx="4">
                  <c:v>36</c:v>
                </c:pt>
                <c:pt idx="5">
                  <c:v>4.8</c:v>
                </c:pt>
              </c:numCache>
            </c:numRef>
          </c:val>
          <c:extLst>
            <c:ext xmlns:c16="http://schemas.microsoft.com/office/drawing/2014/chart" uri="{C3380CC4-5D6E-409C-BE32-E72D297353CC}">
              <c16:uniqueId val="{00000002-7D78-4415-861B-A950D7BC5DBF}"/>
            </c:ext>
          </c:extLst>
        </c:ser>
        <c:ser>
          <c:idx val="1"/>
          <c:order val="1"/>
          <c:spPr>
            <a:solidFill>
              <a:schemeClr val="hlink"/>
            </a:solidFill>
            <a:ln w="9525" algn="ctr">
              <a:solidFill>
                <a:schemeClr val="bg1"/>
              </a:solidFill>
              <a:prstDash val="solid"/>
            </a:ln>
          </c:spPr>
          <c:invertIfNegative val="0"/>
          <c:dPt>
            <c:idx val="1"/>
            <c:invertIfNegative val="0"/>
            <c:bubble3D val="0"/>
            <c:spPr>
              <a:solidFill>
                <a:srgbClr val="E6E6E6"/>
              </a:solidFill>
              <a:ln w="9525" algn="ctr">
                <a:solidFill>
                  <a:schemeClr val="bg1"/>
                </a:solidFill>
                <a:prstDash val="solid"/>
              </a:ln>
            </c:spPr>
            <c:extLst>
              <c:ext xmlns:c16="http://schemas.microsoft.com/office/drawing/2014/chart" uri="{C3380CC4-5D6E-409C-BE32-E72D297353CC}">
                <c16:uniqueId val="{00000004-7D78-4415-861B-A950D7BC5DBF}"/>
              </c:ext>
            </c:extLst>
          </c:dPt>
          <c:dPt>
            <c:idx val="2"/>
            <c:invertIfNegative val="0"/>
            <c:bubble3D val="0"/>
            <c:spPr>
              <a:solidFill>
                <a:srgbClr val="92D050"/>
              </a:solidFill>
              <a:ln w="9525" algn="ctr">
                <a:solidFill>
                  <a:schemeClr val="bg1"/>
                </a:solidFill>
                <a:prstDash val="solid"/>
              </a:ln>
            </c:spPr>
            <c:extLst>
              <c:ext xmlns:c16="http://schemas.microsoft.com/office/drawing/2014/chart" uri="{C3380CC4-5D6E-409C-BE32-E72D297353CC}">
                <c16:uniqueId val="{00000006-7D78-4415-861B-A950D7BC5DBF}"/>
              </c:ext>
            </c:extLst>
          </c:dPt>
          <c:dPt>
            <c:idx val="4"/>
            <c:invertIfNegative val="0"/>
            <c:bubble3D val="0"/>
            <c:spPr>
              <a:solidFill>
                <a:srgbClr val="007800"/>
              </a:solidFill>
              <a:ln w="9525" algn="ctr">
                <a:solidFill>
                  <a:schemeClr val="bg1"/>
                </a:solidFill>
                <a:prstDash val="solid"/>
              </a:ln>
            </c:spPr>
            <c:extLst>
              <c:ext xmlns:c16="http://schemas.microsoft.com/office/drawing/2014/chart" uri="{C3380CC4-5D6E-409C-BE32-E72D297353CC}">
                <c16:uniqueId val="{00000008-7D78-4415-861B-A950D7BC5DBF}"/>
              </c:ext>
            </c:extLst>
          </c:dPt>
          <c:val>
            <c:numRef>
              <c:f>Sheet1!$A$2:$F$2</c:f>
              <c:numCache>
                <c:formatCode>General</c:formatCode>
                <c:ptCount val="6"/>
                <c:pt idx="0">
                  <c:v>8.0000000000000018</c:v>
                </c:pt>
                <c:pt idx="1">
                  <c:v>9.9999999999999982</c:v>
                </c:pt>
                <c:pt idx="2">
                  <c:v>37.4</c:v>
                </c:pt>
                <c:pt idx="3">
                  <c:v>12.000000000000002</c:v>
                </c:pt>
                <c:pt idx="4">
                  <c:v>5.4999999999999991</c:v>
                </c:pt>
                <c:pt idx="5">
                  <c:v>16.000000000000004</c:v>
                </c:pt>
              </c:numCache>
            </c:numRef>
          </c:val>
          <c:extLst>
            <c:ext xmlns:c16="http://schemas.microsoft.com/office/drawing/2014/chart" uri="{C3380CC4-5D6E-409C-BE32-E72D297353CC}">
              <c16:uniqueId val="{00000009-7D78-4415-861B-A950D7BC5DBF}"/>
            </c:ext>
          </c:extLst>
        </c:ser>
        <c:ser>
          <c:idx val="2"/>
          <c:order val="2"/>
          <c:spPr>
            <a:solidFill>
              <a:srgbClr val="007800"/>
            </a:solidFill>
            <a:ln w="9525" algn="ctr">
              <a:solidFill>
                <a:schemeClr val="bg1"/>
              </a:solidFill>
              <a:prstDash val="solid"/>
            </a:ln>
          </c:spPr>
          <c:invertIfNegative val="0"/>
          <c:dPt>
            <c:idx val="3"/>
            <c:invertIfNegative val="0"/>
            <c:bubble3D val="0"/>
            <c:spPr>
              <a:solidFill>
                <a:srgbClr val="92D050"/>
              </a:solidFill>
              <a:ln w="9525" algn="ctr">
                <a:solidFill>
                  <a:schemeClr val="bg1"/>
                </a:solidFill>
                <a:prstDash val="solid"/>
              </a:ln>
            </c:spPr>
            <c:extLst>
              <c:ext xmlns:c16="http://schemas.microsoft.com/office/drawing/2014/chart" uri="{C3380CC4-5D6E-409C-BE32-E72D297353CC}">
                <c16:uniqueId val="{0000000B-7D78-4415-861B-A950D7BC5DBF}"/>
              </c:ext>
            </c:extLst>
          </c:dPt>
          <c:dPt>
            <c:idx val="4"/>
            <c:invertIfNegative val="0"/>
            <c:bubble3D val="0"/>
            <c:spPr>
              <a:solidFill>
                <a:srgbClr val="7F7F7F"/>
              </a:solidFill>
              <a:ln w="9525" algn="ctr">
                <a:solidFill>
                  <a:schemeClr val="bg1"/>
                </a:solidFill>
                <a:prstDash val="solid"/>
              </a:ln>
            </c:spPr>
            <c:extLst>
              <c:ext xmlns:c16="http://schemas.microsoft.com/office/drawing/2014/chart" uri="{C3380CC4-5D6E-409C-BE32-E72D297353CC}">
                <c16:uniqueId val="{0000000D-7D78-4415-861B-A950D7BC5DBF}"/>
              </c:ext>
            </c:extLst>
          </c:dPt>
          <c:val>
            <c:numRef>
              <c:f>Sheet1!$A$3:$F$3</c:f>
              <c:numCache>
                <c:formatCode>General</c:formatCode>
                <c:ptCount val="6"/>
                <c:pt idx="0">
                  <c:v>5.4999999999999991</c:v>
                </c:pt>
                <c:pt idx="2">
                  <c:v>0.80000000000000071</c:v>
                </c:pt>
                <c:pt idx="3">
                  <c:v>14.000000000000002</c:v>
                </c:pt>
                <c:pt idx="4">
                  <c:v>8.5000000000000018</c:v>
                </c:pt>
                <c:pt idx="5">
                  <c:v>4.299999999999998</c:v>
                </c:pt>
              </c:numCache>
            </c:numRef>
          </c:val>
          <c:extLst>
            <c:ext xmlns:c16="http://schemas.microsoft.com/office/drawing/2014/chart" uri="{C3380CC4-5D6E-409C-BE32-E72D297353CC}">
              <c16:uniqueId val="{0000000E-7D78-4415-861B-A950D7BC5DBF}"/>
            </c:ext>
          </c:extLst>
        </c:ser>
        <c:ser>
          <c:idx val="3"/>
          <c:order val="3"/>
          <c:spPr>
            <a:solidFill>
              <a:schemeClr val="accent2"/>
            </a:solidFill>
            <a:ln w="9525" algn="ctr">
              <a:solidFill>
                <a:schemeClr val="bg1"/>
              </a:solidFill>
              <a:prstDash val="solid"/>
            </a:ln>
          </c:spPr>
          <c:invertIfNegative val="0"/>
          <c:dPt>
            <c:idx val="0"/>
            <c:invertIfNegative val="0"/>
            <c:bubble3D val="0"/>
            <c:spPr>
              <a:solidFill>
                <a:srgbClr val="FFC000"/>
              </a:solidFill>
              <a:ln w="9525" algn="ctr">
                <a:solidFill>
                  <a:schemeClr val="bg1"/>
                </a:solidFill>
                <a:prstDash val="solid"/>
              </a:ln>
            </c:spPr>
            <c:extLst>
              <c:ext xmlns:c16="http://schemas.microsoft.com/office/drawing/2014/chart" uri="{C3380CC4-5D6E-409C-BE32-E72D297353CC}">
                <c16:uniqueId val="{00000010-7D78-4415-861B-A950D7BC5DBF}"/>
              </c:ext>
            </c:extLst>
          </c:dPt>
          <c:dPt>
            <c:idx val="3"/>
            <c:invertIfNegative val="0"/>
            <c:bubble3D val="0"/>
            <c:spPr>
              <a:solidFill>
                <a:srgbClr val="007800"/>
              </a:solidFill>
              <a:ln w="9525" algn="ctr">
                <a:solidFill>
                  <a:schemeClr val="bg1"/>
                </a:solidFill>
                <a:prstDash val="solid"/>
              </a:ln>
            </c:spPr>
            <c:extLst>
              <c:ext xmlns:c16="http://schemas.microsoft.com/office/drawing/2014/chart" uri="{C3380CC4-5D6E-409C-BE32-E72D297353CC}">
                <c16:uniqueId val="{00000012-7D78-4415-861B-A950D7BC5DBF}"/>
              </c:ext>
            </c:extLst>
          </c:dPt>
          <c:dPt>
            <c:idx val="5"/>
            <c:invertIfNegative val="0"/>
            <c:bubble3D val="0"/>
            <c:spPr>
              <a:solidFill>
                <a:srgbClr val="7F7F7F"/>
              </a:solidFill>
              <a:ln w="9525" algn="ctr">
                <a:solidFill>
                  <a:schemeClr val="bg1"/>
                </a:solidFill>
                <a:prstDash val="solid"/>
              </a:ln>
            </c:spPr>
            <c:extLst>
              <c:ext xmlns:c16="http://schemas.microsoft.com/office/drawing/2014/chart" uri="{C3380CC4-5D6E-409C-BE32-E72D297353CC}">
                <c16:uniqueId val="{00000014-7D78-4415-861B-A950D7BC5DBF}"/>
              </c:ext>
            </c:extLst>
          </c:dPt>
          <c:val>
            <c:numRef>
              <c:f>Sheet1!$A$4:$F$4</c:f>
              <c:numCache>
                <c:formatCode>General</c:formatCode>
                <c:ptCount val="6"/>
                <c:pt idx="0">
                  <c:v>1.0000000000000009</c:v>
                </c:pt>
                <c:pt idx="2">
                  <c:v>59.199999999999996</c:v>
                </c:pt>
                <c:pt idx="3">
                  <c:v>7.0000000000000009</c:v>
                </c:pt>
                <c:pt idx="4">
                  <c:v>29.000000000000004</c:v>
                </c:pt>
                <c:pt idx="5">
                  <c:v>1.3000000000000012</c:v>
                </c:pt>
              </c:numCache>
            </c:numRef>
          </c:val>
          <c:extLst>
            <c:ext xmlns:c16="http://schemas.microsoft.com/office/drawing/2014/chart" uri="{C3380CC4-5D6E-409C-BE32-E72D297353CC}">
              <c16:uniqueId val="{00000015-7D78-4415-861B-A950D7BC5DBF}"/>
            </c:ext>
          </c:extLst>
        </c:ser>
        <c:ser>
          <c:idx val="4"/>
          <c:order val="4"/>
          <c:spPr>
            <a:solidFill>
              <a:srgbClr val="E6E6E6"/>
            </a:solidFill>
            <a:ln w="9525" algn="ctr">
              <a:solidFill>
                <a:schemeClr val="bg1"/>
              </a:solidFill>
              <a:prstDash val="solid"/>
            </a:ln>
          </c:spPr>
          <c:invertIfNegative val="0"/>
          <c:dPt>
            <c:idx val="0"/>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17-7D78-4415-861B-A950D7BC5DBF}"/>
              </c:ext>
            </c:extLst>
          </c:dPt>
          <c:dPt>
            <c:idx val="3"/>
            <c:invertIfNegative val="0"/>
            <c:bubble3D val="0"/>
            <c:spPr>
              <a:solidFill>
                <a:srgbClr val="7F7F7F"/>
              </a:solidFill>
              <a:ln w="9525" algn="ctr">
                <a:solidFill>
                  <a:schemeClr val="bg1"/>
                </a:solidFill>
                <a:prstDash val="solid"/>
              </a:ln>
            </c:spPr>
            <c:extLst>
              <c:ext xmlns:c16="http://schemas.microsoft.com/office/drawing/2014/chart" uri="{C3380CC4-5D6E-409C-BE32-E72D297353CC}">
                <c16:uniqueId val="{00000019-7D78-4415-861B-A950D7BC5DBF}"/>
              </c:ext>
            </c:extLst>
          </c:dPt>
          <c:dPt>
            <c:idx val="5"/>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1B-7D78-4415-861B-A950D7BC5DBF}"/>
              </c:ext>
            </c:extLst>
          </c:dPt>
          <c:val>
            <c:numRef>
              <c:f>Sheet1!$A$5:$F$5</c:f>
              <c:numCache>
                <c:formatCode>General</c:formatCode>
                <c:ptCount val="6"/>
                <c:pt idx="0">
                  <c:v>79.5</c:v>
                </c:pt>
                <c:pt idx="2">
                  <c:v>0</c:v>
                </c:pt>
                <c:pt idx="3">
                  <c:v>7.0000000000000009</c:v>
                </c:pt>
                <c:pt idx="4">
                  <c:v>20.999999999999996</c:v>
                </c:pt>
                <c:pt idx="5">
                  <c:v>69.599999999999994</c:v>
                </c:pt>
              </c:numCache>
            </c:numRef>
          </c:val>
          <c:extLst>
            <c:ext xmlns:c16="http://schemas.microsoft.com/office/drawing/2014/chart" uri="{C3380CC4-5D6E-409C-BE32-E72D297353CC}">
              <c16:uniqueId val="{0000001C-7D78-4415-861B-A950D7BC5DBF}"/>
            </c:ext>
          </c:extLst>
        </c:ser>
        <c:ser>
          <c:idx val="5"/>
          <c:order val="5"/>
          <c:spPr>
            <a:solidFill>
              <a:srgbClr val="FFC000"/>
            </a:solidFill>
            <a:ln w="9525" algn="ctr">
              <a:solidFill>
                <a:schemeClr val="bg1"/>
              </a:solidFill>
              <a:prstDash val="solid"/>
            </a:ln>
          </c:spPr>
          <c:invertIfNegative val="0"/>
          <c:dPt>
            <c:idx val="0"/>
            <c:invertIfNegative val="0"/>
            <c:bubble3D val="0"/>
            <c:spPr>
              <a:solidFill>
                <a:srgbClr val="E6E6E6"/>
              </a:solidFill>
              <a:ln w="9525" algn="ctr">
                <a:solidFill>
                  <a:schemeClr val="bg1"/>
                </a:solidFill>
                <a:prstDash val="solid"/>
              </a:ln>
            </c:spPr>
            <c:extLst>
              <c:ext xmlns:c16="http://schemas.microsoft.com/office/drawing/2014/chart" uri="{C3380CC4-5D6E-409C-BE32-E72D297353CC}">
                <c16:uniqueId val="{0000001E-7D78-4415-861B-A950D7BC5DBF}"/>
              </c:ext>
            </c:extLst>
          </c:dPt>
          <c:dPt>
            <c:idx val="5"/>
            <c:invertIfNegative val="0"/>
            <c:bubble3D val="0"/>
            <c:spPr>
              <a:solidFill>
                <a:srgbClr val="B380DD"/>
              </a:solidFill>
              <a:ln w="9525" algn="ctr">
                <a:solidFill>
                  <a:schemeClr val="bg1"/>
                </a:solidFill>
                <a:prstDash val="solid"/>
              </a:ln>
            </c:spPr>
            <c:extLst>
              <c:ext xmlns:c16="http://schemas.microsoft.com/office/drawing/2014/chart" uri="{C3380CC4-5D6E-409C-BE32-E72D297353CC}">
                <c16:uniqueId val="{00000020-7D78-4415-861B-A950D7BC5DBF}"/>
              </c:ext>
            </c:extLst>
          </c:dPt>
          <c:val>
            <c:numRef>
              <c:f>Sheet1!$A$6:$F$6</c:f>
              <c:numCache>
                <c:formatCode>General</c:formatCode>
                <c:ptCount val="6"/>
                <c:pt idx="0">
                  <c:v>0</c:v>
                </c:pt>
                <c:pt idx="3">
                  <c:v>2.0000000000000018</c:v>
                </c:pt>
                <c:pt idx="5">
                  <c:v>4.0000000000000036</c:v>
                </c:pt>
              </c:numCache>
            </c:numRef>
          </c:val>
          <c:extLst>
            <c:ext xmlns:c16="http://schemas.microsoft.com/office/drawing/2014/chart" uri="{C3380CC4-5D6E-409C-BE32-E72D297353CC}">
              <c16:uniqueId val="{00000021-7D78-4415-861B-A950D7BC5DBF}"/>
            </c:ext>
          </c:extLst>
        </c:ser>
        <c:ser>
          <c:idx val="6"/>
          <c:order val="6"/>
          <c:spPr>
            <a:solidFill>
              <a:srgbClr val="E6E6E6"/>
            </a:solidFill>
            <a:ln w="9525" algn="ctr">
              <a:solidFill>
                <a:schemeClr val="bg1"/>
              </a:solidFill>
              <a:prstDash val="solid"/>
            </a:ln>
          </c:spPr>
          <c:invertIfNegative val="0"/>
          <c:dPt>
            <c:idx val="3"/>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23-7D78-4415-861B-A950D7BC5DBF}"/>
              </c:ext>
            </c:extLst>
          </c:dPt>
          <c:val>
            <c:numRef>
              <c:f>Sheet1!$A$7:$F$7</c:f>
              <c:numCache>
                <c:formatCode>General</c:formatCode>
                <c:ptCount val="6"/>
                <c:pt idx="3">
                  <c:v>34.5</c:v>
                </c:pt>
                <c:pt idx="5">
                  <c:v>0</c:v>
                </c:pt>
              </c:numCache>
            </c:numRef>
          </c:val>
          <c:extLst>
            <c:ext xmlns:c16="http://schemas.microsoft.com/office/drawing/2014/chart" uri="{C3380CC4-5D6E-409C-BE32-E72D297353CC}">
              <c16:uniqueId val="{00000024-7D78-4415-861B-A950D7BC5DBF}"/>
            </c:ext>
          </c:extLst>
        </c:ser>
        <c:ser>
          <c:idx val="7"/>
          <c:order val="7"/>
          <c:spPr>
            <a:solidFill>
              <a:srgbClr val="B380DD"/>
            </a:solidFill>
            <a:ln w="9525" algn="ctr">
              <a:solidFill>
                <a:schemeClr val="bg1"/>
              </a:solidFill>
              <a:prstDash val="solid"/>
            </a:ln>
          </c:spPr>
          <c:invertIfNegative val="0"/>
          <c:val>
            <c:numRef>
              <c:f>Sheet1!$A$8:$F$8</c:f>
              <c:numCache>
                <c:formatCode>General</c:formatCode>
                <c:ptCount val="6"/>
                <c:pt idx="3">
                  <c:v>7.9999999999999964</c:v>
                </c:pt>
              </c:numCache>
            </c:numRef>
          </c:val>
          <c:extLst>
            <c:ext xmlns:c16="http://schemas.microsoft.com/office/drawing/2014/chart" uri="{C3380CC4-5D6E-409C-BE32-E72D297353CC}">
              <c16:uniqueId val="{00000025-7D78-4415-861B-A950D7BC5DBF}"/>
            </c:ext>
          </c:extLst>
        </c:ser>
        <c:ser>
          <c:idx val="8"/>
          <c:order val="8"/>
          <c:spPr>
            <a:solidFill>
              <a:srgbClr val="E6E6E6"/>
            </a:solidFill>
            <a:ln w="9525" algn="ctr">
              <a:solidFill>
                <a:schemeClr val="bg1"/>
              </a:solidFill>
              <a:prstDash val="solid"/>
            </a:ln>
          </c:spPr>
          <c:invertIfNegative val="0"/>
          <c:val>
            <c:numRef>
              <c:f>Sheet1!$A$9:$F$9</c:f>
              <c:numCache>
                <c:formatCode>General</c:formatCode>
                <c:ptCount val="6"/>
                <c:pt idx="3">
                  <c:v>0</c:v>
                </c:pt>
              </c:numCache>
            </c:numRef>
          </c:val>
          <c:extLst>
            <c:ext xmlns:c16="http://schemas.microsoft.com/office/drawing/2014/chart" uri="{C3380CC4-5D6E-409C-BE32-E72D297353CC}">
              <c16:uniqueId val="{00000026-7D78-4415-861B-A950D7BC5DBF}"/>
            </c:ext>
          </c:extLst>
        </c:ser>
        <c:dLbls>
          <c:showLegendKey val="0"/>
          <c:showVal val="0"/>
          <c:showCatName val="0"/>
          <c:showSerName val="0"/>
          <c:showPercent val="0"/>
          <c:showBubbleSize val="0"/>
        </c:dLbls>
        <c:gapWidth val="40"/>
        <c:overlap val="100"/>
        <c:axId val="641643008"/>
        <c:axId val="1"/>
      </c:barChart>
      <c:catAx>
        <c:axId val="641643008"/>
        <c:scaling>
          <c:orientation val="maxMin"/>
        </c:scaling>
        <c:delete val="0"/>
        <c:axPos val="l"/>
        <c:majorGridlines>
          <c:spPr>
            <a:ln>
              <a:noFill/>
            </a:ln>
          </c:spPr>
        </c:majorGridlines>
        <c:majorTickMark val="none"/>
        <c:minorTickMark val="none"/>
        <c:tickLblPos val="none"/>
        <c:spPr>
          <a:ln w="9525" algn="ctr">
            <a:solidFill>
              <a:srgbClr val="004FA1"/>
            </a:solidFill>
            <a:prstDash val="solid"/>
          </a:ln>
        </c:spPr>
        <c:crossAx val="1"/>
        <c:crosses val="min"/>
        <c:auto val="0"/>
        <c:lblAlgn val="ctr"/>
        <c:lblOffset val="100"/>
        <c:noMultiLvlLbl val="0"/>
      </c:catAx>
      <c:valAx>
        <c:axId val="1"/>
        <c:scaling>
          <c:orientation val="minMax"/>
          <c:max val="100"/>
          <c:min val="0"/>
        </c:scaling>
        <c:delete val="1"/>
        <c:axPos val="b"/>
        <c:majorGridlines>
          <c:spPr>
            <a:ln>
              <a:noFill/>
            </a:ln>
          </c:spPr>
        </c:majorGridlines>
        <c:numFmt formatCode="General" sourceLinked="1"/>
        <c:majorTickMark val="none"/>
        <c:minorTickMark val="none"/>
        <c:tickLblPos val="none"/>
        <c:crossAx val="641643008"/>
        <c:crosses val="max"/>
        <c:crossBetween val="between"/>
        <c:majorUnit val="2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766835404203092E-3"/>
          <c:y val="3.086053412462908E-2"/>
          <c:w val="0.98404663291915939"/>
          <c:h val="0.93827893175074184"/>
        </c:manualLayout>
      </c:layout>
      <c:barChart>
        <c:barDir val="col"/>
        <c:grouping val="stacked"/>
        <c:varyColors val="0"/>
        <c:ser>
          <c:idx val="0"/>
          <c:order val="0"/>
          <c:spPr>
            <a:solidFill>
              <a:schemeClr val="accent1"/>
            </a:solidFill>
            <a:ln w="9525" algn="ctr">
              <a:solidFill>
                <a:srgbClr val="747480"/>
              </a:solidFill>
              <a:prstDash val="solid"/>
            </a:ln>
          </c:spPr>
          <c:invertIfNegative val="0"/>
          <c:val>
            <c:numRef>
              <c:f>Sheet1!$A$1:$F$1</c:f>
              <c:numCache>
                <c:formatCode>General</c:formatCode>
                <c:ptCount val="6"/>
                <c:pt idx="0">
                  <c:v>1</c:v>
                </c:pt>
                <c:pt idx="1">
                  <c:v>1</c:v>
                </c:pt>
                <c:pt idx="2">
                  <c:v>1</c:v>
                </c:pt>
                <c:pt idx="3">
                  <c:v>2</c:v>
                </c:pt>
                <c:pt idx="4">
                  <c:v>5</c:v>
                </c:pt>
                <c:pt idx="5">
                  <c:v>6</c:v>
                </c:pt>
              </c:numCache>
            </c:numRef>
          </c:val>
          <c:extLst>
            <c:ext xmlns:c16="http://schemas.microsoft.com/office/drawing/2014/chart" uri="{C3380CC4-5D6E-409C-BE32-E72D297353CC}">
              <c16:uniqueId val="{00000000-F79D-4ECD-8638-1D84E41F6D0A}"/>
            </c:ext>
          </c:extLst>
        </c:ser>
        <c:dLbls>
          <c:showLegendKey val="0"/>
          <c:showVal val="0"/>
          <c:showCatName val="0"/>
          <c:showSerName val="0"/>
          <c:showPercent val="0"/>
          <c:showBubbleSize val="0"/>
        </c:dLbls>
        <c:gapWidth val="80"/>
        <c:overlap val="100"/>
        <c:axId val="2124119055"/>
        <c:axId val="1"/>
      </c:barChart>
      <c:catAx>
        <c:axId val="212411905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000">
                <a:latin typeface="Bahnschrift"/>
                <a:ea typeface="+mn-ea"/>
                <a:cs typeface="+mn-cs"/>
                <a:sym typeface="Bahnschrift"/>
              </a:defRPr>
            </a:pPr>
            <a:endParaRPr lang="de-DE"/>
          </a:p>
        </c:txPr>
        <c:crossAx val="2124119055"/>
        <c:crosses val="min"/>
        <c:crossBetween val="between"/>
        <c:majorUnit val="1"/>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406243746247748E-2"/>
          <c:y val="2.4703087885985749E-2"/>
          <c:w val="0.97918751250750447"/>
          <c:h val="0.95059382422802852"/>
        </c:manualLayout>
      </c:layout>
      <c:barChart>
        <c:barDir val="col"/>
        <c:grouping val="stacked"/>
        <c:varyColors val="0"/>
        <c:ser>
          <c:idx val="0"/>
          <c:order val="0"/>
          <c:spPr>
            <a:solidFill>
              <a:srgbClr val="0D58A6"/>
            </a:solidFill>
            <a:ln w="9525" algn="ctr">
              <a:solidFill>
                <a:schemeClr val="bg1"/>
              </a:solidFill>
              <a:prstDash val="solid"/>
            </a:ln>
          </c:spPr>
          <c:invertIfNegative val="0"/>
          <c:dPt>
            <c:idx val="0"/>
            <c:invertIfNegative val="0"/>
            <c:bubble3D val="0"/>
            <c:spPr>
              <a:solidFill>
                <a:schemeClr val="accent3"/>
              </a:solidFill>
              <a:ln w="9525" algn="ctr">
                <a:solidFill>
                  <a:schemeClr val="bg1"/>
                </a:solidFill>
                <a:prstDash val="solid"/>
              </a:ln>
            </c:spPr>
            <c:extLst>
              <c:ext xmlns:c16="http://schemas.microsoft.com/office/drawing/2014/chart" uri="{C3380CC4-5D6E-409C-BE32-E72D297353CC}">
                <c16:uniqueId val="{00000000-FC7C-40D7-8B27-3F0614CFC93F}"/>
              </c:ext>
            </c:extLst>
          </c:dPt>
          <c:dPt>
            <c:idx val="2"/>
            <c:invertIfNegative val="0"/>
            <c:bubble3D val="0"/>
            <c:spPr>
              <a:solidFill>
                <a:schemeClr val="accent3"/>
              </a:solidFill>
              <a:ln w="9525" algn="ctr">
                <a:solidFill>
                  <a:schemeClr val="bg1"/>
                </a:solidFill>
                <a:prstDash val="solid"/>
              </a:ln>
            </c:spPr>
            <c:extLst>
              <c:ext xmlns:c16="http://schemas.microsoft.com/office/drawing/2014/chart" uri="{C3380CC4-5D6E-409C-BE32-E72D297353CC}">
                <c16:uniqueId val="{00000001-FC7C-40D7-8B27-3F0614CFC93F}"/>
              </c:ext>
            </c:extLst>
          </c:dPt>
          <c:dPt>
            <c:idx val="4"/>
            <c:invertIfNegative val="0"/>
            <c:bubble3D val="0"/>
            <c:spPr>
              <a:solidFill>
                <a:schemeClr val="accent3"/>
              </a:solidFill>
              <a:ln w="9525" algn="ctr">
                <a:solidFill>
                  <a:schemeClr val="bg1"/>
                </a:solidFill>
                <a:prstDash val="solid"/>
              </a:ln>
            </c:spPr>
            <c:extLst>
              <c:ext xmlns:c16="http://schemas.microsoft.com/office/drawing/2014/chart" uri="{C3380CC4-5D6E-409C-BE32-E72D297353CC}">
                <c16:uniqueId val="{00000002-FC7C-40D7-8B27-3F0614CFC93F}"/>
              </c:ext>
            </c:extLst>
          </c:dPt>
          <c:dPt>
            <c:idx val="6"/>
            <c:invertIfNegative val="0"/>
            <c:bubble3D val="0"/>
            <c:spPr>
              <a:solidFill>
                <a:schemeClr val="accent3"/>
              </a:solidFill>
              <a:ln w="9525" algn="ctr">
                <a:solidFill>
                  <a:schemeClr val="bg1"/>
                </a:solidFill>
                <a:prstDash val="solid"/>
              </a:ln>
            </c:spPr>
            <c:extLst>
              <c:ext xmlns:c16="http://schemas.microsoft.com/office/drawing/2014/chart" uri="{C3380CC4-5D6E-409C-BE32-E72D297353CC}">
                <c16:uniqueId val="{00000003-FC7C-40D7-8B27-3F0614CFC93F}"/>
              </c:ext>
            </c:extLst>
          </c:dPt>
          <c:dPt>
            <c:idx val="8"/>
            <c:invertIfNegative val="0"/>
            <c:bubble3D val="0"/>
            <c:spPr>
              <a:solidFill>
                <a:schemeClr val="accent3"/>
              </a:solidFill>
              <a:ln w="9525" algn="ctr">
                <a:solidFill>
                  <a:schemeClr val="bg1"/>
                </a:solidFill>
                <a:prstDash val="solid"/>
              </a:ln>
            </c:spPr>
            <c:extLst>
              <c:ext xmlns:c16="http://schemas.microsoft.com/office/drawing/2014/chart" uri="{C3380CC4-5D6E-409C-BE32-E72D297353CC}">
                <c16:uniqueId val="{00000004-FC7C-40D7-8B27-3F0614CFC93F}"/>
              </c:ext>
            </c:extLst>
          </c:dPt>
          <c:dLbls>
            <c:dLbl>
              <c:idx val="0"/>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C7C-40D7-8B27-3F0614CFC93F}"/>
                </c:ext>
              </c:extLst>
            </c:dLbl>
            <c:dLbl>
              <c:idx val="1"/>
              <c:layout>
                <c:manualLayout>
                  <c:x val="0"/>
                  <c:y val="-0.40380047505938244"/>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C7C-40D7-8B27-3F0614CFC93F}"/>
                </c:ext>
              </c:extLst>
            </c:dLbl>
            <c:dLbl>
              <c:idx val="2"/>
              <c:layout>
                <c:manualLayout>
                  <c:x val="0"/>
                  <c:y val="-4.7505938242280285E-4"/>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C7C-40D7-8B27-3F0614CFC93F}"/>
                </c:ext>
              </c:extLst>
            </c:dLbl>
            <c:dLbl>
              <c:idx val="3"/>
              <c:layout>
                <c:manualLayout>
                  <c:x val="0"/>
                  <c:y val="-0.4"/>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C7C-40D7-8B27-3F0614CFC93F}"/>
                </c:ext>
              </c:extLst>
            </c:dLbl>
            <c:dLbl>
              <c:idx val="4"/>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C7C-40D7-8B27-3F0614CFC93F}"/>
                </c:ext>
              </c:extLst>
            </c:dLbl>
            <c:dLbl>
              <c:idx val="5"/>
              <c:layout>
                <c:manualLayout>
                  <c:x val="0"/>
                  <c:y val="-0.33016627078384797"/>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C7C-40D7-8B27-3F0614CFC93F}"/>
                </c:ext>
              </c:extLst>
            </c:dLbl>
            <c:dLbl>
              <c:idx val="6"/>
              <c:layout>
                <c:manualLayout>
                  <c:x val="0"/>
                  <c:y val="-4.7505938242280285E-4"/>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C7C-40D7-8B27-3F0614CFC93F}"/>
                </c:ext>
              </c:extLst>
            </c:dLbl>
            <c:dLbl>
              <c:idx val="7"/>
              <c:layout>
                <c:manualLayout>
                  <c:x val="0"/>
                  <c:y val="-0.39002375296912112"/>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C7C-40D7-8B27-3F0614CFC93F}"/>
                </c:ext>
              </c:extLst>
            </c:dLbl>
            <c:dLbl>
              <c:idx val="8"/>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C7C-40D7-8B27-3F0614CFC93F}"/>
                </c:ext>
              </c:extLst>
            </c:dLbl>
            <c:dLbl>
              <c:idx val="9"/>
              <c:layout>
                <c:manualLayout>
                  <c:x val="0"/>
                  <c:y val="-0.47505938242280282"/>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C7C-40D7-8B27-3F0614CFC93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318</c:v>
                </c:pt>
                <c:pt idx="1">
                  <c:v>930</c:v>
                </c:pt>
                <c:pt idx="2">
                  <c:v>353</c:v>
                </c:pt>
                <c:pt idx="3">
                  <c:v>922</c:v>
                </c:pt>
                <c:pt idx="4">
                  <c:v>404</c:v>
                </c:pt>
                <c:pt idx="5">
                  <c:v>745</c:v>
                </c:pt>
                <c:pt idx="6">
                  <c:v>467</c:v>
                </c:pt>
                <c:pt idx="7">
                  <c:v>896</c:v>
                </c:pt>
                <c:pt idx="8">
                  <c:v>550</c:v>
                </c:pt>
                <c:pt idx="9">
                  <c:v>1110</c:v>
                </c:pt>
              </c:numCache>
            </c:numRef>
          </c:val>
          <c:extLst>
            <c:ext xmlns:c16="http://schemas.microsoft.com/office/drawing/2014/chart" uri="{C3380CC4-5D6E-409C-BE32-E72D297353CC}">
              <c16:uniqueId val="{0000000A-FC7C-40D7-8B27-3F0614CFC93F}"/>
            </c:ext>
          </c:extLst>
        </c:ser>
        <c:ser>
          <c:idx val="1"/>
          <c:order val="1"/>
          <c:spPr>
            <a:solidFill>
              <a:schemeClr val="accent2"/>
            </a:solidFill>
            <a:ln w="9525"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C7C-40D7-8B27-3F0614CFC93F}"/>
                </c:ext>
              </c:extLst>
            </c:dLbl>
            <c:dLbl>
              <c:idx val="2"/>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C7C-40D7-8B27-3F0614CFC93F}"/>
                </c:ext>
              </c:extLst>
            </c:dLbl>
            <c:dLbl>
              <c:idx val="4"/>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C7C-40D7-8B27-3F0614CFC93F}"/>
                </c:ext>
              </c:extLst>
            </c:dLbl>
            <c:dLbl>
              <c:idx val="6"/>
              <c:layout>
                <c:manualLayout>
                  <c:x val="0"/>
                  <c:y val="-4.7505938242280285E-4"/>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C7C-40D7-8B27-3F0614CFC93F}"/>
                </c:ext>
              </c:extLst>
            </c:dLbl>
            <c:dLbl>
              <c:idx val="8"/>
              <c:layout>
                <c:manualLayout>
                  <c:x val="0"/>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C7C-40D7-8B27-3F0614CFC93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163</c:v>
                </c:pt>
                <c:pt idx="2">
                  <c:v>169</c:v>
                </c:pt>
                <c:pt idx="4">
                  <c:v>222</c:v>
                </c:pt>
                <c:pt idx="6">
                  <c:v>382</c:v>
                </c:pt>
                <c:pt idx="8">
                  <c:v>561</c:v>
                </c:pt>
              </c:numCache>
            </c:numRef>
          </c:val>
          <c:extLst>
            <c:ext xmlns:c16="http://schemas.microsoft.com/office/drawing/2014/chart" uri="{C3380CC4-5D6E-409C-BE32-E72D297353CC}">
              <c16:uniqueId val="{00000010-FC7C-40D7-8B27-3F0614CFC93F}"/>
            </c:ext>
          </c:extLst>
        </c:ser>
        <c:dLbls>
          <c:showLegendKey val="0"/>
          <c:showVal val="0"/>
          <c:showCatName val="0"/>
          <c:showSerName val="0"/>
          <c:showPercent val="0"/>
          <c:showBubbleSize val="0"/>
        </c:dLbls>
        <c:gapWidth val="40"/>
        <c:overlap val="100"/>
        <c:axId val="259193632"/>
        <c:axId val="1"/>
      </c:barChart>
      <c:catAx>
        <c:axId val="25919363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20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259193632"/>
        <c:crosses val="min"/>
        <c:crossBetween val="between"/>
        <c:majorUnit val="20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406243746247748E-2"/>
          <c:y val="2.2618529795563287E-2"/>
          <c:w val="0.97918751250750447"/>
          <c:h val="0.95476294040887344"/>
        </c:manualLayout>
      </c:layout>
      <c:barChart>
        <c:barDir val="col"/>
        <c:grouping val="stacked"/>
        <c:varyColors val="0"/>
        <c:ser>
          <c:idx val="0"/>
          <c:order val="0"/>
          <c:spPr>
            <a:solidFill>
              <a:schemeClr val="accent1"/>
            </a:solidFill>
            <a:ln w="9525" algn="ctr">
              <a:solidFill>
                <a:schemeClr val="bg1"/>
              </a:solidFill>
              <a:prstDash val="solid"/>
            </a:ln>
          </c:spPr>
          <c:invertIfNegative val="0"/>
          <c:dLbls>
            <c:dLbl>
              <c:idx val="0"/>
              <c:layout>
                <c:manualLayout>
                  <c:x val="0"/>
                  <c:y val="-4.5237059591126574E-2"/>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F81-4C83-A28A-DCCA260779FC}"/>
                </c:ext>
              </c:extLst>
            </c:dLbl>
            <c:dLbl>
              <c:idx val="1"/>
              <c:layout>
                <c:manualLayout>
                  <c:x val="0"/>
                  <c:y val="-5.1761635493692913E-2"/>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F81-4C83-A28A-DCCA260779FC}"/>
                </c:ext>
              </c:extLst>
            </c:dLbl>
            <c:dLbl>
              <c:idx val="2"/>
              <c:layout>
                <c:manualLayout>
                  <c:x val="0"/>
                  <c:y val="-6.3940843845150072E-2"/>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F81-4C83-A28A-DCCA260779FC}"/>
                </c:ext>
              </c:extLst>
            </c:dLbl>
            <c:dLbl>
              <c:idx val="3"/>
              <c:layout>
                <c:manualLayout>
                  <c:x val="0"/>
                  <c:y val="-7.9599826011309271E-2"/>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F81-4C83-A28A-DCCA260779FC}"/>
                </c:ext>
              </c:extLst>
            </c:dLbl>
            <c:dLbl>
              <c:idx val="4"/>
              <c:layout>
                <c:manualLayout>
                  <c:x val="0"/>
                  <c:y val="-9.3953892996955196E-2"/>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F81-4C83-A28A-DCCA260779FC}"/>
                </c:ext>
              </c:extLst>
            </c:dLbl>
            <c:dLbl>
              <c:idx val="5"/>
              <c:layout>
                <c:manualLayout>
                  <c:x val="0"/>
                  <c:y val="-9.2648977816441935E-2"/>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F81-4C83-A28A-DCCA260779FC}"/>
                </c:ext>
              </c:extLst>
            </c:dLbl>
            <c:dLbl>
              <c:idx val="6"/>
              <c:layout>
                <c:manualLayout>
                  <c:x val="0"/>
                  <c:y val="-0.11700739451935624"/>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F81-4C83-A28A-DCCA260779FC}"/>
                </c:ext>
              </c:extLst>
            </c:dLbl>
            <c:dLbl>
              <c:idx val="7"/>
              <c:layout>
                <c:manualLayout>
                  <c:x val="0"/>
                  <c:y val="-0.13832100913440626"/>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F81-4C83-A28A-DCCA260779FC}"/>
                </c:ext>
              </c:extLst>
            </c:dLbl>
            <c:dLbl>
              <c:idx val="8"/>
              <c:layout>
                <c:manualLayout>
                  <c:x val="0"/>
                  <c:y val="-0.12831665941713788"/>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F81-4C83-A28A-DCCA260779FC}"/>
                </c:ext>
              </c:extLst>
            </c:dLbl>
            <c:dLbl>
              <c:idx val="9"/>
              <c:layout>
                <c:manualLayout>
                  <c:x val="0"/>
                  <c:y val="-0.11613745106568073"/>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F81-4C83-A28A-DCCA260779F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S$1</c:f>
              <c:numCache>
                <c:formatCode>General</c:formatCode>
                <c:ptCount val="19"/>
                <c:pt idx="0">
                  <c:v>32</c:v>
                </c:pt>
                <c:pt idx="1">
                  <c:v>50</c:v>
                </c:pt>
                <c:pt idx="2">
                  <c:v>79</c:v>
                </c:pt>
                <c:pt idx="3">
                  <c:v>120</c:v>
                </c:pt>
                <c:pt idx="4">
                  <c:v>155</c:v>
                </c:pt>
                <c:pt idx="5">
                  <c:v>152</c:v>
                </c:pt>
                <c:pt idx="6">
                  <c:v>213</c:v>
                </c:pt>
                <c:pt idx="7">
                  <c:v>267</c:v>
                </c:pt>
                <c:pt idx="8">
                  <c:v>241</c:v>
                </c:pt>
                <c:pt idx="9">
                  <c:v>211</c:v>
                </c:pt>
                <c:pt idx="10">
                  <c:v>260</c:v>
                </c:pt>
                <c:pt idx="11">
                  <c:v>314</c:v>
                </c:pt>
                <c:pt idx="12">
                  <c:v>292</c:v>
                </c:pt>
                <c:pt idx="13">
                  <c:v>320</c:v>
                </c:pt>
                <c:pt idx="14">
                  <c:v>280</c:v>
                </c:pt>
                <c:pt idx="15">
                  <c:v>320</c:v>
                </c:pt>
                <c:pt idx="16">
                  <c:v>360</c:v>
                </c:pt>
                <c:pt idx="17">
                  <c:v>439</c:v>
                </c:pt>
                <c:pt idx="18">
                  <c:v>500</c:v>
                </c:pt>
              </c:numCache>
            </c:numRef>
          </c:val>
          <c:extLst>
            <c:ext xmlns:c16="http://schemas.microsoft.com/office/drawing/2014/chart" uri="{C3380CC4-5D6E-409C-BE32-E72D297353CC}">
              <c16:uniqueId val="{0000000A-EF81-4C83-A28A-DCCA260779FC}"/>
            </c:ext>
          </c:extLst>
        </c:ser>
        <c:ser>
          <c:idx val="1"/>
          <c:order val="1"/>
          <c:spPr>
            <a:solidFill>
              <a:schemeClr val="accent2"/>
            </a:solidFill>
            <a:ln w="9525" algn="ctr">
              <a:solidFill>
                <a:schemeClr val="bg1"/>
              </a:solidFill>
              <a:prstDash val="solid"/>
            </a:ln>
          </c:spPr>
          <c:invertIfNegative val="0"/>
          <c:dPt>
            <c:idx val="10"/>
            <c:invertIfNegative val="0"/>
            <c:bubble3D val="0"/>
            <c:spPr>
              <a:solidFill>
                <a:srgbClr val="CA3B30"/>
              </a:solidFill>
              <a:ln w="9525" algn="ctr">
                <a:solidFill>
                  <a:schemeClr val="bg1"/>
                </a:solidFill>
                <a:prstDash val="solid"/>
              </a:ln>
            </c:spPr>
            <c:extLst>
              <c:ext xmlns:c16="http://schemas.microsoft.com/office/drawing/2014/chart" uri="{C3380CC4-5D6E-409C-BE32-E72D297353CC}">
                <c16:uniqueId val="{0000000B-EF81-4C83-A28A-DCCA260779FC}"/>
              </c:ext>
            </c:extLst>
          </c:dPt>
          <c:val>
            <c:numRef>
              <c:f>Sheet1!$A$2:$S$2</c:f>
              <c:numCache>
                <c:formatCode>General</c:formatCode>
                <c:ptCount val="19"/>
                <c:pt idx="10">
                  <c:v>20</c:v>
                </c:pt>
                <c:pt idx="11">
                  <c:v>20</c:v>
                </c:pt>
                <c:pt idx="12">
                  <c:v>20</c:v>
                </c:pt>
                <c:pt idx="13">
                  <c:v>20</c:v>
                </c:pt>
                <c:pt idx="14">
                  <c:v>20</c:v>
                </c:pt>
                <c:pt idx="15">
                  <c:v>20</c:v>
                </c:pt>
                <c:pt idx="16">
                  <c:v>30</c:v>
                </c:pt>
                <c:pt idx="17">
                  <c:v>40</c:v>
                </c:pt>
                <c:pt idx="18">
                  <c:v>30</c:v>
                </c:pt>
              </c:numCache>
            </c:numRef>
          </c:val>
          <c:extLst>
            <c:ext xmlns:c16="http://schemas.microsoft.com/office/drawing/2014/chart" uri="{C3380CC4-5D6E-409C-BE32-E72D297353CC}">
              <c16:uniqueId val="{0000000C-EF81-4C83-A28A-DCCA260779FC}"/>
            </c:ext>
          </c:extLst>
        </c:ser>
        <c:ser>
          <c:idx val="2"/>
          <c:order val="2"/>
          <c:spPr>
            <a:solidFill>
              <a:srgbClr val="92D050"/>
            </a:solidFill>
            <a:ln w="9525" algn="ctr">
              <a:solidFill>
                <a:schemeClr val="bg1"/>
              </a:solidFill>
              <a:prstDash val="solid"/>
            </a:ln>
          </c:spPr>
          <c:invertIfNegative val="0"/>
          <c:dPt>
            <c:idx val="10"/>
            <c:invertIfNegative val="0"/>
            <c:bubble3D val="0"/>
            <c:spPr>
              <a:solidFill>
                <a:schemeClr val="accent3"/>
              </a:solidFill>
              <a:ln w="9525" algn="ctr">
                <a:solidFill>
                  <a:schemeClr val="bg1"/>
                </a:solidFill>
                <a:prstDash val="solid"/>
              </a:ln>
            </c:spPr>
            <c:extLst>
              <c:ext xmlns:c16="http://schemas.microsoft.com/office/drawing/2014/chart" uri="{C3380CC4-5D6E-409C-BE32-E72D297353CC}">
                <c16:uniqueId val="{0000000D-EF81-4C83-A28A-DCCA260779FC}"/>
              </c:ext>
            </c:extLst>
          </c:dPt>
          <c:dPt>
            <c:idx val="11"/>
            <c:invertIfNegative val="0"/>
            <c:bubble3D val="0"/>
            <c:spPr>
              <a:solidFill>
                <a:srgbClr val="CA3B30"/>
              </a:solidFill>
              <a:ln w="9525" algn="ctr">
                <a:solidFill>
                  <a:schemeClr val="bg1"/>
                </a:solidFill>
                <a:prstDash val="solid"/>
              </a:ln>
            </c:spPr>
            <c:extLst>
              <c:ext xmlns:c16="http://schemas.microsoft.com/office/drawing/2014/chart" uri="{C3380CC4-5D6E-409C-BE32-E72D297353CC}">
                <c16:uniqueId val="{0000000E-EF81-4C83-A28A-DCCA260779FC}"/>
              </c:ext>
            </c:extLst>
          </c:dPt>
          <c:dPt>
            <c:idx val="12"/>
            <c:invertIfNegative val="0"/>
            <c:bubble3D val="0"/>
            <c:spPr>
              <a:solidFill>
                <a:srgbClr val="CA3B30"/>
              </a:solidFill>
              <a:ln w="9525" algn="ctr">
                <a:solidFill>
                  <a:schemeClr val="bg1"/>
                </a:solidFill>
                <a:prstDash val="solid"/>
              </a:ln>
            </c:spPr>
            <c:extLst>
              <c:ext xmlns:c16="http://schemas.microsoft.com/office/drawing/2014/chart" uri="{C3380CC4-5D6E-409C-BE32-E72D297353CC}">
                <c16:uniqueId val="{0000000F-EF81-4C83-A28A-DCCA260779FC}"/>
              </c:ext>
            </c:extLst>
          </c:dPt>
          <c:val>
            <c:numRef>
              <c:f>Sheet1!$A$3:$S$3</c:f>
              <c:numCache>
                <c:formatCode>General</c:formatCode>
                <c:ptCount val="19"/>
                <c:pt idx="10">
                  <c:v>30</c:v>
                </c:pt>
                <c:pt idx="11">
                  <c:v>30</c:v>
                </c:pt>
                <c:pt idx="12">
                  <c:v>80</c:v>
                </c:pt>
                <c:pt idx="13">
                  <c:v>8</c:v>
                </c:pt>
                <c:pt idx="14">
                  <c:v>12</c:v>
                </c:pt>
                <c:pt idx="15">
                  <c:v>8</c:v>
                </c:pt>
                <c:pt idx="16">
                  <c:v>10</c:v>
                </c:pt>
                <c:pt idx="17">
                  <c:v>20</c:v>
                </c:pt>
                <c:pt idx="18">
                  <c:v>15</c:v>
                </c:pt>
              </c:numCache>
            </c:numRef>
          </c:val>
          <c:extLst>
            <c:ext xmlns:c16="http://schemas.microsoft.com/office/drawing/2014/chart" uri="{C3380CC4-5D6E-409C-BE32-E72D297353CC}">
              <c16:uniqueId val="{00000010-EF81-4C83-A28A-DCCA260779FC}"/>
            </c:ext>
          </c:extLst>
        </c:ser>
        <c:ser>
          <c:idx val="3"/>
          <c:order val="3"/>
          <c:spPr>
            <a:solidFill>
              <a:srgbClr val="CA3B30"/>
            </a:solidFill>
            <a:ln w="9525" algn="ctr">
              <a:solidFill>
                <a:schemeClr val="bg1"/>
              </a:solidFill>
              <a:prstDash val="solid"/>
            </a:ln>
          </c:spPr>
          <c:invertIfNegative val="0"/>
          <c:dPt>
            <c:idx val="11"/>
            <c:invertIfNegative val="0"/>
            <c:bubble3D val="0"/>
            <c:spPr>
              <a:solidFill>
                <a:schemeClr val="accent3"/>
              </a:solidFill>
              <a:ln w="9525" algn="ctr">
                <a:solidFill>
                  <a:schemeClr val="bg1"/>
                </a:solidFill>
                <a:prstDash val="solid"/>
              </a:ln>
            </c:spPr>
            <c:extLst>
              <c:ext xmlns:c16="http://schemas.microsoft.com/office/drawing/2014/chart" uri="{C3380CC4-5D6E-409C-BE32-E72D297353CC}">
                <c16:uniqueId val="{00000011-EF81-4C83-A28A-DCCA260779FC}"/>
              </c:ext>
            </c:extLst>
          </c:dPt>
          <c:dPt>
            <c:idx val="12"/>
            <c:invertIfNegative val="0"/>
            <c:bubble3D val="0"/>
            <c:spPr>
              <a:solidFill>
                <a:schemeClr val="accent3"/>
              </a:solidFill>
              <a:ln w="9525" algn="ctr">
                <a:solidFill>
                  <a:schemeClr val="bg1"/>
                </a:solidFill>
                <a:prstDash val="solid"/>
              </a:ln>
            </c:spPr>
            <c:extLst>
              <c:ext xmlns:c16="http://schemas.microsoft.com/office/drawing/2014/chart" uri="{C3380CC4-5D6E-409C-BE32-E72D297353CC}">
                <c16:uniqueId val="{00000012-EF81-4C83-A28A-DCCA260779FC}"/>
              </c:ext>
            </c:extLst>
          </c:dPt>
          <c:val>
            <c:numRef>
              <c:f>Sheet1!$A$4:$S$4</c:f>
              <c:numCache>
                <c:formatCode>General</c:formatCode>
                <c:ptCount val="19"/>
                <c:pt idx="11">
                  <c:v>30</c:v>
                </c:pt>
                <c:pt idx="12">
                  <c:v>30</c:v>
                </c:pt>
                <c:pt idx="13">
                  <c:v>80</c:v>
                </c:pt>
                <c:pt idx="14">
                  <c:v>100</c:v>
                </c:pt>
                <c:pt idx="15">
                  <c:v>124</c:v>
                </c:pt>
                <c:pt idx="16">
                  <c:v>166</c:v>
                </c:pt>
                <c:pt idx="17">
                  <c:v>250</c:v>
                </c:pt>
                <c:pt idx="18">
                  <c:v>450</c:v>
                </c:pt>
              </c:numCache>
            </c:numRef>
          </c:val>
          <c:extLst>
            <c:ext xmlns:c16="http://schemas.microsoft.com/office/drawing/2014/chart" uri="{C3380CC4-5D6E-409C-BE32-E72D297353CC}">
              <c16:uniqueId val="{00000013-EF81-4C83-A28A-DCCA260779FC}"/>
            </c:ext>
          </c:extLst>
        </c:ser>
        <c:ser>
          <c:idx val="4"/>
          <c:order val="4"/>
          <c:spPr>
            <a:solidFill>
              <a:schemeClr val="accent3"/>
            </a:solidFill>
            <a:ln w="9525" algn="ctr">
              <a:solidFill>
                <a:schemeClr val="bg1"/>
              </a:solidFill>
              <a:prstDash val="solid"/>
            </a:ln>
          </c:spPr>
          <c:invertIfNegative val="0"/>
          <c:val>
            <c:numRef>
              <c:f>Sheet1!$A$5:$S$5</c:f>
              <c:numCache>
                <c:formatCode>General</c:formatCode>
                <c:ptCount val="19"/>
                <c:pt idx="13">
                  <c:v>40</c:v>
                </c:pt>
                <c:pt idx="14">
                  <c:v>70</c:v>
                </c:pt>
                <c:pt idx="15">
                  <c:v>50</c:v>
                </c:pt>
                <c:pt idx="16">
                  <c:v>50</c:v>
                </c:pt>
                <c:pt idx="17">
                  <c:v>80</c:v>
                </c:pt>
                <c:pt idx="18">
                  <c:v>80</c:v>
                </c:pt>
              </c:numCache>
            </c:numRef>
          </c:val>
          <c:extLst>
            <c:ext xmlns:c16="http://schemas.microsoft.com/office/drawing/2014/chart" uri="{C3380CC4-5D6E-409C-BE32-E72D297353CC}">
              <c16:uniqueId val="{00000014-EF81-4C83-A28A-DCCA260779FC}"/>
            </c:ext>
          </c:extLst>
        </c:ser>
        <c:ser>
          <c:idx val="5"/>
          <c:order val="5"/>
          <c:spPr>
            <a:solidFill>
              <a:srgbClr val="C76009"/>
            </a:solidFill>
            <a:ln w="9525" algn="ctr">
              <a:solidFill>
                <a:schemeClr val="bg1"/>
              </a:solidFill>
              <a:prstDash val="solid"/>
            </a:ln>
          </c:spPr>
          <c:invertIfNegative val="0"/>
          <c:val>
            <c:numRef>
              <c:f>Sheet1!$A$6:$S$6</c:f>
              <c:numCache>
                <c:formatCode>General</c:formatCode>
                <c:ptCount val="19"/>
                <c:pt idx="16">
                  <c:v>10</c:v>
                </c:pt>
                <c:pt idx="17">
                  <c:v>20</c:v>
                </c:pt>
                <c:pt idx="18">
                  <c:v>35</c:v>
                </c:pt>
              </c:numCache>
            </c:numRef>
          </c:val>
          <c:extLst>
            <c:ext xmlns:c16="http://schemas.microsoft.com/office/drawing/2014/chart" uri="{C3380CC4-5D6E-409C-BE32-E72D297353CC}">
              <c16:uniqueId val="{00000015-EF81-4C83-A28A-DCCA260779FC}"/>
            </c:ext>
          </c:extLst>
        </c:ser>
        <c:dLbls>
          <c:showLegendKey val="0"/>
          <c:showVal val="0"/>
          <c:showCatName val="0"/>
          <c:showSerName val="0"/>
          <c:showPercent val="0"/>
          <c:showBubbleSize val="0"/>
        </c:dLbls>
        <c:gapWidth val="40"/>
        <c:overlap val="100"/>
        <c:axId val="285316944"/>
        <c:axId val="1"/>
      </c:barChart>
      <c:catAx>
        <c:axId val="28531694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20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285316944"/>
        <c:crosses val="min"/>
        <c:crossBetween val="between"/>
        <c:majorUnit val="200"/>
      </c:valAx>
    </c:plotArea>
    <c:plotVisOnly val="0"/>
    <c:dispBlanksAs val="gap"/>
    <c:showDLblsOverMax val="1"/>
  </c:chart>
  <c:externalData r:id="rId1">
    <c:autoUpdate val="0"/>
  </c:externalData>
</c:chartSpace>
</file>

<file path=ppt/drawings/drawing1.xml><?xml version="1.0" encoding="utf-8"?>
<c:userShapes xmlns:c="http://schemas.openxmlformats.org/drawingml/2006/chart">
  <cdr:relSizeAnchor xmlns:cdr="http://schemas.openxmlformats.org/drawingml/2006/chartDrawing">
    <cdr:from>
      <cdr:x>0.62423</cdr:x>
      <cdr:y>0.64975</cdr:y>
    </cdr:from>
    <cdr:to>
      <cdr:x>0.98991</cdr:x>
      <cdr:y>0.71757</cdr:y>
    </cdr:to>
    <cdr:sp macro="" textlink="">
      <cdr:nvSpPr>
        <cdr:cNvPr id="2" name="Freeform: Shape 1">
          <a:extLst xmlns:a="http://schemas.openxmlformats.org/drawingml/2006/main">
            <a:ext uri="{FF2B5EF4-FFF2-40B4-BE49-F238E27FC236}">
              <a16:creationId xmlns:a16="http://schemas.microsoft.com/office/drawing/2014/main" id="{BB7AC0CD-A56E-4739-AB99-EBBE81DA673C}"/>
            </a:ext>
          </a:extLst>
        </cdr:cNvPr>
        <cdr:cNvSpPr/>
      </cdr:nvSpPr>
      <cdr:spPr>
        <a:xfrm xmlns:a="http://schemas.openxmlformats.org/drawingml/2006/main">
          <a:off x="5242242" y="2500312"/>
          <a:ext cx="3070860" cy="260985"/>
        </a:xfrm>
        <a:custGeom xmlns:a="http://schemas.openxmlformats.org/drawingml/2006/main">
          <a:avLst/>
          <a:gdLst>
            <a:gd name="connsiteX0" fmla="*/ 0 w 3074670"/>
            <a:gd name="connsiteY0" fmla="*/ 255270 h 255270"/>
            <a:gd name="connsiteX1" fmla="*/ 1474470 w 3074670"/>
            <a:gd name="connsiteY1" fmla="*/ 60960 h 255270"/>
            <a:gd name="connsiteX2" fmla="*/ 3074670 w 3074670"/>
            <a:gd name="connsiteY2" fmla="*/ 0 h 255270"/>
            <a:gd name="connsiteX3" fmla="*/ 3074670 w 3074670"/>
            <a:gd name="connsiteY3" fmla="*/ 182880 h 255270"/>
            <a:gd name="connsiteX4" fmla="*/ 0 w 3074670"/>
            <a:gd name="connsiteY4" fmla="*/ 255270 h 255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4670" h="255270">
              <a:moveTo>
                <a:pt x="0" y="255270"/>
              </a:moveTo>
              <a:lnTo>
                <a:pt x="1474470" y="60960"/>
              </a:lnTo>
              <a:lnTo>
                <a:pt x="3074670" y="0"/>
              </a:lnTo>
              <a:lnTo>
                <a:pt x="3074670" y="182880"/>
              </a:lnTo>
              <a:lnTo>
                <a:pt x="0" y="255270"/>
              </a:lnTo>
              <a:close/>
            </a:path>
          </a:pathLst>
        </a:custGeom>
        <a:solidFill xmlns:a="http://schemas.openxmlformats.org/drawingml/2006/main">
          <a:srgbClr val="E6A0C8">
            <a:alpha val="50000"/>
          </a:srgbClr>
        </a:solidFill>
        <a:ln xmlns:a="http://schemas.openxmlformats.org/drawingml/2006/main" w="12700">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de-DE"/>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4278154" cy="338276"/>
          </a:xfrm>
          <a:prstGeom prst="rect">
            <a:avLst/>
          </a:prstGeom>
        </p:spPr>
        <p:txBody>
          <a:bodyPr vert="horz" lIns="90827" tIns="45414" rIns="90827" bIns="45414" rtlCol="0"/>
          <a:lstStyle>
            <a:lvl1pPr algn="l">
              <a:defRPr sz="1200"/>
            </a:lvl1pPr>
          </a:lstStyle>
          <a:p>
            <a:endParaRPr lang="en-US"/>
          </a:p>
        </p:txBody>
      </p:sp>
      <p:sp>
        <p:nvSpPr>
          <p:cNvPr id="3" name="Date Placeholder 2"/>
          <p:cNvSpPr>
            <a:spLocks noGrp="1"/>
          </p:cNvSpPr>
          <p:nvPr>
            <p:ph type="dt" idx="1"/>
          </p:nvPr>
        </p:nvSpPr>
        <p:spPr>
          <a:xfrm>
            <a:off x="5592225" y="1"/>
            <a:ext cx="4278154" cy="338276"/>
          </a:xfrm>
          <a:prstGeom prst="rect">
            <a:avLst/>
          </a:prstGeom>
        </p:spPr>
        <p:txBody>
          <a:bodyPr vert="horz" lIns="90827" tIns="45414" rIns="90827" bIns="45414" rtlCol="0"/>
          <a:lstStyle>
            <a:lvl1pPr algn="r">
              <a:defRPr sz="1200"/>
            </a:lvl1pPr>
          </a:lstStyle>
          <a:p>
            <a:fld id="{E0C9CF01-F19E-4470-A0E3-087D6DBDC268}" type="datetimeFigureOut">
              <a:rPr lang="en-US" smtClean="0"/>
              <a:t>5/27/2024</a:t>
            </a:fld>
            <a:endParaRPr lang="en-US"/>
          </a:p>
        </p:txBody>
      </p:sp>
      <p:sp>
        <p:nvSpPr>
          <p:cNvPr id="4" name="Slide Image Placeholder 3"/>
          <p:cNvSpPr>
            <a:spLocks noGrp="1" noRot="1" noChangeAspect="1"/>
          </p:cNvSpPr>
          <p:nvPr>
            <p:ph type="sldImg" idx="2"/>
          </p:nvPr>
        </p:nvSpPr>
        <p:spPr>
          <a:xfrm>
            <a:off x="2914650" y="842963"/>
            <a:ext cx="4043363" cy="2274887"/>
          </a:xfrm>
          <a:prstGeom prst="rect">
            <a:avLst/>
          </a:prstGeom>
          <a:noFill/>
          <a:ln w="12700">
            <a:solidFill>
              <a:prstClr val="black"/>
            </a:solidFill>
          </a:ln>
        </p:spPr>
        <p:txBody>
          <a:bodyPr vert="horz" lIns="90827" tIns="45414" rIns="90827" bIns="45414" rtlCol="0" anchor="ctr"/>
          <a:lstStyle/>
          <a:p>
            <a:endParaRPr lang="en-US"/>
          </a:p>
        </p:txBody>
      </p:sp>
      <p:sp>
        <p:nvSpPr>
          <p:cNvPr id="5" name="Notes Placeholder 4"/>
          <p:cNvSpPr>
            <a:spLocks noGrp="1"/>
          </p:cNvSpPr>
          <p:nvPr>
            <p:ph type="body" sz="quarter" idx="3"/>
          </p:nvPr>
        </p:nvSpPr>
        <p:spPr>
          <a:xfrm>
            <a:off x="987267" y="3244643"/>
            <a:ext cx="7898130" cy="2654707"/>
          </a:xfrm>
          <a:prstGeom prst="rect">
            <a:avLst/>
          </a:prstGeom>
        </p:spPr>
        <p:txBody>
          <a:bodyPr vert="horz" lIns="90827" tIns="45414" rIns="90827" bIns="454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6403838"/>
            <a:ext cx="4278154" cy="338275"/>
          </a:xfrm>
          <a:prstGeom prst="rect">
            <a:avLst/>
          </a:prstGeom>
        </p:spPr>
        <p:txBody>
          <a:bodyPr vert="horz" lIns="90827" tIns="45414" rIns="90827" bIns="45414" rtlCol="0" anchor="b"/>
          <a:lstStyle>
            <a:lvl1pPr algn="l">
              <a:defRPr sz="1200"/>
            </a:lvl1pPr>
          </a:lstStyle>
          <a:p>
            <a:endParaRPr lang="en-US"/>
          </a:p>
        </p:txBody>
      </p:sp>
      <p:sp>
        <p:nvSpPr>
          <p:cNvPr id="7" name="Slide Number Placeholder 6"/>
          <p:cNvSpPr>
            <a:spLocks noGrp="1"/>
          </p:cNvSpPr>
          <p:nvPr>
            <p:ph type="sldNum" sz="quarter" idx="5"/>
          </p:nvPr>
        </p:nvSpPr>
        <p:spPr>
          <a:xfrm>
            <a:off x="5592225" y="6403838"/>
            <a:ext cx="4278154" cy="338275"/>
          </a:xfrm>
          <a:prstGeom prst="rect">
            <a:avLst/>
          </a:prstGeom>
        </p:spPr>
        <p:txBody>
          <a:bodyPr vert="horz" lIns="90827" tIns="45414" rIns="90827" bIns="45414" rtlCol="0" anchor="b"/>
          <a:lstStyle>
            <a:lvl1pPr algn="r">
              <a:defRPr sz="1200"/>
            </a:lvl1pPr>
          </a:lstStyle>
          <a:p>
            <a:fld id="{B9A639E3-016A-4824-BB4C-FAF1513CE34E}" type="slidenum">
              <a:rPr lang="en-US" smtClean="0"/>
              <a:t>‹Nr.›</a:t>
            </a:fld>
            <a:endParaRPr lang="en-US"/>
          </a:p>
        </p:txBody>
      </p:sp>
    </p:spTree>
    <p:extLst>
      <p:ext uri="{BB962C8B-B14F-4D97-AF65-F5344CB8AC3E}">
        <p14:creationId xmlns:p14="http://schemas.microsoft.com/office/powerpoint/2010/main" val="23860155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AT"/>
          </a:p>
        </p:txBody>
      </p:sp>
      <p:sp>
        <p:nvSpPr>
          <p:cNvPr id="4" name="Slide Number Placeholder 3"/>
          <p:cNvSpPr>
            <a:spLocks noGrp="1"/>
          </p:cNvSpPr>
          <p:nvPr>
            <p:ph type="sldNum" sz="quarter" idx="5"/>
          </p:nvPr>
        </p:nvSpPr>
        <p:spPr/>
        <p:txBody>
          <a:bodyPr/>
          <a:lstStyle/>
          <a:p>
            <a:fld id="{B9A639E3-016A-4824-BB4C-FAF1513CE34E}" type="slidenum">
              <a:rPr lang="en-US" smtClean="0"/>
              <a:t>1</a:t>
            </a:fld>
            <a:endParaRPr lang="en-US"/>
          </a:p>
        </p:txBody>
      </p:sp>
    </p:spTree>
    <p:extLst>
      <p:ext uri="{BB962C8B-B14F-4D97-AF65-F5344CB8AC3E}">
        <p14:creationId xmlns:p14="http://schemas.microsoft.com/office/powerpoint/2010/main" val="15779516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 May 2024</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1947173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de-DE" sz="1100" dirty="0"/>
              <a:t>https://futurezone.at/produkte/photovoltaik-sonnenenergie-rekord-oesterreich-solarenergie-megawatt-gigawatt-markt/402278894</a:t>
            </a:r>
          </a:p>
          <a:p>
            <a:endParaRPr lang="de-DE"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de-DE"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05/24</a:t>
            </a:fld>
            <a:endParaRPr kumimoji="0" lang="de-DE"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de-DE"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de-DE"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7959498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de-DE" sz="1100" dirty="0"/>
              <a:t>https://positionen.wienenergie.at/wissenshub/energie-dashboard/installierte-windkraft-leistung-in-oesterreich/#:~:text=3.500%20MW,von%20weiteren%204.000%20MW%20erfolgen.</a:t>
            </a:r>
          </a:p>
          <a:p>
            <a:pPr marL="0" marR="0" lvl="0" indent="0" algn="l" defTabSz="914400" rtl="0" eaLnBrk="1" fontAlgn="auto" latinLnBrk="0" hangingPunct="1">
              <a:lnSpc>
                <a:spcPct val="100000"/>
              </a:lnSpc>
              <a:spcBef>
                <a:spcPts val="300"/>
              </a:spcBef>
              <a:spcAft>
                <a:spcPts val="300"/>
              </a:spcAft>
              <a:buClrTx/>
              <a:buSzTx/>
              <a:buFontTx/>
              <a:buNone/>
              <a:tabLst/>
              <a:defRPr/>
            </a:pPr>
            <a:r>
              <a:rPr lang="de-DE" sz="1100" dirty="0"/>
              <a:t>https://www.igwindkraft.at/media.php?filename=download%3D%2F2022.03.21%2F164785626240351.pdf&amp;rn=20220214%20Verbesserung%20Genehmigungsverfahren%20UVP%20aus%20Sicht%20der%20IG%20Windkraft.pdf</a:t>
            </a:r>
          </a:p>
          <a:p>
            <a:endParaRPr lang="de-DE"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de-DE"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05/24</a:t>
            </a:fld>
            <a:endParaRPr kumimoji="0" lang="de-DE"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de-DE"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de-DE"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6779228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r>
              <a:rPr lang="de-DE" dirty="0"/>
              <a:t>https://www.wko.at/branchen/bank-versicherung/folien-pk-investitionskosten-transformation.pdf</a:t>
            </a: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de-DE"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05/24</a:t>
            </a:fld>
            <a:endParaRPr kumimoji="0" lang="de-DE"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de-DE"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de-DE"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4773872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de-AT"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de-DE" sz="9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05/24</a:t>
            </a:fld>
            <a:endParaRPr kumimoji="0" lang="de-DE" sz="9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de-DE" sz="9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de-DE" sz="9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Tree>
    <p:extLst>
      <p:ext uri="{BB962C8B-B14F-4D97-AF65-F5344CB8AC3E}">
        <p14:creationId xmlns:p14="http://schemas.microsoft.com/office/powerpoint/2010/main" val="40001820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de-DE"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de-DE" sz="9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05/24</a:t>
            </a:fld>
            <a:endParaRPr kumimoji="0" lang="de-DE" sz="9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de-DE" sz="9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de-DE" sz="9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Tree>
    <p:extLst>
      <p:ext uri="{BB962C8B-B14F-4D97-AF65-F5344CB8AC3E}">
        <p14:creationId xmlns:p14="http://schemas.microsoft.com/office/powerpoint/2010/main" val="4837533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584775"/>
          </a:xfrm>
        </p:spPr>
        <p:txBody>
          <a:bodyPr/>
          <a:lstStyle/>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de-DE" sz="9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05/24</a:t>
            </a:fld>
            <a:endParaRPr kumimoji="0" lang="de-DE" sz="9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de-DE" sz="9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e-DE" sz="9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Tree>
    <p:extLst>
      <p:ext uri="{BB962C8B-B14F-4D97-AF65-F5344CB8AC3E}">
        <p14:creationId xmlns:p14="http://schemas.microsoft.com/office/powerpoint/2010/main" val="2296614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sym typeface="Bahnschrif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 May 2024</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Bahnschrift" panose="020B0502040204020203"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sym typeface="Bahnschrif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Bahnschrift" panose="020B0502040204020203" pitchFamily="34" charset="0"/>
            </a:endParaRPr>
          </a:p>
        </p:txBody>
      </p:sp>
    </p:spTree>
    <p:extLst>
      <p:ext uri="{BB962C8B-B14F-4D97-AF65-F5344CB8AC3E}">
        <p14:creationId xmlns:p14="http://schemas.microsoft.com/office/powerpoint/2010/main" val="36496698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592138"/>
            <a:ext cx="5921375" cy="3332162"/>
          </a:xfrm>
        </p:spPr>
      </p:sp>
      <p:sp>
        <p:nvSpPr>
          <p:cNvPr id="3" name="Notes Placeholder 2"/>
          <p:cNvSpPr>
            <a:spLocks noGrp="1"/>
          </p:cNvSpPr>
          <p:nvPr>
            <p:ph type="body" idx="1"/>
          </p:nvPr>
        </p:nvSpPr>
        <p:spPr>
          <a:xfrm>
            <a:off x="703469" y="4751031"/>
            <a:ext cx="5390736" cy="169277"/>
          </a:xfrm>
        </p:spPr>
        <p:txBody>
          <a:bodyPr/>
          <a:lstStyle/>
          <a:p>
            <a:endParaRPr lang="de-DE"/>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 May 2024</a:t>
            </a:fld>
            <a:endParaRPr kumimoji="0" lang="en-US" sz="900" b="0" i="0" u="none" strike="noStrike" kern="1200" cap="none" spc="0" normalizeH="0" baseline="0" noProof="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900" b="0" i="0" u="none" strike="noStrike" kern="1200" cap="none" spc="0" normalizeH="0" baseline="0" noProof="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Tree>
    <p:extLst>
      <p:ext uri="{BB962C8B-B14F-4D97-AF65-F5344CB8AC3E}">
        <p14:creationId xmlns:p14="http://schemas.microsoft.com/office/powerpoint/2010/main" val="36154745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de-DE"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de-DE" sz="900" b="0" i="0" u="none" strike="noStrike" kern="1200" cap="none" spc="0" normalizeH="0" baseline="0" noProof="0" smtClean="0">
                <a:ln>
                  <a:noFill/>
                </a:ln>
                <a:solidFill>
                  <a:srgbClr val="000000"/>
                </a:solidFill>
                <a:effectLst/>
                <a:uLnTx/>
                <a:uFillTx/>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05/24</a:t>
            </a:fld>
            <a:endParaRPr kumimoji="0" lang="de-DE" sz="900" b="0" i="0" u="none" strike="noStrike" kern="1200" cap="none" spc="0" normalizeH="0" baseline="0" noProof="0" dirty="0">
              <a:ln>
                <a:noFill/>
              </a:ln>
              <a:solidFill>
                <a:srgbClr val="000000"/>
              </a:solidFill>
              <a:effectLst/>
              <a:uLnTx/>
              <a:uFillTx/>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de-DE" sz="900" b="0" i="0" u="none" strike="noStrike" kern="1200" cap="none" spc="0" normalizeH="0" baseline="0" noProof="0" smtClean="0">
                <a:ln>
                  <a:noFill/>
                </a:ln>
                <a:solidFill>
                  <a:srgbClr val="000000"/>
                </a:solidFill>
                <a:effectLst/>
                <a:uLnTx/>
                <a:uFillTx/>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de-DE" sz="900" b="0" i="0" u="none" strike="noStrike" kern="1200" cap="none" spc="0" normalizeH="0" baseline="0" noProof="0" dirty="0">
              <a:ln>
                <a:noFill/>
              </a:ln>
              <a:solidFill>
                <a:srgbClr val="000000"/>
              </a:solidFill>
              <a:effectLst/>
              <a:uLnTx/>
              <a:uFillTx/>
              <a:cs typeface="Arial" panose="020B0604020202020204" pitchFamily="34" charset="0"/>
            </a:endParaRPr>
          </a:p>
        </p:txBody>
      </p:sp>
    </p:spTree>
    <p:extLst>
      <p:ext uri="{BB962C8B-B14F-4D97-AF65-F5344CB8AC3E}">
        <p14:creationId xmlns:p14="http://schemas.microsoft.com/office/powerpoint/2010/main" val="31591942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AT"/>
          </a:p>
        </p:txBody>
      </p:sp>
      <p:sp>
        <p:nvSpPr>
          <p:cNvPr id="4" name="Slide Number Placeholder 3"/>
          <p:cNvSpPr>
            <a:spLocks noGrp="1"/>
          </p:cNvSpPr>
          <p:nvPr>
            <p:ph type="sldNum" sz="quarter" idx="5"/>
          </p:nvPr>
        </p:nvSpPr>
        <p:spPr/>
        <p:txBody>
          <a:bodyPr/>
          <a:lstStyle/>
          <a:p>
            <a:fld id="{B9A639E3-016A-4824-BB4C-FAF1513CE34E}" type="slidenum">
              <a:rPr lang="en-US" smtClean="0"/>
              <a:t>2</a:t>
            </a:fld>
            <a:endParaRPr lang="en-US"/>
          </a:p>
        </p:txBody>
      </p:sp>
    </p:spTree>
    <p:extLst>
      <p:ext uri="{BB962C8B-B14F-4D97-AF65-F5344CB8AC3E}">
        <p14:creationId xmlns:p14="http://schemas.microsoft.com/office/powerpoint/2010/main" val="2811626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de-DE"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de-DE" sz="900" b="0" i="0" u="none" strike="noStrike" kern="1200" cap="none" spc="0" normalizeH="0" baseline="0" noProof="0" smtClean="0">
                <a:ln>
                  <a:noFill/>
                </a:ln>
                <a:solidFill>
                  <a:srgbClr val="000000"/>
                </a:solidFill>
                <a:effectLst/>
                <a:uLnTx/>
                <a:uFillTx/>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05/24</a:t>
            </a:fld>
            <a:endParaRPr kumimoji="0" lang="de-DE" sz="900" b="0" i="0" u="none" strike="noStrike" kern="1200" cap="none" spc="0" normalizeH="0" baseline="0" noProof="0" dirty="0">
              <a:ln>
                <a:noFill/>
              </a:ln>
              <a:solidFill>
                <a:srgbClr val="000000"/>
              </a:solidFill>
              <a:effectLst/>
              <a:uLnTx/>
              <a:uFillTx/>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de-DE" sz="900" b="0" i="0" u="none" strike="noStrike" kern="1200" cap="none" spc="0" normalizeH="0" baseline="0" noProof="0" smtClean="0">
                <a:ln>
                  <a:noFill/>
                </a:ln>
                <a:solidFill>
                  <a:srgbClr val="000000"/>
                </a:solidFill>
                <a:effectLst/>
                <a:uLnTx/>
                <a:uFillTx/>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de-DE" sz="900" b="0" i="0" u="none" strike="noStrike" kern="1200" cap="none" spc="0" normalizeH="0" baseline="0" noProof="0" dirty="0">
              <a:ln>
                <a:noFill/>
              </a:ln>
              <a:solidFill>
                <a:srgbClr val="000000"/>
              </a:solidFill>
              <a:effectLst/>
              <a:uLnTx/>
              <a:uFillTx/>
              <a:cs typeface="Arial" panose="020B0604020202020204" pitchFamily="34" charset="0"/>
            </a:endParaRPr>
          </a:p>
        </p:txBody>
      </p:sp>
    </p:spTree>
    <p:extLst>
      <p:ext uri="{BB962C8B-B14F-4D97-AF65-F5344CB8AC3E}">
        <p14:creationId xmlns:p14="http://schemas.microsoft.com/office/powerpoint/2010/main" val="5032678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8188" y="558800"/>
            <a:ext cx="5586412" cy="3143250"/>
          </a:xfrm>
        </p:spPr>
      </p:sp>
      <p:sp>
        <p:nvSpPr>
          <p:cNvPr id="3" name="Notes Placeholder 2"/>
          <p:cNvSpPr>
            <a:spLocks noGrp="1"/>
          </p:cNvSpPr>
          <p:nvPr>
            <p:ph type="body" idx="1"/>
          </p:nvPr>
        </p:nvSpPr>
        <p:spPr>
          <a:xfrm>
            <a:off x="699533" y="4712198"/>
            <a:ext cx="5360567" cy="167893"/>
          </a:xfrm>
        </p:spPr>
        <p:txBody>
          <a:bodyPr/>
          <a:lstStyle/>
          <a:p>
            <a:endParaRPr lang="en-GB"/>
          </a:p>
        </p:txBody>
      </p:sp>
      <p:sp>
        <p:nvSpPr>
          <p:cNvPr id="4" name="Date Placeholder 3"/>
          <p:cNvSpPr>
            <a:spLocks noGrp="1"/>
          </p:cNvSpPr>
          <p:nvPr>
            <p:ph type="dt" idx="1"/>
          </p:nvPr>
        </p:nvSpPr>
        <p:spPr/>
        <p:txBody>
          <a:bodyPr/>
          <a:lstStyle/>
          <a:p>
            <a:pPr marL="0" marR="0" lvl="0" indent="0" algn="r" defTabSz="90425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sym typeface="Bahnschrift" panose="020B0502040204020203" pitchFamily="34" charset="0"/>
              </a:rPr>
              <a:pPr marL="0" marR="0" lvl="0" indent="0" algn="r" defTabSz="904250" rtl="0" eaLnBrk="1" fontAlgn="auto" latinLnBrk="0" hangingPunct="1">
                <a:lnSpc>
                  <a:spcPct val="100000"/>
                </a:lnSpc>
                <a:spcBef>
                  <a:spcPts val="0"/>
                </a:spcBef>
                <a:spcAft>
                  <a:spcPts val="0"/>
                </a:spcAft>
                <a:buClrTx/>
                <a:buSzTx/>
                <a:buFontTx/>
                <a:buNone/>
                <a:tabLst/>
                <a:defRPr/>
              </a:pPr>
              <a:t>27 May 202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sym typeface="Bahnschrift" panose="020B0502040204020203" pitchFamily="34" charset="0"/>
            </a:endParaRPr>
          </a:p>
        </p:txBody>
      </p:sp>
      <p:sp>
        <p:nvSpPr>
          <p:cNvPr id="5" name="Slide Number Placeholder 4"/>
          <p:cNvSpPr>
            <a:spLocks noGrp="1"/>
          </p:cNvSpPr>
          <p:nvPr>
            <p:ph type="sldNum" sz="quarter" idx="5"/>
          </p:nvPr>
        </p:nvSpPr>
        <p:spPr/>
        <p:txBody>
          <a:bodyPr/>
          <a:lstStyle/>
          <a:p>
            <a:pPr marL="0" marR="0" lvl="0" indent="0" algn="r" defTabSz="90425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sym typeface="Bahnschrift" panose="020B0502040204020203" pitchFamily="34" charset="0"/>
              </a:rPr>
              <a:pPr marL="0" marR="0" lvl="0" indent="0" algn="r" defTabSz="904250" rtl="0" eaLnBrk="1" fontAlgn="auto" latinLnBrk="0" hangingPunct="1">
                <a:lnSpc>
                  <a:spcPct val="100000"/>
                </a:lnSpc>
                <a:spcBef>
                  <a:spcPts val="0"/>
                </a:spcBef>
                <a:spcAft>
                  <a:spcPts val="0"/>
                </a:spcAft>
                <a:buClrTx/>
                <a:buSzTx/>
                <a:buFontTx/>
                <a:buNone/>
                <a:tabLst/>
                <a:defRPr/>
              </a:pPr>
              <a:t>28</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sym typeface="Bahnschrift" panose="020B0502040204020203" pitchFamily="34" charset="0"/>
            </a:endParaRPr>
          </a:p>
        </p:txBody>
      </p:sp>
    </p:spTree>
    <p:extLst>
      <p:ext uri="{BB962C8B-B14F-4D97-AF65-F5344CB8AC3E}">
        <p14:creationId xmlns:p14="http://schemas.microsoft.com/office/powerpoint/2010/main" val="5020678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B9A639E3-016A-4824-BB4C-FAF1513CE34E}" type="slidenum">
              <a:rPr lang="en-US" smtClean="0"/>
              <a:t>29</a:t>
            </a:fld>
            <a:endParaRPr lang="en-US"/>
          </a:p>
        </p:txBody>
      </p:sp>
    </p:spTree>
    <p:extLst>
      <p:ext uri="{BB962C8B-B14F-4D97-AF65-F5344CB8AC3E}">
        <p14:creationId xmlns:p14="http://schemas.microsoft.com/office/powerpoint/2010/main" val="31808245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9532" y="4712198"/>
            <a:ext cx="5360567" cy="167893"/>
          </a:xfrm>
        </p:spPr>
        <p:txBody>
          <a:bodyPr/>
          <a:lstStyle/>
          <a:p>
            <a:endParaRPr lang="de-DE"/>
          </a:p>
        </p:txBody>
      </p:sp>
      <p:sp>
        <p:nvSpPr>
          <p:cNvPr id="4" name="Date Placeholder 3"/>
          <p:cNvSpPr>
            <a:spLocks noGrp="1"/>
          </p:cNvSpPr>
          <p:nvPr>
            <p:ph type="dt" idx="1"/>
          </p:nvPr>
        </p:nvSpPr>
        <p:spPr/>
        <p:txBody>
          <a:bodyPr/>
          <a:lstStyle/>
          <a:p>
            <a:fld id="{1DF34805-1F01-4BDA-A8CA-FCEA2B4BC8D0}" type="datetime3">
              <a:rPr lang="de-DE" smtClean="0"/>
              <a:pPr/>
              <a:t>27/05/24</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30</a:t>
            </a:fld>
            <a:endParaRPr lang="de-DE" dirty="0"/>
          </a:p>
        </p:txBody>
      </p:sp>
    </p:spTree>
    <p:extLst>
      <p:ext uri="{BB962C8B-B14F-4D97-AF65-F5344CB8AC3E}">
        <p14:creationId xmlns:p14="http://schemas.microsoft.com/office/powerpoint/2010/main" val="22901401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AT"/>
          </a:p>
        </p:txBody>
      </p:sp>
      <p:sp>
        <p:nvSpPr>
          <p:cNvPr id="4" name="Slide Number Placeholder 3"/>
          <p:cNvSpPr>
            <a:spLocks noGrp="1"/>
          </p:cNvSpPr>
          <p:nvPr>
            <p:ph type="sldNum" sz="quarter" idx="5"/>
          </p:nvPr>
        </p:nvSpPr>
        <p:spPr/>
        <p:txBody>
          <a:bodyPr/>
          <a:lstStyle/>
          <a:p>
            <a:fld id="{B9A639E3-016A-4824-BB4C-FAF1513CE34E}" type="slidenum">
              <a:rPr lang="en-US" smtClean="0"/>
              <a:t>32</a:t>
            </a:fld>
            <a:endParaRPr lang="en-US"/>
          </a:p>
        </p:txBody>
      </p:sp>
    </p:spTree>
    <p:extLst>
      <p:ext uri="{BB962C8B-B14F-4D97-AF65-F5344CB8AC3E}">
        <p14:creationId xmlns:p14="http://schemas.microsoft.com/office/powerpoint/2010/main" val="41976818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699532" y="4712198"/>
            <a:ext cx="5360567" cy="167893"/>
          </a:xfrm>
        </p:spPr>
        <p:txBody>
          <a:bodyPr/>
          <a:lstStyle/>
          <a:p>
            <a:endParaRPr lang="de-DE"/>
          </a:p>
        </p:txBody>
      </p:sp>
      <p:sp>
        <p:nvSpPr>
          <p:cNvPr id="4" name="Date Placeholder 3"/>
          <p:cNvSpPr>
            <a:spLocks noGrp="1"/>
          </p:cNvSpPr>
          <p:nvPr>
            <p:ph type="dt" idx="1"/>
          </p:nvPr>
        </p:nvSpPr>
        <p:spPr/>
        <p:txBody>
          <a:bodyPr/>
          <a:lstStyle/>
          <a:p>
            <a:pPr marL="0" marR="0" lvl="0" indent="0" algn="r" defTabSz="908274" rtl="0" eaLnBrk="1" fontAlgn="auto" latinLnBrk="0" hangingPunct="1">
              <a:lnSpc>
                <a:spcPct val="100000"/>
              </a:lnSpc>
              <a:spcBef>
                <a:spcPts val="0"/>
              </a:spcBef>
              <a:spcAft>
                <a:spcPts val="0"/>
              </a:spcAft>
              <a:buClrTx/>
              <a:buSzTx/>
              <a:buFontTx/>
              <a:buNone/>
              <a:tabLst/>
              <a:defRPr/>
            </a:pPr>
            <a:fld id="{1DF34805-1F01-4BDA-A8CA-FCEA2B4BC8D0}" type="datetime3">
              <a:rPr kumimoji="0" lang="de-DE"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pPr marL="0" marR="0" lvl="0" indent="0" algn="r" defTabSz="908274" rtl="0" eaLnBrk="1" fontAlgn="auto" latinLnBrk="0" hangingPunct="1">
                <a:lnSpc>
                  <a:spcPct val="100000"/>
                </a:lnSpc>
                <a:spcBef>
                  <a:spcPts val="0"/>
                </a:spcBef>
                <a:spcAft>
                  <a:spcPts val="0"/>
                </a:spcAft>
                <a:buClrTx/>
                <a:buSzTx/>
                <a:buFontTx/>
                <a:buNone/>
                <a:tabLst/>
                <a:defRPr/>
              </a:pPr>
              <a:t>27/05/24</a:t>
            </a:fld>
            <a:endParaRPr kumimoji="0" lang="de-DE"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08274" rtl="0" eaLnBrk="1" fontAlgn="auto" latinLnBrk="0" hangingPunct="1">
              <a:lnSpc>
                <a:spcPct val="100000"/>
              </a:lnSpc>
              <a:spcBef>
                <a:spcPts val="0"/>
              </a:spcBef>
              <a:spcAft>
                <a:spcPts val="0"/>
              </a:spcAft>
              <a:buClrTx/>
              <a:buSzTx/>
              <a:buFontTx/>
              <a:buNone/>
              <a:tabLst/>
              <a:defRPr/>
            </a:pPr>
            <a:fld id="{CF5EBCF4-26FC-4F76-8DA1-52FDDC328D44}" type="slidenum">
              <a:rPr kumimoji="0" lang="de-DE"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pPr marL="0" marR="0" lvl="0" indent="0" algn="r" defTabSz="908274" rtl="0" eaLnBrk="1" fontAlgn="auto" latinLnBrk="0" hangingPunct="1">
                <a:lnSpc>
                  <a:spcPct val="100000"/>
                </a:lnSpc>
                <a:spcBef>
                  <a:spcPts val="0"/>
                </a:spcBef>
                <a:spcAft>
                  <a:spcPts val="0"/>
                </a:spcAft>
                <a:buClrTx/>
                <a:buSzTx/>
                <a:buFontTx/>
                <a:buNone/>
                <a:tabLst/>
                <a:defRPr/>
              </a:pPr>
              <a:t>3</a:t>
            </a:fld>
            <a:endParaRPr kumimoji="0" lang="de-DE"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6989429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3469" y="4751031"/>
            <a:ext cx="5390736" cy="169277"/>
          </a:xfrm>
        </p:spPr>
        <p:txBody>
          <a:bodyPr/>
          <a:lstStyle/>
          <a:p>
            <a:endParaRPr lang="de-DE"/>
          </a:p>
        </p:txBody>
      </p:sp>
      <p:sp>
        <p:nvSpPr>
          <p:cNvPr id="4" name="Date Placeholder 3"/>
          <p:cNvSpPr>
            <a:spLocks noGrp="1"/>
          </p:cNvSpPr>
          <p:nvPr>
            <p:ph type="dt" idx="1"/>
          </p:nvPr>
        </p:nvSpPr>
        <p:spPr/>
        <p:txBody>
          <a:bodyPr/>
          <a:lstStyle/>
          <a:p>
            <a:fld id="{1DF34805-1F01-4BDA-A8CA-FCEA2B4BC8D0}" type="datetime3">
              <a:rPr lang="de-DE" smtClean="0"/>
              <a:pPr/>
              <a:t>27/05/24</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9</a:t>
            </a:fld>
            <a:endParaRPr lang="de-DE" dirty="0"/>
          </a:p>
        </p:txBody>
      </p:sp>
    </p:spTree>
    <p:extLst>
      <p:ext uri="{BB962C8B-B14F-4D97-AF65-F5344CB8AC3E}">
        <p14:creationId xmlns:p14="http://schemas.microsoft.com/office/powerpoint/2010/main" val="2297451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Date Placeholder 3"/>
          <p:cNvSpPr>
            <a:spLocks noGrp="1"/>
          </p:cNvSpPr>
          <p:nvPr>
            <p:ph type="dt" idx="1"/>
          </p:nvPr>
        </p:nvSpPr>
        <p:spPr/>
        <p:txBody>
          <a:bodyPr/>
          <a:lstStyle/>
          <a:p>
            <a:pPr defTabSz="908274">
              <a:defRPr/>
            </a:pPr>
            <a:fld id="{1DF34805-1F01-4BDA-A8CA-FCEA2B4BC8D0}" type="datetime3">
              <a:rPr lang="de-DE">
                <a:solidFill>
                  <a:prstClr val="black"/>
                </a:solidFill>
              </a:rPr>
              <a:pPr defTabSz="908274">
                <a:defRPr/>
              </a:pPr>
              <a:t>27/05/24</a:t>
            </a:fld>
            <a:endParaRPr lang="de-DE" dirty="0">
              <a:solidFill>
                <a:prstClr val="black"/>
              </a:solidFill>
            </a:endParaRPr>
          </a:p>
        </p:txBody>
      </p:sp>
      <p:sp>
        <p:nvSpPr>
          <p:cNvPr id="5" name="Slide Number Placeholder 4"/>
          <p:cNvSpPr>
            <a:spLocks noGrp="1"/>
          </p:cNvSpPr>
          <p:nvPr>
            <p:ph type="sldNum" sz="quarter" idx="5"/>
          </p:nvPr>
        </p:nvSpPr>
        <p:spPr/>
        <p:txBody>
          <a:bodyPr/>
          <a:lstStyle/>
          <a:p>
            <a:pPr defTabSz="908274">
              <a:defRPr/>
            </a:pPr>
            <a:fld id="{CF5EBCF4-26FC-4F76-8DA1-52FDDC328D44}" type="slidenum">
              <a:rPr lang="de-DE">
                <a:solidFill>
                  <a:prstClr val="black"/>
                </a:solidFill>
              </a:rPr>
              <a:pPr defTabSz="908274">
                <a:defRPr/>
              </a:pPr>
              <a:t>10</a:t>
            </a:fld>
            <a:endParaRPr lang="de-DE" dirty="0">
              <a:solidFill>
                <a:prstClr val="black"/>
              </a:solidFill>
            </a:endParaRPr>
          </a:p>
        </p:txBody>
      </p:sp>
    </p:spTree>
    <p:extLst>
      <p:ext uri="{BB962C8B-B14F-4D97-AF65-F5344CB8AC3E}">
        <p14:creationId xmlns:p14="http://schemas.microsoft.com/office/powerpoint/2010/main" val="9566188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9532" y="4712198"/>
            <a:ext cx="5360567" cy="167893"/>
          </a:xfrm>
        </p:spPr>
        <p:txBody>
          <a:bodyPr/>
          <a:lstStyle/>
          <a:p>
            <a:endParaRPr lang="de-DE"/>
          </a:p>
        </p:txBody>
      </p:sp>
      <p:sp>
        <p:nvSpPr>
          <p:cNvPr id="4" name="Date Placeholder 3"/>
          <p:cNvSpPr>
            <a:spLocks noGrp="1"/>
          </p:cNvSpPr>
          <p:nvPr>
            <p:ph type="dt" idx="1"/>
          </p:nvPr>
        </p:nvSpPr>
        <p:spPr/>
        <p:txBody>
          <a:bodyPr/>
          <a:lstStyle/>
          <a:p>
            <a:fld id="{1DF34805-1F01-4BDA-A8CA-FCEA2B4BC8D0}" type="datetime3">
              <a:rPr lang="de-DE" smtClean="0"/>
              <a:pPr/>
              <a:t>27/05/24</a:t>
            </a:fld>
            <a:endParaRPr lang="de-DE" dirty="0"/>
          </a:p>
        </p:txBody>
      </p:sp>
      <p:sp>
        <p:nvSpPr>
          <p:cNvPr id="5" name="Slide Number Placeholder 4"/>
          <p:cNvSpPr>
            <a:spLocks noGrp="1"/>
          </p:cNvSpPr>
          <p:nvPr>
            <p:ph type="sldNum" sz="quarter" idx="5"/>
          </p:nvPr>
        </p:nvSpPr>
        <p:spPr/>
        <p:txBody>
          <a:bodyPr/>
          <a:lstStyle/>
          <a:p>
            <a:fld id="{CF5EBCF4-26FC-4F76-8DA1-52FDDC328D44}" type="slidenum">
              <a:rPr lang="de-DE" smtClean="0"/>
              <a:pPr/>
              <a:t>11</a:t>
            </a:fld>
            <a:endParaRPr lang="de-DE" dirty="0"/>
          </a:p>
        </p:txBody>
      </p:sp>
    </p:spTree>
    <p:extLst>
      <p:ext uri="{BB962C8B-B14F-4D97-AF65-F5344CB8AC3E}">
        <p14:creationId xmlns:p14="http://schemas.microsoft.com/office/powerpoint/2010/main" val="34576922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9533" y="4712198"/>
            <a:ext cx="5360567" cy="167893"/>
          </a:xfrm>
        </p:spPr>
        <p:txBody>
          <a:bodyPr/>
          <a:lstStyle/>
          <a:p>
            <a:endParaRPr lang="de-DE"/>
          </a:p>
        </p:txBody>
      </p:sp>
      <p:sp>
        <p:nvSpPr>
          <p:cNvPr id="4" name="Date Placeholder 3"/>
          <p:cNvSpPr>
            <a:spLocks noGrp="1"/>
          </p:cNvSpPr>
          <p:nvPr>
            <p:ph type="dt" idx="1"/>
          </p:nvPr>
        </p:nvSpPr>
        <p:spPr/>
        <p:txBody>
          <a:bodyPr/>
          <a:lstStyle/>
          <a:p>
            <a:pPr marL="0" marR="0" lvl="0" indent="0" algn="r" defTabSz="904250" rtl="0" eaLnBrk="1" fontAlgn="auto" latinLnBrk="0" hangingPunct="1">
              <a:lnSpc>
                <a:spcPct val="100000"/>
              </a:lnSpc>
              <a:spcBef>
                <a:spcPts val="0"/>
              </a:spcBef>
              <a:spcAft>
                <a:spcPts val="0"/>
              </a:spcAft>
              <a:buClrTx/>
              <a:buSzTx/>
              <a:buFontTx/>
              <a:buNone/>
              <a:tabLst/>
              <a:defRPr/>
            </a:pPr>
            <a:fld id="{1DF34805-1F01-4BDA-A8CA-FCEA2B4BC8D0}" type="datetime3">
              <a:rPr kumimoji="0" lang="de-DE"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pPr marL="0" marR="0" lvl="0" indent="0" algn="r" defTabSz="904250" rtl="0" eaLnBrk="1" fontAlgn="auto" latinLnBrk="0" hangingPunct="1">
                <a:lnSpc>
                  <a:spcPct val="100000"/>
                </a:lnSpc>
                <a:spcBef>
                  <a:spcPts val="0"/>
                </a:spcBef>
                <a:spcAft>
                  <a:spcPts val="0"/>
                </a:spcAft>
                <a:buClrTx/>
                <a:buSzTx/>
                <a:buFontTx/>
                <a:buNone/>
                <a:tabLst/>
                <a:defRPr/>
              </a:pPr>
              <a:t>27/05/24</a:t>
            </a:fld>
            <a:endParaRPr kumimoji="0" lang="de-DE"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04250" rtl="0" eaLnBrk="1" fontAlgn="auto" latinLnBrk="0" hangingPunct="1">
              <a:lnSpc>
                <a:spcPct val="100000"/>
              </a:lnSpc>
              <a:spcBef>
                <a:spcPts val="0"/>
              </a:spcBef>
              <a:spcAft>
                <a:spcPts val="0"/>
              </a:spcAft>
              <a:buClrTx/>
              <a:buSzTx/>
              <a:buFontTx/>
              <a:buNone/>
              <a:tabLst/>
              <a:defRPr/>
            </a:pPr>
            <a:fld id="{CF5EBCF4-26FC-4F76-8DA1-52FDDC328D44}" type="slidenum">
              <a:rPr kumimoji="0" lang="de-DE"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pPr marL="0" marR="0" lvl="0" indent="0" algn="r" defTabSz="904250" rtl="0" eaLnBrk="1" fontAlgn="auto" latinLnBrk="0" hangingPunct="1">
                <a:lnSpc>
                  <a:spcPct val="100000"/>
                </a:lnSpc>
                <a:spcBef>
                  <a:spcPts val="0"/>
                </a:spcBef>
                <a:spcAft>
                  <a:spcPts val="0"/>
                </a:spcAft>
                <a:buClrTx/>
                <a:buSzTx/>
                <a:buFontTx/>
                <a:buNone/>
                <a:tabLst/>
                <a:defRPr/>
              </a:pPr>
              <a:t>12</a:t>
            </a:fld>
            <a:endParaRPr kumimoji="0" lang="de-DE"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6855447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r>
              <a:rPr lang="de-AT" dirty="0"/>
              <a:t>https://www.handelsblatt.com/unternehmen/industrie/schwerindustrie-wasserstoff-statt-kohle-mit-diesen-problemen-kaempft-stahlhersteller-voestalpine-beim-umbau/28312186.htm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A639E3-016A-4824-BB4C-FAF1513CE34E}"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6418763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de-DE" dirty="0"/>
              <a:t>https://www.klimaaktiv.at/erneuerbare/biogas/eag0.html</a:t>
            </a:r>
          </a:p>
          <a:p>
            <a:endParaRPr lang="de-DE"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de-DE"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05/24</a:t>
            </a:fld>
            <a:endParaRPr kumimoji="0" lang="de-DE"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de-DE"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DE"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6222950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w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7.xml"/><Relationship Id="rId1" Type="http://schemas.openxmlformats.org/officeDocument/2006/relationships/tags" Target="../tags/tag661.xml"/><Relationship Id="rId4" Type="http://schemas.openxmlformats.org/officeDocument/2006/relationships/image" Target="../media/image1.emf"/></Relationships>
</file>

<file path=ppt/slideLayouts/_rels/slideLayout101.xml.rels><?xml version="1.0" encoding="UTF-8" standalone="yes"?>
<Relationships xmlns="http://schemas.openxmlformats.org/package/2006/relationships"><Relationship Id="rId8" Type="http://schemas.openxmlformats.org/officeDocument/2006/relationships/oleObject" Target="../embeddings/oleObject97.bin"/><Relationship Id="rId3" Type="http://schemas.openxmlformats.org/officeDocument/2006/relationships/tags" Target="../tags/tag684.xml"/><Relationship Id="rId7" Type="http://schemas.openxmlformats.org/officeDocument/2006/relationships/slideMaster" Target="../slideMasters/slideMaster8.xml"/><Relationship Id="rId2" Type="http://schemas.openxmlformats.org/officeDocument/2006/relationships/tags" Target="../tags/tag683.xml"/><Relationship Id="rId1" Type="http://schemas.openxmlformats.org/officeDocument/2006/relationships/tags" Target="../tags/tag682.xml"/><Relationship Id="rId6" Type="http://schemas.openxmlformats.org/officeDocument/2006/relationships/tags" Target="../tags/tag687.xml"/><Relationship Id="rId5" Type="http://schemas.openxmlformats.org/officeDocument/2006/relationships/tags" Target="../tags/tag686.xml"/><Relationship Id="rId10" Type="http://schemas.openxmlformats.org/officeDocument/2006/relationships/image" Target="../media/image2.wmf"/><Relationship Id="rId4" Type="http://schemas.openxmlformats.org/officeDocument/2006/relationships/tags" Target="../tags/tag685.xml"/><Relationship Id="rId9" Type="http://schemas.openxmlformats.org/officeDocument/2006/relationships/image" Target="../media/image5.emf"/></Relationships>
</file>

<file path=ppt/slideLayouts/_rels/slideLayout102.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690.xml"/><Relationship Id="rId7" Type="http://schemas.openxmlformats.org/officeDocument/2006/relationships/tags" Target="../tags/tag694.xml"/><Relationship Id="rId2" Type="http://schemas.openxmlformats.org/officeDocument/2006/relationships/tags" Target="../tags/tag689.xml"/><Relationship Id="rId1" Type="http://schemas.openxmlformats.org/officeDocument/2006/relationships/tags" Target="../tags/tag688.xml"/><Relationship Id="rId6" Type="http://schemas.openxmlformats.org/officeDocument/2006/relationships/tags" Target="../tags/tag693.xml"/><Relationship Id="rId11" Type="http://schemas.openxmlformats.org/officeDocument/2006/relationships/image" Target="../media/image2.wmf"/><Relationship Id="rId5" Type="http://schemas.openxmlformats.org/officeDocument/2006/relationships/tags" Target="../tags/tag692.xml"/><Relationship Id="rId10" Type="http://schemas.openxmlformats.org/officeDocument/2006/relationships/image" Target="../media/image3.emf"/><Relationship Id="rId4" Type="http://schemas.openxmlformats.org/officeDocument/2006/relationships/tags" Target="../tags/tag691.xml"/><Relationship Id="rId9" Type="http://schemas.openxmlformats.org/officeDocument/2006/relationships/oleObject" Target="../embeddings/oleObject98.bin"/></Relationships>
</file>

<file path=ppt/slideLayouts/_rels/slideLayout103.xml.rels><?xml version="1.0" encoding="UTF-8" standalone="yes"?>
<Relationships xmlns="http://schemas.openxmlformats.org/package/2006/relationships"><Relationship Id="rId8" Type="http://schemas.openxmlformats.org/officeDocument/2006/relationships/oleObject" Target="../embeddings/oleObject99.bin"/><Relationship Id="rId3" Type="http://schemas.openxmlformats.org/officeDocument/2006/relationships/tags" Target="../tags/tag697.xml"/><Relationship Id="rId7" Type="http://schemas.openxmlformats.org/officeDocument/2006/relationships/slideMaster" Target="../slideMasters/slideMaster8.xml"/><Relationship Id="rId2" Type="http://schemas.openxmlformats.org/officeDocument/2006/relationships/tags" Target="../tags/tag696.xml"/><Relationship Id="rId1" Type="http://schemas.openxmlformats.org/officeDocument/2006/relationships/tags" Target="../tags/tag695.xml"/><Relationship Id="rId6" Type="http://schemas.openxmlformats.org/officeDocument/2006/relationships/tags" Target="../tags/tag700.xml"/><Relationship Id="rId5" Type="http://schemas.openxmlformats.org/officeDocument/2006/relationships/tags" Target="../tags/tag699.xml"/><Relationship Id="rId10" Type="http://schemas.openxmlformats.org/officeDocument/2006/relationships/image" Target="../media/image2.wmf"/><Relationship Id="rId4" Type="http://schemas.openxmlformats.org/officeDocument/2006/relationships/tags" Target="../tags/tag698.xml"/><Relationship Id="rId9" Type="http://schemas.openxmlformats.org/officeDocument/2006/relationships/image" Target="../media/image5.emf"/></Relationships>
</file>

<file path=ppt/slideLayouts/_rels/slideLayout104.xml.rels><?xml version="1.0" encoding="UTF-8" standalone="yes"?>
<Relationships xmlns="http://schemas.openxmlformats.org/package/2006/relationships"><Relationship Id="rId8" Type="http://schemas.openxmlformats.org/officeDocument/2006/relationships/oleObject" Target="../embeddings/oleObject100.bin"/><Relationship Id="rId3" Type="http://schemas.openxmlformats.org/officeDocument/2006/relationships/tags" Target="../tags/tag703.xml"/><Relationship Id="rId7" Type="http://schemas.openxmlformats.org/officeDocument/2006/relationships/slideMaster" Target="../slideMasters/slideMaster8.xml"/><Relationship Id="rId2" Type="http://schemas.openxmlformats.org/officeDocument/2006/relationships/tags" Target="../tags/tag702.xml"/><Relationship Id="rId1" Type="http://schemas.openxmlformats.org/officeDocument/2006/relationships/tags" Target="../tags/tag701.xml"/><Relationship Id="rId6" Type="http://schemas.openxmlformats.org/officeDocument/2006/relationships/tags" Target="../tags/tag706.xml"/><Relationship Id="rId5" Type="http://schemas.openxmlformats.org/officeDocument/2006/relationships/tags" Target="../tags/tag705.xml"/><Relationship Id="rId10" Type="http://schemas.openxmlformats.org/officeDocument/2006/relationships/image" Target="../media/image2.wmf"/><Relationship Id="rId4" Type="http://schemas.openxmlformats.org/officeDocument/2006/relationships/tags" Target="../tags/tag704.xml"/><Relationship Id="rId9" Type="http://schemas.openxmlformats.org/officeDocument/2006/relationships/image" Target="../media/image5.emf"/></Relationships>
</file>

<file path=ppt/slideLayouts/_rels/slideLayout105.xml.rels><?xml version="1.0" encoding="UTF-8" standalone="yes"?>
<Relationships xmlns="http://schemas.openxmlformats.org/package/2006/relationships"><Relationship Id="rId8" Type="http://schemas.openxmlformats.org/officeDocument/2006/relationships/oleObject" Target="../embeddings/oleObject101.bin"/><Relationship Id="rId3" Type="http://schemas.openxmlformats.org/officeDocument/2006/relationships/tags" Target="../tags/tag709.xml"/><Relationship Id="rId7" Type="http://schemas.openxmlformats.org/officeDocument/2006/relationships/slideMaster" Target="../slideMasters/slideMaster8.xml"/><Relationship Id="rId2" Type="http://schemas.openxmlformats.org/officeDocument/2006/relationships/tags" Target="../tags/tag708.xml"/><Relationship Id="rId1" Type="http://schemas.openxmlformats.org/officeDocument/2006/relationships/tags" Target="../tags/tag707.xml"/><Relationship Id="rId6" Type="http://schemas.openxmlformats.org/officeDocument/2006/relationships/tags" Target="../tags/tag712.xml"/><Relationship Id="rId5" Type="http://schemas.openxmlformats.org/officeDocument/2006/relationships/tags" Target="../tags/tag711.xml"/><Relationship Id="rId10" Type="http://schemas.openxmlformats.org/officeDocument/2006/relationships/image" Target="../media/image2.wmf"/><Relationship Id="rId4" Type="http://schemas.openxmlformats.org/officeDocument/2006/relationships/tags" Target="../tags/tag710.xml"/><Relationship Id="rId9" Type="http://schemas.openxmlformats.org/officeDocument/2006/relationships/image" Target="../media/image5.emf"/></Relationships>
</file>

<file path=ppt/slideLayouts/_rels/slideLayout106.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715.xml"/><Relationship Id="rId7" Type="http://schemas.openxmlformats.org/officeDocument/2006/relationships/tags" Target="../tags/tag719.xml"/><Relationship Id="rId2" Type="http://schemas.openxmlformats.org/officeDocument/2006/relationships/tags" Target="../tags/tag714.xml"/><Relationship Id="rId1" Type="http://schemas.openxmlformats.org/officeDocument/2006/relationships/tags" Target="../tags/tag713.xml"/><Relationship Id="rId6" Type="http://schemas.openxmlformats.org/officeDocument/2006/relationships/tags" Target="../tags/tag718.xml"/><Relationship Id="rId11" Type="http://schemas.openxmlformats.org/officeDocument/2006/relationships/image" Target="../media/image2.wmf"/><Relationship Id="rId5" Type="http://schemas.openxmlformats.org/officeDocument/2006/relationships/tags" Target="../tags/tag717.xml"/><Relationship Id="rId10" Type="http://schemas.openxmlformats.org/officeDocument/2006/relationships/image" Target="../media/image5.emf"/><Relationship Id="rId4" Type="http://schemas.openxmlformats.org/officeDocument/2006/relationships/tags" Target="../tags/tag716.xml"/><Relationship Id="rId9" Type="http://schemas.openxmlformats.org/officeDocument/2006/relationships/oleObject" Target="../embeddings/oleObject102.bin"/></Relationships>
</file>

<file path=ppt/slideLayouts/_rels/slideLayout107.xml.rels><?xml version="1.0" encoding="UTF-8" standalone="yes"?>
<Relationships xmlns="http://schemas.openxmlformats.org/package/2006/relationships"><Relationship Id="rId8" Type="http://schemas.openxmlformats.org/officeDocument/2006/relationships/tags" Target="../tags/tag727.xml"/><Relationship Id="rId3" Type="http://schemas.openxmlformats.org/officeDocument/2006/relationships/tags" Target="../tags/tag722.xml"/><Relationship Id="rId7" Type="http://schemas.openxmlformats.org/officeDocument/2006/relationships/tags" Target="../tags/tag726.xml"/><Relationship Id="rId12" Type="http://schemas.openxmlformats.org/officeDocument/2006/relationships/image" Target="../media/image2.wmf"/><Relationship Id="rId2" Type="http://schemas.openxmlformats.org/officeDocument/2006/relationships/tags" Target="../tags/tag721.xml"/><Relationship Id="rId1" Type="http://schemas.openxmlformats.org/officeDocument/2006/relationships/tags" Target="../tags/tag720.xml"/><Relationship Id="rId6" Type="http://schemas.openxmlformats.org/officeDocument/2006/relationships/tags" Target="../tags/tag725.xml"/><Relationship Id="rId11" Type="http://schemas.openxmlformats.org/officeDocument/2006/relationships/image" Target="../media/image3.emf"/><Relationship Id="rId5" Type="http://schemas.openxmlformats.org/officeDocument/2006/relationships/tags" Target="../tags/tag724.xml"/><Relationship Id="rId10" Type="http://schemas.openxmlformats.org/officeDocument/2006/relationships/oleObject" Target="../embeddings/oleObject103.bin"/><Relationship Id="rId4" Type="http://schemas.openxmlformats.org/officeDocument/2006/relationships/tags" Target="../tags/tag723.xml"/><Relationship Id="rId9"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8" Type="http://schemas.openxmlformats.org/officeDocument/2006/relationships/tags" Target="../tags/tag735.xml"/><Relationship Id="rId3" Type="http://schemas.openxmlformats.org/officeDocument/2006/relationships/tags" Target="../tags/tag730.xml"/><Relationship Id="rId7" Type="http://schemas.openxmlformats.org/officeDocument/2006/relationships/tags" Target="../tags/tag734.xml"/><Relationship Id="rId12" Type="http://schemas.openxmlformats.org/officeDocument/2006/relationships/image" Target="../media/image2.wmf"/><Relationship Id="rId2" Type="http://schemas.openxmlformats.org/officeDocument/2006/relationships/tags" Target="../tags/tag729.xml"/><Relationship Id="rId1" Type="http://schemas.openxmlformats.org/officeDocument/2006/relationships/tags" Target="../tags/tag728.xml"/><Relationship Id="rId6" Type="http://schemas.openxmlformats.org/officeDocument/2006/relationships/tags" Target="../tags/tag733.xml"/><Relationship Id="rId11" Type="http://schemas.openxmlformats.org/officeDocument/2006/relationships/image" Target="../media/image3.emf"/><Relationship Id="rId5" Type="http://schemas.openxmlformats.org/officeDocument/2006/relationships/tags" Target="../tags/tag732.xml"/><Relationship Id="rId10" Type="http://schemas.openxmlformats.org/officeDocument/2006/relationships/oleObject" Target="../embeddings/oleObject104.bin"/><Relationship Id="rId4" Type="http://schemas.openxmlformats.org/officeDocument/2006/relationships/tags" Target="../tags/tag731.xml"/><Relationship Id="rId9"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743.xml"/><Relationship Id="rId3" Type="http://schemas.openxmlformats.org/officeDocument/2006/relationships/tags" Target="../tags/tag738.xml"/><Relationship Id="rId7" Type="http://schemas.openxmlformats.org/officeDocument/2006/relationships/tags" Target="../tags/tag742.xml"/><Relationship Id="rId12" Type="http://schemas.openxmlformats.org/officeDocument/2006/relationships/image" Target="../media/image2.wmf"/><Relationship Id="rId2" Type="http://schemas.openxmlformats.org/officeDocument/2006/relationships/tags" Target="../tags/tag737.xml"/><Relationship Id="rId1" Type="http://schemas.openxmlformats.org/officeDocument/2006/relationships/tags" Target="../tags/tag736.xml"/><Relationship Id="rId6" Type="http://schemas.openxmlformats.org/officeDocument/2006/relationships/tags" Target="../tags/tag741.xml"/><Relationship Id="rId11" Type="http://schemas.openxmlformats.org/officeDocument/2006/relationships/image" Target="../media/image3.emf"/><Relationship Id="rId5" Type="http://schemas.openxmlformats.org/officeDocument/2006/relationships/tags" Target="../tags/tag740.xml"/><Relationship Id="rId10" Type="http://schemas.openxmlformats.org/officeDocument/2006/relationships/oleObject" Target="../embeddings/oleObject105.bin"/><Relationship Id="rId4" Type="http://schemas.openxmlformats.org/officeDocument/2006/relationships/tags" Target="../tags/tag739.xml"/><Relationship Id="rId9"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6.xml"/><Relationship Id="rId7" Type="http://schemas.openxmlformats.org/officeDocument/2006/relationships/tags" Target="../tags/tag20.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5" Type="http://schemas.openxmlformats.org/officeDocument/2006/relationships/tags" Target="../tags/tag18.xml"/><Relationship Id="rId10" Type="http://schemas.openxmlformats.org/officeDocument/2006/relationships/image" Target="../media/image3.emf"/><Relationship Id="rId4" Type="http://schemas.openxmlformats.org/officeDocument/2006/relationships/tags" Target="../tags/tag17.xml"/><Relationship Id="rId9"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8" Type="http://schemas.openxmlformats.org/officeDocument/2006/relationships/tags" Target="../tags/tag751.xml"/><Relationship Id="rId3" Type="http://schemas.openxmlformats.org/officeDocument/2006/relationships/tags" Target="../tags/tag746.xml"/><Relationship Id="rId7" Type="http://schemas.openxmlformats.org/officeDocument/2006/relationships/tags" Target="../tags/tag750.xml"/><Relationship Id="rId12" Type="http://schemas.openxmlformats.org/officeDocument/2006/relationships/image" Target="../media/image2.wmf"/><Relationship Id="rId2" Type="http://schemas.openxmlformats.org/officeDocument/2006/relationships/tags" Target="../tags/tag745.xml"/><Relationship Id="rId1" Type="http://schemas.openxmlformats.org/officeDocument/2006/relationships/tags" Target="../tags/tag744.xml"/><Relationship Id="rId6" Type="http://schemas.openxmlformats.org/officeDocument/2006/relationships/tags" Target="../tags/tag749.xml"/><Relationship Id="rId11" Type="http://schemas.openxmlformats.org/officeDocument/2006/relationships/image" Target="../media/image6.emf"/><Relationship Id="rId5" Type="http://schemas.openxmlformats.org/officeDocument/2006/relationships/tags" Target="../tags/tag748.xml"/><Relationship Id="rId10" Type="http://schemas.openxmlformats.org/officeDocument/2006/relationships/oleObject" Target="../embeddings/oleObject106.bin"/><Relationship Id="rId4" Type="http://schemas.openxmlformats.org/officeDocument/2006/relationships/tags" Target="../tags/tag747.xml"/><Relationship Id="rId9"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8" Type="http://schemas.openxmlformats.org/officeDocument/2006/relationships/tags" Target="../tags/tag759.xml"/><Relationship Id="rId3" Type="http://schemas.openxmlformats.org/officeDocument/2006/relationships/tags" Target="../tags/tag754.xml"/><Relationship Id="rId7" Type="http://schemas.openxmlformats.org/officeDocument/2006/relationships/tags" Target="../tags/tag758.xml"/><Relationship Id="rId12" Type="http://schemas.openxmlformats.org/officeDocument/2006/relationships/image" Target="../media/image2.wmf"/><Relationship Id="rId2" Type="http://schemas.openxmlformats.org/officeDocument/2006/relationships/tags" Target="../tags/tag753.xml"/><Relationship Id="rId1" Type="http://schemas.openxmlformats.org/officeDocument/2006/relationships/tags" Target="../tags/tag752.xml"/><Relationship Id="rId6" Type="http://schemas.openxmlformats.org/officeDocument/2006/relationships/tags" Target="../tags/tag757.xml"/><Relationship Id="rId11" Type="http://schemas.openxmlformats.org/officeDocument/2006/relationships/image" Target="../media/image3.emf"/><Relationship Id="rId5" Type="http://schemas.openxmlformats.org/officeDocument/2006/relationships/tags" Target="../tags/tag756.xml"/><Relationship Id="rId10" Type="http://schemas.openxmlformats.org/officeDocument/2006/relationships/oleObject" Target="../embeddings/oleObject107.bin"/><Relationship Id="rId4" Type="http://schemas.openxmlformats.org/officeDocument/2006/relationships/tags" Target="../tags/tag755.xml"/><Relationship Id="rId9"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8" Type="http://schemas.openxmlformats.org/officeDocument/2006/relationships/oleObject" Target="../embeddings/oleObject108.bin"/><Relationship Id="rId3" Type="http://schemas.openxmlformats.org/officeDocument/2006/relationships/tags" Target="../tags/tag762.xml"/><Relationship Id="rId7" Type="http://schemas.openxmlformats.org/officeDocument/2006/relationships/slideMaster" Target="../slideMasters/slideMaster8.xml"/><Relationship Id="rId2" Type="http://schemas.openxmlformats.org/officeDocument/2006/relationships/tags" Target="../tags/tag761.xml"/><Relationship Id="rId1" Type="http://schemas.openxmlformats.org/officeDocument/2006/relationships/tags" Target="../tags/tag760.xml"/><Relationship Id="rId6" Type="http://schemas.openxmlformats.org/officeDocument/2006/relationships/tags" Target="../tags/tag765.xml"/><Relationship Id="rId5" Type="http://schemas.openxmlformats.org/officeDocument/2006/relationships/tags" Target="../tags/tag764.xml"/><Relationship Id="rId10" Type="http://schemas.openxmlformats.org/officeDocument/2006/relationships/image" Target="../media/image2.wmf"/><Relationship Id="rId4" Type="http://schemas.openxmlformats.org/officeDocument/2006/relationships/tags" Target="../tags/tag763.xml"/><Relationship Id="rId9" Type="http://schemas.openxmlformats.org/officeDocument/2006/relationships/image" Target="../media/image5.emf"/></Relationships>
</file>

<file path=ppt/slideLayouts/_rels/slideLayout113.xml.rels><?xml version="1.0" encoding="UTF-8" standalone="yes"?>
<Relationships xmlns="http://schemas.openxmlformats.org/package/2006/relationships"><Relationship Id="rId8" Type="http://schemas.openxmlformats.org/officeDocument/2006/relationships/image" Target="../media/image2.wmf"/><Relationship Id="rId3" Type="http://schemas.openxmlformats.org/officeDocument/2006/relationships/tags" Target="../tags/tag768.xml"/><Relationship Id="rId7" Type="http://schemas.openxmlformats.org/officeDocument/2006/relationships/image" Target="../media/image5.emf"/><Relationship Id="rId2" Type="http://schemas.openxmlformats.org/officeDocument/2006/relationships/tags" Target="../tags/tag767.xml"/><Relationship Id="rId1" Type="http://schemas.openxmlformats.org/officeDocument/2006/relationships/tags" Target="../tags/tag766.xml"/><Relationship Id="rId6" Type="http://schemas.openxmlformats.org/officeDocument/2006/relationships/oleObject" Target="../embeddings/oleObject109.bin"/><Relationship Id="rId5" Type="http://schemas.openxmlformats.org/officeDocument/2006/relationships/slideMaster" Target="../slideMasters/slideMaster8.xml"/><Relationship Id="rId4" Type="http://schemas.openxmlformats.org/officeDocument/2006/relationships/tags" Target="../tags/tag769.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71.xml"/><Relationship Id="rId1" Type="http://schemas.openxmlformats.org/officeDocument/2006/relationships/tags" Target="../tags/tag770.xml"/><Relationship Id="rId6" Type="http://schemas.openxmlformats.org/officeDocument/2006/relationships/image" Target="../media/image2.wmf"/><Relationship Id="rId5" Type="http://schemas.openxmlformats.org/officeDocument/2006/relationships/image" Target="../media/image5.emf"/><Relationship Id="rId4" Type="http://schemas.openxmlformats.org/officeDocument/2006/relationships/oleObject" Target="../embeddings/oleObject110.bin"/></Relationships>
</file>

<file path=ppt/slideLayouts/_rels/slideLayout115.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774.xml"/><Relationship Id="rId7" Type="http://schemas.openxmlformats.org/officeDocument/2006/relationships/tags" Target="../tags/tag778.xml"/><Relationship Id="rId2" Type="http://schemas.openxmlformats.org/officeDocument/2006/relationships/tags" Target="../tags/tag773.xml"/><Relationship Id="rId1" Type="http://schemas.openxmlformats.org/officeDocument/2006/relationships/tags" Target="../tags/tag772.xml"/><Relationship Id="rId6" Type="http://schemas.openxmlformats.org/officeDocument/2006/relationships/tags" Target="../tags/tag777.xml"/><Relationship Id="rId11" Type="http://schemas.openxmlformats.org/officeDocument/2006/relationships/image" Target="../media/image4.wmf"/><Relationship Id="rId5" Type="http://schemas.openxmlformats.org/officeDocument/2006/relationships/tags" Target="../tags/tag776.xml"/><Relationship Id="rId10" Type="http://schemas.openxmlformats.org/officeDocument/2006/relationships/image" Target="../media/image3.emf"/><Relationship Id="rId4" Type="http://schemas.openxmlformats.org/officeDocument/2006/relationships/tags" Target="../tags/tag775.xml"/><Relationship Id="rId9" Type="http://schemas.openxmlformats.org/officeDocument/2006/relationships/oleObject" Target="../embeddings/oleObject111.bin"/></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781.xml"/><Relationship Id="rId7" Type="http://schemas.openxmlformats.org/officeDocument/2006/relationships/oleObject" Target="../embeddings/oleObject112.bin"/><Relationship Id="rId2" Type="http://schemas.openxmlformats.org/officeDocument/2006/relationships/tags" Target="../tags/tag780.xml"/><Relationship Id="rId1" Type="http://schemas.openxmlformats.org/officeDocument/2006/relationships/tags" Target="../tags/tag779.xml"/><Relationship Id="rId6" Type="http://schemas.openxmlformats.org/officeDocument/2006/relationships/slideMaster" Target="../slideMasters/slideMaster8.xml"/><Relationship Id="rId5" Type="http://schemas.openxmlformats.org/officeDocument/2006/relationships/tags" Target="../tags/tag783.xml"/><Relationship Id="rId4" Type="http://schemas.openxmlformats.org/officeDocument/2006/relationships/tags" Target="../tags/tag782.xml"/><Relationship Id="rId9" Type="http://schemas.openxmlformats.org/officeDocument/2006/relationships/image" Target="../media/image4.wmf"/></Relationships>
</file>

<file path=ppt/slideLayouts/_rels/slideLayout117.xml.rels><?xml version="1.0" encoding="UTF-8" standalone="yes"?>
<Relationships xmlns="http://schemas.openxmlformats.org/package/2006/relationships"><Relationship Id="rId8" Type="http://schemas.openxmlformats.org/officeDocument/2006/relationships/tags" Target="../tags/tag791.xml"/><Relationship Id="rId13" Type="http://schemas.openxmlformats.org/officeDocument/2006/relationships/image" Target="../media/image4.wmf"/><Relationship Id="rId3" Type="http://schemas.openxmlformats.org/officeDocument/2006/relationships/tags" Target="../tags/tag786.xml"/><Relationship Id="rId7" Type="http://schemas.openxmlformats.org/officeDocument/2006/relationships/tags" Target="../tags/tag790.xml"/><Relationship Id="rId12" Type="http://schemas.openxmlformats.org/officeDocument/2006/relationships/image" Target="../media/image6.emf"/><Relationship Id="rId2" Type="http://schemas.openxmlformats.org/officeDocument/2006/relationships/tags" Target="../tags/tag785.xml"/><Relationship Id="rId1" Type="http://schemas.openxmlformats.org/officeDocument/2006/relationships/tags" Target="../tags/tag784.xml"/><Relationship Id="rId6" Type="http://schemas.openxmlformats.org/officeDocument/2006/relationships/tags" Target="../tags/tag789.xml"/><Relationship Id="rId11" Type="http://schemas.openxmlformats.org/officeDocument/2006/relationships/oleObject" Target="../embeddings/oleObject113.bin"/><Relationship Id="rId5" Type="http://schemas.openxmlformats.org/officeDocument/2006/relationships/tags" Target="../tags/tag788.xml"/><Relationship Id="rId10" Type="http://schemas.openxmlformats.org/officeDocument/2006/relationships/slideMaster" Target="../slideMasters/slideMaster8.xml"/><Relationship Id="rId4" Type="http://schemas.openxmlformats.org/officeDocument/2006/relationships/tags" Target="../tags/tag787.xml"/><Relationship Id="rId9" Type="http://schemas.openxmlformats.org/officeDocument/2006/relationships/tags" Target="../tags/tag792.xml"/></Relationships>
</file>

<file path=ppt/slideLayouts/_rels/slideLayout118.xml.rels><?xml version="1.0" encoding="UTF-8" standalone="yes"?>
<Relationships xmlns="http://schemas.openxmlformats.org/package/2006/relationships"><Relationship Id="rId8" Type="http://schemas.openxmlformats.org/officeDocument/2006/relationships/tags" Target="../tags/tag800.xml"/><Relationship Id="rId3" Type="http://schemas.openxmlformats.org/officeDocument/2006/relationships/tags" Target="../tags/tag795.xml"/><Relationship Id="rId7" Type="http://schemas.openxmlformats.org/officeDocument/2006/relationships/tags" Target="../tags/tag799.xml"/><Relationship Id="rId12" Type="http://schemas.openxmlformats.org/officeDocument/2006/relationships/image" Target="../media/image4.wmf"/><Relationship Id="rId2" Type="http://schemas.openxmlformats.org/officeDocument/2006/relationships/tags" Target="../tags/tag794.xml"/><Relationship Id="rId1" Type="http://schemas.openxmlformats.org/officeDocument/2006/relationships/tags" Target="../tags/tag793.xml"/><Relationship Id="rId6" Type="http://schemas.openxmlformats.org/officeDocument/2006/relationships/tags" Target="../tags/tag798.xml"/><Relationship Id="rId11" Type="http://schemas.openxmlformats.org/officeDocument/2006/relationships/image" Target="../media/image3.emf"/><Relationship Id="rId5" Type="http://schemas.openxmlformats.org/officeDocument/2006/relationships/tags" Target="../tags/tag797.xml"/><Relationship Id="rId10" Type="http://schemas.openxmlformats.org/officeDocument/2006/relationships/oleObject" Target="../embeddings/oleObject114.bin"/><Relationship Id="rId4" Type="http://schemas.openxmlformats.org/officeDocument/2006/relationships/tags" Target="../tags/tag796.xml"/><Relationship Id="rId9"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8" Type="http://schemas.openxmlformats.org/officeDocument/2006/relationships/tags" Target="../tags/tag808.xml"/><Relationship Id="rId3" Type="http://schemas.openxmlformats.org/officeDocument/2006/relationships/tags" Target="../tags/tag803.xml"/><Relationship Id="rId7" Type="http://schemas.openxmlformats.org/officeDocument/2006/relationships/tags" Target="../tags/tag807.xml"/><Relationship Id="rId12" Type="http://schemas.openxmlformats.org/officeDocument/2006/relationships/image" Target="../media/image4.wmf"/><Relationship Id="rId2" Type="http://schemas.openxmlformats.org/officeDocument/2006/relationships/tags" Target="../tags/tag802.xml"/><Relationship Id="rId1" Type="http://schemas.openxmlformats.org/officeDocument/2006/relationships/tags" Target="../tags/tag801.xml"/><Relationship Id="rId6" Type="http://schemas.openxmlformats.org/officeDocument/2006/relationships/tags" Target="../tags/tag806.xml"/><Relationship Id="rId11" Type="http://schemas.openxmlformats.org/officeDocument/2006/relationships/image" Target="../media/image3.emf"/><Relationship Id="rId5" Type="http://schemas.openxmlformats.org/officeDocument/2006/relationships/tags" Target="../tags/tag805.xml"/><Relationship Id="rId10" Type="http://schemas.openxmlformats.org/officeDocument/2006/relationships/oleObject" Target="../embeddings/oleObject115.bin"/><Relationship Id="rId4" Type="http://schemas.openxmlformats.org/officeDocument/2006/relationships/tags" Target="../tags/tag804.xml"/><Relationship Id="rId9"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43.xml"/><Relationship Id="rId7" Type="http://schemas.openxmlformats.org/officeDocument/2006/relationships/oleObject" Target="../embeddings/oleObject14.bin"/><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slideMaster" Target="../slideMasters/slideMaster2.xml"/><Relationship Id="rId5" Type="http://schemas.openxmlformats.org/officeDocument/2006/relationships/tags" Target="../tags/tag45.xml"/><Relationship Id="rId4" Type="http://schemas.openxmlformats.org/officeDocument/2006/relationships/tags" Target="../tags/tag44.xml"/><Relationship Id="rId9" Type="http://schemas.openxmlformats.org/officeDocument/2006/relationships/image" Target="../media/image4.wmf"/></Relationships>
</file>

<file path=ppt/slideLayouts/_rels/slideLayout120.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811.xml"/><Relationship Id="rId7" Type="http://schemas.openxmlformats.org/officeDocument/2006/relationships/tags" Target="../tags/tag815.xml"/><Relationship Id="rId2" Type="http://schemas.openxmlformats.org/officeDocument/2006/relationships/tags" Target="../tags/tag810.xml"/><Relationship Id="rId1" Type="http://schemas.openxmlformats.org/officeDocument/2006/relationships/tags" Target="../tags/tag809.xml"/><Relationship Id="rId6" Type="http://schemas.openxmlformats.org/officeDocument/2006/relationships/tags" Target="../tags/tag814.xml"/><Relationship Id="rId11" Type="http://schemas.openxmlformats.org/officeDocument/2006/relationships/image" Target="../media/image2.wmf"/><Relationship Id="rId5" Type="http://schemas.openxmlformats.org/officeDocument/2006/relationships/tags" Target="../tags/tag813.xml"/><Relationship Id="rId10" Type="http://schemas.openxmlformats.org/officeDocument/2006/relationships/image" Target="../media/image3.emf"/><Relationship Id="rId4" Type="http://schemas.openxmlformats.org/officeDocument/2006/relationships/tags" Target="../tags/tag812.xml"/><Relationship Id="rId9" Type="http://schemas.openxmlformats.org/officeDocument/2006/relationships/oleObject" Target="../embeddings/oleObject116.bin"/></Relationships>
</file>

<file path=ppt/slideLayouts/_rels/slideLayout121.xml.rels><?xml version="1.0" encoding="UTF-8" standalone="yes"?>
<Relationships xmlns="http://schemas.openxmlformats.org/package/2006/relationships"><Relationship Id="rId8" Type="http://schemas.openxmlformats.org/officeDocument/2006/relationships/oleObject" Target="../embeddings/oleObject118.bin"/><Relationship Id="rId3" Type="http://schemas.openxmlformats.org/officeDocument/2006/relationships/tags" Target="../tags/tag838.xml"/><Relationship Id="rId7" Type="http://schemas.openxmlformats.org/officeDocument/2006/relationships/slideMaster" Target="../slideMasters/slideMaster9.xml"/><Relationship Id="rId2" Type="http://schemas.openxmlformats.org/officeDocument/2006/relationships/tags" Target="../tags/tag837.xml"/><Relationship Id="rId1" Type="http://schemas.openxmlformats.org/officeDocument/2006/relationships/tags" Target="../tags/tag836.xml"/><Relationship Id="rId6" Type="http://schemas.openxmlformats.org/officeDocument/2006/relationships/tags" Target="../tags/tag841.xml"/><Relationship Id="rId5" Type="http://schemas.openxmlformats.org/officeDocument/2006/relationships/tags" Target="../tags/tag840.xml"/><Relationship Id="rId10" Type="http://schemas.openxmlformats.org/officeDocument/2006/relationships/image" Target="../media/image2.wmf"/><Relationship Id="rId4" Type="http://schemas.openxmlformats.org/officeDocument/2006/relationships/tags" Target="../tags/tag839.xml"/><Relationship Id="rId9" Type="http://schemas.openxmlformats.org/officeDocument/2006/relationships/image" Target="../media/image5.emf"/></Relationships>
</file>

<file path=ppt/slideLayouts/_rels/slideLayout122.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844.xml"/><Relationship Id="rId7" Type="http://schemas.openxmlformats.org/officeDocument/2006/relationships/tags" Target="../tags/tag848.xml"/><Relationship Id="rId2" Type="http://schemas.openxmlformats.org/officeDocument/2006/relationships/tags" Target="../tags/tag843.xml"/><Relationship Id="rId1" Type="http://schemas.openxmlformats.org/officeDocument/2006/relationships/tags" Target="../tags/tag842.xml"/><Relationship Id="rId6" Type="http://schemas.openxmlformats.org/officeDocument/2006/relationships/tags" Target="../tags/tag847.xml"/><Relationship Id="rId11" Type="http://schemas.openxmlformats.org/officeDocument/2006/relationships/image" Target="../media/image2.wmf"/><Relationship Id="rId5" Type="http://schemas.openxmlformats.org/officeDocument/2006/relationships/tags" Target="../tags/tag846.xml"/><Relationship Id="rId10" Type="http://schemas.openxmlformats.org/officeDocument/2006/relationships/image" Target="../media/image3.emf"/><Relationship Id="rId4" Type="http://schemas.openxmlformats.org/officeDocument/2006/relationships/tags" Target="../tags/tag845.xml"/><Relationship Id="rId9" Type="http://schemas.openxmlformats.org/officeDocument/2006/relationships/oleObject" Target="../embeddings/oleObject119.bin"/></Relationships>
</file>

<file path=ppt/slideLayouts/_rels/slideLayout123.xml.rels><?xml version="1.0" encoding="UTF-8" standalone="yes"?>
<Relationships xmlns="http://schemas.openxmlformats.org/package/2006/relationships"><Relationship Id="rId8" Type="http://schemas.openxmlformats.org/officeDocument/2006/relationships/oleObject" Target="../embeddings/oleObject120.bin"/><Relationship Id="rId3" Type="http://schemas.openxmlformats.org/officeDocument/2006/relationships/tags" Target="../tags/tag851.xml"/><Relationship Id="rId7" Type="http://schemas.openxmlformats.org/officeDocument/2006/relationships/slideMaster" Target="../slideMasters/slideMaster9.xml"/><Relationship Id="rId2" Type="http://schemas.openxmlformats.org/officeDocument/2006/relationships/tags" Target="../tags/tag850.xml"/><Relationship Id="rId1" Type="http://schemas.openxmlformats.org/officeDocument/2006/relationships/tags" Target="../tags/tag849.xml"/><Relationship Id="rId6" Type="http://schemas.openxmlformats.org/officeDocument/2006/relationships/tags" Target="../tags/tag854.xml"/><Relationship Id="rId5" Type="http://schemas.openxmlformats.org/officeDocument/2006/relationships/tags" Target="../tags/tag853.xml"/><Relationship Id="rId10" Type="http://schemas.openxmlformats.org/officeDocument/2006/relationships/image" Target="../media/image2.wmf"/><Relationship Id="rId4" Type="http://schemas.openxmlformats.org/officeDocument/2006/relationships/tags" Target="../tags/tag852.xml"/><Relationship Id="rId9" Type="http://schemas.openxmlformats.org/officeDocument/2006/relationships/image" Target="../media/image5.emf"/></Relationships>
</file>

<file path=ppt/slideLayouts/_rels/slideLayout124.xml.rels><?xml version="1.0" encoding="UTF-8" standalone="yes"?>
<Relationships xmlns="http://schemas.openxmlformats.org/package/2006/relationships"><Relationship Id="rId8" Type="http://schemas.openxmlformats.org/officeDocument/2006/relationships/oleObject" Target="../embeddings/oleObject121.bin"/><Relationship Id="rId3" Type="http://schemas.openxmlformats.org/officeDocument/2006/relationships/tags" Target="../tags/tag857.xml"/><Relationship Id="rId7" Type="http://schemas.openxmlformats.org/officeDocument/2006/relationships/slideMaster" Target="../slideMasters/slideMaster9.xml"/><Relationship Id="rId2" Type="http://schemas.openxmlformats.org/officeDocument/2006/relationships/tags" Target="../tags/tag856.xml"/><Relationship Id="rId1" Type="http://schemas.openxmlformats.org/officeDocument/2006/relationships/tags" Target="../tags/tag855.xml"/><Relationship Id="rId6" Type="http://schemas.openxmlformats.org/officeDocument/2006/relationships/tags" Target="../tags/tag860.xml"/><Relationship Id="rId5" Type="http://schemas.openxmlformats.org/officeDocument/2006/relationships/tags" Target="../tags/tag859.xml"/><Relationship Id="rId10" Type="http://schemas.openxmlformats.org/officeDocument/2006/relationships/image" Target="../media/image2.wmf"/><Relationship Id="rId4" Type="http://schemas.openxmlformats.org/officeDocument/2006/relationships/tags" Target="../tags/tag858.xml"/><Relationship Id="rId9" Type="http://schemas.openxmlformats.org/officeDocument/2006/relationships/image" Target="../media/image5.emf"/></Relationships>
</file>

<file path=ppt/slideLayouts/_rels/slideLayout125.xml.rels><?xml version="1.0" encoding="UTF-8" standalone="yes"?>
<Relationships xmlns="http://schemas.openxmlformats.org/package/2006/relationships"><Relationship Id="rId8" Type="http://schemas.openxmlformats.org/officeDocument/2006/relationships/oleObject" Target="../embeddings/oleObject122.bin"/><Relationship Id="rId3" Type="http://schemas.openxmlformats.org/officeDocument/2006/relationships/tags" Target="../tags/tag863.xml"/><Relationship Id="rId7" Type="http://schemas.openxmlformats.org/officeDocument/2006/relationships/slideMaster" Target="../slideMasters/slideMaster9.xml"/><Relationship Id="rId2" Type="http://schemas.openxmlformats.org/officeDocument/2006/relationships/tags" Target="../tags/tag862.xml"/><Relationship Id="rId1" Type="http://schemas.openxmlformats.org/officeDocument/2006/relationships/tags" Target="../tags/tag861.xml"/><Relationship Id="rId6" Type="http://schemas.openxmlformats.org/officeDocument/2006/relationships/tags" Target="../tags/tag866.xml"/><Relationship Id="rId5" Type="http://schemas.openxmlformats.org/officeDocument/2006/relationships/tags" Target="../tags/tag865.xml"/><Relationship Id="rId10" Type="http://schemas.openxmlformats.org/officeDocument/2006/relationships/image" Target="../media/image2.wmf"/><Relationship Id="rId4" Type="http://schemas.openxmlformats.org/officeDocument/2006/relationships/tags" Target="../tags/tag864.xml"/><Relationship Id="rId9" Type="http://schemas.openxmlformats.org/officeDocument/2006/relationships/image" Target="../media/image5.emf"/></Relationships>
</file>

<file path=ppt/slideLayouts/_rels/slideLayout126.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869.xml"/><Relationship Id="rId7" Type="http://schemas.openxmlformats.org/officeDocument/2006/relationships/tags" Target="../tags/tag873.xml"/><Relationship Id="rId2" Type="http://schemas.openxmlformats.org/officeDocument/2006/relationships/tags" Target="../tags/tag868.xml"/><Relationship Id="rId1" Type="http://schemas.openxmlformats.org/officeDocument/2006/relationships/tags" Target="../tags/tag867.xml"/><Relationship Id="rId6" Type="http://schemas.openxmlformats.org/officeDocument/2006/relationships/tags" Target="../tags/tag872.xml"/><Relationship Id="rId11" Type="http://schemas.openxmlformats.org/officeDocument/2006/relationships/image" Target="../media/image2.wmf"/><Relationship Id="rId5" Type="http://schemas.openxmlformats.org/officeDocument/2006/relationships/tags" Target="../tags/tag871.xml"/><Relationship Id="rId10" Type="http://schemas.openxmlformats.org/officeDocument/2006/relationships/image" Target="../media/image5.emf"/><Relationship Id="rId4" Type="http://schemas.openxmlformats.org/officeDocument/2006/relationships/tags" Target="../tags/tag870.xml"/><Relationship Id="rId9" Type="http://schemas.openxmlformats.org/officeDocument/2006/relationships/oleObject" Target="../embeddings/oleObject123.bin"/></Relationships>
</file>

<file path=ppt/slideLayouts/_rels/slideLayout127.xml.rels><?xml version="1.0" encoding="UTF-8" standalone="yes"?>
<Relationships xmlns="http://schemas.openxmlformats.org/package/2006/relationships"><Relationship Id="rId8" Type="http://schemas.openxmlformats.org/officeDocument/2006/relationships/tags" Target="../tags/tag881.xml"/><Relationship Id="rId3" Type="http://schemas.openxmlformats.org/officeDocument/2006/relationships/tags" Target="../tags/tag876.xml"/><Relationship Id="rId7" Type="http://schemas.openxmlformats.org/officeDocument/2006/relationships/tags" Target="../tags/tag880.xml"/><Relationship Id="rId12" Type="http://schemas.openxmlformats.org/officeDocument/2006/relationships/image" Target="../media/image2.wmf"/><Relationship Id="rId2" Type="http://schemas.openxmlformats.org/officeDocument/2006/relationships/tags" Target="../tags/tag875.xml"/><Relationship Id="rId1" Type="http://schemas.openxmlformats.org/officeDocument/2006/relationships/tags" Target="../tags/tag874.xml"/><Relationship Id="rId6" Type="http://schemas.openxmlformats.org/officeDocument/2006/relationships/tags" Target="../tags/tag879.xml"/><Relationship Id="rId11" Type="http://schemas.openxmlformats.org/officeDocument/2006/relationships/image" Target="../media/image3.emf"/><Relationship Id="rId5" Type="http://schemas.openxmlformats.org/officeDocument/2006/relationships/tags" Target="../tags/tag878.xml"/><Relationship Id="rId10" Type="http://schemas.openxmlformats.org/officeDocument/2006/relationships/oleObject" Target="../embeddings/oleObject124.bin"/><Relationship Id="rId4" Type="http://schemas.openxmlformats.org/officeDocument/2006/relationships/tags" Target="../tags/tag877.xml"/><Relationship Id="rId9"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8" Type="http://schemas.openxmlformats.org/officeDocument/2006/relationships/tags" Target="../tags/tag889.xml"/><Relationship Id="rId3" Type="http://schemas.openxmlformats.org/officeDocument/2006/relationships/tags" Target="../tags/tag884.xml"/><Relationship Id="rId7" Type="http://schemas.openxmlformats.org/officeDocument/2006/relationships/tags" Target="../tags/tag888.xml"/><Relationship Id="rId12" Type="http://schemas.openxmlformats.org/officeDocument/2006/relationships/image" Target="../media/image2.wmf"/><Relationship Id="rId2" Type="http://schemas.openxmlformats.org/officeDocument/2006/relationships/tags" Target="../tags/tag883.xml"/><Relationship Id="rId1" Type="http://schemas.openxmlformats.org/officeDocument/2006/relationships/tags" Target="../tags/tag882.xml"/><Relationship Id="rId6" Type="http://schemas.openxmlformats.org/officeDocument/2006/relationships/tags" Target="../tags/tag887.xml"/><Relationship Id="rId11" Type="http://schemas.openxmlformats.org/officeDocument/2006/relationships/image" Target="../media/image3.emf"/><Relationship Id="rId5" Type="http://schemas.openxmlformats.org/officeDocument/2006/relationships/tags" Target="../tags/tag886.xml"/><Relationship Id="rId10" Type="http://schemas.openxmlformats.org/officeDocument/2006/relationships/oleObject" Target="../embeddings/oleObject125.bin"/><Relationship Id="rId4" Type="http://schemas.openxmlformats.org/officeDocument/2006/relationships/tags" Target="../tags/tag885.xml"/><Relationship Id="rId9"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8" Type="http://schemas.openxmlformats.org/officeDocument/2006/relationships/tags" Target="../tags/tag897.xml"/><Relationship Id="rId3" Type="http://schemas.openxmlformats.org/officeDocument/2006/relationships/tags" Target="../tags/tag892.xml"/><Relationship Id="rId7" Type="http://schemas.openxmlformats.org/officeDocument/2006/relationships/tags" Target="../tags/tag896.xml"/><Relationship Id="rId12" Type="http://schemas.openxmlformats.org/officeDocument/2006/relationships/image" Target="../media/image2.wmf"/><Relationship Id="rId2" Type="http://schemas.openxmlformats.org/officeDocument/2006/relationships/tags" Target="../tags/tag891.xml"/><Relationship Id="rId1" Type="http://schemas.openxmlformats.org/officeDocument/2006/relationships/tags" Target="../tags/tag890.xml"/><Relationship Id="rId6" Type="http://schemas.openxmlformats.org/officeDocument/2006/relationships/tags" Target="../tags/tag895.xml"/><Relationship Id="rId11" Type="http://schemas.openxmlformats.org/officeDocument/2006/relationships/image" Target="../media/image3.emf"/><Relationship Id="rId5" Type="http://schemas.openxmlformats.org/officeDocument/2006/relationships/tags" Target="../tags/tag894.xml"/><Relationship Id="rId10" Type="http://schemas.openxmlformats.org/officeDocument/2006/relationships/oleObject" Target="../embeddings/oleObject126.bin"/><Relationship Id="rId4" Type="http://schemas.openxmlformats.org/officeDocument/2006/relationships/tags" Target="../tags/tag893.xml"/><Relationship Id="rId9"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10" Type="http://schemas.openxmlformats.org/officeDocument/2006/relationships/image" Target="../media/image3.emf"/><Relationship Id="rId4" Type="http://schemas.openxmlformats.org/officeDocument/2006/relationships/tags" Target="../tags/tag49.xml"/><Relationship Id="rId9" Type="http://schemas.openxmlformats.org/officeDocument/2006/relationships/oleObject" Target="../embeddings/oleObject15.bin"/></Relationships>
</file>

<file path=ppt/slideLayouts/_rels/slideLayout130.xml.rels><?xml version="1.0" encoding="UTF-8" standalone="yes"?>
<Relationships xmlns="http://schemas.openxmlformats.org/package/2006/relationships"><Relationship Id="rId8" Type="http://schemas.openxmlformats.org/officeDocument/2006/relationships/tags" Target="../tags/tag905.xml"/><Relationship Id="rId3" Type="http://schemas.openxmlformats.org/officeDocument/2006/relationships/tags" Target="../tags/tag900.xml"/><Relationship Id="rId7" Type="http://schemas.openxmlformats.org/officeDocument/2006/relationships/tags" Target="../tags/tag904.xml"/><Relationship Id="rId12" Type="http://schemas.openxmlformats.org/officeDocument/2006/relationships/image" Target="../media/image2.wmf"/><Relationship Id="rId2" Type="http://schemas.openxmlformats.org/officeDocument/2006/relationships/tags" Target="../tags/tag899.xml"/><Relationship Id="rId1" Type="http://schemas.openxmlformats.org/officeDocument/2006/relationships/tags" Target="../tags/tag898.xml"/><Relationship Id="rId6" Type="http://schemas.openxmlformats.org/officeDocument/2006/relationships/tags" Target="../tags/tag903.xml"/><Relationship Id="rId11" Type="http://schemas.openxmlformats.org/officeDocument/2006/relationships/image" Target="../media/image6.emf"/><Relationship Id="rId5" Type="http://schemas.openxmlformats.org/officeDocument/2006/relationships/tags" Target="../tags/tag902.xml"/><Relationship Id="rId10" Type="http://schemas.openxmlformats.org/officeDocument/2006/relationships/oleObject" Target="../embeddings/oleObject127.bin"/><Relationship Id="rId4" Type="http://schemas.openxmlformats.org/officeDocument/2006/relationships/tags" Target="../tags/tag901.xml"/><Relationship Id="rId9"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8" Type="http://schemas.openxmlformats.org/officeDocument/2006/relationships/tags" Target="../tags/tag913.xml"/><Relationship Id="rId3" Type="http://schemas.openxmlformats.org/officeDocument/2006/relationships/tags" Target="../tags/tag908.xml"/><Relationship Id="rId7" Type="http://schemas.openxmlformats.org/officeDocument/2006/relationships/tags" Target="../tags/tag912.xml"/><Relationship Id="rId12" Type="http://schemas.openxmlformats.org/officeDocument/2006/relationships/image" Target="../media/image2.wmf"/><Relationship Id="rId2" Type="http://schemas.openxmlformats.org/officeDocument/2006/relationships/tags" Target="../tags/tag907.xml"/><Relationship Id="rId1" Type="http://schemas.openxmlformats.org/officeDocument/2006/relationships/tags" Target="../tags/tag906.xml"/><Relationship Id="rId6" Type="http://schemas.openxmlformats.org/officeDocument/2006/relationships/tags" Target="../tags/tag911.xml"/><Relationship Id="rId11" Type="http://schemas.openxmlformats.org/officeDocument/2006/relationships/image" Target="../media/image3.emf"/><Relationship Id="rId5" Type="http://schemas.openxmlformats.org/officeDocument/2006/relationships/tags" Target="../tags/tag910.xml"/><Relationship Id="rId10" Type="http://schemas.openxmlformats.org/officeDocument/2006/relationships/oleObject" Target="../embeddings/oleObject128.bin"/><Relationship Id="rId4" Type="http://schemas.openxmlformats.org/officeDocument/2006/relationships/tags" Target="../tags/tag909.xml"/><Relationship Id="rId9"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8" Type="http://schemas.openxmlformats.org/officeDocument/2006/relationships/oleObject" Target="../embeddings/oleObject129.bin"/><Relationship Id="rId3" Type="http://schemas.openxmlformats.org/officeDocument/2006/relationships/tags" Target="../tags/tag916.xml"/><Relationship Id="rId7" Type="http://schemas.openxmlformats.org/officeDocument/2006/relationships/slideMaster" Target="../slideMasters/slideMaster9.xml"/><Relationship Id="rId2" Type="http://schemas.openxmlformats.org/officeDocument/2006/relationships/tags" Target="../tags/tag915.xml"/><Relationship Id="rId1" Type="http://schemas.openxmlformats.org/officeDocument/2006/relationships/tags" Target="../tags/tag914.xml"/><Relationship Id="rId6" Type="http://schemas.openxmlformats.org/officeDocument/2006/relationships/tags" Target="../tags/tag919.xml"/><Relationship Id="rId5" Type="http://schemas.openxmlformats.org/officeDocument/2006/relationships/tags" Target="../tags/tag918.xml"/><Relationship Id="rId10" Type="http://schemas.openxmlformats.org/officeDocument/2006/relationships/image" Target="../media/image2.wmf"/><Relationship Id="rId4" Type="http://schemas.openxmlformats.org/officeDocument/2006/relationships/tags" Target="../tags/tag917.xml"/><Relationship Id="rId9" Type="http://schemas.openxmlformats.org/officeDocument/2006/relationships/image" Target="../media/image5.emf"/></Relationships>
</file>

<file path=ppt/slideLayouts/_rels/slideLayout133.xml.rels><?xml version="1.0" encoding="UTF-8" standalone="yes"?>
<Relationships xmlns="http://schemas.openxmlformats.org/package/2006/relationships"><Relationship Id="rId8" Type="http://schemas.openxmlformats.org/officeDocument/2006/relationships/image" Target="../media/image2.wmf"/><Relationship Id="rId3" Type="http://schemas.openxmlformats.org/officeDocument/2006/relationships/tags" Target="../tags/tag922.xml"/><Relationship Id="rId7" Type="http://schemas.openxmlformats.org/officeDocument/2006/relationships/image" Target="../media/image5.emf"/><Relationship Id="rId2" Type="http://schemas.openxmlformats.org/officeDocument/2006/relationships/tags" Target="../tags/tag921.xml"/><Relationship Id="rId1" Type="http://schemas.openxmlformats.org/officeDocument/2006/relationships/tags" Target="../tags/tag920.xml"/><Relationship Id="rId6" Type="http://schemas.openxmlformats.org/officeDocument/2006/relationships/oleObject" Target="../embeddings/oleObject130.bin"/><Relationship Id="rId5" Type="http://schemas.openxmlformats.org/officeDocument/2006/relationships/slideMaster" Target="../slideMasters/slideMaster9.xml"/><Relationship Id="rId4" Type="http://schemas.openxmlformats.org/officeDocument/2006/relationships/tags" Target="../tags/tag923.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25.xml"/><Relationship Id="rId1" Type="http://schemas.openxmlformats.org/officeDocument/2006/relationships/tags" Target="../tags/tag924.xml"/><Relationship Id="rId6" Type="http://schemas.openxmlformats.org/officeDocument/2006/relationships/image" Target="../media/image2.wmf"/><Relationship Id="rId5" Type="http://schemas.openxmlformats.org/officeDocument/2006/relationships/image" Target="../media/image5.emf"/><Relationship Id="rId4" Type="http://schemas.openxmlformats.org/officeDocument/2006/relationships/oleObject" Target="../embeddings/oleObject131.bin"/></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55.xml"/><Relationship Id="rId7"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4" Type="http://schemas.openxmlformats.org/officeDocument/2006/relationships/tags" Target="../tags/tag56.xml"/><Relationship Id="rId9" Type="http://schemas.openxmlformats.org/officeDocument/2006/relationships/image" Target="../media/image5.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929.xml"/><Relationship Id="rId7" Type="http://schemas.openxmlformats.org/officeDocument/2006/relationships/oleObject" Target="../embeddings/oleObject133.bin"/><Relationship Id="rId2" Type="http://schemas.openxmlformats.org/officeDocument/2006/relationships/tags" Target="../tags/tag928.xml"/><Relationship Id="rId1" Type="http://schemas.openxmlformats.org/officeDocument/2006/relationships/tags" Target="../tags/tag927.xml"/><Relationship Id="rId6" Type="http://schemas.openxmlformats.org/officeDocument/2006/relationships/slideMaster" Target="../slideMasters/slideMaster10.xml"/><Relationship Id="rId5" Type="http://schemas.openxmlformats.org/officeDocument/2006/relationships/tags" Target="../tags/tag931.xml"/><Relationship Id="rId4" Type="http://schemas.openxmlformats.org/officeDocument/2006/relationships/tags" Target="../tags/tag930.xml"/><Relationship Id="rId9" Type="http://schemas.openxmlformats.org/officeDocument/2006/relationships/image" Target="../media/image4.wmf"/></Relationships>
</file>

<file path=ppt/slideLayouts/_rels/slideLayout146.xml.rels><?xml version="1.0" encoding="UTF-8" standalone="yes"?>
<Relationships xmlns="http://schemas.openxmlformats.org/package/2006/relationships"><Relationship Id="rId8" Type="http://schemas.openxmlformats.org/officeDocument/2006/relationships/tags" Target="../tags/tag939.xml"/><Relationship Id="rId3" Type="http://schemas.openxmlformats.org/officeDocument/2006/relationships/tags" Target="../tags/tag934.xml"/><Relationship Id="rId7" Type="http://schemas.openxmlformats.org/officeDocument/2006/relationships/tags" Target="../tags/tag938.xml"/><Relationship Id="rId12" Type="http://schemas.openxmlformats.org/officeDocument/2006/relationships/image" Target="../media/image4.wmf"/><Relationship Id="rId2" Type="http://schemas.openxmlformats.org/officeDocument/2006/relationships/tags" Target="../tags/tag933.xml"/><Relationship Id="rId1" Type="http://schemas.openxmlformats.org/officeDocument/2006/relationships/tags" Target="../tags/tag932.xml"/><Relationship Id="rId6" Type="http://schemas.openxmlformats.org/officeDocument/2006/relationships/tags" Target="../tags/tag937.xml"/><Relationship Id="rId11" Type="http://schemas.openxmlformats.org/officeDocument/2006/relationships/image" Target="../media/image6.emf"/><Relationship Id="rId5" Type="http://schemas.openxmlformats.org/officeDocument/2006/relationships/tags" Target="../tags/tag936.xml"/><Relationship Id="rId10" Type="http://schemas.openxmlformats.org/officeDocument/2006/relationships/oleObject" Target="../embeddings/oleObject134.bin"/><Relationship Id="rId4" Type="http://schemas.openxmlformats.org/officeDocument/2006/relationships/tags" Target="../tags/tag935.xml"/><Relationship Id="rId9"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Master" Target="../slideMasters/slideMaster11.xml"/><Relationship Id="rId1" Type="http://schemas.openxmlformats.org/officeDocument/2006/relationships/tags" Target="../tags/tag941.xml"/><Relationship Id="rId5" Type="http://schemas.openxmlformats.org/officeDocument/2006/relationships/image" Target="../media/image2.wmf"/><Relationship Id="rId4" Type="http://schemas.openxmlformats.org/officeDocument/2006/relationships/image" Target="../media/image8.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11.xml"/><Relationship Id="rId1" Type="http://schemas.openxmlformats.org/officeDocument/2006/relationships/tags" Target="../tags/tag942.xml"/><Relationship Id="rId4" Type="http://schemas.openxmlformats.org/officeDocument/2006/relationships/image" Target="../media/image8.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11.xml"/><Relationship Id="rId1" Type="http://schemas.openxmlformats.org/officeDocument/2006/relationships/tags" Target="../tags/tag943.xml"/><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61.xml"/><Relationship Id="rId7"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5" Type="http://schemas.openxmlformats.org/officeDocument/2006/relationships/tags" Target="../tags/tag63.xml"/><Relationship Id="rId4" Type="http://schemas.openxmlformats.org/officeDocument/2006/relationships/tags" Target="../tags/tag62.xml"/><Relationship Id="rId9" Type="http://schemas.openxmlformats.org/officeDocument/2006/relationships/image" Target="../media/image5.emf"/></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Master" Target="../slideMasters/slideMaster11.xml"/><Relationship Id="rId1" Type="http://schemas.openxmlformats.org/officeDocument/2006/relationships/tags" Target="../tags/tag944.xml"/><Relationship Id="rId4" Type="http://schemas.openxmlformats.org/officeDocument/2006/relationships/image" Target="../media/image8.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11.xml"/><Relationship Id="rId1" Type="http://schemas.openxmlformats.org/officeDocument/2006/relationships/tags" Target="../tags/tag945.xml"/><Relationship Id="rId4" Type="http://schemas.openxmlformats.org/officeDocument/2006/relationships/image" Target="../media/image8.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11.xml"/><Relationship Id="rId1" Type="http://schemas.openxmlformats.org/officeDocument/2006/relationships/tags" Target="../tags/tag946.xml"/><Relationship Id="rId4" Type="http://schemas.openxmlformats.org/officeDocument/2006/relationships/image" Target="../media/image8.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Master" Target="../slideMasters/slideMaster11.xml"/><Relationship Id="rId1" Type="http://schemas.openxmlformats.org/officeDocument/2006/relationships/tags" Target="../tags/tag947.xml"/><Relationship Id="rId4" Type="http://schemas.openxmlformats.org/officeDocument/2006/relationships/image" Target="../media/image8.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Master" Target="../slideMasters/slideMaster11.xml"/><Relationship Id="rId1" Type="http://schemas.openxmlformats.org/officeDocument/2006/relationships/tags" Target="../tags/tag948.xml"/><Relationship Id="rId4" Type="http://schemas.openxmlformats.org/officeDocument/2006/relationships/image" Target="../media/image8.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11.xml"/><Relationship Id="rId1" Type="http://schemas.openxmlformats.org/officeDocument/2006/relationships/tags" Target="../tags/tag949.xml"/><Relationship Id="rId4" Type="http://schemas.openxmlformats.org/officeDocument/2006/relationships/image" Target="../media/image8.emf"/></Relationships>
</file>

<file path=ppt/slideLayouts/_rels/slideLayout15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952.xml"/><Relationship Id="rId7" Type="http://schemas.openxmlformats.org/officeDocument/2006/relationships/oleObject" Target="../embeddings/oleObject145.bin"/><Relationship Id="rId2" Type="http://schemas.openxmlformats.org/officeDocument/2006/relationships/tags" Target="../tags/tag951.xml"/><Relationship Id="rId1" Type="http://schemas.openxmlformats.org/officeDocument/2006/relationships/tags" Target="../tags/tag950.xml"/><Relationship Id="rId6" Type="http://schemas.openxmlformats.org/officeDocument/2006/relationships/slideMaster" Target="../slideMasters/slideMaster11.xml"/><Relationship Id="rId5" Type="http://schemas.openxmlformats.org/officeDocument/2006/relationships/tags" Target="../tags/tag954.xml"/><Relationship Id="rId4" Type="http://schemas.openxmlformats.org/officeDocument/2006/relationships/tags" Target="../tags/tag953.xml"/><Relationship Id="rId9" Type="http://schemas.openxmlformats.org/officeDocument/2006/relationships/image" Target="../media/image4.wmf"/></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67.xml"/><Relationship Id="rId7"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tags" Target="../tags/tag70.xml"/><Relationship Id="rId5" Type="http://schemas.openxmlformats.org/officeDocument/2006/relationships/tags" Target="../tags/tag69.xml"/><Relationship Id="rId4" Type="http://schemas.openxmlformats.org/officeDocument/2006/relationships/tags" Target="../tags/tag68.xml"/><Relationship Id="rId9" Type="http://schemas.openxmlformats.org/officeDocument/2006/relationships/image" Target="../media/image5.emf"/></Relationships>
</file>

<file path=ppt/slideLayouts/_rels/slideLayout1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73.xml"/><Relationship Id="rId7" Type="http://schemas.openxmlformats.org/officeDocument/2006/relationships/tags" Target="../tags/tag77.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tags" Target="../tags/tag76.xml"/><Relationship Id="rId5" Type="http://schemas.openxmlformats.org/officeDocument/2006/relationships/tags" Target="../tags/tag75.xml"/><Relationship Id="rId10" Type="http://schemas.openxmlformats.org/officeDocument/2006/relationships/image" Target="../media/image5.emf"/><Relationship Id="rId4" Type="http://schemas.openxmlformats.org/officeDocument/2006/relationships/tags" Target="../tags/tag74.xml"/><Relationship Id="rId9" Type="http://schemas.openxmlformats.org/officeDocument/2006/relationships/oleObject" Target="../embeddings/oleObject19.bin"/></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85.xml"/><Relationship Id="rId3" Type="http://schemas.openxmlformats.org/officeDocument/2006/relationships/tags" Target="../tags/tag80.xml"/><Relationship Id="rId7" Type="http://schemas.openxmlformats.org/officeDocument/2006/relationships/tags" Target="../tags/tag84.xml"/><Relationship Id="rId12" Type="http://schemas.openxmlformats.org/officeDocument/2006/relationships/image" Target="../media/image4.wmf"/><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11" Type="http://schemas.openxmlformats.org/officeDocument/2006/relationships/image" Target="../media/image3.emf"/><Relationship Id="rId5" Type="http://schemas.openxmlformats.org/officeDocument/2006/relationships/tags" Target="../tags/tag82.xml"/><Relationship Id="rId10" Type="http://schemas.openxmlformats.org/officeDocument/2006/relationships/oleObject" Target="../embeddings/oleObject20.bin"/><Relationship Id="rId4" Type="http://schemas.openxmlformats.org/officeDocument/2006/relationships/tags" Target="../tags/tag81.xml"/><Relationship Id="rId9"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93.xml"/><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image" Target="../media/image4.wmf"/><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tags" Target="../tags/tag91.xml"/><Relationship Id="rId11" Type="http://schemas.openxmlformats.org/officeDocument/2006/relationships/image" Target="../media/image3.emf"/><Relationship Id="rId5" Type="http://schemas.openxmlformats.org/officeDocument/2006/relationships/tags" Target="../tags/tag90.xml"/><Relationship Id="rId10" Type="http://schemas.openxmlformats.org/officeDocument/2006/relationships/oleObject" Target="../embeddings/oleObject21.bin"/><Relationship Id="rId4" Type="http://schemas.openxmlformats.org/officeDocument/2006/relationships/tags" Target="../tags/tag89.xml"/><Relationship Id="rId9"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01.xml"/><Relationship Id="rId3" Type="http://schemas.openxmlformats.org/officeDocument/2006/relationships/tags" Target="../tags/tag96.xml"/><Relationship Id="rId7" Type="http://schemas.openxmlformats.org/officeDocument/2006/relationships/tags" Target="../tags/tag100.xml"/><Relationship Id="rId12" Type="http://schemas.openxmlformats.org/officeDocument/2006/relationships/image" Target="../media/image4.wmf"/><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11" Type="http://schemas.openxmlformats.org/officeDocument/2006/relationships/image" Target="../media/image3.emf"/><Relationship Id="rId5" Type="http://schemas.openxmlformats.org/officeDocument/2006/relationships/tags" Target="../tags/tag98.xml"/><Relationship Id="rId10" Type="http://schemas.openxmlformats.org/officeDocument/2006/relationships/oleObject" Target="../embeddings/oleObject22.bin"/><Relationship Id="rId4" Type="http://schemas.openxmlformats.org/officeDocument/2006/relationships/tags" Target="../tags/tag97.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09.xml"/><Relationship Id="rId3" Type="http://schemas.openxmlformats.org/officeDocument/2006/relationships/tags" Target="../tags/tag104.xml"/><Relationship Id="rId7" Type="http://schemas.openxmlformats.org/officeDocument/2006/relationships/tags" Target="../tags/tag108.xml"/><Relationship Id="rId12" Type="http://schemas.openxmlformats.org/officeDocument/2006/relationships/image" Target="../media/image4.wmf"/><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tags" Target="../tags/tag107.xml"/><Relationship Id="rId11" Type="http://schemas.openxmlformats.org/officeDocument/2006/relationships/image" Target="../media/image6.emf"/><Relationship Id="rId5" Type="http://schemas.openxmlformats.org/officeDocument/2006/relationships/tags" Target="../tags/tag106.xml"/><Relationship Id="rId10" Type="http://schemas.openxmlformats.org/officeDocument/2006/relationships/oleObject" Target="../embeddings/oleObject23.bin"/><Relationship Id="rId4" Type="http://schemas.openxmlformats.org/officeDocument/2006/relationships/tags" Target="../tags/tag105.xml"/><Relationship Id="rId9"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17.xml"/><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image" Target="../media/image4.wmf"/><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11" Type="http://schemas.openxmlformats.org/officeDocument/2006/relationships/image" Target="../media/image3.emf"/><Relationship Id="rId5" Type="http://schemas.openxmlformats.org/officeDocument/2006/relationships/tags" Target="../tags/tag114.xml"/><Relationship Id="rId10" Type="http://schemas.openxmlformats.org/officeDocument/2006/relationships/oleObject" Target="../embeddings/oleObject24.bin"/><Relationship Id="rId4" Type="http://schemas.openxmlformats.org/officeDocument/2006/relationships/tags" Target="../tags/tag113.xml"/><Relationship Id="rId9"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120.xml"/><Relationship Id="rId7" Type="http://schemas.openxmlformats.org/officeDocument/2006/relationships/slideMaster" Target="../slideMasters/slideMaster2.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5" Type="http://schemas.openxmlformats.org/officeDocument/2006/relationships/tags" Target="../tags/tag122.xml"/><Relationship Id="rId10" Type="http://schemas.openxmlformats.org/officeDocument/2006/relationships/image" Target="../media/image4.wmf"/><Relationship Id="rId4" Type="http://schemas.openxmlformats.org/officeDocument/2006/relationships/tags" Target="../tags/tag121.xml"/><Relationship Id="rId9" Type="http://schemas.openxmlformats.org/officeDocument/2006/relationships/image" Target="../media/image5.emf"/></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4.wmf"/><Relationship Id="rId3" Type="http://schemas.openxmlformats.org/officeDocument/2006/relationships/tags" Target="../tags/tag126.xml"/><Relationship Id="rId7" Type="http://schemas.openxmlformats.org/officeDocument/2006/relationships/image" Target="../media/image5.emf"/><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oleObject" Target="../embeddings/oleObject26.bin"/><Relationship Id="rId5" Type="http://schemas.openxmlformats.org/officeDocument/2006/relationships/slideMaster" Target="../slideMasters/slideMaster2.xml"/><Relationship Id="rId4" Type="http://schemas.openxmlformats.org/officeDocument/2006/relationships/tags" Target="../tags/tag127.xml"/></Relationships>
</file>

<file path=ppt/slideLayouts/_rels/slideLayout25.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50.xml"/><Relationship Id="rId7" Type="http://schemas.openxmlformats.org/officeDocument/2006/relationships/tags" Target="../tags/tag154.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tags" Target="../tags/tag153.xml"/><Relationship Id="rId5" Type="http://schemas.openxmlformats.org/officeDocument/2006/relationships/tags" Target="../tags/tag152.xml"/><Relationship Id="rId10" Type="http://schemas.openxmlformats.org/officeDocument/2006/relationships/image" Target="../media/image3.emf"/><Relationship Id="rId4" Type="http://schemas.openxmlformats.org/officeDocument/2006/relationships/tags" Target="../tags/tag151.xml"/><Relationship Id="rId9" Type="http://schemas.openxmlformats.org/officeDocument/2006/relationships/oleObject" Target="../embeddings/oleObject28.bin"/></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157.xml"/><Relationship Id="rId7" Type="http://schemas.openxmlformats.org/officeDocument/2006/relationships/slideMaster" Target="../slideMasters/slideMaster3.xml"/><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tags" Target="../tags/tag160.xml"/><Relationship Id="rId5" Type="http://schemas.openxmlformats.org/officeDocument/2006/relationships/tags" Target="../tags/tag159.xml"/><Relationship Id="rId4" Type="http://schemas.openxmlformats.org/officeDocument/2006/relationships/tags" Target="../tags/tag158.xml"/><Relationship Id="rId9" Type="http://schemas.openxmlformats.org/officeDocument/2006/relationships/image" Target="../media/image5.emf"/></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63.xml"/><Relationship Id="rId7" Type="http://schemas.openxmlformats.org/officeDocument/2006/relationships/tags" Target="../tags/tag167.xml"/><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tags" Target="../tags/tag166.xml"/><Relationship Id="rId5" Type="http://schemas.openxmlformats.org/officeDocument/2006/relationships/tags" Target="../tags/tag165.xml"/><Relationship Id="rId10" Type="http://schemas.openxmlformats.org/officeDocument/2006/relationships/image" Target="../media/image5.emf"/><Relationship Id="rId4" Type="http://schemas.openxmlformats.org/officeDocument/2006/relationships/tags" Target="../tags/tag164.xml"/><Relationship Id="rId9" Type="http://schemas.openxmlformats.org/officeDocument/2006/relationships/oleObject" Target="../embeddings/oleObject30.bin"/></Relationships>
</file>

<file path=ppt/slideLayouts/_rels/slideLayout28.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70.xml"/><Relationship Id="rId7" Type="http://schemas.openxmlformats.org/officeDocument/2006/relationships/tags" Target="../tags/tag174.xml"/><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tags" Target="../tags/tag173.xml"/><Relationship Id="rId5" Type="http://schemas.openxmlformats.org/officeDocument/2006/relationships/tags" Target="../tags/tag172.xml"/><Relationship Id="rId10" Type="http://schemas.openxmlformats.org/officeDocument/2006/relationships/image" Target="../media/image5.emf"/><Relationship Id="rId4" Type="http://schemas.openxmlformats.org/officeDocument/2006/relationships/tags" Target="../tags/tag171.xml"/><Relationship Id="rId9" Type="http://schemas.openxmlformats.org/officeDocument/2006/relationships/oleObject" Target="../embeddings/oleObject31.bin"/></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182.xml"/><Relationship Id="rId3" Type="http://schemas.openxmlformats.org/officeDocument/2006/relationships/tags" Target="../tags/tag177.xml"/><Relationship Id="rId7" Type="http://schemas.openxmlformats.org/officeDocument/2006/relationships/tags" Target="../tags/tag181.xml"/><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tags" Target="../tags/tag180.xml"/><Relationship Id="rId11" Type="http://schemas.openxmlformats.org/officeDocument/2006/relationships/image" Target="../media/image5.emf"/><Relationship Id="rId5" Type="http://schemas.openxmlformats.org/officeDocument/2006/relationships/tags" Target="../tags/tag179.xml"/><Relationship Id="rId10" Type="http://schemas.openxmlformats.org/officeDocument/2006/relationships/oleObject" Target="../embeddings/oleObject32.bin"/><Relationship Id="rId4" Type="http://schemas.openxmlformats.org/officeDocument/2006/relationships/tags" Target="../tags/tag178.xml"/><Relationship Id="rId9"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190.xml"/><Relationship Id="rId13" Type="http://schemas.openxmlformats.org/officeDocument/2006/relationships/image" Target="../media/image4.wmf"/><Relationship Id="rId3" Type="http://schemas.openxmlformats.org/officeDocument/2006/relationships/tags" Target="../tags/tag185.xml"/><Relationship Id="rId7" Type="http://schemas.openxmlformats.org/officeDocument/2006/relationships/tags" Target="../tags/tag189.xml"/><Relationship Id="rId12" Type="http://schemas.openxmlformats.org/officeDocument/2006/relationships/image" Target="../media/image3.emf"/><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tags" Target="../tags/tag188.xml"/><Relationship Id="rId11" Type="http://schemas.openxmlformats.org/officeDocument/2006/relationships/oleObject" Target="../embeddings/oleObject33.bin"/><Relationship Id="rId5" Type="http://schemas.openxmlformats.org/officeDocument/2006/relationships/tags" Target="../tags/tag187.xml"/><Relationship Id="rId10" Type="http://schemas.openxmlformats.org/officeDocument/2006/relationships/slideMaster" Target="../slideMasters/slideMaster3.xml"/><Relationship Id="rId4" Type="http://schemas.openxmlformats.org/officeDocument/2006/relationships/tags" Target="../tags/tag186.xml"/><Relationship Id="rId9" Type="http://schemas.openxmlformats.org/officeDocument/2006/relationships/tags" Target="../tags/tag191.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image" Target="../media/image4.wmf"/><Relationship Id="rId3" Type="http://schemas.openxmlformats.org/officeDocument/2006/relationships/tags" Target="../tags/tag194.xml"/><Relationship Id="rId7" Type="http://schemas.openxmlformats.org/officeDocument/2006/relationships/tags" Target="../tags/tag198.xml"/><Relationship Id="rId12" Type="http://schemas.openxmlformats.org/officeDocument/2006/relationships/image" Target="../media/image3.emf"/><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tags" Target="../tags/tag197.xml"/><Relationship Id="rId11" Type="http://schemas.openxmlformats.org/officeDocument/2006/relationships/oleObject" Target="../embeddings/oleObject34.bin"/><Relationship Id="rId5" Type="http://schemas.openxmlformats.org/officeDocument/2006/relationships/tags" Target="../tags/tag196.xml"/><Relationship Id="rId10" Type="http://schemas.openxmlformats.org/officeDocument/2006/relationships/slideMaster" Target="../slideMasters/slideMaster3.xml"/><Relationship Id="rId4" Type="http://schemas.openxmlformats.org/officeDocument/2006/relationships/tags" Target="../tags/tag195.xml"/><Relationship Id="rId9" Type="http://schemas.openxmlformats.org/officeDocument/2006/relationships/tags" Target="../tags/tag200.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08.xml"/><Relationship Id="rId13" Type="http://schemas.openxmlformats.org/officeDocument/2006/relationships/image" Target="../media/image4.wmf"/><Relationship Id="rId3" Type="http://schemas.openxmlformats.org/officeDocument/2006/relationships/tags" Target="../tags/tag203.xml"/><Relationship Id="rId7" Type="http://schemas.openxmlformats.org/officeDocument/2006/relationships/tags" Target="../tags/tag207.xml"/><Relationship Id="rId12" Type="http://schemas.openxmlformats.org/officeDocument/2006/relationships/image" Target="../media/image3.emf"/><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tags" Target="../tags/tag206.xml"/><Relationship Id="rId11" Type="http://schemas.openxmlformats.org/officeDocument/2006/relationships/oleObject" Target="../embeddings/oleObject35.bin"/><Relationship Id="rId5" Type="http://schemas.openxmlformats.org/officeDocument/2006/relationships/tags" Target="../tags/tag205.xml"/><Relationship Id="rId10" Type="http://schemas.openxmlformats.org/officeDocument/2006/relationships/slideMaster" Target="../slideMasters/slideMaster3.xml"/><Relationship Id="rId4" Type="http://schemas.openxmlformats.org/officeDocument/2006/relationships/tags" Target="../tags/tag204.xml"/><Relationship Id="rId9" Type="http://schemas.openxmlformats.org/officeDocument/2006/relationships/tags" Target="../tags/tag209.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217.xml"/><Relationship Id="rId13" Type="http://schemas.openxmlformats.org/officeDocument/2006/relationships/image" Target="../media/image4.wmf"/><Relationship Id="rId3" Type="http://schemas.openxmlformats.org/officeDocument/2006/relationships/tags" Target="../tags/tag212.xml"/><Relationship Id="rId7" Type="http://schemas.openxmlformats.org/officeDocument/2006/relationships/tags" Target="../tags/tag216.xml"/><Relationship Id="rId12" Type="http://schemas.openxmlformats.org/officeDocument/2006/relationships/image" Target="../media/image6.emf"/><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tags" Target="../tags/tag215.xml"/><Relationship Id="rId11" Type="http://schemas.openxmlformats.org/officeDocument/2006/relationships/oleObject" Target="../embeddings/oleObject36.bin"/><Relationship Id="rId5" Type="http://schemas.openxmlformats.org/officeDocument/2006/relationships/tags" Target="../tags/tag214.xml"/><Relationship Id="rId10" Type="http://schemas.openxmlformats.org/officeDocument/2006/relationships/slideMaster" Target="../slideMasters/slideMaster3.xml"/><Relationship Id="rId4" Type="http://schemas.openxmlformats.org/officeDocument/2006/relationships/tags" Target="../tags/tag213.xml"/><Relationship Id="rId9" Type="http://schemas.openxmlformats.org/officeDocument/2006/relationships/tags" Target="../tags/tag218.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226.xml"/><Relationship Id="rId13" Type="http://schemas.openxmlformats.org/officeDocument/2006/relationships/image" Target="../media/image4.wmf"/><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image" Target="../media/image3.emf"/><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oleObject" Target="../embeddings/oleObject37.bin"/><Relationship Id="rId5" Type="http://schemas.openxmlformats.org/officeDocument/2006/relationships/tags" Target="../tags/tag223.xml"/><Relationship Id="rId10" Type="http://schemas.openxmlformats.org/officeDocument/2006/relationships/slideMaster" Target="../slideMasters/slideMaster3.xml"/><Relationship Id="rId4" Type="http://schemas.openxmlformats.org/officeDocument/2006/relationships/tags" Target="../tags/tag222.xml"/><Relationship Id="rId9" Type="http://schemas.openxmlformats.org/officeDocument/2006/relationships/tags" Target="../tags/tag227.xml"/></Relationships>
</file>

<file path=ppt/slideLayouts/_rels/slideLayout35.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30.xml"/><Relationship Id="rId7" Type="http://schemas.openxmlformats.org/officeDocument/2006/relationships/tags" Target="../tags/tag234.xml"/><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tags" Target="../tags/tag233.xml"/><Relationship Id="rId11" Type="http://schemas.openxmlformats.org/officeDocument/2006/relationships/image" Target="../media/image4.wmf"/><Relationship Id="rId5" Type="http://schemas.openxmlformats.org/officeDocument/2006/relationships/tags" Target="../tags/tag232.xml"/><Relationship Id="rId10" Type="http://schemas.openxmlformats.org/officeDocument/2006/relationships/image" Target="../media/image5.emf"/><Relationship Id="rId4" Type="http://schemas.openxmlformats.org/officeDocument/2006/relationships/tags" Target="../tags/tag231.xml"/><Relationship Id="rId9" Type="http://schemas.openxmlformats.org/officeDocument/2006/relationships/oleObject" Target="../embeddings/oleObject38.bin"/></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37.xml"/><Relationship Id="rId7" Type="http://schemas.openxmlformats.org/officeDocument/2006/relationships/oleObject" Target="../embeddings/oleObject39.bin"/><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slideMaster" Target="../slideMasters/slideMaster3.xml"/><Relationship Id="rId5" Type="http://schemas.openxmlformats.org/officeDocument/2006/relationships/tags" Target="../tags/tag239.xml"/><Relationship Id="rId4" Type="http://schemas.openxmlformats.org/officeDocument/2006/relationships/tags" Target="../tags/tag238.xml"/><Relationship Id="rId9" Type="http://schemas.openxmlformats.org/officeDocument/2006/relationships/image" Target="../media/image4.wmf"/></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242.xml"/><Relationship Id="rId7" Type="http://schemas.openxmlformats.org/officeDocument/2006/relationships/image" Target="../media/image4.wmf"/><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image" Target="../media/image5.emf"/><Relationship Id="rId5" Type="http://schemas.openxmlformats.org/officeDocument/2006/relationships/oleObject" Target="../embeddings/oleObject40.bin"/><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4.xml"/><Relationship Id="rId1" Type="http://schemas.openxmlformats.org/officeDocument/2006/relationships/tags" Target="../tags/tag243.xml"/><Relationship Id="rId5" Type="http://schemas.openxmlformats.org/officeDocument/2006/relationships/image" Target="../media/image5.emf"/><Relationship Id="rId4" Type="http://schemas.openxmlformats.org/officeDocument/2006/relationships/oleObject" Target="../embeddings/oleObject41.bin"/></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45.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47.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48.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4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50.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51.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52.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8" Type="http://schemas.openxmlformats.org/officeDocument/2006/relationships/tags" Target="../tags/tag260.xml"/><Relationship Id="rId13" Type="http://schemas.openxmlformats.org/officeDocument/2006/relationships/image" Target="../media/image4.wmf"/><Relationship Id="rId3" Type="http://schemas.openxmlformats.org/officeDocument/2006/relationships/tags" Target="../tags/tag255.xml"/><Relationship Id="rId7" Type="http://schemas.openxmlformats.org/officeDocument/2006/relationships/tags" Target="../tags/tag259.xml"/><Relationship Id="rId12" Type="http://schemas.openxmlformats.org/officeDocument/2006/relationships/image" Target="../media/image6.emf"/><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tags" Target="../tags/tag258.xml"/><Relationship Id="rId11" Type="http://schemas.openxmlformats.org/officeDocument/2006/relationships/oleObject" Target="../embeddings/oleObject43.bin"/><Relationship Id="rId5" Type="http://schemas.openxmlformats.org/officeDocument/2006/relationships/tags" Target="../tags/tag257.xml"/><Relationship Id="rId10" Type="http://schemas.openxmlformats.org/officeDocument/2006/relationships/slideMaster" Target="../slideMasters/slideMaster4.xml"/><Relationship Id="rId4" Type="http://schemas.openxmlformats.org/officeDocument/2006/relationships/tags" Target="../tags/tag256.xml"/><Relationship Id="rId9" Type="http://schemas.openxmlformats.org/officeDocument/2006/relationships/tags" Target="../tags/tag261.xml"/></Relationships>
</file>

<file path=ppt/slideLayouts/_rels/slideLayout51.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64.xml"/><Relationship Id="rId7" Type="http://schemas.openxmlformats.org/officeDocument/2006/relationships/tags" Target="../tags/tag268.xml"/><Relationship Id="rId2" Type="http://schemas.openxmlformats.org/officeDocument/2006/relationships/tags" Target="../tags/tag263.xml"/><Relationship Id="rId1" Type="http://schemas.openxmlformats.org/officeDocument/2006/relationships/tags" Target="../tags/tag262.xml"/><Relationship Id="rId6" Type="http://schemas.openxmlformats.org/officeDocument/2006/relationships/tags" Target="../tags/tag267.xml"/><Relationship Id="rId5" Type="http://schemas.openxmlformats.org/officeDocument/2006/relationships/tags" Target="../tags/tag266.xml"/><Relationship Id="rId10" Type="http://schemas.openxmlformats.org/officeDocument/2006/relationships/image" Target="../media/image3.emf"/><Relationship Id="rId4" Type="http://schemas.openxmlformats.org/officeDocument/2006/relationships/tags" Target="../tags/tag265.xml"/><Relationship Id="rId9" Type="http://schemas.openxmlformats.org/officeDocument/2006/relationships/oleObject" Target="../embeddings/oleObject44.bin"/></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91.xml"/><Relationship Id="rId7" Type="http://schemas.openxmlformats.org/officeDocument/2006/relationships/oleObject" Target="../embeddings/oleObject46.bin"/><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slideMaster" Target="../slideMasters/slideMaster5.xml"/><Relationship Id="rId5" Type="http://schemas.openxmlformats.org/officeDocument/2006/relationships/tags" Target="../tags/tag293.xml"/><Relationship Id="rId4" Type="http://schemas.openxmlformats.org/officeDocument/2006/relationships/tags" Target="../tags/tag292.xml"/><Relationship Id="rId9" Type="http://schemas.openxmlformats.org/officeDocument/2006/relationships/image" Target="../media/image4.wmf"/></Relationships>
</file>

<file path=ppt/slideLayouts/_rels/slideLayout53.xml.rels><?xml version="1.0" encoding="UTF-8" standalone="yes"?>
<Relationships xmlns="http://schemas.openxmlformats.org/package/2006/relationships"><Relationship Id="rId8" Type="http://schemas.openxmlformats.org/officeDocument/2006/relationships/tags" Target="../tags/tag301.xml"/><Relationship Id="rId3" Type="http://schemas.openxmlformats.org/officeDocument/2006/relationships/tags" Target="../tags/tag296.xml"/><Relationship Id="rId7" Type="http://schemas.openxmlformats.org/officeDocument/2006/relationships/tags" Target="../tags/tag300.xml"/><Relationship Id="rId2" Type="http://schemas.openxmlformats.org/officeDocument/2006/relationships/tags" Target="../tags/tag295.xml"/><Relationship Id="rId1" Type="http://schemas.openxmlformats.org/officeDocument/2006/relationships/tags" Target="../tags/tag294.xml"/><Relationship Id="rId6" Type="http://schemas.openxmlformats.org/officeDocument/2006/relationships/tags" Target="../tags/tag299.xml"/><Relationship Id="rId11" Type="http://schemas.openxmlformats.org/officeDocument/2006/relationships/image" Target="../media/image3.emf"/><Relationship Id="rId5" Type="http://schemas.openxmlformats.org/officeDocument/2006/relationships/tags" Target="../tags/tag298.xml"/><Relationship Id="rId10" Type="http://schemas.openxmlformats.org/officeDocument/2006/relationships/oleObject" Target="../embeddings/oleObject47.bin"/><Relationship Id="rId4" Type="http://schemas.openxmlformats.org/officeDocument/2006/relationships/tags" Target="../tags/tag297.xml"/><Relationship Id="rId9"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304.xml"/><Relationship Id="rId7" Type="http://schemas.openxmlformats.org/officeDocument/2006/relationships/tags" Target="../tags/tag308.xml"/><Relationship Id="rId2" Type="http://schemas.openxmlformats.org/officeDocument/2006/relationships/tags" Target="../tags/tag303.xml"/><Relationship Id="rId1" Type="http://schemas.openxmlformats.org/officeDocument/2006/relationships/tags" Target="../tags/tag302.xml"/><Relationship Id="rId6" Type="http://schemas.openxmlformats.org/officeDocument/2006/relationships/tags" Target="../tags/tag307.xml"/><Relationship Id="rId5" Type="http://schemas.openxmlformats.org/officeDocument/2006/relationships/tags" Target="../tags/tag306.xml"/><Relationship Id="rId10" Type="http://schemas.openxmlformats.org/officeDocument/2006/relationships/image" Target="../media/image5.emf"/><Relationship Id="rId4" Type="http://schemas.openxmlformats.org/officeDocument/2006/relationships/tags" Target="../tags/tag305.xml"/><Relationship Id="rId9" Type="http://schemas.openxmlformats.org/officeDocument/2006/relationships/oleObject" Target="../embeddings/oleObject48.bin"/></Relationships>
</file>

<file path=ppt/slideLayouts/_rels/slideLayout55.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311.xml"/><Relationship Id="rId7" Type="http://schemas.openxmlformats.org/officeDocument/2006/relationships/tags" Target="../tags/tag315.xml"/><Relationship Id="rId2" Type="http://schemas.openxmlformats.org/officeDocument/2006/relationships/tags" Target="../tags/tag310.xml"/><Relationship Id="rId1" Type="http://schemas.openxmlformats.org/officeDocument/2006/relationships/tags" Target="../tags/tag309.xml"/><Relationship Id="rId6" Type="http://schemas.openxmlformats.org/officeDocument/2006/relationships/tags" Target="../tags/tag314.xml"/><Relationship Id="rId5" Type="http://schemas.openxmlformats.org/officeDocument/2006/relationships/tags" Target="../tags/tag313.xml"/><Relationship Id="rId10" Type="http://schemas.openxmlformats.org/officeDocument/2006/relationships/image" Target="../media/image5.emf"/><Relationship Id="rId4" Type="http://schemas.openxmlformats.org/officeDocument/2006/relationships/tags" Target="../tags/tag312.xml"/><Relationship Id="rId9" Type="http://schemas.openxmlformats.org/officeDocument/2006/relationships/oleObject" Target="../embeddings/oleObject49.bin"/></Relationships>
</file>

<file path=ppt/slideLayouts/_rels/slideLayout56.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318.xml"/><Relationship Id="rId7" Type="http://schemas.openxmlformats.org/officeDocument/2006/relationships/tags" Target="../tags/tag322.xml"/><Relationship Id="rId2" Type="http://schemas.openxmlformats.org/officeDocument/2006/relationships/tags" Target="../tags/tag317.xml"/><Relationship Id="rId1" Type="http://schemas.openxmlformats.org/officeDocument/2006/relationships/tags" Target="../tags/tag316.xml"/><Relationship Id="rId6" Type="http://schemas.openxmlformats.org/officeDocument/2006/relationships/tags" Target="../tags/tag321.xml"/><Relationship Id="rId5" Type="http://schemas.openxmlformats.org/officeDocument/2006/relationships/tags" Target="../tags/tag320.xml"/><Relationship Id="rId10" Type="http://schemas.openxmlformats.org/officeDocument/2006/relationships/image" Target="../media/image5.emf"/><Relationship Id="rId4" Type="http://schemas.openxmlformats.org/officeDocument/2006/relationships/tags" Target="../tags/tag319.xml"/><Relationship Id="rId9" Type="http://schemas.openxmlformats.org/officeDocument/2006/relationships/oleObject" Target="../embeddings/oleObject50.bin"/></Relationships>
</file>

<file path=ppt/slideLayouts/_rels/slideLayout57.xml.rels><?xml version="1.0" encoding="UTF-8" standalone="yes"?>
<Relationships xmlns="http://schemas.openxmlformats.org/package/2006/relationships"><Relationship Id="rId8" Type="http://schemas.openxmlformats.org/officeDocument/2006/relationships/tags" Target="../tags/tag330.xml"/><Relationship Id="rId3" Type="http://schemas.openxmlformats.org/officeDocument/2006/relationships/tags" Target="../tags/tag325.xml"/><Relationship Id="rId7" Type="http://schemas.openxmlformats.org/officeDocument/2006/relationships/tags" Target="../tags/tag329.xml"/><Relationship Id="rId2" Type="http://schemas.openxmlformats.org/officeDocument/2006/relationships/tags" Target="../tags/tag324.xml"/><Relationship Id="rId1" Type="http://schemas.openxmlformats.org/officeDocument/2006/relationships/tags" Target="../tags/tag323.xml"/><Relationship Id="rId6" Type="http://schemas.openxmlformats.org/officeDocument/2006/relationships/tags" Target="../tags/tag328.xml"/><Relationship Id="rId11" Type="http://schemas.openxmlformats.org/officeDocument/2006/relationships/image" Target="../media/image5.emf"/><Relationship Id="rId5" Type="http://schemas.openxmlformats.org/officeDocument/2006/relationships/tags" Target="../tags/tag327.xml"/><Relationship Id="rId10" Type="http://schemas.openxmlformats.org/officeDocument/2006/relationships/oleObject" Target="../embeddings/oleObject51.bin"/><Relationship Id="rId4" Type="http://schemas.openxmlformats.org/officeDocument/2006/relationships/tags" Target="../tags/tag326.xml"/><Relationship Id="rId9"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338.xml"/><Relationship Id="rId13" Type="http://schemas.openxmlformats.org/officeDocument/2006/relationships/image" Target="../media/image4.wmf"/><Relationship Id="rId3" Type="http://schemas.openxmlformats.org/officeDocument/2006/relationships/tags" Target="../tags/tag333.xml"/><Relationship Id="rId7" Type="http://schemas.openxmlformats.org/officeDocument/2006/relationships/tags" Target="../tags/tag337.xml"/><Relationship Id="rId12" Type="http://schemas.openxmlformats.org/officeDocument/2006/relationships/image" Target="../media/image3.emf"/><Relationship Id="rId2" Type="http://schemas.openxmlformats.org/officeDocument/2006/relationships/tags" Target="../tags/tag332.xml"/><Relationship Id="rId1" Type="http://schemas.openxmlformats.org/officeDocument/2006/relationships/tags" Target="../tags/tag331.xml"/><Relationship Id="rId6" Type="http://schemas.openxmlformats.org/officeDocument/2006/relationships/tags" Target="../tags/tag336.xml"/><Relationship Id="rId11" Type="http://schemas.openxmlformats.org/officeDocument/2006/relationships/oleObject" Target="../embeddings/oleObject52.bin"/><Relationship Id="rId5" Type="http://schemas.openxmlformats.org/officeDocument/2006/relationships/tags" Target="../tags/tag335.xml"/><Relationship Id="rId10" Type="http://schemas.openxmlformats.org/officeDocument/2006/relationships/slideMaster" Target="../slideMasters/slideMaster5.xml"/><Relationship Id="rId4" Type="http://schemas.openxmlformats.org/officeDocument/2006/relationships/tags" Target="../tags/tag334.xml"/><Relationship Id="rId9" Type="http://schemas.openxmlformats.org/officeDocument/2006/relationships/tags" Target="../tags/tag339.xml"/></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347.xml"/><Relationship Id="rId13" Type="http://schemas.openxmlformats.org/officeDocument/2006/relationships/image" Target="../media/image4.wmf"/><Relationship Id="rId3" Type="http://schemas.openxmlformats.org/officeDocument/2006/relationships/tags" Target="../tags/tag342.xml"/><Relationship Id="rId7" Type="http://schemas.openxmlformats.org/officeDocument/2006/relationships/tags" Target="../tags/tag346.xml"/><Relationship Id="rId12" Type="http://schemas.openxmlformats.org/officeDocument/2006/relationships/image" Target="../media/image3.emf"/><Relationship Id="rId2" Type="http://schemas.openxmlformats.org/officeDocument/2006/relationships/tags" Target="../tags/tag341.xml"/><Relationship Id="rId1" Type="http://schemas.openxmlformats.org/officeDocument/2006/relationships/tags" Target="../tags/tag340.xml"/><Relationship Id="rId6" Type="http://schemas.openxmlformats.org/officeDocument/2006/relationships/tags" Target="../tags/tag345.xml"/><Relationship Id="rId11" Type="http://schemas.openxmlformats.org/officeDocument/2006/relationships/oleObject" Target="../embeddings/oleObject53.bin"/><Relationship Id="rId5" Type="http://schemas.openxmlformats.org/officeDocument/2006/relationships/tags" Target="../tags/tag344.xml"/><Relationship Id="rId10" Type="http://schemas.openxmlformats.org/officeDocument/2006/relationships/slideMaster" Target="../slideMasters/slideMaster5.xml"/><Relationship Id="rId4" Type="http://schemas.openxmlformats.org/officeDocument/2006/relationships/tags" Target="../tags/tag343.xml"/><Relationship Id="rId9" Type="http://schemas.openxmlformats.org/officeDocument/2006/relationships/tags" Target="../tags/tag348.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8" Type="http://schemas.openxmlformats.org/officeDocument/2006/relationships/tags" Target="../tags/tag356.xml"/><Relationship Id="rId13" Type="http://schemas.openxmlformats.org/officeDocument/2006/relationships/image" Target="../media/image4.wmf"/><Relationship Id="rId3" Type="http://schemas.openxmlformats.org/officeDocument/2006/relationships/tags" Target="../tags/tag351.xml"/><Relationship Id="rId7" Type="http://schemas.openxmlformats.org/officeDocument/2006/relationships/tags" Target="../tags/tag355.xml"/><Relationship Id="rId12" Type="http://schemas.openxmlformats.org/officeDocument/2006/relationships/image" Target="../media/image3.emf"/><Relationship Id="rId2" Type="http://schemas.openxmlformats.org/officeDocument/2006/relationships/tags" Target="../tags/tag350.xml"/><Relationship Id="rId1" Type="http://schemas.openxmlformats.org/officeDocument/2006/relationships/tags" Target="../tags/tag349.xml"/><Relationship Id="rId6" Type="http://schemas.openxmlformats.org/officeDocument/2006/relationships/tags" Target="../tags/tag354.xml"/><Relationship Id="rId11" Type="http://schemas.openxmlformats.org/officeDocument/2006/relationships/oleObject" Target="../embeddings/oleObject54.bin"/><Relationship Id="rId5" Type="http://schemas.openxmlformats.org/officeDocument/2006/relationships/tags" Target="../tags/tag353.xml"/><Relationship Id="rId10" Type="http://schemas.openxmlformats.org/officeDocument/2006/relationships/slideMaster" Target="../slideMasters/slideMaster5.xml"/><Relationship Id="rId4" Type="http://schemas.openxmlformats.org/officeDocument/2006/relationships/tags" Target="../tags/tag352.xml"/><Relationship Id="rId9" Type="http://schemas.openxmlformats.org/officeDocument/2006/relationships/tags" Target="../tags/tag357.xml"/></Relationships>
</file>

<file path=ppt/slideLayouts/_rels/slideLayout61.xml.rels><?xml version="1.0" encoding="UTF-8" standalone="yes"?>
<Relationships xmlns="http://schemas.openxmlformats.org/package/2006/relationships"><Relationship Id="rId8" Type="http://schemas.openxmlformats.org/officeDocument/2006/relationships/tags" Target="../tags/tag365.xml"/><Relationship Id="rId3" Type="http://schemas.openxmlformats.org/officeDocument/2006/relationships/tags" Target="../tags/tag360.xml"/><Relationship Id="rId7" Type="http://schemas.openxmlformats.org/officeDocument/2006/relationships/tags" Target="../tags/tag364.xml"/><Relationship Id="rId12" Type="http://schemas.openxmlformats.org/officeDocument/2006/relationships/image" Target="../media/image4.wmf"/><Relationship Id="rId2" Type="http://schemas.openxmlformats.org/officeDocument/2006/relationships/tags" Target="../tags/tag359.xml"/><Relationship Id="rId1" Type="http://schemas.openxmlformats.org/officeDocument/2006/relationships/tags" Target="../tags/tag358.xml"/><Relationship Id="rId6" Type="http://schemas.openxmlformats.org/officeDocument/2006/relationships/tags" Target="../tags/tag363.xml"/><Relationship Id="rId11" Type="http://schemas.openxmlformats.org/officeDocument/2006/relationships/image" Target="../media/image6.emf"/><Relationship Id="rId5" Type="http://schemas.openxmlformats.org/officeDocument/2006/relationships/tags" Target="../tags/tag362.xml"/><Relationship Id="rId10" Type="http://schemas.openxmlformats.org/officeDocument/2006/relationships/oleObject" Target="../embeddings/oleObject55.bin"/><Relationship Id="rId4" Type="http://schemas.openxmlformats.org/officeDocument/2006/relationships/tags" Target="../tags/tag361.xml"/><Relationship Id="rId9"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8" Type="http://schemas.openxmlformats.org/officeDocument/2006/relationships/tags" Target="../tags/tag373.xml"/><Relationship Id="rId13" Type="http://schemas.openxmlformats.org/officeDocument/2006/relationships/image" Target="../media/image4.wmf"/><Relationship Id="rId3" Type="http://schemas.openxmlformats.org/officeDocument/2006/relationships/tags" Target="../tags/tag368.xml"/><Relationship Id="rId7" Type="http://schemas.openxmlformats.org/officeDocument/2006/relationships/tags" Target="../tags/tag372.xml"/><Relationship Id="rId12" Type="http://schemas.openxmlformats.org/officeDocument/2006/relationships/image" Target="../media/image3.emf"/><Relationship Id="rId2" Type="http://schemas.openxmlformats.org/officeDocument/2006/relationships/tags" Target="../tags/tag367.xml"/><Relationship Id="rId1" Type="http://schemas.openxmlformats.org/officeDocument/2006/relationships/tags" Target="../tags/tag366.xml"/><Relationship Id="rId6" Type="http://schemas.openxmlformats.org/officeDocument/2006/relationships/tags" Target="../tags/tag371.xml"/><Relationship Id="rId11" Type="http://schemas.openxmlformats.org/officeDocument/2006/relationships/oleObject" Target="../embeddings/oleObject56.bin"/><Relationship Id="rId5" Type="http://schemas.openxmlformats.org/officeDocument/2006/relationships/tags" Target="../tags/tag370.xml"/><Relationship Id="rId10" Type="http://schemas.openxmlformats.org/officeDocument/2006/relationships/slideMaster" Target="../slideMasters/slideMaster5.xml"/><Relationship Id="rId4" Type="http://schemas.openxmlformats.org/officeDocument/2006/relationships/tags" Target="../tags/tag369.xml"/><Relationship Id="rId9" Type="http://schemas.openxmlformats.org/officeDocument/2006/relationships/tags" Target="../tags/tag374.xml"/></Relationships>
</file>

<file path=ppt/slideLayouts/_rels/slideLayout6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377.xml"/><Relationship Id="rId7" Type="http://schemas.openxmlformats.org/officeDocument/2006/relationships/tags" Target="../tags/tag381.xml"/><Relationship Id="rId2" Type="http://schemas.openxmlformats.org/officeDocument/2006/relationships/tags" Target="../tags/tag376.xml"/><Relationship Id="rId1" Type="http://schemas.openxmlformats.org/officeDocument/2006/relationships/tags" Target="../tags/tag375.xml"/><Relationship Id="rId6" Type="http://schemas.openxmlformats.org/officeDocument/2006/relationships/tags" Target="../tags/tag380.xml"/><Relationship Id="rId11" Type="http://schemas.openxmlformats.org/officeDocument/2006/relationships/image" Target="../media/image4.wmf"/><Relationship Id="rId5" Type="http://schemas.openxmlformats.org/officeDocument/2006/relationships/tags" Target="../tags/tag379.xml"/><Relationship Id="rId10" Type="http://schemas.openxmlformats.org/officeDocument/2006/relationships/image" Target="../media/image5.emf"/><Relationship Id="rId4" Type="http://schemas.openxmlformats.org/officeDocument/2006/relationships/tags" Target="../tags/tag378.xml"/><Relationship Id="rId9" Type="http://schemas.openxmlformats.org/officeDocument/2006/relationships/oleObject" Target="../embeddings/oleObject57.bin"/></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84.xml"/><Relationship Id="rId7" Type="http://schemas.openxmlformats.org/officeDocument/2006/relationships/oleObject" Target="../embeddings/oleObject58.bin"/><Relationship Id="rId2" Type="http://schemas.openxmlformats.org/officeDocument/2006/relationships/tags" Target="../tags/tag383.xml"/><Relationship Id="rId1" Type="http://schemas.openxmlformats.org/officeDocument/2006/relationships/tags" Target="../tags/tag382.xml"/><Relationship Id="rId6" Type="http://schemas.openxmlformats.org/officeDocument/2006/relationships/slideMaster" Target="../slideMasters/slideMaster5.xml"/><Relationship Id="rId5" Type="http://schemas.openxmlformats.org/officeDocument/2006/relationships/tags" Target="../tags/tag386.xml"/><Relationship Id="rId4" Type="http://schemas.openxmlformats.org/officeDocument/2006/relationships/tags" Target="../tags/tag385.xml"/><Relationship Id="rId9" Type="http://schemas.openxmlformats.org/officeDocument/2006/relationships/image" Target="../media/image4.wmf"/></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389.xml"/><Relationship Id="rId7" Type="http://schemas.openxmlformats.org/officeDocument/2006/relationships/image" Target="../media/image4.wmf"/><Relationship Id="rId2" Type="http://schemas.openxmlformats.org/officeDocument/2006/relationships/tags" Target="../tags/tag388.xml"/><Relationship Id="rId1" Type="http://schemas.openxmlformats.org/officeDocument/2006/relationships/tags" Target="../tags/tag387.xml"/><Relationship Id="rId6" Type="http://schemas.openxmlformats.org/officeDocument/2006/relationships/image" Target="../media/image5.emf"/><Relationship Id="rId5" Type="http://schemas.openxmlformats.org/officeDocument/2006/relationships/oleObject" Target="../embeddings/oleObject59.bin"/><Relationship Id="rId4"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91.xml"/><Relationship Id="rId1" Type="http://schemas.openxmlformats.org/officeDocument/2006/relationships/tags" Target="../tags/tag390.xml"/><Relationship Id="rId5" Type="http://schemas.openxmlformats.org/officeDocument/2006/relationships/image" Target="../media/image7.emf"/><Relationship Id="rId4" Type="http://schemas.openxmlformats.org/officeDocument/2006/relationships/oleObject" Target="../embeddings/oleObject60.bin"/></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392.xml"/></Relationships>
</file>

<file path=ppt/slideLayouts/_rels/slideLayout68.xml.rels><?xml version="1.0" encoding="UTF-8" standalone="yes"?>
<Relationships xmlns="http://schemas.openxmlformats.org/package/2006/relationships"><Relationship Id="rId8" Type="http://schemas.openxmlformats.org/officeDocument/2006/relationships/oleObject" Target="../embeddings/oleObject62.bin"/><Relationship Id="rId3" Type="http://schemas.openxmlformats.org/officeDocument/2006/relationships/tags" Target="../tags/tag416.xml"/><Relationship Id="rId7" Type="http://schemas.openxmlformats.org/officeDocument/2006/relationships/slideMaster" Target="../slideMasters/slideMaster6.xml"/><Relationship Id="rId2" Type="http://schemas.openxmlformats.org/officeDocument/2006/relationships/tags" Target="../tags/tag415.xml"/><Relationship Id="rId1" Type="http://schemas.openxmlformats.org/officeDocument/2006/relationships/tags" Target="../tags/tag414.xml"/><Relationship Id="rId6" Type="http://schemas.openxmlformats.org/officeDocument/2006/relationships/tags" Target="../tags/tag419.xml"/><Relationship Id="rId5" Type="http://schemas.openxmlformats.org/officeDocument/2006/relationships/tags" Target="../tags/tag418.xml"/><Relationship Id="rId10" Type="http://schemas.openxmlformats.org/officeDocument/2006/relationships/image" Target="../media/image4.wmf"/><Relationship Id="rId4" Type="http://schemas.openxmlformats.org/officeDocument/2006/relationships/tags" Target="../tags/tag417.xml"/><Relationship Id="rId9" Type="http://schemas.openxmlformats.org/officeDocument/2006/relationships/image" Target="../media/image5.emf"/></Relationships>
</file>

<file path=ppt/slideLayouts/_rels/slideLayout69.xml.rels><?xml version="1.0" encoding="UTF-8" standalone="yes"?>
<Relationships xmlns="http://schemas.openxmlformats.org/package/2006/relationships"><Relationship Id="rId8" Type="http://schemas.openxmlformats.org/officeDocument/2006/relationships/tags" Target="../tags/tag427.xml"/><Relationship Id="rId3" Type="http://schemas.openxmlformats.org/officeDocument/2006/relationships/tags" Target="../tags/tag422.xml"/><Relationship Id="rId7" Type="http://schemas.openxmlformats.org/officeDocument/2006/relationships/tags" Target="../tags/tag426.xml"/><Relationship Id="rId12" Type="http://schemas.openxmlformats.org/officeDocument/2006/relationships/image" Target="../media/image4.wmf"/><Relationship Id="rId2" Type="http://schemas.openxmlformats.org/officeDocument/2006/relationships/tags" Target="../tags/tag421.xml"/><Relationship Id="rId1" Type="http://schemas.openxmlformats.org/officeDocument/2006/relationships/tags" Target="../tags/tag420.xml"/><Relationship Id="rId6" Type="http://schemas.openxmlformats.org/officeDocument/2006/relationships/tags" Target="../tags/tag425.xml"/><Relationship Id="rId11" Type="http://schemas.openxmlformats.org/officeDocument/2006/relationships/image" Target="../media/image3.emf"/><Relationship Id="rId5" Type="http://schemas.openxmlformats.org/officeDocument/2006/relationships/tags" Target="../tags/tag424.xml"/><Relationship Id="rId10" Type="http://schemas.openxmlformats.org/officeDocument/2006/relationships/oleObject" Target="../embeddings/oleObject63.bin"/><Relationship Id="rId4" Type="http://schemas.openxmlformats.org/officeDocument/2006/relationships/tags" Target="../tags/tag423.xml"/><Relationship Id="rId9"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430.xml"/><Relationship Id="rId7" Type="http://schemas.openxmlformats.org/officeDocument/2006/relationships/tags" Target="../tags/tag434.xml"/><Relationship Id="rId2" Type="http://schemas.openxmlformats.org/officeDocument/2006/relationships/tags" Target="../tags/tag429.xml"/><Relationship Id="rId1" Type="http://schemas.openxmlformats.org/officeDocument/2006/relationships/tags" Target="../tags/tag428.xml"/><Relationship Id="rId6" Type="http://schemas.openxmlformats.org/officeDocument/2006/relationships/tags" Target="../tags/tag433.xml"/><Relationship Id="rId11" Type="http://schemas.openxmlformats.org/officeDocument/2006/relationships/image" Target="../media/image4.wmf"/><Relationship Id="rId5" Type="http://schemas.openxmlformats.org/officeDocument/2006/relationships/tags" Target="../tags/tag432.xml"/><Relationship Id="rId10" Type="http://schemas.openxmlformats.org/officeDocument/2006/relationships/image" Target="../media/image5.emf"/><Relationship Id="rId4" Type="http://schemas.openxmlformats.org/officeDocument/2006/relationships/tags" Target="../tags/tag431.xml"/><Relationship Id="rId9" Type="http://schemas.openxmlformats.org/officeDocument/2006/relationships/oleObject" Target="../embeddings/oleObject64.bin"/></Relationships>
</file>

<file path=ppt/slideLayouts/_rels/slideLayout71.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437.xml"/><Relationship Id="rId7" Type="http://schemas.openxmlformats.org/officeDocument/2006/relationships/tags" Target="../tags/tag441.xml"/><Relationship Id="rId2" Type="http://schemas.openxmlformats.org/officeDocument/2006/relationships/tags" Target="../tags/tag436.xml"/><Relationship Id="rId1" Type="http://schemas.openxmlformats.org/officeDocument/2006/relationships/tags" Target="../tags/tag435.xml"/><Relationship Id="rId6" Type="http://schemas.openxmlformats.org/officeDocument/2006/relationships/tags" Target="../tags/tag440.xml"/><Relationship Id="rId11" Type="http://schemas.openxmlformats.org/officeDocument/2006/relationships/image" Target="../media/image4.wmf"/><Relationship Id="rId5" Type="http://schemas.openxmlformats.org/officeDocument/2006/relationships/tags" Target="../tags/tag439.xml"/><Relationship Id="rId10" Type="http://schemas.openxmlformats.org/officeDocument/2006/relationships/image" Target="../media/image5.emf"/><Relationship Id="rId4" Type="http://schemas.openxmlformats.org/officeDocument/2006/relationships/tags" Target="../tags/tag438.xml"/><Relationship Id="rId9" Type="http://schemas.openxmlformats.org/officeDocument/2006/relationships/oleObject" Target="../embeddings/oleObject65.bin"/></Relationships>
</file>

<file path=ppt/slideLayouts/_rels/slideLayout72.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444.xml"/><Relationship Id="rId7" Type="http://schemas.openxmlformats.org/officeDocument/2006/relationships/tags" Target="../tags/tag448.xml"/><Relationship Id="rId2" Type="http://schemas.openxmlformats.org/officeDocument/2006/relationships/tags" Target="../tags/tag443.xml"/><Relationship Id="rId1" Type="http://schemas.openxmlformats.org/officeDocument/2006/relationships/tags" Target="../tags/tag442.xml"/><Relationship Id="rId6" Type="http://schemas.openxmlformats.org/officeDocument/2006/relationships/tags" Target="../tags/tag447.xml"/><Relationship Id="rId11" Type="http://schemas.openxmlformats.org/officeDocument/2006/relationships/image" Target="../media/image4.wmf"/><Relationship Id="rId5" Type="http://schemas.openxmlformats.org/officeDocument/2006/relationships/tags" Target="../tags/tag446.xml"/><Relationship Id="rId10" Type="http://schemas.openxmlformats.org/officeDocument/2006/relationships/image" Target="../media/image5.emf"/><Relationship Id="rId4" Type="http://schemas.openxmlformats.org/officeDocument/2006/relationships/tags" Target="../tags/tag445.xml"/><Relationship Id="rId9" Type="http://schemas.openxmlformats.org/officeDocument/2006/relationships/oleObject" Target="../embeddings/oleObject66.bin"/></Relationships>
</file>

<file path=ppt/slideLayouts/_rels/slideLayout73.xml.rels><?xml version="1.0" encoding="UTF-8" standalone="yes"?>
<Relationships xmlns="http://schemas.openxmlformats.org/package/2006/relationships"><Relationship Id="rId8" Type="http://schemas.openxmlformats.org/officeDocument/2006/relationships/tags" Target="../tags/tag456.xml"/><Relationship Id="rId3" Type="http://schemas.openxmlformats.org/officeDocument/2006/relationships/tags" Target="../tags/tag451.xml"/><Relationship Id="rId7" Type="http://schemas.openxmlformats.org/officeDocument/2006/relationships/tags" Target="../tags/tag455.xml"/><Relationship Id="rId12" Type="http://schemas.openxmlformats.org/officeDocument/2006/relationships/image" Target="../media/image4.wmf"/><Relationship Id="rId2" Type="http://schemas.openxmlformats.org/officeDocument/2006/relationships/tags" Target="../tags/tag450.xml"/><Relationship Id="rId1" Type="http://schemas.openxmlformats.org/officeDocument/2006/relationships/tags" Target="../tags/tag449.xml"/><Relationship Id="rId6" Type="http://schemas.openxmlformats.org/officeDocument/2006/relationships/tags" Target="../tags/tag454.xml"/><Relationship Id="rId11" Type="http://schemas.openxmlformats.org/officeDocument/2006/relationships/image" Target="../media/image5.emf"/><Relationship Id="rId5" Type="http://schemas.openxmlformats.org/officeDocument/2006/relationships/tags" Target="../tags/tag453.xml"/><Relationship Id="rId10" Type="http://schemas.openxmlformats.org/officeDocument/2006/relationships/oleObject" Target="../embeddings/oleObject67.bin"/><Relationship Id="rId4" Type="http://schemas.openxmlformats.org/officeDocument/2006/relationships/tags" Target="../tags/tag452.xml"/><Relationship Id="rId9"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8" Type="http://schemas.openxmlformats.org/officeDocument/2006/relationships/tags" Target="../tags/tag464.xml"/><Relationship Id="rId13" Type="http://schemas.openxmlformats.org/officeDocument/2006/relationships/image" Target="../media/image4.wmf"/><Relationship Id="rId3" Type="http://schemas.openxmlformats.org/officeDocument/2006/relationships/tags" Target="../tags/tag459.xml"/><Relationship Id="rId7" Type="http://schemas.openxmlformats.org/officeDocument/2006/relationships/tags" Target="../tags/tag463.xml"/><Relationship Id="rId12" Type="http://schemas.openxmlformats.org/officeDocument/2006/relationships/image" Target="../media/image3.emf"/><Relationship Id="rId2" Type="http://schemas.openxmlformats.org/officeDocument/2006/relationships/tags" Target="../tags/tag458.xml"/><Relationship Id="rId1" Type="http://schemas.openxmlformats.org/officeDocument/2006/relationships/tags" Target="../tags/tag457.xml"/><Relationship Id="rId6" Type="http://schemas.openxmlformats.org/officeDocument/2006/relationships/tags" Target="../tags/tag462.xml"/><Relationship Id="rId11" Type="http://schemas.openxmlformats.org/officeDocument/2006/relationships/oleObject" Target="../embeddings/oleObject68.bin"/><Relationship Id="rId5" Type="http://schemas.openxmlformats.org/officeDocument/2006/relationships/tags" Target="../tags/tag461.xml"/><Relationship Id="rId10" Type="http://schemas.openxmlformats.org/officeDocument/2006/relationships/slideMaster" Target="../slideMasters/slideMaster6.xml"/><Relationship Id="rId4" Type="http://schemas.openxmlformats.org/officeDocument/2006/relationships/tags" Target="../tags/tag460.xml"/><Relationship Id="rId9" Type="http://schemas.openxmlformats.org/officeDocument/2006/relationships/tags" Target="../tags/tag465.xml"/></Relationships>
</file>

<file path=ppt/slideLayouts/_rels/slideLayout75.xml.rels><?xml version="1.0" encoding="UTF-8" standalone="yes"?>
<Relationships xmlns="http://schemas.openxmlformats.org/package/2006/relationships"><Relationship Id="rId8" Type="http://schemas.openxmlformats.org/officeDocument/2006/relationships/tags" Target="../tags/tag473.xml"/><Relationship Id="rId13" Type="http://schemas.openxmlformats.org/officeDocument/2006/relationships/image" Target="../media/image4.wmf"/><Relationship Id="rId3" Type="http://schemas.openxmlformats.org/officeDocument/2006/relationships/tags" Target="../tags/tag468.xml"/><Relationship Id="rId7" Type="http://schemas.openxmlformats.org/officeDocument/2006/relationships/tags" Target="../tags/tag472.xml"/><Relationship Id="rId12" Type="http://schemas.openxmlformats.org/officeDocument/2006/relationships/image" Target="../media/image3.emf"/><Relationship Id="rId2" Type="http://schemas.openxmlformats.org/officeDocument/2006/relationships/tags" Target="../tags/tag467.xml"/><Relationship Id="rId1" Type="http://schemas.openxmlformats.org/officeDocument/2006/relationships/tags" Target="../tags/tag466.xml"/><Relationship Id="rId6" Type="http://schemas.openxmlformats.org/officeDocument/2006/relationships/tags" Target="../tags/tag471.xml"/><Relationship Id="rId11" Type="http://schemas.openxmlformats.org/officeDocument/2006/relationships/oleObject" Target="../embeddings/oleObject69.bin"/><Relationship Id="rId5" Type="http://schemas.openxmlformats.org/officeDocument/2006/relationships/tags" Target="../tags/tag470.xml"/><Relationship Id="rId10" Type="http://schemas.openxmlformats.org/officeDocument/2006/relationships/slideMaster" Target="../slideMasters/slideMaster6.xml"/><Relationship Id="rId4" Type="http://schemas.openxmlformats.org/officeDocument/2006/relationships/tags" Target="../tags/tag469.xml"/><Relationship Id="rId9" Type="http://schemas.openxmlformats.org/officeDocument/2006/relationships/tags" Target="../tags/tag474.xml"/></Relationships>
</file>

<file path=ppt/slideLayouts/_rels/slideLayout76.xml.rels><?xml version="1.0" encoding="UTF-8" standalone="yes"?>
<Relationships xmlns="http://schemas.openxmlformats.org/package/2006/relationships"><Relationship Id="rId8" Type="http://schemas.openxmlformats.org/officeDocument/2006/relationships/tags" Target="../tags/tag482.xml"/><Relationship Id="rId13" Type="http://schemas.openxmlformats.org/officeDocument/2006/relationships/image" Target="../media/image4.wmf"/><Relationship Id="rId3" Type="http://schemas.openxmlformats.org/officeDocument/2006/relationships/tags" Target="../tags/tag477.xml"/><Relationship Id="rId7" Type="http://schemas.openxmlformats.org/officeDocument/2006/relationships/tags" Target="../tags/tag481.xml"/><Relationship Id="rId12" Type="http://schemas.openxmlformats.org/officeDocument/2006/relationships/image" Target="../media/image5.emf"/><Relationship Id="rId2" Type="http://schemas.openxmlformats.org/officeDocument/2006/relationships/tags" Target="../tags/tag476.xml"/><Relationship Id="rId1" Type="http://schemas.openxmlformats.org/officeDocument/2006/relationships/tags" Target="../tags/tag475.xml"/><Relationship Id="rId6" Type="http://schemas.openxmlformats.org/officeDocument/2006/relationships/tags" Target="../tags/tag480.xml"/><Relationship Id="rId11" Type="http://schemas.openxmlformats.org/officeDocument/2006/relationships/oleObject" Target="../embeddings/oleObject70.bin"/><Relationship Id="rId5" Type="http://schemas.openxmlformats.org/officeDocument/2006/relationships/tags" Target="../tags/tag479.xml"/><Relationship Id="rId10" Type="http://schemas.openxmlformats.org/officeDocument/2006/relationships/slideMaster" Target="../slideMasters/slideMaster6.xml"/><Relationship Id="rId4" Type="http://schemas.openxmlformats.org/officeDocument/2006/relationships/tags" Target="../tags/tag478.xml"/><Relationship Id="rId9" Type="http://schemas.openxmlformats.org/officeDocument/2006/relationships/tags" Target="../tags/tag483.xml"/></Relationships>
</file>

<file path=ppt/slideLayouts/_rels/slideLayout77.xml.rels><?xml version="1.0" encoding="UTF-8" standalone="yes"?>
<Relationships xmlns="http://schemas.openxmlformats.org/package/2006/relationships"><Relationship Id="rId8" Type="http://schemas.openxmlformats.org/officeDocument/2006/relationships/tags" Target="../tags/tag491.xml"/><Relationship Id="rId13" Type="http://schemas.openxmlformats.org/officeDocument/2006/relationships/image" Target="../media/image4.wmf"/><Relationship Id="rId3" Type="http://schemas.openxmlformats.org/officeDocument/2006/relationships/tags" Target="../tags/tag486.xml"/><Relationship Id="rId7" Type="http://schemas.openxmlformats.org/officeDocument/2006/relationships/tags" Target="../tags/tag490.xml"/><Relationship Id="rId12" Type="http://schemas.openxmlformats.org/officeDocument/2006/relationships/image" Target="../media/image3.emf"/><Relationship Id="rId2" Type="http://schemas.openxmlformats.org/officeDocument/2006/relationships/tags" Target="../tags/tag485.xml"/><Relationship Id="rId1" Type="http://schemas.openxmlformats.org/officeDocument/2006/relationships/tags" Target="../tags/tag484.xml"/><Relationship Id="rId6" Type="http://schemas.openxmlformats.org/officeDocument/2006/relationships/tags" Target="../tags/tag489.xml"/><Relationship Id="rId11" Type="http://schemas.openxmlformats.org/officeDocument/2006/relationships/oleObject" Target="../embeddings/oleObject71.bin"/><Relationship Id="rId5" Type="http://schemas.openxmlformats.org/officeDocument/2006/relationships/tags" Target="../tags/tag488.xml"/><Relationship Id="rId10" Type="http://schemas.openxmlformats.org/officeDocument/2006/relationships/slideMaster" Target="../slideMasters/slideMaster6.xml"/><Relationship Id="rId4" Type="http://schemas.openxmlformats.org/officeDocument/2006/relationships/tags" Target="../tags/tag487.xml"/><Relationship Id="rId9" Type="http://schemas.openxmlformats.org/officeDocument/2006/relationships/tags" Target="../tags/tag492.xml"/></Relationships>
</file>

<file path=ppt/slideLayouts/_rels/slideLayout78.xml.rels><?xml version="1.0" encoding="UTF-8" standalone="yes"?>
<Relationships xmlns="http://schemas.openxmlformats.org/package/2006/relationships"><Relationship Id="rId8" Type="http://schemas.openxmlformats.org/officeDocument/2006/relationships/tags" Target="../tags/tag500.xml"/><Relationship Id="rId13" Type="http://schemas.openxmlformats.org/officeDocument/2006/relationships/image" Target="../media/image4.wmf"/><Relationship Id="rId3" Type="http://schemas.openxmlformats.org/officeDocument/2006/relationships/tags" Target="../tags/tag495.xml"/><Relationship Id="rId7" Type="http://schemas.openxmlformats.org/officeDocument/2006/relationships/tags" Target="../tags/tag499.xml"/><Relationship Id="rId12" Type="http://schemas.openxmlformats.org/officeDocument/2006/relationships/image" Target="../media/image5.emf"/><Relationship Id="rId2" Type="http://schemas.openxmlformats.org/officeDocument/2006/relationships/tags" Target="../tags/tag494.xml"/><Relationship Id="rId1" Type="http://schemas.openxmlformats.org/officeDocument/2006/relationships/tags" Target="../tags/tag493.xml"/><Relationship Id="rId6" Type="http://schemas.openxmlformats.org/officeDocument/2006/relationships/tags" Target="../tags/tag498.xml"/><Relationship Id="rId11" Type="http://schemas.openxmlformats.org/officeDocument/2006/relationships/oleObject" Target="../embeddings/oleObject72.bin"/><Relationship Id="rId5" Type="http://schemas.openxmlformats.org/officeDocument/2006/relationships/tags" Target="../tags/tag497.xml"/><Relationship Id="rId10" Type="http://schemas.openxmlformats.org/officeDocument/2006/relationships/slideMaster" Target="../slideMasters/slideMaster6.xml"/><Relationship Id="rId4" Type="http://schemas.openxmlformats.org/officeDocument/2006/relationships/tags" Target="../tags/tag496.xml"/><Relationship Id="rId9" Type="http://schemas.openxmlformats.org/officeDocument/2006/relationships/tags" Target="../tags/tag501.xml"/></Relationships>
</file>

<file path=ppt/slideLayouts/_rels/slideLayout79.xml.rels><?xml version="1.0" encoding="UTF-8" standalone="yes"?>
<Relationships xmlns="http://schemas.openxmlformats.org/package/2006/relationships"><Relationship Id="rId8" Type="http://schemas.openxmlformats.org/officeDocument/2006/relationships/tags" Target="../tags/tag509.xml"/><Relationship Id="rId13" Type="http://schemas.openxmlformats.org/officeDocument/2006/relationships/image" Target="../media/image4.wmf"/><Relationship Id="rId3" Type="http://schemas.openxmlformats.org/officeDocument/2006/relationships/tags" Target="../tags/tag504.xml"/><Relationship Id="rId7" Type="http://schemas.openxmlformats.org/officeDocument/2006/relationships/tags" Target="../tags/tag508.xml"/><Relationship Id="rId12" Type="http://schemas.openxmlformats.org/officeDocument/2006/relationships/image" Target="../media/image5.emf"/><Relationship Id="rId2" Type="http://schemas.openxmlformats.org/officeDocument/2006/relationships/tags" Target="../tags/tag503.xml"/><Relationship Id="rId1" Type="http://schemas.openxmlformats.org/officeDocument/2006/relationships/tags" Target="../tags/tag502.xml"/><Relationship Id="rId6" Type="http://schemas.openxmlformats.org/officeDocument/2006/relationships/tags" Target="../tags/tag507.xml"/><Relationship Id="rId11" Type="http://schemas.openxmlformats.org/officeDocument/2006/relationships/oleObject" Target="../embeddings/oleObject73.bin"/><Relationship Id="rId5" Type="http://schemas.openxmlformats.org/officeDocument/2006/relationships/tags" Target="../tags/tag506.xml"/><Relationship Id="rId10" Type="http://schemas.openxmlformats.org/officeDocument/2006/relationships/slideMaster" Target="../slideMasters/slideMaster6.xml"/><Relationship Id="rId4" Type="http://schemas.openxmlformats.org/officeDocument/2006/relationships/tags" Target="../tags/tag505.xml"/><Relationship Id="rId9" Type="http://schemas.openxmlformats.org/officeDocument/2006/relationships/tags" Target="../tags/tag510.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8" Type="http://schemas.openxmlformats.org/officeDocument/2006/relationships/tags" Target="../tags/tag518.xml"/><Relationship Id="rId13" Type="http://schemas.openxmlformats.org/officeDocument/2006/relationships/image" Target="../media/image4.wmf"/><Relationship Id="rId3" Type="http://schemas.openxmlformats.org/officeDocument/2006/relationships/tags" Target="../tags/tag513.xml"/><Relationship Id="rId7" Type="http://schemas.openxmlformats.org/officeDocument/2006/relationships/tags" Target="../tags/tag517.xml"/><Relationship Id="rId12" Type="http://schemas.openxmlformats.org/officeDocument/2006/relationships/image" Target="../media/image3.emf"/><Relationship Id="rId2" Type="http://schemas.openxmlformats.org/officeDocument/2006/relationships/tags" Target="../tags/tag512.xml"/><Relationship Id="rId1" Type="http://schemas.openxmlformats.org/officeDocument/2006/relationships/tags" Target="../tags/tag511.xml"/><Relationship Id="rId6" Type="http://schemas.openxmlformats.org/officeDocument/2006/relationships/tags" Target="../tags/tag516.xml"/><Relationship Id="rId11" Type="http://schemas.openxmlformats.org/officeDocument/2006/relationships/oleObject" Target="../embeddings/oleObject74.bin"/><Relationship Id="rId5" Type="http://schemas.openxmlformats.org/officeDocument/2006/relationships/tags" Target="../tags/tag515.xml"/><Relationship Id="rId10" Type="http://schemas.openxmlformats.org/officeDocument/2006/relationships/slideMaster" Target="../slideMasters/slideMaster6.xml"/><Relationship Id="rId4" Type="http://schemas.openxmlformats.org/officeDocument/2006/relationships/tags" Target="../tags/tag514.xml"/><Relationship Id="rId9" Type="http://schemas.openxmlformats.org/officeDocument/2006/relationships/tags" Target="../tags/tag519.xml"/></Relationships>
</file>

<file path=ppt/slideLayouts/_rels/slideLayout81.xml.rels><?xml version="1.0" encoding="UTF-8" standalone="yes"?>
<Relationships xmlns="http://schemas.openxmlformats.org/package/2006/relationships"><Relationship Id="rId8" Type="http://schemas.openxmlformats.org/officeDocument/2006/relationships/tags" Target="../tags/tag527.xml"/><Relationship Id="rId13" Type="http://schemas.openxmlformats.org/officeDocument/2006/relationships/image" Target="../media/image4.wmf"/><Relationship Id="rId3" Type="http://schemas.openxmlformats.org/officeDocument/2006/relationships/tags" Target="../tags/tag522.xml"/><Relationship Id="rId7" Type="http://schemas.openxmlformats.org/officeDocument/2006/relationships/tags" Target="../tags/tag526.xml"/><Relationship Id="rId12" Type="http://schemas.openxmlformats.org/officeDocument/2006/relationships/image" Target="../media/image5.emf"/><Relationship Id="rId2" Type="http://schemas.openxmlformats.org/officeDocument/2006/relationships/tags" Target="../tags/tag521.xml"/><Relationship Id="rId1" Type="http://schemas.openxmlformats.org/officeDocument/2006/relationships/tags" Target="../tags/tag520.xml"/><Relationship Id="rId6" Type="http://schemas.openxmlformats.org/officeDocument/2006/relationships/tags" Target="../tags/tag525.xml"/><Relationship Id="rId11" Type="http://schemas.openxmlformats.org/officeDocument/2006/relationships/oleObject" Target="../embeddings/oleObject75.bin"/><Relationship Id="rId5" Type="http://schemas.openxmlformats.org/officeDocument/2006/relationships/tags" Target="../tags/tag524.xml"/><Relationship Id="rId10" Type="http://schemas.openxmlformats.org/officeDocument/2006/relationships/slideMaster" Target="../slideMasters/slideMaster6.xml"/><Relationship Id="rId4" Type="http://schemas.openxmlformats.org/officeDocument/2006/relationships/tags" Target="../tags/tag523.xml"/><Relationship Id="rId9" Type="http://schemas.openxmlformats.org/officeDocument/2006/relationships/tags" Target="../tags/tag528.xml"/></Relationships>
</file>

<file path=ppt/slideLayouts/_rels/slideLayout82.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531.xml"/><Relationship Id="rId7" Type="http://schemas.openxmlformats.org/officeDocument/2006/relationships/tags" Target="../tags/tag535.xml"/><Relationship Id="rId2" Type="http://schemas.openxmlformats.org/officeDocument/2006/relationships/tags" Target="../tags/tag530.xml"/><Relationship Id="rId1" Type="http://schemas.openxmlformats.org/officeDocument/2006/relationships/tags" Target="../tags/tag529.xml"/><Relationship Id="rId6" Type="http://schemas.openxmlformats.org/officeDocument/2006/relationships/tags" Target="../tags/tag534.xml"/><Relationship Id="rId11" Type="http://schemas.openxmlformats.org/officeDocument/2006/relationships/image" Target="../media/image4.wmf"/><Relationship Id="rId5" Type="http://schemas.openxmlformats.org/officeDocument/2006/relationships/tags" Target="../tags/tag533.xml"/><Relationship Id="rId10" Type="http://schemas.openxmlformats.org/officeDocument/2006/relationships/image" Target="../media/image5.emf"/><Relationship Id="rId4" Type="http://schemas.openxmlformats.org/officeDocument/2006/relationships/tags" Target="../tags/tag532.xml"/><Relationship Id="rId9" Type="http://schemas.openxmlformats.org/officeDocument/2006/relationships/oleObject" Target="../embeddings/oleObject76.bin"/></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538.xml"/><Relationship Id="rId7" Type="http://schemas.openxmlformats.org/officeDocument/2006/relationships/oleObject" Target="../embeddings/oleObject77.bin"/><Relationship Id="rId2" Type="http://schemas.openxmlformats.org/officeDocument/2006/relationships/tags" Target="../tags/tag537.xml"/><Relationship Id="rId1" Type="http://schemas.openxmlformats.org/officeDocument/2006/relationships/tags" Target="../tags/tag536.xml"/><Relationship Id="rId6" Type="http://schemas.openxmlformats.org/officeDocument/2006/relationships/slideMaster" Target="../slideMasters/slideMaster6.xml"/><Relationship Id="rId5" Type="http://schemas.openxmlformats.org/officeDocument/2006/relationships/tags" Target="../tags/tag540.xml"/><Relationship Id="rId4" Type="http://schemas.openxmlformats.org/officeDocument/2006/relationships/tags" Target="../tags/tag539.xml"/><Relationship Id="rId9" Type="http://schemas.openxmlformats.org/officeDocument/2006/relationships/image" Target="../media/image4.wmf"/></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543.xml"/><Relationship Id="rId7" Type="http://schemas.openxmlformats.org/officeDocument/2006/relationships/image" Target="../media/image4.wmf"/><Relationship Id="rId2" Type="http://schemas.openxmlformats.org/officeDocument/2006/relationships/tags" Target="../tags/tag542.xml"/><Relationship Id="rId1" Type="http://schemas.openxmlformats.org/officeDocument/2006/relationships/tags" Target="../tags/tag541.xml"/><Relationship Id="rId6" Type="http://schemas.openxmlformats.org/officeDocument/2006/relationships/image" Target="../media/image5.emf"/><Relationship Id="rId5" Type="http://schemas.openxmlformats.org/officeDocument/2006/relationships/oleObject" Target="../embeddings/oleObject78.bin"/><Relationship Id="rId4"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8" Type="http://schemas.openxmlformats.org/officeDocument/2006/relationships/oleObject" Target="../embeddings/oleObject80.bin"/><Relationship Id="rId3" Type="http://schemas.openxmlformats.org/officeDocument/2006/relationships/tags" Target="../tags/tag566.xml"/><Relationship Id="rId7" Type="http://schemas.openxmlformats.org/officeDocument/2006/relationships/slideMaster" Target="../slideMasters/slideMaster7.xml"/><Relationship Id="rId2" Type="http://schemas.openxmlformats.org/officeDocument/2006/relationships/tags" Target="../tags/tag565.xml"/><Relationship Id="rId1" Type="http://schemas.openxmlformats.org/officeDocument/2006/relationships/tags" Target="../tags/tag564.xml"/><Relationship Id="rId6" Type="http://schemas.openxmlformats.org/officeDocument/2006/relationships/tags" Target="../tags/tag569.xml"/><Relationship Id="rId5" Type="http://schemas.openxmlformats.org/officeDocument/2006/relationships/tags" Target="../tags/tag568.xml"/><Relationship Id="rId10" Type="http://schemas.openxmlformats.org/officeDocument/2006/relationships/image" Target="../media/image2.wmf"/><Relationship Id="rId4" Type="http://schemas.openxmlformats.org/officeDocument/2006/relationships/tags" Target="../tags/tag567.xml"/><Relationship Id="rId9" Type="http://schemas.openxmlformats.org/officeDocument/2006/relationships/image" Target="../media/image5.emf"/></Relationships>
</file>

<file path=ppt/slideLayouts/_rels/slideLayout86.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572.xml"/><Relationship Id="rId7" Type="http://schemas.openxmlformats.org/officeDocument/2006/relationships/tags" Target="../tags/tag576.xml"/><Relationship Id="rId2" Type="http://schemas.openxmlformats.org/officeDocument/2006/relationships/tags" Target="../tags/tag571.xml"/><Relationship Id="rId1" Type="http://schemas.openxmlformats.org/officeDocument/2006/relationships/tags" Target="../tags/tag570.xml"/><Relationship Id="rId6" Type="http://schemas.openxmlformats.org/officeDocument/2006/relationships/tags" Target="../tags/tag575.xml"/><Relationship Id="rId11" Type="http://schemas.openxmlformats.org/officeDocument/2006/relationships/image" Target="../media/image2.wmf"/><Relationship Id="rId5" Type="http://schemas.openxmlformats.org/officeDocument/2006/relationships/tags" Target="../tags/tag574.xml"/><Relationship Id="rId10" Type="http://schemas.openxmlformats.org/officeDocument/2006/relationships/image" Target="../media/image3.emf"/><Relationship Id="rId4" Type="http://schemas.openxmlformats.org/officeDocument/2006/relationships/tags" Target="../tags/tag573.xml"/><Relationship Id="rId9" Type="http://schemas.openxmlformats.org/officeDocument/2006/relationships/oleObject" Target="../embeddings/oleObject81.bin"/></Relationships>
</file>

<file path=ppt/slideLayouts/_rels/slideLayout87.xml.rels><?xml version="1.0" encoding="UTF-8" standalone="yes"?>
<Relationships xmlns="http://schemas.openxmlformats.org/package/2006/relationships"><Relationship Id="rId8" Type="http://schemas.openxmlformats.org/officeDocument/2006/relationships/oleObject" Target="../embeddings/oleObject82.bin"/><Relationship Id="rId3" Type="http://schemas.openxmlformats.org/officeDocument/2006/relationships/tags" Target="../tags/tag579.xml"/><Relationship Id="rId7" Type="http://schemas.openxmlformats.org/officeDocument/2006/relationships/slideMaster" Target="../slideMasters/slideMaster7.xml"/><Relationship Id="rId2" Type="http://schemas.openxmlformats.org/officeDocument/2006/relationships/tags" Target="../tags/tag578.xml"/><Relationship Id="rId1" Type="http://schemas.openxmlformats.org/officeDocument/2006/relationships/tags" Target="../tags/tag577.xml"/><Relationship Id="rId6" Type="http://schemas.openxmlformats.org/officeDocument/2006/relationships/tags" Target="../tags/tag582.xml"/><Relationship Id="rId5" Type="http://schemas.openxmlformats.org/officeDocument/2006/relationships/tags" Target="../tags/tag581.xml"/><Relationship Id="rId10" Type="http://schemas.openxmlformats.org/officeDocument/2006/relationships/image" Target="../media/image2.wmf"/><Relationship Id="rId4" Type="http://schemas.openxmlformats.org/officeDocument/2006/relationships/tags" Target="../tags/tag580.xml"/><Relationship Id="rId9" Type="http://schemas.openxmlformats.org/officeDocument/2006/relationships/image" Target="../media/image5.emf"/></Relationships>
</file>

<file path=ppt/slideLayouts/_rels/slideLayout88.xml.rels><?xml version="1.0" encoding="UTF-8" standalone="yes"?>
<Relationships xmlns="http://schemas.openxmlformats.org/package/2006/relationships"><Relationship Id="rId8" Type="http://schemas.openxmlformats.org/officeDocument/2006/relationships/oleObject" Target="../embeddings/oleObject83.bin"/><Relationship Id="rId3" Type="http://schemas.openxmlformats.org/officeDocument/2006/relationships/tags" Target="../tags/tag585.xml"/><Relationship Id="rId7" Type="http://schemas.openxmlformats.org/officeDocument/2006/relationships/slideMaster" Target="../slideMasters/slideMaster7.xml"/><Relationship Id="rId2" Type="http://schemas.openxmlformats.org/officeDocument/2006/relationships/tags" Target="../tags/tag584.xml"/><Relationship Id="rId1" Type="http://schemas.openxmlformats.org/officeDocument/2006/relationships/tags" Target="../tags/tag583.xml"/><Relationship Id="rId6" Type="http://schemas.openxmlformats.org/officeDocument/2006/relationships/tags" Target="../tags/tag588.xml"/><Relationship Id="rId5" Type="http://schemas.openxmlformats.org/officeDocument/2006/relationships/tags" Target="../tags/tag587.xml"/><Relationship Id="rId10" Type="http://schemas.openxmlformats.org/officeDocument/2006/relationships/image" Target="../media/image2.wmf"/><Relationship Id="rId4" Type="http://schemas.openxmlformats.org/officeDocument/2006/relationships/tags" Target="../tags/tag586.xml"/><Relationship Id="rId9" Type="http://schemas.openxmlformats.org/officeDocument/2006/relationships/image" Target="../media/image5.emf"/></Relationships>
</file>

<file path=ppt/slideLayouts/_rels/slideLayout89.xml.rels><?xml version="1.0" encoding="UTF-8" standalone="yes"?>
<Relationships xmlns="http://schemas.openxmlformats.org/package/2006/relationships"><Relationship Id="rId8" Type="http://schemas.openxmlformats.org/officeDocument/2006/relationships/oleObject" Target="../embeddings/oleObject84.bin"/><Relationship Id="rId3" Type="http://schemas.openxmlformats.org/officeDocument/2006/relationships/tags" Target="../tags/tag591.xml"/><Relationship Id="rId7" Type="http://schemas.openxmlformats.org/officeDocument/2006/relationships/slideMaster" Target="../slideMasters/slideMaster7.xml"/><Relationship Id="rId2" Type="http://schemas.openxmlformats.org/officeDocument/2006/relationships/tags" Target="../tags/tag590.xml"/><Relationship Id="rId1" Type="http://schemas.openxmlformats.org/officeDocument/2006/relationships/tags" Target="../tags/tag589.xml"/><Relationship Id="rId6" Type="http://schemas.openxmlformats.org/officeDocument/2006/relationships/tags" Target="../tags/tag594.xml"/><Relationship Id="rId5" Type="http://schemas.openxmlformats.org/officeDocument/2006/relationships/tags" Target="../tags/tag593.xml"/><Relationship Id="rId10" Type="http://schemas.openxmlformats.org/officeDocument/2006/relationships/image" Target="../media/image2.wmf"/><Relationship Id="rId4" Type="http://schemas.openxmlformats.org/officeDocument/2006/relationships/tags" Target="../tags/tag592.xml"/><Relationship Id="rId9"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597.xml"/><Relationship Id="rId7" Type="http://schemas.openxmlformats.org/officeDocument/2006/relationships/tags" Target="../tags/tag601.xml"/><Relationship Id="rId2" Type="http://schemas.openxmlformats.org/officeDocument/2006/relationships/tags" Target="../tags/tag596.xml"/><Relationship Id="rId1" Type="http://schemas.openxmlformats.org/officeDocument/2006/relationships/tags" Target="../tags/tag595.xml"/><Relationship Id="rId6" Type="http://schemas.openxmlformats.org/officeDocument/2006/relationships/tags" Target="../tags/tag600.xml"/><Relationship Id="rId11" Type="http://schemas.openxmlformats.org/officeDocument/2006/relationships/image" Target="../media/image2.wmf"/><Relationship Id="rId5" Type="http://schemas.openxmlformats.org/officeDocument/2006/relationships/tags" Target="../tags/tag599.xml"/><Relationship Id="rId10" Type="http://schemas.openxmlformats.org/officeDocument/2006/relationships/image" Target="../media/image5.emf"/><Relationship Id="rId4" Type="http://schemas.openxmlformats.org/officeDocument/2006/relationships/tags" Target="../tags/tag598.xml"/><Relationship Id="rId9" Type="http://schemas.openxmlformats.org/officeDocument/2006/relationships/oleObject" Target="../embeddings/oleObject85.bin"/></Relationships>
</file>

<file path=ppt/slideLayouts/_rels/slideLayout91.xml.rels><?xml version="1.0" encoding="UTF-8" standalone="yes"?>
<Relationships xmlns="http://schemas.openxmlformats.org/package/2006/relationships"><Relationship Id="rId8" Type="http://schemas.openxmlformats.org/officeDocument/2006/relationships/tags" Target="../tags/tag609.xml"/><Relationship Id="rId3" Type="http://schemas.openxmlformats.org/officeDocument/2006/relationships/tags" Target="../tags/tag604.xml"/><Relationship Id="rId7" Type="http://schemas.openxmlformats.org/officeDocument/2006/relationships/tags" Target="../tags/tag608.xml"/><Relationship Id="rId12" Type="http://schemas.openxmlformats.org/officeDocument/2006/relationships/image" Target="../media/image2.wmf"/><Relationship Id="rId2" Type="http://schemas.openxmlformats.org/officeDocument/2006/relationships/tags" Target="../tags/tag603.xml"/><Relationship Id="rId1" Type="http://schemas.openxmlformats.org/officeDocument/2006/relationships/tags" Target="../tags/tag602.xml"/><Relationship Id="rId6" Type="http://schemas.openxmlformats.org/officeDocument/2006/relationships/tags" Target="../tags/tag607.xml"/><Relationship Id="rId11" Type="http://schemas.openxmlformats.org/officeDocument/2006/relationships/image" Target="../media/image3.emf"/><Relationship Id="rId5" Type="http://schemas.openxmlformats.org/officeDocument/2006/relationships/tags" Target="../tags/tag606.xml"/><Relationship Id="rId10" Type="http://schemas.openxmlformats.org/officeDocument/2006/relationships/oleObject" Target="../embeddings/oleObject86.bin"/><Relationship Id="rId4" Type="http://schemas.openxmlformats.org/officeDocument/2006/relationships/tags" Target="../tags/tag605.xml"/><Relationship Id="rId9"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8" Type="http://schemas.openxmlformats.org/officeDocument/2006/relationships/tags" Target="../tags/tag617.xml"/><Relationship Id="rId3" Type="http://schemas.openxmlformats.org/officeDocument/2006/relationships/tags" Target="../tags/tag612.xml"/><Relationship Id="rId7" Type="http://schemas.openxmlformats.org/officeDocument/2006/relationships/tags" Target="../tags/tag616.xml"/><Relationship Id="rId12" Type="http://schemas.openxmlformats.org/officeDocument/2006/relationships/image" Target="../media/image2.wmf"/><Relationship Id="rId2" Type="http://schemas.openxmlformats.org/officeDocument/2006/relationships/tags" Target="../tags/tag611.xml"/><Relationship Id="rId1" Type="http://schemas.openxmlformats.org/officeDocument/2006/relationships/tags" Target="../tags/tag610.xml"/><Relationship Id="rId6" Type="http://schemas.openxmlformats.org/officeDocument/2006/relationships/tags" Target="../tags/tag615.xml"/><Relationship Id="rId11" Type="http://schemas.openxmlformats.org/officeDocument/2006/relationships/image" Target="../media/image3.emf"/><Relationship Id="rId5" Type="http://schemas.openxmlformats.org/officeDocument/2006/relationships/tags" Target="../tags/tag614.xml"/><Relationship Id="rId10" Type="http://schemas.openxmlformats.org/officeDocument/2006/relationships/oleObject" Target="../embeddings/oleObject87.bin"/><Relationship Id="rId4" Type="http://schemas.openxmlformats.org/officeDocument/2006/relationships/tags" Target="../tags/tag613.xml"/><Relationship Id="rId9"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8" Type="http://schemas.openxmlformats.org/officeDocument/2006/relationships/tags" Target="../tags/tag625.xml"/><Relationship Id="rId3" Type="http://schemas.openxmlformats.org/officeDocument/2006/relationships/tags" Target="../tags/tag620.xml"/><Relationship Id="rId7" Type="http://schemas.openxmlformats.org/officeDocument/2006/relationships/tags" Target="../tags/tag624.xml"/><Relationship Id="rId12" Type="http://schemas.openxmlformats.org/officeDocument/2006/relationships/image" Target="../media/image2.wmf"/><Relationship Id="rId2" Type="http://schemas.openxmlformats.org/officeDocument/2006/relationships/tags" Target="../tags/tag619.xml"/><Relationship Id="rId1" Type="http://schemas.openxmlformats.org/officeDocument/2006/relationships/tags" Target="../tags/tag618.xml"/><Relationship Id="rId6" Type="http://schemas.openxmlformats.org/officeDocument/2006/relationships/tags" Target="../tags/tag623.xml"/><Relationship Id="rId11" Type="http://schemas.openxmlformats.org/officeDocument/2006/relationships/image" Target="../media/image3.emf"/><Relationship Id="rId5" Type="http://schemas.openxmlformats.org/officeDocument/2006/relationships/tags" Target="../tags/tag622.xml"/><Relationship Id="rId10" Type="http://schemas.openxmlformats.org/officeDocument/2006/relationships/oleObject" Target="../embeddings/oleObject88.bin"/><Relationship Id="rId4" Type="http://schemas.openxmlformats.org/officeDocument/2006/relationships/tags" Target="../tags/tag621.xml"/><Relationship Id="rId9"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633.xml"/><Relationship Id="rId3" Type="http://schemas.openxmlformats.org/officeDocument/2006/relationships/tags" Target="../tags/tag628.xml"/><Relationship Id="rId7" Type="http://schemas.openxmlformats.org/officeDocument/2006/relationships/tags" Target="../tags/tag632.xml"/><Relationship Id="rId12" Type="http://schemas.openxmlformats.org/officeDocument/2006/relationships/image" Target="../media/image2.wmf"/><Relationship Id="rId2" Type="http://schemas.openxmlformats.org/officeDocument/2006/relationships/tags" Target="../tags/tag627.xml"/><Relationship Id="rId1" Type="http://schemas.openxmlformats.org/officeDocument/2006/relationships/tags" Target="../tags/tag626.xml"/><Relationship Id="rId6" Type="http://schemas.openxmlformats.org/officeDocument/2006/relationships/tags" Target="../tags/tag631.xml"/><Relationship Id="rId11" Type="http://schemas.openxmlformats.org/officeDocument/2006/relationships/image" Target="../media/image6.emf"/><Relationship Id="rId5" Type="http://schemas.openxmlformats.org/officeDocument/2006/relationships/tags" Target="../tags/tag630.xml"/><Relationship Id="rId10" Type="http://schemas.openxmlformats.org/officeDocument/2006/relationships/oleObject" Target="../embeddings/oleObject89.bin"/><Relationship Id="rId4" Type="http://schemas.openxmlformats.org/officeDocument/2006/relationships/tags" Target="../tags/tag629.xml"/><Relationship Id="rId9"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8" Type="http://schemas.openxmlformats.org/officeDocument/2006/relationships/tags" Target="../tags/tag641.xml"/><Relationship Id="rId3" Type="http://schemas.openxmlformats.org/officeDocument/2006/relationships/tags" Target="../tags/tag636.xml"/><Relationship Id="rId7" Type="http://schemas.openxmlformats.org/officeDocument/2006/relationships/tags" Target="../tags/tag640.xml"/><Relationship Id="rId12" Type="http://schemas.openxmlformats.org/officeDocument/2006/relationships/image" Target="../media/image2.wmf"/><Relationship Id="rId2" Type="http://schemas.openxmlformats.org/officeDocument/2006/relationships/tags" Target="../tags/tag635.xml"/><Relationship Id="rId1" Type="http://schemas.openxmlformats.org/officeDocument/2006/relationships/tags" Target="../tags/tag634.xml"/><Relationship Id="rId6" Type="http://schemas.openxmlformats.org/officeDocument/2006/relationships/tags" Target="../tags/tag639.xml"/><Relationship Id="rId11" Type="http://schemas.openxmlformats.org/officeDocument/2006/relationships/image" Target="../media/image3.emf"/><Relationship Id="rId5" Type="http://schemas.openxmlformats.org/officeDocument/2006/relationships/tags" Target="../tags/tag638.xml"/><Relationship Id="rId10" Type="http://schemas.openxmlformats.org/officeDocument/2006/relationships/oleObject" Target="../embeddings/oleObject90.bin"/><Relationship Id="rId4" Type="http://schemas.openxmlformats.org/officeDocument/2006/relationships/tags" Target="../tags/tag637.xml"/><Relationship Id="rId9"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8" Type="http://schemas.openxmlformats.org/officeDocument/2006/relationships/oleObject" Target="../embeddings/oleObject91.bin"/><Relationship Id="rId3" Type="http://schemas.openxmlformats.org/officeDocument/2006/relationships/tags" Target="../tags/tag644.xml"/><Relationship Id="rId7" Type="http://schemas.openxmlformats.org/officeDocument/2006/relationships/slideMaster" Target="../slideMasters/slideMaster7.xml"/><Relationship Id="rId2" Type="http://schemas.openxmlformats.org/officeDocument/2006/relationships/tags" Target="../tags/tag643.xml"/><Relationship Id="rId1" Type="http://schemas.openxmlformats.org/officeDocument/2006/relationships/tags" Target="../tags/tag642.xml"/><Relationship Id="rId6" Type="http://schemas.openxmlformats.org/officeDocument/2006/relationships/tags" Target="../tags/tag647.xml"/><Relationship Id="rId5" Type="http://schemas.openxmlformats.org/officeDocument/2006/relationships/tags" Target="../tags/tag646.xml"/><Relationship Id="rId10" Type="http://schemas.openxmlformats.org/officeDocument/2006/relationships/image" Target="../media/image2.wmf"/><Relationship Id="rId4" Type="http://schemas.openxmlformats.org/officeDocument/2006/relationships/tags" Target="../tags/tag645.xml"/><Relationship Id="rId9" Type="http://schemas.openxmlformats.org/officeDocument/2006/relationships/image" Target="../media/image5.emf"/></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2.wmf"/><Relationship Id="rId3" Type="http://schemas.openxmlformats.org/officeDocument/2006/relationships/tags" Target="../tags/tag650.xml"/><Relationship Id="rId7" Type="http://schemas.openxmlformats.org/officeDocument/2006/relationships/image" Target="../media/image5.emf"/><Relationship Id="rId2" Type="http://schemas.openxmlformats.org/officeDocument/2006/relationships/tags" Target="../tags/tag649.xml"/><Relationship Id="rId1" Type="http://schemas.openxmlformats.org/officeDocument/2006/relationships/tags" Target="../tags/tag648.xml"/><Relationship Id="rId6" Type="http://schemas.openxmlformats.org/officeDocument/2006/relationships/oleObject" Target="../embeddings/oleObject92.bin"/><Relationship Id="rId5" Type="http://schemas.openxmlformats.org/officeDocument/2006/relationships/slideMaster" Target="../slideMasters/slideMaster7.xml"/><Relationship Id="rId4" Type="http://schemas.openxmlformats.org/officeDocument/2006/relationships/tags" Target="../tags/tag651.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53.xml"/><Relationship Id="rId1" Type="http://schemas.openxmlformats.org/officeDocument/2006/relationships/tags" Target="../tags/tag652.xml"/><Relationship Id="rId6" Type="http://schemas.openxmlformats.org/officeDocument/2006/relationships/image" Target="../media/image2.wmf"/><Relationship Id="rId5" Type="http://schemas.openxmlformats.org/officeDocument/2006/relationships/image" Target="../media/image5.emf"/><Relationship Id="rId4" Type="http://schemas.openxmlformats.org/officeDocument/2006/relationships/oleObject" Target="../embeddings/oleObject93.bin"/></Relationships>
</file>

<file path=ppt/slideLayouts/_rels/slideLayout99.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656.xml"/><Relationship Id="rId7" Type="http://schemas.openxmlformats.org/officeDocument/2006/relationships/tags" Target="../tags/tag660.xml"/><Relationship Id="rId2" Type="http://schemas.openxmlformats.org/officeDocument/2006/relationships/tags" Target="../tags/tag655.xml"/><Relationship Id="rId1" Type="http://schemas.openxmlformats.org/officeDocument/2006/relationships/tags" Target="../tags/tag654.xml"/><Relationship Id="rId6" Type="http://schemas.openxmlformats.org/officeDocument/2006/relationships/tags" Target="../tags/tag659.xml"/><Relationship Id="rId11" Type="http://schemas.openxmlformats.org/officeDocument/2006/relationships/image" Target="../media/image4.wmf"/><Relationship Id="rId5" Type="http://schemas.openxmlformats.org/officeDocument/2006/relationships/tags" Target="../tags/tag658.xml"/><Relationship Id="rId10" Type="http://schemas.openxmlformats.org/officeDocument/2006/relationships/image" Target="../media/image3.emf"/><Relationship Id="rId4" Type="http://schemas.openxmlformats.org/officeDocument/2006/relationships/tags" Target="../tags/tag657.xml"/><Relationship Id="rId9" Type="http://schemas.openxmlformats.org/officeDocument/2006/relationships/oleObject" Target="../embeddings/oleObject94.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D5ACD17-033B-465B-BE21-FC9B2D65C7AB}"/>
              </a:ext>
            </a:extLst>
          </p:cNvPr>
          <p:cNvGraphicFramePr>
            <a:graphicFrameLocks noChangeAspect="1"/>
          </p:cNvGraphicFramePr>
          <p:nvPr userDrawn="1">
            <p:custDataLst>
              <p:tags r:id="rId1"/>
            </p:custDataLst>
            <p:extLst>
              <p:ext uri="{D42A27DB-BD31-4B8C-83A1-F6EECF244321}">
                <p14:modId xmlns:p14="http://schemas.microsoft.com/office/powerpoint/2010/main" val="2299291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DD5ACD17-033B-465B-BE21-FC9B2D65C7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4">
            <a:extLst>
              <a:ext uri="{FF2B5EF4-FFF2-40B4-BE49-F238E27FC236}">
                <a16:creationId xmlns:a16="http://schemas.microsoft.com/office/drawing/2014/main" id="{8880B986-AF84-83FC-C678-58030B4CD19F}"/>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0742580" y="6332378"/>
            <a:ext cx="1116013" cy="346688"/>
          </a:xfrm>
          <a:prstGeom prst="rect">
            <a:avLst/>
          </a:prstGeom>
          <a:noFill/>
        </p:spPr>
      </p:pic>
      <p:sp>
        <p:nvSpPr>
          <p:cNvPr id="27650" name="Rectangle 2"/>
          <p:cNvSpPr>
            <a:spLocks noGrp="1" noChangeArrowheads="1"/>
          </p:cNvSpPr>
          <p:nvPr>
            <p:ph type="ctrTitle" hasCustomPrompt="1"/>
          </p:nvPr>
        </p:nvSpPr>
        <p:spPr>
          <a:xfrm>
            <a:off x="814919" y="2133600"/>
            <a:ext cx="10278532" cy="1371600"/>
          </a:xfrm>
        </p:spPr>
        <p:txBody>
          <a:bodyPr vert="horz">
            <a:normAutofit/>
          </a:bodyPr>
          <a:lstStyle>
            <a:lvl1pPr>
              <a:lnSpc>
                <a:spcPct val="100000"/>
              </a:lnSpc>
              <a:defRPr sz="3000">
                <a:solidFill>
                  <a:schemeClr val="tx1"/>
                </a:solidFill>
              </a:defRPr>
            </a:lvl1pPr>
          </a:lstStyle>
          <a:p>
            <a:r>
              <a:rPr lang="de-AT"/>
              <a:t>Prototypische Headline</a:t>
            </a:r>
            <a:br>
              <a:rPr lang="de-AT"/>
            </a:br>
            <a:r>
              <a:rPr lang="de-AT"/>
              <a:t>für Deckblatt</a:t>
            </a:r>
          </a:p>
        </p:txBody>
      </p:sp>
      <p:sp>
        <p:nvSpPr>
          <p:cNvPr id="27651" name="Rectangle 3"/>
          <p:cNvSpPr>
            <a:spLocks noGrp="1" noChangeArrowheads="1"/>
          </p:cNvSpPr>
          <p:nvPr>
            <p:ph type="subTitle" idx="1" hasCustomPrompt="1"/>
          </p:nvPr>
        </p:nvSpPr>
        <p:spPr>
          <a:xfrm>
            <a:off x="814920" y="3729038"/>
            <a:ext cx="10306049" cy="1600200"/>
          </a:xfrm>
          <a:prstGeom prst="rect">
            <a:avLst/>
          </a:prstGeom>
        </p:spPr>
        <p:txBody>
          <a:bodyPr>
            <a:normAutofit/>
          </a:bodyPr>
          <a:lstStyle>
            <a:lvl1pPr marL="0" indent="0">
              <a:buFont typeface="Wingdings" pitchFamily="2" charset="2"/>
              <a:buNone/>
              <a:defRPr sz="1800"/>
            </a:lvl1pPr>
          </a:lstStyle>
          <a:p>
            <a:r>
              <a:rPr lang="de-AT"/>
              <a:t>Schriftzusatz in Kleinbuchstaben.</a:t>
            </a:r>
          </a:p>
        </p:txBody>
      </p:sp>
      <p:sp>
        <p:nvSpPr>
          <p:cNvPr id="6" name="EYP-Draft">
            <a:extLst>
              <a:ext uri="{FF2B5EF4-FFF2-40B4-BE49-F238E27FC236}">
                <a16:creationId xmlns:a16="http://schemas.microsoft.com/office/drawing/2014/main" id="{B8325E8B-60FB-4E7A-916D-37CADCE2F3D9}"/>
              </a:ext>
            </a:extLst>
          </p:cNvPr>
          <p:cNvSpPr/>
          <p:nvPr userDrawn="1">
            <p:custDataLst>
              <p:tags r:id="rId2"/>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endParaRPr lang="en-US" sz="1000" b="1" dirty="0">
              <a:solidFill>
                <a:srgbClr val="FF8A2B"/>
              </a:solidFill>
              <a:latin typeface="Bahnschrift" panose="020B0502040204020203" pitchFamily="34" charset="0"/>
              <a:ea typeface="Verdana" pitchFamily="34" charset="0"/>
              <a:cs typeface="Verdana" pitchFamily="34" charset="0"/>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C84A04-235C-4783-9BB2-12800E8A87CA}"/>
              </a:ext>
            </a:extLst>
          </p:cNvPr>
          <p:cNvGraphicFramePr>
            <a:graphicFrameLocks noChangeAspect="1"/>
          </p:cNvGraphicFramePr>
          <p:nvPr userDrawn="1">
            <p:custDataLst>
              <p:tags r:id="rId1"/>
            </p:custDataLst>
            <p:extLst>
              <p:ext uri="{D42A27DB-BD31-4B8C-83A1-F6EECF244321}">
                <p14:modId xmlns:p14="http://schemas.microsoft.com/office/powerpoint/2010/main" val="4087570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7" name="Object 6" hidden="1">
                        <a:extLst>
                          <a:ext uri="{FF2B5EF4-FFF2-40B4-BE49-F238E27FC236}">
                            <a16:creationId xmlns:a16="http://schemas.microsoft.com/office/drawing/2014/main" id="{56C84A04-235C-4783-9BB2-12800E8A87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2389717" y="4800600"/>
            <a:ext cx="7315200" cy="566738"/>
          </a:xfrm>
        </p:spPr>
        <p:txBody>
          <a:bodyPr vert="horz"/>
          <a:lstStyle>
            <a:lvl1pPr algn="l">
              <a:defRPr sz="2000" b="1">
                <a:solidFill>
                  <a:srgbClr val="6F6F6F"/>
                </a:solidFill>
              </a:defRPr>
            </a:lvl1pPr>
          </a:lstStyle>
          <a:p>
            <a:r>
              <a:rPr lang="de-DE"/>
              <a:t>Mastertitelformat bearbeiten</a:t>
            </a:r>
            <a:endParaRPr lang="de-AT"/>
          </a:p>
        </p:txBody>
      </p:sp>
      <p:sp>
        <p:nvSpPr>
          <p:cNvPr id="3" name="Bildplatzhalt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de-AT"/>
          </a:p>
        </p:txBody>
      </p:sp>
      <p:sp>
        <p:nvSpPr>
          <p:cNvPr id="4" name="Textplatzhalter 3"/>
          <p:cNvSpPr>
            <a:spLocks noGrp="1"/>
          </p:cNvSpPr>
          <p:nvPr>
            <p:ph type="body" sz="half" idx="2"/>
          </p:nvPr>
        </p:nvSpPr>
        <p:spPr>
          <a:xfrm>
            <a:off x="2389717" y="5367338"/>
            <a:ext cx="7315200" cy="804862"/>
          </a:xfrm>
          <a:prstGeom prst="rect">
            <a:avLst/>
          </a:prstGeom>
        </p:spPr>
        <p:txBody>
          <a:bodyPr/>
          <a:lstStyle>
            <a:lvl1pPr marL="0" indent="0">
              <a:buFont typeface="Wingdings" pitchFamily="2" charset="2"/>
              <a:buNone/>
              <a:defRPr sz="1400"/>
            </a:lvl1pPr>
            <a:lvl2pPr marL="457200" indent="-187325">
              <a:buFont typeface="Wingdings" pitchFamily="2" charset="2"/>
              <a:buChar char="§"/>
              <a:defRPr sz="1200"/>
            </a:lvl2pPr>
            <a:lvl3pPr marL="914400" indent="-287338">
              <a:buFont typeface="Symbol" pitchFamily="18" charset="2"/>
              <a:buChar char="-"/>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Foliennummernplatzhalter 4"/>
          <p:cNvSpPr>
            <a:spLocks noGrp="1"/>
          </p:cNvSpPr>
          <p:nvPr>
            <p:ph type="sldNum" sz="quarter" idx="10"/>
          </p:nvPr>
        </p:nvSpPr>
        <p:spPr/>
        <p:txBody>
          <a:bodyPr/>
          <a:lstStyle>
            <a:lvl1pPr>
              <a:defRPr/>
            </a:lvl1pPr>
          </a:lstStyle>
          <a:p>
            <a:fld id="{C6D2457E-9482-4127-9268-A9166FE27573}" type="slidenum">
              <a:rPr lang="de-AT"/>
              <a:pPr/>
              <a:t>‹Nr.›</a:t>
            </a:fld>
            <a:endParaRPr lang="de-AT"/>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cSld name="Titel und Aufzählun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3931501-7AEA-443B-97F9-E0B2B5890F03}"/>
              </a:ext>
            </a:extLst>
          </p:cNvPr>
          <p:cNvGraphicFramePr>
            <a:graphicFrameLocks noChangeAspect="1"/>
          </p:cNvGraphicFramePr>
          <p:nvPr userDrawn="1">
            <p:custDataLst>
              <p:tags r:id="rId1"/>
            </p:custDataLst>
            <p:extLst>
              <p:ext uri="{D42A27DB-BD31-4B8C-83A1-F6EECF244321}">
                <p14:modId xmlns:p14="http://schemas.microsoft.com/office/powerpoint/2010/main" val="3654340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6" name="Object 5" hidden="1">
                        <a:extLst>
                          <a:ext uri="{FF2B5EF4-FFF2-40B4-BE49-F238E27FC236}">
                            <a16:creationId xmlns:a16="http://schemas.microsoft.com/office/drawing/2014/main" id="{13931501-7AEA-443B-97F9-E0B2B5890F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838799" y="188916"/>
            <a:ext cx="9540001" cy="936625"/>
          </a:xfrm>
        </p:spPr>
        <p:txBody>
          <a:bodyPr vert="horz"/>
          <a:lstStyle>
            <a:lvl1pPr>
              <a:defRPr b="0">
                <a:solidFill>
                  <a:schemeClr val="tx1"/>
                </a:solidFill>
              </a:defRPr>
            </a:lvl1pPr>
          </a:lstStyle>
          <a:p>
            <a:r>
              <a:rPr lang="de-DE"/>
              <a:t>Prototypische einzeilige Headline</a:t>
            </a:r>
            <a:endParaRPr lang="de-AT"/>
          </a:p>
        </p:txBody>
      </p:sp>
      <p:sp>
        <p:nvSpPr>
          <p:cNvPr id="3" name="Inhaltsplatzhalter 2"/>
          <p:cNvSpPr>
            <a:spLocks noGrp="1"/>
          </p:cNvSpPr>
          <p:nvPr>
            <p:ph idx="1" hasCustomPrompt="1"/>
          </p:nvPr>
        </p:nvSpPr>
        <p:spPr>
          <a:xfrm>
            <a:off x="838800" y="1484316"/>
            <a:ext cx="9540000" cy="4525200"/>
          </a:xfrm>
          <a:prstGeom prst="rect">
            <a:avLst/>
          </a:prstGeom>
        </p:spPr>
        <p:txBody>
          <a:bodyPr/>
          <a:lstStyle>
            <a:lvl1pPr>
              <a:buClr>
                <a:srgbClr val="004FA1"/>
              </a:buClr>
              <a:defRPr/>
            </a:lvl1pPr>
            <a:lvl2pPr>
              <a:defRPr/>
            </a:lvl2pPr>
            <a:lvl3pPr>
              <a:defRPr/>
            </a:lvl3pPr>
          </a:lstStyle>
          <a:p>
            <a:pPr lvl="0"/>
            <a:r>
              <a:rPr lang="de-DE"/>
              <a:t>Sie lesen eben einen Blindtext beziehungsweise Musterworte, um die Optik besser sehen zu können.</a:t>
            </a:r>
          </a:p>
          <a:p>
            <a:pPr lvl="0"/>
            <a:r>
              <a:rPr lang="de-DE"/>
              <a:t>Der Text ist daher an sich redundant, aber Sie können nun die Abtrennungen besser sehen.</a:t>
            </a:r>
          </a:p>
          <a:p>
            <a:pPr lvl="1"/>
            <a:r>
              <a:rPr lang="de-DE"/>
              <a:t>Beispielsweise wäre die zweite Ebene jene, die jetzt</a:t>
            </a:r>
          </a:p>
          <a:p>
            <a:pPr lvl="1"/>
            <a:r>
              <a:rPr lang="de-DE"/>
              <a:t>folgt.</a:t>
            </a:r>
          </a:p>
          <a:p>
            <a:pPr lvl="2"/>
            <a:r>
              <a:rPr lang="de-DE"/>
              <a:t>Beispielsweise wäre die dritte Ebene jene, die jetzt</a:t>
            </a:r>
          </a:p>
          <a:p>
            <a:pPr lvl="2"/>
            <a:r>
              <a:rPr lang="de-DE"/>
              <a:t>folgt.</a:t>
            </a:r>
          </a:p>
        </p:txBody>
      </p:sp>
      <p:sp>
        <p:nvSpPr>
          <p:cNvPr id="4" name="Foliennummernplatzhalter 3"/>
          <p:cNvSpPr>
            <a:spLocks noGrp="1"/>
          </p:cNvSpPr>
          <p:nvPr>
            <p:ph type="sldNum" sz="quarter" idx="10"/>
          </p:nvPr>
        </p:nvSpPr>
        <p:spPr>
          <a:xfrm>
            <a:off x="167425" y="6245225"/>
            <a:ext cx="4692569" cy="476250"/>
          </a:xfrm>
        </p:spPr>
        <p:txBody>
          <a:bodyPr/>
          <a:lstStyle>
            <a:lvl1pPr>
              <a:defRPr/>
            </a:lvl1pPr>
          </a:lstStyle>
          <a:p>
            <a:fld id="{01920E2B-FC99-4A38-BFFD-416A818AECB0}" type="slidenum">
              <a:rPr lang="de-AT"/>
              <a:pPr/>
              <a:t>‹Nr.›</a:t>
            </a:fld>
            <a:endParaRPr lang="de-AT"/>
          </a:p>
        </p:txBody>
      </p:sp>
    </p:spTree>
    <p:extLst>
      <p:ext uri="{BB962C8B-B14F-4D97-AF65-F5344CB8AC3E}">
        <p14:creationId xmlns:p14="http://schemas.microsoft.com/office/powerpoint/2010/main" val="392374800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648706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4219883"/>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1400" dirty="0"/>
            </a:lvl1pPr>
          </a:lstStyle>
          <a:p>
            <a:pPr lvl="0">
              <a:buNone/>
            </a:pPr>
            <a:r>
              <a:rPr lang="de-DE"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352650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2000" dirty="0"/>
            </a:lvl1pPr>
          </a:lstStyle>
          <a:p>
            <a:pPr lvl="0">
              <a:buNone/>
            </a:pPr>
            <a:r>
              <a:rPr lang="en-US"/>
              <a:t>Click to edit Master subtitle style</a:t>
            </a:r>
            <a:endParaRPr lang="de-DE"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2775732"/>
            <a:ext cx="9726795" cy="62972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de-DE" sz="4400" b="1" dirty="0"/>
            </a:lvl1pPr>
          </a:lstStyle>
          <a:p>
            <a:pPr lvl="0"/>
            <a:r>
              <a:rPr lang="en-US"/>
              <a:t>Click to edit Master title style</a:t>
            </a:r>
            <a:endParaRPr lang="de-DE" dirty="0"/>
          </a:p>
        </p:txBody>
      </p:sp>
      <p:grpSp>
        <p:nvGrpSpPr>
          <p:cNvPr id="4" name="Group 3">
            <a:extLst>
              <a:ext uri="{FF2B5EF4-FFF2-40B4-BE49-F238E27FC236}">
                <a16:creationId xmlns:a16="http://schemas.microsoft.com/office/drawing/2014/main" id="{838CDDEC-3074-4ADE-9430-F25148352A4E}"/>
              </a:ext>
            </a:extLst>
          </p:cNvPr>
          <p:cNvGrpSpPr/>
          <p:nvPr userDrawn="1"/>
        </p:nvGrpSpPr>
        <p:grpSpPr>
          <a:xfrm>
            <a:off x="551941" y="883130"/>
            <a:ext cx="1150957" cy="499731"/>
            <a:chOff x="814919" y="883130"/>
            <a:chExt cx="1150957" cy="499731"/>
          </a:xfrm>
        </p:grpSpPr>
        <p:cxnSp>
          <p:nvCxnSpPr>
            <p:cNvPr id="11" name="Straight Connector 10">
              <a:extLst>
                <a:ext uri="{FF2B5EF4-FFF2-40B4-BE49-F238E27FC236}">
                  <a16:creationId xmlns:a16="http://schemas.microsoft.com/office/drawing/2014/main" id="{3197A273-385D-44C6-B9D2-2EAE2CF3BF77}"/>
                </a:ext>
              </a:extLst>
            </p:cNvPr>
            <p:cNvCxnSpPr/>
            <p:nvPr/>
          </p:nvCxnSpPr>
          <p:spPr>
            <a:xfrm>
              <a:off x="814919" y="883130"/>
              <a:ext cx="11509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6475FBA-C050-4B6B-A237-084AFBFC9E09}"/>
                </a:ext>
              </a:extLst>
            </p:cNvPr>
            <p:cNvCxnSpPr/>
            <p:nvPr/>
          </p:nvCxnSpPr>
          <p:spPr>
            <a:xfrm>
              <a:off x="814919" y="1382861"/>
              <a:ext cx="11509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
              <a:extLst>
                <a:ext uri="{FF2B5EF4-FFF2-40B4-BE49-F238E27FC236}">
                  <a16:creationId xmlns:a16="http://schemas.microsoft.com/office/drawing/2014/main" id="{4DCCD6DA-9CF0-40CF-B364-49A4E26E5653}"/>
                </a:ext>
              </a:extLst>
            </p:cNvPr>
            <p:cNvSpPr txBox="1">
              <a:spLocks/>
            </p:cNvSpPr>
            <p:nvPr>
              <p:custDataLst>
                <p:tags r:id="rId6"/>
              </p:custDataLst>
            </p:nvPr>
          </p:nvSpPr>
          <p:spPr>
            <a:xfrm>
              <a:off x="814920" y="992529"/>
              <a:ext cx="1150956"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0" rIns="0" bIns="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de-DE" sz="20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rtl="0">
                <a:buNone/>
              </a:pPr>
              <a:r>
                <a:rPr lang="de-DE" dirty="0">
                  <a:latin typeface="Bahnschrift" panose="020B0502040204020203" pitchFamily="34" charset="0"/>
                </a:rPr>
                <a:t>ENTWURF</a:t>
              </a:r>
            </a:p>
          </p:txBody>
        </p:sp>
      </p:grpSp>
      <p:pic>
        <p:nvPicPr>
          <p:cNvPr id="15" name="Picture 24">
            <a:extLst>
              <a:ext uri="{FF2B5EF4-FFF2-40B4-BE49-F238E27FC236}">
                <a16:creationId xmlns:a16="http://schemas.microsoft.com/office/drawing/2014/main" id="{3434ED4C-9288-47B9-9629-BAFCC5315997}"/>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tretch>
            <a:fillRect/>
          </a:stretch>
        </p:blipFill>
        <p:spPr bwMode="auto">
          <a:xfrm>
            <a:off x="10521251" y="6345078"/>
            <a:ext cx="1116013" cy="346688"/>
          </a:xfrm>
          <a:prstGeom prst="rect">
            <a:avLst/>
          </a:prstGeom>
          <a:noFill/>
        </p:spPr>
      </p:pic>
      <p:sp>
        <p:nvSpPr>
          <p:cNvPr id="17" name="TextBox 16">
            <a:extLst>
              <a:ext uri="{FF2B5EF4-FFF2-40B4-BE49-F238E27FC236}">
                <a16:creationId xmlns:a16="http://schemas.microsoft.com/office/drawing/2014/main" id="{8114EF85-842D-4A55-9688-8671C84C44EA}"/>
              </a:ext>
            </a:extLst>
          </p:cNvPr>
          <p:cNvSpPr txBox="1"/>
          <p:nvPr userDrawn="1"/>
        </p:nvSpPr>
        <p:spPr>
          <a:xfrm>
            <a:off x="551941" y="6345078"/>
            <a:ext cx="4635884" cy="338554"/>
          </a:xfrm>
          <a:prstGeom prst="rect">
            <a:avLst/>
          </a:prstGeom>
        </p:spPr>
        <p:txBody>
          <a:bodyPr vert="horz" wrap="none" lIns="0" tIns="0" rIns="0" bIns="0" rtlCol="0">
            <a:noAutofit/>
          </a:bodyPr>
          <a:lstStyle>
            <a:lvl1pPr marL="469900" lvl="0" indent="-469900" eaLnBrk="1" hangingPunct="1">
              <a:spcBef>
                <a:spcPct val="20000"/>
              </a:spcBef>
              <a:buClr>
                <a:srgbClr val="ED1C24"/>
              </a:buClr>
              <a:buFont typeface="Arial" panose="020B0604020202020204" pitchFamily="34" charset="0"/>
              <a:buChar char="•"/>
              <a:defRPr sz="2200">
                <a:latin typeface="Bahnschrift" panose="020B0502040204020203" pitchFamily="34" charset="0"/>
              </a:defRPr>
            </a:lvl1pPr>
            <a:lvl2pPr marL="908050" lvl="1" indent="-436563" eaLnBrk="1" hangingPunct="1">
              <a:spcBef>
                <a:spcPct val="20000"/>
              </a:spcBef>
              <a:buClr>
                <a:schemeClr val="tx1"/>
              </a:buClr>
              <a:buFont typeface="Symbol" panose="05050102010706020507" pitchFamily="18" charset="2"/>
              <a:buChar char="-"/>
              <a:defRPr sz="2000">
                <a:latin typeface="Bahnschrift" panose="020B0502040204020203" pitchFamily="34" charset="0"/>
              </a:defRPr>
            </a:lvl2pPr>
            <a:lvl3pPr marL="1304925" lvl="2" indent="-395288" eaLnBrk="1" hangingPunct="1">
              <a:spcBef>
                <a:spcPct val="20000"/>
              </a:spcBef>
              <a:buClr>
                <a:srgbClr val="6F6F6F"/>
              </a:buClr>
              <a:buFont typeface="Symbol" pitchFamily="18" charset="2"/>
              <a:buChar char="-"/>
              <a:defRPr sz="1800">
                <a:latin typeface="Bahnschrift" panose="020B0502040204020203" pitchFamily="34" charset="0"/>
              </a:defRPr>
            </a:lvl3pPr>
            <a:lvl4pPr marL="1693863" lvl="3" indent="-387350" eaLnBrk="1" hangingPunct="1">
              <a:spcBef>
                <a:spcPct val="20000"/>
              </a:spcBef>
              <a:buClr>
                <a:srgbClr val="6F6F6F"/>
              </a:buClr>
              <a:buFont typeface="Symbol" pitchFamily="18" charset="2"/>
              <a:buChar char="-"/>
              <a:defRPr sz="1800">
                <a:latin typeface="Bahnschrift" panose="020B0502040204020203" pitchFamily="34" charset="0"/>
              </a:defRPr>
            </a:lvl4pPr>
            <a:lvl5pPr marL="2093913" lvl="4" indent="-398463" eaLnBrk="1" hangingPunct="1">
              <a:spcBef>
                <a:spcPct val="25000"/>
              </a:spcBef>
              <a:buClr>
                <a:srgbClr val="6F6F6F"/>
              </a:buClr>
              <a:buFont typeface="Symbol" pitchFamily="18" charset="2"/>
              <a:buChar char="-"/>
              <a:defRPr sz="1800">
                <a:latin typeface="Bahnschrift" panose="020B0502040204020203" pitchFamily="34" charset="0"/>
              </a:defRPr>
            </a:lvl5pPr>
            <a:lvl6pPr marL="2551113" indent="-398463" fontAlgn="base">
              <a:spcBef>
                <a:spcPct val="25000"/>
              </a:spcBef>
              <a:spcAft>
                <a:spcPct val="0"/>
              </a:spcAft>
              <a:buClr>
                <a:schemeClr val="accent2"/>
              </a:buClr>
              <a:buFont typeface="Wingdings" pitchFamily="2" charset="2"/>
              <a:buChar char="§"/>
              <a:defRPr sz="2000">
                <a:latin typeface="+mn-lt"/>
              </a:defRPr>
            </a:lvl6pPr>
            <a:lvl7pPr marL="3008313" indent="-398463" fontAlgn="base">
              <a:spcBef>
                <a:spcPct val="25000"/>
              </a:spcBef>
              <a:spcAft>
                <a:spcPct val="0"/>
              </a:spcAft>
              <a:buClr>
                <a:schemeClr val="accent2"/>
              </a:buClr>
              <a:buFont typeface="Wingdings" pitchFamily="2" charset="2"/>
              <a:buChar char="§"/>
              <a:defRPr sz="2000">
                <a:latin typeface="+mn-lt"/>
              </a:defRPr>
            </a:lvl7pPr>
            <a:lvl8pPr marL="3465513" indent="-398463" fontAlgn="base">
              <a:spcBef>
                <a:spcPct val="25000"/>
              </a:spcBef>
              <a:spcAft>
                <a:spcPct val="0"/>
              </a:spcAft>
              <a:buClr>
                <a:schemeClr val="accent2"/>
              </a:buClr>
              <a:buFont typeface="Wingdings" pitchFamily="2" charset="2"/>
              <a:buChar char="§"/>
              <a:defRPr sz="2000">
                <a:latin typeface="+mn-lt"/>
              </a:defRPr>
            </a:lvl8pPr>
            <a:lvl9pPr marL="3922713" indent="-398463" fontAlgn="base">
              <a:spcBef>
                <a:spcPct val="25000"/>
              </a:spcBef>
              <a:spcAft>
                <a:spcPct val="0"/>
              </a:spcAft>
              <a:buClr>
                <a:schemeClr val="accent2"/>
              </a:buClr>
              <a:buFont typeface="Wingdings" pitchFamily="2" charset="2"/>
              <a:buChar char="§"/>
              <a:defRPr sz="2000">
                <a:latin typeface="+mn-lt"/>
              </a:defRPr>
            </a:lvl9pPr>
          </a:lstStyle>
          <a:p>
            <a:pPr marL="0" indent="0" algn="l" rtl="0">
              <a:buNone/>
            </a:pPr>
            <a:r>
              <a:rPr lang="de-DE" b="1" dirty="0">
                <a:solidFill>
                  <a:schemeClr val="bg1">
                    <a:lumMod val="65000"/>
                    <a:alpha val="50000"/>
                  </a:schemeClr>
                </a:solidFill>
              </a:rPr>
              <a:t>ENTWURF – NICHT WEITERZUGEBEN</a:t>
            </a:r>
          </a:p>
        </p:txBody>
      </p:sp>
    </p:spTree>
    <p:extLst>
      <p:ext uri="{BB962C8B-B14F-4D97-AF65-F5344CB8AC3E}">
        <p14:creationId xmlns:p14="http://schemas.microsoft.com/office/powerpoint/2010/main" val="25554278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702681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45942"/>
            <a:ext cx="11082528" cy="35779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de-DE" dirty="0"/>
            </a:lvl1pPr>
          </a:lstStyle>
          <a:p>
            <a:pPr lvl="0"/>
            <a:r>
              <a:rPr lang="en-US"/>
              <a:t>Click to edit Master title style</a:t>
            </a:r>
            <a:endParaRPr lang="de-DE"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59517"/>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b="0" dirty="0"/>
            </a:lvl1pPr>
          </a:lstStyle>
          <a:p>
            <a:pPr lvl="0">
              <a:buNone/>
            </a:pPr>
            <a:r>
              <a:rPr lang="en-US"/>
              <a:t>Click to edit Master subtitle style</a:t>
            </a:r>
            <a:endParaRPr lang="de-DE"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mn-lt"/>
                <a:ea typeface="+mn-ea"/>
                <a:cs typeface="Arial" panose="020B0604020202020204" pitchFamily="34" charset="0"/>
              </a:rPr>
              <a:pPr algn="l" defTabSz="610744" rtl="0" fontAlgn="auto">
                <a:spcBef>
                  <a:spcPts val="0"/>
                </a:spcBef>
                <a:spcAft>
                  <a:spcPts val="0"/>
                </a:spcAft>
                <a:defRPr/>
              </a:pPr>
              <a:t>‹Nr.›</a:t>
            </a:fld>
            <a:endParaRPr lang="de-DE" sz="900" b="0" dirty="0">
              <a:solidFill>
                <a:schemeClr val="accent4"/>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800" b="0" dirty="0">
                <a:cs typeface="+mn-cs"/>
              </a:defRPr>
            </a:lvl1pPr>
          </a:lstStyle>
          <a:p>
            <a:pPr lvl="0">
              <a:buNone/>
            </a:pPr>
            <a:r>
              <a:rPr lang="de-DE" dirty="0"/>
              <a:t>Add tracker</a:t>
            </a:r>
          </a:p>
        </p:txBody>
      </p:sp>
      <p:pic>
        <p:nvPicPr>
          <p:cNvPr id="17" name="Picture 24">
            <a:extLst>
              <a:ext uri="{FF2B5EF4-FFF2-40B4-BE49-F238E27FC236}">
                <a16:creationId xmlns:a16="http://schemas.microsoft.com/office/drawing/2014/main" id="{6FEB58D9-A98B-4060-A150-78BACFDA2031}"/>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195024744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481105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de-DE" dirty="0"/>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8" name="Slide Number">
            <a:extLst>
              <a:ext uri="{FF2B5EF4-FFF2-40B4-BE49-F238E27FC236}">
                <a16:creationId xmlns:a16="http://schemas.microsoft.com/office/drawing/2014/main" id="{D10361C0-B2EF-4E62-B92E-09DC9AE5598F}"/>
              </a:ext>
            </a:extLst>
          </p:cNvPr>
          <p:cNvSpPr>
            <a:spLocks noChangeArrowheads="1"/>
          </p:cNvSpPr>
          <p:nvPr userDrawn="1">
            <p:custDataLst>
              <p:tags r:id="rId5"/>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mn-lt"/>
                <a:ea typeface="+mn-ea"/>
                <a:cs typeface="Arial" panose="020B0604020202020204" pitchFamily="34" charset="0"/>
              </a:rPr>
              <a:pPr algn="l" defTabSz="610744" rtl="0" fontAlgn="auto">
                <a:spcBef>
                  <a:spcPts val="0"/>
                </a:spcBef>
                <a:spcAft>
                  <a:spcPts val="0"/>
                </a:spcAft>
                <a:defRPr/>
              </a:pPr>
              <a:t>‹Nr.›</a:t>
            </a:fld>
            <a:endParaRPr lang="de-DE" sz="900" b="0" dirty="0">
              <a:solidFill>
                <a:schemeClr val="accent4"/>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83BC8AD5-CEDE-420E-8CDF-29B6B0AB85C8}"/>
              </a:ext>
            </a:extLst>
          </p:cNvPr>
          <p:cNvSpPr txBox="1"/>
          <p:nvPr userDrawn="1">
            <p:custDataLst>
              <p:tags r:id="rId6"/>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 …</a:t>
            </a:r>
          </a:p>
        </p:txBody>
      </p:sp>
      <p:pic>
        <p:nvPicPr>
          <p:cNvPr id="13" name="Picture 24">
            <a:extLst>
              <a:ext uri="{FF2B5EF4-FFF2-40B4-BE49-F238E27FC236}">
                <a16:creationId xmlns:a16="http://schemas.microsoft.com/office/drawing/2014/main" id="{E753E4B3-7552-4047-98C7-5D0FAF1195D2}"/>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261702353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60323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50105"/>
            <a:ext cx="5065776" cy="357790"/>
          </a:xfrm>
          <a:prstGeom prst="rect">
            <a:avLst/>
          </a:prstGeom>
        </p:spPr>
        <p:txBody>
          <a:bodyPr vert="horz" wrap="square" rIns="365760" anchor="ctr">
            <a:spAutoFit/>
          </a:bodyPr>
          <a:lstStyle>
            <a:lvl1pPr rtl="0">
              <a:defRPr>
                <a:ln w="6350" cap="flat">
                  <a:noFill/>
                  <a:miter lim="800000"/>
                </a:ln>
              </a:defRPr>
            </a:lvl1pPr>
          </a:lstStyle>
          <a:p>
            <a:r>
              <a:rPr lang="en-US"/>
              <a:t>Click to edit Master title style</a:t>
            </a:r>
            <a:endParaRPr lang="de-DE" dirty="0"/>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11" name="Slide Number">
            <a:extLst>
              <a:ext uri="{FF2B5EF4-FFF2-40B4-BE49-F238E27FC236}">
                <a16:creationId xmlns:a16="http://schemas.microsoft.com/office/drawing/2014/main" id="{FBB88D9B-ABB7-4786-83C0-4CF6FC08CDFA}"/>
              </a:ext>
            </a:extLst>
          </p:cNvPr>
          <p:cNvSpPr>
            <a:spLocks noChangeArrowheads="1"/>
          </p:cNvSpPr>
          <p:nvPr userDrawn="1">
            <p:custDataLst>
              <p:tags r:id="rId5"/>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mn-lt"/>
                <a:ea typeface="+mn-ea"/>
                <a:cs typeface="Arial" panose="020B0604020202020204" pitchFamily="34" charset="0"/>
              </a:rPr>
              <a:pPr algn="l" defTabSz="610744" rtl="0" fontAlgn="auto">
                <a:spcBef>
                  <a:spcPts val="0"/>
                </a:spcBef>
                <a:spcAft>
                  <a:spcPts val="0"/>
                </a:spcAft>
                <a:defRPr/>
              </a:pPr>
              <a:t>‹Nr.›</a:t>
            </a:fld>
            <a:endParaRPr lang="de-DE" sz="900" b="0" dirty="0">
              <a:solidFill>
                <a:schemeClr val="accent4"/>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9C7CFAFE-151F-4006-AE1B-B99DDF767D38}"/>
              </a:ext>
            </a:extLst>
          </p:cNvPr>
          <p:cNvSpPr txBox="1"/>
          <p:nvPr userDrawn="1">
            <p:custDataLst>
              <p:tags r:id="rId6"/>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 …</a:t>
            </a:r>
          </a:p>
        </p:txBody>
      </p:sp>
      <p:pic>
        <p:nvPicPr>
          <p:cNvPr id="13" name="Picture 24">
            <a:extLst>
              <a:ext uri="{FF2B5EF4-FFF2-40B4-BE49-F238E27FC236}">
                <a16:creationId xmlns:a16="http://schemas.microsoft.com/office/drawing/2014/main" id="{AEE82E29-BBE7-40CA-B6D5-0CB8048FF73D}"/>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272396940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314749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de-DE" dirty="0"/>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10" name="Slide Number">
            <a:extLst>
              <a:ext uri="{FF2B5EF4-FFF2-40B4-BE49-F238E27FC236}">
                <a16:creationId xmlns:a16="http://schemas.microsoft.com/office/drawing/2014/main" id="{196D82A3-C41E-4026-9B9B-C6EDA362EA62}"/>
              </a:ext>
            </a:extLst>
          </p:cNvPr>
          <p:cNvSpPr>
            <a:spLocks noChangeArrowheads="1"/>
          </p:cNvSpPr>
          <p:nvPr userDrawn="1">
            <p:custDataLst>
              <p:tags r:id="rId5"/>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mn-lt"/>
                <a:ea typeface="+mn-ea"/>
                <a:cs typeface="Arial" panose="020B0604020202020204" pitchFamily="34" charset="0"/>
              </a:rPr>
              <a:pPr algn="l" defTabSz="610744" rtl="0" fontAlgn="auto">
                <a:spcBef>
                  <a:spcPts val="0"/>
                </a:spcBef>
                <a:spcAft>
                  <a:spcPts val="0"/>
                </a:spcAft>
                <a:defRPr/>
              </a:pPr>
              <a:t>‹Nr.›</a:t>
            </a:fld>
            <a:endParaRPr lang="de-DE" sz="900" b="0" dirty="0">
              <a:solidFill>
                <a:schemeClr val="accent4"/>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A1CEB5C6-0F65-45F7-B1E3-6C7EBF12A982}"/>
              </a:ext>
            </a:extLst>
          </p:cNvPr>
          <p:cNvSpPr txBox="1"/>
          <p:nvPr userDrawn="1">
            <p:custDataLst>
              <p:tags r:id="rId6"/>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 …</a:t>
            </a:r>
          </a:p>
        </p:txBody>
      </p:sp>
      <p:pic>
        <p:nvPicPr>
          <p:cNvPr id="12" name="Picture 24">
            <a:extLst>
              <a:ext uri="{FF2B5EF4-FFF2-40B4-BE49-F238E27FC236}">
                <a16:creationId xmlns:a16="http://schemas.microsoft.com/office/drawing/2014/main" id="{AC3BCAAF-839F-439B-AE06-F786DB13B9B7}"/>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42900700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763150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77580"/>
            <a:ext cx="9180576" cy="501869"/>
          </a:xfrm>
          <a:prstGeom prst="rect">
            <a:avLst/>
          </a:prstGeom>
        </p:spPr>
        <p:txBody>
          <a:bodyPr vert="horz">
            <a:spAutoFit/>
          </a:bodyPr>
          <a:lstStyle>
            <a:lvl1pPr rtl="0">
              <a:lnSpc>
                <a:spcPct val="105000"/>
              </a:lnSpc>
              <a:defRPr sz="3400"/>
            </a:lvl1pPr>
          </a:lstStyle>
          <a:p>
            <a:r>
              <a:rPr lang="de-DE"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11" name="Slide Number">
            <a:extLst>
              <a:ext uri="{FF2B5EF4-FFF2-40B4-BE49-F238E27FC236}">
                <a16:creationId xmlns:a16="http://schemas.microsoft.com/office/drawing/2014/main" id="{B037E860-4142-4F46-8451-BAD5A1032E9B}"/>
              </a:ext>
            </a:extLst>
          </p:cNvPr>
          <p:cNvSpPr>
            <a:spLocks noChangeArrowheads="1"/>
          </p:cNvSpPr>
          <p:nvPr userDrawn="1">
            <p:custDataLst>
              <p:tags r:id="rId6"/>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mn-lt"/>
                <a:ea typeface="+mn-ea"/>
                <a:cs typeface="Arial" panose="020B0604020202020204" pitchFamily="34" charset="0"/>
              </a:rPr>
              <a:pPr algn="l" defTabSz="610744" rtl="0" fontAlgn="auto">
                <a:spcBef>
                  <a:spcPts val="0"/>
                </a:spcBef>
                <a:spcAft>
                  <a:spcPts val="0"/>
                </a:spcAft>
                <a:defRPr/>
              </a:pPr>
              <a:t>‹Nr.›</a:t>
            </a:fld>
            <a:endParaRPr lang="de-DE" sz="900" b="0" dirty="0">
              <a:solidFill>
                <a:schemeClr val="accent4"/>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18919A0-F6BB-4050-9154-4B5198BE167F}"/>
              </a:ext>
            </a:extLst>
          </p:cNvPr>
          <p:cNvSpPr txBox="1"/>
          <p:nvPr userDrawn="1">
            <p:custDataLst>
              <p:tags r:id="rId7"/>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 …</a:t>
            </a:r>
          </a:p>
        </p:txBody>
      </p:sp>
      <p:pic>
        <p:nvPicPr>
          <p:cNvPr id="13" name="Picture 24">
            <a:extLst>
              <a:ext uri="{FF2B5EF4-FFF2-40B4-BE49-F238E27FC236}">
                <a16:creationId xmlns:a16="http://schemas.microsoft.com/office/drawing/2014/main" id="{B8FEBBCE-27DB-4733-A806-5C277B948EF4}"/>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410057565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140740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EEEE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de-DE"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anchor="b">
            <a:noAutofit/>
          </a:bodyPr>
          <a:lstStyle>
            <a:lvl1pPr rtl="0">
              <a:defRPr>
                <a:solidFill>
                  <a:schemeClr val="tx1"/>
                </a:solidFill>
              </a:defRPr>
            </a:lvl1pPr>
          </a:lstStyle>
          <a:p>
            <a:r>
              <a:rPr lang="en-US"/>
              <a:t>Click to edit Master title style</a:t>
            </a:r>
            <a:endParaRPr lang="de-DE"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de-DE" dirty="0"/>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11" name="Slide Number">
            <a:extLst>
              <a:ext uri="{FF2B5EF4-FFF2-40B4-BE49-F238E27FC236}">
                <a16:creationId xmlns:a16="http://schemas.microsoft.com/office/drawing/2014/main" id="{51FC4C0D-286E-451D-9336-DB01EBEAF6B6}"/>
              </a:ext>
            </a:extLst>
          </p:cNvPr>
          <p:cNvSpPr>
            <a:spLocks noChangeArrowheads="1"/>
          </p:cNvSpPr>
          <p:nvPr userDrawn="1">
            <p:custDataLst>
              <p:tags r:id="rId7"/>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mn-lt"/>
                <a:ea typeface="+mn-ea"/>
                <a:cs typeface="Arial" panose="020B0604020202020204" pitchFamily="34" charset="0"/>
              </a:rPr>
              <a:pPr algn="l" defTabSz="610744" rtl="0" fontAlgn="auto">
                <a:spcBef>
                  <a:spcPts val="0"/>
                </a:spcBef>
                <a:spcAft>
                  <a:spcPts val="0"/>
                </a:spcAft>
                <a:defRPr/>
              </a:pPr>
              <a:t>‹Nr.›</a:t>
            </a:fld>
            <a:endParaRPr lang="de-DE" sz="900" b="0" dirty="0">
              <a:solidFill>
                <a:schemeClr val="accent4"/>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78EF73E-DE00-4E61-BAFD-ACFAF16BBA7F}"/>
              </a:ext>
            </a:extLst>
          </p:cNvPr>
          <p:cNvSpPr txBox="1"/>
          <p:nvPr userDrawn="1">
            <p:custDataLst>
              <p:tags r:id="rId8"/>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 …</a:t>
            </a:r>
          </a:p>
        </p:txBody>
      </p:sp>
      <p:pic>
        <p:nvPicPr>
          <p:cNvPr id="13" name="Picture 24">
            <a:extLst>
              <a:ext uri="{FF2B5EF4-FFF2-40B4-BE49-F238E27FC236}">
                <a16:creationId xmlns:a16="http://schemas.microsoft.com/office/drawing/2014/main" id="{48F2013B-FDDF-4BFB-ADA5-EBD5F271BF8B}"/>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262502400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263116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EEEE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de-DE"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98229"/>
            <a:ext cx="3465576" cy="715581"/>
          </a:xfrm>
          <a:prstGeom prst="rect">
            <a:avLst/>
          </a:prstGeom>
        </p:spPr>
        <p:txBody>
          <a:bodyPr vert="horz" wrap="square" anchor="b">
            <a:spAutoFit/>
          </a:bodyPr>
          <a:lstStyle>
            <a:lvl1pPr algn="l" rtl="0">
              <a:defRPr>
                <a:solidFill>
                  <a:schemeClr val="tx1"/>
                </a:solidFill>
              </a:defRPr>
            </a:lvl1pPr>
          </a:lstStyle>
          <a:p>
            <a:r>
              <a:rPr lang="en-US"/>
              <a:t>Click to edit Master title style</a:t>
            </a:r>
            <a:endParaRPr lang="de-DE"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de-DE" dirty="0"/>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11" name="Slide Number">
            <a:extLst>
              <a:ext uri="{FF2B5EF4-FFF2-40B4-BE49-F238E27FC236}">
                <a16:creationId xmlns:a16="http://schemas.microsoft.com/office/drawing/2014/main" id="{E16EE6E9-1FAC-4E55-93EB-B73ECF2BD38F}"/>
              </a:ext>
            </a:extLst>
          </p:cNvPr>
          <p:cNvSpPr>
            <a:spLocks noChangeArrowheads="1"/>
          </p:cNvSpPr>
          <p:nvPr userDrawn="1">
            <p:custDataLst>
              <p:tags r:id="rId7"/>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mn-lt"/>
                <a:ea typeface="+mn-ea"/>
                <a:cs typeface="Arial" panose="020B0604020202020204" pitchFamily="34" charset="0"/>
              </a:rPr>
              <a:pPr algn="l" defTabSz="610744" rtl="0" fontAlgn="auto">
                <a:spcBef>
                  <a:spcPts val="0"/>
                </a:spcBef>
                <a:spcAft>
                  <a:spcPts val="0"/>
                </a:spcAft>
                <a:defRPr/>
              </a:pPr>
              <a:t>‹Nr.›</a:t>
            </a:fld>
            <a:endParaRPr lang="de-DE" sz="900" b="0" dirty="0">
              <a:solidFill>
                <a:schemeClr val="accent4"/>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69829EE6-DFF1-4EDC-9186-BC864FE54902}"/>
              </a:ext>
            </a:extLst>
          </p:cNvPr>
          <p:cNvSpPr txBox="1"/>
          <p:nvPr userDrawn="1">
            <p:custDataLst>
              <p:tags r:id="rId8"/>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 …</a:t>
            </a:r>
          </a:p>
        </p:txBody>
      </p:sp>
      <p:pic>
        <p:nvPicPr>
          <p:cNvPr id="13" name="Picture 24">
            <a:extLst>
              <a:ext uri="{FF2B5EF4-FFF2-40B4-BE49-F238E27FC236}">
                <a16:creationId xmlns:a16="http://schemas.microsoft.com/office/drawing/2014/main" id="{F3150622-1A3B-40E7-869F-CB37F367FDDA}"/>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197189141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73022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EEEE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de-DE"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45942"/>
            <a:ext cx="5065776" cy="357790"/>
          </a:xfrm>
        </p:spPr>
        <p:txBody>
          <a:bodyPr vert="horz" wrap="square">
            <a:spAutoFit/>
          </a:bodyPr>
          <a:lstStyle>
            <a:lvl1pPr rtl="0">
              <a:defRPr/>
            </a:lvl1pPr>
          </a:lstStyle>
          <a:p>
            <a:r>
              <a:rPr lang="en-US"/>
              <a:t>Click to edit Master title style</a:t>
            </a:r>
            <a:endParaRPr lang="de-DE"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59517"/>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11" name="Slide Number">
            <a:extLst>
              <a:ext uri="{FF2B5EF4-FFF2-40B4-BE49-F238E27FC236}">
                <a16:creationId xmlns:a16="http://schemas.microsoft.com/office/drawing/2014/main" id="{5F9BF503-531B-4D65-90F0-C02847B72905}"/>
              </a:ext>
            </a:extLst>
          </p:cNvPr>
          <p:cNvSpPr>
            <a:spLocks noChangeArrowheads="1"/>
          </p:cNvSpPr>
          <p:nvPr userDrawn="1">
            <p:custDataLst>
              <p:tags r:id="rId7"/>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mn-lt"/>
                <a:ea typeface="+mn-ea"/>
                <a:cs typeface="Arial" panose="020B0604020202020204" pitchFamily="34" charset="0"/>
              </a:rPr>
              <a:pPr algn="l" defTabSz="610744" rtl="0" fontAlgn="auto">
                <a:spcBef>
                  <a:spcPts val="0"/>
                </a:spcBef>
                <a:spcAft>
                  <a:spcPts val="0"/>
                </a:spcAft>
                <a:defRPr/>
              </a:pPr>
              <a:t>‹Nr.›</a:t>
            </a:fld>
            <a:endParaRPr lang="de-DE" sz="900" b="0" dirty="0">
              <a:solidFill>
                <a:schemeClr val="accent4"/>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4BE99A5-A1C0-48C5-ACA1-F94ADAC5F1AC}"/>
              </a:ext>
            </a:extLst>
          </p:cNvPr>
          <p:cNvSpPr txBox="1"/>
          <p:nvPr userDrawn="1">
            <p:custDataLst>
              <p:tags r:id="rId8"/>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 …</a:t>
            </a:r>
          </a:p>
        </p:txBody>
      </p:sp>
      <p:pic>
        <p:nvPicPr>
          <p:cNvPr id="13" name="Picture 24">
            <a:extLst>
              <a:ext uri="{FF2B5EF4-FFF2-40B4-BE49-F238E27FC236}">
                <a16:creationId xmlns:a16="http://schemas.microsoft.com/office/drawing/2014/main" id="{31BFD129-D4B8-4352-93EC-B8114C0F4C87}"/>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6872201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23804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Bahnschrift" panose="020B0502040204020203" pitchFamily="34" charset="0"/>
              <a:ea typeface="+mj-ea"/>
              <a:cs typeface="+mj-cs"/>
              <a:sym typeface="Bahnschrift" panose="020B0502040204020203"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45942"/>
            <a:ext cx="11082528" cy="35779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de-DE" dirty="0">
                <a:latin typeface="Bahnschrift" panose="020B0502040204020203" pitchFamily="34" charset="0"/>
                <a:sym typeface="Bahnschrift" panose="020B0502040204020203" pitchFamily="34" charset="0"/>
              </a:defRPr>
            </a:lvl1pPr>
          </a:lstStyle>
          <a:p>
            <a:pPr lvl="0"/>
            <a:r>
              <a:rPr lang="en-US"/>
              <a:t>Click to edit Master title style</a:t>
            </a:r>
            <a:endParaRPr lang="de-DE"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59517"/>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b="0" dirty="0">
                <a:latin typeface="Bahnschrift" panose="020B0502040204020203" pitchFamily="34" charset="0"/>
                <a:sym typeface="Bahnschrift" panose="020B0502040204020203" pitchFamily="34" charset="0"/>
              </a:defRPr>
            </a:lvl1pPr>
          </a:lstStyle>
          <a:p>
            <a:pPr lvl="0">
              <a:buNone/>
            </a:pPr>
            <a:r>
              <a:rPr lang="en-US"/>
              <a:t>Click to edit Master subtitle style</a:t>
            </a:r>
            <a:endParaRPr lang="de-DE"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Bahnschrift" panose="020B0502040204020203" pitchFamily="34" charset="0"/>
                <a:ea typeface="+mn-ea"/>
                <a:cs typeface="Arial" panose="020B0604020202020204" pitchFamily="34" charset="0"/>
                <a:sym typeface="Bahnschrift" panose="020B0502040204020203" pitchFamily="34" charset="0"/>
              </a:rPr>
              <a:pPr algn="l" defTabSz="610744" rtl="0" fontAlgn="auto">
                <a:spcBef>
                  <a:spcPts val="0"/>
                </a:spcBef>
                <a:spcAft>
                  <a:spcPts val="0"/>
                </a:spcAft>
                <a:defRPr/>
              </a:pPr>
              <a:t>‹Nr.›</a:t>
            </a:fld>
            <a:endParaRPr lang="de-DE" sz="900" b="0" dirty="0">
              <a:solidFill>
                <a:schemeClr val="accent4"/>
              </a:solidFill>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latin typeface="Bahnschrift" panose="020B0502040204020203" pitchFamily="34" charset="0"/>
                <a:sym typeface="Bahnschrift" panose="020B0502040204020203" pitchFamily="34" charset="0"/>
              </a:rPr>
              <a:t>Quell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800" b="0" dirty="0">
                <a:latin typeface="Bahnschrift" panose="020B0502040204020203" pitchFamily="34" charset="0"/>
                <a:cs typeface="+mn-cs"/>
                <a:sym typeface="Bahnschrift" panose="020B0502040204020203" pitchFamily="34" charset="0"/>
              </a:defRPr>
            </a:lvl1pPr>
          </a:lstStyle>
          <a:p>
            <a:pPr lvl="0">
              <a:buNone/>
            </a:pPr>
            <a:r>
              <a:rPr lang="de-DE" dirty="0"/>
              <a:t>Add tracker</a:t>
            </a:r>
          </a:p>
        </p:txBody>
      </p:sp>
    </p:spTree>
    <p:extLst>
      <p:ext uri="{BB962C8B-B14F-4D97-AF65-F5344CB8AC3E}">
        <p14:creationId xmlns:p14="http://schemas.microsoft.com/office/powerpoint/2010/main" val="197991098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663680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45942"/>
            <a:ext cx="6967728" cy="357790"/>
          </a:xfrm>
        </p:spPr>
        <p:txBody>
          <a:bodyPr vert="horz" wrap="square">
            <a:spAutoFit/>
          </a:bodyPr>
          <a:lstStyle>
            <a:lvl1pPr rtl="0">
              <a:defRPr/>
            </a:lvl1pPr>
          </a:lstStyle>
          <a:p>
            <a:r>
              <a:rPr lang="en-US"/>
              <a:t>Click to edit Master title style</a:t>
            </a:r>
            <a:endParaRPr lang="de-DE"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EEEE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de-DE"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59517"/>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11" name="Slide Number">
            <a:extLst>
              <a:ext uri="{FF2B5EF4-FFF2-40B4-BE49-F238E27FC236}">
                <a16:creationId xmlns:a16="http://schemas.microsoft.com/office/drawing/2014/main" id="{578D6356-D934-4A70-A72D-8878811039C7}"/>
              </a:ext>
            </a:extLst>
          </p:cNvPr>
          <p:cNvSpPr>
            <a:spLocks noChangeArrowheads="1"/>
          </p:cNvSpPr>
          <p:nvPr userDrawn="1">
            <p:custDataLst>
              <p:tags r:id="rId7"/>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mn-lt"/>
                <a:ea typeface="+mn-ea"/>
                <a:cs typeface="Arial" panose="020B0604020202020204" pitchFamily="34" charset="0"/>
              </a:rPr>
              <a:pPr algn="l" defTabSz="610744" rtl="0" fontAlgn="auto">
                <a:spcBef>
                  <a:spcPts val="0"/>
                </a:spcBef>
                <a:spcAft>
                  <a:spcPts val="0"/>
                </a:spcAft>
                <a:defRPr/>
              </a:pPr>
              <a:t>‹Nr.›</a:t>
            </a:fld>
            <a:endParaRPr lang="de-DE" sz="900" b="0" dirty="0">
              <a:solidFill>
                <a:schemeClr val="accent4"/>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D2141A58-C4AE-49EC-9929-366E0BE208BD}"/>
              </a:ext>
            </a:extLst>
          </p:cNvPr>
          <p:cNvSpPr txBox="1"/>
          <p:nvPr userDrawn="1">
            <p:custDataLst>
              <p:tags r:id="rId8"/>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 …</a:t>
            </a:r>
          </a:p>
        </p:txBody>
      </p:sp>
      <p:pic>
        <p:nvPicPr>
          <p:cNvPr id="13" name="Picture 24">
            <a:extLst>
              <a:ext uri="{FF2B5EF4-FFF2-40B4-BE49-F238E27FC236}">
                <a16:creationId xmlns:a16="http://schemas.microsoft.com/office/drawing/2014/main" id="{603086AB-DEDE-48D2-9F9F-F07BE5668B9A}"/>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25995355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4213165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EEEE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de-DE"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45942"/>
            <a:ext cx="7918704" cy="357790"/>
          </a:xfrm>
        </p:spPr>
        <p:txBody>
          <a:bodyPr vert="horz" wrap="square">
            <a:spAutoFit/>
          </a:bodyPr>
          <a:lstStyle>
            <a:lvl1pPr rtl="0">
              <a:defRPr/>
            </a:lvl1pPr>
          </a:lstStyle>
          <a:p>
            <a:r>
              <a:rPr lang="en-US"/>
              <a:t>Click to edit Master title style</a:t>
            </a:r>
            <a:endParaRPr lang="de-DE"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59517"/>
            <a:ext cx="7918704"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11" name="Slide Number">
            <a:extLst>
              <a:ext uri="{FF2B5EF4-FFF2-40B4-BE49-F238E27FC236}">
                <a16:creationId xmlns:a16="http://schemas.microsoft.com/office/drawing/2014/main" id="{40FF3879-DBE8-404E-A689-60ACE87E9ED0}"/>
              </a:ext>
            </a:extLst>
          </p:cNvPr>
          <p:cNvSpPr>
            <a:spLocks noChangeArrowheads="1"/>
          </p:cNvSpPr>
          <p:nvPr userDrawn="1">
            <p:custDataLst>
              <p:tags r:id="rId7"/>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mn-lt"/>
                <a:ea typeface="+mn-ea"/>
                <a:cs typeface="Arial" panose="020B0604020202020204" pitchFamily="34" charset="0"/>
              </a:rPr>
              <a:pPr algn="l" defTabSz="610744" rtl="0" fontAlgn="auto">
                <a:spcBef>
                  <a:spcPts val="0"/>
                </a:spcBef>
                <a:spcAft>
                  <a:spcPts val="0"/>
                </a:spcAft>
                <a:defRPr/>
              </a:pPr>
              <a:t>‹Nr.›</a:t>
            </a:fld>
            <a:endParaRPr lang="de-DE" sz="900" b="0" dirty="0">
              <a:solidFill>
                <a:schemeClr val="accent4"/>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939BE904-DC22-4F43-A99E-1DA5C5A773BE}"/>
              </a:ext>
            </a:extLst>
          </p:cNvPr>
          <p:cNvSpPr txBox="1"/>
          <p:nvPr userDrawn="1">
            <p:custDataLst>
              <p:tags r:id="rId8"/>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 …</a:t>
            </a:r>
          </a:p>
        </p:txBody>
      </p:sp>
      <p:pic>
        <p:nvPicPr>
          <p:cNvPr id="13" name="Picture 24">
            <a:extLst>
              <a:ext uri="{FF2B5EF4-FFF2-40B4-BE49-F238E27FC236}">
                <a16:creationId xmlns:a16="http://schemas.microsoft.com/office/drawing/2014/main" id="{01C2D45D-8A08-4068-813B-D6390E56A624}"/>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69301088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894498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903732"/>
            <a:ext cx="11082528" cy="357790"/>
          </a:xfrm>
        </p:spPr>
        <p:txBody>
          <a:bodyPr vert="horz" wrap="square">
            <a:spAutoFit/>
          </a:bodyPr>
          <a:lstStyle>
            <a:lvl1pPr rtl="0">
              <a:defRPr/>
            </a:lvl1pPr>
          </a:lstStyle>
          <a:p>
            <a:r>
              <a:rPr lang="en-US"/>
              <a:t>Click to edit Master title style</a:t>
            </a:r>
            <a:endParaRPr lang="de-DE" dirty="0"/>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17" name="Slide Number">
            <a:extLst>
              <a:ext uri="{FF2B5EF4-FFF2-40B4-BE49-F238E27FC236}">
                <a16:creationId xmlns:a16="http://schemas.microsoft.com/office/drawing/2014/main" id="{5639CB5E-D360-4894-960C-632E551CA978}"/>
              </a:ext>
            </a:extLst>
          </p:cNvPr>
          <p:cNvSpPr>
            <a:spLocks noChangeArrowheads="1"/>
          </p:cNvSpPr>
          <p:nvPr userDrawn="1">
            <p:custDataLst>
              <p:tags r:id="rId5"/>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mn-lt"/>
                <a:ea typeface="+mn-ea"/>
                <a:cs typeface="Arial" panose="020B0604020202020204" pitchFamily="34" charset="0"/>
              </a:rPr>
              <a:pPr algn="l" defTabSz="610744" rtl="0" fontAlgn="auto">
                <a:spcBef>
                  <a:spcPts val="0"/>
                </a:spcBef>
                <a:spcAft>
                  <a:spcPts val="0"/>
                </a:spcAft>
                <a:defRPr/>
              </a:pPr>
              <a:t>‹Nr.›</a:t>
            </a:fld>
            <a:endParaRPr lang="de-DE" sz="900" b="0" dirty="0">
              <a:solidFill>
                <a:schemeClr val="accent4"/>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BA5D077F-04AD-4703-AB58-D952DE4008D9}"/>
              </a:ext>
            </a:extLst>
          </p:cNvPr>
          <p:cNvSpPr txBox="1"/>
          <p:nvPr userDrawn="1">
            <p:custDataLst>
              <p:tags r:id="rId6"/>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 …</a:t>
            </a:r>
          </a:p>
        </p:txBody>
      </p:sp>
      <p:pic>
        <p:nvPicPr>
          <p:cNvPr id="19" name="Picture 24">
            <a:extLst>
              <a:ext uri="{FF2B5EF4-FFF2-40B4-BE49-F238E27FC236}">
                <a16:creationId xmlns:a16="http://schemas.microsoft.com/office/drawing/2014/main" id="{605A2992-CBC9-4ED4-BDF4-622ED031C6C1}"/>
              </a:ext>
            </a:extLst>
          </p:cNvPr>
          <p:cNvPicPr>
            <a:picLocks noChangeAspect="1" noChangeArrowheads="1"/>
          </p:cNvPicPr>
          <p:nvPr userDrawn="1"/>
        </p:nvPicPr>
        <p:blipFill>
          <a:blip r:embed="rId10" cstate="screen">
            <a:extLst>
              <a:ext uri="{28A0092B-C50C-407E-A947-70E740481C1C}">
                <a14:useLocalDpi xmlns:a14="http://schemas.microsoft.com/office/drawing/2010/main"/>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205256587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731080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6" name="Slide Number">
            <a:extLst>
              <a:ext uri="{FF2B5EF4-FFF2-40B4-BE49-F238E27FC236}">
                <a16:creationId xmlns:a16="http://schemas.microsoft.com/office/drawing/2014/main" id="{A2B020D1-B6FD-4A8E-BF14-18183EF962FB}"/>
              </a:ext>
            </a:extLst>
          </p:cNvPr>
          <p:cNvSpPr>
            <a:spLocks noChangeArrowheads="1"/>
          </p:cNvSpPr>
          <p:nvPr userDrawn="1">
            <p:custDataLst>
              <p:tags r:id="rId3"/>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mn-lt"/>
                <a:ea typeface="+mn-ea"/>
                <a:cs typeface="Arial" panose="020B0604020202020204" pitchFamily="34" charset="0"/>
              </a:rPr>
              <a:pPr algn="l" defTabSz="610744" rtl="0" fontAlgn="auto">
                <a:spcBef>
                  <a:spcPts val="0"/>
                </a:spcBef>
                <a:spcAft>
                  <a:spcPts val="0"/>
                </a:spcAft>
                <a:defRPr/>
              </a:pPr>
              <a:t>‹Nr.›</a:t>
            </a:fld>
            <a:endParaRPr lang="de-DE" sz="900" b="0" dirty="0">
              <a:solidFill>
                <a:schemeClr val="accent4"/>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F453AE36-253D-4279-B1AC-C083EE1E2899}"/>
              </a:ext>
            </a:extLst>
          </p:cNvPr>
          <p:cNvSpPr txBox="1"/>
          <p:nvPr userDrawn="1">
            <p:custDataLst>
              <p:tags r:id="rId4"/>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 …</a:t>
            </a:r>
          </a:p>
        </p:txBody>
      </p:sp>
      <p:pic>
        <p:nvPicPr>
          <p:cNvPr id="11" name="Picture 24">
            <a:extLst>
              <a:ext uri="{FF2B5EF4-FFF2-40B4-BE49-F238E27FC236}">
                <a16:creationId xmlns:a16="http://schemas.microsoft.com/office/drawing/2014/main" id="{0BC3C220-4D6B-43DF-AEAA-A26E73013794}"/>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66229693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83038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5. Source" hidden="1">
            <a:extLst>
              <a:ext uri="{FF2B5EF4-FFF2-40B4-BE49-F238E27FC236}">
                <a16:creationId xmlns:a16="http://schemas.microsoft.com/office/drawing/2014/main" id="{AA0471FD-F801-4ED7-B723-9967EA0BDA51}"/>
              </a:ext>
            </a:extLst>
          </p:cNvPr>
          <p:cNvSpPr txBox="1"/>
          <p:nvPr userDrawn="1">
            <p:custDataLst>
              <p:tags r:id="rId2"/>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 …</a:t>
            </a:r>
          </a:p>
        </p:txBody>
      </p:sp>
      <p:pic>
        <p:nvPicPr>
          <p:cNvPr id="9" name="Picture 24">
            <a:extLst>
              <a:ext uri="{FF2B5EF4-FFF2-40B4-BE49-F238E27FC236}">
                <a16:creationId xmlns:a16="http://schemas.microsoft.com/office/drawing/2014/main" id="{A1E08BD0-F308-4E8B-BC70-FDD1A25700F7}"/>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3609977" y="2656721"/>
            <a:ext cx="4972048" cy="1544558"/>
          </a:xfrm>
          <a:prstGeom prst="rect">
            <a:avLst/>
          </a:prstGeom>
          <a:noFill/>
        </p:spPr>
      </p:pic>
    </p:spTree>
    <p:extLst>
      <p:ext uri="{BB962C8B-B14F-4D97-AF65-F5344CB8AC3E}">
        <p14:creationId xmlns:p14="http://schemas.microsoft.com/office/powerpoint/2010/main" val="113053162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752761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545942"/>
            <a:ext cx="11082528" cy="35779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de-DE" dirty="0"/>
            </a:lvl1pPr>
          </a:lstStyle>
          <a:p>
            <a:pPr lvl="0"/>
            <a:r>
              <a:rPr lang="de-DE"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59517"/>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b="0" baseline="0" dirty="0"/>
            </a:lvl1pPr>
          </a:lstStyle>
          <a:p>
            <a:pPr lvl="0">
              <a:buNone/>
            </a:pPr>
            <a:r>
              <a:rPr lang="de-DE" dirty="0"/>
              <a:t>Click to edit Master subtitle style</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800" b="0" dirty="0">
                <a:cs typeface="+mn-cs"/>
              </a:defRPr>
            </a:lvl1pPr>
          </a:lstStyle>
          <a:p>
            <a:pPr lvl="0">
              <a:buNone/>
            </a:pPr>
            <a:r>
              <a:rPr lang="de-DE" dirty="0"/>
              <a:t>Add tracker</a:t>
            </a:r>
          </a:p>
        </p:txBody>
      </p:sp>
      <p:grpSp>
        <p:nvGrpSpPr>
          <p:cNvPr id="10" name="Group 9">
            <a:extLst>
              <a:ext uri="{FF2B5EF4-FFF2-40B4-BE49-F238E27FC236}">
                <a16:creationId xmlns:a16="http://schemas.microsoft.com/office/drawing/2014/main" id="{A6F2C518-233C-487E-AF64-7CE0C33496CB}"/>
              </a:ext>
            </a:extLst>
          </p:cNvPr>
          <p:cNvGrpSpPr/>
          <p:nvPr userDrawn="1"/>
        </p:nvGrpSpPr>
        <p:grpSpPr>
          <a:xfrm>
            <a:off x="10527863" y="6332378"/>
            <a:ext cx="1109401" cy="346688"/>
            <a:chOff x="10527863" y="6332378"/>
            <a:chExt cx="1109401" cy="346688"/>
          </a:xfrm>
        </p:grpSpPr>
        <p:pic>
          <p:nvPicPr>
            <p:cNvPr id="14" name="Picture 24">
              <a:extLst>
                <a:ext uri="{FF2B5EF4-FFF2-40B4-BE49-F238E27FC236}">
                  <a16:creationId xmlns:a16="http://schemas.microsoft.com/office/drawing/2014/main" id="{0BA2CAC1-04C8-44CA-BB69-E644A1812FC0}"/>
                </a:ext>
              </a:extLst>
            </p:cNvPr>
            <p:cNvPicPr>
              <a:picLocks noChangeAspect="1" noChangeArrowheads="1"/>
            </p:cNvPicPr>
            <p:nvPr userDrawn="1"/>
          </p:nvPicPr>
          <p:blipFill rotWithShape="1">
            <a:blip r:embed="rId11" cstate="screen">
              <a:extLst>
                <a:ext uri="{28A0092B-C50C-407E-A947-70E740481C1C}">
                  <a14:useLocalDpi xmlns:a14="http://schemas.microsoft.com/office/drawing/2010/main"/>
                </a:ext>
              </a:extLst>
            </a:blip>
            <a:srcRect b="18447"/>
            <a:stretch/>
          </p:blipFill>
          <p:spPr bwMode="auto">
            <a:xfrm>
              <a:off x="10527863" y="6332378"/>
              <a:ext cx="1109401" cy="282735"/>
            </a:xfrm>
            <a:prstGeom prst="rect">
              <a:avLst/>
            </a:prstGeom>
            <a:noFill/>
          </p:spPr>
        </p:pic>
        <p:pic>
          <p:nvPicPr>
            <p:cNvPr id="16" name="Picture 24">
              <a:extLst>
                <a:ext uri="{FF2B5EF4-FFF2-40B4-BE49-F238E27FC236}">
                  <a16:creationId xmlns:a16="http://schemas.microsoft.com/office/drawing/2014/main" id="{3469FBB6-3027-4EE3-91E0-903F6B82AC36}"/>
                </a:ext>
              </a:extLst>
            </p:cNvPr>
            <p:cNvPicPr>
              <a:picLocks noChangeAspect="1" noChangeArrowheads="1"/>
            </p:cNvPicPr>
            <p:nvPr userDrawn="1"/>
          </p:nvPicPr>
          <p:blipFill rotWithShape="1">
            <a:blip r:embed="rId11" cstate="screen">
              <a:duotone>
                <a:schemeClr val="accent4">
                  <a:shade val="45000"/>
                  <a:satMod val="135000"/>
                </a:schemeClr>
                <a:prstClr val="white"/>
              </a:duotone>
              <a:lum bright="100000"/>
              <a:extLst>
                <a:ext uri="{28A0092B-C50C-407E-A947-70E740481C1C}">
                  <a14:useLocalDpi xmlns:a14="http://schemas.microsoft.com/office/drawing/2010/main"/>
                </a:ext>
              </a:extLst>
            </a:blip>
            <a:srcRect t="82240"/>
            <a:stretch/>
          </p:blipFill>
          <p:spPr bwMode="auto">
            <a:xfrm>
              <a:off x="10527863" y="6617494"/>
              <a:ext cx="1109401" cy="61572"/>
            </a:xfrm>
            <a:prstGeom prst="rect">
              <a:avLst/>
            </a:prstGeom>
            <a:noFill/>
          </p:spPr>
        </p:pic>
      </p:grpSp>
      <p:sp>
        <p:nvSpPr>
          <p:cNvPr id="17" name="Slide Number">
            <a:extLst>
              <a:ext uri="{FF2B5EF4-FFF2-40B4-BE49-F238E27FC236}">
                <a16:creationId xmlns:a16="http://schemas.microsoft.com/office/drawing/2014/main" id="{319FDB4A-4025-418B-84EA-B7864279E14D}"/>
              </a:ext>
            </a:extLst>
          </p:cNvPr>
          <p:cNvSpPr>
            <a:spLocks noChangeArrowheads="1"/>
          </p:cNvSpPr>
          <p:nvPr userDrawn="1">
            <p:custDataLst>
              <p:tags r:id="rId6"/>
            </p:custDataLst>
          </p:nvPr>
        </p:nvSpPr>
        <p:spPr bwMode="black">
          <a:xfrm>
            <a:off x="554736" y="6493992"/>
            <a:ext cx="144270"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Nr.›</a:t>
            </a:fld>
            <a:endParaRPr lang="de-DE" sz="900" b="0" dirty="0">
              <a:solidFill>
                <a:schemeClr val="tx1"/>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FA9C6F47-AEDB-4BB3-B518-01E95BAF2B0F}"/>
              </a:ext>
            </a:extLst>
          </p:cNvPr>
          <p:cNvSpPr txBox="1"/>
          <p:nvPr userDrawn="1">
            <p:custDataLst>
              <p:tags r:id="rId7"/>
            </p:custDataLst>
          </p:nvPr>
        </p:nvSpPr>
        <p:spPr>
          <a:xfrm>
            <a:off x="840485" y="6501686"/>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 …</a:t>
            </a:r>
          </a:p>
        </p:txBody>
      </p:sp>
    </p:spTree>
    <p:extLst>
      <p:ext uri="{BB962C8B-B14F-4D97-AF65-F5344CB8AC3E}">
        <p14:creationId xmlns:p14="http://schemas.microsoft.com/office/powerpoint/2010/main" val="144665873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882116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Rechteck 1">
            <a:extLst>
              <a:ext uri="{FF2B5EF4-FFF2-40B4-BE49-F238E27FC236}">
                <a16:creationId xmlns:a16="http://schemas.microsoft.com/office/drawing/2014/main" id="{9EC25D41-B691-48CA-AC45-B4F8E2A26F3B}"/>
              </a:ext>
            </a:extLst>
          </p:cNvPr>
          <p:cNvSpPr/>
          <p:nvPr userDrawn="1"/>
        </p:nvSpPr>
        <p:spPr>
          <a:xfrm>
            <a:off x="0" y="0"/>
            <a:ext cx="12192000" cy="685800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solidFill>
                <a:schemeClr val="tx1"/>
              </a:solidFill>
              <a:latin typeface="Verdana" pitchFamily="34" charset="0"/>
              <a:ea typeface="Verdana" pitchFamily="34" charset="0"/>
              <a:cs typeface="Verdana" pitchFamily="34" charset="0"/>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232603" y="4386343"/>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1400" dirty="0"/>
            </a:lvl1pPr>
          </a:lstStyle>
          <a:p>
            <a:pPr lvl="0">
              <a:buNone/>
            </a:pPr>
            <a:r>
              <a:rPr lang="de-DE"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232603" y="3968734"/>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2000" dirty="0"/>
            </a:lvl1pPr>
          </a:lstStyle>
          <a:p>
            <a:pPr lvl="0">
              <a:buNone/>
            </a:pPr>
            <a:r>
              <a:rPr lang="en-US"/>
              <a:t>Click to edit Master subtitle style</a:t>
            </a:r>
            <a:endParaRPr lang="de-DE"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232603" y="3217964"/>
            <a:ext cx="9726795" cy="62972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de-DE" sz="4400" dirty="0"/>
            </a:lvl1pPr>
          </a:lstStyle>
          <a:p>
            <a:pPr lvl="0"/>
            <a:r>
              <a:rPr lang="en-US"/>
              <a:t>Click to edit Master title style</a:t>
            </a:r>
            <a:endParaRPr lang="de-DE" dirty="0"/>
          </a:p>
        </p:txBody>
      </p:sp>
      <p:pic>
        <p:nvPicPr>
          <p:cNvPr id="8" name="Picture 24">
            <a:extLst>
              <a:ext uri="{FF2B5EF4-FFF2-40B4-BE49-F238E27FC236}">
                <a16:creationId xmlns:a16="http://schemas.microsoft.com/office/drawing/2014/main" id="{C2C6AA7B-ABAA-4B2A-8924-BC807341FB90}"/>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Tree>
    <p:extLst>
      <p:ext uri="{BB962C8B-B14F-4D97-AF65-F5344CB8AC3E}">
        <p14:creationId xmlns:p14="http://schemas.microsoft.com/office/powerpoint/2010/main" val="407751120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1_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278612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57620"/>
            <a:ext cx="6967728" cy="357790"/>
          </a:xfrm>
        </p:spPr>
        <p:txBody>
          <a:bodyPr vert="horz">
            <a:spAutoFit/>
          </a:bodyPr>
          <a:lstStyle>
            <a:lvl1pPr rtl="0">
              <a:defRPr/>
            </a:lvl1pPr>
          </a:lstStyle>
          <a:p>
            <a:r>
              <a:rPr lang="en-US"/>
              <a:t>Click to edit Master title style</a:t>
            </a:r>
            <a:endParaRPr lang="de-DE"/>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de-DE">
              <a:solidFill>
                <a:schemeClr val="tx1"/>
              </a:solidFill>
              <a:latin typeface="Verdana" pitchFamily="34" charset="0"/>
              <a:ea typeface="Verdana"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47825"/>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1" name="Slide Number">
            <a:extLst>
              <a:ext uri="{FF2B5EF4-FFF2-40B4-BE49-F238E27FC236}">
                <a16:creationId xmlns:a16="http://schemas.microsoft.com/office/drawing/2014/main" id="{BC9EEB5F-3BA3-4278-B669-92BAB780CEB4}"/>
              </a:ext>
            </a:extLst>
          </p:cNvPr>
          <p:cNvSpPr>
            <a:spLocks noChangeArrowheads="1"/>
          </p:cNvSpPr>
          <p:nvPr userDrawn="1">
            <p:custDataLst>
              <p:tags r:id="rId7"/>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D1AC80BD-F159-4728-977A-428E00807B8B}"/>
              </a:ext>
            </a:extLst>
          </p:cNvPr>
          <p:cNvSpPr txBox="1"/>
          <p:nvPr userDrawn="1">
            <p:custDataLst>
              <p:tags r:id="rId8"/>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4" name="Picture 24">
            <a:extLst>
              <a:ext uri="{FF2B5EF4-FFF2-40B4-BE49-F238E27FC236}">
                <a16:creationId xmlns:a16="http://schemas.microsoft.com/office/drawing/2014/main" id="{254AC017-59F1-42D6-AEDF-51B0F7C29C54}"/>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
        <p:nvSpPr>
          <p:cNvPr id="15" name="EYP-Draft">
            <a:extLst>
              <a:ext uri="{FF2B5EF4-FFF2-40B4-BE49-F238E27FC236}">
                <a16:creationId xmlns:a16="http://schemas.microsoft.com/office/drawing/2014/main" id="{231C8407-EAB7-4314-A8E1-F381D6F17D5D}"/>
              </a:ext>
            </a:extLst>
          </p:cNvPr>
          <p:cNvSpPr/>
          <p:nvPr userDrawn="1">
            <p:custDataLst>
              <p:tags r:id="rId9"/>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221391282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1_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316250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2F2F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de-DE" noProof="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45942"/>
            <a:ext cx="7918704" cy="357790"/>
          </a:xfrm>
        </p:spPr>
        <p:txBody>
          <a:bodyPr vert="horz"/>
          <a:lstStyle>
            <a:lvl1pPr rtl="0">
              <a:defRPr/>
            </a:lvl1pPr>
          </a:lstStyle>
          <a:p>
            <a:r>
              <a:rPr lang="en-US"/>
              <a:t>Click to edit Master title style</a:t>
            </a:r>
            <a:endParaRPr lang="de-DE"/>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59517"/>
            <a:ext cx="7918704"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1" name="Slide Number">
            <a:extLst>
              <a:ext uri="{FF2B5EF4-FFF2-40B4-BE49-F238E27FC236}">
                <a16:creationId xmlns:a16="http://schemas.microsoft.com/office/drawing/2014/main" id="{DDB36052-8BFE-4C90-89BC-FB2CAA7B5A8B}"/>
              </a:ext>
            </a:extLst>
          </p:cNvPr>
          <p:cNvSpPr>
            <a:spLocks noChangeArrowheads="1"/>
          </p:cNvSpPr>
          <p:nvPr userDrawn="1">
            <p:custDataLst>
              <p:tags r:id="rId7"/>
            </p:custDataLst>
          </p:nvPr>
        </p:nvSpPr>
        <p:spPr bwMode="black">
          <a:xfrm>
            <a:off x="554736" y="6493992"/>
            <a:ext cx="144270"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1E90B4A-7DF8-448C-B3AF-706455068ADC}"/>
              </a:ext>
            </a:extLst>
          </p:cNvPr>
          <p:cNvSpPr txBox="1"/>
          <p:nvPr userDrawn="1">
            <p:custDataLst>
              <p:tags r:id="rId8"/>
            </p:custDataLst>
          </p:nvPr>
        </p:nvSpPr>
        <p:spPr>
          <a:xfrm>
            <a:off x="840485" y="6501686"/>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3" name="Picture 24">
            <a:extLst>
              <a:ext uri="{FF2B5EF4-FFF2-40B4-BE49-F238E27FC236}">
                <a16:creationId xmlns:a16="http://schemas.microsoft.com/office/drawing/2014/main" id="{73A5DD8C-9BE9-4799-AE0E-4E5F44CB7B8D}"/>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Tree>
    <p:extLst>
      <p:ext uri="{BB962C8B-B14F-4D97-AF65-F5344CB8AC3E}">
        <p14:creationId xmlns:p14="http://schemas.microsoft.com/office/powerpoint/2010/main" val="195554692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userDrawn="1">
  <p:cSld name="2_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899091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de-DE" noProof="0" dirty="0">
              <a:solidFill>
                <a:schemeClr val="tx1"/>
              </a:solidFill>
              <a:latin typeface="Verdana" pitchFamily="34" charset="0"/>
              <a:ea typeface="Verdana"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57620"/>
            <a:ext cx="7918704" cy="357790"/>
          </a:xfrm>
        </p:spPr>
        <p:txBody>
          <a:bodyPr vert="horz">
            <a:spAutoFit/>
          </a:bodyPr>
          <a:lstStyle>
            <a:lvl1pPr rtl="0">
              <a:defRPr/>
            </a:lvl1pPr>
          </a:lstStyle>
          <a:p>
            <a:r>
              <a:rPr lang="en-US"/>
              <a:t>Click to edit Master title style</a:t>
            </a:r>
            <a:endParaRPr lang="de-DE"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47825"/>
            <a:ext cx="7918704"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endParaRPr lang="de-DE" dirty="0"/>
          </a:p>
        </p:txBody>
      </p:sp>
      <p:sp>
        <p:nvSpPr>
          <p:cNvPr id="11" name="Slide Number">
            <a:extLst>
              <a:ext uri="{FF2B5EF4-FFF2-40B4-BE49-F238E27FC236}">
                <a16:creationId xmlns:a16="http://schemas.microsoft.com/office/drawing/2014/main" id="{0143EE6C-1168-4DD6-A461-416121EF9906}"/>
              </a:ext>
            </a:extLst>
          </p:cNvPr>
          <p:cNvSpPr>
            <a:spLocks noChangeArrowheads="1"/>
          </p:cNvSpPr>
          <p:nvPr userDrawn="1">
            <p:custDataLst>
              <p:tags r:id="rId7"/>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dirty="0">
              <a:solidFill>
                <a:srgbClr val="7F7F7F"/>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513F939A-642E-4E98-983B-F47788754352}"/>
              </a:ext>
            </a:extLst>
          </p:cNvPr>
          <p:cNvSpPr txBox="1"/>
          <p:nvPr userDrawn="1">
            <p:custDataLst>
              <p:tags r:id="rId8"/>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 …</a:t>
            </a:r>
          </a:p>
        </p:txBody>
      </p:sp>
      <p:pic>
        <p:nvPicPr>
          <p:cNvPr id="17" name="Picture 24">
            <a:extLst>
              <a:ext uri="{FF2B5EF4-FFF2-40B4-BE49-F238E27FC236}">
                <a16:creationId xmlns:a16="http://schemas.microsoft.com/office/drawing/2014/main" id="{9F57E852-4A91-4B24-8235-4595773BADBF}"/>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Tree>
    <p:extLst>
      <p:ext uri="{BB962C8B-B14F-4D97-AF65-F5344CB8AC3E}">
        <p14:creationId xmlns:p14="http://schemas.microsoft.com/office/powerpoint/2010/main" val="14846017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4066131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Rechteck 1">
            <a:extLst>
              <a:ext uri="{FF2B5EF4-FFF2-40B4-BE49-F238E27FC236}">
                <a16:creationId xmlns:a16="http://schemas.microsoft.com/office/drawing/2014/main" id="{9EC25D41-B691-48CA-AC45-B4F8E2A26F3B}"/>
              </a:ext>
            </a:extLst>
          </p:cNvPr>
          <p:cNvSpPr/>
          <p:nvPr userDrawn="1"/>
        </p:nvSpPr>
        <p:spPr>
          <a:xfrm>
            <a:off x="0" y="0"/>
            <a:ext cx="12192000" cy="685800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solidFill>
                <a:schemeClr val="tx1"/>
              </a:solidFill>
              <a:latin typeface="Verdana" pitchFamily="34" charset="0"/>
              <a:ea typeface="Verdana" pitchFamily="34" charset="0"/>
              <a:cs typeface="Verdana" pitchFamily="34" charset="0"/>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232603" y="4386343"/>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1400" dirty="0"/>
            </a:lvl1pPr>
          </a:lstStyle>
          <a:p>
            <a:pPr lvl="0">
              <a:buNone/>
            </a:pPr>
            <a:r>
              <a:rPr lang="de-DE"/>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232603" y="3968734"/>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2000" dirty="0"/>
            </a:lvl1pPr>
          </a:lstStyle>
          <a:p>
            <a:pPr lvl="0">
              <a:buNone/>
            </a:pPr>
            <a:r>
              <a:rPr lang="en-US"/>
              <a:t>Click to edit Master subtitle style</a:t>
            </a:r>
            <a:endParaRPr lang="de-DE"/>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232603" y="3217964"/>
            <a:ext cx="9726795" cy="62972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de-DE" sz="4400" dirty="0"/>
            </a:lvl1pPr>
          </a:lstStyle>
          <a:p>
            <a:pPr lvl="0"/>
            <a:r>
              <a:rPr lang="en-US" dirty="0"/>
              <a:t>Click to edit Master title style</a:t>
            </a:r>
            <a:endParaRPr lang="de-DE" dirty="0"/>
          </a:p>
        </p:txBody>
      </p:sp>
      <p:pic>
        <p:nvPicPr>
          <p:cNvPr id="8" name="Picture 24">
            <a:extLst>
              <a:ext uri="{FF2B5EF4-FFF2-40B4-BE49-F238E27FC236}">
                <a16:creationId xmlns:a16="http://schemas.microsoft.com/office/drawing/2014/main" id="{C2C6AA7B-ABAA-4B2A-8924-BC807341FB90}"/>
              </a:ext>
            </a:extLst>
          </p:cNvPr>
          <p:cNvPicPr>
            <a:picLocks noChangeAspect="1" noChangeArrowheads="1"/>
          </p:cNvPicPr>
          <p:nvPr userDrawn="1"/>
        </p:nvPicPr>
        <p:blipFill>
          <a:blip r:embed="rId9"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Tree>
    <p:extLst>
      <p:ext uri="{BB962C8B-B14F-4D97-AF65-F5344CB8AC3E}">
        <p14:creationId xmlns:p14="http://schemas.microsoft.com/office/powerpoint/2010/main" val="394156894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23804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Bahnschrift" panose="020B0502040204020203" pitchFamily="34" charset="0"/>
              <a:ea typeface="+mj-ea"/>
              <a:cs typeface="+mj-cs"/>
              <a:sym typeface="Bahnschrift" panose="020B0502040204020203"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45942"/>
            <a:ext cx="11082528" cy="35779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de-DE" dirty="0">
                <a:latin typeface="Bahnschrift" panose="020B0502040204020203" pitchFamily="34" charset="0"/>
                <a:sym typeface="Bahnschrift" panose="020B0502040204020203" pitchFamily="34" charset="0"/>
              </a:defRPr>
            </a:lvl1pPr>
          </a:lstStyle>
          <a:p>
            <a:pPr lvl="0"/>
            <a:r>
              <a:rPr lang="en-US"/>
              <a:t>Click to edit Master title style</a:t>
            </a:r>
            <a:endParaRPr lang="de-DE"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59517"/>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b="0" dirty="0">
                <a:latin typeface="Bahnschrift" panose="020B0502040204020203" pitchFamily="34" charset="0"/>
                <a:sym typeface="Bahnschrift" panose="020B0502040204020203" pitchFamily="34" charset="0"/>
              </a:defRPr>
            </a:lvl1pPr>
          </a:lstStyle>
          <a:p>
            <a:pPr lvl="0">
              <a:buNone/>
            </a:pPr>
            <a:r>
              <a:rPr lang="en-US"/>
              <a:t>Click to edit Master subtitle style</a:t>
            </a:r>
            <a:endParaRPr lang="de-DE"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Bahnschrift" panose="020B0502040204020203" pitchFamily="34" charset="0"/>
                <a:ea typeface="+mn-ea"/>
                <a:cs typeface="Arial" panose="020B0604020202020204" pitchFamily="34" charset="0"/>
                <a:sym typeface="Bahnschrift" panose="020B0502040204020203" pitchFamily="34" charset="0"/>
              </a:rPr>
              <a:pPr algn="l" defTabSz="610744" rtl="0" fontAlgn="auto">
                <a:spcBef>
                  <a:spcPts val="0"/>
                </a:spcBef>
                <a:spcAft>
                  <a:spcPts val="0"/>
                </a:spcAft>
                <a:defRPr/>
              </a:pPr>
              <a:t>‹Nr.›</a:t>
            </a:fld>
            <a:endParaRPr lang="de-DE" sz="900" b="0" dirty="0">
              <a:solidFill>
                <a:schemeClr val="accent4"/>
              </a:solidFill>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latin typeface="Bahnschrift" panose="020B0502040204020203" pitchFamily="34" charset="0"/>
                <a:sym typeface="Bahnschrift" panose="020B0502040204020203" pitchFamily="34" charset="0"/>
              </a:rPr>
              <a:t>Quell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800" b="0" dirty="0">
                <a:latin typeface="Bahnschrift" panose="020B0502040204020203" pitchFamily="34" charset="0"/>
                <a:cs typeface="+mn-cs"/>
                <a:sym typeface="Bahnschrift" panose="020B0502040204020203" pitchFamily="34" charset="0"/>
              </a:defRPr>
            </a:lvl1pPr>
          </a:lstStyle>
          <a:p>
            <a:pPr lvl="0">
              <a:buNone/>
            </a:pPr>
            <a:r>
              <a:rPr lang="de-DE" dirty="0"/>
              <a:t>Add tracker</a:t>
            </a:r>
          </a:p>
        </p:txBody>
      </p:sp>
      <p:pic>
        <p:nvPicPr>
          <p:cNvPr id="17" name="Picture 24">
            <a:extLst>
              <a:ext uri="{FF2B5EF4-FFF2-40B4-BE49-F238E27FC236}">
                <a16:creationId xmlns:a16="http://schemas.microsoft.com/office/drawing/2014/main" id="{6FEB58D9-A98B-4060-A150-78BACFDA2031}"/>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82490857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438774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4400" b="1" i="0" baseline="0" dirty="0">
              <a:solidFill>
                <a:schemeClr val="bg1"/>
              </a:solidFill>
              <a:latin typeface="Bahnschrift" panose="020B0502040204020203" pitchFamily="34" charset="0"/>
              <a:ea typeface="+mj-ea"/>
              <a:cs typeface="+mj-cs"/>
              <a:sym typeface="Bahnschrift" panose="020B0502040204020203"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4219883"/>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1400" dirty="0">
                <a:latin typeface="Bahnschrift" panose="020B0502040204020203" pitchFamily="34" charset="0"/>
                <a:sym typeface="Bahnschrift" panose="020B0502040204020203" pitchFamily="34" charset="0"/>
              </a:defRPr>
            </a:lvl1pPr>
          </a:lstStyle>
          <a:p>
            <a:pPr lvl="0">
              <a:buNone/>
            </a:pPr>
            <a:r>
              <a:rPr lang="de-DE"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352650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2000" dirty="0">
                <a:latin typeface="Bahnschrift" panose="020B0502040204020203" pitchFamily="34" charset="0"/>
                <a:sym typeface="Bahnschrift" panose="020B0502040204020203" pitchFamily="34" charset="0"/>
              </a:defRPr>
            </a:lvl1pPr>
          </a:lstStyle>
          <a:p>
            <a:pPr lvl="0">
              <a:buNone/>
            </a:pPr>
            <a:r>
              <a:rPr lang="en-US"/>
              <a:t>Click to edit Master subtitle style</a:t>
            </a:r>
            <a:endParaRPr lang="de-DE"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2775732"/>
            <a:ext cx="9726795" cy="62972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de-DE" sz="4400" b="1" dirty="0">
                <a:latin typeface="Bahnschrift" panose="020B0502040204020203" pitchFamily="34" charset="0"/>
                <a:sym typeface="Bahnschrift" panose="020B0502040204020203" pitchFamily="34" charset="0"/>
              </a:defRPr>
            </a:lvl1pPr>
          </a:lstStyle>
          <a:p>
            <a:pPr lvl="0"/>
            <a:r>
              <a:rPr lang="en-US"/>
              <a:t>Click to edit Master title style</a:t>
            </a:r>
            <a:endParaRPr lang="de-DE" dirty="0"/>
          </a:p>
        </p:txBody>
      </p:sp>
      <p:grpSp>
        <p:nvGrpSpPr>
          <p:cNvPr id="4" name="Group 3">
            <a:extLst>
              <a:ext uri="{FF2B5EF4-FFF2-40B4-BE49-F238E27FC236}">
                <a16:creationId xmlns:a16="http://schemas.microsoft.com/office/drawing/2014/main" id="{838CDDEC-3074-4ADE-9430-F25148352A4E}"/>
              </a:ext>
            </a:extLst>
          </p:cNvPr>
          <p:cNvGrpSpPr/>
          <p:nvPr userDrawn="1"/>
        </p:nvGrpSpPr>
        <p:grpSpPr>
          <a:xfrm>
            <a:off x="551941" y="883130"/>
            <a:ext cx="1150957" cy="499731"/>
            <a:chOff x="814919" y="883130"/>
            <a:chExt cx="1150957" cy="499731"/>
          </a:xfrm>
        </p:grpSpPr>
        <p:cxnSp>
          <p:nvCxnSpPr>
            <p:cNvPr id="11" name="Straight Connector 10">
              <a:extLst>
                <a:ext uri="{FF2B5EF4-FFF2-40B4-BE49-F238E27FC236}">
                  <a16:creationId xmlns:a16="http://schemas.microsoft.com/office/drawing/2014/main" id="{3197A273-385D-44C6-B9D2-2EAE2CF3BF77}"/>
                </a:ext>
              </a:extLst>
            </p:cNvPr>
            <p:cNvCxnSpPr/>
            <p:nvPr/>
          </p:nvCxnSpPr>
          <p:spPr>
            <a:xfrm>
              <a:off x="814919" y="883130"/>
              <a:ext cx="11509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6475FBA-C050-4B6B-A237-084AFBFC9E09}"/>
                </a:ext>
              </a:extLst>
            </p:cNvPr>
            <p:cNvCxnSpPr/>
            <p:nvPr/>
          </p:nvCxnSpPr>
          <p:spPr>
            <a:xfrm>
              <a:off x="814919" y="1382861"/>
              <a:ext cx="11509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
              <a:extLst>
                <a:ext uri="{FF2B5EF4-FFF2-40B4-BE49-F238E27FC236}">
                  <a16:creationId xmlns:a16="http://schemas.microsoft.com/office/drawing/2014/main" id="{4DCCD6DA-9CF0-40CF-B364-49A4E26E5653}"/>
                </a:ext>
              </a:extLst>
            </p:cNvPr>
            <p:cNvSpPr txBox="1">
              <a:spLocks/>
            </p:cNvSpPr>
            <p:nvPr>
              <p:custDataLst>
                <p:tags r:id="rId6"/>
              </p:custDataLst>
            </p:nvPr>
          </p:nvSpPr>
          <p:spPr>
            <a:xfrm>
              <a:off x="814920" y="992529"/>
              <a:ext cx="1150956"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0" rIns="0" bIns="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de-DE" sz="20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rtl="0">
                <a:buNone/>
              </a:pPr>
              <a:r>
                <a:rPr lang="de-DE" dirty="0">
                  <a:latin typeface="Bahnschrift" panose="020B0502040204020203" pitchFamily="34" charset="0"/>
                  <a:sym typeface="Bahnschrift" panose="020B0502040204020203" pitchFamily="34" charset="0"/>
                </a:rPr>
                <a:t>ENTWURF</a:t>
              </a:r>
            </a:p>
          </p:txBody>
        </p:sp>
      </p:grpSp>
      <p:pic>
        <p:nvPicPr>
          <p:cNvPr id="15" name="Picture 24">
            <a:extLst>
              <a:ext uri="{FF2B5EF4-FFF2-40B4-BE49-F238E27FC236}">
                <a16:creationId xmlns:a16="http://schemas.microsoft.com/office/drawing/2014/main" id="{3434ED4C-9288-47B9-9629-BAFCC5315997}"/>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tretch>
            <a:fillRect/>
          </a:stretch>
        </p:blipFill>
        <p:spPr bwMode="auto">
          <a:xfrm>
            <a:off x="10521251" y="6345078"/>
            <a:ext cx="1116013" cy="346688"/>
          </a:xfrm>
          <a:prstGeom prst="rect">
            <a:avLst/>
          </a:prstGeom>
          <a:noFill/>
        </p:spPr>
      </p:pic>
      <p:sp>
        <p:nvSpPr>
          <p:cNvPr id="17" name="TextBox 16">
            <a:extLst>
              <a:ext uri="{FF2B5EF4-FFF2-40B4-BE49-F238E27FC236}">
                <a16:creationId xmlns:a16="http://schemas.microsoft.com/office/drawing/2014/main" id="{8114EF85-842D-4A55-9688-8671C84C44EA}"/>
              </a:ext>
            </a:extLst>
          </p:cNvPr>
          <p:cNvSpPr txBox="1"/>
          <p:nvPr userDrawn="1"/>
        </p:nvSpPr>
        <p:spPr>
          <a:xfrm>
            <a:off x="551941" y="6345078"/>
            <a:ext cx="4635884" cy="338554"/>
          </a:xfrm>
          <a:prstGeom prst="rect">
            <a:avLst/>
          </a:prstGeom>
        </p:spPr>
        <p:txBody>
          <a:bodyPr vert="horz" wrap="none" lIns="0" tIns="0" rIns="0" bIns="0" rtlCol="0">
            <a:noAutofit/>
          </a:bodyPr>
          <a:lstStyle>
            <a:lvl1pPr marL="469900" lvl="0" indent="-469900" eaLnBrk="1" hangingPunct="1">
              <a:spcBef>
                <a:spcPct val="20000"/>
              </a:spcBef>
              <a:buClr>
                <a:srgbClr val="ED1C24"/>
              </a:buClr>
              <a:buFont typeface="Arial" panose="020B0604020202020204" pitchFamily="34" charset="0"/>
              <a:buChar char="•"/>
              <a:defRPr sz="2200">
                <a:latin typeface="Bahnschrift" panose="020B0502040204020203" pitchFamily="34" charset="0"/>
              </a:defRPr>
            </a:lvl1pPr>
            <a:lvl2pPr marL="908050" lvl="1" indent="-436563" eaLnBrk="1" hangingPunct="1">
              <a:spcBef>
                <a:spcPct val="20000"/>
              </a:spcBef>
              <a:buClr>
                <a:schemeClr val="tx1"/>
              </a:buClr>
              <a:buFont typeface="Symbol" panose="05050102010706020507" pitchFamily="18" charset="2"/>
              <a:buChar char="-"/>
              <a:defRPr sz="2000">
                <a:latin typeface="Bahnschrift" panose="020B0502040204020203" pitchFamily="34" charset="0"/>
              </a:defRPr>
            </a:lvl2pPr>
            <a:lvl3pPr marL="1304925" lvl="2" indent="-395288" eaLnBrk="1" hangingPunct="1">
              <a:spcBef>
                <a:spcPct val="20000"/>
              </a:spcBef>
              <a:buClr>
                <a:srgbClr val="6F6F6F"/>
              </a:buClr>
              <a:buFont typeface="Symbol" pitchFamily="18" charset="2"/>
              <a:buChar char="-"/>
              <a:defRPr sz="1800">
                <a:latin typeface="Bahnschrift" panose="020B0502040204020203" pitchFamily="34" charset="0"/>
              </a:defRPr>
            </a:lvl3pPr>
            <a:lvl4pPr marL="1693863" lvl="3" indent="-387350" eaLnBrk="1" hangingPunct="1">
              <a:spcBef>
                <a:spcPct val="20000"/>
              </a:spcBef>
              <a:buClr>
                <a:srgbClr val="6F6F6F"/>
              </a:buClr>
              <a:buFont typeface="Symbol" pitchFamily="18" charset="2"/>
              <a:buChar char="-"/>
              <a:defRPr sz="1800">
                <a:latin typeface="Bahnschrift" panose="020B0502040204020203" pitchFamily="34" charset="0"/>
              </a:defRPr>
            </a:lvl4pPr>
            <a:lvl5pPr marL="2093913" lvl="4" indent="-398463" eaLnBrk="1" hangingPunct="1">
              <a:spcBef>
                <a:spcPct val="25000"/>
              </a:spcBef>
              <a:buClr>
                <a:srgbClr val="6F6F6F"/>
              </a:buClr>
              <a:buFont typeface="Symbol" pitchFamily="18" charset="2"/>
              <a:buChar char="-"/>
              <a:defRPr sz="1800">
                <a:latin typeface="Bahnschrift" panose="020B0502040204020203" pitchFamily="34" charset="0"/>
              </a:defRPr>
            </a:lvl5pPr>
            <a:lvl6pPr marL="2551113" indent="-398463" fontAlgn="base">
              <a:spcBef>
                <a:spcPct val="25000"/>
              </a:spcBef>
              <a:spcAft>
                <a:spcPct val="0"/>
              </a:spcAft>
              <a:buClr>
                <a:schemeClr val="accent2"/>
              </a:buClr>
              <a:buFont typeface="Wingdings" pitchFamily="2" charset="2"/>
              <a:buChar char="§"/>
              <a:defRPr sz="2000">
                <a:latin typeface="+mn-lt"/>
              </a:defRPr>
            </a:lvl6pPr>
            <a:lvl7pPr marL="3008313" indent="-398463" fontAlgn="base">
              <a:spcBef>
                <a:spcPct val="25000"/>
              </a:spcBef>
              <a:spcAft>
                <a:spcPct val="0"/>
              </a:spcAft>
              <a:buClr>
                <a:schemeClr val="accent2"/>
              </a:buClr>
              <a:buFont typeface="Wingdings" pitchFamily="2" charset="2"/>
              <a:buChar char="§"/>
              <a:defRPr sz="2000">
                <a:latin typeface="+mn-lt"/>
              </a:defRPr>
            </a:lvl7pPr>
            <a:lvl8pPr marL="3465513" indent="-398463" fontAlgn="base">
              <a:spcBef>
                <a:spcPct val="25000"/>
              </a:spcBef>
              <a:spcAft>
                <a:spcPct val="0"/>
              </a:spcAft>
              <a:buClr>
                <a:schemeClr val="accent2"/>
              </a:buClr>
              <a:buFont typeface="Wingdings" pitchFamily="2" charset="2"/>
              <a:buChar char="§"/>
              <a:defRPr sz="2000">
                <a:latin typeface="+mn-lt"/>
              </a:defRPr>
            </a:lvl8pPr>
            <a:lvl9pPr marL="3922713" indent="-398463" fontAlgn="base">
              <a:spcBef>
                <a:spcPct val="25000"/>
              </a:spcBef>
              <a:spcAft>
                <a:spcPct val="0"/>
              </a:spcAft>
              <a:buClr>
                <a:schemeClr val="accent2"/>
              </a:buClr>
              <a:buFont typeface="Wingdings" pitchFamily="2" charset="2"/>
              <a:buChar char="§"/>
              <a:defRPr sz="2000">
                <a:latin typeface="+mn-lt"/>
              </a:defRPr>
            </a:lvl9pPr>
          </a:lstStyle>
          <a:p>
            <a:pPr marL="0" indent="0" algn="l" rtl="0">
              <a:buNone/>
            </a:pPr>
            <a:r>
              <a:rPr lang="de-DE" b="1" dirty="0">
                <a:solidFill>
                  <a:schemeClr val="bg1">
                    <a:lumMod val="65000"/>
                    <a:alpha val="50000"/>
                  </a:schemeClr>
                </a:solidFill>
                <a:latin typeface="Bahnschrift" panose="020B0502040204020203" pitchFamily="34" charset="0"/>
                <a:sym typeface="Bahnschrift" panose="020B0502040204020203" pitchFamily="34" charset="0"/>
              </a:rPr>
              <a:t>ENTWURF – NICHT WEITERZUGEBEN</a:t>
            </a:r>
          </a:p>
        </p:txBody>
      </p:sp>
    </p:spTree>
    <p:extLst>
      <p:ext uri="{BB962C8B-B14F-4D97-AF65-F5344CB8AC3E}">
        <p14:creationId xmlns:p14="http://schemas.microsoft.com/office/powerpoint/2010/main" val="120976950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23804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Bahnschrift" panose="020B0502040204020203" pitchFamily="34" charset="0"/>
              <a:ea typeface="+mj-ea"/>
              <a:cs typeface="+mj-cs"/>
              <a:sym typeface="Bahnschrift" panose="020B0502040204020203"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45942"/>
            <a:ext cx="11082528" cy="35779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de-DE" dirty="0">
                <a:latin typeface="Bahnschrift" panose="020B0502040204020203" pitchFamily="34" charset="0"/>
                <a:sym typeface="Bahnschrift" panose="020B0502040204020203" pitchFamily="34" charset="0"/>
              </a:defRPr>
            </a:lvl1pPr>
          </a:lstStyle>
          <a:p>
            <a:pPr lvl="0"/>
            <a:r>
              <a:rPr lang="en-US"/>
              <a:t>Click to edit Master title style</a:t>
            </a:r>
            <a:endParaRPr lang="de-DE"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59517"/>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b="0" dirty="0">
                <a:latin typeface="Bahnschrift" panose="020B0502040204020203" pitchFamily="34" charset="0"/>
                <a:sym typeface="Bahnschrift" panose="020B0502040204020203" pitchFamily="34" charset="0"/>
              </a:defRPr>
            </a:lvl1pPr>
          </a:lstStyle>
          <a:p>
            <a:pPr lvl="0">
              <a:buNone/>
            </a:pPr>
            <a:r>
              <a:rPr lang="en-US"/>
              <a:t>Click to edit Master subtitle style</a:t>
            </a:r>
            <a:endParaRPr lang="de-DE"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Bahnschrift" panose="020B0502040204020203" pitchFamily="34" charset="0"/>
                <a:ea typeface="+mn-ea"/>
                <a:cs typeface="Arial" panose="020B0604020202020204" pitchFamily="34" charset="0"/>
                <a:sym typeface="Bahnschrift" panose="020B0502040204020203" pitchFamily="34" charset="0"/>
              </a:rPr>
              <a:pPr algn="l" defTabSz="610744" rtl="0" fontAlgn="auto">
                <a:spcBef>
                  <a:spcPts val="0"/>
                </a:spcBef>
                <a:spcAft>
                  <a:spcPts val="0"/>
                </a:spcAft>
                <a:defRPr/>
              </a:pPr>
              <a:t>‹Nr.›</a:t>
            </a:fld>
            <a:endParaRPr lang="de-DE" sz="900" b="0" dirty="0">
              <a:solidFill>
                <a:schemeClr val="accent4"/>
              </a:solidFill>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latin typeface="Bahnschrift" panose="020B0502040204020203" pitchFamily="34" charset="0"/>
                <a:sym typeface="Bahnschrift" panose="020B0502040204020203" pitchFamily="34" charset="0"/>
              </a:rPr>
              <a:t>Quell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800" b="0" dirty="0">
                <a:latin typeface="Bahnschrift" panose="020B0502040204020203" pitchFamily="34" charset="0"/>
                <a:cs typeface="+mn-cs"/>
                <a:sym typeface="Bahnschrift" panose="020B0502040204020203" pitchFamily="34" charset="0"/>
              </a:defRPr>
            </a:lvl1pPr>
          </a:lstStyle>
          <a:p>
            <a:pPr lvl="0">
              <a:buNone/>
            </a:pPr>
            <a:r>
              <a:rPr lang="de-DE" dirty="0"/>
              <a:t>Add tracker</a:t>
            </a:r>
          </a:p>
        </p:txBody>
      </p:sp>
      <p:pic>
        <p:nvPicPr>
          <p:cNvPr id="17" name="Picture 24">
            <a:extLst>
              <a:ext uri="{FF2B5EF4-FFF2-40B4-BE49-F238E27FC236}">
                <a16:creationId xmlns:a16="http://schemas.microsoft.com/office/drawing/2014/main" id="{6FEB58D9-A98B-4060-A150-78BACFDA2031}"/>
              </a:ext>
            </a:extLst>
          </p:cNvPr>
          <p:cNvPicPr>
            <a:picLocks noChangeAspect="1" noChangeArrowheads="1"/>
          </p:cNvPicPr>
          <p:nvPr userDrawn="1"/>
        </p:nvPicPr>
        <p:blipFill>
          <a:blip r:embed="rId11" cstate="print">
            <a:extLst>
              <a:ext uri="{28A0092B-C50C-407E-A947-70E740481C1C}">
                <a14:useLocalDpi xmlns:a14="http://schemas.microsoft.com/office/drawing/2010/main" val="0"/>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380224015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325687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Bahnschrift" panose="020B0502040204020203" pitchFamily="34" charset="0"/>
              <a:ea typeface="+mj-ea"/>
              <a:cs typeface="+mj-cs"/>
              <a:sym typeface="Bahnschrift" panose="020B0502040204020203"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latin typeface="Bahnschrift" panose="020B0502040204020203" pitchFamily="34" charset="0"/>
                <a:sym typeface="Bahnschrift" panose="020B0502040204020203" pitchFamily="34" charset="0"/>
              </a:defRPr>
            </a:lvl1pPr>
          </a:lstStyle>
          <a:p>
            <a:r>
              <a:rPr lang="en-US"/>
              <a:t>Click to edit Master title style</a:t>
            </a:r>
            <a:endParaRPr lang="de-DE" dirty="0"/>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Bahnschrift" panose="020B0502040204020203" pitchFamily="34" charset="0"/>
                <a:cs typeface="+mn-cs"/>
                <a:sym typeface="Bahnschrift" panose="020B0502040204020203" pitchFamily="34" charset="0"/>
              </a:defRPr>
            </a:lvl1pPr>
          </a:lstStyle>
          <a:p>
            <a:pPr lvl="0">
              <a:buNone/>
            </a:pPr>
            <a:r>
              <a:rPr lang="de-DE" dirty="0"/>
              <a:t>Add tracker</a:t>
            </a:r>
          </a:p>
        </p:txBody>
      </p:sp>
      <p:sp>
        <p:nvSpPr>
          <p:cNvPr id="8" name="Slide Number">
            <a:extLst>
              <a:ext uri="{FF2B5EF4-FFF2-40B4-BE49-F238E27FC236}">
                <a16:creationId xmlns:a16="http://schemas.microsoft.com/office/drawing/2014/main" id="{D10361C0-B2EF-4E62-B92E-09DC9AE5598F}"/>
              </a:ext>
            </a:extLst>
          </p:cNvPr>
          <p:cNvSpPr>
            <a:spLocks noChangeArrowheads="1"/>
          </p:cNvSpPr>
          <p:nvPr userDrawn="1">
            <p:custDataLst>
              <p:tags r:id="rId5"/>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Bahnschrift" panose="020B0502040204020203" pitchFamily="34" charset="0"/>
                <a:ea typeface="+mn-ea"/>
                <a:cs typeface="Arial" panose="020B0604020202020204" pitchFamily="34" charset="0"/>
                <a:sym typeface="Bahnschrift" panose="020B0502040204020203" pitchFamily="34" charset="0"/>
              </a:rPr>
              <a:pPr algn="l" defTabSz="610744" rtl="0" fontAlgn="auto">
                <a:spcBef>
                  <a:spcPts val="0"/>
                </a:spcBef>
                <a:spcAft>
                  <a:spcPts val="0"/>
                </a:spcAft>
                <a:defRPr/>
              </a:pPr>
              <a:t>‹Nr.›</a:t>
            </a:fld>
            <a:endParaRPr lang="de-DE" sz="900" b="0" dirty="0">
              <a:solidFill>
                <a:schemeClr val="accent4"/>
              </a:solidFill>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2" name="5. Source" hidden="1">
            <a:extLst>
              <a:ext uri="{FF2B5EF4-FFF2-40B4-BE49-F238E27FC236}">
                <a16:creationId xmlns:a16="http://schemas.microsoft.com/office/drawing/2014/main" id="{83BC8AD5-CEDE-420E-8CDF-29B6B0AB85C8}"/>
              </a:ext>
            </a:extLst>
          </p:cNvPr>
          <p:cNvSpPr txBox="1"/>
          <p:nvPr userDrawn="1">
            <p:custDataLst>
              <p:tags r:id="rId6"/>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latin typeface="Bahnschrift" panose="020B0502040204020203" pitchFamily="34" charset="0"/>
                <a:sym typeface="Bahnschrift" panose="020B0502040204020203" pitchFamily="34" charset="0"/>
              </a:rPr>
              <a:t>Quelle: …</a:t>
            </a:r>
          </a:p>
        </p:txBody>
      </p:sp>
      <p:pic>
        <p:nvPicPr>
          <p:cNvPr id="13" name="Picture 24">
            <a:extLst>
              <a:ext uri="{FF2B5EF4-FFF2-40B4-BE49-F238E27FC236}">
                <a16:creationId xmlns:a16="http://schemas.microsoft.com/office/drawing/2014/main" id="{E753E4B3-7552-4047-98C7-5D0FAF1195D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384043247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717204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Bahnschrift" panose="020B0502040204020203" pitchFamily="34" charset="0"/>
              <a:ea typeface="+mj-ea"/>
              <a:cs typeface="+mj-cs"/>
              <a:sym typeface="Bahnschrift" panose="020B0502040204020203"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50105"/>
            <a:ext cx="5065776" cy="357790"/>
          </a:xfrm>
          <a:prstGeom prst="rect">
            <a:avLst/>
          </a:prstGeom>
        </p:spPr>
        <p:txBody>
          <a:bodyPr vert="horz" wrap="square" rIns="365760" anchor="ctr">
            <a:spAutoFit/>
          </a:bodyPr>
          <a:lstStyle>
            <a:lvl1pPr rtl="0">
              <a:defRPr>
                <a:ln w="6350" cap="flat">
                  <a:noFill/>
                  <a:miter lim="800000"/>
                </a:ln>
                <a:latin typeface="Bahnschrift" panose="020B0502040204020203" pitchFamily="34" charset="0"/>
                <a:sym typeface="Bahnschrift" panose="020B0502040204020203" pitchFamily="34" charset="0"/>
              </a:defRPr>
            </a:lvl1pPr>
          </a:lstStyle>
          <a:p>
            <a:r>
              <a:rPr lang="en-US"/>
              <a:t>Click to edit Master title style</a:t>
            </a:r>
            <a:endParaRPr lang="de-DE" dirty="0"/>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Bahnschrift" panose="020B0502040204020203" pitchFamily="34" charset="0"/>
                <a:cs typeface="+mn-cs"/>
                <a:sym typeface="Bahnschrift" panose="020B0502040204020203" pitchFamily="34" charset="0"/>
              </a:defRPr>
            </a:lvl1pPr>
          </a:lstStyle>
          <a:p>
            <a:pPr lvl="0">
              <a:buNone/>
            </a:pPr>
            <a:r>
              <a:rPr lang="de-DE" dirty="0"/>
              <a:t>Add tracker</a:t>
            </a:r>
          </a:p>
        </p:txBody>
      </p:sp>
      <p:sp>
        <p:nvSpPr>
          <p:cNvPr id="11" name="Slide Number">
            <a:extLst>
              <a:ext uri="{FF2B5EF4-FFF2-40B4-BE49-F238E27FC236}">
                <a16:creationId xmlns:a16="http://schemas.microsoft.com/office/drawing/2014/main" id="{FBB88D9B-ABB7-4786-83C0-4CF6FC08CDFA}"/>
              </a:ext>
            </a:extLst>
          </p:cNvPr>
          <p:cNvSpPr>
            <a:spLocks noChangeArrowheads="1"/>
          </p:cNvSpPr>
          <p:nvPr userDrawn="1">
            <p:custDataLst>
              <p:tags r:id="rId5"/>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Bahnschrift" panose="020B0502040204020203" pitchFamily="34" charset="0"/>
                <a:ea typeface="+mn-ea"/>
                <a:cs typeface="Arial" panose="020B0604020202020204" pitchFamily="34" charset="0"/>
                <a:sym typeface="Bahnschrift" panose="020B0502040204020203" pitchFamily="34" charset="0"/>
              </a:rPr>
              <a:pPr algn="l" defTabSz="610744" rtl="0" fontAlgn="auto">
                <a:spcBef>
                  <a:spcPts val="0"/>
                </a:spcBef>
                <a:spcAft>
                  <a:spcPts val="0"/>
                </a:spcAft>
                <a:defRPr/>
              </a:pPr>
              <a:t>‹Nr.›</a:t>
            </a:fld>
            <a:endParaRPr lang="de-DE" sz="900" b="0" dirty="0">
              <a:solidFill>
                <a:schemeClr val="accent4"/>
              </a:solidFill>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2" name="5. Source" hidden="1">
            <a:extLst>
              <a:ext uri="{FF2B5EF4-FFF2-40B4-BE49-F238E27FC236}">
                <a16:creationId xmlns:a16="http://schemas.microsoft.com/office/drawing/2014/main" id="{9C7CFAFE-151F-4006-AE1B-B99DDF767D38}"/>
              </a:ext>
            </a:extLst>
          </p:cNvPr>
          <p:cNvSpPr txBox="1"/>
          <p:nvPr userDrawn="1">
            <p:custDataLst>
              <p:tags r:id="rId6"/>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latin typeface="Bahnschrift" panose="020B0502040204020203" pitchFamily="34" charset="0"/>
                <a:sym typeface="Bahnschrift" panose="020B0502040204020203" pitchFamily="34" charset="0"/>
              </a:rPr>
              <a:t>Quelle: …</a:t>
            </a:r>
          </a:p>
        </p:txBody>
      </p:sp>
      <p:pic>
        <p:nvPicPr>
          <p:cNvPr id="13" name="Picture 24">
            <a:extLst>
              <a:ext uri="{FF2B5EF4-FFF2-40B4-BE49-F238E27FC236}">
                <a16:creationId xmlns:a16="http://schemas.microsoft.com/office/drawing/2014/main" id="{AEE82E29-BBE7-40CA-B6D5-0CB8048FF73D}"/>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415801679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48010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4400" b="1" i="0" baseline="0" dirty="0">
              <a:solidFill>
                <a:schemeClr val="bg1"/>
              </a:solidFill>
              <a:latin typeface="Bahnschrift" panose="020B0502040204020203" pitchFamily="34" charset="0"/>
              <a:ea typeface="+mj-ea"/>
              <a:cs typeface="+mj-cs"/>
              <a:sym typeface="Bahnschrift" panose="020B0502040204020203"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atin typeface="Bahnschrift" panose="020B0502040204020203" pitchFamily="34" charset="0"/>
                <a:sym typeface="Bahnschrift" panose="020B0502040204020203" pitchFamily="34" charset="0"/>
              </a:defRPr>
            </a:lvl1pPr>
          </a:lstStyle>
          <a:p>
            <a:r>
              <a:rPr lang="en-US"/>
              <a:t>Click to edit Master title style</a:t>
            </a:r>
            <a:endParaRPr lang="de-DE" dirty="0"/>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Bahnschrift" panose="020B0502040204020203" pitchFamily="34" charset="0"/>
                <a:cs typeface="+mn-cs"/>
                <a:sym typeface="Bahnschrift" panose="020B0502040204020203" pitchFamily="34" charset="0"/>
              </a:defRPr>
            </a:lvl1pPr>
          </a:lstStyle>
          <a:p>
            <a:pPr lvl="0">
              <a:buNone/>
            </a:pPr>
            <a:r>
              <a:rPr lang="de-DE" dirty="0"/>
              <a:t>Add tracker</a:t>
            </a:r>
          </a:p>
        </p:txBody>
      </p:sp>
      <p:sp>
        <p:nvSpPr>
          <p:cNvPr id="10" name="Slide Number">
            <a:extLst>
              <a:ext uri="{FF2B5EF4-FFF2-40B4-BE49-F238E27FC236}">
                <a16:creationId xmlns:a16="http://schemas.microsoft.com/office/drawing/2014/main" id="{196D82A3-C41E-4026-9B9B-C6EDA362EA62}"/>
              </a:ext>
            </a:extLst>
          </p:cNvPr>
          <p:cNvSpPr>
            <a:spLocks noChangeArrowheads="1"/>
          </p:cNvSpPr>
          <p:nvPr userDrawn="1">
            <p:custDataLst>
              <p:tags r:id="rId5"/>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Bahnschrift" panose="020B0502040204020203" pitchFamily="34" charset="0"/>
                <a:ea typeface="+mn-ea"/>
                <a:cs typeface="Arial" panose="020B0604020202020204" pitchFamily="34" charset="0"/>
                <a:sym typeface="Bahnschrift" panose="020B0502040204020203" pitchFamily="34" charset="0"/>
              </a:rPr>
              <a:pPr algn="l" defTabSz="610744" rtl="0" fontAlgn="auto">
                <a:spcBef>
                  <a:spcPts val="0"/>
                </a:spcBef>
                <a:spcAft>
                  <a:spcPts val="0"/>
                </a:spcAft>
                <a:defRPr/>
              </a:pPr>
              <a:t>‹Nr.›</a:t>
            </a:fld>
            <a:endParaRPr lang="de-DE" sz="900" b="0" dirty="0">
              <a:solidFill>
                <a:schemeClr val="accent4"/>
              </a:solidFill>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1" name="5. Source" hidden="1">
            <a:extLst>
              <a:ext uri="{FF2B5EF4-FFF2-40B4-BE49-F238E27FC236}">
                <a16:creationId xmlns:a16="http://schemas.microsoft.com/office/drawing/2014/main" id="{A1CEB5C6-0F65-45F7-B1E3-6C7EBF12A982}"/>
              </a:ext>
            </a:extLst>
          </p:cNvPr>
          <p:cNvSpPr txBox="1"/>
          <p:nvPr userDrawn="1">
            <p:custDataLst>
              <p:tags r:id="rId6"/>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latin typeface="Bahnschrift" panose="020B0502040204020203" pitchFamily="34" charset="0"/>
                <a:sym typeface="Bahnschrift" panose="020B0502040204020203" pitchFamily="34" charset="0"/>
              </a:rPr>
              <a:t>Quelle: …</a:t>
            </a:r>
          </a:p>
        </p:txBody>
      </p:sp>
      <p:pic>
        <p:nvPicPr>
          <p:cNvPr id="12" name="Picture 24">
            <a:extLst>
              <a:ext uri="{FF2B5EF4-FFF2-40B4-BE49-F238E27FC236}">
                <a16:creationId xmlns:a16="http://schemas.microsoft.com/office/drawing/2014/main" id="{AC3BCAAF-839F-439B-AE06-F786DB13B9B7}"/>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215531029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1700604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3400" b="1" i="0" baseline="0" dirty="0">
              <a:solidFill>
                <a:schemeClr val="bg1"/>
              </a:solidFill>
              <a:latin typeface="Bahnschrift" panose="020B0502040204020203" pitchFamily="34" charset="0"/>
              <a:ea typeface="+mj-ea"/>
              <a:cs typeface="+mj-cs"/>
              <a:sym typeface="Bahnschrift" panose="020B0502040204020203"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77580"/>
            <a:ext cx="9180576" cy="501869"/>
          </a:xfrm>
          <a:prstGeom prst="rect">
            <a:avLst/>
          </a:prstGeom>
        </p:spPr>
        <p:txBody>
          <a:bodyPr vert="horz">
            <a:spAutoFit/>
          </a:bodyPr>
          <a:lstStyle>
            <a:lvl1pPr rtl="0">
              <a:lnSpc>
                <a:spcPct val="105000"/>
              </a:lnSpc>
              <a:defRPr sz="3400">
                <a:latin typeface="Bahnschrift" panose="020B0502040204020203" pitchFamily="34" charset="0"/>
                <a:sym typeface="Bahnschrift" panose="020B0502040204020203" pitchFamily="34" charset="0"/>
              </a:defRPr>
            </a:lvl1pPr>
          </a:lstStyle>
          <a:p>
            <a:r>
              <a:rPr lang="de-DE"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latin typeface="Bahnschrift" panose="020B0502040204020203" pitchFamily="34" charset="0"/>
                <a:sym typeface="Bahnschrif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Bahnschrift" panose="020B0502040204020203" pitchFamily="34" charset="0"/>
                <a:cs typeface="+mn-cs"/>
                <a:sym typeface="Bahnschrift" panose="020B0502040204020203" pitchFamily="34" charset="0"/>
              </a:defRPr>
            </a:lvl1pPr>
          </a:lstStyle>
          <a:p>
            <a:pPr lvl="0">
              <a:buNone/>
            </a:pPr>
            <a:r>
              <a:rPr lang="de-DE" dirty="0"/>
              <a:t>Add tracker</a:t>
            </a:r>
          </a:p>
        </p:txBody>
      </p:sp>
      <p:sp>
        <p:nvSpPr>
          <p:cNvPr id="11" name="Slide Number">
            <a:extLst>
              <a:ext uri="{FF2B5EF4-FFF2-40B4-BE49-F238E27FC236}">
                <a16:creationId xmlns:a16="http://schemas.microsoft.com/office/drawing/2014/main" id="{B037E860-4142-4F46-8451-BAD5A1032E9B}"/>
              </a:ext>
            </a:extLst>
          </p:cNvPr>
          <p:cNvSpPr>
            <a:spLocks noChangeArrowheads="1"/>
          </p:cNvSpPr>
          <p:nvPr userDrawn="1">
            <p:custDataLst>
              <p:tags r:id="rId6"/>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Bahnschrift" panose="020B0502040204020203" pitchFamily="34" charset="0"/>
                <a:ea typeface="+mn-ea"/>
                <a:cs typeface="Arial" panose="020B0604020202020204" pitchFamily="34" charset="0"/>
                <a:sym typeface="Bahnschrift" panose="020B0502040204020203" pitchFamily="34" charset="0"/>
              </a:rPr>
              <a:pPr algn="l" defTabSz="610744" rtl="0" fontAlgn="auto">
                <a:spcBef>
                  <a:spcPts val="0"/>
                </a:spcBef>
                <a:spcAft>
                  <a:spcPts val="0"/>
                </a:spcAft>
                <a:defRPr/>
              </a:pPr>
              <a:t>‹Nr.›</a:t>
            </a:fld>
            <a:endParaRPr lang="de-DE" sz="900" b="0" dirty="0">
              <a:solidFill>
                <a:schemeClr val="accent4"/>
              </a:solidFill>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2" name="5. Source" hidden="1">
            <a:extLst>
              <a:ext uri="{FF2B5EF4-FFF2-40B4-BE49-F238E27FC236}">
                <a16:creationId xmlns:a16="http://schemas.microsoft.com/office/drawing/2014/main" id="{218919A0-F6BB-4050-9154-4B5198BE167F}"/>
              </a:ext>
            </a:extLst>
          </p:cNvPr>
          <p:cNvSpPr txBox="1"/>
          <p:nvPr userDrawn="1">
            <p:custDataLst>
              <p:tags r:id="rId7"/>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latin typeface="Bahnschrift" panose="020B0502040204020203" pitchFamily="34" charset="0"/>
                <a:sym typeface="Bahnschrift" panose="020B0502040204020203" pitchFamily="34" charset="0"/>
              </a:rPr>
              <a:t>Quelle: …</a:t>
            </a:r>
          </a:p>
        </p:txBody>
      </p:sp>
      <p:pic>
        <p:nvPicPr>
          <p:cNvPr id="13" name="Picture 24">
            <a:extLst>
              <a:ext uri="{FF2B5EF4-FFF2-40B4-BE49-F238E27FC236}">
                <a16:creationId xmlns:a16="http://schemas.microsoft.com/office/drawing/2014/main" id="{B8FEBBCE-27DB-4733-A806-5C277B948EF4}"/>
              </a:ext>
            </a:extLst>
          </p:cNvPr>
          <p:cNvPicPr>
            <a:picLocks noChangeAspect="1" noChangeArrowheads="1"/>
          </p:cNvPicPr>
          <p:nvPr userDrawn="1"/>
        </p:nvPicPr>
        <p:blipFill>
          <a:blip r:embed="rId11" cstate="print">
            <a:extLst>
              <a:ext uri="{28A0092B-C50C-407E-A947-70E740481C1C}">
                <a14:useLocalDpi xmlns:a14="http://schemas.microsoft.com/office/drawing/2010/main" val="0"/>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73377420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60202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Bahnschrift" panose="020B0502040204020203" pitchFamily="34" charset="0"/>
              <a:ea typeface="+mj-ea"/>
              <a:cs typeface="+mj-cs"/>
              <a:sym typeface="Bahnschrift" panose="020B0502040204020203"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EEEE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de-DE" dirty="0">
              <a:solidFill>
                <a:srgbClr val="F0F0F0"/>
              </a:solidFill>
              <a:latin typeface="Bahnschrift" panose="020B0502040204020203" pitchFamily="34" charset="0"/>
              <a:sym typeface="Bahnschrift" panose="020B0502040204020203"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anchor="b">
            <a:noAutofit/>
          </a:bodyPr>
          <a:lstStyle>
            <a:lvl1pPr rtl="0">
              <a:defRPr>
                <a:solidFill>
                  <a:schemeClr val="tx1"/>
                </a:solidFill>
                <a:latin typeface="Bahnschrift" panose="020B0502040204020203" pitchFamily="34" charset="0"/>
                <a:sym typeface="Bahnschrift" panose="020B0502040204020203" pitchFamily="34" charset="0"/>
              </a:defRPr>
            </a:lvl1pPr>
          </a:lstStyle>
          <a:p>
            <a:r>
              <a:rPr lang="en-US"/>
              <a:t>Click to edit Master title style</a:t>
            </a:r>
            <a:endParaRPr lang="de-DE"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latin typeface="Bahnschrift" panose="020B0502040204020203" pitchFamily="34" charset="0"/>
                <a:sym typeface="Bahnschrift" panose="020B0502040204020203"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de-DE" dirty="0"/>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latin typeface="Bahnschrift" panose="020B0502040204020203" pitchFamily="34" charset="0"/>
                <a:cs typeface="+mn-cs"/>
                <a:sym typeface="Bahnschrift" panose="020B0502040204020203" pitchFamily="34" charset="0"/>
              </a:defRPr>
            </a:lvl1pPr>
          </a:lstStyle>
          <a:p>
            <a:pPr lvl="0">
              <a:buNone/>
            </a:pPr>
            <a:r>
              <a:rPr lang="de-DE" dirty="0"/>
              <a:t>Add tracker</a:t>
            </a:r>
          </a:p>
        </p:txBody>
      </p:sp>
      <p:sp>
        <p:nvSpPr>
          <p:cNvPr id="11" name="Slide Number">
            <a:extLst>
              <a:ext uri="{FF2B5EF4-FFF2-40B4-BE49-F238E27FC236}">
                <a16:creationId xmlns:a16="http://schemas.microsoft.com/office/drawing/2014/main" id="{51FC4C0D-286E-451D-9336-DB01EBEAF6B6}"/>
              </a:ext>
            </a:extLst>
          </p:cNvPr>
          <p:cNvSpPr>
            <a:spLocks noChangeArrowheads="1"/>
          </p:cNvSpPr>
          <p:nvPr userDrawn="1">
            <p:custDataLst>
              <p:tags r:id="rId7"/>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Bahnschrift" panose="020B0502040204020203" pitchFamily="34" charset="0"/>
                <a:ea typeface="+mn-ea"/>
                <a:cs typeface="Arial" panose="020B0604020202020204" pitchFamily="34" charset="0"/>
                <a:sym typeface="Bahnschrift" panose="020B0502040204020203" pitchFamily="34" charset="0"/>
              </a:rPr>
              <a:pPr algn="l" defTabSz="610744" rtl="0" fontAlgn="auto">
                <a:spcBef>
                  <a:spcPts val="0"/>
                </a:spcBef>
                <a:spcAft>
                  <a:spcPts val="0"/>
                </a:spcAft>
                <a:defRPr/>
              </a:pPr>
              <a:t>‹Nr.›</a:t>
            </a:fld>
            <a:endParaRPr lang="de-DE" sz="900" b="0" dirty="0">
              <a:solidFill>
                <a:schemeClr val="accent4"/>
              </a:solidFill>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2" name="5. Source" hidden="1">
            <a:extLst>
              <a:ext uri="{FF2B5EF4-FFF2-40B4-BE49-F238E27FC236}">
                <a16:creationId xmlns:a16="http://schemas.microsoft.com/office/drawing/2014/main" id="{A78EF73E-DE00-4E61-BAFD-ACFAF16BBA7F}"/>
              </a:ext>
            </a:extLst>
          </p:cNvPr>
          <p:cNvSpPr txBox="1"/>
          <p:nvPr userDrawn="1">
            <p:custDataLst>
              <p:tags r:id="rId8"/>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latin typeface="Bahnschrift" panose="020B0502040204020203" pitchFamily="34" charset="0"/>
                <a:sym typeface="Bahnschrift" panose="020B0502040204020203" pitchFamily="34" charset="0"/>
              </a:rPr>
              <a:t>Quelle: …</a:t>
            </a:r>
          </a:p>
        </p:txBody>
      </p:sp>
      <p:pic>
        <p:nvPicPr>
          <p:cNvPr id="13" name="Picture 24">
            <a:extLst>
              <a:ext uri="{FF2B5EF4-FFF2-40B4-BE49-F238E27FC236}">
                <a16:creationId xmlns:a16="http://schemas.microsoft.com/office/drawing/2014/main" id="{48F2013B-FDDF-4BFB-ADA5-EBD5F271BF8B}"/>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177462732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909527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Bahnschrift" panose="020B0502040204020203" pitchFamily="34" charset="0"/>
              <a:ea typeface="+mj-ea"/>
              <a:cs typeface="+mj-cs"/>
              <a:sym typeface="Bahnschrift" panose="020B0502040204020203"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EEEE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de-DE" dirty="0">
              <a:solidFill>
                <a:srgbClr val="F0F0F0"/>
              </a:solidFill>
              <a:latin typeface="Bahnschrift" panose="020B0502040204020203" pitchFamily="34" charset="0"/>
              <a:sym typeface="Bahnschrift" panose="020B0502040204020203"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98229"/>
            <a:ext cx="3465576" cy="715581"/>
          </a:xfrm>
          <a:prstGeom prst="rect">
            <a:avLst/>
          </a:prstGeom>
        </p:spPr>
        <p:txBody>
          <a:bodyPr vert="horz" wrap="square" anchor="b">
            <a:spAutoFit/>
          </a:bodyPr>
          <a:lstStyle>
            <a:lvl1pPr algn="l" rtl="0">
              <a:defRPr>
                <a:solidFill>
                  <a:schemeClr val="tx1"/>
                </a:solidFill>
                <a:latin typeface="Bahnschrift" panose="020B0502040204020203" pitchFamily="34" charset="0"/>
                <a:sym typeface="Bahnschrift" panose="020B0502040204020203" pitchFamily="34" charset="0"/>
              </a:defRPr>
            </a:lvl1pPr>
          </a:lstStyle>
          <a:p>
            <a:r>
              <a:rPr lang="en-US"/>
              <a:t>Click to edit Master title style</a:t>
            </a:r>
            <a:endParaRPr lang="de-DE"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latin typeface="Bahnschrift" panose="020B0502040204020203" pitchFamily="34" charset="0"/>
                <a:sym typeface="Bahnschrift" panose="020B0502040204020203"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de-DE" dirty="0"/>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latin typeface="Bahnschrift" panose="020B0502040204020203" pitchFamily="34" charset="0"/>
                <a:cs typeface="+mn-cs"/>
                <a:sym typeface="Bahnschrift" panose="020B0502040204020203" pitchFamily="34" charset="0"/>
              </a:defRPr>
            </a:lvl1pPr>
          </a:lstStyle>
          <a:p>
            <a:pPr lvl="0">
              <a:buNone/>
            </a:pPr>
            <a:r>
              <a:rPr lang="de-DE" dirty="0"/>
              <a:t>Add tracker</a:t>
            </a:r>
          </a:p>
        </p:txBody>
      </p:sp>
      <p:sp>
        <p:nvSpPr>
          <p:cNvPr id="11" name="Slide Number">
            <a:extLst>
              <a:ext uri="{FF2B5EF4-FFF2-40B4-BE49-F238E27FC236}">
                <a16:creationId xmlns:a16="http://schemas.microsoft.com/office/drawing/2014/main" id="{E16EE6E9-1FAC-4E55-93EB-B73ECF2BD38F}"/>
              </a:ext>
            </a:extLst>
          </p:cNvPr>
          <p:cNvSpPr>
            <a:spLocks noChangeArrowheads="1"/>
          </p:cNvSpPr>
          <p:nvPr userDrawn="1">
            <p:custDataLst>
              <p:tags r:id="rId7"/>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Bahnschrift" panose="020B0502040204020203" pitchFamily="34" charset="0"/>
                <a:ea typeface="+mn-ea"/>
                <a:cs typeface="Arial" panose="020B0604020202020204" pitchFamily="34" charset="0"/>
                <a:sym typeface="Bahnschrift" panose="020B0502040204020203" pitchFamily="34" charset="0"/>
              </a:rPr>
              <a:pPr algn="l" defTabSz="610744" rtl="0" fontAlgn="auto">
                <a:spcBef>
                  <a:spcPts val="0"/>
                </a:spcBef>
                <a:spcAft>
                  <a:spcPts val="0"/>
                </a:spcAft>
                <a:defRPr/>
              </a:pPr>
              <a:t>‹Nr.›</a:t>
            </a:fld>
            <a:endParaRPr lang="de-DE" sz="900" b="0" dirty="0">
              <a:solidFill>
                <a:schemeClr val="accent4"/>
              </a:solidFill>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2" name="5. Source" hidden="1">
            <a:extLst>
              <a:ext uri="{FF2B5EF4-FFF2-40B4-BE49-F238E27FC236}">
                <a16:creationId xmlns:a16="http://schemas.microsoft.com/office/drawing/2014/main" id="{69829EE6-DFF1-4EDC-9186-BC864FE54902}"/>
              </a:ext>
            </a:extLst>
          </p:cNvPr>
          <p:cNvSpPr txBox="1"/>
          <p:nvPr userDrawn="1">
            <p:custDataLst>
              <p:tags r:id="rId8"/>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latin typeface="Bahnschrift" panose="020B0502040204020203" pitchFamily="34" charset="0"/>
                <a:sym typeface="Bahnschrift" panose="020B0502040204020203" pitchFamily="34" charset="0"/>
              </a:rPr>
              <a:t>Quelle: …</a:t>
            </a:r>
          </a:p>
        </p:txBody>
      </p:sp>
      <p:pic>
        <p:nvPicPr>
          <p:cNvPr id="13" name="Picture 24">
            <a:extLst>
              <a:ext uri="{FF2B5EF4-FFF2-40B4-BE49-F238E27FC236}">
                <a16:creationId xmlns:a16="http://schemas.microsoft.com/office/drawing/2014/main" id="{F3150622-1A3B-40E7-869F-CB37F367FDDA}"/>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147459463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672570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Bahnschrift" panose="020B0502040204020203" pitchFamily="34" charset="0"/>
              <a:ea typeface="+mj-ea"/>
              <a:cs typeface="+mj-cs"/>
              <a:sym typeface="Bahnschrift" panose="020B0502040204020203"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EEEE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de-DE" dirty="0">
              <a:solidFill>
                <a:srgbClr val="F0F0F0"/>
              </a:solidFill>
              <a:latin typeface="Bahnschrift" panose="020B0502040204020203" pitchFamily="34" charset="0"/>
              <a:sym typeface="Bahnschrift" panose="020B0502040204020203"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45942"/>
            <a:ext cx="5065776" cy="357790"/>
          </a:xfrm>
        </p:spPr>
        <p:txBody>
          <a:bodyPr vert="horz" wrap="square">
            <a:spAutoFit/>
          </a:bodyPr>
          <a:lstStyle>
            <a:lvl1pPr rtl="0">
              <a:defRPr>
                <a:latin typeface="Bahnschrift" panose="020B0502040204020203" pitchFamily="34" charset="0"/>
                <a:sym typeface="Bahnschrift" panose="020B0502040204020203" pitchFamily="34" charset="0"/>
              </a:defRPr>
            </a:lvl1pPr>
          </a:lstStyle>
          <a:p>
            <a:r>
              <a:rPr lang="en-US"/>
              <a:t>Click to edit Master title style</a:t>
            </a:r>
            <a:endParaRPr lang="de-DE"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59517"/>
            <a:ext cx="5065776" cy="246221"/>
          </a:xfrm>
          <a:prstGeom prst="rect">
            <a:avLst/>
          </a:prstGeom>
        </p:spPr>
        <p:txBody>
          <a:bodyPr wrap="square">
            <a:spAutoFit/>
          </a:bodyPr>
          <a:lstStyle>
            <a:lvl1pPr marL="0" indent="0" algn="l" rtl="0">
              <a:buNone/>
              <a:defRPr sz="1600" b="0" baseline="0">
                <a:solidFill>
                  <a:schemeClr val="tx1"/>
                </a:solidFill>
                <a:latin typeface="Bahnschrift" panose="020B0502040204020203" pitchFamily="34" charset="0"/>
                <a:sym typeface="Bahnschrif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Bahnschrift" panose="020B0502040204020203" pitchFamily="34" charset="0"/>
                <a:cs typeface="+mn-cs"/>
                <a:sym typeface="Bahnschrift" panose="020B0502040204020203" pitchFamily="34" charset="0"/>
              </a:defRPr>
            </a:lvl1pPr>
          </a:lstStyle>
          <a:p>
            <a:pPr lvl="0">
              <a:buNone/>
            </a:pPr>
            <a:r>
              <a:rPr lang="de-DE" dirty="0"/>
              <a:t>Add tracker</a:t>
            </a:r>
          </a:p>
        </p:txBody>
      </p:sp>
      <p:sp>
        <p:nvSpPr>
          <p:cNvPr id="11" name="Slide Number">
            <a:extLst>
              <a:ext uri="{FF2B5EF4-FFF2-40B4-BE49-F238E27FC236}">
                <a16:creationId xmlns:a16="http://schemas.microsoft.com/office/drawing/2014/main" id="{5F9BF503-531B-4D65-90F0-C02847B72905}"/>
              </a:ext>
            </a:extLst>
          </p:cNvPr>
          <p:cNvSpPr>
            <a:spLocks noChangeArrowheads="1"/>
          </p:cNvSpPr>
          <p:nvPr userDrawn="1">
            <p:custDataLst>
              <p:tags r:id="rId7"/>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Bahnschrift" panose="020B0502040204020203" pitchFamily="34" charset="0"/>
                <a:ea typeface="+mn-ea"/>
                <a:cs typeface="Arial" panose="020B0604020202020204" pitchFamily="34" charset="0"/>
                <a:sym typeface="Bahnschrift" panose="020B0502040204020203" pitchFamily="34" charset="0"/>
              </a:rPr>
              <a:pPr algn="l" defTabSz="610744" rtl="0" fontAlgn="auto">
                <a:spcBef>
                  <a:spcPts val="0"/>
                </a:spcBef>
                <a:spcAft>
                  <a:spcPts val="0"/>
                </a:spcAft>
                <a:defRPr/>
              </a:pPr>
              <a:t>‹Nr.›</a:t>
            </a:fld>
            <a:endParaRPr lang="de-DE" sz="900" b="0" dirty="0">
              <a:solidFill>
                <a:schemeClr val="accent4"/>
              </a:solidFill>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2" name="5. Source" hidden="1">
            <a:extLst>
              <a:ext uri="{FF2B5EF4-FFF2-40B4-BE49-F238E27FC236}">
                <a16:creationId xmlns:a16="http://schemas.microsoft.com/office/drawing/2014/main" id="{14BE99A5-A1C0-48C5-ACA1-F94ADAC5F1AC}"/>
              </a:ext>
            </a:extLst>
          </p:cNvPr>
          <p:cNvSpPr txBox="1"/>
          <p:nvPr userDrawn="1">
            <p:custDataLst>
              <p:tags r:id="rId8"/>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latin typeface="Bahnschrift" panose="020B0502040204020203" pitchFamily="34" charset="0"/>
                <a:sym typeface="Bahnschrift" panose="020B0502040204020203" pitchFamily="34" charset="0"/>
              </a:rPr>
              <a:t>Quelle: …</a:t>
            </a:r>
          </a:p>
        </p:txBody>
      </p:sp>
      <p:pic>
        <p:nvPicPr>
          <p:cNvPr id="13" name="Picture 24">
            <a:extLst>
              <a:ext uri="{FF2B5EF4-FFF2-40B4-BE49-F238E27FC236}">
                <a16:creationId xmlns:a16="http://schemas.microsoft.com/office/drawing/2014/main" id="{31BFD129-D4B8-4352-93EC-B8114C0F4C87}"/>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32966919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539669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57620"/>
            <a:ext cx="11082528" cy="35779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de-DE" dirty="0"/>
            </a:lvl1pPr>
          </a:lstStyle>
          <a:p>
            <a:pPr lvl="0"/>
            <a:r>
              <a:rPr lang="en-US"/>
              <a:t>Click to edit Master title style</a:t>
            </a:r>
            <a:endParaRPr lang="de-DE"/>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47825"/>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b="0" dirty="0"/>
            </a:lvl1pPr>
          </a:lstStyle>
          <a:p>
            <a:pPr lvl="0">
              <a:buNone/>
            </a:pPr>
            <a:r>
              <a:rPr lang="en-US"/>
              <a:t>Click to edit Master subtitle style</a:t>
            </a:r>
            <a:endParaRPr lang="de-DE"/>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800" b="0" dirty="0">
                <a:cs typeface="+mn-cs"/>
              </a:defRPr>
            </a:lvl1pPr>
          </a:lstStyle>
          <a:p>
            <a:pPr lvl="0">
              <a:buNone/>
            </a:pPr>
            <a:r>
              <a:rPr lang="de-DE"/>
              <a:t>Add tracker</a:t>
            </a:r>
          </a:p>
        </p:txBody>
      </p:sp>
    </p:spTree>
    <p:extLst>
      <p:ext uri="{BB962C8B-B14F-4D97-AF65-F5344CB8AC3E}">
        <p14:creationId xmlns:p14="http://schemas.microsoft.com/office/powerpoint/2010/main" val="65579654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745870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Bahnschrift" panose="020B0502040204020203" pitchFamily="34" charset="0"/>
              <a:ea typeface="+mj-ea"/>
              <a:cs typeface="+mj-cs"/>
              <a:sym typeface="Bahnschrift" panose="020B0502040204020203"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45942"/>
            <a:ext cx="6967728" cy="357790"/>
          </a:xfrm>
        </p:spPr>
        <p:txBody>
          <a:bodyPr vert="horz" wrap="square">
            <a:spAutoFit/>
          </a:bodyPr>
          <a:lstStyle>
            <a:lvl1pPr rtl="0">
              <a:defRPr>
                <a:latin typeface="Bahnschrift" panose="020B0502040204020203" pitchFamily="34" charset="0"/>
                <a:sym typeface="Bahnschrift" panose="020B0502040204020203" pitchFamily="34" charset="0"/>
              </a:defRPr>
            </a:lvl1pPr>
          </a:lstStyle>
          <a:p>
            <a:r>
              <a:rPr lang="en-US"/>
              <a:t>Click to edit Master title style</a:t>
            </a:r>
            <a:endParaRPr lang="de-DE"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EEEE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de-DE" dirty="0">
              <a:solidFill>
                <a:srgbClr val="F0F0F0"/>
              </a:solidFill>
              <a:latin typeface="Bahnschrift" panose="020B0502040204020203" pitchFamily="34" charset="0"/>
              <a:sym typeface="Bahnschrift" panose="020B0502040204020203"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59517"/>
            <a:ext cx="6967728" cy="246221"/>
          </a:xfrm>
          <a:prstGeom prst="rect">
            <a:avLst/>
          </a:prstGeom>
        </p:spPr>
        <p:txBody>
          <a:bodyPr wrap="square">
            <a:spAutoFit/>
          </a:bodyPr>
          <a:lstStyle>
            <a:lvl1pPr marL="0" indent="0" algn="l" rtl="0">
              <a:buNone/>
              <a:defRPr sz="1600" b="0" baseline="0">
                <a:solidFill>
                  <a:schemeClr val="tx1"/>
                </a:solidFill>
                <a:latin typeface="Bahnschrift" panose="020B0502040204020203" pitchFamily="34" charset="0"/>
                <a:sym typeface="Bahnschrif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Bahnschrift" panose="020B0502040204020203" pitchFamily="34" charset="0"/>
                <a:cs typeface="+mn-cs"/>
                <a:sym typeface="Bahnschrift" panose="020B0502040204020203" pitchFamily="34" charset="0"/>
              </a:defRPr>
            </a:lvl1pPr>
          </a:lstStyle>
          <a:p>
            <a:pPr lvl="0">
              <a:buNone/>
            </a:pPr>
            <a:r>
              <a:rPr lang="de-DE" dirty="0"/>
              <a:t>Add tracker</a:t>
            </a:r>
          </a:p>
        </p:txBody>
      </p:sp>
      <p:sp>
        <p:nvSpPr>
          <p:cNvPr id="11" name="Slide Number">
            <a:extLst>
              <a:ext uri="{FF2B5EF4-FFF2-40B4-BE49-F238E27FC236}">
                <a16:creationId xmlns:a16="http://schemas.microsoft.com/office/drawing/2014/main" id="{578D6356-D934-4A70-A72D-8878811039C7}"/>
              </a:ext>
            </a:extLst>
          </p:cNvPr>
          <p:cNvSpPr>
            <a:spLocks noChangeArrowheads="1"/>
          </p:cNvSpPr>
          <p:nvPr userDrawn="1">
            <p:custDataLst>
              <p:tags r:id="rId7"/>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Bahnschrift" panose="020B0502040204020203" pitchFamily="34" charset="0"/>
                <a:ea typeface="+mn-ea"/>
                <a:cs typeface="Arial" panose="020B0604020202020204" pitchFamily="34" charset="0"/>
                <a:sym typeface="Bahnschrift" panose="020B0502040204020203" pitchFamily="34" charset="0"/>
              </a:rPr>
              <a:pPr algn="l" defTabSz="610744" rtl="0" fontAlgn="auto">
                <a:spcBef>
                  <a:spcPts val="0"/>
                </a:spcBef>
                <a:spcAft>
                  <a:spcPts val="0"/>
                </a:spcAft>
                <a:defRPr/>
              </a:pPr>
              <a:t>‹Nr.›</a:t>
            </a:fld>
            <a:endParaRPr lang="de-DE" sz="900" b="0" dirty="0">
              <a:solidFill>
                <a:schemeClr val="accent4"/>
              </a:solidFill>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2" name="5. Source" hidden="1">
            <a:extLst>
              <a:ext uri="{FF2B5EF4-FFF2-40B4-BE49-F238E27FC236}">
                <a16:creationId xmlns:a16="http://schemas.microsoft.com/office/drawing/2014/main" id="{D2141A58-C4AE-49EC-9929-366E0BE208BD}"/>
              </a:ext>
            </a:extLst>
          </p:cNvPr>
          <p:cNvSpPr txBox="1"/>
          <p:nvPr userDrawn="1">
            <p:custDataLst>
              <p:tags r:id="rId8"/>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latin typeface="Bahnschrift" panose="020B0502040204020203" pitchFamily="34" charset="0"/>
                <a:sym typeface="Bahnschrift" panose="020B0502040204020203" pitchFamily="34" charset="0"/>
              </a:rPr>
              <a:t>Quelle: …</a:t>
            </a:r>
          </a:p>
        </p:txBody>
      </p:sp>
      <p:pic>
        <p:nvPicPr>
          <p:cNvPr id="13" name="Picture 24">
            <a:extLst>
              <a:ext uri="{FF2B5EF4-FFF2-40B4-BE49-F238E27FC236}">
                <a16:creationId xmlns:a16="http://schemas.microsoft.com/office/drawing/2014/main" id="{603086AB-DEDE-48D2-9F9F-F07BE5668B9A}"/>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84105674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639644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Bahnschrift" panose="020B0502040204020203" pitchFamily="34" charset="0"/>
              <a:ea typeface="+mj-ea"/>
              <a:cs typeface="+mj-cs"/>
              <a:sym typeface="Bahnschrift" panose="020B0502040204020203"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EEEE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de-DE" noProof="0" dirty="0">
              <a:solidFill>
                <a:srgbClr val="F0F0F0"/>
              </a:solidFill>
              <a:latin typeface="Bahnschrift" panose="020B0502040204020203" pitchFamily="34" charset="0"/>
              <a:sym typeface="Bahnschrift" panose="020B0502040204020203"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45942"/>
            <a:ext cx="7918704" cy="357790"/>
          </a:xfrm>
        </p:spPr>
        <p:txBody>
          <a:bodyPr vert="horz" wrap="square">
            <a:spAutoFit/>
          </a:bodyPr>
          <a:lstStyle>
            <a:lvl1pPr rtl="0">
              <a:defRPr>
                <a:latin typeface="Bahnschrift" panose="020B0502040204020203" pitchFamily="34" charset="0"/>
                <a:sym typeface="Bahnschrift" panose="020B0502040204020203" pitchFamily="34" charset="0"/>
              </a:defRPr>
            </a:lvl1pPr>
          </a:lstStyle>
          <a:p>
            <a:r>
              <a:rPr lang="en-US"/>
              <a:t>Click to edit Master title style</a:t>
            </a:r>
            <a:endParaRPr lang="de-DE"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59517"/>
            <a:ext cx="7918704" cy="246221"/>
          </a:xfrm>
          <a:prstGeom prst="rect">
            <a:avLst/>
          </a:prstGeom>
        </p:spPr>
        <p:txBody>
          <a:bodyPr wrap="square">
            <a:spAutoFit/>
          </a:bodyPr>
          <a:lstStyle>
            <a:lvl1pPr marL="0" indent="0" algn="l" rtl="0">
              <a:buNone/>
              <a:defRPr sz="1600" b="0" baseline="0">
                <a:solidFill>
                  <a:schemeClr val="tx1"/>
                </a:solidFill>
                <a:latin typeface="Bahnschrift" panose="020B0502040204020203" pitchFamily="34" charset="0"/>
                <a:sym typeface="Bahnschrift"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Bahnschrift" panose="020B0502040204020203" pitchFamily="34" charset="0"/>
                <a:cs typeface="+mn-cs"/>
                <a:sym typeface="Bahnschrift" panose="020B0502040204020203" pitchFamily="34" charset="0"/>
              </a:defRPr>
            </a:lvl1pPr>
          </a:lstStyle>
          <a:p>
            <a:pPr lvl="0">
              <a:buNone/>
            </a:pPr>
            <a:r>
              <a:rPr lang="de-DE" dirty="0"/>
              <a:t>Add tracker</a:t>
            </a:r>
          </a:p>
        </p:txBody>
      </p:sp>
      <p:sp>
        <p:nvSpPr>
          <p:cNvPr id="11" name="Slide Number">
            <a:extLst>
              <a:ext uri="{FF2B5EF4-FFF2-40B4-BE49-F238E27FC236}">
                <a16:creationId xmlns:a16="http://schemas.microsoft.com/office/drawing/2014/main" id="{40FF3879-DBE8-404E-A689-60ACE87E9ED0}"/>
              </a:ext>
            </a:extLst>
          </p:cNvPr>
          <p:cNvSpPr>
            <a:spLocks noChangeArrowheads="1"/>
          </p:cNvSpPr>
          <p:nvPr userDrawn="1">
            <p:custDataLst>
              <p:tags r:id="rId7"/>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Bahnschrift" panose="020B0502040204020203" pitchFamily="34" charset="0"/>
                <a:ea typeface="+mn-ea"/>
                <a:cs typeface="Arial" panose="020B0604020202020204" pitchFamily="34" charset="0"/>
                <a:sym typeface="Bahnschrift" panose="020B0502040204020203" pitchFamily="34" charset="0"/>
              </a:rPr>
              <a:pPr algn="l" defTabSz="610744" rtl="0" fontAlgn="auto">
                <a:spcBef>
                  <a:spcPts val="0"/>
                </a:spcBef>
                <a:spcAft>
                  <a:spcPts val="0"/>
                </a:spcAft>
                <a:defRPr/>
              </a:pPr>
              <a:t>‹Nr.›</a:t>
            </a:fld>
            <a:endParaRPr lang="de-DE" sz="900" b="0" dirty="0">
              <a:solidFill>
                <a:schemeClr val="accent4"/>
              </a:solidFill>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2" name="5. Source" hidden="1">
            <a:extLst>
              <a:ext uri="{FF2B5EF4-FFF2-40B4-BE49-F238E27FC236}">
                <a16:creationId xmlns:a16="http://schemas.microsoft.com/office/drawing/2014/main" id="{939BE904-DC22-4F43-A99E-1DA5C5A773BE}"/>
              </a:ext>
            </a:extLst>
          </p:cNvPr>
          <p:cNvSpPr txBox="1"/>
          <p:nvPr userDrawn="1">
            <p:custDataLst>
              <p:tags r:id="rId8"/>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latin typeface="Bahnschrift" panose="020B0502040204020203" pitchFamily="34" charset="0"/>
                <a:sym typeface="Bahnschrift" panose="020B0502040204020203" pitchFamily="34" charset="0"/>
              </a:rPr>
              <a:t>Quelle: …</a:t>
            </a:r>
          </a:p>
        </p:txBody>
      </p:sp>
      <p:pic>
        <p:nvPicPr>
          <p:cNvPr id="13" name="Picture 24">
            <a:extLst>
              <a:ext uri="{FF2B5EF4-FFF2-40B4-BE49-F238E27FC236}">
                <a16:creationId xmlns:a16="http://schemas.microsoft.com/office/drawing/2014/main" id="{01C2D45D-8A08-4068-813B-D6390E56A624}"/>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388275947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829343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Bahnschrift" panose="020B0502040204020203" pitchFamily="34" charset="0"/>
              <a:ea typeface="+mj-ea"/>
              <a:cs typeface="+mj-cs"/>
              <a:sym typeface="Bahnschrift" panose="020B0502040204020203"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903732"/>
            <a:ext cx="11082528" cy="357790"/>
          </a:xfrm>
        </p:spPr>
        <p:txBody>
          <a:bodyPr vert="horz" wrap="square">
            <a:spAutoFit/>
          </a:bodyPr>
          <a:lstStyle>
            <a:lvl1pPr rtl="0">
              <a:defRPr>
                <a:latin typeface="Bahnschrift" panose="020B0502040204020203" pitchFamily="34" charset="0"/>
                <a:sym typeface="Bahnschrift" panose="020B0502040204020203" pitchFamily="34" charset="0"/>
              </a:defRPr>
            </a:lvl1pPr>
          </a:lstStyle>
          <a:p>
            <a:r>
              <a:rPr lang="en-US"/>
              <a:t>Click to edit Master title style</a:t>
            </a:r>
            <a:endParaRPr lang="de-DE" dirty="0"/>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Bahnschrift" panose="020B0502040204020203" pitchFamily="34" charset="0"/>
                <a:cs typeface="+mn-cs"/>
                <a:sym typeface="Bahnschrift" panose="020B0502040204020203" pitchFamily="34" charset="0"/>
              </a:defRPr>
            </a:lvl1pPr>
          </a:lstStyle>
          <a:p>
            <a:pPr lvl="0">
              <a:buNone/>
            </a:pPr>
            <a:r>
              <a:rPr lang="de-DE" dirty="0"/>
              <a:t>Add tracker</a:t>
            </a:r>
          </a:p>
        </p:txBody>
      </p:sp>
      <p:sp>
        <p:nvSpPr>
          <p:cNvPr id="17" name="Slide Number">
            <a:extLst>
              <a:ext uri="{FF2B5EF4-FFF2-40B4-BE49-F238E27FC236}">
                <a16:creationId xmlns:a16="http://schemas.microsoft.com/office/drawing/2014/main" id="{5639CB5E-D360-4894-960C-632E551CA978}"/>
              </a:ext>
            </a:extLst>
          </p:cNvPr>
          <p:cNvSpPr>
            <a:spLocks noChangeArrowheads="1"/>
          </p:cNvSpPr>
          <p:nvPr userDrawn="1">
            <p:custDataLst>
              <p:tags r:id="rId5"/>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Bahnschrift" panose="020B0502040204020203" pitchFamily="34" charset="0"/>
                <a:ea typeface="+mn-ea"/>
                <a:cs typeface="Arial" panose="020B0604020202020204" pitchFamily="34" charset="0"/>
                <a:sym typeface="Bahnschrift" panose="020B0502040204020203" pitchFamily="34" charset="0"/>
              </a:rPr>
              <a:pPr algn="l" defTabSz="610744" rtl="0" fontAlgn="auto">
                <a:spcBef>
                  <a:spcPts val="0"/>
                </a:spcBef>
                <a:spcAft>
                  <a:spcPts val="0"/>
                </a:spcAft>
                <a:defRPr/>
              </a:pPr>
              <a:t>‹Nr.›</a:t>
            </a:fld>
            <a:endParaRPr lang="de-DE" sz="900" b="0" dirty="0">
              <a:solidFill>
                <a:schemeClr val="accent4"/>
              </a:solidFill>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8" name="5. Source" hidden="1">
            <a:extLst>
              <a:ext uri="{FF2B5EF4-FFF2-40B4-BE49-F238E27FC236}">
                <a16:creationId xmlns:a16="http://schemas.microsoft.com/office/drawing/2014/main" id="{BA5D077F-04AD-4703-AB58-D952DE4008D9}"/>
              </a:ext>
            </a:extLst>
          </p:cNvPr>
          <p:cNvSpPr txBox="1"/>
          <p:nvPr userDrawn="1">
            <p:custDataLst>
              <p:tags r:id="rId6"/>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latin typeface="Bahnschrift" panose="020B0502040204020203" pitchFamily="34" charset="0"/>
                <a:sym typeface="Bahnschrift" panose="020B0502040204020203" pitchFamily="34" charset="0"/>
              </a:rPr>
              <a:t>Quelle: …</a:t>
            </a:r>
          </a:p>
        </p:txBody>
      </p:sp>
      <p:pic>
        <p:nvPicPr>
          <p:cNvPr id="19" name="Picture 24">
            <a:extLst>
              <a:ext uri="{FF2B5EF4-FFF2-40B4-BE49-F238E27FC236}">
                <a16:creationId xmlns:a16="http://schemas.microsoft.com/office/drawing/2014/main" id="{605A2992-CBC9-4ED4-BDF4-622ED031C6C1}"/>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237293289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942021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Bahnschrift" panose="020B0502040204020203" pitchFamily="34" charset="0"/>
                <a:cs typeface="+mn-cs"/>
                <a:sym typeface="Bahnschrift" panose="020B0502040204020203" pitchFamily="34" charset="0"/>
              </a:defRPr>
            </a:lvl1pPr>
          </a:lstStyle>
          <a:p>
            <a:pPr lvl="0">
              <a:buNone/>
            </a:pPr>
            <a:r>
              <a:rPr lang="de-DE" dirty="0"/>
              <a:t>Add tracker</a:t>
            </a:r>
          </a:p>
        </p:txBody>
      </p:sp>
      <p:sp>
        <p:nvSpPr>
          <p:cNvPr id="6" name="Slide Number">
            <a:extLst>
              <a:ext uri="{FF2B5EF4-FFF2-40B4-BE49-F238E27FC236}">
                <a16:creationId xmlns:a16="http://schemas.microsoft.com/office/drawing/2014/main" id="{A2B020D1-B6FD-4A8E-BF14-18183EF962FB}"/>
              </a:ext>
            </a:extLst>
          </p:cNvPr>
          <p:cNvSpPr>
            <a:spLocks noChangeArrowheads="1"/>
          </p:cNvSpPr>
          <p:nvPr userDrawn="1">
            <p:custDataLst>
              <p:tags r:id="rId3"/>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Bahnschrift" panose="020B0502040204020203" pitchFamily="34" charset="0"/>
                <a:ea typeface="+mn-ea"/>
                <a:cs typeface="Arial" panose="020B0604020202020204" pitchFamily="34" charset="0"/>
                <a:sym typeface="Bahnschrift" panose="020B0502040204020203" pitchFamily="34" charset="0"/>
              </a:rPr>
              <a:pPr algn="l" defTabSz="610744" rtl="0" fontAlgn="auto">
                <a:spcBef>
                  <a:spcPts val="0"/>
                </a:spcBef>
                <a:spcAft>
                  <a:spcPts val="0"/>
                </a:spcAft>
                <a:defRPr/>
              </a:pPr>
              <a:t>‹Nr.›</a:t>
            </a:fld>
            <a:endParaRPr lang="de-DE" sz="900" b="0" dirty="0">
              <a:solidFill>
                <a:schemeClr val="accent4"/>
              </a:solidFill>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0" name="5. Source" hidden="1">
            <a:extLst>
              <a:ext uri="{FF2B5EF4-FFF2-40B4-BE49-F238E27FC236}">
                <a16:creationId xmlns:a16="http://schemas.microsoft.com/office/drawing/2014/main" id="{F453AE36-253D-4279-B1AC-C083EE1E2899}"/>
              </a:ext>
            </a:extLst>
          </p:cNvPr>
          <p:cNvSpPr txBox="1"/>
          <p:nvPr userDrawn="1">
            <p:custDataLst>
              <p:tags r:id="rId4"/>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latin typeface="Bahnschrift" panose="020B0502040204020203" pitchFamily="34" charset="0"/>
                <a:sym typeface="Bahnschrift" panose="020B0502040204020203" pitchFamily="34" charset="0"/>
              </a:rPr>
              <a:t>Quelle: …</a:t>
            </a:r>
          </a:p>
        </p:txBody>
      </p:sp>
      <p:pic>
        <p:nvPicPr>
          <p:cNvPr id="11" name="Picture 24">
            <a:extLst>
              <a:ext uri="{FF2B5EF4-FFF2-40B4-BE49-F238E27FC236}">
                <a16:creationId xmlns:a16="http://schemas.microsoft.com/office/drawing/2014/main" id="{0BC3C220-4D6B-43DF-AEAA-A26E73013794}"/>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228874233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190886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5. Source" hidden="1">
            <a:extLst>
              <a:ext uri="{FF2B5EF4-FFF2-40B4-BE49-F238E27FC236}">
                <a16:creationId xmlns:a16="http://schemas.microsoft.com/office/drawing/2014/main" id="{AA0471FD-F801-4ED7-B723-9967EA0BDA51}"/>
              </a:ext>
            </a:extLst>
          </p:cNvPr>
          <p:cNvSpPr txBox="1"/>
          <p:nvPr userDrawn="1">
            <p:custDataLst>
              <p:tags r:id="rId2"/>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latin typeface="Bahnschrift" panose="020B0502040204020203" pitchFamily="34" charset="0"/>
                <a:sym typeface="Bahnschrift" panose="020B0502040204020203" pitchFamily="34" charset="0"/>
              </a:rPr>
              <a:t>Quelle: …</a:t>
            </a:r>
          </a:p>
        </p:txBody>
      </p:sp>
      <p:pic>
        <p:nvPicPr>
          <p:cNvPr id="9" name="Picture 24">
            <a:extLst>
              <a:ext uri="{FF2B5EF4-FFF2-40B4-BE49-F238E27FC236}">
                <a16:creationId xmlns:a16="http://schemas.microsoft.com/office/drawing/2014/main" id="{A1E08BD0-F308-4E8B-BC70-FDD1A25700F7}"/>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3609977" y="2656721"/>
            <a:ext cx="4972048" cy="1544558"/>
          </a:xfrm>
          <a:prstGeom prst="rect">
            <a:avLst/>
          </a:prstGeom>
          <a:noFill/>
        </p:spPr>
      </p:pic>
    </p:spTree>
    <p:extLst>
      <p:ext uri="{BB962C8B-B14F-4D97-AF65-F5344CB8AC3E}">
        <p14:creationId xmlns:p14="http://schemas.microsoft.com/office/powerpoint/2010/main" val="422282471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3" name="Picture 24">
            <a:extLst>
              <a:ext uri="{FF2B5EF4-FFF2-40B4-BE49-F238E27FC236}">
                <a16:creationId xmlns:a16="http://schemas.microsoft.com/office/drawing/2014/main" id="{8880B986-AF84-83FC-C678-58030B4CD19F}"/>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0742580" y="6332378"/>
            <a:ext cx="1116013" cy="346688"/>
          </a:xfrm>
          <a:prstGeom prst="rect">
            <a:avLst/>
          </a:prstGeom>
          <a:noFill/>
        </p:spPr>
      </p:pic>
      <p:sp>
        <p:nvSpPr>
          <p:cNvPr id="27650" name="Rectangle 2"/>
          <p:cNvSpPr>
            <a:spLocks noGrp="1" noChangeArrowheads="1"/>
          </p:cNvSpPr>
          <p:nvPr>
            <p:ph type="ctrTitle" hasCustomPrompt="1"/>
          </p:nvPr>
        </p:nvSpPr>
        <p:spPr>
          <a:xfrm>
            <a:off x="814919" y="2133600"/>
            <a:ext cx="10278532" cy="1371600"/>
          </a:xfrm>
        </p:spPr>
        <p:txBody>
          <a:bodyPr>
            <a:normAutofit/>
          </a:bodyPr>
          <a:lstStyle>
            <a:lvl1pPr>
              <a:lnSpc>
                <a:spcPct val="100000"/>
              </a:lnSpc>
              <a:defRPr sz="3000">
                <a:solidFill>
                  <a:schemeClr val="tx1"/>
                </a:solidFill>
              </a:defRPr>
            </a:lvl1pPr>
          </a:lstStyle>
          <a:p>
            <a:r>
              <a:rPr lang="de-AT" dirty="0"/>
              <a:t>Prototypische Headline</a:t>
            </a:r>
            <a:br>
              <a:rPr lang="de-AT" dirty="0"/>
            </a:br>
            <a:r>
              <a:rPr lang="de-AT" dirty="0"/>
              <a:t>für Deckblatt</a:t>
            </a:r>
          </a:p>
        </p:txBody>
      </p:sp>
      <p:sp>
        <p:nvSpPr>
          <p:cNvPr id="27651" name="Rectangle 3"/>
          <p:cNvSpPr>
            <a:spLocks noGrp="1" noChangeArrowheads="1"/>
          </p:cNvSpPr>
          <p:nvPr>
            <p:ph type="subTitle" idx="1" hasCustomPrompt="1"/>
          </p:nvPr>
        </p:nvSpPr>
        <p:spPr>
          <a:xfrm>
            <a:off x="814920" y="3729038"/>
            <a:ext cx="10306049" cy="1600200"/>
          </a:xfrm>
          <a:prstGeom prst="rect">
            <a:avLst/>
          </a:prstGeom>
        </p:spPr>
        <p:txBody>
          <a:bodyPr>
            <a:normAutofit/>
          </a:bodyPr>
          <a:lstStyle>
            <a:lvl1pPr marL="0" indent="0">
              <a:buFont typeface="Wingdings" pitchFamily="2" charset="2"/>
              <a:buNone/>
              <a:defRPr sz="1800"/>
            </a:lvl1pPr>
          </a:lstStyle>
          <a:p>
            <a:r>
              <a:rPr lang="de-AT" dirty="0"/>
              <a:t>Schriftzusatz in Kleinbuchstaben.</a:t>
            </a:r>
          </a:p>
        </p:txBody>
      </p:sp>
    </p:spTree>
    <p:extLst>
      <p:ext uri="{BB962C8B-B14F-4D97-AF65-F5344CB8AC3E}">
        <p14:creationId xmlns:p14="http://schemas.microsoft.com/office/powerpoint/2010/main" val="93462205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Titel und Aufzählun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838799" y="188916"/>
            <a:ext cx="9540001" cy="936625"/>
          </a:xfrm>
        </p:spPr>
        <p:txBody>
          <a:bodyPr/>
          <a:lstStyle>
            <a:lvl1pPr>
              <a:defRPr b="0">
                <a:solidFill>
                  <a:schemeClr val="tx1"/>
                </a:solidFill>
              </a:defRPr>
            </a:lvl1pPr>
          </a:lstStyle>
          <a:p>
            <a:r>
              <a:rPr lang="de-DE" dirty="0"/>
              <a:t>Prototypische einzeilige Headline</a:t>
            </a:r>
            <a:endParaRPr lang="de-AT" dirty="0"/>
          </a:p>
        </p:txBody>
      </p:sp>
      <p:sp>
        <p:nvSpPr>
          <p:cNvPr id="3" name="Inhaltsplatzhalter 2"/>
          <p:cNvSpPr>
            <a:spLocks noGrp="1"/>
          </p:cNvSpPr>
          <p:nvPr>
            <p:ph idx="1" hasCustomPrompt="1"/>
          </p:nvPr>
        </p:nvSpPr>
        <p:spPr>
          <a:xfrm>
            <a:off x="838800" y="1484316"/>
            <a:ext cx="9540000" cy="4525200"/>
          </a:xfrm>
          <a:prstGeom prst="rect">
            <a:avLst/>
          </a:prstGeom>
        </p:spPr>
        <p:txBody>
          <a:bodyPr/>
          <a:lstStyle>
            <a:lvl1pPr>
              <a:buClr>
                <a:srgbClr val="004FA1"/>
              </a:buClr>
              <a:defRPr/>
            </a:lvl1pPr>
            <a:lvl2pPr>
              <a:defRPr/>
            </a:lvl2pPr>
            <a:lvl3pPr>
              <a:defRPr/>
            </a:lvl3pPr>
          </a:lstStyle>
          <a:p>
            <a:pPr lvl="0"/>
            <a:r>
              <a:rPr lang="de-DE" dirty="0"/>
              <a:t>Sie lesen eben einen Blindtext beziehungsweise Musterworte, um die Optik besser sehen zu können.</a:t>
            </a:r>
          </a:p>
          <a:p>
            <a:pPr lvl="0"/>
            <a:r>
              <a:rPr lang="de-DE" dirty="0"/>
              <a:t>Der Text ist daher an sich redundant, aber Sie können nun die Abtrennungen besser sehen.</a:t>
            </a:r>
          </a:p>
          <a:p>
            <a:pPr lvl="1"/>
            <a:r>
              <a:rPr lang="de-DE" dirty="0"/>
              <a:t>Beispielsweise wäre die zweite Ebene jene, die jetzt</a:t>
            </a:r>
          </a:p>
          <a:p>
            <a:pPr lvl="1"/>
            <a:r>
              <a:rPr lang="de-DE" dirty="0"/>
              <a:t>folgt.</a:t>
            </a:r>
          </a:p>
          <a:p>
            <a:pPr lvl="2"/>
            <a:r>
              <a:rPr lang="de-DE" dirty="0"/>
              <a:t>Beispielsweise wäre die dritte Ebene jene, die jetzt</a:t>
            </a:r>
          </a:p>
          <a:p>
            <a:pPr lvl="2"/>
            <a:r>
              <a:rPr lang="de-DE" dirty="0"/>
              <a:t>folgt.</a:t>
            </a:r>
          </a:p>
        </p:txBody>
      </p:sp>
      <p:sp>
        <p:nvSpPr>
          <p:cNvPr id="4" name="Foliennummernplatzhalter 3"/>
          <p:cNvSpPr>
            <a:spLocks noGrp="1"/>
          </p:cNvSpPr>
          <p:nvPr>
            <p:ph type="sldNum" sz="quarter" idx="10"/>
          </p:nvPr>
        </p:nvSpPr>
        <p:spPr/>
        <p:txBody>
          <a:bodyPr/>
          <a:lstStyle>
            <a:lvl1pPr>
              <a:defRPr/>
            </a:lvl1pPr>
          </a:lstStyle>
          <a:p>
            <a:fld id="{01920E2B-FC99-4A38-BFFD-416A818AECB0}" type="slidenum">
              <a:rPr lang="de-AT"/>
              <a:pPr/>
              <a:t>‹Nr.›</a:t>
            </a:fld>
            <a:endParaRPr lang="de-AT"/>
          </a:p>
        </p:txBody>
      </p:sp>
    </p:spTree>
    <p:extLst>
      <p:ext uri="{BB962C8B-B14F-4D97-AF65-F5344CB8AC3E}">
        <p14:creationId xmlns:p14="http://schemas.microsoft.com/office/powerpoint/2010/main" val="393477094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Titel und Lauf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838800" y="188916"/>
            <a:ext cx="9540000" cy="936625"/>
          </a:xfrm>
        </p:spPr>
        <p:txBody>
          <a:bodyPr/>
          <a:lstStyle>
            <a:lvl1pPr>
              <a:defRPr b="0">
                <a:solidFill>
                  <a:schemeClr val="tx1"/>
                </a:solidFill>
              </a:defRPr>
            </a:lvl1pPr>
          </a:lstStyle>
          <a:p>
            <a:r>
              <a:rPr lang="de-DE" dirty="0"/>
              <a:t>Prototypische zweizeilige Headline</a:t>
            </a:r>
            <a:br>
              <a:rPr lang="de-DE" dirty="0"/>
            </a:br>
            <a:r>
              <a:rPr lang="de-DE" dirty="0"/>
              <a:t>Prototypische Headline</a:t>
            </a:r>
            <a:endParaRPr lang="de-AT" dirty="0"/>
          </a:p>
        </p:txBody>
      </p:sp>
      <p:sp>
        <p:nvSpPr>
          <p:cNvPr id="3" name="Inhaltsplatzhalter 2"/>
          <p:cNvSpPr>
            <a:spLocks noGrp="1"/>
          </p:cNvSpPr>
          <p:nvPr>
            <p:ph idx="1" hasCustomPrompt="1"/>
          </p:nvPr>
        </p:nvSpPr>
        <p:spPr>
          <a:xfrm>
            <a:off x="838800" y="1484316"/>
            <a:ext cx="9540000" cy="4525200"/>
          </a:xfrm>
          <a:prstGeom prst="rect">
            <a:avLst/>
          </a:prstGeom>
        </p:spPr>
        <p:txBody>
          <a:bodyPr/>
          <a:lstStyle>
            <a:lvl1pPr marL="0" indent="0">
              <a:buFontTx/>
              <a:buNone/>
              <a:defRPr/>
            </a:lvl1pPr>
          </a:lstStyle>
          <a:p>
            <a:pPr>
              <a:buNone/>
            </a:pPr>
            <a:r>
              <a:rPr lang="de-AT" dirty="0" err="1"/>
              <a:t>Lorem</a:t>
            </a:r>
            <a:r>
              <a:rPr lang="de-AT" dirty="0"/>
              <a:t> </a:t>
            </a:r>
            <a:r>
              <a:rPr lang="de-AT" dirty="0" err="1"/>
              <a:t>ipsum</a:t>
            </a:r>
            <a:r>
              <a:rPr lang="de-AT" dirty="0"/>
              <a:t> </a:t>
            </a:r>
            <a:r>
              <a:rPr lang="de-AT" dirty="0" err="1"/>
              <a:t>dolor</a:t>
            </a:r>
            <a:r>
              <a:rPr lang="de-AT" dirty="0"/>
              <a:t> </a:t>
            </a:r>
            <a:r>
              <a:rPr lang="de-AT" dirty="0" err="1"/>
              <a:t>sit</a:t>
            </a:r>
            <a:r>
              <a:rPr lang="de-AT" dirty="0"/>
              <a:t> </a:t>
            </a:r>
            <a:r>
              <a:rPr lang="de-AT" dirty="0" err="1"/>
              <a:t>amet</a:t>
            </a:r>
            <a:r>
              <a:rPr lang="de-AT" dirty="0"/>
              <a:t>, </a:t>
            </a:r>
            <a:r>
              <a:rPr lang="de-AT" dirty="0" err="1"/>
              <a:t>sed</a:t>
            </a:r>
            <a:r>
              <a:rPr lang="de-AT" dirty="0"/>
              <a:t> </a:t>
            </a:r>
            <a:r>
              <a:rPr lang="de-AT" dirty="0" err="1"/>
              <a:t>diam</a:t>
            </a:r>
            <a:r>
              <a:rPr lang="de-AT" dirty="0"/>
              <a:t> </a:t>
            </a:r>
            <a:r>
              <a:rPr lang="de-AT" dirty="0" err="1"/>
              <a:t>nonummy</a:t>
            </a:r>
            <a:r>
              <a:rPr lang="de-AT" dirty="0"/>
              <a:t> </a:t>
            </a:r>
            <a:r>
              <a:rPr lang="de-AT" dirty="0" err="1"/>
              <a:t>nibh</a:t>
            </a:r>
            <a:r>
              <a:rPr lang="de-AT" dirty="0"/>
              <a:t> </a:t>
            </a:r>
            <a:r>
              <a:rPr lang="de-AT" dirty="0" err="1"/>
              <a:t>euismod</a:t>
            </a:r>
            <a:r>
              <a:rPr lang="de-AT" dirty="0"/>
              <a:t> </a:t>
            </a:r>
            <a:r>
              <a:rPr lang="de-AT" dirty="0" err="1"/>
              <a:t>tincidunt</a:t>
            </a:r>
            <a:r>
              <a:rPr lang="de-AT" dirty="0"/>
              <a:t> </a:t>
            </a:r>
            <a:r>
              <a:rPr lang="de-AT" dirty="0" err="1"/>
              <a:t>ut</a:t>
            </a:r>
            <a:r>
              <a:rPr lang="de-AT" dirty="0"/>
              <a:t> </a:t>
            </a:r>
            <a:r>
              <a:rPr lang="de-AT" dirty="0" err="1"/>
              <a:t>laoreet</a:t>
            </a:r>
            <a:r>
              <a:rPr lang="de-AT" dirty="0"/>
              <a:t> </a:t>
            </a:r>
            <a:r>
              <a:rPr lang="de-AT" dirty="0" err="1"/>
              <a:t>dolore</a:t>
            </a:r>
            <a:r>
              <a:rPr lang="de-AT" dirty="0"/>
              <a:t> magna </a:t>
            </a:r>
            <a:r>
              <a:rPr lang="de-AT" dirty="0" err="1"/>
              <a:t>aliquam</a:t>
            </a:r>
            <a:r>
              <a:rPr lang="de-AT" dirty="0"/>
              <a:t> </a:t>
            </a:r>
            <a:r>
              <a:rPr lang="de-AT" dirty="0" err="1"/>
              <a:t>erat</a:t>
            </a:r>
            <a:r>
              <a:rPr lang="de-AT" dirty="0"/>
              <a:t> </a:t>
            </a:r>
            <a:r>
              <a:rPr lang="de-AT" dirty="0" err="1"/>
              <a:t>volutpat</a:t>
            </a:r>
            <a:r>
              <a:rPr lang="de-AT" dirty="0"/>
              <a:t>.</a:t>
            </a:r>
          </a:p>
          <a:p>
            <a:pPr>
              <a:buNone/>
            </a:pPr>
            <a:endParaRPr lang="de-AT" dirty="0"/>
          </a:p>
          <a:p>
            <a:pPr>
              <a:buNone/>
            </a:pPr>
            <a:r>
              <a:rPr lang="de-AT" dirty="0"/>
              <a:t>Duis </a:t>
            </a:r>
            <a:r>
              <a:rPr lang="de-AT" dirty="0" err="1"/>
              <a:t>autem</a:t>
            </a:r>
            <a:r>
              <a:rPr lang="de-AT" dirty="0"/>
              <a:t> </a:t>
            </a:r>
            <a:r>
              <a:rPr lang="de-AT" dirty="0" err="1"/>
              <a:t>vel</a:t>
            </a:r>
            <a:r>
              <a:rPr lang="de-AT" dirty="0"/>
              <a:t> </a:t>
            </a:r>
            <a:r>
              <a:rPr lang="de-AT" dirty="0" err="1"/>
              <a:t>eum</a:t>
            </a:r>
            <a:r>
              <a:rPr lang="de-AT" dirty="0"/>
              <a:t> </a:t>
            </a:r>
            <a:r>
              <a:rPr lang="de-AT" dirty="0" err="1"/>
              <a:t>iriure</a:t>
            </a:r>
            <a:r>
              <a:rPr lang="de-AT" dirty="0"/>
              <a:t> </a:t>
            </a:r>
            <a:r>
              <a:rPr lang="de-AT" dirty="0" err="1"/>
              <a:t>dolor</a:t>
            </a:r>
            <a:r>
              <a:rPr lang="de-AT" dirty="0"/>
              <a:t> in </a:t>
            </a:r>
            <a:r>
              <a:rPr lang="de-AT" dirty="0" err="1"/>
              <a:t>hendrerit</a:t>
            </a:r>
            <a:r>
              <a:rPr lang="de-AT" dirty="0"/>
              <a:t> in </a:t>
            </a:r>
            <a:r>
              <a:rPr lang="de-AT" dirty="0" err="1"/>
              <a:t>vulputate</a:t>
            </a:r>
            <a:r>
              <a:rPr lang="de-AT" dirty="0"/>
              <a:t> </a:t>
            </a:r>
            <a:r>
              <a:rPr lang="de-AT" dirty="0" err="1"/>
              <a:t>velit</a:t>
            </a:r>
            <a:r>
              <a:rPr lang="de-AT" dirty="0"/>
              <a:t> esse </a:t>
            </a:r>
            <a:r>
              <a:rPr lang="de-AT" dirty="0" err="1"/>
              <a:t>molestie</a:t>
            </a:r>
            <a:r>
              <a:rPr lang="de-AT" dirty="0"/>
              <a:t> </a:t>
            </a:r>
            <a:r>
              <a:rPr lang="de-AT" dirty="0" err="1"/>
              <a:t>consequat</a:t>
            </a:r>
            <a:r>
              <a:rPr lang="de-AT" dirty="0"/>
              <a:t>, </a:t>
            </a:r>
            <a:r>
              <a:rPr lang="de-AT" dirty="0" err="1"/>
              <a:t>vel</a:t>
            </a:r>
            <a:r>
              <a:rPr lang="de-AT" dirty="0"/>
              <a:t> </a:t>
            </a:r>
            <a:r>
              <a:rPr lang="de-AT" dirty="0" err="1"/>
              <a:t>illum</a:t>
            </a:r>
            <a:r>
              <a:rPr lang="de-AT" dirty="0"/>
              <a:t> </a:t>
            </a:r>
            <a:r>
              <a:rPr lang="de-AT" dirty="0" err="1"/>
              <a:t>dolore</a:t>
            </a:r>
            <a:r>
              <a:rPr lang="de-AT" dirty="0"/>
              <a:t> </a:t>
            </a:r>
            <a:r>
              <a:rPr lang="de-AT" dirty="0" err="1"/>
              <a:t>eu</a:t>
            </a:r>
            <a:r>
              <a:rPr lang="de-AT" dirty="0"/>
              <a:t> </a:t>
            </a:r>
            <a:r>
              <a:rPr lang="de-AT" dirty="0" err="1"/>
              <a:t>feugiat</a:t>
            </a:r>
            <a:r>
              <a:rPr lang="de-AT" dirty="0"/>
              <a:t> </a:t>
            </a:r>
            <a:r>
              <a:rPr lang="de-AT" dirty="0" err="1"/>
              <a:t>nulla</a:t>
            </a:r>
            <a:r>
              <a:rPr lang="de-AT" dirty="0"/>
              <a:t> </a:t>
            </a:r>
            <a:r>
              <a:rPr lang="de-AT" dirty="0" err="1"/>
              <a:t>facilisis</a:t>
            </a:r>
            <a:r>
              <a:rPr lang="de-AT" dirty="0"/>
              <a:t> </a:t>
            </a:r>
            <a:r>
              <a:rPr lang="de-AT" dirty="0" err="1"/>
              <a:t>at</a:t>
            </a:r>
            <a:r>
              <a:rPr lang="de-AT" dirty="0"/>
              <a:t> </a:t>
            </a:r>
            <a:r>
              <a:rPr lang="de-AT" dirty="0" err="1"/>
              <a:t>vero</a:t>
            </a:r>
            <a:r>
              <a:rPr lang="de-AT" dirty="0"/>
              <a:t> et </a:t>
            </a:r>
            <a:r>
              <a:rPr lang="de-AT" dirty="0" err="1"/>
              <a:t>accumsan</a:t>
            </a:r>
            <a:r>
              <a:rPr lang="de-AT" dirty="0"/>
              <a:t> et </a:t>
            </a:r>
            <a:r>
              <a:rPr lang="de-AT" dirty="0" err="1"/>
              <a:t>iusto</a:t>
            </a:r>
            <a:r>
              <a:rPr lang="de-AT" dirty="0"/>
              <a:t> </a:t>
            </a:r>
            <a:r>
              <a:rPr lang="de-AT" dirty="0" err="1"/>
              <a:t>odio</a:t>
            </a:r>
            <a:r>
              <a:rPr lang="de-AT" dirty="0"/>
              <a:t> </a:t>
            </a:r>
            <a:r>
              <a:rPr lang="de-AT" dirty="0" err="1"/>
              <a:t>dignissim</a:t>
            </a:r>
            <a:r>
              <a:rPr lang="de-AT" dirty="0"/>
              <a:t> </a:t>
            </a:r>
            <a:r>
              <a:rPr lang="de-AT" dirty="0" err="1"/>
              <a:t>qui</a:t>
            </a:r>
            <a:r>
              <a:rPr lang="de-AT" dirty="0"/>
              <a:t> </a:t>
            </a:r>
            <a:r>
              <a:rPr lang="de-AT" dirty="0" err="1"/>
              <a:t>blandit</a:t>
            </a:r>
            <a:r>
              <a:rPr lang="de-AT" dirty="0"/>
              <a:t> </a:t>
            </a:r>
            <a:r>
              <a:rPr lang="de-AT" dirty="0" err="1"/>
              <a:t>praesent</a:t>
            </a:r>
            <a:r>
              <a:rPr lang="de-AT" dirty="0"/>
              <a:t> </a:t>
            </a:r>
            <a:r>
              <a:rPr lang="de-AT" dirty="0" err="1"/>
              <a:t>luptatum</a:t>
            </a:r>
            <a:r>
              <a:rPr lang="de-AT" dirty="0"/>
              <a:t> </a:t>
            </a:r>
            <a:r>
              <a:rPr lang="de-AT" dirty="0" err="1"/>
              <a:t>zzril</a:t>
            </a:r>
            <a:r>
              <a:rPr lang="de-AT" dirty="0"/>
              <a:t> </a:t>
            </a:r>
            <a:r>
              <a:rPr lang="de-AT" dirty="0" err="1"/>
              <a:t>delenit</a:t>
            </a:r>
            <a:r>
              <a:rPr lang="de-AT" dirty="0"/>
              <a:t> </a:t>
            </a:r>
            <a:r>
              <a:rPr lang="de-AT" dirty="0" err="1"/>
              <a:t>augue</a:t>
            </a:r>
            <a:r>
              <a:rPr lang="de-AT" dirty="0"/>
              <a:t> </a:t>
            </a:r>
            <a:r>
              <a:rPr lang="de-AT" dirty="0" err="1"/>
              <a:t>duis</a:t>
            </a:r>
            <a:r>
              <a:rPr lang="de-AT" dirty="0"/>
              <a:t> </a:t>
            </a:r>
            <a:r>
              <a:rPr lang="de-AT" dirty="0" err="1"/>
              <a:t>dolore</a:t>
            </a:r>
            <a:r>
              <a:rPr lang="de-AT" dirty="0"/>
              <a:t> </a:t>
            </a:r>
            <a:r>
              <a:rPr lang="de-AT" dirty="0" err="1"/>
              <a:t>te</a:t>
            </a:r>
            <a:r>
              <a:rPr lang="de-AT" dirty="0"/>
              <a:t> </a:t>
            </a:r>
            <a:r>
              <a:rPr lang="de-AT" dirty="0" err="1"/>
              <a:t>feugait</a:t>
            </a:r>
            <a:r>
              <a:rPr lang="de-AT" dirty="0"/>
              <a:t> </a:t>
            </a:r>
            <a:r>
              <a:rPr lang="de-AT" dirty="0" err="1"/>
              <a:t>nulla</a:t>
            </a:r>
            <a:r>
              <a:rPr lang="de-AT" dirty="0"/>
              <a:t> </a:t>
            </a:r>
            <a:r>
              <a:rPr lang="de-AT" dirty="0" err="1"/>
              <a:t>facilisi</a:t>
            </a:r>
            <a:r>
              <a:rPr lang="de-AT" dirty="0"/>
              <a:t>.</a:t>
            </a:r>
            <a:endParaRPr lang="de-DE" dirty="0"/>
          </a:p>
        </p:txBody>
      </p:sp>
      <p:sp>
        <p:nvSpPr>
          <p:cNvPr id="4" name="Foliennummernplatzhalter 3"/>
          <p:cNvSpPr>
            <a:spLocks noGrp="1"/>
          </p:cNvSpPr>
          <p:nvPr>
            <p:ph type="sldNum" sz="quarter" idx="10"/>
          </p:nvPr>
        </p:nvSpPr>
        <p:spPr/>
        <p:txBody>
          <a:bodyPr/>
          <a:lstStyle>
            <a:lvl1pPr>
              <a:defRPr/>
            </a:lvl1pPr>
          </a:lstStyle>
          <a:p>
            <a:fld id="{01920E2B-FC99-4A38-BFFD-416A818AECB0}" type="slidenum">
              <a:rPr lang="de-AT"/>
              <a:pPr/>
              <a:t>‹Nr.›</a:t>
            </a:fld>
            <a:endParaRPr lang="de-AT"/>
          </a:p>
        </p:txBody>
      </p:sp>
    </p:spTree>
    <p:extLst>
      <p:ext uri="{BB962C8B-B14F-4D97-AF65-F5344CB8AC3E}">
        <p14:creationId xmlns:p14="http://schemas.microsoft.com/office/powerpoint/2010/main" val="385550444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39861" y="2673897"/>
            <a:ext cx="10363200" cy="1362075"/>
          </a:xfrm>
        </p:spPr>
        <p:txBody>
          <a:bodyPr anchor="t">
            <a:normAutofit/>
          </a:bodyPr>
          <a:lstStyle>
            <a:lvl1pPr algn="l">
              <a:defRPr sz="3400" b="0" cap="none" baseline="0">
                <a:solidFill>
                  <a:srgbClr val="6F6F6F"/>
                </a:solidFill>
              </a:defRPr>
            </a:lvl1pPr>
          </a:lstStyle>
          <a:p>
            <a:r>
              <a:rPr lang="de-DE"/>
              <a:t>Mastertitelformat bearbeiten</a:t>
            </a:r>
            <a:endParaRPr lang="de-AT" dirty="0"/>
          </a:p>
        </p:txBody>
      </p:sp>
      <p:sp>
        <p:nvSpPr>
          <p:cNvPr id="3" name="Textplatzhalter 2"/>
          <p:cNvSpPr>
            <a:spLocks noGrp="1"/>
          </p:cNvSpPr>
          <p:nvPr>
            <p:ph type="body" idx="1"/>
          </p:nvPr>
        </p:nvSpPr>
        <p:spPr>
          <a:xfrm>
            <a:off x="939860" y="4047539"/>
            <a:ext cx="10363200" cy="1500187"/>
          </a:xfrm>
          <a:prstGeom prst="rect">
            <a:avLst/>
          </a:prstGeom>
        </p:spPr>
        <p:txBody>
          <a:bodyPr anchor="b"/>
          <a:lstStyle>
            <a:lvl1pPr marL="0" indent="0">
              <a:buFont typeface="Wingdings" pitchFamily="2" charset="2"/>
              <a:buNone/>
              <a:defRPr sz="2000"/>
            </a:lvl1pPr>
            <a:lvl2pPr marL="627063" indent="-269875">
              <a:buFont typeface="Wingdings" pitchFamily="2" charset="2"/>
              <a:buChar char="§"/>
              <a:defRPr sz="1800"/>
            </a:lvl2pPr>
            <a:lvl3pPr marL="914400" indent="-287338">
              <a:buFont typeface="Symbol" pitchFamily="18" charset="2"/>
              <a:buChar char="-"/>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Mastertextformat bearbeiten</a:t>
            </a:r>
          </a:p>
        </p:txBody>
      </p:sp>
      <p:sp>
        <p:nvSpPr>
          <p:cNvPr id="4" name="Foliennummernplatzhalter 3"/>
          <p:cNvSpPr>
            <a:spLocks noGrp="1"/>
          </p:cNvSpPr>
          <p:nvPr>
            <p:ph type="sldNum" sz="quarter" idx="10"/>
          </p:nvPr>
        </p:nvSpPr>
        <p:spPr/>
        <p:txBody>
          <a:bodyPr/>
          <a:lstStyle>
            <a:lvl1pPr>
              <a:defRPr/>
            </a:lvl1pPr>
          </a:lstStyle>
          <a:p>
            <a:fld id="{6C31F813-4BA3-4827-8E55-372EE6655F87}" type="slidenum">
              <a:rPr lang="de-AT"/>
              <a:pPr/>
              <a:t>‹Nr.›</a:t>
            </a:fld>
            <a:endParaRPr lang="de-AT"/>
          </a:p>
        </p:txBody>
      </p:sp>
    </p:spTree>
    <p:extLst>
      <p:ext uri="{BB962C8B-B14F-4D97-AF65-F5344CB8AC3E}">
        <p14:creationId xmlns:p14="http://schemas.microsoft.com/office/powerpoint/2010/main" val="398126698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755653" y="188916"/>
            <a:ext cx="10678579" cy="936625"/>
          </a:xfrm>
        </p:spPr>
        <p:txBody>
          <a:bodyPr/>
          <a:lstStyle>
            <a:lvl1pPr>
              <a:defRPr b="0">
                <a:solidFill>
                  <a:schemeClr val="tx1"/>
                </a:solidFill>
              </a:defRPr>
            </a:lvl1pPr>
          </a:lstStyle>
          <a:p>
            <a:r>
              <a:rPr lang="de-DE" dirty="0"/>
              <a:t>Mastertitelformat bearbeiten</a:t>
            </a:r>
            <a:endParaRPr lang="de-AT" dirty="0"/>
          </a:p>
        </p:txBody>
      </p:sp>
      <p:sp>
        <p:nvSpPr>
          <p:cNvPr id="3" name="Inhaltsplatzhalter 2"/>
          <p:cNvSpPr>
            <a:spLocks noGrp="1"/>
          </p:cNvSpPr>
          <p:nvPr>
            <p:ph sz="half" idx="1"/>
          </p:nvPr>
        </p:nvSpPr>
        <p:spPr>
          <a:xfrm>
            <a:off x="755653" y="1484316"/>
            <a:ext cx="5232400" cy="4537075"/>
          </a:xfrm>
          <a:prstGeom prst="rect">
            <a:avLst/>
          </a:prstGeom>
        </p:spPr>
        <p:txBody>
          <a:bodyPr/>
          <a:lstStyle>
            <a:lvl1pPr>
              <a:defRPr sz="22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dirty="0"/>
          </a:p>
        </p:txBody>
      </p:sp>
      <p:sp>
        <p:nvSpPr>
          <p:cNvPr id="4" name="Inhaltsplatzhalter 3"/>
          <p:cNvSpPr>
            <a:spLocks noGrp="1"/>
          </p:cNvSpPr>
          <p:nvPr>
            <p:ph sz="half" idx="2"/>
          </p:nvPr>
        </p:nvSpPr>
        <p:spPr>
          <a:xfrm>
            <a:off x="6191253" y="1484316"/>
            <a:ext cx="5232400" cy="4537075"/>
          </a:xfrm>
          <a:prstGeom prst="rect">
            <a:avLst/>
          </a:prstGeom>
        </p:spPr>
        <p:txBody>
          <a:bodyPr/>
          <a:lstStyle>
            <a:lvl1pPr>
              <a:defRPr sz="22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dirty="0"/>
          </a:p>
        </p:txBody>
      </p:sp>
      <p:sp>
        <p:nvSpPr>
          <p:cNvPr id="5" name="Foliennummernplatzhalter 4"/>
          <p:cNvSpPr>
            <a:spLocks noGrp="1"/>
          </p:cNvSpPr>
          <p:nvPr>
            <p:ph type="sldNum" sz="quarter" idx="10"/>
          </p:nvPr>
        </p:nvSpPr>
        <p:spPr/>
        <p:txBody>
          <a:bodyPr/>
          <a:lstStyle>
            <a:lvl1pPr>
              <a:defRPr/>
            </a:lvl1pPr>
          </a:lstStyle>
          <a:p>
            <a:fld id="{A255C770-9D76-44A7-B3EB-A40A89005603}" type="slidenum">
              <a:rPr lang="de-AT"/>
              <a:pPr/>
              <a:t>‹Nr.›</a:t>
            </a:fld>
            <a:endParaRPr lang="de-AT"/>
          </a:p>
        </p:txBody>
      </p:sp>
    </p:spTree>
    <p:extLst>
      <p:ext uri="{BB962C8B-B14F-4D97-AF65-F5344CB8AC3E}">
        <p14:creationId xmlns:p14="http://schemas.microsoft.com/office/powerpoint/2010/main" val="40707652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65756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de-DE"/>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8" name="Slide Number">
            <a:extLst>
              <a:ext uri="{FF2B5EF4-FFF2-40B4-BE49-F238E27FC236}">
                <a16:creationId xmlns:a16="http://schemas.microsoft.com/office/drawing/2014/main" id="{1A51FC7F-99A8-4EAF-9223-6B974A470419}"/>
              </a:ext>
            </a:extLst>
          </p:cNvPr>
          <p:cNvSpPr>
            <a:spLocks noChangeArrowheads="1"/>
          </p:cNvSpPr>
          <p:nvPr userDrawn="1">
            <p:custDataLst>
              <p:tags r:id="rId5"/>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4EE12332-EFAE-4F87-A522-2926FABA0C99}"/>
              </a:ext>
            </a:extLst>
          </p:cNvPr>
          <p:cNvSpPr txBox="1"/>
          <p:nvPr userDrawn="1">
            <p:custDataLst>
              <p:tags r:id="rId6"/>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Tree>
    <p:extLst>
      <p:ext uri="{BB962C8B-B14F-4D97-AF65-F5344CB8AC3E}">
        <p14:creationId xmlns:p14="http://schemas.microsoft.com/office/powerpoint/2010/main" val="102775392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881062"/>
          </a:xfrm>
        </p:spPr>
        <p:txBody>
          <a:bodyPr/>
          <a:lstStyle>
            <a:lvl1pPr>
              <a:defRPr>
                <a:solidFill>
                  <a:srgbClr val="6F6F6F"/>
                </a:solidFill>
              </a:defRPr>
            </a:lvl1pPr>
          </a:lstStyle>
          <a:p>
            <a:r>
              <a:rPr lang="de-DE"/>
              <a:t>Mastertitelformat bearbeiten</a:t>
            </a:r>
            <a:endParaRPr lang="de-AT" dirty="0"/>
          </a:p>
        </p:txBody>
      </p:sp>
      <p:sp>
        <p:nvSpPr>
          <p:cNvPr id="3" name="Textplatzhalter 2"/>
          <p:cNvSpPr>
            <a:spLocks noGrp="1"/>
          </p:cNvSpPr>
          <p:nvPr>
            <p:ph type="body" idx="1"/>
          </p:nvPr>
        </p:nvSpPr>
        <p:spPr>
          <a:xfrm>
            <a:off x="609602" y="1435102"/>
            <a:ext cx="5386917" cy="739775"/>
          </a:xfrm>
          <a:prstGeom prst="rect">
            <a:avLst/>
          </a:prstGeom>
        </p:spPr>
        <p:txBody>
          <a:bodyPr anchor="b">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p:cNvSpPr>
            <a:spLocks noGrp="1"/>
          </p:cNvSpPr>
          <p:nvPr>
            <p:ph sz="half" idx="2"/>
          </p:nvPr>
        </p:nvSpPr>
        <p:spPr>
          <a:xfrm>
            <a:off x="609602" y="2174875"/>
            <a:ext cx="5386917" cy="3951288"/>
          </a:xfrm>
          <a:prstGeom prst="rect">
            <a:avLst/>
          </a:prstGeom>
        </p:spPr>
        <p:txBody>
          <a:bodyPr/>
          <a:lstStyle>
            <a:lvl1pPr>
              <a:defRPr sz="22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dirty="0"/>
          </a:p>
        </p:txBody>
      </p:sp>
      <p:sp>
        <p:nvSpPr>
          <p:cNvPr id="5" name="Textplatzhalter 4"/>
          <p:cNvSpPr>
            <a:spLocks noGrp="1"/>
          </p:cNvSpPr>
          <p:nvPr>
            <p:ph type="body" sz="quarter" idx="3"/>
          </p:nvPr>
        </p:nvSpPr>
        <p:spPr>
          <a:xfrm>
            <a:off x="6193369" y="1435102"/>
            <a:ext cx="5389032" cy="739775"/>
          </a:xfrm>
          <a:prstGeom prst="rect">
            <a:avLst/>
          </a:prstGeom>
        </p:spPr>
        <p:txBody>
          <a:bodyPr anchor="b">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p:cNvSpPr>
            <a:spLocks noGrp="1"/>
          </p:cNvSpPr>
          <p:nvPr>
            <p:ph sz="quarter" idx="4"/>
          </p:nvPr>
        </p:nvSpPr>
        <p:spPr>
          <a:xfrm>
            <a:off x="6193369" y="2174875"/>
            <a:ext cx="5389032" cy="3951288"/>
          </a:xfrm>
          <a:prstGeom prst="rect">
            <a:avLst/>
          </a:prstGeom>
        </p:spPr>
        <p:txBody>
          <a:bodyPr/>
          <a:lstStyle>
            <a:lvl1pPr>
              <a:defRPr sz="22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dirty="0"/>
          </a:p>
        </p:txBody>
      </p:sp>
      <p:sp>
        <p:nvSpPr>
          <p:cNvPr id="7" name="Foliennummernplatzhalter 6"/>
          <p:cNvSpPr>
            <a:spLocks noGrp="1"/>
          </p:cNvSpPr>
          <p:nvPr>
            <p:ph type="sldNum" sz="quarter" idx="10"/>
          </p:nvPr>
        </p:nvSpPr>
        <p:spPr/>
        <p:txBody>
          <a:bodyPr/>
          <a:lstStyle>
            <a:lvl1pPr>
              <a:defRPr/>
            </a:lvl1pPr>
          </a:lstStyle>
          <a:p>
            <a:fld id="{7141CF51-9DD8-44D8-9FC2-E537D07F8618}" type="slidenum">
              <a:rPr lang="de-AT"/>
              <a:pPr/>
              <a:t>‹Nr.›</a:t>
            </a:fld>
            <a:endParaRPr lang="de-AT"/>
          </a:p>
        </p:txBody>
      </p:sp>
    </p:spTree>
    <p:extLst>
      <p:ext uri="{BB962C8B-B14F-4D97-AF65-F5344CB8AC3E}">
        <p14:creationId xmlns:p14="http://schemas.microsoft.com/office/powerpoint/2010/main" val="155492627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rgbClr val="6F6F6F"/>
                </a:solidFill>
              </a:defRPr>
            </a:lvl1pPr>
          </a:lstStyle>
          <a:p>
            <a:r>
              <a:rPr lang="de-DE"/>
              <a:t>Mastertitelformat bearbeiten</a:t>
            </a:r>
            <a:endParaRPr lang="de-AT" dirty="0"/>
          </a:p>
        </p:txBody>
      </p:sp>
      <p:sp>
        <p:nvSpPr>
          <p:cNvPr id="3" name="Foliennummernplatzhalter 2"/>
          <p:cNvSpPr>
            <a:spLocks noGrp="1"/>
          </p:cNvSpPr>
          <p:nvPr>
            <p:ph type="sldNum" sz="quarter" idx="10"/>
          </p:nvPr>
        </p:nvSpPr>
        <p:spPr/>
        <p:txBody>
          <a:bodyPr/>
          <a:lstStyle>
            <a:lvl1pPr>
              <a:defRPr/>
            </a:lvl1pPr>
          </a:lstStyle>
          <a:p>
            <a:fld id="{ACDA101C-1C77-4D48-BD39-A39536584314}" type="slidenum">
              <a:rPr lang="de-AT"/>
              <a:pPr/>
              <a:t>‹Nr.›</a:t>
            </a:fld>
            <a:endParaRPr lang="de-AT"/>
          </a:p>
        </p:txBody>
      </p:sp>
    </p:spTree>
    <p:extLst>
      <p:ext uri="{BB962C8B-B14F-4D97-AF65-F5344CB8AC3E}">
        <p14:creationId xmlns:p14="http://schemas.microsoft.com/office/powerpoint/2010/main" val="389867935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lvl1pPr>
              <a:defRPr/>
            </a:lvl1pPr>
          </a:lstStyle>
          <a:p>
            <a:fld id="{ABAC9611-BD30-46E2-A07B-CD5A3A7C3066}" type="slidenum">
              <a:rPr lang="de-AT"/>
              <a:pPr/>
              <a:t>‹Nr.›</a:t>
            </a:fld>
            <a:endParaRPr lang="de-AT"/>
          </a:p>
        </p:txBody>
      </p:sp>
    </p:spTree>
    <p:extLst>
      <p:ext uri="{BB962C8B-B14F-4D97-AF65-F5344CB8AC3E}">
        <p14:creationId xmlns:p14="http://schemas.microsoft.com/office/powerpoint/2010/main" val="88299032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2" y="273050"/>
            <a:ext cx="4011084" cy="1162050"/>
          </a:xfrm>
        </p:spPr>
        <p:txBody>
          <a:bodyPr/>
          <a:lstStyle>
            <a:lvl1pPr algn="l">
              <a:defRPr sz="3000" b="0">
                <a:solidFill>
                  <a:srgbClr val="6F6F6F"/>
                </a:solidFill>
                <a:latin typeface="+mj-lt"/>
              </a:defRPr>
            </a:lvl1pPr>
          </a:lstStyle>
          <a:p>
            <a:r>
              <a:rPr lang="de-DE"/>
              <a:t>Mastertitelformat bearbeiten</a:t>
            </a:r>
            <a:endParaRPr lang="de-AT" dirty="0"/>
          </a:p>
        </p:txBody>
      </p:sp>
      <p:sp>
        <p:nvSpPr>
          <p:cNvPr id="3" name="Inhaltsplatzhalter 2"/>
          <p:cNvSpPr>
            <a:spLocks noGrp="1"/>
          </p:cNvSpPr>
          <p:nvPr>
            <p:ph idx="1"/>
          </p:nvPr>
        </p:nvSpPr>
        <p:spPr>
          <a:xfrm>
            <a:off x="4766734" y="273053"/>
            <a:ext cx="6815668" cy="5853113"/>
          </a:xfrm>
          <a:prstGeom prst="rect">
            <a:avLst/>
          </a:prstGeom>
        </p:spPr>
        <p:txBody>
          <a:bodyPr/>
          <a:lstStyle>
            <a:lvl1pPr>
              <a:defRPr sz="22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dirty="0"/>
          </a:p>
        </p:txBody>
      </p:sp>
      <p:sp>
        <p:nvSpPr>
          <p:cNvPr id="4" name="Textplatzhalter 3"/>
          <p:cNvSpPr>
            <a:spLocks noGrp="1"/>
          </p:cNvSpPr>
          <p:nvPr>
            <p:ph type="body" sz="half" idx="2"/>
          </p:nvPr>
        </p:nvSpPr>
        <p:spPr>
          <a:xfrm>
            <a:off x="609602" y="1435103"/>
            <a:ext cx="4011084" cy="4691063"/>
          </a:xfrm>
          <a:prstGeom prst="rect">
            <a:avLst/>
          </a:prstGeom>
        </p:spPr>
        <p:txBody>
          <a:bodyPr/>
          <a:lstStyle>
            <a:lvl1pPr marL="0" indent="0">
              <a:buFont typeface="Wingdings" pitchFamily="2" charset="2"/>
              <a:buNone/>
              <a:defRPr sz="1400"/>
            </a:lvl1pPr>
            <a:lvl2pPr marL="539750" indent="-269875">
              <a:buFont typeface="Wingdings" pitchFamily="2" charset="2"/>
              <a:buChar char="§"/>
              <a:defRPr sz="1200"/>
            </a:lvl2pPr>
            <a:lvl3pPr marL="914400" indent="-374650">
              <a:buFont typeface="Symbol" pitchFamily="18" charset="2"/>
              <a:buChar char="-"/>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Foliennummernplatzhalter 4"/>
          <p:cNvSpPr>
            <a:spLocks noGrp="1"/>
          </p:cNvSpPr>
          <p:nvPr>
            <p:ph type="sldNum" sz="quarter" idx="10"/>
          </p:nvPr>
        </p:nvSpPr>
        <p:spPr/>
        <p:txBody>
          <a:bodyPr/>
          <a:lstStyle>
            <a:lvl1pPr>
              <a:defRPr/>
            </a:lvl1pPr>
          </a:lstStyle>
          <a:p>
            <a:fld id="{CEA5547C-C2D5-4D2D-84FE-5CA36B8B2314}" type="slidenum">
              <a:rPr lang="de-AT"/>
              <a:pPr/>
              <a:t>‹Nr.›</a:t>
            </a:fld>
            <a:endParaRPr lang="de-AT"/>
          </a:p>
        </p:txBody>
      </p:sp>
    </p:spTree>
    <p:extLst>
      <p:ext uri="{BB962C8B-B14F-4D97-AF65-F5344CB8AC3E}">
        <p14:creationId xmlns:p14="http://schemas.microsoft.com/office/powerpoint/2010/main" val="360932468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lstStyle>
            <a:lvl1pPr algn="l">
              <a:defRPr sz="2000" b="1">
                <a:solidFill>
                  <a:srgbClr val="6F6F6F"/>
                </a:solidFill>
              </a:defRPr>
            </a:lvl1pPr>
          </a:lstStyle>
          <a:p>
            <a:r>
              <a:rPr lang="de-DE"/>
              <a:t>Mastertitelformat bearbeiten</a:t>
            </a:r>
            <a:endParaRPr lang="de-AT" dirty="0"/>
          </a:p>
        </p:txBody>
      </p:sp>
      <p:sp>
        <p:nvSpPr>
          <p:cNvPr id="3" name="Bildplatzhalt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de-AT"/>
          </a:p>
        </p:txBody>
      </p:sp>
      <p:sp>
        <p:nvSpPr>
          <p:cNvPr id="4" name="Textplatzhalter 3"/>
          <p:cNvSpPr>
            <a:spLocks noGrp="1"/>
          </p:cNvSpPr>
          <p:nvPr>
            <p:ph type="body" sz="half" idx="2"/>
          </p:nvPr>
        </p:nvSpPr>
        <p:spPr>
          <a:xfrm>
            <a:off x="2389717" y="5367338"/>
            <a:ext cx="7315200" cy="804862"/>
          </a:xfrm>
          <a:prstGeom prst="rect">
            <a:avLst/>
          </a:prstGeom>
        </p:spPr>
        <p:txBody>
          <a:bodyPr/>
          <a:lstStyle>
            <a:lvl1pPr marL="0" indent="0">
              <a:buFont typeface="Wingdings" pitchFamily="2" charset="2"/>
              <a:buNone/>
              <a:defRPr sz="1400"/>
            </a:lvl1pPr>
            <a:lvl2pPr marL="457200" indent="-187325">
              <a:buFont typeface="Wingdings" pitchFamily="2" charset="2"/>
              <a:buChar char="§"/>
              <a:defRPr sz="1200"/>
            </a:lvl2pPr>
            <a:lvl3pPr marL="914400" indent="-287338">
              <a:buFont typeface="Symbol" pitchFamily="18" charset="2"/>
              <a:buChar char="-"/>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Foliennummernplatzhalter 4"/>
          <p:cNvSpPr>
            <a:spLocks noGrp="1"/>
          </p:cNvSpPr>
          <p:nvPr>
            <p:ph type="sldNum" sz="quarter" idx="10"/>
          </p:nvPr>
        </p:nvSpPr>
        <p:spPr/>
        <p:txBody>
          <a:bodyPr/>
          <a:lstStyle>
            <a:lvl1pPr>
              <a:defRPr/>
            </a:lvl1pPr>
          </a:lstStyle>
          <a:p>
            <a:fld id="{C6D2457E-9482-4127-9268-A9166FE27573}" type="slidenum">
              <a:rPr lang="de-AT"/>
              <a:pPr/>
              <a:t>‹Nr.›</a:t>
            </a:fld>
            <a:endParaRPr lang="de-AT"/>
          </a:p>
        </p:txBody>
      </p:sp>
    </p:spTree>
    <p:extLst>
      <p:ext uri="{BB962C8B-B14F-4D97-AF65-F5344CB8AC3E}">
        <p14:creationId xmlns:p14="http://schemas.microsoft.com/office/powerpoint/2010/main" val="102654006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882116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Rechteck 1">
            <a:extLst>
              <a:ext uri="{FF2B5EF4-FFF2-40B4-BE49-F238E27FC236}">
                <a16:creationId xmlns:a16="http://schemas.microsoft.com/office/drawing/2014/main" id="{9EC25D41-B691-48CA-AC45-B4F8E2A26F3B}"/>
              </a:ext>
            </a:extLst>
          </p:cNvPr>
          <p:cNvSpPr/>
          <p:nvPr userDrawn="1"/>
        </p:nvSpPr>
        <p:spPr>
          <a:xfrm>
            <a:off x="0" y="0"/>
            <a:ext cx="12192000" cy="685800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solidFill>
                <a:schemeClr val="tx1"/>
              </a:solidFill>
              <a:latin typeface="Verdana" pitchFamily="34" charset="0"/>
              <a:ea typeface="Verdana" pitchFamily="34" charset="0"/>
              <a:cs typeface="Verdana" pitchFamily="34" charset="0"/>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232603" y="4386343"/>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1400" dirty="0"/>
            </a:lvl1pPr>
          </a:lstStyle>
          <a:p>
            <a:pPr lvl="0">
              <a:buNone/>
            </a:pPr>
            <a:r>
              <a:rPr lang="de-DE"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232603" y="3968734"/>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2000" dirty="0"/>
            </a:lvl1pPr>
          </a:lstStyle>
          <a:p>
            <a:pPr lvl="0">
              <a:buNone/>
            </a:pPr>
            <a:r>
              <a:rPr lang="en-US"/>
              <a:t>Click to edit Master subtitle style</a:t>
            </a:r>
            <a:endParaRPr lang="de-DE"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232603" y="3217964"/>
            <a:ext cx="9726795" cy="62972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de-DE" sz="4400" dirty="0"/>
            </a:lvl1pPr>
          </a:lstStyle>
          <a:p>
            <a:pPr lvl="0"/>
            <a:r>
              <a:rPr lang="en-US"/>
              <a:t>Click to edit Master title style</a:t>
            </a:r>
            <a:endParaRPr lang="de-DE" dirty="0"/>
          </a:p>
        </p:txBody>
      </p:sp>
      <p:pic>
        <p:nvPicPr>
          <p:cNvPr id="8" name="Picture 24">
            <a:extLst>
              <a:ext uri="{FF2B5EF4-FFF2-40B4-BE49-F238E27FC236}">
                <a16:creationId xmlns:a16="http://schemas.microsoft.com/office/drawing/2014/main" id="{C2C6AA7B-ABAA-4B2A-8924-BC807341FB90}"/>
              </a:ext>
            </a:extLst>
          </p:cNvPr>
          <p:cNvPicPr>
            <a:picLocks noChangeAspect="1" noChangeArrowheads="1"/>
          </p:cNvPicPr>
          <p:nvPr userDrawn="1"/>
        </p:nvPicPr>
        <p:blipFill>
          <a:blip r:embed="rId9"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Tree>
    <p:extLst>
      <p:ext uri="{BB962C8B-B14F-4D97-AF65-F5344CB8AC3E}">
        <p14:creationId xmlns:p14="http://schemas.microsoft.com/office/powerpoint/2010/main" val="334872888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278612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57620"/>
            <a:ext cx="6967728" cy="357790"/>
          </a:xfrm>
        </p:spPr>
        <p:txBody>
          <a:bodyPr vert="horz">
            <a:spAutoFit/>
          </a:bodyPr>
          <a:lstStyle>
            <a:lvl1pPr rtl="0">
              <a:defRPr/>
            </a:lvl1pPr>
          </a:lstStyle>
          <a:p>
            <a:r>
              <a:rPr lang="en-US"/>
              <a:t>Click to edit Master title style</a:t>
            </a:r>
            <a:endParaRPr lang="de-DE"/>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de-DE">
              <a:solidFill>
                <a:schemeClr val="tx1"/>
              </a:solidFill>
              <a:latin typeface="Verdana" pitchFamily="34" charset="0"/>
              <a:ea typeface="Verdana"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47825"/>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1" name="Slide Number">
            <a:extLst>
              <a:ext uri="{FF2B5EF4-FFF2-40B4-BE49-F238E27FC236}">
                <a16:creationId xmlns:a16="http://schemas.microsoft.com/office/drawing/2014/main" id="{BC9EEB5F-3BA3-4278-B669-92BAB780CEB4}"/>
              </a:ext>
            </a:extLst>
          </p:cNvPr>
          <p:cNvSpPr>
            <a:spLocks noChangeArrowheads="1"/>
          </p:cNvSpPr>
          <p:nvPr userDrawn="1">
            <p:custDataLst>
              <p:tags r:id="rId7"/>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D1AC80BD-F159-4728-977A-428E00807B8B}"/>
              </a:ext>
            </a:extLst>
          </p:cNvPr>
          <p:cNvSpPr txBox="1"/>
          <p:nvPr userDrawn="1">
            <p:custDataLst>
              <p:tags r:id="rId8"/>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4" name="Picture 24">
            <a:extLst>
              <a:ext uri="{FF2B5EF4-FFF2-40B4-BE49-F238E27FC236}">
                <a16:creationId xmlns:a16="http://schemas.microsoft.com/office/drawing/2014/main" id="{254AC017-59F1-42D6-AEDF-51B0F7C29C54}"/>
              </a:ext>
            </a:extLst>
          </p:cNvPr>
          <p:cNvPicPr>
            <a:picLocks noChangeAspect="1" noChangeArrowheads="1"/>
          </p:cNvPicPr>
          <p:nvPr userDrawn="1"/>
        </p:nvPicPr>
        <p:blipFill>
          <a:blip r:embed="rId12"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Tree>
    <p:extLst>
      <p:ext uri="{BB962C8B-B14F-4D97-AF65-F5344CB8AC3E}">
        <p14:creationId xmlns:p14="http://schemas.microsoft.com/office/powerpoint/2010/main" val="155310635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5F4741A-23E7-3853-3F22-5EB693CDC640}"/>
              </a:ext>
            </a:extLst>
          </p:cNvPr>
          <p:cNvGraphicFramePr>
            <a:graphicFrameLocks noChangeAspect="1"/>
          </p:cNvGraphicFramePr>
          <p:nvPr userDrawn="1">
            <p:custDataLst>
              <p:tags r:id="rId1"/>
            </p:custDataLst>
            <p:extLst>
              <p:ext uri="{D42A27DB-BD31-4B8C-83A1-F6EECF244321}">
                <p14:modId xmlns:p14="http://schemas.microsoft.com/office/powerpoint/2010/main" val="87753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A5F4741A-23E7-3853-3F22-5EB693CDC6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4">
            <a:extLst>
              <a:ext uri="{FF2B5EF4-FFF2-40B4-BE49-F238E27FC236}">
                <a16:creationId xmlns:a16="http://schemas.microsoft.com/office/drawing/2014/main" id="{8880B986-AF84-83FC-C678-58030B4CD19F}"/>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tretch>
            <a:fillRect/>
          </a:stretch>
        </p:blipFill>
        <p:spPr bwMode="auto">
          <a:xfrm>
            <a:off x="10742580" y="6332378"/>
            <a:ext cx="1116013" cy="346688"/>
          </a:xfrm>
          <a:prstGeom prst="rect">
            <a:avLst/>
          </a:prstGeom>
          <a:noFill/>
        </p:spPr>
      </p:pic>
      <p:sp>
        <p:nvSpPr>
          <p:cNvPr id="27650" name="Rectangle 2"/>
          <p:cNvSpPr>
            <a:spLocks noGrp="1" noChangeArrowheads="1"/>
          </p:cNvSpPr>
          <p:nvPr>
            <p:ph type="ctrTitle" hasCustomPrompt="1"/>
          </p:nvPr>
        </p:nvSpPr>
        <p:spPr>
          <a:xfrm>
            <a:off x="814919" y="2133600"/>
            <a:ext cx="10278532" cy="1371600"/>
          </a:xfrm>
        </p:spPr>
        <p:txBody>
          <a:bodyPr vert="horz">
            <a:normAutofit/>
          </a:bodyPr>
          <a:lstStyle>
            <a:lvl1pPr>
              <a:lnSpc>
                <a:spcPct val="100000"/>
              </a:lnSpc>
              <a:defRPr sz="3000">
                <a:solidFill>
                  <a:schemeClr val="tx1"/>
                </a:solidFill>
                <a:latin typeface="+mj-lt"/>
                <a:sym typeface="Bahnschrift" panose="020B0502040204020203" pitchFamily="34" charset="0"/>
              </a:defRPr>
            </a:lvl1pPr>
          </a:lstStyle>
          <a:p>
            <a:r>
              <a:rPr lang="de-AT" dirty="0"/>
              <a:t>Prototypische Headline</a:t>
            </a:r>
            <a:br>
              <a:rPr lang="de-AT" dirty="0"/>
            </a:br>
            <a:r>
              <a:rPr lang="de-AT" dirty="0"/>
              <a:t>für Deckblatt</a:t>
            </a:r>
          </a:p>
        </p:txBody>
      </p:sp>
      <p:sp>
        <p:nvSpPr>
          <p:cNvPr id="27651" name="Rectangle 3"/>
          <p:cNvSpPr>
            <a:spLocks noGrp="1" noChangeArrowheads="1"/>
          </p:cNvSpPr>
          <p:nvPr>
            <p:ph type="subTitle" idx="1" hasCustomPrompt="1"/>
          </p:nvPr>
        </p:nvSpPr>
        <p:spPr>
          <a:xfrm>
            <a:off x="814920" y="3729038"/>
            <a:ext cx="10306049" cy="1600200"/>
          </a:xfrm>
          <a:prstGeom prst="rect">
            <a:avLst/>
          </a:prstGeom>
        </p:spPr>
        <p:txBody>
          <a:bodyPr>
            <a:normAutofit/>
          </a:bodyPr>
          <a:lstStyle>
            <a:lvl1pPr marL="0" indent="0">
              <a:buFont typeface="Wingdings" pitchFamily="2" charset="2"/>
              <a:buNone/>
              <a:defRPr sz="1800">
                <a:latin typeface="+mn-lt"/>
                <a:sym typeface="Bahnschrift" panose="020B0502040204020203" pitchFamily="34" charset="0"/>
              </a:defRPr>
            </a:lvl1pPr>
          </a:lstStyle>
          <a:p>
            <a:r>
              <a:rPr lang="de-AT" dirty="0"/>
              <a:t>Schriftzusatz in Kleinbuchstaben.</a:t>
            </a:r>
          </a:p>
        </p:txBody>
      </p:sp>
    </p:spTree>
    <p:extLst>
      <p:ext uri="{BB962C8B-B14F-4D97-AF65-F5344CB8AC3E}">
        <p14:creationId xmlns:p14="http://schemas.microsoft.com/office/powerpoint/2010/main" val="423165085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Titel und Aufzählun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1F357BD-BBA5-56F3-0498-5A6EB2111970}"/>
              </a:ext>
            </a:extLst>
          </p:cNvPr>
          <p:cNvGraphicFramePr>
            <a:graphicFrameLocks noChangeAspect="1"/>
          </p:cNvGraphicFramePr>
          <p:nvPr userDrawn="1">
            <p:custDataLst>
              <p:tags r:id="rId1"/>
            </p:custDataLst>
            <p:extLst>
              <p:ext uri="{D42A27DB-BD31-4B8C-83A1-F6EECF244321}">
                <p14:modId xmlns:p14="http://schemas.microsoft.com/office/powerpoint/2010/main" val="407198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think-cell data - do not delete" hidden="1">
                        <a:extLst>
                          <a:ext uri="{FF2B5EF4-FFF2-40B4-BE49-F238E27FC236}">
                            <a16:creationId xmlns:a16="http://schemas.microsoft.com/office/drawing/2014/main" id="{E1F357BD-BBA5-56F3-0498-5A6EB21119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838799" y="780831"/>
            <a:ext cx="9540001" cy="344710"/>
          </a:xfrm>
        </p:spPr>
        <p:txBody>
          <a:bodyPr vert="horz"/>
          <a:lstStyle>
            <a:lvl1pPr>
              <a:defRPr b="0">
                <a:solidFill>
                  <a:schemeClr val="tx1"/>
                </a:solidFill>
                <a:latin typeface="+mj-lt"/>
                <a:sym typeface="Bahnschrift" panose="020B0502040204020203" pitchFamily="34" charset="0"/>
              </a:defRPr>
            </a:lvl1pPr>
          </a:lstStyle>
          <a:p>
            <a:r>
              <a:rPr lang="de-DE" dirty="0"/>
              <a:t>Prototypische einzeilige Headline</a:t>
            </a:r>
            <a:endParaRPr lang="de-AT" dirty="0"/>
          </a:p>
        </p:txBody>
      </p:sp>
      <p:sp>
        <p:nvSpPr>
          <p:cNvPr id="3" name="Inhaltsplatzhalter 2"/>
          <p:cNvSpPr>
            <a:spLocks noGrp="1"/>
          </p:cNvSpPr>
          <p:nvPr>
            <p:ph idx="1" hasCustomPrompt="1"/>
          </p:nvPr>
        </p:nvSpPr>
        <p:spPr>
          <a:xfrm>
            <a:off x="838800" y="1484316"/>
            <a:ext cx="9540000" cy="1260345"/>
          </a:xfrm>
          <a:prstGeom prst="rect">
            <a:avLst/>
          </a:prstGeom>
        </p:spPr>
        <p:txBody>
          <a:bodyPr lIns="0" tIns="0" rIns="0" bIns="0">
            <a:spAutoFit/>
          </a:bodyPr>
          <a:lstStyle>
            <a:lvl1pPr marL="0" indent="0">
              <a:buClr>
                <a:srgbClr val="004FA1"/>
              </a:buClr>
              <a:buNone/>
              <a:defRPr sz="1400">
                <a:latin typeface="+mn-lt"/>
                <a:sym typeface="Bahnschrift" panose="020B0502040204020203" pitchFamily="34" charset="0"/>
              </a:defRPr>
            </a:lvl1pPr>
            <a:lvl2pPr marL="360000" indent="-360000">
              <a:buFont typeface="Arial" panose="020B0604020202020204" pitchFamily="34" charset="0"/>
              <a:buChar char="•"/>
              <a:defRPr sz="1400">
                <a:latin typeface="+mn-lt"/>
                <a:sym typeface="Bahnschrift" panose="020B0502040204020203" pitchFamily="34" charset="0"/>
              </a:defRPr>
            </a:lvl2pPr>
            <a:lvl3pPr marL="358775" indent="361950" algn="l">
              <a:buClr>
                <a:schemeClr val="tx1"/>
              </a:buClr>
              <a:buFont typeface="Arial" panose="020B0604020202020204" pitchFamily="34" charset="0"/>
              <a:buChar char="•"/>
              <a:tabLst>
                <a:tab pos="355600" algn="l"/>
              </a:tabLst>
              <a:defRPr sz="1400">
                <a:latin typeface="+mn-lt"/>
                <a:sym typeface="Bahnschrift" panose="020B0502040204020203" pitchFamily="34" charset="0"/>
              </a:defRPr>
            </a:lvl3pPr>
            <a:lvl4pPr marL="1076325" indent="-355600">
              <a:buClr>
                <a:schemeClr val="tx1"/>
              </a:buClr>
              <a:buFont typeface="Arial" panose="020B0604020202020204" pitchFamily="34" charset="0"/>
              <a:buChar char="•"/>
              <a:defRPr sz="1400">
                <a:latin typeface="+mn-lt"/>
              </a:defRPr>
            </a:lvl4pPr>
            <a:lvl5pPr marL="1439863" indent="-363538">
              <a:buClr>
                <a:schemeClr val="tx1"/>
              </a:buClr>
              <a:buFont typeface="Arial" panose="020B0604020202020204" pitchFamily="34" charset="0"/>
              <a:buChar char="•"/>
              <a:defRPr sz="1400">
                <a:latin typeface="+mn-lt"/>
              </a:defRPr>
            </a:lvl5pPr>
          </a:lstStyle>
          <a:p>
            <a:pPr lvl="0"/>
            <a:r>
              <a:rPr lang="de-DE" dirty="0"/>
              <a:t>Sie lesen eben einen Blindtext beziehungsweise Musterworte, um die Optik besser sehen zu können.</a:t>
            </a:r>
          </a:p>
          <a:p>
            <a:pPr lvl="1"/>
            <a:r>
              <a:rPr lang="de-DE" dirty="0"/>
              <a:t>Der Text ist daher an sich redundant, aber Sie können nun die Abtrennungen besser sehen.</a:t>
            </a:r>
          </a:p>
          <a:p>
            <a:pPr lvl="2"/>
            <a:r>
              <a:rPr lang="de-DE" dirty="0"/>
              <a:t>Beispielsweise wäre die zweite Ebene jene, die jetzt</a:t>
            </a:r>
          </a:p>
          <a:p>
            <a:pPr lvl="3"/>
            <a:r>
              <a:rPr lang="de-DE" dirty="0"/>
              <a:t>folgt.</a:t>
            </a:r>
          </a:p>
          <a:p>
            <a:pPr lvl="4"/>
            <a:r>
              <a:rPr lang="de-DE" dirty="0"/>
              <a:t>Beispielsweise wäre die dritte Ebene jene, die jetzt folgt.</a:t>
            </a:r>
          </a:p>
        </p:txBody>
      </p:sp>
      <p:sp>
        <p:nvSpPr>
          <p:cNvPr id="4" name="Foliennummernplatzhalter 3"/>
          <p:cNvSpPr>
            <a:spLocks noGrp="1"/>
          </p:cNvSpPr>
          <p:nvPr>
            <p:ph type="sldNum" sz="quarter" idx="10"/>
          </p:nvPr>
        </p:nvSpPr>
        <p:spPr>
          <a:xfrm>
            <a:off x="203200" y="6598363"/>
            <a:ext cx="226027" cy="123111"/>
          </a:xfrm>
          <a:prstGeom prst="rect">
            <a:avLst/>
          </a:prstGeom>
        </p:spPr>
        <p:txBody>
          <a:bodyPr wrap="square" lIns="0" tIns="0" rIns="0" bIns="0">
            <a:noAutofit/>
          </a:bodyPr>
          <a:lstStyle>
            <a:lvl1pPr>
              <a:defRPr>
                <a:latin typeface="+mn-lt"/>
                <a:sym typeface="Bahnschrift" panose="020B0502040204020203" pitchFamily="34" charset="0"/>
              </a:defRPr>
            </a:lvl1pPr>
          </a:lstStyle>
          <a:p>
            <a:fld id="{01920E2B-FC99-4A38-BFFD-416A818AECB0}" type="slidenum">
              <a:rPr lang="de-AT" smtClean="0"/>
              <a:pPr/>
              <a:t>‹Nr.›</a:t>
            </a:fld>
            <a:endParaRPr lang="de-AT"/>
          </a:p>
        </p:txBody>
      </p:sp>
    </p:spTree>
    <p:extLst>
      <p:ext uri="{BB962C8B-B14F-4D97-AF65-F5344CB8AC3E}">
        <p14:creationId xmlns:p14="http://schemas.microsoft.com/office/powerpoint/2010/main" val="362169030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Titel und Lauf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927AAA4-BD62-799B-579D-0EA583181F4C}"/>
              </a:ext>
            </a:extLst>
          </p:cNvPr>
          <p:cNvGraphicFramePr>
            <a:graphicFrameLocks noChangeAspect="1"/>
          </p:cNvGraphicFramePr>
          <p:nvPr userDrawn="1">
            <p:custDataLst>
              <p:tags r:id="rId1"/>
            </p:custDataLst>
            <p:extLst>
              <p:ext uri="{D42A27DB-BD31-4B8C-83A1-F6EECF244321}">
                <p14:modId xmlns:p14="http://schemas.microsoft.com/office/powerpoint/2010/main" val="2624345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think-cell data - do not delete" hidden="1">
                        <a:extLst>
                          <a:ext uri="{FF2B5EF4-FFF2-40B4-BE49-F238E27FC236}">
                            <a16:creationId xmlns:a16="http://schemas.microsoft.com/office/drawing/2014/main" id="{B927AAA4-BD62-799B-579D-0EA583181F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838800" y="436122"/>
            <a:ext cx="9540000" cy="689420"/>
          </a:xfrm>
        </p:spPr>
        <p:txBody>
          <a:bodyPr vert="horz"/>
          <a:lstStyle>
            <a:lvl1pPr>
              <a:defRPr b="0">
                <a:solidFill>
                  <a:schemeClr val="tx1"/>
                </a:solidFill>
                <a:latin typeface="+mj-lt"/>
                <a:sym typeface="Bahnschrift" panose="020B0502040204020203" pitchFamily="34" charset="0"/>
              </a:defRPr>
            </a:lvl1pPr>
          </a:lstStyle>
          <a:p>
            <a:r>
              <a:rPr lang="de-DE" dirty="0"/>
              <a:t>Prototypische zweizeilige Headline</a:t>
            </a:r>
            <a:br>
              <a:rPr lang="de-DE" dirty="0"/>
            </a:br>
            <a:r>
              <a:rPr lang="de-DE" dirty="0"/>
              <a:t>Prototypische Headline</a:t>
            </a:r>
            <a:endParaRPr lang="de-AT" dirty="0"/>
          </a:p>
        </p:txBody>
      </p:sp>
      <p:sp>
        <p:nvSpPr>
          <p:cNvPr id="3" name="Inhaltsplatzhalter 2"/>
          <p:cNvSpPr>
            <a:spLocks noGrp="1"/>
          </p:cNvSpPr>
          <p:nvPr>
            <p:ph idx="1" hasCustomPrompt="1"/>
          </p:nvPr>
        </p:nvSpPr>
        <p:spPr>
          <a:xfrm>
            <a:off x="838800" y="1484316"/>
            <a:ext cx="9540000" cy="4525200"/>
          </a:xfrm>
          <a:prstGeom prst="rect">
            <a:avLst/>
          </a:prstGeom>
        </p:spPr>
        <p:txBody>
          <a:bodyPr/>
          <a:lstStyle>
            <a:lvl1pPr marL="0" indent="0">
              <a:buFontTx/>
              <a:buNone/>
              <a:defRPr>
                <a:latin typeface="+mn-lt"/>
                <a:sym typeface="Bahnschrift" panose="020B0502040204020203" pitchFamily="34" charset="0"/>
              </a:defRPr>
            </a:lvl1pPr>
          </a:lstStyle>
          <a:p>
            <a:pPr>
              <a:buNone/>
            </a:pPr>
            <a:r>
              <a:rPr lang="de-AT" dirty="0" err="1"/>
              <a:t>Lorem</a:t>
            </a:r>
            <a:r>
              <a:rPr lang="de-AT" dirty="0"/>
              <a:t> </a:t>
            </a:r>
            <a:r>
              <a:rPr lang="de-AT" dirty="0" err="1"/>
              <a:t>ipsum</a:t>
            </a:r>
            <a:r>
              <a:rPr lang="de-AT" dirty="0"/>
              <a:t> </a:t>
            </a:r>
            <a:r>
              <a:rPr lang="de-AT" dirty="0" err="1"/>
              <a:t>dolor</a:t>
            </a:r>
            <a:r>
              <a:rPr lang="de-AT" dirty="0"/>
              <a:t> </a:t>
            </a:r>
            <a:r>
              <a:rPr lang="de-AT" dirty="0" err="1"/>
              <a:t>sit</a:t>
            </a:r>
            <a:r>
              <a:rPr lang="de-AT" dirty="0"/>
              <a:t> </a:t>
            </a:r>
            <a:r>
              <a:rPr lang="de-AT" dirty="0" err="1"/>
              <a:t>amet</a:t>
            </a:r>
            <a:r>
              <a:rPr lang="de-AT" dirty="0"/>
              <a:t>, </a:t>
            </a:r>
            <a:r>
              <a:rPr lang="de-AT" dirty="0" err="1"/>
              <a:t>sed</a:t>
            </a:r>
            <a:r>
              <a:rPr lang="de-AT" dirty="0"/>
              <a:t> </a:t>
            </a:r>
            <a:r>
              <a:rPr lang="de-AT" dirty="0" err="1"/>
              <a:t>diam</a:t>
            </a:r>
            <a:r>
              <a:rPr lang="de-AT" dirty="0"/>
              <a:t> </a:t>
            </a:r>
            <a:r>
              <a:rPr lang="de-AT" dirty="0" err="1"/>
              <a:t>nonummy</a:t>
            </a:r>
            <a:r>
              <a:rPr lang="de-AT" dirty="0"/>
              <a:t> </a:t>
            </a:r>
            <a:r>
              <a:rPr lang="de-AT" dirty="0" err="1"/>
              <a:t>nibh</a:t>
            </a:r>
            <a:r>
              <a:rPr lang="de-AT" dirty="0"/>
              <a:t> </a:t>
            </a:r>
            <a:r>
              <a:rPr lang="de-AT" dirty="0" err="1"/>
              <a:t>euismod</a:t>
            </a:r>
            <a:r>
              <a:rPr lang="de-AT" dirty="0"/>
              <a:t> </a:t>
            </a:r>
            <a:r>
              <a:rPr lang="de-AT" dirty="0" err="1"/>
              <a:t>tincidunt</a:t>
            </a:r>
            <a:r>
              <a:rPr lang="de-AT" dirty="0"/>
              <a:t> </a:t>
            </a:r>
            <a:r>
              <a:rPr lang="de-AT" dirty="0" err="1"/>
              <a:t>ut</a:t>
            </a:r>
            <a:r>
              <a:rPr lang="de-AT" dirty="0"/>
              <a:t> </a:t>
            </a:r>
            <a:r>
              <a:rPr lang="de-AT" dirty="0" err="1"/>
              <a:t>laoreet</a:t>
            </a:r>
            <a:r>
              <a:rPr lang="de-AT" dirty="0"/>
              <a:t> </a:t>
            </a:r>
            <a:r>
              <a:rPr lang="de-AT" dirty="0" err="1"/>
              <a:t>dolore</a:t>
            </a:r>
            <a:r>
              <a:rPr lang="de-AT" dirty="0"/>
              <a:t> magna </a:t>
            </a:r>
            <a:r>
              <a:rPr lang="de-AT" dirty="0" err="1"/>
              <a:t>aliquam</a:t>
            </a:r>
            <a:r>
              <a:rPr lang="de-AT" dirty="0"/>
              <a:t> </a:t>
            </a:r>
            <a:r>
              <a:rPr lang="de-AT" dirty="0" err="1"/>
              <a:t>erat</a:t>
            </a:r>
            <a:r>
              <a:rPr lang="de-AT" dirty="0"/>
              <a:t> </a:t>
            </a:r>
            <a:r>
              <a:rPr lang="de-AT" dirty="0" err="1"/>
              <a:t>volutpat</a:t>
            </a:r>
            <a:r>
              <a:rPr lang="de-AT" dirty="0"/>
              <a:t>.</a:t>
            </a:r>
          </a:p>
          <a:p>
            <a:pPr>
              <a:buNone/>
            </a:pPr>
            <a:endParaRPr lang="de-AT" dirty="0"/>
          </a:p>
          <a:p>
            <a:pPr>
              <a:buNone/>
            </a:pPr>
            <a:r>
              <a:rPr lang="de-AT" dirty="0"/>
              <a:t>Duis </a:t>
            </a:r>
            <a:r>
              <a:rPr lang="de-AT" dirty="0" err="1"/>
              <a:t>autem</a:t>
            </a:r>
            <a:r>
              <a:rPr lang="de-AT" dirty="0"/>
              <a:t> </a:t>
            </a:r>
            <a:r>
              <a:rPr lang="de-AT" dirty="0" err="1"/>
              <a:t>vel</a:t>
            </a:r>
            <a:r>
              <a:rPr lang="de-AT" dirty="0"/>
              <a:t> </a:t>
            </a:r>
            <a:r>
              <a:rPr lang="de-AT" dirty="0" err="1"/>
              <a:t>eum</a:t>
            </a:r>
            <a:r>
              <a:rPr lang="de-AT" dirty="0"/>
              <a:t> </a:t>
            </a:r>
            <a:r>
              <a:rPr lang="de-AT" dirty="0" err="1"/>
              <a:t>iriure</a:t>
            </a:r>
            <a:r>
              <a:rPr lang="de-AT" dirty="0"/>
              <a:t> </a:t>
            </a:r>
            <a:r>
              <a:rPr lang="de-AT" dirty="0" err="1"/>
              <a:t>dolor</a:t>
            </a:r>
            <a:r>
              <a:rPr lang="de-AT" dirty="0"/>
              <a:t> in </a:t>
            </a:r>
            <a:r>
              <a:rPr lang="de-AT" dirty="0" err="1"/>
              <a:t>hendrerit</a:t>
            </a:r>
            <a:r>
              <a:rPr lang="de-AT" dirty="0"/>
              <a:t> in </a:t>
            </a:r>
            <a:r>
              <a:rPr lang="de-AT" dirty="0" err="1"/>
              <a:t>vulputate</a:t>
            </a:r>
            <a:r>
              <a:rPr lang="de-AT" dirty="0"/>
              <a:t> </a:t>
            </a:r>
            <a:r>
              <a:rPr lang="de-AT" dirty="0" err="1"/>
              <a:t>velit</a:t>
            </a:r>
            <a:r>
              <a:rPr lang="de-AT" dirty="0"/>
              <a:t> esse </a:t>
            </a:r>
            <a:r>
              <a:rPr lang="de-AT" dirty="0" err="1"/>
              <a:t>molestie</a:t>
            </a:r>
            <a:r>
              <a:rPr lang="de-AT" dirty="0"/>
              <a:t> </a:t>
            </a:r>
            <a:r>
              <a:rPr lang="de-AT" dirty="0" err="1"/>
              <a:t>consequat</a:t>
            </a:r>
            <a:r>
              <a:rPr lang="de-AT" dirty="0"/>
              <a:t>, </a:t>
            </a:r>
            <a:r>
              <a:rPr lang="de-AT" dirty="0" err="1"/>
              <a:t>vel</a:t>
            </a:r>
            <a:r>
              <a:rPr lang="de-AT" dirty="0"/>
              <a:t> </a:t>
            </a:r>
            <a:r>
              <a:rPr lang="de-AT" dirty="0" err="1"/>
              <a:t>illum</a:t>
            </a:r>
            <a:r>
              <a:rPr lang="de-AT" dirty="0"/>
              <a:t> </a:t>
            </a:r>
            <a:r>
              <a:rPr lang="de-AT" dirty="0" err="1"/>
              <a:t>dolore</a:t>
            </a:r>
            <a:r>
              <a:rPr lang="de-AT" dirty="0"/>
              <a:t> </a:t>
            </a:r>
            <a:r>
              <a:rPr lang="de-AT" dirty="0" err="1"/>
              <a:t>eu</a:t>
            </a:r>
            <a:r>
              <a:rPr lang="de-AT" dirty="0"/>
              <a:t> </a:t>
            </a:r>
            <a:r>
              <a:rPr lang="de-AT" dirty="0" err="1"/>
              <a:t>feugiat</a:t>
            </a:r>
            <a:r>
              <a:rPr lang="de-AT" dirty="0"/>
              <a:t> </a:t>
            </a:r>
            <a:r>
              <a:rPr lang="de-AT" dirty="0" err="1"/>
              <a:t>nulla</a:t>
            </a:r>
            <a:r>
              <a:rPr lang="de-AT" dirty="0"/>
              <a:t> </a:t>
            </a:r>
            <a:r>
              <a:rPr lang="de-AT" dirty="0" err="1"/>
              <a:t>facilisis</a:t>
            </a:r>
            <a:r>
              <a:rPr lang="de-AT" dirty="0"/>
              <a:t> </a:t>
            </a:r>
            <a:r>
              <a:rPr lang="de-AT" dirty="0" err="1"/>
              <a:t>at</a:t>
            </a:r>
            <a:r>
              <a:rPr lang="de-AT" dirty="0"/>
              <a:t> </a:t>
            </a:r>
            <a:r>
              <a:rPr lang="de-AT" dirty="0" err="1"/>
              <a:t>vero</a:t>
            </a:r>
            <a:r>
              <a:rPr lang="de-AT" dirty="0"/>
              <a:t> et </a:t>
            </a:r>
            <a:r>
              <a:rPr lang="de-AT" dirty="0" err="1"/>
              <a:t>accumsan</a:t>
            </a:r>
            <a:r>
              <a:rPr lang="de-AT" dirty="0"/>
              <a:t> et </a:t>
            </a:r>
            <a:r>
              <a:rPr lang="de-AT" dirty="0" err="1"/>
              <a:t>iusto</a:t>
            </a:r>
            <a:r>
              <a:rPr lang="de-AT" dirty="0"/>
              <a:t> </a:t>
            </a:r>
            <a:r>
              <a:rPr lang="de-AT" dirty="0" err="1"/>
              <a:t>odio</a:t>
            </a:r>
            <a:r>
              <a:rPr lang="de-AT" dirty="0"/>
              <a:t> </a:t>
            </a:r>
            <a:r>
              <a:rPr lang="de-AT" dirty="0" err="1"/>
              <a:t>dignissim</a:t>
            </a:r>
            <a:r>
              <a:rPr lang="de-AT" dirty="0"/>
              <a:t> </a:t>
            </a:r>
            <a:r>
              <a:rPr lang="de-AT" dirty="0" err="1"/>
              <a:t>qui</a:t>
            </a:r>
            <a:r>
              <a:rPr lang="de-AT" dirty="0"/>
              <a:t> </a:t>
            </a:r>
            <a:r>
              <a:rPr lang="de-AT" dirty="0" err="1"/>
              <a:t>blandit</a:t>
            </a:r>
            <a:r>
              <a:rPr lang="de-AT" dirty="0"/>
              <a:t> </a:t>
            </a:r>
            <a:r>
              <a:rPr lang="de-AT" dirty="0" err="1"/>
              <a:t>praesent</a:t>
            </a:r>
            <a:r>
              <a:rPr lang="de-AT" dirty="0"/>
              <a:t> </a:t>
            </a:r>
            <a:r>
              <a:rPr lang="de-AT" dirty="0" err="1"/>
              <a:t>luptatum</a:t>
            </a:r>
            <a:r>
              <a:rPr lang="de-AT" dirty="0"/>
              <a:t> </a:t>
            </a:r>
            <a:r>
              <a:rPr lang="de-AT" dirty="0" err="1"/>
              <a:t>zzril</a:t>
            </a:r>
            <a:r>
              <a:rPr lang="de-AT" dirty="0"/>
              <a:t> </a:t>
            </a:r>
            <a:r>
              <a:rPr lang="de-AT" dirty="0" err="1"/>
              <a:t>delenit</a:t>
            </a:r>
            <a:r>
              <a:rPr lang="de-AT" dirty="0"/>
              <a:t> </a:t>
            </a:r>
            <a:r>
              <a:rPr lang="de-AT" dirty="0" err="1"/>
              <a:t>augue</a:t>
            </a:r>
            <a:r>
              <a:rPr lang="de-AT" dirty="0"/>
              <a:t> </a:t>
            </a:r>
            <a:r>
              <a:rPr lang="de-AT" dirty="0" err="1"/>
              <a:t>duis</a:t>
            </a:r>
            <a:r>
              <a:rPr lang="de-AT" dirty="0"/>
              <a:t> </a:t>
            </a:r>
            <a:r>
              <a:rPr lang="de-AT" dirty="0" err="1"/>
              <a:t>dolore</a:t>
            </a:r>
            <a:r>
              <a:rPr lang="de-AT" dirty="0"/>
              <a:t> </a:t>
            </a:r>
            <a:r>
              <a:rPr lang="de-AT" dirty="0" err="1"/>
              <a:t>te</a:t>
            </a:r>
            <a:r>
              <a:rPr lang="de-AT" dirty="0"/>
              <a:t> </a:t>
            </a:r>
            <a:r>
              <a:rPr lang="de-AT" dirty="0" err="1"/>
              <a:t>feugait</a:t>
            </a:r>
            <a:r>
              <a:rPr lang="de-AT" dirty="0"/>
              <a:t> </a:t>
            </a:r>
            <a:r>
              <a:rPr lang="de-AT" dirty="0" err="1"/>
              <a:t>nulla</a:t>
            </a:r>
            <a:r>
              <a:rPr lang="de-AT" dirty="0"/>
              <a:t> </a:t>
            </a:r>
            <a:r>
              <a:rPr lang="de-AT" dirty="0" err="1"/>
              <a:t>facilisi</a:t>
            </a:r>
            <a:r>
              <a:rPr lang="de-AT" dirty="0"/>
              <a:t>.</a:t>
            </a:r>
            <a:endParaRPr lang="de-DE" dirty="0"/>
          </a:p>
        </p:txBody>
      </p:sp>
      <p:sp>
        <p:nvSpPr>
          <p:cNvPr id="7" name="Foliennummernplatzhalter 3">
            <a:extLst>
              <a:ext uri="{FF2B5EF4-FFF2-40B4-BE49-F238E27FC236}">
                <a16:creationId xmlns:a16="http://schemas.microsoft.com/office/drawing/2014/main" id="{8D4C2691-B4C6-78F6-5F21-F065F6B3C5C9}"/>
              </a:ext>
            </a:extLst>
          </p:cNvPr>
          <p:cNvSpPr>
            <a:spLocks noGrp="1"/>
          </p:cNvSpPr>
          <p:nvPr>
            <p:ph type="sldNum" sz="quarter" idx="10"/>
          </p:nvPr>
        </p:nvSpPr>
        <p:spPr>
          <a:xfrm>
            <a:off x="203200" y="6598363"/>
            <a:ext cx="226027" cy="123111"/>
          </a:xfrm>
          <a:prstGeom prst="rect">
            <a:avLst/>
          </a:prstGeom>
        </p:spPr>
        <p:txBody>
          <a:bodyPr wrap="square" lIns="0" tIns="0" rIns="0" bIns="0">
            <a:spAutoFit/>
          </a:bodyPr>
          <a:lstStyle>
            <a:lvl1pPr>
              <a:defRPr>
                <a:latin typeface="+mn-lt"/>
                <a:sym typeface="Bahnschrift" panose="020B0502040204020203" pitchFamily="34" charset="0"/>
              </a:defRPr>
            </a:lvl1pPr>
          </a:lstStyle>
          <a:p>
            <a:fld id="{01920E2B-FC99-4A38-BFFD-416A818AECB0}" type="slidenum">
              <a:rPr lang="de-AT" smtClean="0"/>
              <a:pPr/>
              <a:t>‹Nr.›</a:t>
            </a:fld>
            <a:endParaRPr lang="de-AT"/>
          </a:p>
        </p:txBody>
      </p:sp>
    </p:spTree>
    <p:extLst>
      <p:ext uri="{BB962C8B-B14F-4D97-AF65-F5344CB8AC3E}">
        <p14:creationId xmlns:p14="http://schemas.microsoft.com/office/powerpoint/2010/main" val="42567419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827677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de-DE"/>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1" name="Slide Number">
            <a:extLst>
              <a:ext uri="{FF2B5EF4-FFF2-40B4-BE49-F238E27FC236}">
                <a16:creationId xmlns:a16="http://schemas.microsoft.com/office/drawing/2014/main" id="{1535753D-C75C-4BA4-BAA7-FAB78E5E7DE4}"/>
              </a:ext>
            </a:extLst>
          </p:cNvPr>
          <p:cNvSpPr>
            <a:spLocks noChangeArrowheads="1"/>
          </p:cNvSpPr>
          <p:nvPr userDrawn="1">
            <p:custDataLst>
              <p:tags r:id="rId5"/>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E4BA8A7-10D2-47EE-BC77-F9B70F061742}"/>
              </a:ext>
            </a:extLst>
          </p:cNvPr>
          <p:cNvSpPr txBox="1"/>
          <p:nvPr userDrawn="1">
            <p:custDataLst>
              <p:tags r:id="rId6"/>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Tree>
    <p:extLst>
      <p:ext uri="{BB962C8B-B14F-4D97-AF65-F5344CB8AC3E}">
        <p14:creationId xmlns:p14="http://schemas.microsoft.com/office/powerpoint/2010/main" val="150927709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325481A-60AE-59C0-2D73-19B2CBE95BF7}"/>
              </a:ext>
            </a:extLst>
          </p:cNvPr>
          <p:cNvGraphicFramePr>
            <a:graphicFrameLocks noChangeAspect="1"/>
          </p:cNvGraphicFramePr>
          <p:nvPr userDrawn="1">
            <p:custDataLst>
              <p:tags r:id="rId1"/>
            </p:custDataLst>
            <p:extLst>
              <p:ext uri="{D42A27DB-BD31-4B8C-83A1-F6EECF244321}">
                <p14:modId xmlns:p14="http://schemas.microsoft.com/office/powerpoint/2010/main" val="3265581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think-cell data - do not delete" hidden="1">
                        <a:extLst>
                          <a:ext uri="{FF2B5EF4-FFF2-40B4-BE49-F238E27FC236}">
                            <a16:creationId xmlns:a16="http://schemas.microsoft.com/office/drawing/2014/main" id="{4325481A-60AE-59C0-2D73-19B2CBE95B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939861" y="2673897"/>
            <a:ext cx="10363200" cy="1362075"/>
          </a:xfrm>
        </p:spPr>
        <p:txBody>
          <a:bodyPr vert="horz" anchor="t">
            <a:normAutofit/>
          </a:bodyPr>
          <a:lstStyle>
            <a:lvl1pPr algn="l">
              <a:defRPr sz="3400" b="0" cap="none" baseline="0">
                <a:solidFill>
                  <a:srgbClr val="6F6F6F"/>
                </a:solidFill>
                <a:latin typeface="+mj-lt"/>
                <a:sym typeface="Bahnschrift" panose="020B0502040204020203" pitchFamily="34" charset="0"/>
              </a:defRPr>
            </a:lvl1pPr>
          </a:lstStyle>
          <a:p>
            <a:r>
              <a:rPr lang="de-DE"/>
              <a:t>Mastertitelformat bearbeiten</a:t>
            </a:r>
            <a:endParaRPr lang="de-AT" dirty="0"/>
          </a:p>
        </p:txBody>
      </p:sp>
      <p:sp>
        <p:nvSpPr>
          <p:cNvPr id="3" name="Textplatzhalter 2"/>
          <p:cNvSpPr>
            <a:spLocks noGrp="1"/>
          </p:cNvSpPr>
          <p:nvPr>
            <p:ph type="body" idx="1"/>
          </p:nvPr>
        </p:nvSpPr>
        <p:spPr>
          <a:xfrm>
            <a:off x="939860" y="4047539"/>
            <a:ext cx="10363200" cy="1500187"/>
          </a:xfrm>
          <a:prstGeom prst="rect">
            <a:avLst/>
          </a:prstGeom>
        </p:spPr>
        <p:txBody>
          <a:bodyPr anchor="b"/>
          <a:lstStyle>
            <a:lvl1pPr marL="0" indent="0">
              <a:buFont typeface="Wingdings" pitchFamily="2" charset="2"/>
              <a:buNone/>
              <a:defRPr sz="2000">
                <a:latin typeface="+mn-lt"/>
                <a:sym typeface="Bahnschrift" panose="020B0502040204020203" pitchFamily="34" charset="0"/>
              </a:defRPr>
            </a:lvl1pPr>
            <a:lvl2pPr marL="627063" indent="-269875">
              <a:buFont typeface="Wingdings" pitchFamily="2" charset="2"/>
              <a:buChar char="§"/>
              <a:defRPr sz="1800"/>
            </a:lvl2pPr>
            <a:lvl3pPr marL="914400" indent="-287338">
              <a:buFont typeface="Symbol" pitchFamily="18" charset="2"/>
              <a:buChar char="-"/>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Mastertextformat bearbeiten</a:t>
            </a:r>
          </a:p>
        </p:txBody>
      </p:sp>
      <p:sp>
        <p:nvSpPr>
          <p:cNvPr id="7" name="Foliennummernplatzhalter 3">
            <a:extLst>
              <a:ext uri="{FF2B5EF4-FFF2-40B4-BE49-F238E27FC236}">
                <a16:creationId xmlns:a16="http://schemas.microsoft.com/office/drawing/2014/main" id="{1114F814-C77B-A3E4-2A67-43A4A6FD5B54}"/>
              </a:ext>
            </a:extLst>
          </p:cNvPr>
          <p:cNvSpPr>
            <a:spLocks noGrp="1"/>
          </p:cNvSpPr>
          <p:nvPr>
            <p:ph type="sldNum" sz="quarter" idx="10"/>
          </p:nvPr>
        </p:nvSpPr>
        <p:spPr>
          <a:xfrm>
            <a:off x="203200" y="6598363"/>
            <a:ext cx="226027" cy="123111"/>
          </a:xfrm>
          <a:prstGeom prst="rect">
            <a:avLst/>
          </a:prstGeom>
        </p:spPr>
        <p:txBody>
          <a:bodyPr wrap="square" lIns="0" tIns="0" rIns="0" bIns="0">
            <a:spAutoFit/>
          </a:bodyPr>
          <a:lstStyle>
            <a:lvl1pPr>
              <a:defRPr>
                <a:latin typeface="+mn-lt"/>
                <a:sym typeface="Bahnschrift" panose="020B0502040204020203" pitchFamily="34" charset="0"/>
              </a:defRPr>
            </a:lvl1pPr>
          </a:lstStyle>
          <a:p>
            <a:fld id="{01920E2B-FC99-4A38-BFFD-416A818AECB0}" type="slidenum">
              <a:rPr lang="de-AT" smtClean="0"/>
              <a:pPr/>
              <a:t>‹Nr.›</a:t>
            </a:fld>
            <a:endParaRPr lang="de-AT"/>
          </a:p>
        </p:txBody>
      </p:sp>
    </p:spTree>
    <p:extLst>
      <p:ext uri="{BB962C8B-B14F-4D97-AF65-F5344CB8AC3E}">
        <p14:creationId xmlns:p14="http://schemas.microsoft.com/office/powerpoint/2010/main" val="306621880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087BB6C-E378-3DD8-AB38-427D02B3C02C}"/>
              </a:ext>
            </a:extLst>
          </p:cNvPr>
          <p:cNvGraphicFramePr>
            <a:graphicFrameLocks noChangeAspect="1"/>
          </p:cNvGraphicFramePr>
          <p:nvPr userDrawn="1">
            <p:custDataLst>
              <p:tags r:id="rId1"/>
            </p:custDataLst>
            <p:extLst>
              <p:ext uri="{D42A27DB-BD31-4B8C-83A1-F6EECF244321}">
                <p14:modId xmlns:p14="http://schemas.microsoft.com/office/powerpoint/2010/main" val="216146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7087BB6C-E378-3DD8-AB38-427D02B3C0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755653" y="780831"/>
            <a:ext cx="10678579" cy="344710"/>
          </a:xfrm>
        </p:spPr>
        <p:txBody>
          <a:bodyPr vert="horz"/>
          <a:lstStyle>
            <a:lvl1pPr>
              <a:defRPr b="0">
                <a:solidFill>
                  <a:schemeClr val="tx1"/>
                </a:solidFill>
                <a:latin typeface="+mj-lt"/>
                <a:sym typeface="Bahnschrift" panose="020B0502040204020203" pitchFamily="34" charset="0"/>
              </a:defRPr>
            </a:lvl1pPr>
          </a:lstStyle>
          <a:p>
            <a:r>
              <a:rPr lang="de-DE" dirty="0"/>
              <a:t>Mastertitelformat bearbeiten</a:t>
            </a:r>
            <a:endParaRPr lang="de-AT" dirty="0"/>
          </a:p>
        </p:txBody>
      </p:sp>
      <p:sp>
        <p:nvSpPr>
          <p:cNvPr id="3" name="Inhaltsplatzhalter 2"/>
          <p:cNvSpPr>
            <a:spLocks noGrp="1"/>
          </p:cNvSpPr>
          <p:nvPr>
            <p:ph sz="half" idx="1"/>
          </p:nvPr>
        </p:nvSpPr>
        <p:spPr>
          <a:xfrm>
            <a:off x="755653" y="1484316"/>
            <a:ext cx="5232400" cy="4537075"/>
          </a:xfrm>
          <a:prstGeom prst="rect">
            <a:avLst/>
          </a:prstGeom>
        </p:spPr>
        <p:txBody>
          <a:bodyPr/>
          <a:lstStyle>
            <a:lvl1pPr>
              <a:defRPr sz="2200">
                <a:latin typeface="+mn-lt"/>
                <a:sym typeface="Bahnschrift" panose="020B0502040204020203" pitchFamily="34" charset="0"/>
              </a:defRPr>
            </a:lvl1pPr>
            <a:lvl2pPr>
              <a:defRPr sz="2000">
                <a:latin typeface="+mn-lt"/>
                <a:sym typeface="Bahnschrift" panose="020B0502040204020203" pitchFamily="34" charset="0"/>
              </a:defRPr>
            </a:lvl2pPr>
            <a:lvl3pPr>
              <a:defRPr sz="2000">
                <a:latin typeface="+mn-lt"/>
                <a:sym typeface="Bahnschrift" panose="020B0502040204020203" pitchFamily="34" charset="0"/>
              </a:defRPr>
            </a:lvl3pPr>
            <a:lvl4pPr>
              <a:defRPr sz="2000">
                <a:latin typeface="+mn-lt"/>
                <a:sym typeface="Bahnschrift" panose="020B0502040204020203" pitchFamily="34" charset="0"/>
              </a:defRPr>
            </a:lvl4pPr>
            <a:lvl5pPr>
              <a:defRPr sz="2000">
                <a:latin typeface="+mn-lt"/>
                <a:sym typeface="Bahnschrift" panose="020B0502040204020203" pitchFamily="34" charset="0"/>
              </a:defRPr>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dirty="0"/>
          </a:p>
        </p:txBody>
      </p:sp>
      <p:sp>
        <p:nvSpPr>
          <p:cNvPr id="4" name="Inhaltsplatzhalter 3"/>
          <p:cNvSpPr>
            <a:spLocks noGrp="1"/>
          </p:cNvSpPr>
          <p:nvPr>
            <p:ph sz="half" idx="2"/>
          </p:nvPr>
        </p:nvSpPr>
        <p:spPr>
          <a:xfrm>
            <a:off x="6191253" y="1484316"/>
            <a:ext cx="5232400" cy="4537075"/>
          </a:xfrm>
          <a:prstGeom prst="rect">
            <a:avLst/>
          </a:prstGeom>
        </p:spPr>
        <p:txBody>
          <a:bodyPr/>
          <a:lstStyle>
            <a:lvl1pPr>
              <a:defRPr sz="2200">
                <a:latin typeface="+mn-lt"/>
                <a:sym typeface="Bahnschrift" panose="020B0502040204020203" pitchFamily="34" charset="0"/>
              </a:defRPr>
            </a:lvl1pPr>
            <a:lvl2pPr>
              <a:defRPr sz="2000">
                <a:latin typeface="+mn-lt"/>
                <a:sym typeface="Bahnschrift" panose="020B0502040204020203" pitchFamily="34" charset="0"/>
              </a:defRPr>
            </a:lvl2pPr>
            <a:lvl3pPr>
              <a:defRPr sz="2000">
                <a:latin typeface="+mn-lt"/>
                <a:sym typeface="Bahnschrift" panose="020B0502040204020203" pitchFamily="34" charset="0"/>
              </a:defRPr>
            </a:lvl3pPr>
            <a:lvl4pPr>
              <a:defRPr sz="2000">
                <a:latin typeface="+mn-lt"/>
                <a:sym typeface="Bahnschrift" panose="020B0502040204020203" pitchFamily="34" charset="0"/>
              </a:defRPr>
            </a:lvl4pPr>
            <a:lvl5pPr>
              <a:defRPr sz="2000">
                <a:latin typeface="+mn-lt"/>
                <a:sym typeface="Bahnschrift" panose="020B0502040204020203" pitchFamily="34" charset="0"/>
              </a:defRPr>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dirty="0"/>
          </a:p>
        </p:txBody>
      </p:sp>
      <p:sp>
        <p:nvSpPr>
          <p:cNvPr id="10" name="Foliennummernplatzhalter 3">
            <a:extLst>
              <a:ext uri="{FF2B5EF4-FFF2-40B4-BE49-F238E27FC236}">
                <a16:creationId xmlns:a16="http://schemas.microsoft.com/office/drawing/2014/main" id="{67832FDB-F84D-1504-2438-60E1C65AECE7}"/>
              </a:ext>
            </a:extLst>
          </p:cNvPr>
          <p:cNvSpPr>
            <a:spLocks noGrp="1"/>
          </p:cNvSpPr>
          <p:nvPr>
            <p:ph type="sldNum" sz="quarter" idx="10"/>
          </p:nvPr>
        </p:nvSpPr>
        <p:spPr>
          <a:xfrm>
            <a:off x="203200" y="6598363"/>
            <a:ext cx="226027" cy="123111"/>
          </a:xfrm>
          <a:prstGeom prst="rect">
            <a:avLst/>
          </a:prstGeom>
        </p:spPr>
        <p:txBody>
          <a:bodyPr wrap="square" lIns="0" tIns="0" rIns="0" bIns="0">
            <a:spAutoFit/>
          </a:bodyPr>
          <a:lstStyle>
            <a:lvl1pPr>
              <a:defRPr>
                <a:latin typeface="+mn-lt"/>
                <a:sym typeface="Bahnschrift" panose="020B0502040204020203" pitchFamily="34" charset="0"/>
              </a:defRPr>
            </a:lvl1pPr>
          </a:lstStyle>
          <a:p>
            <a:fld id="{01920E2B-FC99-4A38-BFFD-416A818AECB0}" type="slidenum">
              <a:rPr lang="de-AT" smtClean="0"/>
              <a:pPr/>
              <a:t>‹Nr.›</a:t>
            </a:fld>
            <a:endParaRPr lang="de-AT"/>
          </a:p>
        </p:txBody>
      </p:sp>
    </p:spTree>
    <p:extLst>
      <p:ext uri="{BB962C8B-B14F-4D97-AF65-F5344CB8AC3E}">
        <p14:creationId xmlns:p14="http://schemas.microsoft.com/office/powerpoint/2010/main" val="48299650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5A5AA52-2135-4849-7E4D-6EDB18851393}"/>
              </a:ext>
            </a:extLst>
          </p:cNvPr>
          <p:cNvGraphicFramePr>
            <a:graphicFrameLocks noChangeAspect="1"/>
          </p:cNvGraphicFramePr>
          <p:nvPr userDrawn="1">
            <p:custDataLst>
              <p:tags r:id="rId1"/>
            </p:custDataLst>
            <p:extLst>
              <p:ext uri="{D42A27DB-BD31-4B8C-83A1-F6EECF244321}">
                <p14:modId xmlns:p14="http://schemas.microsoft.com/office/powerpoint/2010/main" val="1678457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1" name="think-cell data - do not delete" hidden="1">
                        <a:extLst>
                          <a:ext uri="{FF2B5EF4-FFF2-40B4-BE49-F238E27FC236}">
                            <a16:creationId xmlns:a16="http://schemas.microsoft.com/office/drawing/2014/main" id="{D5A5AA52-2135-4849-7E4D-6EDB188513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609600" y="810990"/>
            <a:ext cx="10972800" cy="344710"/>
          </a:xfrm>
        </p:spPr>
        <p:txBody>
          <a:bodyPr vert="horz"/>
          <a:lstStyle>
            <a:lvl1pPr>
              <a:defRPr>
                <a:solidFill>
                  <a:srgbClr val="6F6F6F"/>
                </a:solidFill>
                <a:latin typeface="+mj-lt"/>
                <a:sym typeface="Bahnschrift" panose="020B0502040204020203" pitchFamily="34" charset="0"/>
              </a:defRPr>
            </a:lvl1pPr>
          </a:lstStyle>
          <a:p>
            <a:r>
              <a:rPr lang="de-DE"/>
              <a:t>Mastertitelformat bearbeiten</a:t>
            </a:r>
            <a:endParaRPr lang="de-AT" dirty="0"/>
          </a:p>
        </p:txBody>
      </p:sp>
      <p:sp>
        <p:nvSpPr>
          <p:cNvPr id="3" name="Textplatzhalter 2"/>
          <p:cNvSpPr>
            <a:spLocks noGrp="1"/>
          </p:cNvSpPr>
          <p:nvPr>
            <p:ph type="body" idx="1"/>
          </p:nvPr>
        </p:nvSpPr>
        <p:spPr>
          <a:xfrm>
            <a:off x="609602" y="1435102"/>
            <a:ext cx="5386917" cy="739775"/>
          </a:xfrm>
          <a:prstGeom prst="rect">
            <a:avLst/>
          </a:prstGeom>
        </p:spPr>
        <p:txBody>
          <a:bodyPr anchor="b">
            <a:normAutofit/>
          </a:bodyPr>
          <a:lstStyle>
            <a:lvl1pPr marL="0" indent="0">
              <a:buNone/>
              <a:defRPr sz="2200" b="1">
                <a:latin typeface="+mn-lt"/>
                <a:sym typeface="Bahnschrif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p:cNvSpPr>
            <a:spLocks noGrp="1"/>
          </p:cNvSpPr>
          <p:nvPr>
            <p:ph sz="half" idx="2"/>
          </p:nvPr>
        </p:nvSpPr>
        <p:spPr>
          <a:xfrm>
            <a:off x="609602" y="2174875"/>
            <a:ext cx="5386917" cy="3951288"/>
          </a:xfrm>
          <a:prstGeom prst="rect">
            <a:avLst/>
          </a:prstGeom>
        </p:spPr>
        <p:txBody>
          <a:bodyPr/>
          <a:lstStyle>
            <a:lvl1pPr>
              <a:defRPr sz="2200">
                <a:latin typeface="+mn-lt"/>
                <a:sym typeface="Bahnschrift" panose="020B0502040204020203" pitchFamily="34" charset="0"/>
              </a:defRPr>
            </a:lvl1pPr>
            <a:lvl2pPr>
              <a:defRPr sz="2000">
                <a:latin typeface="+mn-lt"/>
                <a:sym typeface="Bahnschrift" panose="020B0502040204020203" pitchFamily="34" charset="0"/>
              </a:defRPr>
            </a:lvl2pPr>
            <a:lvl3pPr>
              <a:defRPr sz="2000">
                <a:latin typeface="+mn-lt"/>
                <a:sym typeface="Bahnschrift" panose="020B0502040204020203" pitchFamily="34" charset="0"/>
              </a:defRPr>
            </a:lvl3pPr>
            <a:lvl4pPr>
              <a:defRPr sz="2000">
                <a:latin typeface="+mn-lt"/>
                <a:sym typeface="Bahnschrift" panose="020B0502040204020203" pitchFamily="34" charset="0"/>
              </a:defRPr>
            </a:lvl4pPr>
            <a:lvl5pPr>
              <a:defRPr sz="2000">
                <a:latin typeface="+mn-lt"/>
                <a:sym typeface="Bahnschrift" panose="020B0502040204020203" pitchFamily="34" charset="0"/>
              </a:defRPr>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dirty="0"/>
          </a:p>
        </p:txBody>
      </p:sp>
      <p:sp>
        <p:nvSpPr>
          <p:cNvPr id="5" name="Textplatzhalter 4"/>
          <p:cNvSpPr>
            <a:spLocks noGrp="1"/>
          </p:cNvSpPr>
          <p:nvPr>
            <p:ph type="body" sz="quarter" idx="3"/>
          </p:nvPr>
        </p:nvSpPr>
        <p:spPr>
          <a:xfrm>
            <a:off x="6193369" y="1435102"/>
            <a:ext cx="5389032" cy="739775"/>
          </a:xfrm>
          <a:prstGeom prst="rect">
            <a:avLst/>
          </a:prstGeom>
        </p:spPr>
        <p:txBody>
          <a:bodyPr anchor="b">
            <a:normAutofit/>
          </a:bodyPr>
          <a:lstStyle>
            <a:lvl1pPr marL="0" indent="0">
              <a:buNone/>
              <a:defRPr sz="2200" b="1">
                <a:latin typeface="+mn-lt"/>
                <a:sym typeface="Bahnschrift" panose="020B05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p:cNvSpPr>
            <a:spLocks noGrp="1"/>
          </p:cNvSpPr>
          <p:nvPr>
            <p:ph sz="quarter" idx="4"/>
          </p:nvPr>
        </p:nvSpPr>
        <p:spPr>
          <a:xfrm>
            <a:off x="6193369" y="2174875"/>
            <a:ext cx="5389032" cy="3951288"/>
          </a:xfrm>
          <a:prstGeom prst="rect">
            <a:avLst/>
          </a:prstGeom>
        </p:spPr>
        <p:txBody>
          <a:bodyPr/>
          <a:lstStyle>
            <a:lvl1pPr>
              <a:defRPr sz="2200">
                <a:latin typeface="+mn-lt"/>
                <a:sym typeface="Bahnschrift" panose="020B0502040204020203" pitchFamily="34" charset="0"/>
              </a:defRPr>
            </a:lvl1pPr>
            <a:lvl2pPr>
              <a:defRPr sz="2000">
                <a:latin typeface="+mn-lt"/>
                <a:sym typeface="Bahnschrift" panose="020B0502040204020203" pitchFamily="34" charset="0"/>
              </a:defRPr>
            </a:lvl2pPr>
            <a:lvl3pPr>
              <a:defRPr sz="2000">
                <a:latin typeface="+mn-lt"/>
                <a:sym typeface="Bahnschrift" panose="020B0502040204020203" pitchFamily="34" charset="0"/>
              </a:defRPr>
            </a:lvl3pPr>
            <a:lvl4pPr>
              <a:defRPr sz="2000">
                <a:latin typeface="+mn-lt"/>
                <a:sym typeface="Bahnschrift" panose="020B0502040204020203" pitchFamily="34" charset="0"/>
              </a:defRPr>
            </a:lvl4pPr>
            <a:lvl5pPr>
              <a:defRPr sz="2000">
                <a:latin typeface="+mn-lt"/>
                <a:sym typeface="Bahnschrift" panose="020B0502040204020203" pitchFamily="34" charset="0"/>
              </a:defRPr>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dirty="0"/>
          </a:p>
        </p:txBody>
      </p:sp>
      <p:sp>
        <p:nvSpPr>
          <p:cNvPr id="10" name="Foliennummernplatzhalter 3">
            <a:extLst>
              <a:ext uri="{FF2B5EF4-FFF2-40B4-BE49-F238E27FC236}">
                <a16:creationId xmlns:a16="http://schemas.microsoft.com/office/drawing/2014/main" id="{19CD6306-B9B7-081C-AFAF-1947164CF68A}"/>
              </a:ext>
            </a:extLst>
          </p:cNvPr>
          <p:cNvSpPr>
            <a:spLocks noGrp="1"/>
          </p:cNvSpPr>
          <p:nvPr>
            <p:ph type="sldNum" sz="quarter" idx="10"/>
          </p:nvPr>
        </p:nvSpPr>
        <p:spPr>
          <a:xfrm>
            <a:off x="203200" y="6598363"/>
            <a:ext cx="226027" cy="123111"/>
          </a:xfrm>
          <a:prstGeom prst="rect">
            <a:avLst/>
          </a:prstGeom>
        </p:spPr>
        <p:txBody>
          <a:bodyPr wrap="square" lIns="0" tIns="0" rIns="0" bIns="0">
            <a:spAutoFit/>
          </a:bodyPr>
          <a:lstStyle>
            <a:lvl1pPr>
              <a:defRPr>
                <a:latin typeface="+mn-lt"/>
                <a:sym typeface="Bahnschrift" panose="020B0502040204020203" pitchFamily="34" charset="0"/>
              </a:defRPr>
            </a:lvl1pPr>
          </a:lstStyle>
          <a:p>
            <a:fld id="{01920E2B-FC99-4A38-BFFD-416A818AECB0}" type="slidenum">
              <a:rPr lang="de-AT" smtClean="0"/>
              <a:pPr/>
              <a:t>‹Nr.›</a:t>
            </a:fld>
            <a:endParaRPr lang="de-AT"/>
          </a:p>
        </p:txBody>
      </p:sp>
    </p:spTree>
    <p:extLst>
      <p:ext uri="{BB962C8B-B14F-4D97-AF65-F5344CB8AC3E}">
        <p14:creationId xmlns:p14="http://schemas.microsoft.com/office/powerpoint/2010/main" val="305483488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240CF3B-C421-6ACE-E885-44D14F65B5B8}"/>
              </a:ext>
            </a:extLst>
          </p:cNvPr>
          <p:cNvGraphicFramePr>
            <a:graphicFrameLocks noChangeAspect="1"/>
          </p:cNvGraphicFramePr>
          <p:nvPr userDrawn="1">
            <p:custDataLst>
              <p:tags r:id="rId1"/>
            </p:custDataLst>
            <p:extLst>
              <p:ext uri="{D42A27DB-BD31-4B8C-83A1-F6EECF244321}">
                <p14:modId xmlns:p14="http://schemas.microsoft.com/office/powerpoint/2010/main" val="3889123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think-cell data - do not delete" hidden="1">
                        <a:extLst>
                          <a:ext uri="{FF2B5EF4-FFF2-40B4-BE49-F238E27FC236}">
                            <a16:creationId xmlns:a16="http://schemas.microsoft.com/office/drawing/2014/main" id="{0240CF3B-C421-6ACE-E885-44D14F65B5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lvl1pPr>
              <a:defRPr>
                <a:solidFill>
                  <a:srgbClr val="6F6F6F"/>
                </a:solidFill>
                <a:latin typeface="+mj-lt"/>
                <a:sym typeface="Bahnschrift" panose="020B0502040204020203" pitchFamily="34" charset="0"/>
              </a:defRPr>
            </a:lvl1pPr>
          </a:lstStyle>
          <a:p>
            <a:r>
              <a:rPr lang="de-DE"/>
              <a:t>Mastertitelformat bearbeiten</a:t>
            </a:r>
            <a:endParaRPr lang="de-AT" dirty="0"/>
          </a:p>
        </p:txBody>
      </p:sp>
      <p:sp>
        <p:nvSpPr>
          <p:cNvPr id="6" name="Foliennummernplatzhalter 3">
            <a:extLst>
              <a:ext uri="{FF2B5EF4-FFF2-40B4-BE49-F238E27FC236}">
                <a16:creationId xmlns:a16="http://schemas.microsoft.com/office/drawing/2014/main" id="{8790CA68-7EAA-0A50-A47A-C4748F52C17A}"/>
              </a:ext>
            </a:extLst>
          </p:cNvPr>
          <p:cNvSpPr>
            <a:spLocks noGrp="1"/>
          </p:cNvSpPr>
          <p:nvPr>
            <p:ph type="sldNum" sz="quarter" idx="10"/>
          </p:nvPr>
        </p:nvSpPr>
        <p:spPr>
          <a:xfrm>
            <a:off x="203200" y="6598363"/>
            <a:ext cx="226027" cy="123111"/>
          </a:xfrm>
          <a:prstGeom prst="rect">
            <a:avLst/>
          </a:prstGeom>
        </p:spPr>
        <p:txBody>
          <a:bodyPr wrap="square" lIns="0" tIns="0" rIns="0" bIns="0">
            <a:spAutoFit/>
          </a:bodyPr>
          <a:lstStyle>
            <a:lvl1pPr>
              <a:defRPr>
                <a:latin typeface="+mn-lt"/>
                <a:sym typeface="Bahnschrift" panose="020B0502040204020203" pitchFamily="34" charset="0"/>
              </a:defRPr>
            </a:lvl1pPr>
          </a:lstStyle>
          <a:p>
            <a:fld id="{01920E2B-FC99-4A38-BFFD-416A818AECB0}" type="slidenum">
              <a:rPr lang="de-AT" smtClean="0"/>
              <a:pPr/>
              <a:t>‹Nr.›</a:t>
            </a:fld>
            <a:endParaRPr lang="de-AT"/>
          </a:p>
        </p:txBody>
      </p:sp>
    </p:spTree>
    <p:extLst>
      <p:ext uri="{BB962C8B-B14F-4D97-AF65-F5344CB8AC3E}">
        <p14:creationId xmlns:p14="http://schemas.microsoft.com/office/powerpoint/2010/main" val="1540593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93848C6-E4FC-6AB0-391B-324B782570DE}"/>
              </a:ext>
            </a:extLst>
          </p:cNvPr>
          <p:cNvGraphicFramePr>
            <a:graphicFrameLocks noChangeAspect="1"/>
          </p:cNvGraphicFramePr>
          <p:nvPr userDrawn="1">
            <p:custDataLst>
              <p:tags r:id="rId1"/>
            </p:custDataLst>
            <p:extLst>
              <p:ext uri="{D42A27DB-BD31-4B8C-83A1-F6EECF244321}">
                <p14:modId xmlns:p14="http://schemas.microsoft.com/office/powerpoint/2010/main" val="1353922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think-cell data - do not delete" hidden="1">
                        <a:extLst>
                          <a:ext uri="{FF2B5EF4-FFF2-40B4-BE49-F238E27FC236}">
                            <a16:creationId xmlns:a16="http://schemas.microsoft.com/office/drawing/2014/main" id="{793848C6-E4FC-6AB0-391B-324B782570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liennummernplatzhalter 3">
            <a:extLst>
              <a:ext uri="{FF2B5EF4-FFF2-40B4-BE49-F238E27FC236}">
                <a16:creationId xmlns:a16="http://schemas.microsoft.com/office/drawing/2014/main" id="{EB3968E0-3544-91E8-A3D3-8DF18807A94C}"/>
              </a:ext>
            </a:extLst>
          </p:cNvPr>
          <p:cNvSpPr>
            <a:spLocks noGrp="1"/>
          </p:cNvSpPr>
          <p:nvPr>
            <p:ph type="sldNum" sz="quarter" idx="10"/>
          </p:nvPr>
        </p:nvSpPr>
        <p:spPr>
          <a:xfrm>
            <a:off x="203200" y="6598363"/>
            <a:ext cx="226027" cy="123111"/>
          </a:xfrm>
          <a:prstGeom prst="rect">
            <a:avLst/>
          </a:prstGeom>
        </p:spPr>
        <p:txBody>
          <a:bodyPr wrap="square" lIns="0" tIns="0" rIns="0" bIns="0">
            <a:spAutoFit/>
          </a:bodyPr>
          <a:lstStyle>
            <a:lvl1pPr>
              <a:defRPr>
                <a:latin typeface="+mn-lt"/>
                <a:sym typeface="Bahnschrift" panose="020B0502040204020203" pitchFamily="34" charset="0"/>
              </a:defRPr>
            </a:lvl1pPr>
          </a:lstStyle>
          <a:p>
            <a:fld id="{01920E2B-FC99-4A38-BFFD-416A818AECB0}" type="slidenum">
              <a:rPr lang="de-AT" smtClean="0"/>
              <a:pPr/>
              <a:t>‹Nr.›</a:t>
            </a:fld>
            <a:endParaRPr lang="de-AT"/>
          </a:p>
        </p:txBody>
      </p:sp>
    </p:spTree>
    <p:extLst>
      <p:ext uri="{BB962C8B-B14F-4D97-AF65-F5344CB8AC3E}">
        <p14:creationId xmlns:p14="http://schemas.microsoft.com/office/powerpoint/2010/main" val="268701481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E7C2E62-C82F-54BD-276E-86A332644996}"/>
              </a:ext>
            </a:extLst>
          </p:cNvPr>
          <p:cNvGraphicFramePr>
            <a:graphicFrameLocks noChangeAspect="1"/>
          </p:cNvGraphicFramePr>
          <p:nvPr userDrawn="1">
            <p:custDataLst>
              <p:tags r:id="rId1"/>
            </p:custDataLst>
            <p:extLst>
              <p:ext uri="{D42A27DB-BD31-4B8C-83A1-F6EECF244321}">
                <p14:modId xmlns:p14="http://schemas.microsoft.com/office/powerpoint/2010/main" val="194516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CE7C2E62-C82F-54BD-276E-86A3326449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609602" y="696436"/>
            <a:ext cx="4011084" cy="738664"/>
          </a:xfrm>
        </p:spPr>
        <p:txBody>
          <a:bodyPr vert="horz"/>
          <a:lstStyle>
            <a:lvl1pPr algn="l">
              <a:defRPr sz="3000" b="0">
                <a:solidFill>
                  <a:srgbClr val="6F6F6F"/>
                </a:solidFill>
                <a:latin typeface="+mj-lt"/>
                <a:sym typeface="Bahnschrift" panose="020B0502040204020203" pitchFamily="34" charset="0"/>
              </a:defRPr>
            </a:lvl1pPr>
          </a:lstStyle>
          <a:p>
            <a:r>
              <a:rPr lang="de-DE"/>
              <a:t>Mastertitelformat bearbeiten</a:t>
            </a:r>
            <a:endParaRPr lang="de-AT" dirty="0"/>
          </a:p>
        </p:txBody>
      </p:sp>
      <p:sp>
        <p:nvSpPr>
          <p:cNvPr id="3" name="Inhaltsplatzhalter 2"/>
          <p:cNvSpPr>
            <a:spLocks noGrp="1"/>
          </p:cNvSpPr>
          <p:nvPr>
            <p:ph idx="1"/>
          </p:nvPr>
        </p:nvSpPr>
        <p:spPr>
          <a:xfrm>
            <a:off x="4766734" y="273053"/>
            <a:ext cx="6815668" cy="5853113"/>
          </a:xfrm>
          <a:prstGeom prst="rect">
            <a:avLst/>
          </a:prstGeom>
        </p:spPr>
        <p:txBody>
          <a:bodyPr/>
          <a:lstStyle>
            <a:lvl1pPr>
              <a:defRPr sz="2200">
                <a:latin typeface="+mn-lt"/>
                <a:sym typeface="Bahnschrift" panose="020B0502040204020203" pitchFamily="34" charset="0"/>
              </a:defRPr>
            </a:lvl1pPr>
            <a:lvl2pPr>
              <a:defRPr sz="2000">
                <a:latin typeface="+mn-lt"/>
                <a:sym typeface="Bahnschrift" panose="020B0502040204020203" pitchFamily="34" charset="0"/>
              </a:defRPr>
            </a:lvl2pPr>
            <a:lvl3pPr>
              <a:defRPr sz="2000">
                <a:latin typeface="+mn-lt"/>
                <a:sym typeface="Bahnschrift" panose="020B0502040204020203" pitchFamily="34" charset="0"/>
              </a:defRPr>
            </a:lvl3pPr>
            <a:lvl4pPr>
              <a:defRPr sz="2000">
                <a:latin typeface="+mn-lt"/>
                <a:sym typeface="Bahnschrift" panose="020B0502040204020203" pitchFamily="34" charset="0"/>
              </a:defRPr>
            </a:lvl4pPr>
            <a:lvl5pPr>
              <a:defRPr sz="2000">
                <a:latin typeface="+mn-lt"/>
                <a:sym typeface="Bahnschrift" panose="020B0502040204020203" pitchFamily="34" charset="0"/>
              </a:defRPr>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dirty="0"/>
          </a:p>
        </p:txBody>
      </p:sp>
      <p:sp>
        <p:nvSpPr>
          <p:cNvPr id="4" name="Textplatzhalter 3"/>
          <p:cNvSpPr>
            <a:spLocks noGrp="1"/>
          </p:cNvSpPr>
          <p:nvPr>
            <p:ph type="body" sz="half" idx="2"/>
          </p:nvPr>
        </p:nvSpPr>
        <p:spPr>
          <a:xfrm>
            <a:off x="609602" y="1435103"/>
            <a:ext cx="4011084" cy="4691063"/>
          </a:xfrm>
          <a:prstGeom prst="rect">
            <a:avLst/>
          </a:prstGeom>
        </p:spPr>
        <p:txBody>
          <a:bodyPr/>
          <a:lstStyle>
            <a:lvl1pPr marL="0" indent="0">
              <a:buFont typeface="Wingdings" pitchFamily="2" charset="2"/>
              <a:buNone/>
              <a:defRPr sz="1400">
                <a:latin typeface="+mn-lt"/>
                <a:sym typeface="Bahnschrift" panose="020B0502040204020203" pitchFamily="34" charset="0"/>
              </a:defRPr>
            </a:lvl1pPr>
            <a:lvl2pPr marL="539750" indent="-269875">
              <a:buFont typeface="Wingdings" pitchFamily="2" charset="2"/>
              <a:buChar char="§"/>
              <a:defRPr sz="1200"/>
            </a:lvl2pPr>
            <a:lvl3pPr marL="914400" indent="-374650">
              <a:buFont typeface="Symbol" pitchFamily="18" charset="2"/>
              <a:buChar char="-"/>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7" name="Foliennummernplatzhalter 3">
            <a:extLst>
              <a:ext uri="{FF2B5EF4-FFF2-40B4-BE49-F238E27FC236}">
                <a16:creationId xmlns:a16="http://schemas.microsoft.com/office/drawing/2014/main" id="{E14F63A8-2FD6-F2D1-C8E9-1CF2A295926D}"/>
              </a:ext>
            </a:extLst>
          </p:cNvPr>
          <p:cNvSpPr>
            <a:spLocks noGrp="1"/>
          </p:cNvSpPr>
          <p:nvPr>
            <p:ph type="sldNum" sz="quarter" idx="10"/>
          </p:nvPr>
        </p:nvSpPr>
        <p:spPr>
          <a:xfrm>
            <a:off x="203200" y="6598363"/>
            <a:ext cx="226027" cy="123111"/>
          </a:xfrm>
          <a:prstGeom prst="rect">
            <a:avLst/>
          </a:prstGeom>
        </p:spPr>
        <p:txBody>
          <a:bodyPr wrap="square" lIns="0" tIns="0" rIns="0" bIns="0">
            <a:spAutoFit/>
          </a:bodyPr>
          <a:lstStyle>
            <a:lvl1pPr>
              <a:defRPr>
                <a:latin typeface="+mn-lt"/>
                <a:sym typeface="Bahnschrift" panose="020B0502040204020203" pitchFamily="34" charset="0"/>
              </a:defRPr>
            </a:lvl1pPr>
          </a:lstStyle>
          <a:p>
            <a:fld id="{01920E2B-FC99-4A38-BFFD-416A818AECB0}" type="slidenum">
              <a:rPr lang="de-AT" smtClean="0"/>
              <a:pPr/>
              <a:t>‹Nr.›</a:t>
            </a:fld>
            <a:endParaRPr lang="de-AT"/>
          </a:p>
        </p:txBody>
      </p:sp>
    </p:spTree>
    <p:extLst>
      <p:ext uri="{BB962C8B-B14F-4D97-AF65-F5344CB8AC3E}">
        <p14:creationId xmlns:p14="http://schemas.microsoft.com/office/powerpoint/2010/main" val="183499000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004692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Rechteck 1">
            <a:extLst>
              <a:ext uri="{FF2B5EF4-FFF2-40B4-BE49-F238E27FC236}">
                <a16:creationId xmlns:a16="http://schemas.microsoft.com/office/drawing/2014/main" id="{9EC25D41-B691-48CA-AC45-B4F8E2A26F3B}"/>
              </a:ext>
            </a:extLst>
          </p:cNvPr>
          <p:cNvSpPr/>
          <p:nvPr userDrawn="1"/>
        </p:nvSpPr>
        <p:spPr>
          <a:xfrm>
            <a:off x="0" y="0"/>
            <a:ext cx="12192000" cy="685800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solidFill>
                <a:schemeClr val="tx1"/>
              </a:solidFill>
              <a:latin typeface="Bahnschrift" panose="020B0502040204020203" pitchFamily="34" charset="0"/>
              <a:ea typeface="Verdana" pitchFamily="34" charset="0"/>
              <a:cs typeface="+mn-cs"/>
              <a:sym typeface="Bahnschrift" panose="020B0502040204020203" pitchFamily="34" charset="0"/>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4400" b="1" i="0" baseline="0" dirty="0">
              <a:solidFill>
                <a:schemeClr val="bg1"/>
              </a:solidFill>
              <a:latin typeface="Bahnschrift" panose="020B0502040204020203" pitchFamily="34" charset="0"/>
              <a:ea typeface="+mj-ea"/>
              <a:cs typeface="+mj-cs"/>
              <a:sym typeface="Bahnschrift" panose="020B0502040204020203"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232603" y="4386343"/>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1400" dirty="0">
                <a:latin typeface="+mn-lt"/>
                <a:sym typeface="Bahnschrift" panose="020B0502040204020203" pitchFamily="34" charset="0"/>
              </a:defRPr>
            </a:lvl1pPr>
          </a:lstStyle>
          <a:p>
            <a:pPr lvl="0">
              <a:buNone/>
            </a:pPr>
            <a:r>
              <a:rPr lang="de-DE"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232603" y="3968734"/>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2000" dirty="0">
                <a:latin typeface="+mn-lt"/>
                <a:sym typeface="Bahnschrift" panose="020B0502040204020203" pitchFamily="34" charset="0"/>
              </a:defRPr>
            </a:lvl1pPr>
          </a:lstStyle>
          <a:p>
            <a:pPr lvl="0">
              <a:buNone/>
            </a:pPr>
            <a:r>
              <a:rPr lang="en-US"/>
              <a:t>Click to edit Master subtitle style</a:t>
            </a:r>
            <a:endParaRPr lang="de-DE"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232603" y="3306001"/>
            <a:ext cx="9726795" cy="5416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de-DE" sz="4400" dirty="0">
                <a:latin typeface="+mj-lt"/>
                <a:sym typeface="Bahnschrift" panose="020B0502040204020203" pitchFamily="34" charset="0"/>
              </a:defRPr>
            </a:lvl1pPr>
          </a:lstStyle>
          <a:p>
            <a:pPr lvl="0"/>
            <a:r>
              <a:rPr lang="en-US"/>
              <a:t>Click to edit Master title style</a:t>
            </a:r>
            <a:endParaRPr lang="de-DE" dirty="0"/>
          </a:p>
        </p:txBody>
      </p:sp>
      <p:pic>
        <p:nvPicPr>
          <p:cNvPr id="8" name="Picture 24">
            <a:extLst>
              <a:ext uri="{FF2B5EF4-FFF2-40B4-BE49-F238E27FC236}">
                <a16:creationId xmlns:a16="http://schemas.microsoft.com/office/drawing/2014/main" id="{C2C6AA7B-ABAA-4B2A-8924-BC807341FB90}"/>
              </a:ext>
            </a:extLst>
          </p:cNvPr>
          <p:cNvPicPr>
            <a:picLocks noChangeAspect="1" noChangeArrowheads="1"/>
          </p:cNvPicPr>
          <p:nvPr userDrawn="1"/>
        </p:nvPicPr>
        <p:blipFill>
          <a:blip r:embed="rId9"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Tree>
    <p:extLst>
      <p:ext uri="{BB962C8B-B14F-4D97-AF65-F5344CB8AC3E}">
        <p14:creationId xmlns:p14="http://schemas.microsoft.com/office/powerpoint/2010/main" val="3631753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026089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de-DE"/>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0" name="Slide Number">
            <a:extLst>
              <a:ext uri="{FF2B5EF4-FFF2-40B4-BE49-F238E27FC236}">
                <a16:creationId xmlns:a16="http://schemas.microsoft.com/office/drawing/2014/main" id="{BA637108-8513-4669-AF8E-11F67EAC2F40}"/>
              </a:ext>
            </a:extLst>
          </p:cNvPr>
          <p:cNvSpPr>
            <a:spLocks noChangeArrowheads="1"/>
          </p:cNvSpPr>
          <p:nvPr userDrawn="1">
            <p:custDataLst>
              <p:tags r:id="rId5"/>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15981F77-3644-4555-80C7-6EE37D237D4C}"/>
              </a:ext>
            </a:extLst>
          </p:cNvPr>
          <p:cNvSpPr txBox="1"/>
          <p:nvPr userDrawn="1">
            <p:custDataLst>
              <p:tags r:id="rId6"/>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Tree>
    <p:extLst>
      <p:ext uri="{BB962C8B-B14F-4D97-AF65-F5344CB8AC3E}">
        <p14:creationId xmlns:p14="http://schemas.microsoft.com/office/powerpoint/2010/main" val="40600598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180383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de-DE"/>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1" name="Slide Number">
            <a:extLst>
              <a:ext uri="{FF2B5EF4-FFF2-40B4-BE49-F238E27FC236}">
                <a16:creationId xmlns:a16="http://schemas.microsoft.com/office/drawing/2014/main" id="{5DE124AC-E5D9-4B47-929C-E6CCB148EA72}"/>
              </a:ext>
            </a:extLst>
          </p:cNvPr>
          <p:cNvSpPr>
            <a:spLocks noChangeArrowheads="1"/>
          </p:cNvSpPr>
          <p:nvPr userDrawn="1">
            <p:custDataLst>
              <p:tags r:id="rId6"/>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708B70E-07AB-4CA1-AA8F-7B928F876BEC}"/>
              </a:ext>
            </a:extLst>
          </p:cNvPr>
          <p:cNvSpPr txBox="1"/>
          <p:nvPr userDrawn="1">
            <p:custDataLst>
              <p:tags r:id="rId7"/>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Tree>
    <p:extLst>
      <p:ext uri="{BB962C8B-B14F-4D97-AF65-F5344CB8AC3E}">
        <p14:creationId xmlns:p14="http://schemas.microsoft.com/office/powerpoint/2010/main" val="32221089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943162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de-DE">
              <a:solidFill>
                <a:schemeClr val="tx1"/>
              </a:solidFill>
              <a:latin typeface="Verdana" pitchFamily="34" charset="0"/>
              <a:ea typeface="Verdana"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98229"/>
            <a:ext cx="2514600" cy="715581"/>
          </a:xfrm>
        </p:spPr>
        <p:txBody>
          <a:bodyPr vert="horz" anchor="b">
            <a:spAutoFit/>
          </a:bodyPr>
          <a:lstStyle>
            <a:lvl1pPr rtl="0">
              <a:defRPr>
                <a:solidFill>
                  <a:srgbClr val="6F6F6F"/>
                </a:solidFill>
              </a:defRPr>
            </a:lvl1pPr>
          </a:lstStyle>
          <a:p>
            <a:r>
              <a:rPr lang="en-US"/>
              <a:t>Click to edit Master title style</a:t>
            </a:r>
            <a:endParaRPr lang="de-DE"/>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de-DE"/>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1" name="Slide Number">
            <a:extLst>
              <a:ext uri="{FF2B5EF4-FFF2-40B4-BE49-F238E27FC236}">
                <a16:creationId xmlns:a16="http://schemas.microsoft.com/office/drawing/2014/main" id="{ACE97FE8-6B53-4A0E-8FB0-7B459247319B}"/>
              </a:ext>
            </a:extLst>
          </p:cNvPr>
          <p:cNvSpPr>
            <a:spLocks noChangeArrowheads="1"/>
          </p:cNvSpPr>
          <p:nvPr userDrawn="1">
            <p:custDataLst>
              <p:tags r:id="rId7"/>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97369D5-E9D9-4163-9858-A55D3B909C4F}"/>
              </a:ext>
            </a:extLst>
          </p:cNvPr>
          <p:cNvSpPr txBox="1"/>
          <p:nvPr userDrawn="1">
            <p:custDataLst>
              <p:tags r:id="rId8"/>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6" name="Picture 24">
            <a:extLst>
              <a:ext uri="{FF2B5EF4-FFF2-40B4-BE49-F238E27FC236}">
                <a16:creationId xmlns:a16="http://schemas.microsoft.com/office/drawing/2014/main" id="{731B67C0-E0F0-4461-B1AA-08D5B92F5DA2}"/>
              </a:ext>
            </a:extLst>
          </p:cNvPr>
          <p:cNvPicPr>
            <a:picLocks noChangeAspect="1" noChangeArrowheads="1"/>
          </p:cNvPicPr>
          <p:nvPr userDrawn="1"/>
        </p:nvPicPr>
        <p:blipFill>
          <a:blip r:embed="rId12"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Tree>
    <p:extLst>
      <p:ext uri="{BB962C8B-B14F-4D97-AF65-F5344CB8AC3E}">
        <p14:creationId xmlns:p14="http://schemas.microsoft.com/office/powerpoint/2010/main" val="30257646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954437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de-DE">
              <a:solidFill>
                <a:schemeClr val="tx1"/>
              </a:solidFill>
              <a:latin typeface="Verdana" pitchFamily="34" charset="0"/>
              <a:ea typeface="Verdana"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98229"/>
            <a:ext cx="3465576" cy="715581"/>
          </a:xfrm>
          <a:prstGeom prst="rect">
            <a:avLst/>
          </a:prstGeom>
        </p:spPr>
        <p:txBody>
          <a:bodyPr vert="horz" wrap="square" anchor="b">
            <a:spAutoFit/>
          </a:bodyPr>
          <a:lstStyle>
            <a:lvl1pPr algn="l" rtl="0">
              <a:defRPr>
                <a:solidFill>
                  <a:srgbClr val="6F6F6F"/>
                </a:solidFill>
              </a:defRPr>
            </a:lvl1pPr>
          </a:lstStyle>
          <a:p>
            <a:r>
              <a:rPr lang="en-US"/>
              <a:t>Click to edit Master title style</a:t>
            </a:r>
            <a:endParaRPr lang="de-DE"/>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de-DE"/>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1" name="Slide Number">
            <a:extLst>
              <a:ext uri="{FF2B5EF4-FFF2-40B4-BE49-F238E27FC236}">
                <a16:creationId xmlns:a16="http://schemas.microsoft.com/office/drawing/2014/main" id="{7067C9ED-D307-433C-A5EE-09BE381BFD25}"/>
              </a:ext>
            </a:extLst>
          </p:cNvPr>
          <p:cNvSpPr>
            <a:spLocks noChangeArrowheads="1"/>
          </p:cNvSpPr>
          <p:nvPr userDrawn="1">
            <p:custDataLst>
              <p:tags r:id="rId7"/>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D2FC4C18-5BAA-4BD8-A1D3-5D0DBAD408E6}"/>
              </a:ext>
            </a:extLst>
          </p:cNvPr>
          <p:cNvSpPr txBox="1"/>
          <p:nvPr userDrawn="1">
            <p:custDataLst>
              <p:tags r:id="rId8"/>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4" name="Picture 24">
            <a:extLst>
              <a:ext uri="{FF2B5EF4-FFF2-40B4-BE49-F238E27FC236}">
                <a16:creationId xmlns:a16="http://schemas.microsoft.com/office/drawing/2014/main" id="{BEFB725C-7C26-4FB2-AA2A-2205DC4CBB3E}"/>
              </a:ext>
            </a:extLst>
          </p:cNvPr>
          <p:cNvPicPr>
            <a:picLocks noChangeAspect="1" noChangeArrowheads="1"/>
          </p:cNvPicPr>
          <p:nvPr userDrawn="1"/>
        </p:nvPicPr>
        <p:blipFill>
          <a:blip r:embed="rId12"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Tree>
    <p:extLst>
      <p:ext uri="{BB962C8B-B14F-4D97-AF65-F5344CB8AC3E}">
        <p14:creationId xmlns:p14="http://schemas.microsoft.com/office/powerpoint/2010/main" val="40069631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Aufzählun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3931501-7AEA-443B-97F9-E0B2B5890F03}"/>
              </a:ext>
            </a:extLst>
          </p:cNvPr>
          <p:cNvGraphicFramePr>
            <a:graphicFrameLocks noChangeAspect="1"/>
          </p:cNvGraphicFramePr>
          <p:nvPr userDrawn="1">
            <p:custDataLst>
              <p:tags r:id="rId1"/>
            </p:custDataLst>
            <p:extLst>
              <p:ext uri="{D42A27DB-BD31-4B8C-83A1-F6EECF244321}">
                <p14:modId xmlns:p14="http://schemas.microsoft.com/office/powerpoint/2010/main" val="3654340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6" name="Object 5" hidden="1">
                        <a:extLst>
                          <a:ext uri="{FF2B5EF4-FFF2-40B4-BE49-F238E27FC236}">
                            <a16:creationId xmlns:a16="http://schemas.microsoft.com/office/drawing/2014/main" id="{13931501-7AEA-443B-97F9-E0B2B5890F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838799" y="188916"/>
            <a:ext cx="9540001" cy="936625"/>
          </a:xfrm>
        </p:spPr>
        <p:txBody>
          <a:bodyPr vert="horz"/>
          <a:lstStyle>
            <a:lvl1pPr>
              <a:defRPr b="0">
                <a:solidFill>
                  <a:schemeClr val="tx1"/>
                </a:solidFill>
              </a:defRPr>
            </a:lvl1pPr>
          </a:lstStyle>
          <a:p>
            <a:r>
              <a:rPr lang="de-DE"/>
              <a:t>Prototypische einzeilige Headline</a:t>
            </a:r>
            <a:endParaRPr lang="de-AT"/>
          </a:p>
        </p:txBody>
      </p:sp>
      <p:sp>
        <p:nvSpPr>
          <p:cNvPr id="3" name="Inhaltsplatzhalter 2"/>
          <p:cNvSpPr>
            <a:spLocks noGrp="1"/>
          </p:cNvSpPr>
          <p:nvPr>
            <p:ph idx="1" hasCustomPrompt="1"/>
          </p:nvPr>
        </p:nvSpPr>
        <p:spPr>
          <a:xfrm>
            <a:off x="838800" y="1484316"/>
            <a:ext cx="9540000" cy="4525200"/>
          </a:xfrm>
          <a:prstGeom prst="rect">
            <a:avLst/>
          </a:prstGeom>
        </p:spPr>
        <p:txBody>
          <a:bodyPr/>
          <a:lstStyle>
            <a:lvl1pPr>
              <a:buClr>
                <a:srgbClr val="004FA1"/>
              </a:buClr>
              <a:defRPr/>
            </a:lvl1pPr>
            <a:lvl2pPr>
              <a:defRPr/>
            </a:lvl2pPr>
            <a:lvl3pPr>
              <a:defRPr/>
            </a:lvl3pPr>
          </a:lstStyle>
          <a:p>
            <a:pPr lvl="0"/>
            <a:r>
              <a:rPr lang="de-DE"/>
              <a:t>Sie lesen eben einen Blindtext beziehungsweise Musterworte, um die Optik besser sehen zu können.</a:t>
            </a:r>
          </a:p>
          <a:p>
            <a:pPr lvl="0"/>
            <a:r>
              <a:rPr lang="de-DE"/>
              <a:t>Der Text ist daher an sich redundant, aber Sie können nun die Abtrennungen besser sehen.</a:t>
            </a:r>
          </a:p>
          <a:p>
            <a:pPr lvl="1"/>
            <a:r>
              <a:rPr lang="de-DE"/>
              <a:t>Beispielsweise wäre die zweite Ebene jene, die jetzt</a:t>
            </a:r>
          </a:p>
          <a:p>
            <a:pPr lvl="1"/>
            <a:r>
              <a:rPr lang="de-DE"/>
              <a:t>folgt.</a:t>
            </a:r>
          </a:p>
          <a:p>
            <a:pPr lvl="2"/>
            <a:r>
              <a:rPr lang="de-DE"/>
              <a:t>Beispielsweise wäre die dritte Ebene jene, die jetzt</a:t>
            </a:r>
          </a:p>
          <a:p>
            <a:pPr lvl="2"/>
            <a:r>
              <a:rPr lang="de-DE"/>
              <a:t>folgt.</a:t>
            </a:r>
          </a:p>
        </p:txBody>
      </p:sp>
      <p:sp>
        <p:nvSpPr>
          <p:cNvPr id="4" name="Foliennummernplatzhalter 3"/>
          <p:cNvSpPr>
            <a:spLocks noGrp="1"/>
          </p:cNvSpPr>
          <p:nvPr>
            <p:ph type="sldNum" sz="quarter" idx="10"/>
          </p:nvPr>
        </p:nvSpPr>
        <p:spPr>
          <a:xfrm>
            <a:off x="167425" y="6245225"/>
            <a:ext cx="4692569" cy="476250"/>
          </a:xfrm>
        </p:spPr>
        <p:txBody>
          <a:bodyPr/>
          <a:lstStyle>
            <a:lvl1pPr>
              <a:defRPr/>
            </a:lvl1pPr>
          </a:lstStyle>
          <a:p>
            <a:fld id="{01920E2B-FC99-4A38-BFFD-416A818AECB0}" type="slidenum">
              <a:rPr lang="de-AT"/>
              <a:pPr/>
              <a:t>‹Nr.›</a:t>
            </a:fld>
            <a:endParaRPr lang="de-AT"/>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654135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de-DE">
              <a:solidFill>
                <a:schemeClr val="tx1"/>
              </a:solidFill>
              <a:latin typeface="Verdana" pitchFamily="34" charset="0"/>
              <a:ea typeface="Verdana"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57620"/>
            <a:ext cx="5065776" cy="357790"/>
          </a:xfrm>
        </p:spPr>
        <p:txBody>
          <a:bodyPr vert="horz">
            <a:spAutoFit/>
          </a:bodyPr>
          <a:lstStyle>
            <a:lvl1pPr rtl="0">
              <a:defRPr/>
            </a:lvl1pPr>
          </a:lstStyle>
          <a:p>
            <a:r>
              <a:rPr lang="en-US"/>
              <a:t>Click to edit Master title style</a:t>
            </a:r>
            <a:endParaRPr lang="de-DE"/>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47825"/>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1" name="Slide Number">
            <a:extLst>
              <a:ext uri="{FF2B5EF4-FFF2-40B4-BE49-F238E27FC236}">
                <a16:creationId xmlns:a16="http://schemas.microsoft.com/office/drawing/2014/main" id="{EA4238AD-B2D3-4FCA-AE7F-D5C1847E050A}"/>
              </a:ext>
            </a:extLst>
          </p:cNvPr>
          <p:cNvSpPr>
            <a:spLocks noChangeArrowheads="1"/>
          </p:cNvSpPr>
          <p:nvPr userDrawn="1">
            <p:custDataLst>
              <p:tags r:id="rId7"/>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57152604-7771-493D-8E5B-895058858287}"/>
              </a:ext>
            </a:extLst>
          </p:cNvPr>
          <p:cNvSpPr txBox="1"/>
          <p:nvPr userDrawn="1">
            <p:custDataLst>
              <p:tags r:id="rId8"/>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4" name="Picture 24">
            <a:extLst>
              <a:ext uri="{FF2B5EF4-FFF2-40B4-BE49-F238E27FC236}">
                <a16:creationId xmlns:a16="http://schemas.microsoft.com/office/drawing/2014/main" id="{B1DDB64D-6BF8-41DB-AB8C-66A92D04F8B9}"/>
              </a:ext>
            </a:extLst>
          </p:cNvPr>
          <p:cNvPicPr>
            <a:picLocks noChangeAspect="1" noChangeArrowheads="1"/>
          </p:cNvPicPr>
          <p:nvPr userDrawn="1"/>
        </p:nvPicPr>
        <p:blipFill>
          <a:blip r:embed="rId12"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Tree>
    <p:extLst>
      <p:ext uri="{BB962C8B-B14F-4D97-AF65-F5344CB8AC3E}">
        <p14:creationId xmlns:p14="http://schemas.microsoft.com/office/powerpoint/2010/main" val="9999045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113338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57620"/>
            <a:ext cx="6967728" cy="357790"/>
          </a:xfrm>
        </p:spPr>
        <p:txBody>
          <a:bodyPr vert="horz">
            <a:spAutoFit/>
          </a:bodyPr>
          <a:lstStyle>
            <a:lvl1pPr rtl="0">
              <a:defRPr/>
            </a:lvl1pPr>
          </a:lstStyle>
          <a:p>
            <a:r>
              <a:rPr lang="en-US"/>
              <a:t>Click to edit Master title style</a:t>
            </a:r>
            <a:endParaRPr lang="de-DE"/>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de-DE">
              <a:solidFill>
                <a:schemeClr val="tx1"/>
              </a:solidFill>
              <a:latin typeface="Verdana" pitchFamily="34" charset="0"/>
              <a:ea typeface="Verdana"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47825"/>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1" name="Slide Number">
            <a:extLst>
              <a:ext uri="{FF2B5EF4-FFF2-40B4-BE49-F238E27FC236}">
                <a16:creationId xmlns:a16="http://schemas.microsoft.com/office/drawing/2014/main" id="{BC9EEB5F-3BA3-4278-B669-92BAB780CEB4}"/>
              </a:ext>
            </a:extLst>
          </p:cNvPr>
          <p:cNvSpPr>
            <a:spLocks noChangeArrowheads="1"/>
          </p:cNvSpPr>
          <p:nvPr userDrawn="1">
            <p:custDataLst>
              <p:tags r:id="rId7"/>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D1AC80BD-F159-4728-977A-428E00807B8B}"/>
              </a:ext>
            </a:extLst>
          </p:cNvPr>
          <p:cNvSpPr txBox="1"/>
          <p:nvPr userDrawn="1">
            <p:custDataLst>
              <p:tags r:id="rId8"/>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4" name="Picture 24">
            <a:extLst>
              <a:ext uri="{FF2B5EF4-FFF2-40B4-BE49-F238E27FC236}">
                <a16:creationId xmlns:a16="http://schemas.microsoft.com/office/drawing/2014/main" id="{254AC017-59F1-42D6-AEDF-51B0F7C29C54}"/>
              </a:ext>
            </a:extLst>
          </p:cNvPr>
          <p:cNvPicPr>
            <a:picLocks noChangeAspect="1" noChangeArrowheads="1"/>
          </p:cNvPicPr>
          <p:nvPr userDrawn="1"/>
        </p:nvPicPr>
        <p:blipFill>
          <a:blip r:embed="rId12"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Tree>
    <p:extLst>
      <p:ext uri="{BB962C8B-B14F-4D97-AF65-F5344CB8AC3E}">
        <p14:creationId xmlns:p14="http://schemas.microsoft.com/office/powerpoint/2010/main" val="1519022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899091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de-DE" noProof="0">
              <a:solidFill>
                <a:schemeClr val="tx1"/>
              </a:solidFill>
              <a:latin typeface="Verdana" pitchFamily="34" charset="0"/>
              <a:ea typeface="Verdana"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57620"/>
            <a:ext cx="7918704" cy="357790"/>
          </a:xfrm>
        </p:spPr>
        <p:txBody>
          <a:bodyPr vert="horz">
            <a:spAutoFit/>
          </a:bodyPr>
          <a:lstStyle>
            <a:lvl1pPr rtl="0">
              <a:defRPr/>
            </a:lvl1pPr>
          </a:lstStyle>
          <a:p>
            <a:r>
              <a:rPr lang="en-US"/>
              <a:t>Click to edit Master title style</a:t>
            </a:r>
            <a:endParaRPr lang="de-DE"/>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47825"/>
            <a:ext cx="7918704"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1" name="Slide Number">
            <a:extLst>
              <a:ext uri="{FF2B5EF4-FFF2-40B4-BE49-F238E27FC236}">
                <a16:creationId xmlns:a16="http://schemas.microsoft.com/office/drawing/2014/main" id="{0143EE6C-1168-4DD6-A461-416121EF9906}"/>
              </a:ext>
            </a:extLst>
          </p:cNvPr>
          <p:cNvSpPr>
            <a:spLocks noChangeArrowheads="1"/>
          </p:cNvSpPr>
          <p:nvPr userDrawn="1">
            <p:custDataLst>
              <p:tags r:id="rId7"/>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513F939A-642E-4E98-983B-F47788754352}"/>
              </a:ext>
            </a:extLst>
          </p:cNvPr>
          <p:cNvSpPr txBox="1"/>
          <p:nvPr userDrawn="1">
            <p:custDataLst>
              <p:tags r:id="rId8"/>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7" name="Picture 24">
            <a:extLst>
              <a:ext uri="{FF2B5EF4-FFF2-40B4-BE49-F238E27FC236}">
                <a16:creationId xmlns:a16="http://schemas.microsoft.com/office/drawing/2014/main" id="{9F57E852-4A91-4B24-8235-4595773BADBF}"/>
              </a:ext>
            </a:extLst>
          </p:cNvPr>
          <p:cNvPicPr>
            <a:picLocks noChangeAspect="1" noChangeArrowheads="1"/>
          </p:cNvPicPr>
          <p:nvPr userDrawn="1"/>
        </p:nvPicPr>
        <p:blipFill>
          <a:blip r:embed="rId12"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Tree>
    <p:extLst>
      <p:ext uri="{BB962C8B-B14F-4D97-AF65-F5344CB8AC3E}">
        <p14:creationId xmlns:p14="http://schemas.microsoft.com/office/powerpoint/2010/main" val="25211643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450299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915410"/>
            <a:ext cx="11082528" cy="357790"/>
          </a:xfrm>
        </p:spPr>
        <p:txBody>
          <a:bodyPr vert="horz">
            <a:spAutoFit/>
          </a:bodyPr>
          <a:lstStyle>
            <a:lvl1pPr rtl="0">
              <a:defRPr/>
            </a:lvl1pPr>
          </a:lstStyle>
          <a:p>
            <a:r>
              <a:rPr lang="en-US"/>
              <a:t>Click to edit Master title style</a:t>
            </a:r>
            <a:endParaRPr lang="de-DE"/>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9" name="Slide Number">
            <a:extLst>
              <a:ext uri="{FF2B5EF4-FFF2-40B4-BE49-F238E27FC236}">
                <a16:creationId xmlns:a16="http://schemas.microsoft.com/office/drawing/2014/main" id="{96674A65-5FC2-41CE-8582-D1D21827D6F5}"/>
              </a:ext>
            </a:extLst>
          </p:cNvPr>
          <p:cNvSpPr>
            <a:spLocks noChangeArrowheads="1"/>
          </p:cNvSpPr>
          <p:nvPr userDrawn="1">
            <p:custDataLst>
              <p:tags r:id="rId5"/>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FCD6A1F4-DEC5-4BDA-8C6A-928B2E375B25}"/>
              </a:ext>
            </a:extLst>
          </p:cNvPr>
          <p:cNvSpPr txBox="1"/>
          <p:nvPr userDrawn="1">
            <p:custDataLst>
              <p:tags r:id="rId6"/>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2" name="Picture 24">
            <a:extLst>
              <a:ext uri="{FF2B5EF4-FFF2-40B4-BE49-F238E27FC236}">
                <a16:creationId xmlns:a16="http://schemas.microsoft.com/office/drawing/2014/main" id="{4DD97FBD-336D-4FED-AEBC-E68CFB31BA1A}"/>
              </a:ext>
            </a:extLst>
          </p:cNvPr>
          <p:cNvPicPr>
            <a:picLocks noChangeAspect="1" noChangeArrowheads="1"/>
          </p:cNvPicPr>
          <p:nvPr userDrawn="1"/>
        </p:nvPicPr>
        <p:blipFill>
          <a:blip r:embed="rId10"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Tree>
    <p:extLst>
      <p:ext uri="{BB962C8B-B14F-4D97-AF65-F5344CB8AC3E}">
        <p14:creationId xmlns:p14="http://schemas.microsoft.com/office/powerpoint/2010/main" val="34582318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655897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6" name="Slide Number">
            <a:extLst>
              <a:ext uri="{FF2B5EF4-FFF2-40B4-BE49-F238E27FC236}">
                <a16:creationId xmlns:a16="http://schemas.microsoft.com/office/drawing/2014/main" id="{1B877722-89DB-496A-95D4-7FD74FB3A776}"/>
              </a:ext>
            </a:extLst>
          </p:cNvPr>
          <p:cNvSpPr>
            <a:spLocks noChangeArrowheads="1"/>
          </p:cNvSpPr>
          <p:nvPr userDrawn="1">
            <p:custDataLst>
              <p:tags r:id="rId3"/>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30D1A18E-00CE-4AFC-8B1D-FCCCCD57C060}"/>
              </a:ext>
            </a:extLst>
          </p:cNvPr>
          <p:cNvSpPr txBox="1"/>
          <p:nvPr userDrawn="1">
            <p:custDataLst>
              <p:tags r:id="rId4"/>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1" name="Picture 24">
            <a:extLst>
              <a:ext uri="{FF2B5EF4-FFF2-40B4-BE49-F238E27FC236}">
                <a16:creationId xmlns:a16="http://schemas.microsoft.com/office/drawing/2014/main" id="{952A21E9-120B-4C29-89C3-CE32E6500919}"/>
              </a:ext>
            </a:extLst>
          </p:cNvPr>
          <p:cNvPicPr>
            <a:picLocks noChangeAspect="1" noChangeArrowheads="1"/>
          </p:cNvPicPr>
          <p:nvPr userDrawn="1"/>
        </p:nvPicPr>
        <p:blipFill>
          <a:blip r:embed="rId8"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Tree>
    <p:extLst>
      <p:ext uri="{BB962C8B-B14F-4D97-AF65-F5344CB8AC3E}">
        <p14:creationId xmlns:p14="http://schemas.microsoft.com/office/powerpoint/2010/main" val="1806404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342221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57620"/>
            <a:ext cx="11082528" cy="35779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de-DE" dirty="0"/>
            </a:lvl1pPr>
          </a:lstStyle>
          <a:p>
            <a:pPr lvl="0"/>
            <a:r>
              <a:rPr lang="en-US"/>
              <a:t>Click to edit Master title style</a:t>
            </a:r>
            <a:endParaRPr lang="de-DE"/>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47825"/>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b="0" dirty="0"/>
            </a:lvl1pPr>
          </a:lstStyle>
          <a:p>
            <a:pPr lvl="0">
              <a:buNone/>
            </a:pPr>
            <a:r>
              <a:rPr lang="en-US"/>
              <a:t>Click to edit Master subtitle style</a:t>
            </a:r>
            <a:endParaRPr lang="de-DE"/>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800" b="0" dirty="0">
                <a:cs typeface="+mn-cs"/>
              </a:defRPr>
            </a:lvl1pPr>
          </a:lstStyle>
          <a:p>
            <a:pPr lvl="0">
              <a:buNone/>
            </a:pPr>
            <a:r>
              <a:rPr lang="de-DE"/>
              <a:t>Add tracker</a:t>
            </a:r>
          </a:p>
        </p:txBody>
      </p:sp>
    </p:spTree>
    <p:extLst>
      <p:ext uri="{BB962C8B-B14F-4D97-AF65-F5344CB8AC3E}">
        <p14:creationId xmlns:p14="http://schemas.microsoft.com/office/powerpoint/2010/main" val="36995714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223167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de-DE"/>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a:t>
            </a:r>
            <a:r>
              <a:rPr lang="de-DE" err="1"/>
              <a:t>tracker</a:t>
            </a:r>
            <a:endParaRPr lang="de-DE"/>
          </a:p>
        </p:txBody>
      </p:sp>
      <p:sp>
        <p:nvSpPr>
          <p:cNvPr id="8" name="Slide Number">
            <a:extLst>
              <a:ext uri="{FF2B5EF4-FFF2-40B4-BE49-F238E27FC236}">
                <a16:creationId xmlns:a16="http://schemas.microsoft.com/office/drawing/2014/main" id="{1A51FC7F-99A8-4EAF-9223-6B974A470419}"/>
              </a:ext>
            </a:extLst>
          </p:cNvPr>
          <p:cNvSpPr>
            <a:spLocks noChangeArrowheads="1"/>
          </p:cNvSpPr>
          <p:nvPr userDrawn="1">
            <p:custDataLst>
              <p:tags r:id="rId5"/>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4EE12332-EFAE-4F87-A522-2926FABA0C99}"/>
              </a:ext>
            </a:extLst>
          </p:cNvPr>
          <p:cNvSpPr txBox="1"/>
          <p:nvPr userDrawn="1">
            <p:custDataLst>
              <p:tags r:id="rId6"/>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Tree>
    <p:extLst>
      <p:ext uri="{BB962C8B-B14F-4D97-AF65-F5344CB8AC3E}">
        <p14:creationId xmlns:p14="http://schemas.microsoft.com/office/powerpoint/2010/main" val="3790836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1342487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de-DE"/>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1" name="Slide Number">
            <a:extLst>
              <a:ext uri="{FF2B5EF4-FFF2-40B4-BE49-F238E27FC236}">
                <a16:creationId xmlns:a16="http://schemas.microsoft.com/office/drawing/2014/main" id="{1535753D-C75C-4BA4-BAA7-FAB78E5E7DE4}"/>
              </a:ext>
            </a:extLst>
          </p:cNvPr>
          <p:cNvSpPr>
            <a:spLocks noChangeArrowheads="1"/>
          </p:cNvSpPr>
          <p:nvPr userDrawn="1">
            <p:custDataLst>
              <p:tags r:id="rId5"/>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E4BA8A7-10D2-47EE-BC77-F9B70F061742}"/>
              </a:ext>
            </a:extLst>
          </p:cNvPr>
          <p:cNvSpPr txBox="1"/>
          <p:nvPr userDrawn="1">
            <p:custDataLst>
              <p:tags r:id="rId6"/>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
        <p:nvSpPr>
          <p:cNvPr id="8" name="EYP-Draft">
            <a:extLst>
              <a:ext uri="{FF2B5EF4-FFF2-40B4-BE49-F238E27FC236}">
                <a16:creationId xmlns:a16="http://schemas.microsoft.com/office/drawing/2014/main" id="{2AC8839F-7E3C-4706-B8DF-7F5A90F47F50}"/>
              </a:ext>
            </a:extLst>
          </p:cNvPr>
          <p:cNvSpPr/>
          <p:nvPr userDrawn="1">
            <p:custDataLst>
              <p:tags r:id="rId7"/>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24517303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08833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de-DE"/>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0" name="Slide Number">
            <a:extLst>
              <a:ext uri="{FF2B5EF4-FFF2-40B4-BE49-F238E27FC236}">
                <a16:creationId xmlns:a16="http://schemas.microsoft.com/office/drawing/2014/main" id="{BA637108-8513-4669-AF8E-11F67EAC2F40}"/>
              </a:ext>
            </a:extLst>
          </p:cNvPr>
          <p:cNvSpPr>
            <a:spLocks noChangeArrowheads="1"/>
          </p:cNvSpPr>
          <p:nvPr userDrawn="1">
            <p:custDataLst>
              <p:tags r:id="rId5"/>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15981F77-3644-4555-80C7-6EE37D237D4C}"/>
              </a:ext>
            </a:extLst>
          </p:cNvPr>
          <p:cNvSpPr txBox="1"/>
          <p:nvPr userDrawn="1">
            <p:custDataLst>
              <p:tags r:id="rId6"/>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
        <p:nvSpPr>
          <p:cNvPr id="8" name="EYP-Draft">
            <a:extLst>
              <a:ext uri="{FF2B5EF4-FFF2-40B4-BE49-F238E27FC236}">
                <a16:creationId xmlns:a16="http://schemas.microsoft.com/office/drawing/2014/main" id="{560636F0-A603-4364-8704-52609680C2D0}"/>
              </a:ext>
            </a:extLst>
          </p:cNvPr>
          <p:cNvSpPr/>
          <p:nvPr userDrawn="1">
            <p:custDataLst>
              <p:tags r:id="rId7"/>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20132615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817888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de-DE"/>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1" name="Slide Number">
            <a:extLst>
              <a:ext uri="{FF2B5EF4-FFF2-40B4-BE49-F238E27FC236}">
                <a16:creationId xmlns:a16="http://schemas.microsoft.com/office/drawing/2014/main" id="{5DE124AC-E5D9-4B47-929C-E6CCB148EA72}"/>
              </a:ext>
            </a:extLst>
          </p:cNvPr>
          <p:cNvSpPr>
            <a:spLocks noChangeArrowheads="1"/>
          </p:cNvSpPr>
          <p:nvPr userDrawn="1">
            <p:custDataLst>
              <p:tags r:id="rId6"/>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708B70E-07AB-4CA1-AA8F-7B928F876BEC}"/>
              </a:ext>
            </a:extLst>
          </p:cNvPr>
          <p:cNvSpPr txBox="1"/>
          <p:nvPr userDrawn="1">
            <p:custDataLst>
              <p:tags r:id="rId7"/>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
        <p:nvSpPr>
          <p:cNvPr id="9" name="EYP-Draft">
            <a:extLst>
              <a:ext uri="{FF2B5EF4-FFF2-40B4-BE49-F238E27FC236}">
                <a16:creationId xmlns:a16="http://schemas.microsoft.com/office/drawing/2014/main" id="{AFDDE9D1-DFDF-4A61-9F24-734EA6F84275}"/>
              </a:ext>
            </a:extLst>
          </p:cNvPr>
          <p:cNvSpPr/>
          <p:nvPr userDrawn="1">
            <p:custDataLst>
              <p:tags r:id="rId8"/>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23474125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Lauf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3B4E60E-C860-43FE-9FAE-F6FCF76FD291}"/>
              </a:ext>
            </a:extLst>
          </p:cNvPr>
          <p:cNvGraphicFramePr>
            <a:graphicFrameLocks noChangeAspect="1"/>
          </p:cNvGraphicFramePr>
          <p:nvPr userDrawn="1">
            <p:custDataLst>
              <p:tags r:id="rId1"/>
            </p:custDataLst>
            <p:extLst>
              <p:ext uri="{D42A27DB-BD31-4B8C-83A1-F6EECF244321}">
                <p14:modId xmlns:p14="http://schemas.microsoft.com/office/powerpoint/2010/main" val="1414653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6" name="Object 5" hidden="1">
                        <a:extLst>
                          <a:ext uri="{FF2B5EF4-FFF2-40B4-BE49-F238E27FC236}">
                            <a16:creationId xmlns:a16="http://schemas.microsoft.com/office/drawing/2014/main" id="{F3B4E60E-C860-43FE-9FAE-F6FCF76FD2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838800" y="188916"/>
            <a:ext cx="9540000" cy="936625"/>
          </a:xfrm>
        </p:spPr>
        <p:txBody>
          <a:bodyPr vert="horz"/>
          <a:lstStyle>
            <a:lvl1pPr>
              <a:defRPr b="0">
                <a:solidFill>
                  <a:schemeClr val="tx1"/>
                </a:solidFill>
              </a:defRPr>
            </a:lvl1pPr>
          </a:lstStyle>
          <a:p>
            <a:r>
              <a:rPr lang="de-DE"/>
              <a:t>Prototypische zweizeilige Headline</a:t>
            </a:r>
            <a:br>
              <a:rPr lang="de-DE"/>
            </a:br>
            <a:r>
              <a:rPr lang="de-DE"/>
              <a:t>Prototypische Headline</a:t>
            </a:r>
            <a:endParaRPr lang="de-AT"/>
          </a:p>
        </p:txBody>
      </p:sp>
      <p:sp>
        <p:nvSpPr>
          <p:cNvPr id="3" name="Inhaltsplatzhalter 2"/>
          <p:cNvSpPr>
            <a:spLocks noGrp="1"/>
          </p:cNvSpPr>
          <p:nvPr>
            <p:ph idx="1" hasCustomPrompt="1"/>
          </p:nvPr>
        </p:nvSpPr>
        <p:spPr>
          <a:xfrm>
            <a:off x="838800" y="1484316"/>
            <a:ext cx="9540000" cy="4525200"/>
          </a:xfrm>
          <a:prstGeom prst="rect">
            <a:avLst/>
          </a:prstGeom>
        </p:spPr>
        <p:txBody>
          <a:bodyPr/>
          <a:lstStyle>
            <a:lvl1pPr marL="0" indent="0">
              <a:buFontTx/>
              <a:buNone/>
              <a:defRPr/>
            </a:lvl1pPr>
          </a:lstStyle>
          <a:p>
            <a:pPr>
              <a:buNone/>
            </a:pPr>
            <a:r>
              <a:rPr lang="de-AT" err="1"/>
              <a:t>Lorem</a:t>
            </a:r>
            <a:r>
              <a:rPr lang="de-AT"/>
              <a:t> </a:t>
            </a:r>
            <a:r>
              <a:rPr lang="de-AT" err="1"/>
              <a:t>ipsum</a:t>
            </a:r>
            <a:r>
              <a:rPr lang="de-AT"/>
              <a:t> </a:t>
            </a:r>
            <a:r>
              <a:rPr lang="de-AT" err="1"/>
              <a:t>dolor</a:t>
            </a:r>
            <a:r>
              <a:rPr lang="de-AT"/>
              <a:t> </a:t>
            </a:r>
            <a:r>
              <a:rPr lang="de-AT" err="1"/>
              <a:t>sit</a:t>
            </a:r>
            <a:r>
              <a:rPr lang="de-AT"/>
              <a:t> </a:t>
            </a:r>
            <a:r>
              <a:rPr lang="de-AT" err="1"/>
              <a:t>amet</a:t>
            </a:r>
            <a:r>
              <a:rPr lang="de-AT"/>
              <a:t>, </a:t>
            </a:r>
            <a:r>
              <a:rPr lang="de-AT" err="1"/>
              <a:t>sed</a:t>
            </a:r>
            <a:r>
              <a:rPr lang="de-AT"/>
              <a:t> </a:t>
            </a:r>
            <a:r>
              <a:rPr lang="de-AT" err="1"/>
              <a:t>diam</a:t>
            </a:r>
            <a:r>
              <a:rPr lang="de-AT"/>
              <a:t> </a:t>
            </a:r>
            <a:r>
              <a:rPr lang="de-AT" err="1"/>
              <a:t>nonummy</a:t>
            </a:r>
            <a:r>
              <a:rPr lang="de-AT"/>
              <a:t> </a:t>
            </a:r>
            <a:r>
              <a:rPr lang="de-AT" err="1"/>
              <a:t>nibh</a:t>
            </a:r>
            <a:r>
              <a:rPr lang="de-AT"/>
              <a:t> </a:t>
            </a:r>
            <a:r>
              <a:rPr lang="de-AT" err="1"/>
              <a:t>euismod</a:t>
            </a:r>
            <a:r>
              <a:rPr lang="de-AT"/>
              <a:t> </a:t>
            </a:r>
            <a:r>
              <a:rPr lang="de-AT" err="1"/>
              <a:t>tincidunt</a:t>
            </a:r>
            <a:r>
              <a:rPr lang="de-AT"/>
              <a:t> </a:t>
            </a:r>
            <a:r>
              <a:rPr lang="de-AT" err="1"/>
              <a:t>ut</a:t>
            </a:r>
            <a:r>
              <a:rPr lang="de-AT"/>
              <a:t> </a:t>
            </a:r>
            <a:r>
              <a:rPr lang="de-AT" err="1"/>
              <a:t>laoreet</a:t>
            </a:r>
            <a:r>
              <a:rPr lang="de-AT"/>
              <a:t> </a:t>
            </a:r>
            <a:r>
              <a:rPr lang="de-AT" err="1"/>
              <a:t>dolore</a:t>
            </a:r>
            <a:r>
              <a:rPr lang="de-AT"/>
              <a:t> magna </a:t>
            </a:r>
            <a:r>
              <a:rPr lang="de-AT" err="1"/>
              <a:t>aliquam</a:t>
            </a:r>
            <a:r>
              <a:rPr lang="de-AT"/>
              <a:t> </a:t>
            </a:r>
            <a:r>
              <a:rPr lang="de-AT" err="1"/>
              <a:t>erat</a:t>
            </a:r>
            <a:r>
              <a:rPr lang="de-AT"/>
              <a:t> </a:t>
            </a:r>
            <a:r>
              <a:rPr lang="de-AT" err="1"/>
              <a:t>volutpat</a:t>
            </a:r>
            <a:r>
              <a:rPr lang="de-AT"/>
              <a:t>.</a:t>
            </a:r>
          </a:p>
          <a:p>
            <a:pPr>
              <a:buNone/>
            </a:pPr>
            <a:endParaRPr lang="de-AT"/>
          </a:p>
          <a:p>
            <a:pPr>
              <a:buNone/>
            </a:pPr>
            <a:r>
              <a:rPr lang="de-AT"/>
              <a:t>Duis </a:t>
            </a:r>
            <a:r>
              <a:rPr lang="de-AT" err="1"/>
              <a:t>autem</a:t>
            </a:r>
            <a:r>
              <a:rPr lang="de-AT"/>
              <a:t> </a:t>
            </a:r>
            <a:r>
              <a:rPr lang="de-AT" err="1"/>
              <a:t>vel</a:t>
            </a:r>
            <a:r>
              <a:rPr lang="de-AT"/>
              <a:t> </a:t>
            </a:r>
            <a:r>
              <a:rPr lang="de-AT" err="1"/>
              <a:t>eum</a:t>
            </a:r>
            <a:r>
              <a:rPr lang="de-AT"/>
              <a:t> </a:t>
            </a:r>
            <a:r>
              <a:rPr lang="de-AT" err="1"/>
              <a:t>iriure</a:t>
            </a:r>
            <a:r>
              <a:rPr lang="de-AT"/>
              <a:t> </a:t>
            </a:r>
            <a:r>
              <a:rPr lang="de-AT" err="1"/>
              <a:t>dolor</a:t>
            </a:r>
            <a:r>
              <a:rPr lang="de-AT"/>
              <a:t> in </a:t>
            </a:r>
            <a:r>
              <a:rPr lang="de-AT" err="1"/>
              <a:t>hendrerit</a:t>
            </a:r>
            <a:r>
              <a:rPr lang="de-AT"/>
              <a:t> in </a:t>
            </a:r>
            <a:r>
              <a:rPr lang="de-AT" err="1"/>
              <a:t>vulputate</a:t>
            </a:r>
            <a:r>
              <a:rPr lang="de-AT"/>
              <a:t> </a:t>
            </a:r>
            <a:r>
              <a:rPr lang="de-AT" err="1"/>
              <a:t>velit</a:t>
            </a:r>
            <a:r>
              <a:rPr lang="de-AT"/>
              <a:t> esse </a:t>
            </a:r>
            <a:r>
              <a:rPr lang="de-AT" err="1"/>
              <a:t>molestie</a:t>
            </a:r>
            <a:r>
              <a:rPr lang="de-AT"/>
              <a:t> </a:t>
            </a:r>
            <a:r>
              <a:rPr lang="de-AT" err="1"/>
              <a:t>consequat</a:t>
            </a:r>
            <a:r>
              <a:rPr lang="de-AT"/>
              <a:t>, </a:t>
            </a:r>
            <a:r>
              <a:rPr lang="de-AT" err="1"/>
              <a:t>vel</a:t>
            </a:r>
            <a:r>
              <a:rPr lang="de-AT"/>
              <a:t> </a:t>
            </a:r>
            <a:r>
              <a:rPr lang="de-AT" err="1"/>
              <a:t>illum</a:t>
            </a:r>
            <a:r>
              <a:rPr lang="de-AT"/>
              <a:t> </a:t>
            </a:r>
            <a:r>
              <a:rPr lang="de-AT" err="1"/>
              <a:t>dolore</a:t>
            </a:r>
            <a:r>
              <a:rPr lang="de-AT"/>
              <a:t> </a:t>
            </a:r>
            <a:r>
              <a:rPr lang="de-AT" err="1"/>
              <a:t>eu</a:t>
            </a:r>
            <a:r>
              <a:rPr lang="de-AT"/>
              <a:t> </a:t>
            </a:r>
            <a:r>
              <a:rPr lang="de-AT" err="1"/>
              <a:t>feugiat</a:t>
            </a:r>
            <a:r>
              <a:rPr lang="de-AT"/>
              <a:t> </a:t>
            </a:r>
            <a:r>
              <a:rPr lang="de-AT" err="1"/>
              <a:t>nulla</a:t>
            </a:r>
            <a:r>
              <a:rPr lang="de-AT"/>
              <a:t> </a:t>
            </a:r>
            <a:r>
              <a:rPr lang="de-AT" err="1"/>
              <a:t>facilisis</a:t>
            </a:r>
            <a:r>
              <a:rPr lang="de-AT"/>
              <a:t> </a:t>
            </a:r>
            <a:r>
              <a:rPr lang="de-AT" err="1"/>
              <a:t>at</a:t>
            </a:r>
            <a:r>
              <a:rPr lang="de-AT"/>
              <a:t> </a:t>
            </a:r>
            <a:r>
              <a:rPr lang="de-AT" err="1"/>
              <a:t>vero</a:t>
            </a:r>
            <a:r>
              <a:rPr lang="de-AT"/>
              <a:t> et </a:t>
            </a:r>
            <a:r>
              <a:rPr lang="de-AT" err="1"/>
              <a:t>accumsan</a:t>
            </a:r>
            <a:r>
              <a:rPr lang="de-AT"/>
              <a:t> et </a:t>
            </a:r>
            <a:r>
              <a:rPr lang="de-AT" err="1"/>
              <a:t>iusto</a:t>
            </a:r>
            <a:r>
              <a:rPr lang="de-AT"/>
              <a:t> </a:t>
            </a:r>
            <a:r>
              <a:rPr lang="de-AT" err="1"/>
              <a:t>odio</a:t>
            </a:r>
            <a:r>
              <a:rPr lang="de-AT"/>
              <a:t> </a:t>
            </a:r>
            <a:r>
              <a:rPr lang="de-AT" err="1"/>
              <a:t>dignissim</a:t>
            </a:r>
            <a:r>
              <a:rPr lang="de-AT"/>
              <a:t> </a:t>
            </a:r>
            <a:r>
              <a:rPr lang="de-AT" err="1"/>
              <a:t>qui</a:t>
            </a:r>
            <a:r>
              <a:rPr lang="de-AT"/>
              <a:t> </a:t>
            </a:r>
            <a:r>
              <a:rPr lang="de-AT" err="1"/>
              <a:t>blandit</a:t>
            </a:r>
            <a:r>
              <a:rPr lang="de-AT"/>
              <a:t> </a:t>
            </a:r>
            <a:r>
              <a:rPr lang="de-AT" err="1"/>
              <a:t>praesent</a:t>
            </a:r>
            <a:r>
              <a:rPr lang="de-AT"/>
              <a:t> </a:t>
            </a:r>
            <a:r>
              <a:rPr lang="de-AT" err="1"/>
              <a:t>luptatum</a:t>
            </a:r>
            <a:r>
              <a:rPr lang="de-AT"/>
              <a:t> </a:t>
            </a:r>
            <a:r>
              <a:rPr lang="de-AT" err="1"/>
              <a:t>zzril</a:t>
            </a:r>
            <a:r>
              <a:rPr lang="de-AT"/>
              <a:t> </a:t>
            </a:r>
            <a:r>
              <a:rPr lang="de-AT" err="1"/>
              <a:t>delenit</a:t>
            </a:r>
            <a:r>
              <a:rPr lang="de-AT"/>
              <a:t> </a:t>
            </a:r>
            <a:r>
              <a:rPr lang="de-AT" err="1"/>
              <a:t>augue</a:t>
            </a:r>
            <a:r>
              <a:rPr lang="de-AT"/>
              <a:t> </a:t>
            </a:r>
            <a:r>
              <a:rPr lang="de-AT" err="1"/>
              <a:t>duis</a:t>
            </a:r>
            <a:r>
              <a:rPr lang="de-AT"/>
              <a:t> </a:t>
            </a:r>
            <a:r>
              <a:rPr lang="de-AT" err="1"/>
              <a:t>dolore</a:t>
            </a:r>
            <a:r>
              <a:rPr lang="de-AT"/>
              <a:t> </a:t>
            </a:r>
            <a:r>
              <a:rPr lang="de-AT" err="1"/>
              <a:t>te</a:t>
            </a:r>
            <a:r>
              <a:rPr lang="de-AT"/>
              <a:t> </a:t>
            </a:r>
            <a:r>
              <a:rPr lang="de-AT" err="1"/>
              <a:t>feugait</a:t>
            </a:r>
            <a:r>
              <a:rPr lang="de-AT"/>
              <a:t> </a:t>
            </a:r>
            <a:r>
              <a:rPr lang="de-AT" err="1"/>
              <a:t>nulla</a:t>
            </a:r>
            <a:r>
              <a:rPr lang="de-AT"/>
              <a:t> </a:t>
            </a:r>
            <a:r>
              <a:rPr lang="de-AT" err="1"/>
              <a:t>facilisi</a:t>
            </a:r>
            <a:r>
              <a:rPr lang="de-AT"/>
              <a:t>.</a:t>
            </a:r>
            <a:endParaRPr lang="de-DE"/>
          </a:p>
        </p:txBody>
      </p:sp>
      <p:sp>
        <p:nvSpPr>
          <p:cNvPr id="4" name="Foliennummernplatzhalter 3"/>
          <p:cNvSpPr>
            <a:spLocks noGrp="1"/>
          </p:cNvSpPr>
          <p:nvPr>
            <p:ph type="sldNum" sz="quarter" idx="10"/>
          </p:nvPr>
        </p:nvSpPr>
        <p:spPr>
          <a:xfrm>
            <a:off x="297888" y="6245225"/>
            <a:ext cx="4692569" cy="476250"/>
          </a:xfrm>
        </p:spPr>
        <p:txBody>
          <a:bodyPr/>
          <a:lstStyle>
            <a:lvl1pPr>
              <a:defRPr/>
            </a:lvl1pPr>
          </a:lstStyle>
          <a:p>
            <a:fld id="{01920E2B-FC99-4A38-BFFD-416A818AECB0}" type="slidenum">
              <a:rPr lang="de-AT"/>
              <a:pPr/>
              <a:t>‹Nr.›</a:t>
            </a:fld>
            <a:endParaRPr lang="de-AT"/>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336928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de-DE">
              <a:solidFill>
                <a:schemeClr val="tx1"/>
              </a:solidFill>
              <a:latin typeface="Verdana" pitchFamily="34" charset="0"/>
              <a:ea typeface="Verdana"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98229"/>
            <a:ext cx="2514600" cy="715581"/>
          </a:xfrm>
        </p:spPr>
        <p:txBody>
          <a:bodyPr vert="horz" anchor="b">
            <a:spAutoFit/>
          </a:bodyPr>
          <a:lstStyle>
            <a:lvl1pPr rtl="0">
              <a:defRPr>
                <a:solidFill>
                  <a:srgbClr val="6F6F6F"/>
                </a:solidFill>
              </a:defRPr>
            </a:lvl1pPr>
          </a:lstStyle>
          <a:p>
            <a:r>
              <a:rPr lang="en-US"/>
              <a:t>Click to edit Master title style</a:t>
            </a:r>
            <a:endParaRPr lang="de-DE"/>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de-DE"/>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1" name="Slide Number">
            <a:extLst>
              <a:ext uri="{FF2B5EF4-FFF2-40B4-BE49-F238E27FC236}">
                <a16:creationId xmlns:a16="http://schemas.microsoft.com/office/drawing/2014/main" id="{ACE97FE8-6B53-4A0E-8FB0-7B459247319B}"/>
              </a:ext>
            </a:extLst>
          </p:cNvPr>
          <p:cNvSpPr>
            <a:spLocks noChangeArrowheads="1"/>
          </p:cNvSpPr>
          <p:nvPr userDrawn="1">
            <p:custDataLst>
              <p:tags r:id="rId7"/>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97369D5-E9D9-4163-9858-A55D3B909C4F}"/>
              </a:ext>
            </a:extLst>
          </p:cNvPr>
          <p:cNvSpPr txBox="1"/>
          <p:nvPr userDrawn="1">
            <p:custDataLst>
              <p:tags r:id="rId8"/>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6" name="Picture 24">
            <a:extLst>
              <a:ext uri="{FF2B5EF4-FFF2-40B4-BE49-F238E27FC236}">
                <a16:creationId xmlns:a16="http://schemas.microsoft.com/office/drawing/2014/main" id="{731B67C0-E0F0-4461-B1AA-08D5B92F5DA2}"/>
              </a:ext>
            </a:extLst>
          </p:cNvPr>
          <p:cNvPicPr>
            <a:picLocks noChangeAspect="1" noChangeArrowheads="1"/>
          </p:cNvPicPr>
          <p:nvPr userDrawn="1"/>
        </p:nvPicPr>
        <p:blipFill>
          <a:blip r:embed="rId13"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
        <p:nvSpPr>
          <p:cNvPr id="13" name="EYP-Draft">
            <a:extLst>
              <a:ext uri="{FF2B5EF4-FFF2-40B4-BE49-F238E27FC236}">
                <a16:creationId xmlns:a16="http://schemas.microsoft.com/office/drawing/2014/main" id="{9E002463-FAF7-42F3-ADCE-CED9984F0753}"/>
              </a:ext>
            </a:extLst>
          </p:cNvPr>
          <p:cNvSpPr/>
          <p:nvPr userDrawn="1">
            <p:custDataLst>
              <p:tags r:id="rId9"/>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30568655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101557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de-DE">
              <a:solidFill>
                <a:schemeClr val="tx1"/>
              </a:solidFill>
              <a:latin typeface="Verdana" pitchFamily="34" charset="0"/>
              <a:ea typeface="Verdana"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98229"/>
            <a:ext cx="3465576" cy="715581"/>
          </a:xfrm>
          <a:prstGeom prst="rect">
            <a:avLst/>
          </a:prstGeom>
        </p:spPr>
        <p:txBody>
          <a:bodyPr vert="horz" wrap="square" anchor="b">
            <a:spAutoFit/>
          </a:bodyPr>
          <a:lstStyle>
            <a:lvl1pPr algn="l" rtl="0">
              <a:defRPr>
                <a:solidFill>
                  <a:srgbClr val="6F6F6F"/>
                </a:solidFill>
              </a:defRPr>
            </a:lvl1pPr>
          </a:lstStyle>
          <a:p>
            <a:r>
              <a:rPr lang="en-US"/>
              <a:t>Click to edit Master title style</a:t>
            </a:r>
            <a:endParaRPr lang="de-DE"/>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de-DE"/>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1" name="Slide Number">
            <a:extLst>
              <a:ext uri="{FF2B5EF4-FFF2-40B4-BE49-F238E27FC236}">
                <a16:creationId xmlns:a16="http://schemas.microsoft.com/office/drawing/2014/main" id="{7067C9ED-D307-433C-A5EE-09BE381BFD25}"/>
              </a:ext>
            </a:extLst>
          </p:cNvPr>
          <p:cNvSpPr>
            <a:spLocks noChangeArrowheads="1"/>
          </p:cNvSpPr>
          <p:nvPr userDrawn="1">
            <p:custDataLst>
              <p:tags r:id="rId7"/>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D2FC4C18-5BAA-4BD8-A1D3-5D0DBAD408E6}"/>
              </a:ext>
            </a:extLst>
          </p:cNvPr>
          <p:cNvSpPr txBox="1"/>
          <p:nvPr userDrawn="1">
            <p:custDataLst>
              <p:tags r:id="rId8"/>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4" name="Picture 24">
            <a:extLst>
              <a:ext uri="{FF2B5EF4-FFF2-40B4-BE49-F238E27FC236}">
                <a16:creationId xmlns:a16="http://schemas.microsoft.com/office/drawing/2014/main" id="{BEFB725C-7C26-4FB2-AA2A-2205DC4CBB3E}"/>
              </a:ext>
            </a:extLst>
          </p:cNvPr>
          <p:cNvPicPr>
            <a:picLocks noChangeAspect="1" noChangeArrowheads="1"/>
          </p:cNvPicPr>
          <p:nvPr userDrawn="1"/>
        </p:nvPicPr>
        <p:blipFill>
          <a:blip r:embed="rId13"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
        <p:nvSpPr>
          <p:cNvPr id="13" name="EYP-Draft">
            <a:extLst>
              <a:ext uri="{FF2B5EF4-FFF2-40B4-BE49-F238E27FC236}">
                <a16:creationId xmlns:a16="http://schemas.microsoft.com/office/drawing/2014/main" id="{D550B982-5256-475E-BFD3-2FB6444D6058}"/>
              </a:ext>
            </a:extLst>
          </p:cNvPr>
          <p:cNvSpPr/>
          <p:nvPr userDrawn="1">
            <p:custDataLst>
              <p:tags r:id="rId9"/>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40123469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153053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de-DE">
              <a:solidFill>
                <a:schemeClr val="tx1"/>
              </a:solidFill>
              <a:latin typeface="Verdana" pitchFamily="34" charset="0"/>
              <a:ea typeface="Verdana"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57620"/>
            <a:ext cx="5065776" cy="357790"/>
          </a:xfrm>
        </p:spPr>
        <p:txBody>
          <a:bodyPr vert="horz">
            <a:spAutoFit/>
          </a:bodyPr>
          <a:lstStyle>
            <a:lvl1pPr rtl="0">
              <a:defRPr/>
            </a:lvl1pPr>
          </a:lstStyle>
          <a:p>
            <a:r>
              <a:rPr lang="en-US"/>
              <a:t>Click to edit Master title style</a:t>
            </a:r>
            <a:endParaRPr lang="de-DE"/>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47825"/>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1" name="Slide Number">
            <a:extLst>
              <a:ext uri="{FF2B5EF4-FFF2-40B4-BE49-F238E27FC236}">
                <a16:creationId xmlns:a16="http://schemas.microsoft.com/office/drawing/2014/main" id="{EA4238AD-B2D3-4FCA-AE7F-D5C1847E050A}"/>
              </a:ext>
            </a:extLst>
          </p:cNvPr>
          <p:cNvSpPr>
            <a:spLocks noChangeArrowheads="1"/>
          </p:cNvSpPr>
          <p:nvPr userDrawn="1">
            <p:custDataLst>
              <p:tags r:id="rId7"/>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57152604-7771-493D-8E5B-895058858287}"/>
              </a:ext>
            </a:extLst>
          </p:cNvPr>
          <p:cNvSpPr txBox="1"/>
          <p:nvPr userDrawn="1">
            <p:custDataLst>
              <p:tags r:id="rId8"/>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4" name="Picture 24">
            <a:extLst>
              <a:ext uri="{FF2B5EF4-FFF2-40B4-BE49-F238E27FC236}">
                <a16:creationId xmlns:a16="http://schemas.microsoft.com/office/drawing/2014/main" id="{B1DDB64D-6BF8-41DB-AB8C-66A92D04F8B9}"/>
              </a:ext>
            </a:extLst>
          </p:cNvPr>
          <p:cNvPicPr>
            <a:picLocks noChangeAspect="1" noChangeArrowheads="1"/>
          </p:cNvPicPr>
          <p:nvPr userDrawn="1"/>
        </p:nvPicPr>
        <p:blipFill>
          <a:blip r:embed="rId13"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
        <p:nvSpPr>
          <p:cNvPr id="13" name="EYP-Draft">
            <a:extLst>
              <a:ext uri="{FF2B5EF4-FFF2-40B4-BE49-F238E27FC236}">
                <a16:creationId xmlns:a16="http://schemas.microsoft.com/office/drawing/2014/main" id="{AFE4877E-0749-4777-B7FF-2CDB4E98C899}"/>
              </a:ext>
            </a:extLst>
          </p:cNvPr>
          <p:cNvSpPr/>
          <p:nvPr userDrawn="1">
            <p:custDataLst>
              <p:tags r:id="rId9"/>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3442529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278612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57620"/>
            <a:ext cx="6967728" cy="357790"/>
          </a:xfrm>
        </p:spPr>
        <p:txBody>
          <a:bodyPr vert="horz">
            <a:spAutoFit/>
          </a:bodyPr>
          <a:lstStyle>
            <a:lvl1pPr rtl="0">
              <a:defRPr/>
            </a:lvl1pPr>
          </a:lstStyle>
          <a:p>
            <a:r>
              <a:rPr lang="en-US"/>
              <a:t>Click to edit Master title style</a:t>
            </a:r>
            <a:endParaRPr lang="de-DE"/>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de-DE">
              <a:solidFill>
                <a:schemeClr val="tx1"/>
              </a:solidFill>
              <a:latin typeface="Verdana" pitchFamily="34" charset="0"/>
              <a:ea typeface="Verdana"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47825"/>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1" name="Slide Number">
            <a:extLst>
              <a:ext uri="{FF2B5EF4-FFF2-40B4-BE49-F238E27FC236}">
                <a16:creationId xmlns:a16="http://schemas.microsoft.com/office/drawing/2014/main" id="{BC9EEB5F-3BA3-4278-B669-92BAB780CEB4}"/>
              </a:ext>
            </a:extLst>
          </p:cNvPr>
          <p:cNvSpPr>
            <a:spLocks noChangeArrowheads="1"/>
          </p:cNvSpPr>
          <p:nvPr userDrawn="1">
            <p:custDataLst>
              <p:tags r:id="rId7"/>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D1AC80BD-F159-4728-977A-428E00807B8B}"/>
              </a:ext>
            </a:extLst>
          </p:cNvPr>
          <p:cNvSpPr txBox="1"/>
          <p:nvPr userDrawn="1">
            <p:custDataLst>
              <p:tags r:id="rId8"/>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4" name="Picture 24">
            <a:extLst>
              <a:ext uri="{FF2B5EF4-FFF2-40B4-BE49-F238E27FC236}">
                <a16:creationId xmlns:a16="http://schemas.microsoft.com/office/drawing/2014/main" id="{254AC017-59F1-42D6-AEDF-51B0F7C29C54}"/>
              </a:ext>
            </a:extLst>
          </p:cNvPr>
          <p:cNvPicPr>
            <a:picLocks noChangeAspect="1" noChangeArrowheads="1"/>
          </p:cNvPicPr>
          <p:nvPr userDrawn="1"/>
        </p:nvPicPr>
        <p:blipFill>
          <a:blip r:embed="rId13"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
        <p:nvSpPr>
          <p:cNvPr id="13" name="EYP-Draft">
            <a:extLst>
              <a:ext uri="{FF2B5EF4-FFF2-40B4-BE49-F238E27FC236}">
                <a16:creationId xmlns:a16="http://schemas.microsoft.com/office/drawing/2014/main" id="{DE55EFDC-956D-4BEA-AD29-14A10892722B}"/>
              </a:ext>
            </a:extLst>
          </p:cNvPr>
          <p:cNvSpPr/>
          <p:nvPr userDrawn="1">
            <p:custDataLst>
              <p:tags r:id="rId9"/>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19445194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062437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de-DE" noProof="0">
              <a:solidFill>
                <a:schemeClr val="tx1"/>
              </a:solidFill>
              <a:latin typeface="Verdana" pitchFamily="34" charset="0"/>
              <a:ea typeface="Verdana"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57620"/>
            <a:ext cx="7918704" cy="357790"/>
          </a:xfrm>
        </p:spPr>
        <p:txBody>
          <a:bodyPr vert="horz">
            <a:spAutoFit/>
          </a:bodyPr>
          <a:lstStyle>
            <a:lvl1pPr rtl="0">
              <a:defRPr/>
            </a:lvl1pPr>
          </a:lstStyle>
          <a:p>
            <a:r>
              <a:rPr lang="en-US"/>
              <a:t>Click to edit Master title style</a:t>
            </a:r>
            <a:endParaRPr lang="de-DE"/>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47825"/>
            <a:ext cx="7918704"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1" name="Slide Number">
            <a:extLst>
              <a:ext uri="{FF2B5EF4-FFF2-40B4-BE49-F238E27FC236}">
                <a16:creationId xmlns:a16="http://schemas.microsoft.com/office/drawing/2014/main" id="{0143EE6C-1168-4DD6-A461-416121EF9906}"/>
              </a:ext>
            </a:extLst>
          </p:cNvPr>
          <p:cNvSpPr>
            <a:spLocks noChangeArrowheads="1"/>
          </p:cNvSpPr>
          <p:nvPr userDrawn="1">
            <p:custDataLst>
              <p:tags r:id="rId7"/>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513F939A-642E-4E98-983B-F47788754352}"/>
              </a:ext>
            </a:extLst>
          </p:cNvPr>
          <p:cNvSpPr txBox="1"/>
          <p:nvPr userDrawn="1">
            <p:custDataLst>
              <p:tags r:id="rId8"/>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7" name="Picture 24">
            <a:extLst>
              <a:ext uri="{FF2B5EF4-FFF2-40B4-BE49-F238E27FC236}">
                <a16:creationId xmlns:a16="http://schemas.microsoft.com/office/drawing/2014/main" id="{9F57E852-4A91-4B24-8235-4595773BADBF}"/>
              </a:ext>
            </a:extLst>
          </p:cNvPr>
          <p:cNvPicPr>
            <a:picLocks noChangeAspect="1" noChangeArrowheads="1"/>
          </p:cNvPicPr>
          <p:nvPr userDrawn="1"/>
        </p:nvPicPr>
        <p:blipFill>
          <a:blip r:embed="rId13"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
        <p:nvSpPr>
          <p:cNvPr id="13" name="EYP-Draft">
            <a:extLst>
              <a:ext uri="{FF2B5EF4-FFF2-40B4-BE49-F238E27FC236}">
                <a16:creationId xmlns:a16="http://schemas.microsoft.com/office/drawing/2014/main" id="{9AC303D3-7D5F-4684-BBCA-A7E04E171C62}"/>
              </a:ext>
            </a:extLst>
          </p:cNvPr>
          <p:cNvSpPr/>
          <p:nvPr userDrawn="1">
            <p:custDataLst>
              <p:tags r:id="rId9"/>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414895599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412277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915410"/>
            <a:ext cx="11082528" cy="357790"/>
          </a:xfrm>
        </p:spPr>
        <p:txBody>
          <a:bodyPr vert="horz">
            <a:spAutoFit/>
          </a:bodyPr>
          <a:lstStyle>
            <a:lvl1pPr rtl="0">
              <a:defRPr/>
            </a:lvl1pPr>
          </a:lstStyle>
          <a:p>
            <a:r>
              <a:rPr lang="en-US"/>
              <a:t>Click to edit Master title style</a:t>
            </a:r>
            <a:endParaRPr lang="de-DE"/>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9" name="Slide Number">
            <a:extLst>
              <a:ext uri="{FF2B5EF4-FFF2-40B4-BE49-F238E27FC236}">
                <a16:creationId xmlns:a16="http://schemas.microsoft.com/office/drawing/2014/main" id="{96674A65-5FC2-41CE-8582-D1D21827D6F5}"/>
              </a:ext>
            </a:extLst>
          </p:cNvPr>
          <p:cNvSpPr>
            <a:spLocks noChangeArrowheads="1"/>
          </p:cNvSpPr>
          <p:nvPr userDrawn="1">
            <p:custDataLst>
              <p:tags r:id="rId5"/>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FCD6A1F4-DEC5-4BDA-8C6A-928B2E375B25}"/>
              </a:ext>
            </a:extLst>
          </p:cNvPr>
          <p:cNvSpPr txBox="1"/>
          <p:nvPr userDrawn="1">
            <p:custDataLst>
              <p:tags r:id="rId6"/>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2" name="Picture 24">
            <a:extLst>
              <a:ext uri="{FF2B5EF4-FFF2-40B4-BE49-F238E27FC236}">
                <a16:creationId xmlns:a16="http://schemas.microsoft.com/office/drawing/2014/main" id="{4DD97FBD-336D-4FED-AEBC-E68CFB31BA1A}"/>
              </a:ext>
            </a:extLst>
          </p:cNvPr>
          <p:cNvPicPr>
            <a:picLocks noChangeAspect="1" noChangeArrowheads="1"/>
          </p:cNvPicPr>
          <p:nvPr userDrawn="1"/>
        </p:nvPicPr>
        <p:blipFill>
          <a:blip r:embed="rId11"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
        <p:nvSpPr>
          <p:cNvPr id="10" name="EYP-Draft">
            <a:extLst>
              <a:ext uri="{FF2B5EF4-FFF2-40B4-BE49-F238E27FC236}">
                <a16:creationId xmlns:a16="http://schemas.microsoft.com/office/drawing/2014/main" id="{195D7C04-1F06-4FA2-89CD-EECF1ED42950}"/>
              </a:ext>
            </a:extLst>
          </p:cNvPr>
          <p:cNvSpPr/>
          <p:nvPr userDrawn="1">
            <p:custDataLst>
              <p:tags r:id="rId7"/>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2835723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28205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6" name="Slide Number">
            <a:extLst>
              <a:ext uri="{FF2B5EF4-FFF2-40B4-BE49-F238E27FC236}">
                <a16:creationId xmlns:a16="http://schemas.microsoft.com/office/drawing/2014/main" id="{1B877722-89DB-496A-95D4-7FD74FB3A776}"/>
              </a:ext>
            </a:extLst>
          </p:cNvPr>
          <p:cNvSpPr>
            <a:spLocks noChangeArrowheads="1"/>
          </p:cNvSpPr>
          <p:nvPr userDrawn="1">
            <p:custDataLst>
              <p:tags r:id="rId3"/>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30D1A18E-00CE-4AFC-8B1D-FCCCCD57C060}"/>
              </a:ext>
            </a:extLst>
          </p:cNvPr>
          <p:cNvSpPr txBox="1"/>
          <p:nvPr userDrawn="1">
            <p:custDataLst>
              <p:tags r:id="rId4"/>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1" name="Picture 24">
            <a:extLst>
              <a:ext uri="{FF2B5EF4-FFF2-40B4-BE49-F238E27FC236}">
                <a16:creationId xmlns:a16="http://schemas.microsoft.com/office/drawing/2014/main" id="{952A21E9-120B-4C29-89C3-CE32E6500919}"/>
              </a:ext>
            </a:extLst>
          </p:cNvPr>
          <p:cNvPicPr>
            <a:picLocks noChangeAspect="1" noChangeArrowheads="1"/>
          </p:cNvPicPr>
          <p:nvPr userDrawn="1"/>
        </p:nvPicPr>
        <p:blipFill>
          <a:blip r:embed="rId9"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
        <p:nvSpPr>
          <p:cNvPr id="7" name="EYP-Draft">
            <a:extLst>
              <a:ext uri="{FF2B5EF4-FFF2-40B4-BE49-F238E27FC236}">
                <a16:creationId xmlns:a16="http://schemas.microsoft.com/office/drawing/2014/main" id="{2781C6B0-F12C-40EA-A575-300EE0408E3E}"/>
              </a:ext>
            </a:extLst>
          </p:cNvPr>
          <p:cNvSpPr/>
          <p:nvPr userDrawn="1">
            <p:custDataLst>
              <p:tags r:id="rId5"/>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399913827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27018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5. Source" hidden="1">
            <a:extLst>
              <a:ext uri="{FF2B5EF4-FFF2-40B4-BE49-F238E27FC236}">
                <a16:creationId xmlns:a16="http://schemas.microsoft.com/office/drawing/2014/main" id="{15CB0760-4F7D-496A-A2D9-A2410E588B19}"/>
              </a:ext>
            </a:extLst>
          </p:cNvPr>
          <p:cNvSpPr txBox="1"/>
          <p:nvPr userDrawn="1">
            <p:custDataLst>
              <p:tags r:id="rId2"/>
            </p:custDataLst>
          </p:nvPr>
        </p:nvSpPr>
        <p:spPr>
          <a:xfrm>
            <a:off x="554736"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7" name="Picture 24">
            <a:extLst>
              <a:ext uri="{FF2B5EF4-FFF2-40B4-BE49-F238E27FC236}">
                <a16:creationId xmlns:a16="http://schemas.microsoft.com/office/drawing/2014/main" id="{336EFAEF-C03F-49E8-B460-4FC8F1D79977}"/>
              </a:ext>
            </a:extLst>
          </p:cNvPr>
          <p:cNvPicPr>
            <a:picLocks noChangeAspect="1" noChangeArrowheads="1"/>
          </p:cNvPicPr>
          <p:nvPr userDrawn="1"/>
        </p:nvPicPr>
        <p:blipFill>
          <a:blip r:embed="rId7" cstate="print">
            <a:extLst>
              <a:ext uri="{28A0092B-C50C-407E-A947-70E740481C1C}">
                <a14:useLocalDpi xmlns:a14="http://schemas.microsoft.com/office/drawing/2010/main"/>
              </a:ext>
            </a:extLst>
          </a:blip>
          <a:stretch>
            <a:fillRect/>
          </a:stretch>
        </p:blipFill>
        <p:spPr bwMode="auto">
          <a:xfrm>
            <a:off x="3937002" y="2754313"/>
            <a:ext cx="4317998" cy="1349374"/>
          </a:xfrm>
          <a:prstGeom prst="rect">
            <a:avLst/>
          </a:prstGeom>
          <a:noFill/>
        </p:spPr>
      </p:pic>
      <p:sp>
        <p:nvSpPr>
          <p:cNvPr id="5" name="EYP-Draft">
            <a:extLst>
              <a:ext uri="{FF2B5EF4-FFF2-40B4-BE49-F238E27FC236}">
                <a16:creationId xmlns:a16="http://schemas.microsoft.com/office/drawing/2014/main" id="{FD2FF7A7-3C49-4CB7-BB84-4F2A57D0BF07}"/>
              </a:ext>
            </a:extLst>
          </p:cNvPr>
          <p:cNvSpPr/>
          <p:nvPr userDrawn="1">
            <p:custDataLst>
              <p:tags r:id="rId3"/>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8276435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Titel und Aufzählun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5A4310-979C-4009-A842-F0BB2566316E}"/>
              </a:ext>
            </a:extLst>
          </p:cNvPr>
          <p:cNvGraphicFramePr>
            <a:graphicFrameLocks noChangeAspect="1"/>
          </p:cNvGraphicFramePr>
          <p:nvPr userDrawn="1">
            <p:custDataLst>
              <p:tags r:id="rId1"/>
            </p:custDataLst>
            <p:extLst>
              <p:ext uri="{D42A27DB-BD31-4B8C-83A1-F6EECF244321}">
                <p14:modId xmlns:p14="http://schemas.microsoft.com/office/powerpoint/2010/main" val="637135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6" name="Object 5" hidden="1">
                        <a:extLst>
                          <a:ext uri="{FF2B5EF4-FFF2-40B4-BE49-F238E27FC236}">
                            <a16:creationId xmlns:a16="http://schemas.microsoft.com/office/drawing/2014/main" id="{755A4310-979C-4009-A842-F0BB256631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838799" y="767751"/>
            <a:ext cx="9540001" cy="357790"/>
          </a:xfrm>
        </p:spPr>
        <p:txBody>
          <a:bodyPr vert="horz"/>
          <a:lstStyle>
            <a:lvl1pPr>
              <a:defRPr>
                <a:solidFill>
                  <a:srgbClr val="6F6F6F"/>
                </a:solidFill>
              </a:defRPr>
            </a:lvl1pPr>
          </a:lstStyle>
          <a:p>
            <a:r>
              <a:rPr lang="de-DE"/>
              <a:t>Prototypische einzeilige Headline</a:t>
            </a:r>
            <a:endParaRPr lang="de-AT"/>
          </a:p>
        </p:txBody>
      </p:sp>
      <p:sp>
        <p:nvSpPr>
          <p:cNvPr id="3" name="Inhaltsplatzhalter 2"/>
          <p:cNvSpPr>
            <a:spLocks noGrp="1"/>
          </p:cNvSpPr>
          <p:nvPr>
            <p:ph idx="1" hasCustomPrompt="1"/>
          </p:nvPr>
        </p:nvSpPr>
        <p:spPr>
          <a:xfrm>
            <a:off x="838800" y="1484316"/>
            <a:ext cx="9540000" cy="4525200"/>
          </a:xfrm>
          <a:prstGeom prst="rect">
            <a:avLst/>
          </a:prstGeom>
        </p:spPr>
        <p:txBody>
          <a:bodyPr/>
          <a:lstStyle>
            <a:lvl1pPr>
              <a:defRPr/>
            </a:lvl1pPr>
            <a:lvl2pPr>
              <a:defRPr/>
            </a:lvl2pPr>
            <a:lvl3pPr>
              <a:defRPr/>
            </a:lvl3pPr>
          </a:lstStyle>
          <a:p>
            <a:pPr lvl="0"/>
            <a:r>
              <a:rPr lang="de-DE"/>
              <a:t>Sie lesen eben einen Blindtext beziehungsweise Musterworte, um die Optik besser sehen zu können.</a:t>
            </a:r>
          </a:p>
          <a:p>
            <a:pPr lvl="0"/>
            <a:r>
              <a:rPr lang="de-DE"/>
              <a:t>Der Text ist daher an sich redundant, aber Sie können nun die Abtrennungen besser sehen.</a:t>
            </a:r>
          </a:p>
          <a:p>
            <a:pPr lvl="1"/>
            <a:r>
              <a:rPr lang="de-DE"/>
              <a:t>Beispielsweise wäre die zweite Ebene jene, die jetzt</a:t>
            </a:r>
          </a:p>
          <a:p>
            <a:pPr lvl="1"/>
            <a:r>
              <a:rPr lang="de-DE"/>
              <a:t>folgt.</a:t>
            </a:r>
          </a:p>
          <a:p>
            <a:pPr lvl="2"/>
            <a:r>
              <a:rPr lang="de-DE"/>
              <a:t>Beispielsweise wäre die dritte Ebene jene, die jetzt</a:t>
            </a:r>
          </a:p>
          <a:p>
            <a:pPr lvl="2"/>
            <a:r>
              <a:rPr lang="de-DE"/>
              <a:t>folgt.</a:t>
            </a:r>
          </a:p>
        </p:txBody>
      </p:sp>
      <p:sp>
        <p:nvSpPr>
          <p:cNvPr id="4" name="Foliennummernplatzhalter 3"/>
          <p:cNvSpPr>
            <a:spLocks noGrp="1"/>
          </p:cNvSpPr>
          <p:nvPr>
            <p:ph type="sldNum" sz="quarter" idx="10"/>
          </p:nvPr>
        </p:nvSpPr>
        <p:spPr/>
        <p:txBody>
          <a:bodyPr/>
          <a:lstStyle>
            <a:lvl1pPr>
              <a:defRPr/>
            </a:lvl1pPr>
          </a:lstStyle>
          <a:p>
            <a:fld id="{01920E2B-FC99-4A38-BFFD-416A818AECB0}" type="slidenum">
              <a:rPr lang="de-AT"/>
              <a:pPr/>
              <a:t>‹Nr.›</a:t>
            </a:fld>
            <a:endParaRPr lang="de-AT"/>
          </a:p>
        </p:txBody>
      </p:sp>
      <p:sp>
        <p:nvSpPr>
          <p:cNvPr id="7" name="EYP-Draft">
            <a:extLst>
              <a:ext uri="{FF2B5EF4-FFF2-40B4-BE49-F238E27FC236}">
                <a16:creationId xmlns:a16="http://schemas.microsoft.com/office/drawing/2014/main" id="{2D7FDE4F-9A83-4CAF-9E60-8F4C6CDBB723}"/>
              </a:ext>
            </a:extLst>
          </p:cNvPr>
          <p:cNvSpPr/>
          <p:nvPr userDrawn="1">
            <p:custDataLst>
              <p:tags r:id="rId2"/>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dirty="0">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160854703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cSld name="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755653" y="188916"/>
            <a:ext cx="10678579" cy="936625"/>
          </a:xfrm>
        </p:spPr>
        <p:txBody>
          <a:bodyPr/>
          <a:lstStyle>
            <a:lvl1pPr>
              <a:defRPr b="0">
                <a:solidFill>
                  <a:schemeClr val="tx1"/>
                </a:solidFill>
              </a:defRPr>
            </a:lvl1pPr>
          </a:lstStyle>
          <a:p>
            <a:r>
              <a:rPr lang="de-DE"/>
              <a:t>Mastertitelformat bearbeiten</a:t>
            </a:r>
            <a:endParaRPr lang="de-AT"/>
          </a:p>
        </p:txBody>
      </p:sp>
      <p:sp>
        <p:nvSpPr>
          <p:cNvPr id="3" name="Inhaltsplatzhalter 2"/>
          <p:cNvSpPr>
            <a:spLocks noGrp="1"/>
          </p:cNvSpPr>
          <p:nvPr>
            <p:ph sz="half" idx="1"/>
          </p:nvPr>
        </p:nvSpPr>
        <p:spPr>
          <a:xfrm>
            <a:off x="755653" y="1484316"/>
            <a:ext cx="5232400" cy="4537075"/>
          </a:xfrm>
          <a:prstGeom prst="rect">
            <a:avLst/>
          </a:prstGeom>
        </p:spPr>
        <p:txBody>
          <a:bodyPr/>
          <a:lstStyle>
            <a:lvl1pPr>
              <a:defRPr sz="22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Inhaltsplatzhalter 3"/>
          <p:cNvSpPr>
            <a:spLocks noGrp="1"/>
          </p:cNvSpPr>
          <p:nvPr>
            <p:ph sz="half" idx="2"/>
          </p:nvPr>
        </p:nvSpPr>
        <p:spPr>
          <a:xfrm>
            <a:off x="6191253" y="1484316"/>
            <a:ext cx="5232400" cy="4537075"/>
          </a:xfrm>
          <a:prstGeom prst="rect">
            <a:avLst/>
          </a:prstGeom>
        </p:spPr>
        <p:txBody>
          <a:bodyPr/>
          <a:lstStyle>
            <a:lvl1pPr>
              <a:defRPr sz="22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5" name="Foliennummernplatzhalter 4"/>
          <p:cNvSpPr>
            <a:spLocks noGrp="1"/>
          </p:cNvSpPr>
          <p:nvPr>
            <p:ph type="sldNum" sz="quarter" idx="10"/>
          </p:nvPr>
        </p:nvSpPr>
        <p:spPr/>
        <p:txBody>
          <a:bodyPr/>
          <a:lstStyle>
            <a:lvl1pPr>
              <a:defRPr/>
            </a:lvl1pPr>
          </a:lstStyle>
          <a:p>
            <a:fld id="{A255C770-9D76-44A7-B3EB-A40A89005603}" type="slidenum">
              <a:rPr lang="de-AT"/>
              <a:pPr/>
              <a:t>‹Nr.›</a:t>
            </a:fld>
            <a:endParaRPr lang="de-AT"/>
          </a:p>
        </p:txBody>
      </p:sp>
      <p:sp>
        <p:nvSpPr>
          <p:cNvPr id="6" name="EYP-Draft">
            <a:extLst>
              <a:ext uri="{FF2B5EF4-FFF2-40B4-BE49-F238E27FC236}">
                <a16:creationId xmlns:a16="http://schemas.microsoft.com/office/drawing/2014/main" id="{7E91CC9E-D50B-4164-8A42-1F03AD47BA64}"/>
              </a:ext>
            </a:extLst>
          </p:cNvPr>
          <p:cNvSpPr/>
          <p:nvPr userDrawn="1">
            <p:custDataLst>
              <p:tags r:id="rId1"/>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38295769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AA80FF6-8D10-442B-9B21-FF25A3CB692B}"/>
              </a:ext>
            </a:extLst>
          </p:cNvPr>
          <p:cNvGraphicFramePr>
            <a:graphicFrameLocks noChangeAspect="1"/>
          </p:cNvGraphicFramePr>
          <p:nvPr userDrawn="1">
            <p:custDataLst>
              <p:tags r:id="rId1"/>
            </p:custDataLst>
            <p:extLst>
              <p:ext uri="{D42A27DB-BD31-4B8C-83A1-F6EECF244321}">
                <p14:modId xmlns:p14="http://schemas.microsoft.com/office/powerpoint/2010/main" val="1727490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6" name="Object 5" hidden="1">
                        <a:extLst>
                          <a:ext uri="{FF2B5EF4-FFF2-40B4-BE49-F238E27FC236}">
                            <a16:creationId xmlns:a16="http://schemas.microsoft.com/office/drawing/2014/main" id="{5AA80FF6-8D10-442B-9B21-FF25A3CB69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939861" y="2673897"/>
            <a:ext cx="10363200" cy="1362075"/>
          </a:xfrm>
        </p:spPr>
        <p:txBody>
          <a:bodyPr vert="horz" anchor="t">
            <a:normAutofit/>
          </a:bodyPr>
          <a:lstStyle>
            <a:lvl1pPr algn="l">
              <a:defRPr sz="3400" b="0" cap="none" baseline="0">
                <a:solidFill>
                  <a:srgbClr val="6F6F6F"/>
                </a:solidFill>
              </a:defRPr>
            </a:lvl1pPr>
          </a:lstStyle>
          <a:p>
            <a:r>
              <a:rPr lang="de-DE"/>
              <a:t>Mastertitelformat bearbeiten</a:t>
            </a:r>
            <a:endParaRPr lang="de-AT"/>
          </a:p>
        </p:txBody>
      </p:sp>
      <p:sp>
        <p:nvSpPr>
          <p:cNvPr id="3" name="Textplatzhalter 2"/>
          <p:cNvSpPr>
            <a:spLocks noGrp="1"/>
          </p:cNvSpPr>
          <p:nvPr>
            <p:ph type="body" idx="1"/>
          </p:nvPr>
        </p:nvSpPr>
        <p:spPr>
          <a:xfrm>
            <a:off x="939860" y="4047539"/>
            <a:ext cx="10363200" cy="1500187"/>
          </a:xfrm>
          <a:prstGeom prst="rect">
            <a:avLst/>
          </a:prstGeom>
        </p:spPr>
        <p:txBody>
          <a:bodyPr anchor="b"/>
          <a:lstStyle>
            <a:lvl1pPr marL="0" indent="0">
              <a:buFont typeface="Wingdings" pitchFamily="2" charset="2"/>
              <a:buNone/>
              <a:defRPr sz="2000"/>
            </a:lvl1pPr>
            <a:lvl2pPr marL="627063" indent="-269875">
              <a:buFont typeface="Wingdings" pitchFamily="2" charset="2"/>
              <a:buChar char="§"/>
              <a:defRPr sz="1800"/>
            </a:lvl2pPr>
            <a:lvl3pPr marL="914400" indent="-287338">
              <a:buFont typeface="Symbol" pitchFamily="18" charset="2"/>
              <a:buChar char="-"/>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Mastertextformat bearbeiten</a:t>
            </a:r>
          </a:p>
        </p:txBody>
      </p:sp>
      <p:sp>
        <p:nvSpPr>
          <p:cNvPr id="4" name="Foliennummernplatzhalter 3"/>
          <p:cNvSpPr>
            <a:spLocks noGrp="1"/>
          </p:cNvSpPr>
          <p:nvPr>
            <p:ph type="sldNum" sz="quarter" idx="10"/>
          </p:nvPr>
        </p:nvSpPr>
        <p:spPr/>
        <p:txBody>
          <a:bodyPr/>
          <a:lstStyle>
            <a:lvl1pPr>
              <a:defRPr/>
            </a:lvl1pPr>
          </a:lstStyle>
          <a:p>
            <a:fld id="{6C31F813-4BA3-4827-8E55-372EE6655F87}" type="slidenum">
              <a:rPr lang="de-AT"/>
              <a:pPr/>
              <a:t>‹Nr.›</a:t>
            </a:fld>
            <a:endParaRPr lang="de-AT"/>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3" name="Picture 24">
            <a:extLst>
              <a:ext uri="{FF2B5EF4-FFF2-40B4-BE49-F238E27FC236}">
                <a16:creationId xmlns:a16="http://schemas.microsoft.com/office/drawing/2014/main" id="{8880B986-AF84-83FC-C678-58030B4CD19F}"/>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0742580" y="6332378"/>
            <a:ext cx="1116013" cy="346688"/>
          </a:xfrm>
          <a:prstGeom prst="rect">
            <a:avLst/>
          </a:prstGeom>
          <a:noFill/>
        </p:spPr>
      </p:pic>
      <p:sp>
        <p:nvSpPr>
          <p:cNvPr id="27650" name="Rectangle 2"/>
          <p:cNvSpPr>
            <a:spLocks noGrp="1" noChangeArrowheads="1"/>
          </p:cNvSpPr>
          <p:nvPr>
            <p:ph type="ctrTitle" hasCustomPrompt="1"/>
          </p:nvPr>
        </p:nvSpPr>
        <p:spPr>
          <a:xfrm>
            <a:off x="814919" y="2133600"/>
            <a:ext cx="10278532" cy="1371600"/>
          </a:xfrm>
        </p:spPr>
        <p:txBody>
          <a:bodyPr>
            <a:normAutofit/>
          </a:bodyPr>
          <a:lstStyle>
            <a:lvl1pPr>
              <a:lnSpc>
                <a:spcPct val="100000"/>
              </a:lnSpc>
              <a:defRPr sz="3000">
                <a:solidFill>
                  <a:schemeClr val="tx1"/>
                </a:solidFill>
              </a:defRPr>
            </a:lvl1pPr>
          </a:lstStyle>
          <a:p>
            <a:r>
              <a:rPr lang="de-AT"/>
              <a:t>Prototypische Headline</a:t>
            </a:r>
            <a:br>
              <a:rPr lang="de-AT"/>
            </a:br>
            <a:r>
              <a:rPr lang="de-AT"/>
              <a:t>für Deckblatt</a:t>
            </a:r>
          </a:p>
        </p:txBody>
      </p:sp>
      <p:sp>
        <p:nvSpPr>
          <p:cNvPr id="27651" name="Rectangle 3"/>
          <p:cNvSpPr>
            <a:spLocks noGrp="1" noChangeArrowheads="1"/>
          </p:cNvSpPr>
          <p:nvPr>
            <p:ph type="subTitle" idx="1" hasCustomPrompt="1"/>
          </p:nvPr>
        </p:nvSpPr>
        <p:spPr>
          <a:xfrm>
            <a:off x="814920" y="3729038"/>
            <a:ext cx="10306049" cy="1600200"/>
          </a:xfrm>
          <a:prstGeom prst="rect">
            <a:avLst/>
          </a:prstGeom>
        </p:spPr>
        <p:txBody>
          <a:bodyPr>
            <a:normAutofit/>
          </a:bodyPr>
          <a:lstStyle>
            <a:lvl1pPr marL="0" indent="0">
              <a:buFont typeface="Wingdings" pitchFamily="2" charset="2"/>
              <a:buNone/>
              <a:defRPr sz="1800"/>
            </a:lvl1pPr>
          </a:lstStyle>
          <a:p>
            <a:r>
              <a:rPr lang="de-AT"/>
              <a:t>Schriftzusatz in Kleinbuchstaben.</a:t>
            </a:r>
          </a:p>
        </p:txBody>
      </p:sp>
    </p:spTree>
    <p:extLst>
      <p:ext uri="{BB962C8B-B14F-4D97-AF65-F5344CB8AC3E}">
        <p14:creationId xmlns:p14="http://schemas.microsoft.com/office/powerpoint/2010/main" val="128607814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el und Aufzählun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838799" y="188916"/>
            <a:ext cx="9540001" cy="936625"/>
          </a:xfrm>
        </p:spPr>
        <p:txBody>
          <a:bodyPr/>
          <a:lstStyle>
            <a:lvl1pPr>
              <a:defRPr b="0">
                <a:solidFill>
                  <a:schemeClr val="tx1"/>
                </a:solidFill>
              </a:defRPr>
            </a:lvl1pPr>
          </a:lstStyle>
          <a:p>
            <a:r>
              <a:rPr lang="de-DE"/>
              <a:t>Prototypische einzeilige Headline</a:t>
            </a:r>
            <a:endParaRPr lang="de-AT"/>
          </a:p>
        </p:txBody>
      </p:sp>
      <p:sp>
        <p:nvSpPr>
          <p:cNvPr id="3" name="Inhaltsplatzhalter 2"/>
          <p:cNvSpPr>
            <a:spLocks noGrp="1"/>
          </p:cNvSpPr>
          <p:nvPr>
            <p:ph idx="1" hasCustomPrompt="1"/>
          </p:nvPr>
        </p:nvSpPr>
        <p:spPr>
          <a:xfrm>
            <a:off x="838800" y="1484316"/>
            <a:ext cx="9540000" cy="4525200"/>
          </a:xfrm>
          <a:prstGeom prst="rect">
            <a:avLst/>
          </a:prstGeom>
        </p:spPr>
        <p:txBody>
          <a:bodyPr/>
          <a:lstStyle>
            <a:lvl1pPr>
              <a:buClr>
                <a:srgbClr val="004FA1"/>
              </a:buClr>
              <a:defRPr/>
            </a:lvl1pPr>
            <a:lvl2pPr>
              <a:defRPr/>
            </a:lvl2pPr>
            <a:lvl3pPr>
              <a:defRPr/>
            </a:lvl3pPr>
          </a:lstStyle>
          <a:p>
            <a:pPr lvl="0"/>
            <a:r>
              <a:rPr lang="de-DE"/>
              <a:t>Sie lesen eben einen Blindtext beziehungsweise Musterworte, um die Optik besser sehen zu können.</a:t>
            </a:r>
          </a:p>
          <a:p>
            <a:pPr lvl="0"/>
            <a:r>
              <a:rPr lang="de-DE"/>
              <a:t>Der Text ist daher an sich redundant, aber Sie können nun die Abtrennungen besser sehen.</a:t>
            </a:r>
          </a:p>
          <a:p>
            <a:pPr lvl="1"/>
            <a:r>
              <a:rPr lang="de-DE"/>
              <a:t>Beispielsweise wäre die zweite Ebene jene, die jetzt</a:t>
            </a:r>
          </a:p>
          <a:p>
            <a:pPr lvl="1"/>
            <a:r>
              <a:rPr lang="de-DE"/>
              <a:t>folgt.</a:t>
            </a:r>
          </a:p>
          <a:p>
            <a:pPr lvl="2"/>
            <a:r>
              <a:rPr lang="de-DE"/>
              <a:t>Beispielsweise wäre die dritte Ebene jene, die jetzt</a:t>
            </a:r>
          </a:p>
          <a:p>
            <a:pPr lvl="2"/>
            <a:r>
              <a:rPr lang="de-DE"/>
              <a:t>folgt.</a:t>
            </a:r>
          </a:p>
        </p:txBody>
      </p:sp>
      <p:sp>
        <p:nvSpPr>
          <p:cNvPr id="4" name="Foliennummernplatzhalter 3"/>
          <p:cNvSpPr>
            <a:spLocks noGrp="1"/>
          </p:cNvSpPr>
          <p:nvPr>
            <p:ph type="sldNum" sz="quarter" idx="10"/>
          </p:nvPr>
        </p:nvSpPr>
        <p:spPr/>
        <p:txBody>
          <a:bodyPr/>
          <a:lstStyle>
            <a:lvl1pPr>
              <a:defRPr/>
            </a:lvl1pPr>
          </a:lstStyle>
          <a:p>
            <a:fld id="{01920E2B-FC99-4A38-BFFD-416A818AECB0}" type="slidenum">
              <a:rPr lang="de-AT"/>
              <a:pPr/>
              <a:t>‹Nr.›</a:t>
            </a:fld>
            <a:endParaRPr lang="de-AT"/>
          </a:p>
        </p:txBody>
      </p:sp>
    </p:spTree>
    <p:extLst>
      <p:ext uri="{BB962C8B-B14F-4D97-AF65-F5344CB8AC3E}">
        <p14:creationId xmlns:p14="http://schemas.microsoft.com/office/powerpoint/2010/main" val="239208157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el und Lauf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838800" y="188916"/>
            <a:ext cx="9540000" cy="936625"/>
          </a:xfrm>
        </p:spPr>
        <p:txBody>
          <a:bodyPr/>
          <a:lstStyle>
            <a:lvl1pPr>
              <a:defRPr b="0">
                <a:solidFill>
                  <a:schemeClr val="tx1"/>
                </a:solidFill>
              </a:defRPr>
            </a:lvl1pPr>
          </a:lstStyle>
          <a:p>
            <a:r>
              <a:rPr lang="de-DE"/>
              <a:t>Prototypische zweizeilige Headline</a:t>
            </a:r>
            <a:br>
              <a:rPr lang="de-DE"/>
            </a:br>
            <a:r>
              <a:rPr lang="de-DE"/>
              <a:t>Prototypische Headline</a:t>
            </a:r>
            <a:endParaRPr lang="de-AT"/>
          </a:p>
        </p:txBody>
      </p:sp>
      <p:sp>
        <p:nvSpPr>
          <p:cNvPr id="3" name="Inhaltsplatzhalter 2"/>
          <p:cNvSpPr>
            <a:spLocks noGrp="1"/>
          </p:cNvSpPr>
          <p:nvPr>
            <p:ph idx="1" hasCustomPrompt="1"/>
          </p:nvPr>
        </p:nvSpPr>
        <p:spPr>
          <a:xfrm>
            <a:off x="838800" y="1484316"/>
            <a:ext cx="9540000" cy="4525200"/>
          </a:xfrm>
          <a:prstGeom prst="rect">
            <a:avLst/>
          </a:prstGeom>
        </p:spPr>
        <p:txBody>
          <a:bodyPr/>
          <a:lstStyle>
            <a:lvl1pPr marL="0" indent="0">
              <a:buFontTx/>
              <a:buNone/>
              <a:defRPr/>
            </a:lvl1pPr>
          </a:lstStyle>
          <a:p>
            <a:pPr>
              <a:buNone/>
            </a:pPr>
            <a:r>
              <a:rPr lang="de-AT" err="1"/>
              <a:t>Lorem</a:t>
            </a:r>
            <a:r>
              <a:rPr lang="de-AT"/>
              <a:t> </a:t>
            </a:r>
            <a:r>
              <a:rPr lang="de-AT" err="1"/>
              <a:t>ipsum</a:t>
            </a:r>
            <a:r>
              <a:rPr lang="de-AT"/>
              <a:t> </a:t>
            </a:r>
            <a:r>
              <a:rPr lang="de-AT" err="1"/>
              <a:t>dolor</a:t>
            </a:r>
            <a:r>
              <a:rPr lang="de-AT"/>
              <a:t> </a:t>
            </a:r>
            <a:r>
              <a:rPr lang="de-AT" err="1"/>
              <a:t>sit</a:t>
            </a:r>
            <a:r>
              <a:rPr lang="de-AT"/>
              <a:t> </a:t>
            </a:r>
            <a:r>
              <a:rPr lang="de-AT" err="1"/>
              <a:t>amet</a:t>
            </a:r>
            <a:r>
              <a:rPr lang="de-AT"/>
              <a:t>, </a:t>
            </a:r>
            <a:r>
              <a:rPr lang="de-AT" err="1"/>
              <a:t>sed</a:t>
            </a:r>
            <a:r>
              <a:rPr lang="de-AT"/>
              <a:t> </a:t>
            </a:r>
            <a:r>
              <a:rPr lang="de-AT" err="1"/>
              <a:t>diam</a:t>
            </a:r>
            <a:r>
              <a:rPr lang="de-AT"/>
              <a:t> </a:t>
            </a:r>
            <a:r>
              <a:rPr lang="de-AT" err="1"/>
              <a:t>nonummy</a:t>
            </a:r>
            <a:r>
              <a:rPr lang="de-AT"/>
              <a:t> </a:t>
            </a:r>
            <a:r>
              <a:rPr lang="de-AT" err="1"/>
              <a:t>nibh</a:t>
            </a:r>
            <a:r>
              <a:rPr lang="de-AT"/>
              <a:t> </a:t>
            </a:r>
            <a:r>
              <a:rPr lang="de-AT" err="1"/>
              <a:t>euismod</a:t>
            </a:r>
            <a:r>
              <a:rPr lang="de-AT"/>
              <a:t> </a:t>
            </a:r>
            <a:r>
              <a:rPr lang="de-AT" err="1"/>
              <a:t>tincidunt</a:t>
            </a:r>
            <a:r>
              <a:rPr lang="de-AT"/>
              <a:t> </a:t>
            </a:r>
            <a:r>
              <a:rPr lang="de-AT" err="1"/>
              <a:t>ut</a:t>
            </a:r>
            <a:r>
              <a:rPr lang="de-AT"/>
              <a:t> </a:t>
            </a:r>
            <a:r>
              <a:rPr lang="de-AT" err="1"/>
              <a:t>laoreet</a:t>
            </a:r>
            <a:r>
              <a:rPr lang="de-AT"/>
              <a:t> </a:t>
            </a:r>
            <a:r>
              <a:rPr lang="de-AT" err="1"/>
              <a:t>dolore</a:t>
            </a:r>
            <a:r>
              <a:rPr lang="de-AT"/>
              <a:t> magna </a:t>
            </a:r>
            <a:r>
              <a:rPr lang="de-AT" err="1"/>
              <a:t>aliquam</a:t>
            </a:r>
            <a:r>
              <a:rPr lang="de-AT"/>
              <a:t> </a:t>
            </a:r>
            <a:r>
              <a:rPr lang="de-AT" err="1"/>
              <a:t>erat</a:t>
            </a:r>
            <a:r>
              <a:rPr lang="de-AT"/>
              <a:t> </a:t>
            </a:r>
            <a:r>
              <a:rPr lang="de-AT" err="1"/>
              <a:t>volutpat</a:t>
            </a:r>
            <a:r>
              <a:rPr lang="de-AT"/>
              <a:t>.</a:t>
            </a:r>
          </a:p>
          <a:p>
            <a:pPr>
              <a:buNone/>
            </a:pPr>
            <a:endParaRPr lang="de-AT"/>
          </a:p>
          <a:p>
            <a:pPr>
              <a:buNone/>
            </a:pPr>
            <a:r>
              <a:rPr lang="de-AT"/>
              <a:t>Duis </a:t>
            </a:r>
            <a:r>
              <a:rPr lang="de-AT" err="1"/>
              <a:t>autem</a:t>
            </a:r>
            <a:r>
              <a:rPr lang="de-AT"/>
              <a:t> </a:t>
            </a:r>
            <a:r>
              <a:rPr lang="de-AT" err="1"/>
              <a:t>vel</a:t>
            </a:r>
            <a:r>
              <a:rPr lang="de-AT"/>
              <a:t> </a:t>
            </a:r>
            <a:r>
              <a:rPr lang="de-AT" err="1"/>
              <a:t>eum</a:t>
            </a:r>
            <a:r>
              <a:rPr lang="de-AT"/>
              <a:t> </a:t>
            </a:r>
            <a:r>
              <a:rPr lang="de-AT" err="1"/>
              <a:t>iriure</a:t>
            </a:r>
            <a:r>
              <a:rPr lang="de-AT"/>
              <a:t> </a:t>
            </a:r>
            <a:r>
              <a:rPr lang="de-AT" err="1"/>
              <a:t>dolor</a:t>
            </a:r>
            <a:r>
              <a:rPr lang="de-AT"/>
              <a:t> in </a:t>
            </a:r>
            <a:r>
              <a:rPr lang="de-AT" err="1"/>
              <a:t>hendrerit</a:t>
            </a:r>
            <a:r>
              <a:rPr lang="de-AT"/>
              <a:t> in </a:t>
            </a:r>
            <a:r>
              <a:rPr lang="de-AT" err="1"/>
              <a:t>vulputate</a:t>
            </a:r>
            <a:r>
              <a:rPr lang="de-AT"/>
              <a:t> </a:t>
            </a:r>
            <a:r>
              <a:rPr lang="de-AT" err="1"/>
              <a:t>velit</a:t>
            </a:r>
            <a:r>
              <a:rPr lang="de-AT"/>
              <a:t> esse </a:t>
            </a:r>
            <a:r>
              <a:rPr lang="de-AT" err="1"/>
              <a:t>molestie</a:t>
            </a:r>
            <a:r>
              <a:rPr lang="de-AT"/>
              <a:t> </a:t>
            </a:r>
            <a:r>
              <a:rPr lang="de-AT" err="1"/>
              <a:t>consequat</a:t>
            </a:r>
            <a:r>
              <a:rPr lang="de-AT"/>
              <a:t>, </a:t>
            </a:r>
            <a:r>
              <a:rPr lang="de-AT" err="1"/>
              <a:t>vel</a:t>
            </a:r>
            <a:r>
              <a:rPr lang="de-AT"/>
              <a:t> </a:t>
            </a:r>
            <a:r>
              <a:rPr lang="de-AT" err="1"/>
              <a:t>illum</a:t>
            </a:r>
            <a:r>
              <a:rPr lang="de-AT"/>
              <a:t> </a:t>
            </a:r>
            <a:r>
              <a:rPr lang="de-AT" err="1"/>
              <a:t>dolore</a:t>
            </a:r>
            <a:r>
              <a:rPr lang="de-AT"/>
              <a:t> </a:t>
            </a:r>
            <a:r>
              <a:rPr lang="de-AT" err="1"/>
              <a:t>eu</a:t>
            </a:r>
            <a:r>
              <a:rPr lang="de-AT"/>
              <a:t> </a:t>
            </a:r>
            <a:r>
              <a:rPr lang="de-AT" err="1"/>
              <a:t>feugiat</a:t>
            </a:r>
            <a:r>
              <a:rPr lang="de-AT"/>
              <a:t> </a:t>
            </a:r>
            <a:r>
              <a:rPr lang="de-AT" err="1"/>
              <a:t>nulla</a:t>
            </a:r>
            <a:r>
              <a:rPr lang="de-AT"/>
              <a:t> </a:t>
            </a:r>
            <a:r>
              <a:rPr lang="de-AT" err="1"/>
              <a:t>facilisis</a:t>
            </a:r>
            <a:r>
              <a:rPr lang="de-AT"/>
              <a:t> </a:t>
            </a:r>
            <a:r>
              <a:rPr lang="de-AT" err="1"/>
              <a:t>at</a:t>
            </a:r>
            <a:r>
              <a:rPr lang="de-AT"/>
              <a:t> </a:t>
            </a:r>
            <a:r>
              <a:rPr lang="de-AT" err="1"/>
              <a:t>vero</a:t>
            </a:r>
            <a:r>
              <a:rPr lang="de-AT"/>
              <a:t> et </a:t>
            </a:r>
            <a:r>
              <a:rPr lang="de-AT" err="1"/>
              <a:t>accumsan</a:t>
            </a:r>
            <a:r>
              <a:rPr lang="de-AT"/>
              <a:t> et </a:t>
            </a:r>
            <a:r>
              <a:rPr lang="de-AT" err="1"/>
              <a:t>iusto</a:t>
            </a:r>
            <a:r>
              <a:rPr lang="de-AT"/>
              <a:t> </a:t>
            </a:r>
            <a:r>
              <a:rPr lang="de-AT" err="1"/>
              <a:t>odio</a:t>
            </a:r>
            <a:r>
              <a:rPr lang="de-AT"/>
              <a:t> </a:t>
            </a:r>
            <a:r>
              <a:rPr lang="de-AT" err="1"/>
              <a:t>dignissim</a:t>
            </a:r>
            <a:r>
              <a:rPr lang="de-AT"/>
              <a:t> </a:t>
            </a:r>
            <a:r>
              <a:rPr lang="de-AT" err="1"/>
              <a:t>qui</a:t>
            </a:r>
            <a:r>
              <a:rPr lang="de-AT"/>
              <a:t> </a:t>
            </a:r>
            <a:r>
              <a:rPr lang="de-AT" err="1"/>
              <a:t>blandit</a:t>
            </a:r>
            <a:r>
              <a:rPr lang="de-AT"/>
              <a:t> </a:t>
            </a:r>
            <a:r>
              <a:rPr lang="de-AT" err="1"/>
              <a:t>praesent</a:t>
            </a:r>
            <a:r>
              <a:rPr lang="de-AT"/>
              <a:t> </a:t>
            </a:r>
            <a:r>
              <a:rPr lang="de-AT" err="1"/>
              <a:t>luptatum</a:t>
            </a:r>
            <a:r>
              <a:rPr lang="de-AT"/>
              <a:t> </a:t>
            </a:r>
            <a:r>
              <a:rPr lang="de-AT" err="1"/>
              <a:t>zzril</a:t>
            </a:r>
            <a:r>
              <a:rPr lang="de-AT"/>
              <a:t> </a:t>
            </a:r>
            <a:r>
              <a:rPr lang="de-AT" err="1"/>
              <a:t>delenit</a:t>
            </a:r>
            <a:r>
              <a:rPr lang="de-AT"/>
              <a:t> </a:t>
            </a:r>
            <a:r>
              <a:rPr lang="de-AT" err="1"/>
              <a:t>augue</a:t>
            </a:r>
            <a:r>
              <a:rPr lang="de-AT"/>
              <a:t> </a:t>
            </a:r>
            <a:r>
              <a:rPr lang="de-AT" err="1"/>
              <a:t>duis</a:t>
            </a:r>
            <a:r>
              <a:rPr lang="de-AT"/>
              <a:t> </a:t>
            </a:r>
            <a:r>
              <a:rPr lang="de-AT" err="1"/>
              <a:t>dolore</a:t>
            </a:r>
            <a:r>
              <a:rPr lang="de-AT"/>
              <a:t> </a:t>
            </a:r>
            <a:r>
              <a:rPr lang="de-AT" err="1"/>
              <a:t>te</a:t>
            </a:r>
            <a:r>
              <a:rPr lang="de-AT"/>
              <a:t> </a:t>
            </a:r>
            <a:r>
              <a:rPr lang="de-AT" err="1"/>
              <a:t>feugait</a:t>
            </a:r>
            <a:r>
              <a:rPr lang="de-AT"/>
              <a:t> </a:t>
            </a:r>
            <a:r>
              <a:rPr lang="de-AT" err="1"/>
              <a:t>nulla</a:t>
            </a:r>
            <a:r>
              <a:rPr lang="de-AT"/>
              <a:t> </a:t>
            </a:r>
            <a:r>
              <a:rPr lang="de-AT" err="1"/>
              <a:t>facilisi</a:t>
            </a:r>
            <a:r>
              <a:rPr lang="de-AT"/>
              <a:t>.</a:t>
            </a:r>
            <a:endParaRPr lang="de-DE"/>
          </a:p>
        </p:txBody>
      </p:sp>
      <p:sp>
        <p:nvSpPr>
          <p:cNvPr id="4" name="Foliennummernplatzhalter 3"/>
          <p:cNvSpPr>
            <a:spLocks noGrp="1"/>
          </p:cNvSpPr>
          <p:nvPr>
            <p:ph type="sldNum" sz="quarter" idx="10"/>
          </p:nvPr>
        </p:nvSpPr>
        <p:spPr/>
        <p:txBody>
          <a:bodyPr/>
          <a:lstStyle>
            <a:lvl1pPr>
              <a:defRPr/>
            </a:lvl1pPr>
          </a:lstStyle>
          <a:p>
            <a:fld id="{01920E2B-FC99-4A38-BFFD-416A818AECB0}" type="slidenum">
              <a:rPr lang="de-AT"/>
              <a:pPr/>
              <a:t>‹Nr.›</a:t>
            </a:fld>
            <a:endParaRPr lang="de-AT"/>
          </a:p>
        </p:txBody>
      </p:sp>
    </p:spTree>
    <p:extLst>
      <p:ext uri="{BB962C8B-B14F-4D97-AF65-F5344CB8AC3E}">
        <p14:creationId xmlns:p14="http://schemas.microsoft.com/office/powerpoint/2010/main" val="19691934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39861" y="2673897"/>
            <a:ext cx="10363200" cy="1362075"/>
          </a:xfrm>
        </p:spPr>
        <p:txBody>
          <a:bodyPr anchor="t">
            <a:normAutofit/>
          </a:bodyPr>
          <a:lstStyle>
            <a:lvl1pPr algn="l">
              <a:defRPr sz="3400" b="0" cap="none" baseline="0">
                <a:solidFill>
                  <a:srgbClr val="6F6F6F"/>
                </a:solidFill>
              </a:defRPr>
            </a:lvl1pPr>
          </a:lstStyle>
          <a:p>
            <a:r>
              <a:rPr lang="de-DE"/>
              <a:t>Mastertitelformat bearbeiten</a:t>
            </a:r>
            <a:endParaRPr lang="de-AT"/>
          </a:p>
        </p:txBody>
      </p:sp>
      <p:sp>
        <p:nvSpPr>
          <p:cNvPr id="3" name="Textplatzhalter 2"/>
          <p:cNvSpPr>
            <a:spLocks noGrp="1"/>
          </p:cNvSpPr>
          <p:nvPr>
            <p:ph type="body" idx="1"/>
          </p:nvPr>
        </p:nvSpPr>
        <p:spPr>
          <a:xfrm>
            <a:off x="939860" y="4047539"/>
            <a:ext cx="10363200" cy="1500187"/>
          </a:xfrm>
          <a:prstGeom prst="rect">
            <a:avLst/>
          </a:prstGeom>
        </p:spPr>
        <p:txBody>
          <a:bodyPr anchor="b"/>
          <a:lstStyle>
            <a:lvl1pPr marL="0" indent="0">
              <a:buFont typeface="Wingdings" pitchFamily="2" charset="2"/>
              <a:buNone/>
              <a:defRPr sz="2000"/>
            </a:lvl1pPr>
            <a:lvl2pPr marL="627063" indent="-269875">
              <a:buFont typeface="Wingdings" pitchFamily="2" charset="2"/>
              <a:buChar char="§"/>
              <a:defRPr sz="1800"/>
            </a:lvl2pPr>
            <a:lvl3pPr marL="914400" indent="-287338">
              <a:buFont typeface="Symbol" pitchFamily="18" charset="2"/>
              <a:buChar char="-"/>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Mastertextformat bearbeiten</a:t>
            </a:r>
          </a:p>
        </p:txBody>
      </p:sp>
      <p:sp>
        <p:nvSpPr>
          <p:cNvPr id="4" name="Foliennummernplatzhalter 3"/>
          <p:cNvSpPr>
            <a:spLocks noGrp="1"/>
          </p:cNvSpPr>
          <p:nvPr>
            <p:ph type="sldNum" sz="quarter" idx="10"/>
          </p:nvPr>
        </p:nvSpPr>
        <p:spPr/>
        <p:txBody>
          <a:bodyPr/>
          <a:lstStyle>
            <a:lvl1pPr>
              <a:defRPr/>
            </a:lvl1pPr>
          </a:lstStyle>
          <a:p>
            <a:fld id="{6C31F813-4BA3-4827-8E55-372EE6655F87}" type="slidenum">
              <a:rPr lang="de-AT"/>
              <a:pPr/>
              <a:t>‹Nr.›</a:t>
            </a:fld>
            <a:endParaRPr lang="de-AT"/>
          </a:p>
        </p:txBody>
      </p:sp>
      <p:sp>
        <p:nvSpPr>
          <p:cNvPr id="6" name="EYP-Draft">
            <a:extLst>
              <a:ext uri="{FF2B5EF4-FFF2-40B4-BE49-F238E27FC236}">
                <a16:creationId xmlns:a16="http://schemas.microsoft.com/office/drawing/2014/main" id="{68ABB18C-CDF7-4317-A378-EFFCA9C29B90}"/>
              </a:ext>
            </a:extLst>
          </p:cNvPr>
          <p:cNvSpPr/>
          <p:nvPr userDrawn="1">
            <p:custDataLst>
              <p:tags r:id="rId1"/>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dirty="0">
                <a:solidFill>
                  <a:srgbClr val="FF8A2B"/>
                </a:solidFill>
                <a:latin typeface="Bahnschrift" panose="020B0502040204020203"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36303139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755653" y="188916"/>
            <a:ext cx="10678579" cy="936625"/>
          </a:xfrm>
        </p:spPr>
        <p:txBody>
          <a:bodyPr/>
          <a:lstStyle>
            <a:lvl1pPr>
              <a:defRPr b="0">
                <a:solidFill>
                  <a:schemeClr val="tx1"/>
                </a:solidFill>
              </a:defRPr>
            </a:lvl1pPr>
          </a:lstStyle>
          <a:p>
            <a:r>
              <a:rPr lang="de-DE"/>
              <a:t>Mastertitelformat bearbeiten</a:t>
            </a:r>
            <a:endParaRPr lang="de-AT"/>
          </a:p>
        </p:txBody>
      </p:sp>
      <p:sp>
        <p:nvSpPr>
          <p:cNvPr id="3" name="Inhaltsplatzhalter 2"/>
          <p:cNvSpPr>
            <a:spLocks noGrp="1"/>
          </p:cNvSpPr>
          <p:nvPr>
            <p:ph sz="half" idx="1"/>
          </p:nvPr>
        </p:nvSpPr>
        <p:spPr>
          <a:xfrm>
            <a:off x="755653" y="1484316"/>
            <a:ext cx="5232400" cy="4537075"/>
          </a:xfrm>
          <a:prstGeom prst="rect">
            <a:avLst/>
          </a:prstGeom>
        </p:spPr>
        <p:txBody>
          <a:bodyPr/>
          <a:lstStyle>
            <a:lvl1pPr>
              <a:defRPr sz="22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Inhaltsplatzhalter 3"/>
          <p:cNvSpPr>
            <a:spLocks noGrp="1"/>
          </p:cNvSpPr>
          <p:nvPr>
            <p:ph sz="half" idx="2"/>
          </p:nvPr>
        </p:nvSpPr>
        <p:spPr>
          <a:xfrm>
            <a:off x="6191253" y="1484316"/>
            <a:ext cx="5232400" cy="4537075"/>
          </a:xfrm>
          <a:prstGeom prst="rect">
            <a:avLst/>
          </a:prstGeom>
        </p:spPr>
        <p:txBody>
          <a:bodyPr/>
          <a:lstStyle>
            <a:lvl1pPr>
              <a:defRPr sz="22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5" name="Foliennummernplatzhalter 4"/>
          <p:cNvSpPr>
            <a:spLocks noGrp="1"/>
          </p:cNvSpPr>
          <p:nvPr>
            <p:ph type="sldNum" sz="quarter" idx="10"/>
          </p:nvPr>
        </p:nvSpPr>
        <p:spPr/>
        <p:txBody>
          <a:bodyPr/>
          <a:lstStyle>
            <a:lvl1pPr>
              <a:defRPr/>
            </a:lvl1pPr>
          </a:lstStyle>
          <a:p>
            <a:fld id="{A255C770-9D76-44A7-B3EB-A40A89005603}" type="slidenum">
              <a:rPr lang="de-AT"/>
              <a:pPr/>
              <a:t>‹Nr.›</a:t>
            </a:fld>
            <a:endParaRPr lang="de-AT"/>
          </a:p>
        </p:txBody>
      </p:sp>
      <p:sp>
        <p:nvSpPr>
          <p:cNvPr id="7" name="EYP-Draft">
            <a:extLst>
              <a:ext uri="{FF2B5EF4-FFF2-40B4-BE49-F238E27FC236}">
                <a16:creationId xmlns:a16="http://schemas.microsoft.com/office/drawing/2014/main" id="{10B3A683-052D-49CF-AA78-61BC4F050816}"/>
              </a:ext>
            </a:extLst>
          </p:cNvPr>
          <p:cNvSpPr/>
          <p:nvPr userDrawn="1">
            <p:custDataLst>
              <p:tags r:id="rId1"/>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dirty="0">
                <a:solidFill>
                  <a:srgbClr val="FF8A2B"/>
                </a:solidFill>
                <a:latin typeface="Bahnschrift" panose="020B0502040204020203"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60797832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881062"/>
          </a:xfrm>
        </p:spPr>
        <p:txBody>
          <a:bodyPr/>
          <a:lstStyle>
            <a:lvl1pPr>
              <a:defRPr>
                <a:solidFill>
                  <a:srgbClr val="6F6F6F"/>
                </a:solidFill>
              </a:defRPr>
            </a:lvl1pPr>
          </a:lstStyle>
          <a:p>
            <a:r>
              <a:rPr lang="de-DE"/>
              <a:t>Mastertitelformat bearbeiten</a:t>
            </a:r>
            <a:endParaRPr lang="de-AT"/>
          </a:p>
        </p:txBody>
      </p:sp>
      <p:sp>
        <p:nvSpPr>
          <p:cNvPr id="3" name="Textplatzhalter 2"/>
          <p:cNvSpPr>
            <a:spLocks noGrp="1"/>
          </p:cNvSpPr>
          <p:nvPr>
            <p:ph type="body" idx="1"/>
          </p:nvPr>
        </p:nvSpPr>
        <p:spPr>
          <a:xfrm>
            <a:off x="609602" y="1435102"/>
            <a:ext cx="5386917" cy="739775"/>
          </a:xfrm>
          <a:prstGeom prst="rect">
            <a:avLst/>
          </a:prstGeom>
        </p:spPr>
        <p:txBody>
          <a:bodyPr anchor="b">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p:cNvSpPr>
            <a:spLocks noGrp="1"/>
          </p:cNvSpPr>
          <p:nvPr>
            <p:ph sz="half" idx="2"/>
          </p:nvPr>
        </p:nvSpPr>
        <p:spPr>
          <a:xfrm>
            <a:off x="609602" y="2174875"/>
            <a:ext cx="5386917" cy="3951288"/>
          </a:xfrm>
          <a:prstGeom prst="rect">
            <a:avLst/>
          </a:prstGeom>
        </p:spPr>
        <p:txBody>
          <a:bodyPr/>
          <a:lstStyle>
            <a:lvl1pPr>
              <a:defRPr sz="22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5" name="Textplatzhalter 4"/>
          <p:cNvSpPr>
            <a:spLocks noGrp="1"/>
          </p:cNvSpPr>
          <p:nvPr>
            <p:ph type="body" sz="quarter" idx="3"/>
          </p:nvPr>
        </p:nvSpPr>
        <p:spPr>
          <a:xfrm>
            <a:off x="6193369" y="1435102"/>
            <a:ext cx="5389032" cy="739775"/>
          </a:xfrm>
          <a:prstGeom prst="rect">
            <a:avLst/>
          </a:prstGeom>
        </p:spPr>
        <p:txBody>
          <a:bodyPr anchor="b">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p:cNvSpPr>
            <a:spLocks noGrp="1"/>
          </p:cNvSpPr>
          <p:nvPr>
            <p:ph sz="quarter" idx="4"/>
          </p:nvPr>
        </p:nvSpPr>
        <p:spPr>
          <a:xfrm>
            <a:off x="6193369" y="2174875"/>
            <a:ext cx="5389032" cy="3951288"/>
          </a:xfrm>
          <a:prstGeom prst="rect">
            <a:avLst/>
          </a:prstGeom>
        </p:spPr>
        <p:txBody>
          <a:bodyPr/>
          <a:lstStyle>
            <a:lvl1pPr>
              <a:defRPr sz="22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7" name="Foliennummernplatzhalter 6"/>
          <p:cNvSpPr>
            <a:spLocks noGrp="1"/>
          </p:cNvSpPr>
          <p:nvPr>
            <p:ph type="sldNum" sz="quarter" idx="10"/>
          </p:nvPr>
        </p:nvSpPr>
        <p:spPr/>
        <p:txBody>
          <a:bodyPr/>
          <a:lstStyle>
            <a:lvl1pPr>
              <a:defRPr/>
            </a:lvl1pPr>
          </a:lstStyle>
          <a:p>
            <a:fld id="{7141CF51-9DD8-44D8-9FC2-E537D07F8618}" type="slidenum">
              <a:rPr lang="de-AT"/>
              <a:pPr/>
              <a:t>‹Nr.›</a:t>
            </a:fld>
            <a:endParaRPr lang="de-AT"/>
          </a:p>
        </p:txBody>
      </p:sp>
      <p:sp>
        <p:nvSpPr>
          <p:cNvPr id="9" name="EYP-Draft">
            <a:extLst>
              <a:ext uri="{FF2B5EF4-FFF2-40B4-BE49-F238E27FC236}">
                <a16:creationId xmlns:a16="http://schemas.microsoft.com/office/drawing/2014/main" id="{C6B52BFF-0298-4B84-9CAB-2CD80D724355}"/>
              </a:ext>
            </a:extLst>
          </p:cNvPr>
          <p:cNvSpPr/>
          <p:nvPr userDrawn="1">
            <p:custDataLst>
              <p:tags r:id="rId1"/>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dirty="0">
                <a:solidFill>
                  <a:srgbClr val="FF8A2B"/>
                </a:solidFill>
                <a:latin typeface="Bahnschrift" panose="020B0502040204020203"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31938732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rgbClr val="6F6F6F"/>
                </a:solidFill>
              </a:defRPr>
            </a:lvl1pPr>
          </a:lstStyle>
          <a:p>
            <a:r>
              <a:rPr lang="de-DE"/>
              <a:t>Mastertitelformat bearbeiten</a:t>
            </a:r>
            <a:endParaRPr lang="de-AT"/>
          </a:p>
        </p:txBody>
      </p:sp>
      <p:sp>
        <p:nvSpPr>
          <p:cNvPr id="3" name="Foliennummernplatzhalter 2"/>
          <p:cNvSpPr>
            <a:spLocks noGrp="1"/>
          </p:cNvSpPr>
          <p:nvPr>
            <p:ph type="sldNum" sz="quarter" idx="10"/>
          </p:nvPr>
        </p:nvSpPr>
        <p:spPr/>
        <p:txBody>
          <a:bodyPr/>
          <a:lstStyle>
            <a:lvl1pPr>
              <a:defRPr/>
            </a:lvl1pPr>
          </a:lstStyle>
          <a:p>
            <a:fld id="{ACDA101C-1C77-4D48-BD39-A39536584314}" type="slidenum">
              <a:rPr lang="de-AT"/>
              <a:pPr/>
              <a:t>‹Nr.›</a:t>
            </a:fld>
            <a:endParaRPr lang="de-AT"/>
          </a:p>
        </p:txBody>
      </p:sp>
    </p:spTree>
    <p:extLst>
      <p:ext uri="{BB962C8B-B14F-4D97-AF65-F5344CB8AC3E}">
        <p14:creationId xmlns:p14="http://schemas.microsoft.com/office/powerpoint/2010/main" val="97381144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lvl1pPr>
              <a:defRPr/>
            </a:lvl1pPr>
          </a:lstStyle>
          <a:p>
            <a:fld id="{ABAC9611-BD30-46E2-A07B-CD5A3A7C3066}" type="slidenum">
              <a:rPr lang="de-AT"/>
              <a:pPr/>
              <a:t>‹Nr.›</a:t>
            </a:fld>
            <a:endParaRPr lang="de-AT"/>
          </a:p>
        </p:txBody>
      </p:sp>
      <p:sp>
        <p:nvSpPr>
          <p:cNvPr id="4" name="EYP-Draft">
            <a:extLst>
              <a:ext uri="{FF2B5EF4-FFF2-40B4-BE49-F238E27FC236}">
                <a16:creationId xmlns:a16="http://schemas.microsoft.com/office/drawing/2014/main" id="{13420493-80AD-4C97-A85B-09FFEA9CDD19}"/>
              </a:ext>
            </a:extLst>
          </p:cNvPr>
          <p:cNvSpPr/>
          <p:nvPr userDrawn="1">
            <p:custDataLst>
              <p:tags r:id="rId1"/>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212964342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2" y="273050"/>
            <a:ext cx="4011084" cy="1162050"/>
          </a:xfrm>
        </p:spPr>
        <p:txBody>
          <a:bodyPr/>
          <a:lstStyle>
            <a:lvl1pPr algn="l">
              <a:defRPr sz="3000" b="0">
                <a:solidFill>
                  <a:srgbClr val="6F6F6F"/>
                </a:solidFill>
                <a:latin typeface="+mj-lt"/>
              </a:defRPr>
            </a:lvl1pPr>
          </a:lstStyle>
          <a:p>
            <a:r>
              <a:rPr lang="de-DE"/>
              <a:t>Mastertitelformat bearbeiten</a:t>
            </a:r>
            <a:endParaRPr lang="de-AT"/>
          </a:p>
        </p:txBody>
      </p:sp>
      <p:sp>
        <p:nvSpPr>
          <p:cNvPr id="3" name="Inhaltsplatzhalter 2"/>
          <p:cNvSpPr>
            <a:spLocks noGrp="1"/>
          </p:cNvSpPr>
          <p:nvPr>
            <p:ph idx="1"/>
          </p:nvPr>
        </p:nvSpPr>
        <p:spPr>
          <a:xfrm>
            <a:off x="4766734" y="273053"/>
            <a:ext cx="6815668" cy="5853113"/>
          </a:xfrm>
          <a:prstGeom prst="rect">
            <a:avLst/>
          </a:prstGeom>
        </p:spPr>
        <p:txBody>
          <a:bodyPr/>
          <a:lstStyle>
            <a:lvl1pPr>
              <a:defRPr sz="22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Textplatzhalter 3"/>
          <p:cNvSpPr>
            <a:spLocks noGrp="1"/>
          </p:cNvSpPr>
          <p:nvPr>
            <p:ph type="body" sz="half" idx="2"/>
          </p:nvPr>
        </p:nvSpPr>
        <p:spPr>
          <a:xfrm>
            <a:off x="609602" y="1435103"/>
            <a:ext cx="4011084" cy="4691063"/>
          </a:xfrm>
          <a:prstGeom prst="rect">
            <a:avLst/>
          </a:prstGeom>
        </p:spPr>
        <p:txBody>
          <a:bodyPr/>
          <a:lstStyle>
            <a:lvl1pPr marL="0" indent="0">
              <a:buFont typeface="Wingdings" pitchFamily="2" charset="2"/>
              <a:buNone/>
              <a:defRPr sz="1400"/>
            </a:lvl1pPr>
            <a:lvl2pPr marL="539750" indent="-269875">
              <a:buFont typeface="Wingdings" pitchFamily="2" charset="2"/>
              <a:buChar char="§"/>
              <a:defRPr sz="1200"/>
            </a:lvl2pPr>
            <a:lvl3pPr marL="914400" indent="-374650">
              <a:buFont typeface="Symbol" pitchFamily="18" charset="2"/>
              <a:buChar char="-"/>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Foliennummernplatzhalter 4"/>
          <p:cNvSpPr>
            <a:spLocks noGrp="1"/>
          </p:cNvSpPr>
          <p:nvPr>
            <p:ph type="sldNum" sz="quarter" idx="10"/>
          </p:nvPr>
        </p:nvSpPr>
        <p:spPr/>
        <p:txBody>
          <a:bodyPr/>
          <a:lstStyle>
            <a:lvl1pPr>
              <a:defRPr/>
            </a:lvl1pPr>
          </a:lstStyle>
          <a:p>
            <a:fld id="{CEA5547C-C2D5-4D2D-84FE-5CA36B8B2314}" type="slidenum">
              <a:rPr lang="de-AT"/>
              <a:pPr/>
              <a:t>‹Nr.›</a:t>
            </a:fld>
            <a:endParaRPr lang="de-AT"/>
          </a:p>
        </p:txBody>
      </p:sp>
      <p:sp>
        <p:nvSpPr>
          <p:cNvPr id="7" name="EYP-Draft">
            <a:extLst>
              <a:ext uri="{FF2B5EF4-FFF2-40B4-BE49-F238E27FC236}">
                <a16:creationId xmlns:a16="http://schemas.microsoft.com/office/drawing/2014/main" id="{5A0B5420-CEFC-4057-AC9E-CDEAA03D4944}"/>
              </a:ext>
            </a:extLst>
          </p:cNvPr>
          <p:cNvSpPr/>
          <p:nvPr userDrawn="1">
            <p:custDataLst>
              <p:tags r:id="rId1"/>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10276514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p:spPr>
        <p:txBody>
          <a:bodyPr/>
          <a:lstStyle>
            <a:lvl1pPr algn="l">
              <a:defRPr sz="2000" b="1">
                <a:solidFill>
                  <a:srgbClr val="6F6F6F"/>
                </a:solidFill>
              </a:defRPr>
            </a:lvl1pPr>
          </a:lstStyle>
          <a:p>
            <a:r>
              <a:rPr lang="de-DE"/>
              <a:t>Mastertitelformat bearbeiten</a:t>
            </a:r>
            <a:endParaRPr lang="de-AT"/>
          </a:p>
        </p:txBody>
      </p:sp>
      <p:sp>
        <p:nvSpPr>
          <p:cNvPr id="3" name="Bildplatzhalt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de-AT"/>
          </a:p>
        </p:txBody>
      </p:sp>
      <p:sp>
        <p:nvSpPr>
          <p:cNvPr id="4" name="Textplatzhalter 3"/>
          <p:cNvSpPr>
            <a:spLocks noGrp="1"/>
          </p:cNvSpPr>
          <p:nvPr>
            <p:ph type="body" sz="half" idx="2"/>
          </p:nvPr>
        </p:nvSpPr>
        <p:spPr>
          <a:xfrm>
            <a:off x="2389717" y="5367338"/>
            <a:ext cx="7315200" cy="804862"/>
          </a:xfrm>
          <a:prstGeom prst="rect">
            <a:avLst/>
          </a:prstGeom>
        </p:spPr>
        <p:txBody>
          <a:bodyPr/>
          <a:lstStyle>
            <a:lvl1pPr marL="0" indent="0">
              <a:buFont typeface="Wingdings" pitchFamily="2" charset="2"/>
              <a:buNone/>
              <a:defRPr sz="1400"/>
            </a:lvl1pPr>
            <a:lvl2pPr marL="457200" indent="-187325">
              <a:buFont typeface="Wingdings" pitchFamily="2" charset="2"/>
              <a:buChar char="§"/>
              <a:defRPr sz="1200"/>
            </a:lvl2pPr>
            <a:lvl3pPr marL="914400" indent="-287338">
              <a:buFont typeface="Symbol" pitchFamily="18" charset="2"/>
              <a:buChar char="-"/>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Foliennummernplatzhalter 4"/>
          <p:cNvSpPr>
            <a:spLocks noGrp="1"/>
          </p:cNvSpPr>
          <p:nvPr>
            <p:ph type="sldNum" sz="quarter" idx="10"/>
          </p:nvPr>
        </p:nvSpPr>
        <p:spPr/>
        <p:txBody>
          <a:bodyPr/>
          <a:lstStyle>
            <a:lvl1pPr>
              <a:defRPr/>
            </a:lvl1pPr>
          </a:lstStyle>
          <a:p>
            <a:fld id="{C6D2457E-9482-4127-9268-A9166FE27573}" type="slidenum">
              <a:rPr lang="de-AT"/>
              <a:pPr/>
              <a:t>‹Nr.›</a:t>
            </a:fld>
            <a:endParaRPr lang="de-AT"/>
          </a:p>
        </p:txBody>
      </p:sp>
      <p:sp>
        <p:nvSpPr>
          <p:cNvPr id="7" name="EYP-Draft">
            <a:extLst>
              <a:ext uri="{FF2B5EF4-FFF2-40B4-BE49-F238E27FC236}">
                <a16:creationId xmlns:a16="http://schemas.microsoft.com/office/drawing/2014/main" id="{F822EAE5-87C1-4960-9AFA-60DCE6C599F2}"/>
              </a:ext>
            </a:extLst>
          </p:cNvPr>
          <p:cNvSpPr/>
          <p:nvPr userDrawn="1">
            <p:custDataLst>
              <p:tags r:id="rId1"/>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3424593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116B8AF-0C96-4954-B9FA-E8F722059CEC}"/>
              </a:ext>
            </a:extLst>
          </p:cNvPr>
          <p:cNvGraphicFramePr>
            <a:graphicFrameLocks noChangeAspect="1"/>
          </p:cNvGraphicFramePr>
          <p:nvPr userDrawn="1">
            <p:custDataLst>
              <p:tags r:id="rId1"/>
            </p:custDataLst>
            <p:extLst>
              <p:ext uri="{D42A27DB-BD31-4B8C-83A1-F6EECF244321}">
                <p14:modId xmlns:p14="http://schemas.microsoft.com/office/powerpoint/2010/main" val="1960556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7" name="Object 6" hidden="1">
                        <a:extLst>
                          <a:ext uri="{FF2B5EF4-FFF2-40B4-BE49-F238E27FC236}">
                            <a16:creationId xmlns:a16="http://schemas.microsoft.com/office/drawing/2014/main" id="{0116B8AF-0C96-4954-B9FA-E8F722059C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755653" y="188916"/>
            <a:ext cx="10678579" cy="936625"/>
          </a:xfrm>
        </p:spPr>
        <p:txBody>
          <a:bodyPr vert="horz"/>
          <a:lstStyle>
            <a:lvl1pPr>
              <a:defRPr b="0">
                <a:solidFill>
                  <a:schemeClr val="tx1"/>
                </a:solidFill>
              </a:defRPr>
            </a:lvl1pPr>
          </a:lstStyle>
          <a:p>
            <a:r>
              <a:rPr lang="de-DE"/>
              <a:t>Mastertitelformat bearbeiten</a:t>
            </a:r>
            <a:endParaRPr lang="de-AT"/>
          </a:p>
        </p:txBody>
      </p:sp>
      <p:sp>
        <p:nvSpPr>
          <p:cNvPr id="3" name="Inhaltsplatzhalter 2"/>
          <p:cNvSpPr>
            <a:spLocks noGrp="1"/>
          </p:cNvSpPr>
          <p:nvPr>
            <p:ph sz="half" idx="1"/>
          </p:nvPr>
        </p:nvSpPr>
        <p:spPr>
          <a:xfrm>
            <a:off x="755653" y="1484316"/>
            <a:ext cx="5232400" cy="4537075"/>
          </a:xfrm>
          <a:prstGeom prst="rect">
            <a:avLst/>
          </a:prstGeom>
        </p:spPr>
        <p:txBody>
          <a:bodyPr/>
          <a:lstStyle>
            <a:lvl1pPr>
              <a:defRPr sz="22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Inhaltsplatzhalter 3"/>
          <p:cNvSpPr>
            <a:spLocks noGrp="1"/>
          </p:cNvSpPr>
          <p:nvPr>
            <p:ph sz="half" idx="2"/>
          </p:nvPr>
        </p:nvSpPr>
        <p:spPr>
          <a:xfrm>
            <a:off x="6191253" y="1484316"/>
            <a:ext cx="5232400" cy="4537075"/>
          </a:xfrm>
          <a:prstGeom prst="rect">
            <a:avLst/>
          </a:prstGeom>
        </p:spPr>
        <p:txBody>
          <a:bodyPr/>
          <a:lstStyle>
            <a:lvl1pPr>
              <a:defRPr sz="22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5" name="Foliennummernplatzhalter 4"/>
          <p:cNvSpPr>
            <a:spLocks noGrp="1"/>
          </p:cNvSpPr>
          <p:nvPr>
            <p:ph type="sldNum" sz="quarter" idx="10"/>
          </p:nvPr>
        </p:nvSpPr>
        <p:spPr/>
        <p:txBody>
          <a:bodyPr/>
          <a:lstStyle>
            <a:lvl1pPr>
              <a:defRPr/>
            </a:lvl1pPr>
          </a:lstStyle>
          <a:p>
            <a:fld id="{A255C770-9D76-44A7-B3EB-A40A89005603}" type="slidenum">
              <a:rPr lang="de-AT"/>
              <a:pPr/>
              <a:t>‹Nr.›</a:t>
            </a:fld>
            <a:endParaRPr lang="de-AT"/>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278612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57620"/>
            <a:ext cx="6967728" cy="357790"/>
          </a:xfrm>
        </p:spPr>
        <p:txBody>
          <a:bodyPr vert="horz">
            <a:spAutoFit/>
          </a:bodyPr>
          <a:lstStyle>
            <a:lvl1pPr rtl="0">
              <a:defRPr/>
            </a:lvl1pPr>
          </a:lstStyle>
          <a:p>
            <a:r>
              <a:rPr lang="en-US"/>
              <a:t>Click to edit Master title style</a:t>
            </a:r>
            <a:endParaRPr lang="de-DE"/>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de-DE">
              <a:solidFill>
                <a:schemeClr val="tx1"/>
              </a:solidFill>
              <a:latin typeface="Verdana" pitchFamily="34" charset="0"/>
              <a:ea typeface="Verdana"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47825"/>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1" name="Slide Number">
            <a:extLst>
              <a:ext uri="{FF2B5EF4-FFF2-40B4-BE49-F238E27FC236}">
                <a16:creationId xmlns:a16="http://schemas.microsoft.com/office/drawing/2014/main" id="{BC9EEB5F-3BA3-4278-B669-92BAB780CEB4}"/>
              </a:ext>
            </a:extLst>
          </p:cNvPr>
          <p:cNvSpPr>
            <a:spLocks noChangeArrowheads="1"/>
          </p:cNvSpPr>
          <p:nvPr userDrawn="1">
            <p:custDataLst>
              <p:tags r:id="rId7"/>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D1AC80BD-F159-4728-977A-428E00807B8B}"/>
              </a:ext>
            </a:extLst>
          </p:cNvPr>
          <p:cNvSpPr txBox="1"/>
          <p:nvPr userDrawn="1">
            <p:custDataLst>
              <p:tags r:id="rId8"/>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4" name="Picture 24">
            <a:extLst>
              <a:ext uri="{FF2B5EF4-FFF2-40B4-BE49-F238E27FC236}">
                <a16:creationId xmlns:a16="http://schemas.microsoft.com/office/drawing/2014/main" id="{254AC017-59F1-42D6-AEDF-51B0F7C29C54}"/>
              </a:ext>
            </a:extLst>
          </p:cNvPr>
          <p:cNvPicPr>
            <a:picLocks noChangeAspect="1" noChangeArrowheads="1"/>
          </p:cNvPicPr>
          <p:nvPr userDrawn="1"/>
        </p:nvPicPr>
        <p:blipFill>
          <a:blip r:embed="rId13"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
        <p:nvSpPr>
          <p:cNvPr id="15" name="EYP-Draft">
            <a:extLst>
              <a:ext uri="{FF2B5EF4-FFF2-40B4-BE49-F238E27FC236}">
                <a16:creationId xmlns:a16="http://schemas.microsoft.com/office/drawing/2014/main" id="{231C8407-EAB7-4314-A8E1-F381D6F17D5D}"/>
              </a:ext>
            </a:extLst>
          </p:cNvPr>
          <p:cNvSpPr/>
          <p:nvPr userDrawn="1">
            <p:custDataLst>
              <p:tags r:id="rId9"/>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383179022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702681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45942"/>
            <a:ext cx="11082528" cy="35779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de-DE" dirty="0"/>
            </a:lvl1pPr>
          </a:lstStyle>
          <a:p>
            <a:pPr lvl="0"/>
            <a:r>
              <a:rPr lang="en-US"/>
              <a:t>Click to edit Master title style</a:t>
            </a:r>
            <a:endParaRPr lang="de-DE"/>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59517"/>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b="0" dirty="0"/>
            </a:lvl1pPr>
          </a:lstStyle>
          <a:p>
            <a:pPr lvl="0">
              <a:buNone/>
            </a:pPr>
            <a:r>
              <a:rPr lang="en-US"/>
              <a:t>Click to edit Master subtitle style</a:t>
            </a:r>
            <a:endParaRPr lang="de-DE"/>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mn-lt"/>
                <a:ea typeface="+mn-ea"/>
                <a:cs typeface="Arial" panose="020B0604020202020204" pitchFamily="34" charset="0"/>
              </a:rPr>
              <a:pPr algn="l" defTabSz="610744" rtl="0" fontAlgn="auto">
                <a:spcBef>
                  <a:spcPts val="0"/>
                </a:spcBef>
                <a:spcAft>
                  <a:spcPts val="0"/>
                </a:spcAft>
                <a:defRPr/>
              </a:pPr>
              <a:t>‹Nr.›</a:t>
            </a:fld>
            <a:endParaRPr lang="de-DE" sz="900" b="0" dirty="0">
              <a:solidFill>
                <a:schemeClr val="accent4"/>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800" b="0" dirty="0">
                <a:cs typeface="+mn-cs"/>
              </a:defRPr>
            </a:lvl1pPr>
          </a:lstStyle>
          <a:p>
            <a:pPr lvl="0">
              <a:buNone/>
            </a:pPr>
            <a:r>
              <a:rPr lang="de-DE"/>
              <a:t>Add tracker</a:t>
            </a:r>
          </a:p>
        </p:txBody>
      </p:sp>
    </p:spTree>
    <p:extLst>
      <p:ext uri="{BB962C8B-B14F-4D97-AF65-F5344CB8AC3E}">
        <p14:creationId xmlns:p14="http://schemas.microsoft.com/office/powerpoint/2010/main" val="32362984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4075835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Rechteck 1">
            <a:extLst>
              <a:ext uri="{FF2B5EF4-FFF2-40B4-BE49-F238E27FC236}">
                <a16:creationId xmlns:a16="http://schemas.microsoft.com/office/drawing/2014/main" id="{9EC25D41-B691-48CA-AC45-B4F8E2A26F3B}"/>
              </a:ext>
            </a:extLst>
          </p:cNvPr>
          <p:cNvSpPr/>
          <p:nvPr userDrawn="1"/>
        </p:nvSpPr>
        <p:spPr>
          <a:xfrm>
            <a:off x="0" y="0"/>
            <a:ext cx="12192000" cy="685800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solidFill>
                <a:schemeClr val="tx1"/>
              </a:solidFill>
              <a:latin typeface="Verdana" pitchFamily="34" charset="0"/>
              <a:ea typeface="Verdana" pitchFamily="34" charset="0"/>
              <a:cs typeface="Verdana" pitchFamily="34" charset="0"/>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232603" y="4386343"/>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1400" dirty="0"/>
            </a:lvl1pPr>
          </a:lstStyle>
          <a:p>
            <a:pPr lvl="0">
              <a:buNone/>
            </a:pPr>
            <a:r>
              <a:rPr lang="de-DE"/>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232603" y="3968734"/>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2000" dirty="0"/>
            </a:lvl1pPr>
          </a:lstStyle>
          <a:p>
            <a:pPr lvl="0">
              <a:buNone/>
            </a:pPr>
            <a:r>
              <a:rPr lang="en-US"/>
              <a:t>Click to edit Master subtitle style</a:t>
            </a:r>
            <a:endParaRPr lang="de-DE"/>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232603" y="3217964"/>
            <a:ext cx="9726795" cy="62972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de-DE" sz="4400" dirty="0"/>
            </a:lvl1pPr>
          </a:lstStyle>
          <a:p>
            <a:pPr lvl="0"/>
            <a:r>
              <a:rPr lang="en-US"/>
              <a:t>Click to edit Master title style</a:t>
            </a:r>
            <a:endParaRPr lang="de-DE"/>
          </a:p>
        </p:txBody>
      </p:sp>
      <p:pic>
        <p:nvPicPr>
          <p:cNvPr id="8" name="Picture 24">
            <a:extLst>
              <a:ext uri="{FF2B5EF4-FFF2-40B4-BE49-F238E27FC236}">
                <a16:creationId xmlns:a16="http://schemas.microsoft.com/office/drawing/2014/main" id="{C2C6AA7B-ABAA-4B2A-8924-BC807341FB90}"/>
              </a:ext>
            </a:extLst>
          </p:cNvPr>
          <p:cNvPicPr>
            <a:picLocks noChangeAspect="1" noChangeArrowheads="1"/>
          </p:cNvPicPr>
          <p:nvPr userDrawn="1"/>
        </p:nvPicPr>
        <p:blipFill>
          <a:blip r:embed="rId9"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Tree>
    <p:extLst>
      <p:ext uri="{BB962C8B-B14F-4D97-AF65-F5344CB8AC3E}">
        <p14:creationId xmlns:p14="http://schemas.microsoft.com/office/powerpoint/2010/main" val="5075689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342221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57620"/>
            <a:ext cx="11082528" cy="35779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de-DE" dirty="0"/>
            </a:lvl1pPr>
          </a:lstStyle>
          <a:p>
            <a:pPr lvl="0"/>
            <a:r>
              <a:rPr lang="en-US"/>
              <a:t>Click to edit Master title style</a:t>
            </a:r>
            <a:endParaRPr lang="de-DE"/>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47825"/>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b="0" dirty="0"/>
            </a:lvl1pPr>
          </a:lstStyle>
          <a:p>
            <a:pPr lvl="0">
              <a:buNone/>
            </a:pPr>
            <a:r>
              <a:rPr lang="en-US"/>
              <a:t>Click to edit Master subtitle style</a:t>
            </a:r>
            <a:endParaRPr lang="de-DE"/>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800" b="0" dirty="0">
                <a:cs typeface="+mn-cs"/>
              </a:defRPr>
            </a:lvl1pPr>
          </a:lstStyle>
          <a:p>
            <a:pPr lvl="0">
              <a:buNone/>
            </a:pPr>
            <a:r>
              <a:rPr lang="de-DE"/>
              <a:t>Add tracker</a:t>
            </a:r>
          </a:p>
        </p:txBody>
      </p:sp>
      <p:sp>
        <p:nvSpPr>
          <p:cNvPr id="12" name="EYP-Draft">
            <a:extLst>
              <a:ext uri="{FF2B5EF4-FFF2-40B4-BE49-F238E27FC236}">
                <a16:creationId xmlns:a16="http://schemas.microsoft.com/office/drawing/2014/main" id="{C3FD6E08-D121-4FCF-9AA4-DA20061F2527}"/>
              </a:ext>
            </a:extLst>
          </p:cNvPr>
          <p:cNvSpPr/>
          <p:nvPr userDrawn="1">
            <p:custDataLst>
              <p:tags r:id="rId8"/>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188230275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223167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de-DE"/>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a:t>
            </a:r>
            <a:r>
              <a:rPr lang="de-DE" err="1"/>
              <a:t>tracker</a:t>
            </a:r>
            <a:endParaRPr lang="de-DE"/>
          </a:p>
        </p:txBody>
      </p:sp>
      <p:sp>
        <p:nvSpPr>
          <p:cNvPr id="8" name="Slide Number">
            <a:extLst>
              <a:ext uri="{FF2B5EF4-FFF2-40B4-BE49-F238E27FC236}">
                <a16:creationId xmlns:a16="http://schemas.microsoft.com/office/drawing/2014/main" id="{1A51FC7F-99A8-4EAF-9223-6B974A470419}"/>
              </a:ext>
            </a:extLst>
          </p:cNvPr>
          <p:cNvSpPr>
            <a:spLocks noChangeArrowheads="1"/>
          </p:cNvSpPr>
          <p:nvPr userDrawn="1">
            <p:custDataLst>
              <p:tags r:id="rId5"/>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4EE12332-EFAE-4F87-A522-2926FABA0C99}"/>
              </a:ext>
            </a:extLst>
          </p:cNvPr>
          <p:cNvSpPr txBox="1"/>
          <p:nvPr userDrawn="1">
            <p:custDataLst>
              <p:tags r:id="rId6"/>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
        <p:nvSpPr>
          <p:cNvPr id="14" name="EYP-Draft">
            <a:extLst>
              <a:ext uri="{FF2B5EF4-FFF2-40B4-BE49-F238E27FC236}">
                <a16:creationId xmlns:a16="http://schemas.microsoft.com/office/drawing/2014/main" id="{F0C76A4A-87F0-4345-8B2D-A76ED015DD4E}"/>
              </a:ext>
            </a:extLst>
          </p:cNvPr>
          <p:cNvSpPr/>
          <p:nvPr userDrawn="1">
            <p:custDataLst>
              <p:tags r:id="rId7"/>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28503400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1342487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de-DE"/>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1" name="Slide Number">
            <a:extLst>
              <a:ext uri="{FF2B5EF4-FFF2-40B4-BE49-F238E27FC236}">
                <a16:creationId xmlns:a16="http://schemas.microsoft.com/office/drawing/2014/main" id="{1535753D-C75C-4BA4-BAA7-FAB78E5E7DE4}"/>
              </a:ext>
            </a:extLst>
          </p:cNvPr>
          <p:cNvSpPr>
            <a:spLocks noChangeArrowheads="1"/>
          </p:cNvSpPr>
          <p:nvPr userDrawn="1">
            <p:custDataLst>
              <p:tags r:id="rId5"/>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E4BA8A7-10D2-47EE-BC77-F9B70F061742}"/>
              </a:ext>
            </a:extLst>
          </p:cNvPr>
          <p:cNvSpPr txBox="1"/>
          <p:nvPr userDrawn="1">
            <p:custDataLst>
              <p:tags r:id="rId6"/>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
        <p:nvSpPr>
          <p:cNvPr id="9" name="EYP-Draft">
            <a:extLst>
              <a:ext uri="{FF2B5EF4-FFF2-40B4-BE49-F238E27FC236}">
                <a16:creationId xmlns:a16="http://schemas.microsoft.com/office/drawing/2014/main" id="{9736A863-2330-40DE-9F9B-66201B30B230}"/>
              </a:ext>
            </a:extLst>
          </p:cNvPr>
          <p:cNvSpPr/>
          <p:nvPr userDrawn="1">
            <p:custDataLst>
              <p:tags r:id="rId7"/>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56869660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08833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de-DE"/>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0" name="Slide Number">
            <a:extLst>
              <a:ext uri="{FF2B5EF4-FFF2-40B4-BE49-F238E27FC236}">
                <a16:creationId xmlns:a16="http://schemas.microsoft.com/office/drawing/2014/main" id="{BA637108-8513-4669-AF8E-11F67EAC2F40}"/>
              </a:ext>
            </a:extLst>
          </p:cNvPr>
          <p:cNvSpPr>
            <a:spLocks noChangeArrowheads="1"/>
          </p:cNvSpPr>
          <p:nvPr userDrawn="1">
            <p:custDataLst>
              <p:tags r:id="rId5"/>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15981F77-3644-4555-80C7-6EE37D237D4C}"/>
              </a:ext>
            </a:extLst>
          </p:cNvPr>
          <p:cNvSpPr txBox="1"/>
          <p:nvPr userDrawn="1">
            <p:custDataLst>
              <p:tags r:id="rId6"/>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
        <p:nvSpPr>
          <p:cNvPr id="12" name="EYP-Draft">
            <a:extLst>
              <a:ext uri="{FF2B5EF4-FFF2-40B4-BE49-F238E27FC236}">
                <a16:creationId xmlns:a16="http://schemas.microsoft.com/office/drawing/2014/main" id="{B5600729-A824-4A62-B2D8-AB8DAC8704AB}"/>
              </a:ext>
            </a:extLst>
          </p:cNvPr>
          <p:cNvSpPr/>
          <p:nvPr userDrawn="1">
            <p:custDataLst>
              <p:tags r:id="rId7"/>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188946612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817888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de-DE"/>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1" name="Slide Number">
            <a:extLst>
              <a:ext uri="{FF2B5EF4-FFF2-40B4-BE49-F238E27FC236}">
                <a16:creationId xmlns:a16="http://schemas.microsoft.com/office/drawing/2014/main" id="{5DE124AC-E5D9-4B47-929C-E6CCB148EA72}"/>
              </a:ext>
            </a:extLst>
          </p:cNvPr>
          <p:cNvSpPr>
            <a:spLocks noChangeArrowheads="1"/>
          </p:cNvSpPr>
          <p:nvPr userDrawn="1">
            <p:custDataLst>
              <p:tags r:id="rId6"/>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708B70E-07AB-4CA1-AA8F-7B928F876BEC}"/>
              </a:ext>
            </a:extLst>
          </p:cNvPr>
          <p:cNvSpPr txBox="1"/>
          <p:nvPr userDrawn="1">
            <p:custDataLst>
              <p:tags r:id="rId7"/>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
        <p:nvSpPr>
          <p:cNvPr id="13" name="EYP-Draft">
            <a:extLst>
              <a:ext uri="{FF2B5EF4-FFF2-40B4-BE49-F238E27FC236}">
                <a16:creationId xmlns:a16="http://schemas.microsoft.com/office/drawing/2014/main" id="{9F764CDA-D408-4F8E-9658-D3C9FE4BEF86}"/>
              </a:ext>
            </a:extLst>
          </p:cNvPr>
          <p:cNvSpPr/>
          <p:nvPr userDrawn="1">
            <p:custDataLst>
              <p:tags r:id="rId8"/>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230319469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336928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de-DE">
              <a:solidFill>
                <a:schemeClr val="tx1"/>
              </a:solidFill>
              <a:latin typeface="Verdana" pitchFamily="34" charset="0"/>
              <a:ea typeface="Verdana"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98229"/>
            <a:ext cx="2514600" cy="715581"/>
          </a:xfrm>
        </p:spPr>
        <p:txBody>
          <a:bodyPr vert="horz" anchor="b">
            <a:spAutoFit/>
          </a:bodyPr>
          <a:lstStyle>
            <a:lvl1pPr rtl="0">
              <a:defRPr>
                <a:solidFill>
                  <a:srgbClr val="6F6F6F"/>
                </a:solidFill>
              </a:defRPr>
            </a:lvl1pPr>
          </a:lstStyle>
          <a:p>
            <a:r>
              <a:rPr lang="en-US"/>
              <a:t>Click to edit Master title style</a:t>
            </a:r>
            <a:endParaRPr lang="de-DE"/>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de-DE"/>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1" name="Slide Number">
            <a:extLst>
              <a:ext uri="{FF2B5EF4-FFF2-40B4-BE49-F238E27FC236}">
                <a16:creationId xmlns:a16="http://schemas.microsoft.com/office/drawing/2014/main" id="{ACE97FE8-6B53-4A0E-8FB0-7B459247319B}"/>
              </a:ext>
            </a:extLst>
          </p:cNvPr>
          <p:cNvSpPr>
            <a:spLocks noChangeArrowheads="1"/>
          </p:cNvSpPr>
          <p:nvPr userDrawn="1">
            <p:custDataLst>
              <p:tags r:id="rId7"/>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97369D5-E9D9-4163-9858-A55D3B909C4F}"/>
              </a:ext>
            </a:extLst>
          </p:cNvPr>
          <p:cNvSpPr txBox="1"/>
          <p:nvPr userDrawn="1">
            <p:custDataLst>
              <p:tags r:id="rId8"/>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6" name="Picture 24">
            <a:extLst>
              <a:ext uri="{FF2B5EF4-FFF2-40B4-BE49-F238E27FC236}">
                <a16:creationId xmlns:a16="http://schemas.microsoft.com/office/drawing/2014/main" id="{731B67C0-E0F0-4461-B1AA-08D5B92F5DA2}"/>
              </a:ext>
            </a:extLst>
          </p:cNvPr>
          <p:cNvPicPr>
            <a:picLocks noChangeAspect="1" noChangeArrowheads="1"/>
          </p:cNvPicPr>
          <p:nvPr userDrawn="1"/>
        </p:nvPicPr>
        <p:blipFill>
          <a:blip r:embed="rId13"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
        <p:nvSpPr>
          <p:cNvPr id="14" name="EYP-Draft">
            <a:extLst>
              <a:ext uri="{FF2B5EF4-FFF2-40B4-BE49-F238E27FC236}">
                <a16:creationId xmlns:a16="http://schemas.microsoft.com/office/drawing/2014/main" id="{FC5278BB-D6F2-4C94-93E7-9A0179CF5CFE}"/>
              </a:ext>
            </a:extLst>
          </p:cNvPr>
          <p:cNvSpPr/>
          <p:nvPr userDrawn="1">
            <p:custDataLst>
              <p:tags r:id="rId9"/>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208914120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101557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de-DE">
              <a:solidFill>
                <a:schemeClr val="tx1"/>
              </a:solidFill>
              <a:latin typeface="Verdana" pitchFamily="34" charset="0"/>
              <a:ea typeface="Verdana"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98229"/>
            <a:ext cx="3465576" cy="715581"/>
          </a:xfrm>
          <a:prstGeom prst="rect">
            <a:avLst/>
          </a:prstGeom>
        </p:spPr>
        <p:txBody>
          <a:bodyPr vert="horz" wrap="square" anchor="b">
            <a:spAutoFit/>
          </a:bodyPr>
          <a:lstStyle>
            <a:lvl1pPr algn="l" rtl="0">
              <a:defRPr>
                <a:solidFill>
                  <a:srgbClr val="6F6F6F"/>
                </a:solidFill>
              </a:defRPr>
            </a:lvl1pPr>
          </a:lstStyle>
          <a:p>
            <a:r>
              <a:rPr lang="en-US"/>
              <a:t>Click to edit Master title style</a:t>
            </a:r>
            <a:endParaRPr lang="de-DE"/>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de-DE"/>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1" name="Slide Number">
            <a:extLst>
              <a:ext uri="{FF2B5EF4-FFF2-40B4-BE49-F238E27FC236}">
                <a16:creationId xmlns:a16="http://schemas.microsoft.com/office/drawing/2014/main" id="{7067C9ED-D307-433C-A5EE-09BE381BFD25}"/>
              </a:ext>
            </a:extLst>
          </p:cNvPr>
          <p:cNvSpPr>
            <a:spLocks noChangeArrowheads="1"/>
          </p:cNvSpPr>
          <p:nvPr userDrawn="1">
            <p:custDataLst>
              <p:tags r:id="rId7"/>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D2FC4C18-5BAA-4BD8-A1D3-5D0DBAD408E6}"/>
              </a:ext>
            </a:extLst>
          </p:cNvPr>
          <p:cNvSpPr txBox="1"/>
          <p:nvPr userDrawn="1">
            <p:custDataLst>
              <p:tags r:id="rId8"/>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4" name="Picture 24">
            <a:extLst>
              <a:ext uri="{FF2B5EF4-FFF2-40B4-BE49-F238E27FC236}">
                <a16:creationId xmlns:a16="http://schemas.microsoft.com/office/drawing/2014/main" id="{BEFB725C-7C26-4FB2-AA2A-2205DC4CBB3E}"/>
              </a:ext>
            </a:extLst>
          </p:cNvPr>
          <p:cNvPicPr>
            <a:picLocks noChangeAspect="1" noChangeArrowheads="1"/>
          </p:cNvPicPr>
          <p:nvPr userDrawn="1"/>
        </p:nvPicPr>
        <p:blipFill>
          <a:blip r:embed="rId13"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
        <p:nvSpPr>
          <p:cNvPr id="15" name="EYP-Draft">
            <a:extLst>
              <a:ext uri="{FF2B5EF4-FFF2-40B4-BE49-F238E27FC236}">
                <a16:creationId xmlns:a16="http://schemas.microsoft.com/office/drawing/2014/main" id="{C44B9B65-B21E-45AE-BE8A-DDC24A2DD589}"/>
              </a:ext>
            </a:extLst>
          </p:cNvPr>
          <p:cNvSpPr/>
          <p:nvPr userDrawn="1">
            <p:custDataLst>
              <p:tags r:id="rId9"/>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14607602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0663EDC-998C-4C8D-8015-A2CA2848C9DA}"/>
              </a:ext>
            </a:extLst>
          </p:cNvPr>
          <p:cNvGraphicFramePr>
            <a:graphicFrameLocks noChangeAspect="1"/>
          </p:cNvGraphicFramePr>
          <p:nvPr userDrawn="1">
            <p:custDataLst>
              <p:tags r:id="rId1"/>
            </p:custDataLst>
            <p:extLst>
              <p:ext uri="{D42A27DB-BD31-4B8C-83A1-F6EECF244321}">
                <p14:modId xmlns:p14="http://schemas.microsoft.com/office/powerpoint/2010/main" val="332580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9" name="Object 8" hidden="1">
                        <a:extLst>
                          <a:ext uri="{FF2B5EF4-FFF2-40B4-BE49-F238E27FC236}">
                            <a16:creationId xmlns:a16="http://schemas.microsoft.com/office/drawing/2014/main" id="{00663EDC-998C-4C8D-8015-A2CA2848C9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609600" y="274638"/>
            <a:ext cx="10972800" cy="881062"/>
          </a:xfrm>
        </p:spPr>
        <p:txBody>
          <a:bodyPr vert="horz"/>
          <a:lstStyle>
            <a:lvl1pPr>
              <a:defRPr>
                <a:solidFill>
                  <a:srgbClr val="6F6F6F"/>
                </a:solidFill>
              </a:defRPr>
            </a:lvl1pPr>
          </a:lstStyle>
          <a:p>
            <a:r>
              <a:rPr lang="de-DE"/>
              <a:t>Mastertitelformat bearbeiten</a:t>
            </a:r>
            <a:endParaRPr lang="de-AT"/>
          </a:p>
        </p:txBody>
      </p:sp>
      <p:sp>
        <p:nvSpPr>
          <p:cNvPr id="3" name="Textplatzhalter 2"/>
          <p:cNvSpPr>
            <a:spLocks noGrp="1"/>
          </p:cNvSpPr>
          <p:nvPr>
            <p:ph type="body" idx="1"/>
          </p:nvPr>
        </p:nvSpPr>
        <p:spPr>
          <a:xfrm>
            <a:off x="609602" y="1435102"/>
            <a:ext cx="5386917" cy="739775"/>
          </a:xfrm>
          <a:prstGeom prst="rect">
            <a:avLst/>
          </a:prstGeom>
        </p:spPr>
        <p:txBody>
          <a:bodyPr anchor="b">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p:cNvSpPr>
            <a:spLocks noGrp="1"/>
          </p:cNvSpPr>
          <p:nvPr>
            <p:ph sz="half" idx="2"/>
          </p:nvPr>
        </p:nvSpPr>
        <p:spPr>
          <a:xfrm>
            <a:off x="609602" y="2174875"/>
            <a:ext cx="5386917" cy="3951288"/>
          </a:xfrm>
          <a:prstGeom prst="rect">
            <a:avLst/>
          </a:prstGeom>
        </p:spPr>
        <p:txBody>
          <a:bodyPr/>
          <a:lstStyle>
            <a:lvl1pPr>
              <a:defRPr sz="22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5" name="Textplatzhalter 4"/>
          <p:cNvSpPr>
            <a:spLocks noGrp="1"/>
          </p:cNvSpPr>
          <p:nvPr>
            <p:ph type="body" sz="quarter" idx="3"/>
          </p:nvPr>
        </p:nvSpPr>
        <p:spPr>
          <a:xfrm>
            <a:off x="6193369" y="1435102"/>
            <a:ext cx="5389032" cy="739775"/>
          </a:xfrm>
          <a:prstGeom prst="rect">
            <a:avLst/>
          </a:prstGeom>
        </p:spPr>
        <p:txBody>
          <a:bodyPr anchor="b">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p:cNvSpPr>
            <a:spLocks noGrp="1"/>
          </p:cNvSpPr>
          <p:nvPr>
            <p:ph sz="quarter" idx="4"/>
          </p:nvPr>
        </p:nvSpPr>
        <p:spPr>
          <a:xfrm>
            <a:off x="6193369" y="2174875"/>
            <a:ext cx="5389032" cy="3951288"/>
          </a:xfrm>
          <a:prstGeom prst="rect">
            <a:avLst/>
          </a:prstGeom>
        </p:spPr>
        <p:txBody>
          <a:bodyPr/>
          <a:lstStyle>
            <a:lvl1pPr>
              <a:defRPr sz="22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7" name="Foliennummernplatzhalter 6"/>
          <p:cNvSpPr>
            <a:spLocks noGrp="1"/>
          </p:cNvSpPr>
          <p:nvPr>
            <p:ph type="sldNum" sz="quarter" idx="10"/>
          </p:nvPr>
        </p:nvSpPr>
        <p:spPr/>
        <p:txBody>
          <a:bodyPr/>
          <a:lstStyle>
            <a:lvl1pPr>
              <a:defRPr/>
            </a:lvl1pPr>
          </a:lstStyle>
          <a:p>
            <a:fld id="{7141CF51-9DD8-44D8-9FC2-E537D07F8618}" type="slidenum">
              <a:rPr lang="de-AT"/>
              <a:pPr/>
              <a:t>‹Nr.›</a:t>
            </a:fld>
            <a:endParaRPr lang="de-AT"/>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153053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de-DE">
              <a:solidFill>
                <a:schemeClr val="tx1"/>
              </a:solidFill>
              <a:latin typeface="Verdana" pitchFamily="34" charset="0"/>
              <a:ea typeface="Verdana"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57620"/>
            <a:ext cx="5065776" cy="357790"/>
          </a:xfrm>
        </p:spPr>
        <p:txBody>
          <a:bodyPr vert="horz">
            <a:spAutoFit/>
          </a:bodyPr>
          <a:lstStyle>
            <a:lvl1pPr rtl="0">
              <a:defRPr/>
            </a:lvl1pPr>
          </a:lstStyle>
          <a:p>
            <a:r>
              <a:rPr lang="en-US"/>
              <a:t>Click to edit Master title style</a:t>
            </a:r>
            <a:endParaRPr lang="de-DE"/>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47825"/>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1" name="Slide Number">
            <a:extLst>
              <a:ext uri="{FF2B5EF4-FFF2-40B4-BE49-F238E27FC236}">
                <a16:creationId xmlns:a16="http://schemas.microsoft.com/office/drawing/2014/main" id="{EA4238AD-B2D3-4FCA-AE7F-D5C1847E050A}"/>
              </a:ext>
            </a:extLst>
          </p:cNvPr>
          <p:cNvSpPr>
            <a:spLocks noChangeArrowheads="1"/>
          </p:cNvSpPr>
          <p:nvPr userDrawn="1">
            <p:custDataLst>
              <p:tags r:id="rId7"/>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57152604-7771-493D-8E5B-895058858287}"/>
              </a:ext>
            </a:extLst>
          </p:cNvPr>
          <p:cNvSpPr txBox="1"/>
          <p:nvPr userDrawn="1">
            <p:custDataLst>
              <p:tags r:id="rId8"/>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4" name="Picture 24">
            <a:extLst>
              <a:ext uri="{FF2B5EF4-FFF2-40B4-BE49-F238E27FC236}">
                <a16:creationId xmlns:a16="http://schemas.microsoft.com/office/drawing/2014/main" id="{B1DDB64D-6BF8-41DB-AB8C-66A92D04F8B9}"/>
              </a:ext>
            </a:extLst>
          </p:cNvPr>
          <p:cNvPicPr>
            <a:picLocks noChangeAspect="1" noChangeArrowheads="1"/>
          </p:cNvPicPr>
          <p:nvPr userDrawn="1"/>
        </p:nvPicPr>
        <p:blipFill>
          <a:blip r:embed="rId13"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
        <p:nvSpPr>
          <p:cNvPr id="15" name="EYP-Draft">
            <a:extLst>
              <a:ext uri="{FF2B5EF4-FFF2-40B4-BE49-F238E27FC236}">
                <a16:creationId xmlns:a16="http://schemas.microsoft.com/office/drawing/2014/main" id="{9CF15F24-8BF4-49E2-BF1D-6DC93125F428}"/>
              </a:ext>
            </a:extLst>
          </p:cNvPr>
          <p:cNvSpPr/>
          <p:nvPr userDrawn="1">
            <p:custDataLst>
              <p:tags r:id="rId9"/>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393528901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278612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57620"/>
            <a:ext cx="6967728" cy="357790"/>
          </a:xfrm>
        </p:spPr>
        <p:txBody>
          <a:bodyPr vert="horz">
            <a:spAutoFit/>
          </a:bodyPr>
          <a:lstStyle>
            <a:lvl1pPr rtl="0">
              <a:defRPr/>
            </a:lvl1pPr>
          </a:lstStyle>
          <a:p>
            <a:r>
              <a:rPr lang="en-US"/>
              <a:t>Click to edit Master title style</a:t>
            </a:r>
            <a:endParaRPr lang="de-DE"/>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de-DE">
              <a:solidFill>
                <a:schemeClr val="tx1"/>
              </a:solidFill>
              <a:latin typeface="Verdana" pitchFamily="34" charset="0"/>
              <a:ea typeface="Verdana"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47825"/>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1" name="Slide Number">
            <a:extLst>
              <a:ext uri="{FF2B5EF4-FFF2-40B4-BE49-F238E27FC236}">
                <a16:creationId xmlns:a16="http://schemas.microsoft.com/office/drawing/2014/main" id="{BC9EEB5F-3BA3-4278-B669-92BAB780CEB4}"/>
              </a:ext>
            </a:extLst>
          </p:cNvPr>
          <p:cNvSpPr>
            <a:spLocks noChangeArrowheads="1"/>
          </p:cNvSpPr>
          <p:nvPr userDrawn="1">
            <p:custDataLst>
              <p:tags r:id="rId7"/>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D1AC80BD-F159-4728-977A-428E00807B8B}"/>
              </a:ext>
            </a:extLst>
          </p:cNvPr>
          <p:cNvSpPr txBox="1"/>
          <p:nvPr userDrawn="1">
            <p:custDataLst>
              <p:tags r:id="rId8"/>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4" name="Picture 24">
            <a:extLst>
              <a:ext uri="{FF2B5EF4-FFF2-40B4-BE49-F238E27FC236}">
                <a16:creationId xmlns:a16="http://schemas.microsoft.com/office/drawing/2014/main" id="{254AC017-59F1-42D6-AEDF-51B0F7C29C54}"/>
              </a:ext>
            </a:extLst>
          </p:cNvPr>
          <p:cNvPicPr>
            <a:picLocks noChangeAspect="1" noChangeArrowheads="1"/>
          </p:cNvPicPr>
          <p:nvPr userDrawn="1"/>
        </p:nvPicPr>
        <p:blipFill>
          <a:blip r:embed="rId12"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Tree>
    <p:extLst>
      <p:ext uri="{BB962C8B-B14F-4D97-AF65-F5344CB8AC3E}">
        <p14:creationId xmlns:p14="http://schemas.microsoft.com/office/powerpoint/2010/main" val="417165981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062437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de-DE" noProof="0">
              <a:solidFill>
                <a:schemeClr val="tx1"/>
              </a:solidFill>
              <a:latin typeface="Verdana" pitchFamily="34" charset="0"/>
              <a:ea typeface="Verdana"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57620"/>
            <a:ext cx="7918704" cy="357790"/>
          </a:xfrm>
        </p:spPr>
        <p:txBody>
          <a:bodyPr vert="horz">
            <a:spAutoFit/>
          </a:bodyPr>
          <a:lstStyle>
            <a:lvl1pPr rtl="0">
              <a:defRPr/>
            </a:lvl1pPr>
          </a:lstStyle>
          <a:p>
            <a:r>
              <a:rPr lang="en-US"/>
              <a:t>Click to edit Master title style</a:t>
            </a:r>
            <a:endParaRPr lang="de-DE"/>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47825"/>
            <a:ext cx="7918704"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11" name="Slide Number">
            <a:extLst>
              <a:ext uri="{FF2B5EF4-FFF2-40B4-BE49-F238E27FC236}">
                <a16:creationId xmlns:a16="http://schemas.microsoft.com/office/drawing/2014/main" id="{0143EE6C-1168-4DD6-A461-416121EF9906}"/>
              </a:ext>
            </a:extLst>
          </p:cNvPr>
          <p:cNvSpPr>
            <a:spLocks noChangeArrowheads="1"/>
          </p:cNvSpPr>
          <p:nvPr userDrawn="1">
            <p:custDataLst>
              <p:tags r:id="rId7"/>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513F939A-642E-4E98-983B-F47788754352}"/>
              </a:ext>
            </a:extLst>
          </p:cNvPr>
          <p:cNvSpPr txBox="1"/>
          <p:nvPr userDrawn="1">
            <p:custDataLst>
              <p:tags r:id="rId8"/>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7" name="Picture 24">
            <a:extLst>
              <a:ext uri="{FF2B5EF4-FFF2-40B4-BE49-F238E27FC236}">
                <a16:creationId xmlns:a16="http://schemas.microsoft.com/office/drawing/2014/main" id="{9F57E852-4A91-4B24-8235-4595773BADBF}"/>
              </a:ext>
            </a:extLst>
          </p:cNvPr>
          <p:cNvPicPr>
            <a:picLocks noChangeAspect="1" noChangeArrowheads="1"/>
          </p:cNvPicPr>
          <p:nvPr userDrawn="1"/>
        </p:nvPicPr>
        <p:blipFill>
          <a:blip r:embed="rId13"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
        <p:nvSpPr>
          <p:cNvPr id="14" name="EYP-Draft">
            <a:extLst>
              <a:ext uri="{FF2B5EF4-FFF2-40B4-BE49-F238E27FC236}">
                <a16:creationId xmlns:a16="http://schemas.microsoft.com/office/drawing/2014/main" id="{18855CCF-D091-4EA9-AAC5-552C3D823FF1}"/>
              </a:ext>
            </a:extLst>
          </p:cNvPr>
          <p:cNvSpPr/>
          <p:nvPr userDrawn="1">
            <p:custDataLst>
              <p:tags r:id="rId9"/>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328993950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412277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915410"/>
            <a:ext cx="11082528" cy="357790"/>
          </a:xfrm>
        </p:spPr>
        <p:txBody>
          <a:bodyPr vert="horz">
            <a:spAutoFit/>
          </a:bodyPr>
          <a:lstStyle>
            <a:lvl1pPr rtl="0">
              <a:defRPr/>
            </a:lvl1pPr>
          </a:lstStyle>
          <a:p>
            <a:r>
              <a:rPr lang="en-US"/>
              <a:t>Click to edit Master title style</a:t>
            </a:r>
            <a:endParaRPr lang="de-DE"/>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9" name="Slide Number">
            <a:extLst>
              <a:ext uri="{FF2B5EF4-FFF2-40B4-BE49-F238E27FC236}">
                <a16:creationId xmlns:a16="http://schemas.microsoft.com/office/drawing/2014/main" id="{96674A65-5FC2-41CE-8582-D1D21827D6F5}"/>
              </a:ext>
            </a:extLst>
          </p:cNvPr>
          <p:cNvSpPr>
            <a:spLocks noChangeArrowheads="1"/>
          </p:cNvSpPr>
          <p:nvPr userDrawn="1">
            <p:custDataLst>
              <p:tags r:id="rId5"/>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FCD6A1F4-DEC5-4BDA-8C6A-928B2E375B25}"/>
              </a:ext>
            </a:extLst>
          </p:cNvPr>
          <p:cNvSpPr txBox="1"/>
          <p:nvPr userDrawn="1">
            <p:custDataLst>
              <p:tags r:id="rId6"/>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2" name="Picture 24">
            <a:extLst>
              <a:ext uri="{FF2B5EF4-FFF2-40B4-BE49-F238E27FC236}">
                <a16:creationId xmlns:a16="http://schemas.microsoft.com/office/drawing/2014/main" id="{4DD97FBD-336D-4FED-AEBC-E68CFB31BA1A}"/>
              </a:ext>
            </a:extLst>
          </p:cNvPr>
          <p:cNvPicPr>
            <a:picLocks noChangeAspect="1" noChangeArrowheads="1"/>
          </p:cNvPicPr>
          <p:nvPr userDrawn="1"/>
        </p:nvPicPr>
        <p:blipFill>
          <a:blip r:embed="rId11"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
        <p:nvSpPr>
          <p:cNvPr id="13" name="EYP-Draft">
            <a:extLst>
              <a:ext uri="{FF2B5EF4-FFF2-40B4-BE49-F238E27FC236}">
                <a16:creationId xmlns:a16="http://schemas.microsoft.com/office/drawing/2014/main" id="{52E2A463-9C06-411A-9218-700B55EB662F}"/>
              </a:ext>
            </a:extLst>
          </p:cNvPr>
          <p:cNvSpPr/>
          <p:nvPr userDrawn="1">
            <p:custDataLst>
              <p:tags r:id="rId7"/>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377875012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28205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sp>
        <p:nvSpPr>
          <p:cNvPr id="6" name="Slide Number">
            <a:extLst>
              <a:ext uri="{FF2B5EF4-FFF2-40B4-BE49-F238E27FC236}">
                <a16:creationId xmlns:a16="http://schemas.microsoft.com/office/drawing/2014/main" id="{1B877722-89DB-496A-95D4-7FD74FB3A776}"/>
              </a:ext>
            </a:extLst>
          </p:cNvPr>
          <p:cNvSpPr>
            <a:spLocks noChangeArrowheads="1"/>
          </p:cNvSpPr>
          <p:nvPr userDrawn="1">
            <p:custDataLst>
              <p:tags r:id="rId3"/>
            </p:custDataLst>
          </p:nvPr>
        </p:nvSpPr>
        <p:spPr bwMode="black">
          <a:xfrm>
            <a:off x="554736" y="6514142"/>
            <a:ext cx="131446" cy="123111"/>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800" b="0" smtClean="0">
                <a:solidFill>
                  <a:srgbClr val="7F7F7F"/>
                </a:solidFill>
                <a:latin typeface="+mn-lt"/>
                <a:ea typeface="+mn-ea"/>
                <a:cs typeface="Arial" panose="020B0604020202020204" pitchFamily="34" charset="0"/>
              </a:rPr>
              <a:pPr algn="l" defTabSz="610744" rtl="0" fontAlgn="auto">
                <a:spcBef>
                  <a:spcPts val="0"/>
                </a:spcBef>
                <a:spcAft>
                  <a:spcPts val="0"/>
                </a:spcAft>
                <a:defRPr/>
              </a:pPr>
              <a:t>‹Nr.›</a:t>
            </a:fld>
            <a:endParaRPr lang="de-DE" sz="800" b="0">
              <a:solidFill>
                <a:srgbClr val="7F7F7F"/>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30D1A18E-00CE-4AFC-8B1D-FCCCCD57C060}"/>
              </a:ext>
            </a:extLst>
          </p:cNvPr>
          <p:cNvSpPr txBox="1"/>
          <p:nvPr userDrawn="1">
            <p:custDataLst>
              <p:tags r:id="rId4"/>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1" name="Picture 24">
            <a:extLst>
              <a:ext uri="{FF2B5EF4-FFF2-40B4-BE49-F238E27FC236}">
                <a16:creationId xmlns:a16="http://schemas.microsoft.com/office/drawing/2014/main" id="{952A21E9-120B-4C29-89C3-CE32E6500919}"/>
              </a:ext>
            </a:extLst>
          </p:cNvPr>
          <p:cNvPicPr>
            <a:picLocks noChangeAspect="1" noChangeArrowheads="1"/>
          </p:cNvPicPr>
          <p:nvPr userDrawn="1"/>
        </p:nvPicPr>
        <p:blipFill>
          <a:blip r:embed="rId9"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
        <p:nvSpPr>
          <p:cNvPr id="9" name="EYP-Draft">
            <a:extLst>
              <a:ext uri="{FF2B5EF4-FFF2-40B4-BE49-F238E27FC236}">
                <a16:creationId xmlns:a16="http://schemas.microsoft.com/office/drawing/2014/main" id="{E0B69068-CDE5-42EF-B5D5-24E4CAC90F1A}"/>
              </a:ext>
            </a:extLst>
          </p:cNvPr>
          <p:cNvSpPr/>
          <p:nvPr userDrawn="1">
            <p:custDataLst>
              <p:tags r:id="rId5"/>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284427007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27018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5. Source" hidden="1">
            <a:extLst>
              <a:ext uri="{FF2B5EF4-FFF2-40B4-BE49-F238E27FC236}">
                <a16:creationId xmlns:a16="http://schemas.microsoft.com/office/drawing/2014/main" id="{15CB0760-4F7D-496A-A2D9-A2410E588B19}"/>
              </a:ext>
            </a:extLst>
          </p:cNvPr>
          <p:cNvSpPr txBox="1"/>
          <p:nvPr userDrawn="1">
            <p:custDataLst>
              <p:tags r:id="rId2"/>
            </p:custDataLst>
          </p:nvPr>
        </p:nvSpPr>
        <p:spPr>
          <a:xfrm>
            <a:off x="554736"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7" name="Picture 24">
            <a:extLst>
              <a:ext uri="{FF2B5EF4-FFF2-40B4-BE49-F238E27FC236}">
                <a16:creationId xmlns:a16="http://schemas.microsoft.com/office/drawing/2014/main" id="{336EFAEF-C03F-49E8-B460-4FC8F1D79977}"/>
              </a:ext>
            </a:extLst>
          </p:cNvPr>
          <p:cNvPicPr>
            <a:picLocks noChangeAspect="1" noChangeArrowheads="1"/>
          </p:cNvPicPr>
          <p:nvPr userDrawn="1"/>
        </p:nvPicPr>
        <p:blipFill>
          <a:blip r:embed="rId7" cstate="print">
            <a:extLst>
              <a:ext uri="{28A0092B-C50C-407E-A947-70E740481C1C}">
                <a14:useLocalDpi xmlns:a14="http://schemas.microsoft.com/office/drawing/2010/main"/>
              </a:ext>
            </a:extLst>
          </a:blip>
          <a:stretch>
            <a:fillRect/>
          </a:stretch>
        </p:blipFill>
        <p:spPr bwMode="auto">
          <a:xfrm>
            <a:off x="3937002" y="2754313"/>
            <a:ext cx="4317998" cy="1349374"/>
          </a:xfrm>
          <a:prstGeom prst="rect">
            <a:avLst/>
          </a:prstGeom>
          <a:noFill/>
        </p:spPr>
      </p:pic>
      <p:sp>
        <p:nvSpPr>
          <p:cNvPr id="8" name="EYP-Draft">
            <a:extLst>
              <a:ext uri="{FF2B5EF4-FFF2-40B4-BE49-F238E27FC236}">
                <a16:creationId xmlns:a16="http://schemas.microsoft.com/office/drawing/2014/main" id="{C874B2E7-A3C5-4BD9-8115-0ED664184054}"/>
              </a:ext>
            </a:extLst>
          </p:cNvPr>
          <p:cNvSpPr/>
          <p:nvPr userDrawn="1">
            <p:custDataLst>
              <p:tags r:id="rId3"/>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149786541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EYP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62C99B-78B4-4BA5-9FF3-35A1CA77E11E}"/>
              </a:ext>
            </a:extLst>
          </p:cNvPr>
          <p:cNvGraphicFramePr>
            <a:graphicFrameLocks noChangeAspect="1"/>
          </p:cNvGraphicFramePr>
          <p:nvPr userDrawn="1">
            <p:custDataLst>
              <p:tags r:id="rId1"/>
            </p:custDataLst>
            <p:extLst>
              <p:ext uri="{D42A27DB-BD31-4B8C-83A1-F6EECF244321}">
                <p14:modId xmlns:p14="http://schemas.microsoft.com/office/powerpoint/2010/main" val="3384715516"/>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300" imgH="300" progId="TCLayout.ActiveDocument.1">
                  <p:embed/>
                </p:oleObj>
              </mc:Choice>
              <mc:Fallback>
                <p:oleObj name="think-cell Slide" r:id="rId4" imgW="300" imgH="300" progId="TCLayout.ActiveDocument.1">
                  <p:embed/>
                  <p:pic>
                    <p:nvPicPr>
                      <p:cNvPr id="2" name="Object 1" hidden="1">
                        <a:extLst>
                          <a:ext uri="{FF2B5EF4-FFF2-40B4-BE49-F238E27FC236}">
                            <a16:creationId xmlns:a16="http://schemas.microsoft.com/office/drawing/2014/main" id="{8C62C99B-78B4-4BA5-9FF3-35A1CA77E11E}"/>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4" name="EYP-Draft">
            <a:extLst>
              <a:ext uri="{FF2B5EF4-FFF2-40B4-BE49-F238E27FC236}">
                <a16:creationId xmlns:a16="http://schemas.microsoft.com/office/drawing/2014/main" id="{5D65BB72-003A-48F8-8DDE-6970666526BE}"/>
              </a:ext>
            </a:extLst>
          </p:cNvPr>
          <p:cNvSpPr/>
          <p:nvPr userDrawn="1">
            <p:custDataLst>
              <p:tags r:id="rId2"/>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157592309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cSld name="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755653" y="188916"/>
            <a:ext cx="10678579" cy="936625"/>
          </a:xfrm>
        </p:spPr>
        <p:txBody>
          <a:bodyPr/>
          <a:lstStyle>
            <a:lvl1pPr>
              <a:defRPr>
                <a:solidFill>
                  <a:srgbClr val="6F6F6F"/>
                </a:solidFill>
              </a:defRPr>
            </a:lvl1pPr>
          </a:lstStyle>
          <a:p>
            <a:r>
              <a:rPr lang="de-DE"/>
              <a:t>Mastertitelformat bearbeiten</a:t>
            </a:r>
            <a:endParaRPr lang="de-AT"/>
          </a:p>
        </p:txBody>
      </p:sp>
      <p:sp>
        <p:nvSpPr>
          <p:cNvPr id="3" name="Inhaltsplatzhalter 2"/>
          <p:cNvSpPr>
            <a:spLocks noGrp="1"/>
          </p:cNvSpPr>
          <p:nvPr>
            <p:ph sz="half" idx="1"/>
          </p:nvPr>
        </p:nvSpPr>
        <p:spPr>
          <a:xfrm>
            <a:off x="755653" y="1484316"/>
            <a:ext cx="5232400" cy="4537075"/>
          </a:xfrm>
          <a:prstGeom prst="rect">
            <a:avLst/>
          </a:prstGeom>
        </p:spPr>
        <p:txBody>
          <a:bodyPr/>
          <a:lstStyle>
            <a:lvl1pPr>
              <a:defRPr sz="22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Inhaltsplatzhalter 3"/>
          <p:cNvSpPr>
            <a:spLocks noGrp="1"/>
          </p:cNvSpPr>
          <p:nvPr>
            <p:ph sz="half" idx="2"/>
          </p:nvPr>
        </p:nvSpPr>
        <p:spPr>
          <a:xfrm>
            <a:off x="6191253" y="1484316"/>
            <a:ext cx="5232400" cy="4537075"/>
          </a:xfrm>
          <a:prstGeom prst="rect">
            <a:avLst/>
          </a:prstGeom>
        </p:spPr>
        <p:txBody>
          <a:bodyPr/>
          <a:lstStyle>
            <a:lvl1pPr>
              <a:defRPr sz="22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5" name="Foliennummernplatzhalter 4"/>
          <p:cNvSpPr>
            <a:spLocks noGrp="1"/>
          </p:cNvSpPr>
          <p:nvPr>
            <p:ph type="sldNum" sz="quarter" idx="10"/>
          </p:nvPr>
        </p:nvSpPr>
        <p:spPr/>
        <p:txBody>
          <a:bodyPr/>
          <a:lstStyle>
            <a:lvl1pPr>
              <a:defRPr/>
            </a:lvl1pPr>
          </a:lstStyle>
          <a:p>
            <a:fld id="{A255C770-9D76-44A7-B3EB-A40A89005603}" type="slidenum">
              <a:rPr lang="de-AT"/>
              <a:pPr/>
              <a:t>‹Nr.›</a:t>
            </a:fld>
            <a:endParaRPr lang="de-AT"/>
          </a:p>
        </p:txBody>
      </p:sp>
      <p:sp>
        <p:nvSpPr>
          <p:cNvPr id="7" name="EYP-Draft">
            <a:extLst>
              <a:ext uri="{FF2B5EF4-FFF2-40B4-BE49-F238E27FC236}">
                <a16:creationId xmlns:a16="http://schemas.microsoft.com/office/drawing/2014/main" id="{43015930-AEF1-497A-B3DE-5FC958AD4024}"/>
              </a:ext>
            </a:extLst>
          </p:cNvPr>
          <p:cNvSpPr/>
          <p:nvPr userDrawn="1">
            <p:custDataLst>
              <p:tags r:id="rId1"/>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100982936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2139744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3C160E-41D1-47A8-9605-6F352D702D3B}"/>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1" name="Documenttype">
            <a:extLst>
              <a:ext uri="{FF2B5EF4-FFF2-40B4-BE49-F238E27FC236}">
                <a16:creationId xmlns:a16="http://schemas.microsoft.com/office/drawing/2014/main" id="{15828E83-1A38-4079-BBBD-A0570B5821FE}"/>
              </a:ext>
            </a:extLst>
          </p:cNvPr>
          <p:cNvSpPr>
            <a:spLocks noGrp="1"/>
          </p:cNvSpPr>
          <p:nvPr>
            <p:ph type="body" sz="quarter" idx="13" hasCustomPrompt="1"/>
            <p:custDataLst>
              <p:tags r:id="rId3"/>
            </p:custDataLst>
          </p:nvPr>
        </p:nvSpPr>
        <p:spPr>
          <a:xfrm>
            <a:off x="550800" y="5749032"/>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1400" dirty="0"/>
            </a:lvl1pPr>
          </a:lstStyle>
          <a:p>
            <a:pPr lvl="0">
              <a:buNone/>
            </a:pPr>
            <a:r>
              <a:rPr lang="de-DE"/>
              <a:t>Edit date or title/role</a:t>
            </a:r>
          </a:p>
        </p:txBody>
      </p:sp>
      <p:sp>
        <p:nvSpPr>
          <p:cNvPr id="15" name="Subtitle">
            <a:extLst>
              <a:ext uri="{FF2B5EF4-FFF2-40B4-BE49-F238E27FC236}">
                <a16:creationId xmlns:a16="http://schemas.microsoft.com/office/drawing/2014/main" id="{FB8F0DBF-6DF4-4080-8ADE-3065F84D7602}"/>
              </a:ext>
            </a:extLst>
          </p:cNvPr>
          <p:cNvSpPr>
            <a:spLocks noGrp="1"/>
          </p:cNvSpPr>
          <p:nvPr>
            <p:ph type="subTitle" idx="1"/>
            <p:custDataLst>
              <p:tags r:id="rId4"/>
            </p:custDataLst>
          </p:nvPr>
        </p:nvSpPr>
        <p:spPr>
          <a:xfrm>
            <a:off x="551941" y="3768095"/>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2000" dirty="0"/>
            </a:lvl1pPr>
          </a:lstStyle>
          <a:p>
            <a:pPr lvl="0">
              <a:buNone/>
            </a:pPr>
            <a:r>
              <a:rPr lang="de-DE"/>
              <a:t>Click to edit Master subtitle style</a:t>
            </a:r>
          </a:p>
        </p:txBody>
      </p:sp>
      <p:sp>
        <p:nvSpPr>
          <p:cNvPr id="18" name="Title">
            <a:extLst>
              <a:ext uri="{FF2B5EF4-FFF2-40B4-BE49-F238E27FC236}">
                <a16:creationId xmlns:a16="http://schemas.microsoft.com/office/drawing/2014/main" id="{46FFFED1-69E7-44C0-86EC-45A8A36DB3EC}"/>
              </a:ext>
            </a:extLst>
          </p:cNvPr>
          <p:cNvSpPr>
            <a:spLocks noGrp="1"/>
          </p:cNvSpPr>
          <p:nvPr>
            <p:ph type="title"/>
            <p:custDataLst>
              <p:tags r:id="rId5"/>
            </p:custDataLst>
          </p:nvPr>
        </p:nvSpPr>
        <p:spPr>
          <a:xfrm>
            <a:off x="551941" y="3017325"/>
            <a:ext cx="9726795" cy="62972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de-DE" sz="4400" dirty="0"/>
            </a:lvl1pPr>
          </a:lstStyle>
          <a:p>
            <a:pPr lvl="0"/>
            <a:r>
              <a:rPr lang="de-DE"/>
              <a:t>Click to edit Master title style</a:t>
            </a:r>
          </a:p>
        </p:txBody>
      </p:sp>
      <p:grpSp>
        <p:nvGrpSpPr>
          <p:cNvPr id="6" name="Group 5">
            <a:extLst>
              <a:ext uri="{FF2B5EF4-FFF2-40B4-BE49-F238E27FC236}">
                <a16:creationId xmlns:a16="http://schemas.microsoft.com/office/drawing/2014/main" id="{1DEC939B-04B7-4B39-8B8E-2E3D9B7BD5CE}"/>
              </a:ext>
            </a:extLst>
          </p:cNvPr>
          <p:cNvGrpSpPr/>
          <p:nvPr userDrawn="1"/>
        </p:nvGrpSpPr>
        <p:grpSpPr>
          <a:xfrm>
            <a:off x="10527863" y="6332378"/>
            <a:ext cx="1109401" cy="346688"/>
            <a:chOff x="10527863" y="6332378"/>
            <a:chExt cx="1109401" cy="346688"/>
          </a:xfrm>
        </p:grpSpPr>
        <p:pic>
          <p:nvPicPr>
            <p:cNvPr id="8" name="Picture 24">
              <a:extLst>
                <a:ext uri="{FF2B5EF4-FFF2-40B4-BE49-F238E27FC236}">
                  <a16:creationId xmlns:a16="http://schemas.microsoft.com/office/drawing/2014/main" id="{E7136E9F-8949-423E-A28C-A799186A48A5}"/>
                </a:ext>
              </a:extLst>
            </p:cNvPr>
            <p:cNvPicPr>
              <a:picLocks noChangeAspect="1" noChangeArrowheads="1"/>
            </p:cNvPicPr>
            <p:nvPr userDrawn="1"/>
          </p:nvPicPr>
          <p:blipFill rotWithShape="1">
            <a:blip r:embed="rId10" cstate="print">
              <a:extLst>
                <a:ext uri="{28A0092B-C50C-407E-A947-70E740481C1C}">
                  <a14:useLocalDpi xmlns:a14="http://schemas.microsoft.com/office/drawing/2010/main"/>
                </a:ext>
              </a:extLst>
            </a:blip>
            <a:srcRect b="18447"/>
            <a:stretch/>
          </p:blipFill>
          <p:spPr bwMode="auto">
            <a:xfrm>
              <a:off x="10527863" y="6332378"/>
              <a:ext cx="1109401" cy="282735"/>
            </a:xfrm>
            <a:prstGeom prst="rect">
              <a:avLst/>
            </a:prstGeom>
            <a:noFill/>
          </p:spPr>
        </p:pic>
        <p:pic>
          <p:nvPicPr>
            <p:cNvPr id="9" name="Picture 24">
              <a:extLst>
                <a:ext uri="{FF2B5EF4-FFF2-40B4-BE49-F238E27FC236}">
                  <a16:creationId xmlns:a16="http://schemas.microsoft.com/office/drawing/2014/main" id="{B69C7277-ECF9-4CC6-8444-BEE99AA233AF}"/>
                </a:ext>
              </a:extLst>
            </p:cNvPr>
            <p:cNvPicPr>
              <a:picLocks noChangeAspect="1" noChangeArrowheads="1"/>
            </p:cNvPicPr>
            <p:nvPr userDrawn="1"/>
          </p:nvPicPr>
          <p:blipFill rotWithShape="1">
            <a:blip r:embed="rId10" cstate="print">
              <a:duotone>
                <a:schemeClr val="accent4">
                  <a:shade val="45000"/>
                  <a:satMod val="135000"/>
                </a:schemeClr>
                <a:prstClr val="white"/>
              </a:duotone>
              <a:lum bright="100000"/>
              <a:extLst>
                <a:ext uri="{28A0092B-C50C-407E-A947-70E740481C1C}">
                  <a14:useLocalDpi xmlns:a14="http://schemas.microsoft.com/office/drawing/2010/main"/>
                </a:ext>
              </a:extLst>
            </a:blip>
            <a:srcRect t="82240"/>
            <a:stretch/>
          </p:blipFill>
          <p:spPr bwMode="auto">
            <a:xfrm>
              <a:off x="10527863" y="6617494"/>
              <a:ext cx="1109401" cy="61572"/>
            </a:xfrm>
            <a:prstGeom prst="rect">
              <a:avLst/>
            </a:prstGeom>
            <a:noFill/>
          </p:spPr>
        </p:pic>
      </p:grpSp>
      <p:sp>
        <p:nvSpPr>
          <p:cNvPr id="12" name="EYP-Draft">
            <a:extLst>
              <a:ext uri="{FF2B5EF4-FFF2-40B4-BE49-F238E27FC236}">
                <a16:creationId xmlns:a16="http://schemas.microsoft.com/office/drawing/2014/main" id="{D7FB543D-F8E2-4050-99FD-D8022616F94F}"/>
              </a:ext>
            </a:extLst>
          </p:cNvPr>
          <p:cNvSpPr/>
          <p:nvPr userDrawn="1">
            <p:custDataLst>
              <p:tags r:id="rId6"/>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327630513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3589942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545942"/>
            <a:ext cx="11082528" cy="35779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de-DE" dirty="0"/>
            </a:lvl1pPr>
          </a:lstStyle>
          <a:p>
            <a:pPr lvl="0"/>
            <a:r>
              <a:rPr lang="de-DE"/>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59517"/>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b="0" baseline="0" dirty="0"/>
            </a:lvl1pPr>
          </a:lstStyle>
          <a:p>
            <a:pPr lvl="0">
              <a:buNone/>
            </a:pPr>
            <a:r>
              <a:rPr lang="de-DE"/>
              <a:t>Click to edit Master subtitle style</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800" b="0" dirty="0">
                <a:cs typeface="+mn-cs"/>
              </a:defRPr>
            </a:lvl1pPr>
          </a:lstStyle>
          <a:p>
            <a:pPr lvl="0">
              <a:buNone/>
            </a:pPr>
            <a:r>
              <a:rPr lang="de-DE"/>
              <a:t>Add tracker</a:t>
            </a:r>
          </a:p>
        </p:txBody>
      </p:sp>
      <p:grpSp>
        <p:nvGrpSpPr>
          <p:cNvPr id="10" name="Group 9">
            <a:extLst>
              <a:ext uri="{FF2B5EF4-FFF2-40B4-BE49-F238E27FC236}">
                <a16:creationId xmlns:a16="http://schemas.microsoft.com/office/drawing/2014/main" id="{A6F2C518-233C-487E-AF64-7CE0C33496CB}"/>
              </a:ext>
            </a:extLst>
          </p:cNvPr>
          <p:cNvGrpSpPr/>
          <p:nvPr userDrawn="1"/>
        </p:nvGrpSpPr>
        <p:grpSpPr>
          <a:xfrm>
            <a:off x="10527863" y="6332378"/>
            <a:ext cx="1109401" cy="346688"/>
            <a:chOff x="10527863" y="6332378"/>
            <a:chExt cx="1109401" cy="346688"/>
          </a:xfrm>
        </p:grpSpPr>
        <p:pic>
          <p:nvPicPr>
            <p:cNvPr id="14" name="Picture 24">
              <a:extLst>
                <a:ext uri="{FF2B5EF4-FFF2-40B4-BE49-F238E27FC236}">
                  <a16:creationId xmlns:a16="http://schemas.microsoft.com/office/drawing/2014/main" id="{0BA2CAC1-04C8-44CA-BB69-E644A1812FC0}"/>
                </a:ext>
              </a:extLst>
            </p:cNvPr>
            <p:cNvPicPr>
              <a:picLocks noChangeAspect="1" noChangeArrowheads="1"/>
            </p:cNvPicPr>
            <p:nvPr userDrawn="1"/>
          </p:nvPicPr>
          <p:blipFill rotWithShape="1">
            <a:blip r:embed="rId12" cstate="print">
              <a:extLst>
                <a:ext uri="{28A0092B-C50C-407E-A947-70E740481C1C}">
                  <a14:useLocalDpi xmlns:a14="http://schemas.microsoft.com/office/drawing/2010/main"/>
                </a:ext>
              </a:extLst>
            </a:blip>
            <a:srcRect b="18447"/>
            <a:stretch/>
          </p:blipFill>
          <p:spPr bwMode="auto">
            <a:xfrm>
              <a:off x="10527863" y="6332378"/>
              <a:ext cx="1109401" cy="282735"/>
            </a:xfrm>
            <a:prstGeom prst="rect">
              <a:avLst/>
            </a:prstGeom>
            <a:noFill/>
          </p:spPr>
        </p:pic>
        <p:pic>
          <p:nvPicPr>
            <p:cNvPr id="16" name="Picture 24">
              <a:extLst>
                <a:ext uri="{FF2B5EF4-FFF2-40B4-BE49-F238E27FC236}">
                  <a16:creationId xmlns:a16="http://schemas.microsoft.com/office/drawing/2014/main" id="{3469FBB6-3027-4EE3-91E0-903F6B82AC36}"/>
                </a:ext>
              </a:extLst>
            </p:cNvPr>
            <p:cNvPicPr>
              <a:picLocks noChangeAspect="1" noChangeArrowheads="1"/>
            </p:cNvPicPr>
            <p:nvPr userDrawn="1"/>
          </p:nvPicPr>
          <p:blipFill rotWithShape="1">
            <a:blip r:embed="rId12" cstate="print">
              <a:duotone>
                <a:schemeClr val="accent4">
                  <a:shade val="45000"/>
                  <a:satMod val="135000"/>
                </a:schemeClr>
                <a:prstClr val="white"/>
              </a:duotone>
              <a:lum bright="100000"/>
              <a:extLst>
                <a:ext uri="{28A0092B-C50C-407E-A947-70E740481C1C}">
                  <a14:useLocalDpi xmlns:a14="http://schemas.microsoft.com/office/drawing/2010/main"/>
                </a:ext>
              </a:extLst>
            </a:blip>
            <a:srcRect t="82240"/>
            <a:stretch/>
          </p:blipFill>
          <p:spPr bwMode="auto">
            <a:xfrm>
              <a:off x="10527863" y="6617494"/>
              <a:ext cx="1109401" cy="61572"/>
            </a:xfrm>
            <a:prstGeom prst="rect">
              <a:avLst/>
            </a:prstGeom>
            <a:noFill/>
          </p:spPr>
        </p:pic>
      </p:grpSp>
      <p:sp>
        <p:nvSpPr>
          <p:cNvPr id="17" name="Slide Number">
            <a:extLst>
              <a:ext uri="{FF2B5EF4-FFF2-40B4-BE49-F238E27FC236}">
                <a16:creationId xmlns:a16="http://schemas.microsoft.com/office/drawing/2014/main" id="{319FDB4A-4025-418B-84EA-B7864279E14D}"/>
              </a:ext>
            </a:extLst>
          </p:cNvPr>
          <p:cNvSpPr>
            <a:spLocks noChangeArrowheads="1"/>
          </p:cNvSpPr>
          <p:nvPr userDrawn="1">
            <p:custDataLst>
              <p:tags r:id="rId6"/>
            </p:custDataLst>
          </p:nvPr>
        </p:nvSpPr>
        <p:spPr bwMode="black">
          <a:xfrm>
            <a:off x="554736" y="6493992"/>
            <a:ext cx="144270"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FA9C6F47-AEDB-4BB3-B518-01E95BAF2B0F}"/>
              </a:ext>
            </a:extLst>
          </p:cNvPr>
          <p:cNvSpPr txBox="1"/>
          <p:nvPr userDrawn="1">
            <p:custDataLst>
              <p:tags r:id="rId7"/>
            </p:custDataLst>
          </p:nvPr>
        </p:nvSpPr>
        <p:spPr>
          <a:xfrm>
            <a:off x="840485" y="6501686"/>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
        <p:nvSpPr>
          <p:cNvPr id="19" name="EYP-Draft">
            <a:extLst>
              <a:ext uri="{FF2B5EF4-FFF2-40B4-BE49-F238E27FC236}">
                <a16:creationId xmlns:a16="http://schemas.microsoft.com/office/drawing/2014/main" id="{D54A606D-748A-4B45-97DA-06D84CE67EFF}"/>
              </a:ext>
            </a:extLst>
          </p:cNvPr>
          <p:cNvSpPr/>
          <p:nvPr userDrawn="1">
            <p:custDataLst>
              <p:tags r:id="rId8"/>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18983437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EFBE7B5-C15D-4D79-A418-EE5BBB8568DC}"/>
              </a:ext>
            </a:extLst>
          </p:cNvPr>
          <p:cNvGraphicFramePr>
            <a:graphicFrameLocks noChangeAspect="1"/>
          </p:cNvGraphicFramePr>
          <p:nvPr userDrawn="1">
            <p:custDataLst>
              <p:tags r:id="rId1"/>
            </p:custDataLst>
            <p:extLst>
              <p:ext uri="{D42A27DB-BD31-4B8C-83A1-F6EECF244321}">
                <p14:modId xmlns:p14="http://schemas.microsoft.com/office/powerpoint/2010/main" val="3994900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5" name="Object 4" hidden="1">
                        <a:extLst>
                          <a:ext uri="{FF2B5EF4-FFF2-40B4-BE49-F238E27FC236}">
                            <a16:creationId xmlns:a16="http://schemas.microsoft.com/office/drawing/2014/main" id="{9EFBE7B5-C15D-4D79-A418-EE5BBB8568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lvl1pPr>
              <a:defRPr>
                <a:solidFill>
                  <a:srgbClr val="6F6F6F"/>
                </a:solidFill>
              </a:defRPr>
            </a:lvl1pPr>
          </a:lstStyle>
          <a:p>
            <a:r>
              <a:rPr lang="de-DE"/>
              <a:t>Mastertitelformat bearbeiten</a:t>
            </a:r>
            <a:endParaRPr lang="de-AT"/>
          </a:p>
        </p:txBody>
      </p:sp>
      <p:sp>
        <p:nvSpPr>
          <p:cNvPr id="3" name="Foliennummernplatzhalter 2"/>
          <p:cNvSpPr>
            <a:spLocks noGrp="1"/>
          </p:cNvSpPr>
          <p:nvPr>
            <p:ph type="sldNum" sz="quarter" idx="10"/>
          </p:nvPr>
        </p:nvSpPr>
        <p:spPr/>
        <p:txBody>
          <a:bodyPr/>
          <a:lstStyle>
            <a:lvl1pPr>
              <a:defRPr/>
            </a:lvl1pPr>
          </a:lstStyle>
          <a:p>
            <a:fld id="{ACDA101C-1C77-4D48-BD39-A39536584314}" type="slidenum">
              <a:rPr lang="de-AT"/>
              <a:pPr/>
              <a:t>‹Nr.›</a:t>
            </a:fld>
            <a:endParaRPr lang="de-AT"/>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3821375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wrap="square" anchor="t">
            <a:spAutoFit/>
          </a:bodyPr>
          <a:lstStyle>
            <a:lvl1pPr rtl="0">
              <a:lnSpc>
                <a:spcPct val="100000"/>
              </a:lnSpc>
              <a:defRPr>
                <a:ln w="6350" cap="flat">
                  <a:noFill/>
                  <a:miter lim="800000"/>
                </a:ln>
              </a:defRPr>
            </a:lvl1pPr>
          </a:lstStyle>
          <a:p>
            <a:r>
              <a:rPr lang="de-DE"/>
              <a:t>Click to edit Master title style</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grpSp>
        <p:nvGrpSpPr>
          <p:cNvPr id="10" name="Group 9">
            <a:extLst>
              <a:ext uri="{FF2B5EF4-FFF2-40B4-BE49-F238E27FC236}">
                <a16:creationId xmlns:a16="http://schemas.microsoft.com/office/drawing/2014/main" id="{70DC90EA-B466-4887-9EB9-94D466BCC9C5}"/>
              </a:ext>
            </a:extLst>
          </p:cNvPr>
          <p:cNvGrpSpPr/>
          <p:nvPr userDrawn="1"/>
        </p:nvGrpSpPr>
        <p:grpSpPr>
          <a:xfrm>
            <a:off x="10527863" y="6332378"/>
            <a:ext cx="1109401" cy="346688"/>
            <a:chOff x="10527863" y="6332378"/>
            <a:chExt cx="1109401" cy="346688"/>
          </a:xfrm>
        </p:grpSpPr>
        <p:pic>
          <p:nvPicPr>
            <p:cNvPr id="11" name="Picture 24">
              <a:extLst>
                <a:ext uri="{FF2B5EF4-FFF2-40B4-BE49-F238E27FC236}">
                  <a16:creationId xmlns:a16="http://schemas.microsoft.com/office/drawing/2014/main" id="{F94BB87D-9AB6-4D10-8A50-07C5C16772FF}"/>
                </a:ext>
              </a:extLst>
            </p:cNvPr>
            <p:cNvPicPr>
              <a:picLocks noChangeAspect="1" noChangeArrowheads="1"/>
            </p:cNvPicPr>
            <p:nvPr userDrawn="1"/>
          </p:nvPicPr>
          <p:blipFill rotWithShape="1">
            <a:blip r:embed="rId11" cstate="print">
              <a:extLst>
                <a:ext uri="{28A0092B-C50C-407E-A947-70E740481C1C}">
                  <a14:useLocalDpi xmlns:a14="http://schemas.microsoft.com/office/drawing/2010/main"/>
                </a:ext>
              </a:extLst>
            </a:blip>
            <a:srcRect b="18447"/>
            <a:stretch/>
          </p:blipFill>
          <p:spPr bwMode="auto">
            <a:xfrm>
              <a:off x="10527863" y="6332378"/>
              <a:ext cx="1109401" cy="282735"/>
            </a:xfrm>
            <a:prstGeom prst="rect">
              <a:avLst/>
            </a:prstGeom>
            <a:noFill/>
          </p:spPr>
        </p:pic>
        <p:pic>
          <p:nvPicPr>
            <p:cNvPr id="12" name="Picture 24">
              <a:extLst>
                <a:ext uri="{FF2B5EF4-FFF2-40B4-BE49-F238E27FC236}">
                  <a16:creationId xmlns:a16="http://schemas.microsoft.com/office/drawing/2014/main" id="{4957D083-5F5D-40D1-9787-149AA7D46101}"/>
                </a:ext>
              </a:extLst>
            </p:cNvPr>
            <p:cNvPicPr>
              <a:picLocks noChangeAspect="1" noChangeArrowheads="1"/>
            </p:cNvPicPr>
            <p:nvPr userDrawn="1"/>
          </p:nvPicPr>
          <p:blipFill rotWithShape="1">
            <a:blip r:embed="rId11" cstate="print">
              <a:duotone>
                <a:schemeClr val="accent4">
                  <a:shade val="45000"/>
                  <a:satMod val="135000"/>
                </a:schemeClr>
                <a:prstClr val="white"/>
              </a:duotone>
              <a:lum bright="100000"/>
              <a:extLst>
                <a:ext uri="{28A0092B-C50C-407E-A947-70E740481C1C}">
                  <a14:useLocalDpi xmlns:a14="http://schemas.microsoft.com/office/drawing/2010/main"/>
                </a:ext>
              </a:extLst>
            </a:blip>
            <a:srcRect t="82240"/>
            <a:stretch/>
          </p:blipFill>
          <p:spPr bwMode="auto">
            <a:xfrm>
              <a:off x="10527863" y="6617494"/>
              <a:ext cx="1109401" cy="61572"/>
            </a:xfrm>
            <a:prstGeom prst="rect">
              <a:avLst/>
            </a:prstGeom>
            <a:noFill/>
          </p:spPr>
        </p:pic>
      </p:grpSp>
      <p:sp>
        <p:nvSpPr>
          <p:cNvPr id="13" name="Slide Number">
            <a:extLst>
              <a:ext uri="{FF2B5EF4-FFF2-40B4-BE49-F238E27FC236}">
                <a16:creationId xmlns:a16="http://schemas.microsoft.com/office/drawing/2014/main" id="{063C4C7C-9763-4619-ADBD-B10ADF07F433}"/>
              </a:ext>
            </a:extLst>
          </p:cNvPr>
          <p:cNvSpPr>
            <a:spLocks noChangeArrowheads="1"/>
          </p:cNvSpPr>
          <p:nvPr userDrawn="1">
            <p:custDataLst>
              <p:tags r:id="rId5"/>
            </p:custDataLst>
          </p:nvPr>
        </p:nvSpPr>
        <p:spPr bwMode="black">
          <a:xfrm>
            <a:off x="554736" y="6493992"/>
            <a:ext cx="144270"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14" name="5. Source" hidden="1">
            <a:extLst>
              <a:ext uri="{FF2B5EF4-FFF2-40B4-BE49-F238E27FC236}">
                <a16:creationId xmlns:a16="http://schemas.microsoft.com/office/drawing/2014/main" id="{60761A21-7C1D-47B0-AB55-FDCEF008E33A}"/>
              </a:ext>
            </a:extLst>
          </p:cNvPr>
          <p:cNvSpPr txBox="1"/>
          <p:nvPr userDrawn="1">
            <p:custDataLst>
              <p:tags r:id="rId6"/>
            </p:custDataLst>
          </p:nvPr>
        </p:nvSpPr>
        <p:spPr>
          <a:xfrm>
            <a:off x="840485" y="6501686"/>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
        <p:nvSpPr>
          <p:cNvPr id="16" name="EYP-Draft">
            <a:extLst>
              <a:ext uri="{FF2B5EF4-FFF2-40B4-BE49-F238E27FC236}">
                <a16:creationId xmlns:a16="http://schemas.microsoft.com/office/drawing/2014/main" id="{AF321472-3592-46DE-8598-F3C0CFC89ADB}"/>
              </a:ext>
            </a:extLst>
          </p:cNvPr>
          <p:cNvSpPr/>
          <p:nvPr userDrawn="1">
            <p:custDataLst>
              <p:tags r:id="rId7"/>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204528459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605712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50105"/>
            <a:ext cx="5065776" cy="357790"/>
          </a:xfrm>
          <a:prstGeom prst="rect">
            <a:avLst/>
          </a:prstGeom>
        </p:spPr>
        <p:txBody>
          <a:bodyPr vert="horz" wrap="square" rIns="365760" anchor="ctr">
            <a:spAutoFit/>
          </a:bodyPr>
          <a:lstStyle>
            <a:lvl1pPr rtl="0">
              <a:defRPr>
                <a:ln w="6350" cap="flat">
                  <a:noFill/>
                  <a:miter lim="800000"/>
                </a:ln>
              </a:defRPr>
            </a:lvl1pPr>
          </a:lstStyle>
          <a:p>
            <a:r>
              <a:rPr lang="de-DE"/>
              <a:t>Click to edit Master title style</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grpSp>
        <p:nvGrpSpPr>
          <p:cNvPr id="11" name="Group 10">
            <a:extLst>
              <a:ext uri="{FF2B5EF4-FFF2-40B4-BE49-F238E27FC236}">
                <a16:creationId xmlns:a16="http://schemas.microsoft.com/office/drawing/2014/main" id="{76BB47DC-2630-4136-BE59-59C240A4890B}"/>
              </a:ext>
            </a:extLst>
          </p:cNvPr>
          <p:cNvGrpSpPr/>
          <p:nvPr userDrawn="1"/>
        </p:nvGrpSpPr>
        <p:grpSpPr>
          <a:xfrm>
            <a:off x="10527863" y="6332378"/>
            <a:ext cx="1109401" cy="346688"/>
            <a:chOff x="10527863" y="6332378"/>
            <a:chExt cx="1109401" cy="346688"/>
          </a:xfrm>
        </p:grpSpPr>
        <p:pic>
          <p:nvPicPr>
            <p:cNvPr id="12" name="Picture 24">
              <a:extLst>
                <a:ext uri="{FF2B5EF4-FFF2-40B4-BE49-F238E27FC236}">
                  <a16:creationId xmlns:a16="http://schemas.microsoft.com/office/drawing/2014/main" id="{20A83323-8766-47D4-A4EF-E962C20D76B9}"/>
                </a:ext>
              </a:extLst>
            </p:cNvPr>
            <p:cNvPicPr>
              <a:picLocks noChangeAspect="1" noChangeArrowheads="1"/>
            </p:cNvPicPr>
            <p:nvPr userDrawn="1"/>
          </p:nvPicPr>
          <p:blipFill rotWithShape="1">
            <a:blip r:embed="rId11" cstate="print">
              <a:extLst>
                <a:ext uri="{28A0092B-C50C-407E-A947-70E740481C1C}">
                  <a14:useLocalDpi xmlns:a14="http://schemas.microsoft.com/office/drawing/2010/main"/>
                </a:ext>
              </a:extLst>
            </a:blip>
            <a:srcRect b="18447"/>
            <a:stretch/>
          </p:blipFill>
          <p:spPr bwMode="auto">
            <a:xfrm>
              <a:off x="10527863" y="6332378"/>
              <a:ext cx="1109401" cy="282735"/>
            </a:xfrm>
            <a:prstGeom prst="rect">
              <a:avLst/>
            </a:prstGeom>
            <a:noFill/>
          </p:spPr>
        </p:pic>
        <p:pic>
          <p:nvPicPr>
            <p:cNvPr id="13" name="Picture 24">
              <a:extLst>
                <a:ext uri="{FF2B5EF4-FFF2-40B4-BE49-F238E27FC236}">
                  <a16:creationId xmlns:a16="http://schemas.microsoft.com/office/drawing/2014/main" id="{BD0CD33C-246C-40D3-99E8-C721EFBB3DEB}"/>
                </a:ext>
              </a:extLst>
            </p:cNvPr>
            <p:cNvPicPr>
              <a:picLocks noChangeAspect="1" noChangeArrowheads="1"/>
            </p:cNvPicPr>
            <p:nvPr userDrawn="1"/>
          </p:nvPicPr>
          <p:blipFill rotWithShape="1">
            <a:blip r:embed="rId11" cstate="print">
              <a:duotone>
                <a:schemeClr val="accent4">
                  <a:shade val="45000"/>
                  <a:satMod val="135000"/>
                </a:schemeClr>
                <a:prstClr val="white"/>
              </a:duotone>
              <a:lum bright="100000"/>
              <a:extLst>
                <a:ext uri="{28A0092B-C50C-407E-A947-70E740481C1C}">
                  <a14:useLocalDpi xmlns:a14="http://schemas.microsoft.com/office/drawing/2010/main"/>
                </a:ext>
              </a:extLst>
            </a:blip>
            <a:srcRect t="82240"/>
            <a:stretch/>
          </p:blipFill>
          <p:spPr bwMode="auto">
            <a:xfrm>
              <a:off x="10527863" y="6617494"/>
              <a:ext cx="1109401" cy="61572"/>
            </a:xfrm>
            <a:prstGeom prst="rect">
              <a:avLst/>
            </a:prstGeom>
            <a:noFill/>
          </p:spPr>
        </p:pic>
      </p:grpSp>
      <p:sp>
        <p:nvSpPr>
          <p:cNvPr id="14" name="Slide Number">
            <a:extLst>
              <a:ext uri="{FF2B5EF4-FFF2-40B4-BE49-F238E27FC236}">
                <a16:creationId xmlns:a16="http://schemas.microsoft.com/office/drawing/2014/main" id="{F3150AAF-585A-440F-9849-B0D4B35B5758}"/>
              </a:ext>
            </a:extLst>
          </p:cNvPr>
          <p:cNvSpPr>
            <a:spLocks noChangeArrowheads="1"/>
          </p:cNvSpPr>
          <p:nvPr userDrawn="1">
            <p:custDataLst>
              <p:tags r:id="rId5"/>
            </p:custDataLst>
          </p:nvPr>
        </p:nvSpPr>
        <p:spPr bwMode="black">
          <a:xfrm>
            <a:off x="554736" y="6493992"/>
            <a:ext cx="144270"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28351EB9-C620-41B1-9346-B720BE3EDC91}"/>
              </a:ext>
            </a:extLst>
          </p:cNvPr>
          <p:cNvSpPr txBox="1"/>
          <p:nvPr userDrawn="1">
            <p:custDataLst>
              <p:tags r:id="rId6"/>
            </p:custDataLst>
          </p:nvPr>
        </p:nvSpPr>
        <p:spPr>
          <a:xfrm>
            <a:off x="840485" y="6501686"/>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
        <p:nvSpPr>
          <p:cNvPr id="17" name="EYP-Draft">
            <a:extLst>
              <a:ext uri="{FF2B5EF4-FFF2-40B4-BE49-F238E27FC236}">
                <a16:creationId xmlns:a16="http://schemas.microsoft.com/office/drawing/2014/main" id="{143400AD-0061-464B-9D5C-E691F98B2C99}"/>
              </a:ext>
            </a:extLst>
          </p:cNvPr>
          <p:cNvSpPr/>
          <p:nvPr userDrawn="1">
            <p:custDataLst>
              <p:tags r:id="rId7"/>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328863936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3599017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de-DE"/>
              <a:t>Click to edit Master title style</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grpSp>
        <p:nvGrpSpPr>
          <p:cNvPr id="10" name="Group 9">
            <a:extLst>
              <a:ext uri="{FF2B5EF4-FFF2-40B4-BE49-F238E27FC236}">
                <a16:creationId xmlns:a16="http://schemas.microsoft.com/office/drawing/2014/main" id="{37836087-0B36-4C9F-A472-138AB16B4AF1}"/>
              </a:ext>
            </a:extLst>
          </p:cNvPr>
          <p:cNvGrpSpPr/>
          <p:nvPr userDrawn="1"/>
        </p:nvGrpSpPr>
        <p:grpSpPr>
          <a:xfrm>
            <a:off x="10527863" y="6332378"/>
            <a:ext cx="1109401" cy="346688"/>
            <a:chOff x="10527863" y="6332378"/>
            <a:chExt cx="1109401" cy="346688"/>
          </a:xfrm>
        </p:grpSpPr>
        <p:pic>
          <p:nvPicPr>
            <p:cNvPr id="11" name="Picture 24">
              <a:extLst>
                <a:ext uri="{FF2B5EF4-FFF2-40B4-BE49-F238E27FC236}">
                  <a16:creationId xmlns:a16="http://schemas.microsoft.com/office/drawing/2014/main" id="{697ACE61-A35E-4251-9416-4A3054DA7BF7}"/>
                </a:ext>
              </a:extLst>
            </p:cNvPr>
            <p:cNvPicPr>
              <a:picLocks noChangeAspect="1" noChangeArrowheads="1"/>
            </p:cNvPicPr>
            <p:nvPr userDrawn="1"/>
          </p:nvPicPr>
          <p:blipFill rotWithShape="1">
            <a:blip r:embed="rId11" cstate="print">
              <a:extLst>
                <a:ext uri="{28A0092B-C50C-407E-A947-70E740481C1C}">
                  <a14:useLocalDpi xmlns:a14="http://schemas.microsoft.com/office/drawing/2010/main"/>
                </a:ext>
              </a:extLst>
            </a:blip>
            <a:srcRect b="18447"/>
            <a:stretch/>
          </p:blipFill>
          <p:spPr bwMode="auto">
            <a:xfrm>
              <a:off x="10527863" y="6332378"/>
              <a:ext cx="1109401" cy="282735"/>
            </a:xfrm>
            <a:prstGeom prst="rect">
              <a:avLst/>
            </a:prstGeom>
            <a:noFill/>
          </p:spPr>
        </p:pic>
        <p:pic>
          <p:nvPicPr>
            <p:cNvPr id="12" name="Picture 24">
              <a:extLst>
                <a:ext uri="{FF2B5EF4-FFF2-40B4-BE49-F238E27FC236}">
                  <a16:creationId xmlns:a16="http://schemas.microsoft.com/office/drawing/2014/main" id="{3731A786-7C33-4578-B2A9-0237802D87B3}"/>
                </a:ext>
              </a:extLst>
            </p:cNvPr>
            <p:cNvPicPr>
              <a:picLocks noChangeAspect="1" noChangeArrowheads="1"/>
            </p:cNvPicPr>
            <p:nvPr userDrawn="1"/>
          </p:nvPicPr>
          <p:blipFill rotWithShape="1">
            <a:blip r:embed="rId11" cstate="print">
              <a:duotone>
                <a:schemeClr val="accent4">
                  <a:shade val="45000"/>
                  <a:satMod val="135000"/>
                </a:schemeClr>
                <a:prstClr val="white"/>
              </a:duotone>
              <a:lum bright="100000"/>
              <a:extLst>
                <a:ext uri="{28A0092B-C50C-407E-A947-70E740481C1C}">
                  <a14:useLocalDpi xmlns:a14="http://schemas.microsoft.com/office/drawing/2010/main"/>
                </a:ext>
              </a:extLst>
            </a:blip>
            <a:srcRect t="82240"/>
            <a:stretch/>
          </p:blipFill>
          <p:spPr bwMode="auto">
            <a:xfrm>
              <a:off x="10527863" y="6617494"/>
              <a:ext cx="1109401" cy="61572"/>
            </a:xfrm>
            <a:prstGeom prst="rect">
              <a:avLst/>
            </a:prstGeom>
            <a:noFill/>
          </p:spPr>
        </p:pic>
      </p:grpSp>
      <p:sp>
        <p:nvSpPr>
          <p:cNvPr id="13" name="Slide Number">
            <a:extLst>
              <a:ext uri="{FF2B5EF4-FFF2-40B4-BE49-F238E27FC236}">
                <a16:creationId xmlns:a16="http://schemas.microsoft.com/office/drawing/2014/main" id="{1A95BDBF-D47C-4543-A085-A1230231495A}"/>
              </a:ext>
            </a:extLst>
          </p:cNvPr>
          <p:cNvSpPr>
            <a:spLocks noChangeArrowheads="1"/>
          </p:cNvSpPr>
          <p:nvPr userDrawn="1">
            <p:custDataLst>
              <p:tags r:id="rId5"/>
            </p:custDataLst>
          </p:nvPr>
        </p:nvSpPr>
        <p:spPr bwMode="black">
          <a:xfrm>
            <a:off x="554736" y="6493992"/>
            <a:ext cx="144270"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14" name="5. Source" hidden="1">
            <a:extLst>
              <a:ext uri="{FF2B5EF4-FFF2-40B4-BE49-F238E27FC236}">
                <a16:creationId xmlns:a16="http://schemas.microsoft.com/office/drawing/2014/main" id="{2B583F17-A1BE-4165-8AE8-0B65E7A55C24}"/>
              </a:ext>
            </a:extLst>
          </p:cNvPr>
          <p:cNvSpPr txBox="1"/>
          <p:nvPr userDrawn="1">
            <p:custDataLst>
              <p:tags r:id="rId6"/>
            </p:custDataLst>
          </p:nvPr>
        </p:nvSpPr>
        <p:spPr>
          <a:xfrm>
            <a:off x="840485" y="6501686"/>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
        <p:nvSpPr>
          <p:cNvPr id="16" name="EYP-Draft">
            <a:extLst>
              <a:ext uri="{FF2B5EF4-FFF2-40B4-BE49-F238E27FC236}">
                <a16:creationId xmlns:a16="http://schemas.microsoft.com/office/drawing/2014/main" id="{CC1E3D5F-FF6B-4EF3-AA87-B9A7CB6D737C}"/>
              </a:ext>
            </a:extLst>
          </p:cNvPr>
          <p:cNvSpPr/>
          <p:nvPr userDrawn="1">
            <p:custDataLst>
              <p:tags r:id="rId7"/>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298670163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3054005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de-DE"/>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Click to add quote source</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grpSp>
        <p:nvGrpSpPr>
          <p:cNvPr id="12" name="Group 11">
            <a:extLst>
              <a:ext uri="{FF2B5EF4-FFF2-40B4-BE49-F238E27FC236}">
                <a16:creationId xmlns:a16="http://schemas.microsoft.com/office/drawing/2014/main" id="{0A51176F-F5F4-40A6-BC3A-BC7FF3E8AA9C}"/>
              </a:ext>
            </a:extLst>
          </p:cNvPr>
          <p:cNvGrpSpPr/>
          <p:nvPr userDrawn="1"/>
        </p:nvGrpSpPr>
        <p:grpSpPr>
          <a:xfrm>
            <a:off x="10527863" y="6332378"/>
            <a:ext cx="1109401" cy="346688"/>
            <a:chOff x="10527863" y="6332378"/>
            <a:chExt cx="1109401" cy="346688"/>
          </a:xfrm>
        </p:grpSpPr>
        <p:pic>
          <p:nvPicPr>
            <p:cNvPr id="13" name="Picture 24">
              <a:extLst>
                <a:ext uri="{FF2B5EF4-FFF2-40B4-BE49-F238E27FC236}">
                  <a16:creationId xmlns:a16="http://schemas.microsoft.com/office/drawing/2014/main" id="{7123CB53-9227-4FCF-86E0-5CBB1B0D1BFC}"/>
                </a:ext>
              </a:extLst>
            </p:cNvPr>
            <p:cNvPicPr>
              <a:picLocks noChangeAspect="1" noChangeArrowheads="1"/>
            </p:cNvPicPr>
            <p:nvPr userDrawn="1"/>
          </p:nvPicPr>
          <p:blipFill rotWithShape="1">
            <a:blip r:embed="rId12" cstate="print">
              <a:extLst>
                <a:ext uri="{28A0092B-C50C-407E-A947-70E740481C1C}">
                  <a14:useLocalDpi xmlns:a14="http://schemas.microsoft.com/office/drawing/2010/main"/>
                </a:ext>
              </a:extLst>
            </a:blip>
            <a:srcRect b="18447"/>
            <a:stretch/>
          </p:blipFill>
          <p:spPr bwMode="auto">
            <a:xfrm>
              <a:off x="10527863" y="6332378"/>
              <a:ext cx="1109401" cy="282735"/>
            </a:xfrm>
            <a:prstGeom prst="rect">
              <a:avLst/>
            </a:prstGeom>
            <a:noFill/>
          </p:spPr>
        </p:pic>
        <p:pic>
          <p:nvPicPr>
            <p:cNvPr id="14" name="Picture 24">
              <a:extLst>
                <a:ext uri="{FF2B5EF4-FFF2-40B4-BE49-F238E27FC236}">
                  <a16:creationId xmlns:a16="http://schemas.microsoft.com/office/drawing/2014/main" id="{D293C11E-E1BC-48E3-8D54-B30E990EA107}"/>
                </a:ext>
              </a:extLst>
            </p:cNvPr>
            <p:cNvPicPr>
              <a:picLocks noChangeAspect="1" noChangeArrowheads="1"/>
            </p:cNvPicPr>
            <p:nvPr userDrawn="1"/>
          </p:nvPicPr>
          <p:blipFill rotWithShape="1">
            <a:blip r:embed="rId12" cstate="print">
              <a:duotone>
                <a:schemeClr val="accent4">
                  <a:shade val="45000"/>
                  <a:satMod val="135000"/>
                </a:schemeClr>
                <a:prstClr val="white"/>
              </a:duotone>
              <a:lum bright="100000"/>
              <a:extLst>
                <a:ext uri="{28A0092B-C50C-407E-A947-70E740481C1C}">
                  <a14:useLocalDpi xmlns:a14="http://schemas.microsoft.com/office/drawing/2010/main"/>
                </a:ext>
              </a:extLst>
            </a:blip>
            <a:srcRect t="82240"/>
            <a:stretch/>
          </p:blipFill>
          <p:spPr bwMode="auto">
            <a:xfrm>
              <a:off x="10527863" y="6617494"/>
              <a:ext cx="1109401" cy="61572"/>
            </a:xfrm>
            <a:prstGeom prst="rect">
              <a:avLst/>
            </a:prstGeom>
            <a:noFill/>
          </p:spPr>
        </p:pic>
      </p:grpSp>
      <p:sp>
        <p:nvSpPr>
          <p:cNvPr id="15" name="Slide Number">
            <a:extLst>
              <a:ext uri="{FF2B5EF4-FFF2-40B4-BE49-F238E27FC236}">
                <a16:creationId xmlns:a16="http://schemas.microsoft.com/office/drawing/2014/main" id="{507BEE54-55DE-4C89-8E57-3174BDFA8382}"/>
              </a:ext>
            </a:extLst>
          </p:cNvPr>
          <p:cNvSpPr>
            <a:spLocks noChangeArrowheads="1"/>
          </p:cNvSpPr>
          <p:nvPr userDrawn="1">
            <p:custDataLst>
              <p:tags r:id="rId6"/>
            </p:custDataLst>
          </p:nvPr>
        </p:nvSpPr>
        <p:spPr bwMode="black">
          <a:xfrm>
            <a:off x="554736" y="6493992"/>
            <a:ext cx="144270"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16" name="5. Source" hidden="1">
            <a:extLst>
              <a:ext uri="{FF2B5EF4-FFF2-40B4-BE49-F238E27FC236}">
                <a16:creationId xmlns:a16="http://schemas.microsoft.com/office/drawing/2014/main" id="{91B06D53-A680-4F64-8944-2A2F607DB773}"/>
              </a:ext>
            </a:extLst>
          </p:cNvPr>
          <p:cNvSpPr txBox="1"/>
          <p:nvPr userDrawn="1">
            <p:custDataLst>
              <p:tags r:id="rId7"/>
            </p:custDataLst>
          </p:nvPr>
        </p:nvSpPr>
        <p:spPr>
          <a:xfrm>
            <a:off x="840485" y="6501686"/>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
        <p:nvSpPr>
          <p:cNvPr id="18" name="EYP-Draft">
            <a:extLst>
              <a:ext uri="{FF2B5EF4-FFF2-40B4-BE49-F238E27FC236}">
                <a16:creationId xmlns:a16="http://schemas.microsoft.com/office/drawing/2014/main" id="{A5BFE608-B587-4DD4-A25F-F3C22282DACB}"/>
              </a:ext>
            </a:extLst>
          </p:cNvPr>
          <p:cNvSpPr/>
          <p:nvPr userDrawn="1">
            <p:custDataLst>
              <p:tags r:id="rId8"/>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200917980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2447867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de-DE">
              <a:solidFill>
                <a:schemeClr val="bg2"/>
              </a:solidFill>
              <a:latin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4"/>
            </p:custDataLst>
          </p:nvPr>
        </p:nvSpPr>
        <p:spPr>
          <a:xfrm>
            <a:off x="554736" y="2798229"/>
            <a:ext cx="2514600" cy="715581"/>
          </a:xfrm>
        </p:spPr>
        <p:txBody>
          <a:bodyPr vert="horz" wrap="square" anchor="b">
            <a:spAutoFit/>
          </a:bodyPr>
          <a:lstStyle>
            <a:lvl1pPr rtl="0">
              <a:defRPr>
                <a:solidFill>
                  <a:srgbClr val="6F6F6F"/>
                </a:solidFill>
              </a:defRPr>
            </a:lvl1pPr>
          </a:lstStyle>
          <a:p>
            <a:r>
              <a:rPr lang="de-DE"/>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de-DE"/>
              <a:t>Click to edit Master subtitle style</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tx2"/>
                </a:solidFill>
                <a:cs typeface="+mn-cs"/>
              </a:defRPr>
            </a:lvl1pPr>
          </a:lstStyle>
          <a:p>
            <a:pPr lvl="0">
              <a:buNone/>
            </a:pPr>
            <a:r>
              <a:rPr lang="de-DE"/>
              <a:t>Add tracker</a:t>
            </a:r>
          </a:p>
        </p:txBody>
      </p:sp>
      <p:grpSp>
        <p:nvGrpSpPr>
          <p:cNvPr id="11" name="Group 10">
            <a:extLst>
              <a:ext uri="{FF2B5EF4-FFF2-40B4-BE49-F238E27FC236}">
                <a16:creationId xmlns:a16="http://schemas.microsoft.com/office/drawing/2014/main" id="{F5B8DACC-1A67-43EF-8FAA-D1A63563F9CB}"/>
              </a:ext>
            </a:extLst>
          </p:cNvPr>
          <p:cNvGrpSpPr/>
          <p:nvPr userDrawn="1"/>
        </p:nvGrpSpPr>
        <p:grpSpPr>
          <a:xfrm>
            <a:off x="10527863" y="6332378"/>
            <a:ext cx="1109401" cy="346688"/>
            <a:chOff x="10527863" y="6332378"/>
            <a:chExt cx="1109401" cy="346688"/>
          </a:xfrm>
        </p:grpSpPr>
        <p:pic>
          <p:nvPicPr>
            <p:cNvPr id="12" name="Picture 24">
              <a:extLst>
                <a:ext uri="{FF2B5EF4-FFF2-40B4-BE49-F238E27FC236}">
                  <a16:creationId xmlns:a16="http://schemas.microsoft.com/office/drawing/2014/main" id="{A6E85FFA-095C-4D71-84A0-45B8A4F4D64E}"/>
                </a:ext>
              </a:extLst>
            </p:cNvPr>
            <p:cNvPicPr>
              <a:picLocks noChangeAspect="1" noChangeArrowheads="1"/>
            </p:cNvPicPr>
            <p:nvPr userDrawn="1"/>
          </p:nvPicPr>
          <p:blipFill rotWithShape="1">
            <a:blip r:embed="rId13" cstate="print">
              <a:extLst>
                <a:ext uri="{28A0092B-C50C-407E-A947-70E740481C1C}">
                  <a14:useLocalDpi xmlns:a14="http://schemas.microsoft.com/office/drawing/2010/main"/>
                </a:ext>
              </a:extLst>
            </a:blip>
            <a:srcRect b="18447"/>
            <a:stretch/>
          </p:blipFill>
          <p:spPr bwMode="auto">
            <a:xfrm>
              <a:off x="10527863" y="6332378"/>
              <a:ext cx="1109401" cy="282735"/>
            </a:xfrm>
            <a:prstGeom prst="rect">
              <a:avLst/>
            </a:prstGeom>
            <a:noFill/>
          </p:spPr>
        </p:pic>
        <p:pic>
          <p:nvPicPr>
            <p:cNvPr id="13" name="Picture 24">
              <a:extLst>
                <a:ext uri="{FF2B5EF4-FFF2-40B4-BE49-F238E27FC236}">
                  <a16:creationId xmlns:a16="http://schemas.microsoft.com/office/drawing/2014/main" id="{31AAB3D5-28C1-45C5-804D-39428A5FB4E1}"/>
                </a:ext>
              </a:extLst>
            </p:cNvPr>
            <p:cNvPicPr>
              <a:picLocks noChangeAspect="1" noChangeArrowheads="1"/>
            </p:cNvPicPr>
            <p:nvPr userDrawn="1"/>
          </p:nvPicPr>
          <p:blipFill rotWithShape="1">
            <a:blip r:embed="rId13" cstate="print">
              <a:duotone>
                <a:schemeClr val="accent4">
                  <a:shade val="45000"/>
                  <a:satMod val="135000"/>
                </a:schemeClr>
                <a:prstClr val="white"/>
              </a:duotone>
              <a:lum bright="100000"/>
              <a:extLst>
                <a:ext uri="{28A0092B-C50C-407E-A947-70E740481C1C}">
                  <a14:useLocalDpi xmlns:a14="http://schemas.microsoft.com/office/drawing/2010/main"/>
                </a:ext>
              </a:extLst>
            </a:blip>
            <a:srcRect t="82240"/>
            <a:stretch/>
          </p:blipFill>
          <p:spPr bwMode="auto">
            <a:xfrm>
              <a:off x="10527863" y="6617494"/>
              <a:ext cx="1109401" cy="61572"/>
            </a:xfrm>
            <a:prstGeom prst="rect">
              <a:avLst/>
            </a:prstGeom>
            <a:noFill/>
          </p:spPr>
        </p:pic>
      </p:grpSp>
      <p:sp>
        <p:nvSpPr>
          <p:cNvPr id="14" name="Slide Number">
            <a:extLst>
              <a:ext uri="{FF2B5EF4-FFF2-40B4-BE49-F238E27FC236}">
                <a16:creationId xmlns:a16="http://schemas.microsoft.com/office/drawing/2014/main" id="{649BD4B6-7047-425F-A513-1D7BD6E86AC8}"/>
              </a:ext>
            </a:extLst>
          </p:cNvPr>
          <p:cNvSpPr>
            <a:spLocks noChangeArrowheads="1"/>
          </p:cNvSpPr>
          <p:nvPr userDrawn="1">
            <p:custDataLst>
              <p:tags r:id="rId7"/>
            </p:custDataLst>
          </p:nvPr>
        </p:nvSpPr>
        <p:spPr bwMode="black">
          <a:xfrm>
            <a:off x="554736" y="6493992"/>
            <a:ext cx="144270"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tx2"/>
                </a:solidFill>
                <a:latin typeface="+mn-lt"/>
                <a:ea typeface="+mn-ea"/>
                <a:cs typeface="Arial" panose="020B0604020202020204" pitchFamily="34" charset="0"/>
              </a:rPr>
              <a:pPr algn="l" defTabSz="610744" rtl="0" fontAlgn="auto">
                <a:spcBef>
                  <a:spcPts val="0"/>
                </a:spcBef>
                <a:spcAft>
                  <a:spcPts val="0"/>
                </a:spcAft>
                <a:defRPr/>
              </a:pPr>
              <a:t>‹Nr.›</a:t>
            </a:fld>
            <a:endParaRPr lang="de-DE" sz="900" b="0">
              <a:solidFill>
                <a:schemeClr val="tx2"/>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D0CBB105-7133-4ED3-AD9C-86142699CF90}"/>
              </a:ext>
            </a:extLst>
          </p:cNvPr>
          <p:cNvSpPr txBox="1"/>
          <p:nvPr userDrawn="1">
            <p:custDataLst>
              <p:tags r:id="rId8"/>
            </p:custDataLst>
          </p:nvPr>
        </p:nvSpPr>
        <p:spPr>
          <a:xfrm>
            <a:off x="840485" y="6501686"/>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solidFill>
                  <a:schemeClr val="tx2"/>
                </a:solidFill>
              </a:rPr>
              <a:t>Quelle: …</a:t>
            </a:r>
          </a:p>
        </p:txBody>
      </p:sp>
      <p:sp>
        <p:nvSpPr>
          <p:cNvPr id="17" name="EYP-Draft">
            <a:extLst>
              <a:ext uri="{FF2B5EF4-FFF2-40B4-BE49-F238E27FC236}">
                <a16:creationId xmlns:a16="http://schemas.microsoft.com/office/drawing/2014/main" id="{9EF75E2A-309A-45AA-AD88-959D0FE724CD}"/>
              </a:ext>
            </a:extLst>
          </p:cNvPr>
          <p:cNvSpPr/>
          <p:nvPr userDrawn="1">
            <p:custDataLst>
              <p:tags r:id="rId9"/>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277204723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911224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de-DE">
              <a:solidFill>
                <a:schemeClr val="bg2"/>
              </a:solidFill>
              <a:latin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4"/>
            </p:custDataLst>
          </p:nvPr>
        </p:nvSpPr>
        <p:spPr>
          <a:xfrm>
            <a:off x="554736" y="2744369"/>
            <a:ext cx="3465576" cy="769441"/>
          </a:xfrm>
          <a:prstGeom prst="rect">
            <a:avLst/>
          </a:prstGeom>
        </p:spPr>
        <p:txBody>
          <a:bodyPr vert="horz" wrap="square" anchor="b">
            <a:noAutofit/>
          </a:bodyPr>
          <a:lstStyle>
            <a:lvl1pPr algn="l" rtl="0">
              <a:defRPr>
                <a:solidFill>
                  <a:srgbClr val="6F6F6F"/>
                </a:solidFill>
              </a:defRPr>
            </a:lvl1pPr>
          </a:lstStyle>
          <a:p>
            <a:r>
              <a:rPr lang="de-DE"/>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de-DE"/>
              <a:t>Click to edit Master subtitle style</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6"/>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tx2"/>
                </a:solidFill>
                <a:cs typeface="+mn-cs"/>
              </a:defRPr>
            </a:lvl1pPr>
          </a:lstStyle>
          <a:p>
            <a:pPr lvl="0">
              <a:buNone/>
            </a:pPr>
            <a:r>
              <a:rPr lang="de-DE"/>
              <a:t>Add tracker</a:t>
            </a:r>
          </a:p>
        </p:txBody>
      </p:sp>
      <p:grpSp>
        <p:nvGrpSpPr>
          <p:cNvPr id="13" name="Group 12">
            <a:extLst>
              <a:ext uri="{FF2B5EF4-FFF2-40B4-BE49-F238E27FC236}">
                <a16:creationId xmlns:a16="http://schemas.microsoft.com/office/drawing/2014/main" id="{05DB53DB-9BEF-4A99-B5A0-7C82DC9D56EF}"/>
              </a:ext>
            </a:extLst>
          </p:cNvPr>
          <p:cNvGrpSpPr/>
          <p:nvPr userDrawn="1"/>
        </p:nvGrpSpPr>
        <p:grpSpPr>
          <a:xfrm>
            <a:off x="10527863" y="6332378"/>
            <a:ext cx="1109401" cy="346688"/>
            <a:chOff x="10527863" y="6332378"/>
            <a:chExt cx="1109401" cy="346688"/>
          </a:xfrm>
        </p:grpSpPr>
        <p:pic>
          <p:nvPicPr>
            <p:cNvPr id="14" name="Picture 24">
              <a:extLst>
                <a:ext uri="{FF2B5EF4-FFF2-40B4-BE49-F238E27FC236}">
                  <a16:creationId xmlns:a16="http://schemas.microsoft.com/office/drawing/2014/main" id="{EC1F54D1-2A4E-4B7D-A4C8-D916D5628147}"/>
                </a:ext>
              </a:extLst>
            </p:cNvPr>
            <p:cNvPicPr>
              <a:picLocks noChangeAspect="1" noChangeArrowheads="1"/>
            </p:cNvPicPr>
            <p:nvPr userDrawn="1"/>
          </p:nvPicPr>
          <p:blipFill rotWithShape="1">
            <a:blip r:embed="rId13" cstate="print">
              <a:extLst>
                <a:ext uri="{28A0092B-C50C-407E-A947-70E740481C1C}">
                  <a14:useLocalDpi xmlns:a14="http://schemas.microsoft.com/office/drawing/2010/main"/>
                </a:ext>
              </a:extLst>
            </a:blip>
            <a:srcRect b="18447"/>
            <a:stretch/>
          </p:blipFill>
          <p:spPr bwMode="auto">
            <a:xfrm>
              <a:off x="10527863" y="6332378"/>
              <a:ext cx="1109401" cy="282735"/>
            </a:xfrm>
            <a:prstGeom prst="rect">
              <a:avLst/>
            </a:prstGeom>
            <a:noFill/>
          </p:spPr>
        </p:pic>
        <p:pic>
          <p:nvPicPr>
            <p:cNvPr id="16" name="Picture 24">
              <a:extLst>
                <a:ext uri="{FF2B5EF4-FFF2-40B4-BE49-F238E27FC236}">
                  <a16:creationId xmlns:a16="http://schemas.microsoft.com/office/drawing/2014/main" id="{FC9FE805-5695-4671-B44B-A7C03139FD2C}"/>
                </a:ext>
              </a:extLst>
            </p:cNvPr>
            <p:cNvPicPr>
              <a:picLocks noChangeAspect="1" noChangeArrowheads="1"/>
            </p:cNvPicPr>
            <p:nvPr userDrawn="1"/>
          </p:nvPicPr>
          <p:blipFill rotWithShape="1">
            <a:blip r:embed="rId13" cstate="print">
              <a:duotone>
                <a:schemeClr val="accent4">
                  <a:shade val="45000"/>
                  <a:satMod val="135000"/>
                </a:schemeClr>
                <a:prstClr val="white"/>
              </a:duotone>
              <a:lum bright="100000"/>
              <a:extLst>
                <a:ext uri="{28A0092B-C50C-407E-A947-70E740481C1C}">
                  <a14:useLocalDpi xmlns:a14="http://schemas.microsoft.com/office/drawing/2010/main"/>
                </a:ext>
              </a:extLst>
            </a:blip>
            <a:srcRect t="82240"/>
            <a:stretch/>
          </p:blipFill>
          <p:spPr bwMode="auto">
            <a:xfrm>
              <a:off x="10527863" y="6617494"/>
              <a:ext cx="1109401" cy="61572"/>
            </a:xfrm>
            <a:prstGeom prst="rect">
              <a:avLst/>
            </a:prstGeom>
            <a:noFill/>
          </p:spPr>
        </p:pic>
      </p:grpSp>
      <p:sp>
        <p:nvSpPr>
          <p:cNvPr id="18" name="Slide Number">
            <a:extLst>
              <a:ext uri="{FF2B5EF4-FFF2-40B4-BE49-F238E27FC236}">
                <a16:creationId xmlns:a16="http://schemas.microsoft.com/office/drawing/2014/main" id="{8B40B401-1724-49C7-9128-7C590E9F063F}"/>
              </a:ext>
            </a:extLst>
          </p:cNvPr>
          <p:cNvSpPr>
            <a:spLocks noChangeArrowheads="1"/>
          </p:cNvSpPr>
          <p:nvPr userDrawn="1">
            <p:custDataLst>
              <p:tags r:id="rId7"/>
            </p:custDataLst>
          </p:nvPr>
        </p:nvSpPr>
        <p:spPr bwMode="black">
          <a:xfrm>
            <a:off x="554736" y="6493992"/>
            <a:ext cx="144270"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tx2"/>
                </a:solidFill>
                <a:latin typeface="+mn-lt"/>
                <a:ea typeface="+mn-ea"/>
                <a:cs typeface="Arial" panose="020B0604020202020204" pitchFamily="34" charset="0"/>
              </a:rPr>
              <a:pPr algn="l" defTabSz="610744" rtl="0" fontAlgn="auto">
                <a:spcBef>
                  <a:spcPts val="0"/>
                </a:spcBef>
                <a:spcAft>
                  <a:spcPts val="0"/>
                </a:spcAft>
                <a:defRPr/>
              </a:pPr>
              <a:t>‹Nr.›</a:t>
            </a:fld>
            <a:endParaRPr lang="de-DE" sz="900" b="0">
              <a:solidFill>
                <a:schemeClr val="tx2"/>
              </a:solidFill>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CE458230-DAF7-4001-BD1A-421AD414D56A}"/>
              </a:ext>
            </a:extLst>
          </p:cNvPr>
          <p:cNvSpPr txBox="1"/>
          <p:nvPr userDrawn="1">
            <p:custDataLst>
              <p:tags r:id="rId8"/>
            </p:custDataLst>
          </p:nvPr>
        </p:nvSpPr>
        <p:spPr>
          <a:xfrm>
            <a:off x="840485" y="6501686"/>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solidFill>
                  <a:schemeClr val="tx2"/>
                </a:solidFill>
              </a:rPr>
              <a:t>Quelle: …</a:t>
            </a:r>
          </a:p>
        </p:txBody>
      </p:sp>
      <p:sp>
        <p:nvSpPr>
          <p:cNvPr id="17" name="EYP-Draft">
            <a:extLst>
              <a:ext uri="{FF2B5EF4-FFF2-40B4-BE49-F238E27FC236}">
                <a16:creationId xmlns:a16="http://schemas.microsoft.com/office/drawing/2014/main" id="{294BA27D-E261-484D-B0C2-C7471D91379E}"/>
              </a:ext>
            </a:extLst>
          </p:cNvPr>
          <p:cNvSpPr/>
          <p:nvPr userDrawn="1">
            <p:custDataLst>
              <p:tags r:id="rId9"/>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304282245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767179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de-DE">
              <a:solidFill>
                <a:srgbClr val="F0F0F0"/>
              </a:solidFill>
              <a:latin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545942"/>
            <a:ext cx="5065776" cy="357790"/>
          </a:xfrm>
        </p:spPr>
        <p:txBody>
          <a:bodyPr vert="horz"/>
          <a:lstStyle>
            <a:lvl1pPr rtl="0">
              <a:defRPr>
                <a:solidFill>
                  <a:srgbClr val="6F6F6F"/>
                </a:solidFill>
              </a:defRPr>
            </a:lvl1pPr>
          </a:lstStyle>
          <a:p>
            <a:r>
              <a:rPr lang="de-DE"/>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959517"/>
            <a:ext cx="5065776" cy="246221"/>
          </a:xfrm>
          <a:prstGeom prst="rect">
            <a:avLst/>
          </a:prstGeom>
        </p:spPr>
        <p:txBody>
          <a:bodyPr wrap="square">
            <a:spAutoFit/>
          </a:bodyPr>
          <a:lstStyle>
            <a:lvl1pPr marL="0" indent="0" algn="l" rtl="0">
              <a:buNone/>
              <a:defRPr sz="1600" b="0"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Click to edit Master subtitle style</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2"/>
                </a:solidFill>
                <a:cs typeface="+mn-cs"/>
              </a:defRPr>
            </a:lvl1pPr>
          </a:lstStyle>
          <a:p>
            <a:pPr lvl="0">
              <a:buNone/>
            </a:pPr>
            <a:r>
              <a:rPr lang="de-DE"/>
              <a:t>Add tracker</a:t>
            </a:r>
          </a:p>
        </p:txBody>
      </p:sp>
      <p:grpSp>
        <p:nvGrpSpPr>
          <p:cNvPr id="14" name="Group 13">
            <a:extLst>
              <a:ext uri="{FF2B5EF4-FFF2-40B4-BE49-F238E27FC236}">
                <a16:creationId xmlns:a16="http://schemas.microsoft.com/office/drawing/2014/main" id="{A24C6C60-7A8B-4E27-97A7-3B852FFE5365}"/>
              </a:ext>
            </a:extLst>
          </p:cNvPr>
          <p:cNvGrpSpPr/>
          <p:nvPr userDrawn="1"/>
        </p:nvGrpSpPr>
        <p:grpSpPr>
          <a:xfrm>
            <a:off x="10527863" y="6332378"/>
            <a:ext cx="1109401" cy="346688"/>
            <a:chOff x="10527863" y="6332378"/>
            <a:chExt cx="1109401" cy="346688"/>
          </a:xfrm>
        </p:grpSpPr>
        <p:pic>
          <p:nvPicPr>
            <p:cNvPr id="15" name="Picture 24">
              <a:extLst>
                <a:ext uri="{FF2B5EF4-FFF2-40B4-BE49-F238E27FC236}">
                  <a16:creationId xmlns:a16="http://schemas.microsoft.com/office/drawing/2014/main" id="{AC5AB975-CD6E-4481-A196-A43C90CAFF30}"/>
                </a:ext>
              </a:extLst>
            </p:cNvPr>
            <p:cNvPicPr>
              <a:picLocks noChangeAspect="1" noChangeArrowheads="1"/>
            </p:cNvPicPr>
            <p:nvPr userDrawn="1"/>
          </p:nvPicPr>
          <p:blipFill rotWithShape="1">
            <a:blip r:embed="rId13" cstate="print">
              <a:extLst>
                <a:ext uri="{28A0092B-C50C-407E-A947-70E740481C1C}">
                  <a14:useLocalDpi xmlns:a14="http://schemas.microsoft.com/office/drawing/2010/main"/>
                </a:ext>
              </a:extLst>
            </a:blip>
            <a:srcRect b="18447"/>
            <a:stretch/>
          </p:blipFill>
          <p:spPr bwMode="auto">
            <a:xfrm>
              <a:off x="10527863" y="6332378"/>
              <a:ext cx="1109401" cy="282735"/>
            </a:xfrm>
            <a:prstGeom prst="rect">
              <a:avLst/>
            </a:prstGeom>
            <a:noFill/>
          </p:spPr>
        </p:pic>
        <p:pic>
          <p:nvPicPr>
            <p:cNvPr id="16" name="Picture 24">
              <a:extLst>
                <a:ext uri="{FF2B5EF4-FFF2-40B4-BE49-F238E27FC236}">
                  <a16:creationId xmlns:a16="http://schemas.microsoft.com/office/drawing/2014/main" id="{40997244-11C7-43B0-8C51-055B263F7F08}"/>
                </a:ext>
              </a:extLst>
            </p:cNvPr>
            <p:cNvPicPr>
              <a:picLocks noChangeAspect="1" noChangeArrowheads="1"/>
            </p:cNvPicPr>
            <p:nvPr userDrawn="1"/>
          </p:nvPicPr>
          <p:blipFill rotWithShape="1">
            <a:blip r:embed="rId13" cstate="print">
              <a:duotone>
                <a:schemeClr val="accent4">
                  <a:shade val="45000"/>
                  <a:satMod val="135000"/>
                </a:schemeClr>
                <a:prstClr val="white"/>
              </a:duotone>
              <a:lum bright="100000"/>
              <a:extLst>
                <a:ext uri="{28A0092B-C50C-407E-A947-70E740481C1C}">
                  <a14:useLocalDpi xmlns:a14="http://schemas.microsoft.com/office/drawing/2010/main"/>
                </a:ext>
              </a:extLst>
            </a:blip>
            <a:srcRect t="82240"/>
            <a:stretch/>
          </p:blipFill>
          <p:spPr bwMode="auto">
            <a:xfrm>
              <a:off x="10527863" y="6617494"/>
              <a:ext cx="1109401" cy="61572"/>
            </a:xfrm>
            <a:prstGeom prst="rect">
              <a:avLst/>
            </a:prstGeom>
            <a:noFill/>
          </p:spPr>
        </p:pic>
      </p:grpSp>
      <p:sp>
        <p:nvSpPr>
          <p:cNvPr id="17" name="Slide Number">
            <a:extLst>
              <a:ext uri="{FF2B5EF4-FFF2-40B4-BE49-F238E27FC236}">
                <a16:creationId xmlns:a16="http://schemas.microsoft.com/office/drawing/2014/main" id="{34ABC2EB-696C-495F-A748-47558E2F7514}"/>
              </a:ext>
            </a:extLst>
          </p:cNvPr>
          <p:cNvSpPr>
            <a:spLocks noChangeArrowheads="1"/>
          </p:cNvSpPr>
          <p:nvPr userDrawn="1">
            <p:custDataLst>
              <p:tags r:id="rId7"/>
            </p:custDataLst>
          </p:nvPr>
        </p:nvSpPr>
        <p:spPr bwMode="black">
          <a:xfrm>
            <a:off x="554736" y="6493992"/>
            <a:ext cx="144270"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tx2"/>
                </a:solidFill>
                <a:latin typeface="+mn-lt"/>
                <a:ea typeface="+mn-ea"/>
                <a:cs typeface="Arial" panose="020B0604020202020204" pitchFamily="34" charset="0"/>
              </a:rPr>
              <a:pPr algn="l" defTabSz="610744" rtl="0" fontAlgn="auto">
                <a:spcBef>
                  <a:spcPts val="0"/>
                </a:spcBef>
                <a:spcAft>
                  <a:spcPts val="0"/>
                </a:spcAft>
                <a:defRPr/>
              </a:pPr>
              <a:t>‹Nr.›</a:t>
            </a:fld>
            <a:endParaRPr lang="de-DE" sz="900" b="0">
              <a:solidFill>
                <a:schemeClr val="tx2"/>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7BF29D22-6EE1-4E81-BB81-0DB9FD361423}"/>
              </a:ext>
            </a:extLst>
          </p:cNvPr>
          <p:cNvSpPr txBox="1"/>
          <p:nvPr userDrawn="1">
            <p:custDataLst>
              <p:tags r:id="rId8"/>
            </p:custDataLst>
          </p:nvPr>
        </p:nvSpPr>
        <p:spPr>
          <a:xfrm>
            <a:off x="840485" y="6501686"/>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solidFill>
                  <a:schemeClr val="tx2"/>
                </a:solidFill>
              </a:rPr>
              <a:t>Quelle: …</a:t>
            </a:r>
          </a:p>
        </p:txBody>
      </p:sp>
      <p:sp>
        <p:nvSpPr>
          <p:cNvPr id="18" name="EYP-Draft">
            <a:extLst>
              <a:ext uri="{FF2B5EF4-FFF2-40B4-BE49-F238E27FC236}">
                <a16:creationId xmlns:a16="http://schemas.microsoft.com/office/drawing/2014/main" id="{80B09A57-2E82-4615-BA3F-116100E1A3A1}"/>
              </a:ext>
            </a:extLst>
          </p:cNvPr>
          <p:cNvSpPr/>
          <p:nvPr userDrawn="1">
            <p:custDataLst>
              <p:tags r:id="rId9"/>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16119150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481652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545942"/>
            <a:ext cx="6967728" cy="357790"/>
          </a:xfrm>
        </p:spPr>
        <p:txBody>
          <a:bodyPr vert="horz"/>
          <a:lstStyle>
            <a:lvl1pPr rtl="0">
              <a:defRPr>
                <a:solidFill>
                  <a:srgbClr val="6F6F6F"/>
                </a:solidFill>
              </a:defRPr>
            </a:lvl1pPr>
          </a:lstStyle>
          <a:p>
            <a:r>
              <a:rPr lang="de-DE"/>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de-DE">
              <a:solidFill>
                <a:srgbClr val="F0F0F0"/>
              </a:solidFill>
              <a:latin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5"/>
            </p:custDataLst>
          </p:nvPr>
        </p:nvSpPr>
        <p:spPr>
          <a:xfrm>
            <a:off x="554736" y="959517"/>
            <a:ext cx="6967728" cy="246221"/>
          </a:xfrm>
          <a:prstGeom prst="rect">
            <a:avLst/>
          </a:prstGeom>
        </p:spPr>
        <p:txBody>
          <a:bodyPr wrap="square">
            <a:spAutoFit/>
          </a:bodyPr>
          <a:lstStyle>
            <a:lvl1pPr marL="0" indent="0" algn="l" rtl="0">
              <a:buNone/>
              <a:defRPr sz="1600" b="0"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Click to edit Master subtitle style</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2"/>
                </a:solidFill>
                <a:cs typeface="+mn-cs"/>
              </a:defRPr>
            </a:lvl1pPr>
          </a:lstStyle>
          <a:p>
            <a:pPr lvl="0">
              <a:buNone/>
            </a:pPr>
            <a:r>
              <a:rPr lang="de-DE"/>
              <a:t>Add tracker</a:t>
            </a:r>
          </a:p>
        </p:txBody>
      </p:sp>
      <p:grpSp>
        <p:nvGrpSpPr>
          <p:cNvPr id="14" name="Group 13">
            <a:extLst>
              <a:ext uri="{FF2B5EF4-FFF2-40B4-BE49-F238E27FC236}">
                <a16:creationId xmlns:a16="http://schemas.microsoft.com/office/drawing/2014/main" id="{8CF01EF5-8DCE-4B4A-BB09-55E5590B523F}"/>
              </a:ext>
            </a:extLst>
          </p:cNvPr>
          <p:cNvGrpSpPr/>
          <p:nvPr userDrawn="1"/>
        </p:nvGrpSpPr>
        <p:grpSpPr>
          <a:xfrm>
            <a:off x="10527863" y="6332378"/>
            <a:ext cx="1109401" cy="346688"/>
            <a:chOff x="10527863" y="6332378"/>
            <a:chExt cx="1109401" cy="346688"/>
          </a:xfrm>
        </p:grpSpPr>
        <p:pic>
          <p:nvPicPr>
            <p:cNvPr id="15" name="Picture 24">
              <a:extLst>
                <a:ext uri="{FF2B5EF4-FFF2-40B4-BE49-F238E27FC236}">
                  <a16:creationId xmlns:a16="http://schemas.microsoft.com/office/drawing/2014/main" id="{5F15D5D8-9DB2-4362-AF24-10E1DEA40F54}"/>
                </a:ext>
              </a:extLst>
            </p:cNvPr>
            <p:cNvPicPr>
              <a:picLocks noChangeAspect="1" noChangeArrowheads="1"/>
            </p:cNvPicPr>
            <p:nvPr userDrawn="1"/>
          </p:nvPicPr>
          <p:blipFill rotWithShape="1">
            <a:blip r:embed="rId13" cstate="print">
              <a:extLst>
                <a:ext uri="{28A0092B-C50C-407E-A947-70E740481C1C}">
                  <a14:useLocalDpi xmlns:a14="http://schemas.microsoft.com/office/drawing/2010/main"/>
                </a:ext>
              </a:extLst>
            </a:blip>
            <a:srcRect b="18447"/>
            <a:stretch/>
          </p:blipFill>
          <p:spPr bwMode="auto">
            <a:xfrm>
              <a:off x="10527863" y="6332378"/>
              <a:ext cx="1109401" cy="282735"/>
            </a:xfrm>
            <a:prstGeom prst="rect">
              <a:avLst/>
            </a:prstGeom>
            <a:noFill/>
          </p:spPr>
        </p:pic>
        <p:pic>
          <p:nvPicPr>
            <p:cNvPr id="16" name="Picture 24">
              <a:extLst>
                <a:ext uri="{FF2B5EF4-FFF2-40B4-BE49-F238E27FC236}">
                  <a16:creationId xmlns:a16="http://schemas.microsoft.com/office/drawing/2014/main" id="{4912AF51-4106-4AE6-9A2A-4A03618A4495}"/>
                </a:ext>
              </a:extLst>
            </p:cNvPr>
            <p:cNvPicPr>
              <a:picLocks noChangeAspect="1" noChangeArrowheads="1"/>
            </p:cNvPicPr>
            <p:nvPr userDrawn="1"/>
          </p:nvPicPr>
          <p:blipFill rotWithShape="1">
            <a:blip r:embed="rId13" cstate="print">
              <a:duotone>
                <a:schemeClr val="accent4">
                  <a:shade val="45000"/>
                  <a:satMod val="135000"/>
                </a:schemeClr>
                <a:prstClr val="white"/>
              </a:duotone>
              <a:lum bright="100000"/>
              <a:extLst>
                <a:ext uri="{28A0092B-C50C-407E-A947-70E740481C1C}">
                  <a14:useLocalDpi xmlns:a14="http://schemas.microsoft.com/office/drawing/2010/main"/>
                </a:ext>
              </a:extLst>
            </a:blip>
            <a:srcRect t="82240"/>
            <a:stretch/>
          </p:blipFill>
          <p:spPr bwMode="auto">
            <a:xfrm>
              <a:off x="10527863" y="6617494"/>
              <a:ext cx="1109401" cy="61572"/>
            </a:xfrm>
            <a:prstGeom prst="rect">
              <a:avLst/>
            </a:prstGeom>
            <a:noFill/>
          </p:spPr>
        </p:pic>
      </p:grpSp>
      <p:sp>
        <p:nvSpPr>
          <p:cNvPr id="19" name="Slide Number">
            <a:extLst>
              <a:ext uri="{FF2B5EF4-FFF2-40B4-BE49-F238E27FC236}">
                <a16:creationId xmlns:a16="http://schemas.microsoft.com/office/drawing/2014/main" id="{03F76466-E142-4CB9-A7F8-554D6E8B1971}"/>
              </a:ext>
            </a:extLst>
          </p:cNvPr>
          <p:cNvSpPr>
            <a:spLocks noChangeArrowheads="1"/>
          </p:cNvSpPr>
          <p:nvPr userDrawn="1">
            <p:custDataLst>
              <p:tags r:id="rId7"/>
            </p:custDataLst>
          </p:nvPr>
        </p:nvSpPr>
        <p:spPr bwMode="black">
          <a:xfrm>
            <a:off x="554736" y="6493992"/>
            <a:ext cx="144270"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tx2"/>
                </a:solidFill>
                <a:latin typeface="+mn-lt"/>
                <a:ea typeface="+mn-ea"/>
                <a:cs typeface="Arial" panose="020B0604020202020204" pitchFamily="34" charset="0"/>
              </a:rPr>
              <a:pPr algn="l" defTabSz="610744" rtl="0" fontAlgn="auto">
                <a:spcBef>
                  <a:spcPts val="0"/>
                </a:spcBef>
                <a:spcAft>
                  <a:spcPts val="0"/>
                </a:spcAft>
                <a:defRPr/>
              </a:pPr>
              <a:t>‹Nr.›</a:t>
            </a:fld>
            <a:endParaRPr lang="de-DE" sz="900" b="0">
              <a:solidFill>
                <a:schemeClr val="tx2"/>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9062E947-9122-4BA1-98C1-0DFDDD970ECE}"/>
              </a:ext>
            </a:extLst>
          </p:cNvPr>
          <p:cNvSpPr txBox="1"/>
          <p:nvPr userDrawn="1">
            <p:custDataLst>
              <p:tags r:id="rId8"/>
            </p:custDataLst>
          </p:nvPr>
        </p:nvSpPr>
        <p:spPr>
          <a:xfrm>
            <a:off x="840485" y="6501686"/>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solidFill>
                  <a:schemeClr val="tx2"/>
                </a:solidFill>
              </a:rPr>
              <a:t>Quelle: …</a:t>
            </a:r>
          </a:p>
        </p:txBody>
      </p:sp>
      <p:sp>
        <p:nvSpPr>
          <p:cNvPr id="17" name="EYP-Draft">
            <a:extLst>
              <a:ext uri="{FF2B5EF4-FFF2-40B4-BE49-F238E27FC236}">
                <a16:creationId xmlns:a16="http://schemas.microsoft.com/office/drawing/2014/main" id="{B44C999B-232B-4B2D-BD33-6DDAC0558857}"/>
              </a:ext>
            </a:extLst>
          </p:cNvPr>
          <p:cNvSpPr/>
          <p:nvPr userDrawn="1">
            <p:custDataLst>
              <p:tags r:id="rId9"/>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4659320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3802774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545942"/>
            <a:ext cx="7918704" cy="357790"/>
          </a:xfrm>
        </p:spPr>
        <p:txBody>
          <a:bodyPr vert="horz"/>
          <a:lstStyle>
            <a:lvl1pPr rtl="0">
              <a:defRPr>
                <a:solidFill>
                  <a:srgbClr val="6F6F6F"/>
                </a:solidFill>
              </a:defRPr>
            </a:lvl1pPr>
          </a:lstStyle>
          <a:p>
            <a:r>
              <a:rPr lang="de-DE"/>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959517"/>
            <a:ext cx="7918704" cy="246221"/>
          </a:xfrm>
          <a:prstGeom prst="rect">
            <a:avLst/>
          </a:prstGeom>
        </p:spPr>
        <p:txBody>
          <a:bodyPr wrap="square">
            <a:spAutoFit/>
          </a:bodyPr>
          <a:lstStyle>
            <a:lvl1pPr marL="0" indent="0" algn="l" rtl="0">
              <a:buNone/>
              <a:defRPr sz="1600" b="0"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Click to edit Master subtitle style</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2"/>
                </a:solidFill>
                <a:cs typeface="+mn-cs"/>
              </a:defRPr>
            </a:lvl1pPr>
          </a:lstStyle>
          <a:p>
            <a:pPr lvl="0">
              <a:buNone/>
            </a:pPr>
            <a:r>
              <a:rPr lang="de-DE"/>
              <a:t>Add tracker</a:t>
            </a:r>
          </a:p>
        </p:txBody>
      </p:sp>
      <p:grpSp>
        <p:nvGrpSpPr>
          <p:cNvPr id="14" name="Group 13">
            <a:extLst>
              <a:ext uri="{FF2B5EF4-FFF2-40B4-BE49-F238E27FC236}">
                <a16:creationId xmlns:a16="http://schemas.microsoft.com/office/drawing/2014/main" id="{27DCDF37-E375-424C-828B-FDFE46A81D20}"/>
              </a:ext>
            </a:extLst>
          </p:cNvPr>
          <p:cNvGrpSpPr/>
          <p:nvPr userDrawn="1"/>
        </p:nvGrpSpPr>
        <p:grpSpPr>
          <a:xfrm>
            <a:off x="10527863" y="6332378"/>
            <a:ext cx="1109401" cy="346688"/>
            <a:chOff x="10527863" y="6332378"/>
            <a:chExt cx="1109401" cy="346688"/>
          </a:xfrm>
        </p:grpSpPr>
        <p:pic>
          <p:nvPicPr>
            <p:cNvPr id="15" name="Picture 24">
              <a:extLst>
                <a:ext uri="{FF2B5EF4-FFF2-40B4-BE49-F238E27FC236}">
                  <a16:creationId xmlns:a16="http://schemas.microsoft.com/office/drawing/2014/main" id="{292D6B8A-BE2D-4931-8A29-D687425962F3}"/>
                </a:ext>
              </a:extLst>
            </p:cNvPr>
            <p:cNvPicPr>
              <a:picLocks noChangeAspect="1" noChangeArrowheads="1"/>
            </p:cNvPicPr>
            <p:nvPr userDrawn="1"/>
          </p:nvPicPr>
          <p:blipFill rotWithShape="1">
            <a:blip r:embed="rId13" cstate="print">
              <a:extLst>
                <a:ext uri="{28A0092B-C50C-407E-A947-70E740481C1C}">
                  <a14:useLocalDpi xmlns:a14="http://schemas.microsoft.com/office/drawing/2010/main"/>
                </a:ext>
              </a:extLst>
            </a:blip>
            <a:srcRect b="18447"/>
            <a:stretch/>
          </p:blipFill>
          <p:spPr bwMode="auto">
            <a:xfrm>
              <a:off x="10527863" y="6332378"/>
              <a:ext cx="1109401" cy="282735"/>
            </a:xfrm>
            <a:prstGeom prst="rect">
              <a:avLst/>
            </a:prstGeom>
            <a:noFill/>
          </p:spPr>
        </p:pic>
        <p:pic>
          <p:nvPicPr>
            <p:cNvPr id="16" name="Picture 24">
              <a:extLst>
                <a:ext uri="{FF2B5EF4-FFF2-40B4-BE49-F238E27FC236}">
                  <a16:creationId xmlns:a16="http://schemas.microsoft.com/office/drawing/2014/main" id="{9D1B6818-505F-4540-8C32-4C649B3EE9FB}"/>
                </a:ext>
              </a:extLst>
            </p:cNvPr>
            <p:cNvPicPr>
              <a:picLocks noChangeAspect="1" noChangeArrowheads="1"/>
            </p:cNvPicPr>
            <p:nvPr userDrawn="1"/>
          </p:nvPicPr>
          <p:blipFill rotWithShape="1">
            <a:blip r:embed="rId13" cstate="print">
              <a:duotone>
                <a:schemeClr val="accent4">
                  <a:shade val="45000"/>
                  <a:satMod val="135000"/>
                </a:schemeClr>
                <a:prstClr val="white"/>
              </a:duotone>
              <a:lum bright="100000"/>
              <a:extLst>
                <a:ext uri="{28A0092B-C50C-407E-A947-70E740481C1C}">
                  <a14:useLocalDpi xmlns:a14="http://schemas.microsoft.com/office/drawing/2010/main"/>
                </a:ext>
              </a:extLst>
            </a:blip>
            <a:srcRect t="82240"/>
            <a:stretch/>
          </p:blipFill>
          <p:spPr bwMode="auto">
            <a:xfrm>
              <a:off x="10527863" y="6617494"/>
              <a:ext cx="1109401" cy="61572"/>
            </a:xfrm>
            <a:prstGeom prst="rect">
              <a:avLst/>
            </a:prstGeom>
            <a:noFill/>
          </p:spPr>
        </p:pic>
      </p:grpSp>
      <p:sp>
        <p:nvSpPr>
          <p:cNvPr id="17" name="Slide Number">
            <a:extLst>
              <a:ext uri="{FF2B5EF4-FFF2-40B4-BE49-F238E27FC236}">
                <a16:creationId xmlns:a16="http://schemas.microsoft.com/office/drawing/2014/main" id="{D9064581-A3A7-40D0-A67F-A494AD6F0C62}"/>
              </a:ext>
            </a:extLst>
          </p:cNvPr>
          <p:cNvSpPr>
            <a:spLocks noChangeArrowheads="1"/>
          </p:cNvSpPr>
          <p:nvPr userDrawn="1">
            <p:custDataLst>
              <p:tags r:id="rId7"/>
            </p:custDataLst>
          </p:nvPr>
        </p:nvSpPr>
        <p:spPr bwMode="black">
          <a:xfrm>
            <a:off x="554736" y="6493992"/>
            <a:ext cx="144270"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tx2"/>
                </a:solidFill>
                <a:latin typeface="+mn-lt"/>
                <a:ea typeface="+mn-ea"/>
                <a:cs typeface="Arial" panose="020B0604020202020204" pitchFamily="34" charset="0"/>
              </a:rPr>
              <a:pPr algn="l" defTabSz="610744" rtl="0" fontAlgn="auto">
                <a:spcBef>
                  <a:spcPts val="0"/>
                </a:spcBef>
                <a:spcAft>
                  <a:spcPts val="0"/>
                </a:spcAft>
                <a:defRPr/>
              </a:pPr>
              <a:t>‹Nr.›</a:t>
            </a:fld>
            <a:endParaRPr lang="de-DE" sz="900" b="0">
              <a:solidFill>
                <a:schemeClr val="tx2"/>
              </a:solidFill>
              <a:latin typeface="+mn-lt"/>
              <a:ea typeface="+mn-ea"/>
              <a:cs typeface="Arial" panose="020B0604020202020204" pitchFamily="34" charset="0"/>
            </a:endParaRPr>
          </a:p>
        </p:txBody>
      </p:sp>
      <p:sp>
        <p:nvSpPr>
          <p:cNvPr id="23" name="5. Source" hidden="1">
            <a:extLst>
              <a:ext uri="{FF2B5EF4-FFF2-40B4-BE49-F238E27FC236}">
                <a16:creationId xmlns:a16="http://schemas.microsoft.com/office/drawing/2014/main" id="{CC031487-AA00-4209-B652-A89CCF519F9C}"/>
              </a:ext>
            </a:extLst>
          </p:cNvPr>
          <p:cNvSpPr txBox="1"/>
          <p:nvPr userDrawn="1">
            <p:custDataLst>
              <p:tags r:id="rId8"/>
            </p:custDataLst>
          </p:nvPr>
        </p:nvSpPr>
        <p:spPr>
          <a:xfrm>
            <a:off x="840485" y="6501686"/>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solidFill>
                  <a:schemeClr val="tx2"/>
                </a:solidFill>
              </a:rPr>
              <a:t>Quelle: …</a:t>
            </a:r>
          </a:p>
        </p:txBody>
      </p:sp>
      <p:sp>
        <p:nvSpPr>
          <p:cNvPr id="18" name="EYP-Draft">
            <a:extLst>
              <a:ext uri="{FF2B5EF4-FFF2-40B4-BE49-F238E27FC236}">
                <a16:creationId xmlns:a16="http://schemas.microsoft.com/office/drawing/2014/main" id="{45A06783-1D31-4807-8042-F94BA9702742}"/>
              </a:ext>
            </a:extLst>
          </p:cNvPr>
          <p:cNvSpPr/>
          <p:nvPr userDrawn="1">
            <p:custDataLst>
              <p:tags r:id="rId9"/>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34651349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2994722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de-DE" sz="1600" baseline="0">
              <a:solidFill>
                <a:srgbClr val="F0F0F0"/>
              </a:solidFill>
              <a:latin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545942"/>
            <a:ext cx="5065776" cy="357790"/>
          </a:xfrm>
        </p:spPr>
        <p:txBody>
          <a:bodyPr vert="horz" wrap="square">
            <a:spAutoFit/>
          </a:bodyPr>
          <a:lstStyle>
            <a:lvl1pPr rtl="0">
              <a:defRPr>
                <a:solidFill>
                  <a:schemeClr val="tx1"/>
                </a:solidFill>
              </a:defRPr>
            </a:lvl1pPr>
          </a:lstStyle>
          <a:p>
            <a:r>
              <a:rPr lang="de-DE"/>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959517"/>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Click to edit Master subtitle style</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de-DE"/>
              <a:t>Add tracker</a:t>
            </a:r>
          </a:p>
        </p:txBody>
      </p:sp>
      <p:sp>
        <p:nvSpPr>
          <p:cNvPr id="16" name="Slide Number">
            <a:extLst>
              <a:ext uri="{FF2B5EF4-FFF2-40B4-BE49-F238E27FC236}">
                <a16:creationId xmlns:a16="http://schemas.microsoft.com/office/drawing/2014/main" id="{7041A92A-C4F5-4E6F-A62E-5CB1A2F692B2}"/>
              </a:ext>
            </a:extLst>
          </p:cNvPr>
          <p:cNvSpPr>
            <a:spLocks noChangeArrowheads="1"/>
          </p:cNvSpPr>
          <p:nvPr userDrawn="1">
            <p:custDataLst>
              <p:tags r:id="rId7"/>
            </p:custDataLst>
          </p:nvPr>
        </p:nvSpPr>
        <p:spPr bwMode="black">
          <a:xfrm>
            <a:off x="554736" y="6493992"/>
            <a:ext cx="144270"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17" name="5. Source" hidden="1">
            <a:extLst>
              <a:ext uri="{FF2B5EF4-FFF2-40B4-BE49-F238E27FC236}">
                <a16:creationId xmlns:a16="http://schemas.microsoft.com/office/drawing/2014/main" id="{B9C9A7C6-FDC9-4555-870E-8AFBCBEE6AA2}"/>
              </a:ext>
            </a:extLst>
          </p:cNvPr>
          <p:cNvSpPr txBox="1"/>
          <p:nvPr userDrawn="1">
            <p:custDataLst>
              <p:tags r:id="rId8"/>
            </p:custDataLst>
          </p:nvPr>
        </p:nvSpPr>
        <p:spPr>
          <a:xfrm>
            <a:off x="840485" y="6501686"/>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22" name="Picture 24">
            <a:extLst>
              <a:ext uri="{FF2B5EF4-FFF2-40B4-BE49-F238E27FC236}">
                <a16:creationId xmlns:a16="http://schemas.microsoft.com/office/drawing/2014/main" id="{098D6D8E-E948-4D4C-84F3-6AF6CC6C2C7B}"/>
              </a:ext>
            </a:extLst>
          </p:cNvPr>
          <p:cNvPicPr>
            <a:picLocks noChangeAspect="1" noChangeArrowheads="1"/>
          </p:cNvPicPr>
          <p:nvPr userDrawn="1"/>
        </p:nvPicPr>
        <p:blipFill>
          <a:blip r:embed="rId13"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
        <p:nvSpPr>
          <p:cNvPr id="12" name="EYP-Draft">
            <a:extLst>
              <a:ext uri="{FF2B5EF4-FFF2-40B4-BE49-F238E27FC236}">
                <a16:creationId xmlns:a16="http://schemas.microsoft.com/office/drawing/2014/main" id="{E5F7C9DB-5F99-4519-83EF-D92BEDA02D19}"/>
              </a:ext>
            </a:extLst>
          </p:cNvPr>
          <p:cNvSpPr/>
          <p:nvPr userDrawn="1">
            <p:custDataLst>
              <p:tags r:id="rId9"/>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10658179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5CDB18-C1A2-4AB2-8615-4CEEA82271D9}"/>
              </a:ext>
            </a:extLst>
          </p:cNvPr>
          <p:cNvGraphicFramePr>
            <a:graphicFrameLocks noChangeAspect="1"/>
          </p:cNvGraphicFramePr>
          <p:nvPr userDrawn="1">
            <p:custDataLst>
              <p:tags r:id="rId1"/>
            </p:custDataLst>
            <p:extLst>
              <p:ext uri="{D42A27DB-BD31-4B8C-83A1-F6EECF244321}">
                <p14:modId xmlns:p14="http://schemas.microsoft.com/office/powerpoint/2010/main" val="1027848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3" name="Object 2" hidden="1">
                        <a:extLst>
                          <a:ext uri="{FF2B5EF4-FFF2-40B4-BE49-F238E27FC236}">
                            <a16:creationId xmlns:a16="http://schemas.microsoft.com/office/drawing/2014/main" id="{115CDB18-C1A2-4AB2-8615-4CEEA82271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liennummernplatzhalter 1"/>
          <p:cNvSpPr>
            <a:spLocks noGrp="1"/>
          </p:cNvSpPr>
          <p:nvPr>
            <p:ph type="sldNum" sz="quarter" idx="10"/>
          </p:nvPr>
        </p:nvSpPr>
        <p:spPr/>
        <p:txBody>
          <a:bodyPr/>
          <a:lstStyle>
            <a:lvl1pPr>
              <a:defRPr/>
            </a:lvl1pPr>
          </a:lstStyle>
          <a:p>
            <a:fld id="{ABAC9611-BD30-46E2-A07B-CD5A3A7C3066}" type="slidenum">
              <a:rPr lang="de-AT"/>
              <a:pPr/>
              <a:t>‹Nr.›</a:t>
            </a:fld>
            <a:endParaRPr lang="de-AT"/>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994660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de-DE">
              <a:solidFill>
                <a:srgbClr val="F0F0F0"/>
              </a:solidFill>
              <a:latin typeface="Arial" panose="020B0604020202020204" pitchFamily="34" charset="0"/>
            </a:endParaRP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4"/>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de-DE"/>
              <a:t>Add tracker</a:t>
            </a:r>
          </a:p>
        </p:txBody>
      </p:sp>
      <p:sp>
        <p:nvSpPr>
          <p:cNvPr id="11" name="2. Slide Title">
            <a:extLst>
              <a:ext uri="{FF2B5EF4-FFF2-40B4-BE49-F238E27FC236}">
                <a16:creationId xmlns:a16="http://schemas.microsoft.com/office/drawing/2014/main" id="{65422099-C042-4A9C-BCAB-46C360970C43}"/>
              </a:ext>
            </a:extLst>
          </p:cNvPr>
          <p:cNvSpPr>
            <a:spLocks noGrp="1"/>
          </p:cNvSpPr>
          <p:nvPr>
            <p:ph type="title"/>
            <p:custDataLst>
              <p:tags r:id="rId5"/>
            </p:custDataLst>
          </p:nvPr>
        </p:nvSpPr>
        <p:spPr>
          <a:xfrm>
            <a:off x="554736" y="2798019"/>
            <a:ext cx="3465576" cy="715581"/>
          </a:xfrm>
          <a:prstGeom prst="rect">
            <a:avLst/>
          </a:prstGeom>
        </p:spPr>
        <p:txBody>
          <a:bodyPr vert="horz" wrap="square" anchor="b">
            <a:noAutofit/>
          </a:bodyPr>
          <a:lstStyle>
            <a:lvl1pPr algn="l" rtl="0">
              <a:defRPr>
                <a:solidFill>
                  <a:schemeClr val="tx1"/>
                </a:solidFill>
              </a:defRPr>
            </a:lvl1pPr>
          </a:lstStyle>
          <a:p>
            <a:r>
              <a:rPr lang="de-DE"/>
              <a:t>Click to edit Master title style</a:t>
            </a:r>
          </a:p>
        </p:txBody>
      </p:sp>
      <p:sp>
        <p:nvSpPr>
          <p:cNvPr id="12" name="3. Subtitle">
            <a:extLst>
              <a:ext uri="{FF2B5EF4-FFF2-40B4-BE49-F238E27FC236}">
                <a16:creationId xmlns:a16="http://schemas.microsoft.com/office/drawing/2014/main" id="{DC31D257-5373-4559-A80A-E2DB6F2BA5E6}"/>
              </a:ext>
            </a:extLst>
          </p:cNvPr>
          <p:cNvSpPr>
            <a:spLocks noGrp="1"/>
          </p:cNvSpPr>
          <p:nvPr>
            <p:ph type="subTitle" idx="1" hasCustomPrompt="1"/>
            <p:custDataLst>
              <p:tags r:id="rId6"/>
            </p:custDataLst>
          </p:nvPr>
        </p:nvSpPr>
        <p:spPr>
          <a:xfrm>
            <a:off x="554736" y="3661200"/>
            <a:ext cx="3465576" cy="246221"/>
          </a:xfrm>
          <a:prstGeom prst="rect">
            <a:avLst/>
          </a:prstGeom>
        </p:spPr>
        <p:txBody>
          <a:bodyPr wrap="square" anchor="ctr">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de-DE"/>
              <a:t>Click to edit Master style</a:t>
            </a:r>
          </a:p>
        </p:txBody>
      </p:sp>
      <p:sp>
        <p:nvSpPr>
          <p:cNvPr id="13" name="Slide Number">
            <a:extLst>
              <a:ext uri="{FF2B5EF4-FFF2-40B4-BE49-F238E27FC236}">
                <a16:creationId xmlns:a16="http://schemas.microsoft.com/office/drawing/2014/main" id="{00B3E602-68A7-49AA-BD6E-A7F75C8FE364}"/>
              </a:ext>
            </a:extLst>
          </p:cNvPr>
          <p:cNvSpPr>
            <a:spLocks noChangeArrowheads="1"/>
          </p:cNvSpPr>
          <p:nvPr userDrawn="1">
            <p:custDataLst>
              <p:tags r:id="rId7"/>
            </p:custDataLst>
          </p:nvPr>
        </p:nvSpPr>
        <p:spPr bwMode="black">
          <a:xfrm>
            <a:off x="554736" y="6493992"/>
            <a:ext cx="144270"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14" name="5. Source" hidden="1">
            <a:extLst>
              <a:ext uri="{FF2B5EF4-FFF2-40B4-BE49-F238E27FC236}">
                <a16:creationId xmlns:a16="http://schemas.microsoft.com/office/drawing/2014/main" id="{9A83E5E1-A0A5-4B37-A8C3-3EB22728233E}"/>
              </a:ext>
            </a:extLst>
          </p:cNvPr>
          <p:cNvSpPr txBox="1"/>
          <p:nvPr userDrawn="1">
            <p:custDataLst>
              <p:tags r:id="rId8"/>
            </p:custDataLst>
          </p:nvPr>
        </p:nvSpPr>
        <p:spPr>
          <a:xfrm>
            <a:off x="840485" y="6501686"/>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5" name="Picture 24">
            <a:extLst>
              <a:ext uri="{FF2B5EF4-FFF2-40B4-BE49-F238E27FC236}">
                <a16:creationId xmlns:a16="http://schemas.microsoft.com/office/drawing/2014/main" id="{24A58140-676F-450C-8696-40A41AC9C4D2}"/>
              </a:ext>
            </a:extLst>
          </p:cNvPr>
          <p:cNvPicPr>
            <a:picLocks noChangeAspect="1" noChangeArrowheads="1"/>
          </p:cNvPicPr>
          <p:nvPr userDrawn="1"/>
        </p:nvPicPr>
        <p:blipFill>
          <a:blip r:embed="rId13"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
        <p:nvSpPr>
          <p:cNvPr id="17" name="EYP-Draft">
            <a:extLst>
              <a:ext uri="{FF2B5EF4-FFF2-40B4-BE49-F238E27FC236}">
                <a16:creationId xmlns:a16="http://schemas.microsoft.com/office/drawing/2014/main" id="{D9D56B27-C3AB-49E3-8C99-AB795831E4D4}"/>
              </a:ext>
            </a:extLst>
          </p:cNvPr>
          <p:cNvSpPr/>
          <p:nvPr userDrawn="1">
            <p:custDataLst>
              <p:tags r:id="rId9"/>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349457665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366178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4"/>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de-DE"/>
              <a:t>Add tracker</a:t>
            </a:r>
          </a:p>
        </p:txBody>
      </p:sp>
      <p:sp>
        <p:nvSpPr>
          <p:cNvPr id="11" name="2. Slide Title">
            <a:extLst>
              <a:ext uri="{FF2B5EF4-FFF2-40B4-BE49-F238E27FC236}">
                <a16:creationId xmlns:a16="http://schemas.microsoft.com/office/drawing/2014/main" id="{72E29792-5177-484A-8286-18312B2B86F3}"/>
              </a:ext>
            </a:extLst>
          </p:cNvPr>
          <p:cNvSpPr>
            <a:spLocks noGrp="1"/>
          </p:cNvSpPr>
          <p:nvPr>
            <p:ph type="title"/>
            <p:custDataLst>
              <p:tags r:id="rId5"/>
            </p:custDataLst>
          </p:nvPr>
        </p:nvSpPr>
        <p:spPr>
          <a:xfrm>
            <a:off x="554736" y="2743200"/>
            <a:ext cx="2514600" cy="769441"/>
          </a:xfrm>
        </p:spPr>
        <p:txBody>
          <a:bodyPr vert="horz" anchor="b">
            <a:noAutofit/>
          </a:bodyPr>
          <a:lstStyle>
            <a:lvl1pPr rtl="0">
              <a:defRPr>
                <a:solidFill>
                  <a:schemeClr val="tx1"/>
                </a:solidFill>
              </a:defRPr>
            </a:lvl1pPr>
          </a:lstStyle>
          <a:p>
            <a:r>
              <a:rPr lang="de-DE"/>
              <a:t>Click to edit Master title</a:t>
            </a:r>
          </a:p>
        </p:txBody>
      </p:sp>
      <p:sp>
        <p:nvSpPr>
          <p:cNvPr id="12" name="3. Subtitle">
            <a:extLst>
              <a:ext uri="{FF2B5EF4-FFF2-40B4-BE49-F238E27FC236}">
                <a16:creationId xmlns:a16="http://schemas.microsoft.com/office/drawing/2014/main" id="{7295FFEC-1015-4F08-AB0B-04A502DE4C25}"/>
              </a:ext>
            </a:extLst>
          </p:cNvPr>
          <p:cNvSpPr>
            <a:spLocks noGrp="1"/>
          </p:cNvSpPr>
          <p:nvPr>
            <p:ph type="subTitle" idx="1" hasCustomPrompt="1"/>
            <p:custDataLst>
              <p:tags r:id="rId6"/>
            </p:custDataLst>
          </p:nvPr>
        </p:nvSpPr>
        <p:spPr>
          <a:xfrm>
            <a:off x="554736" y="3659644"/>
            <a:ext cx="2514600" cy="246221"/>
          </a:xfrm>
          <a:prstGeom prst="rect">
            <a:avLst/>
          </a:prstGeom>
        </p:spPr>
        <p:txBody>
          <a:bodyPr wrap="square" anchor="t" anchorCtr="0">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de-DE"/>
              <a:t>Click to edit subtitle style</a:t>
            </a:r>
          </a:p>
        </p:txBody>
      </p:sp>
      <p:sp>
        <p:nvSpPr>
          <p:cNvPr id="13" name="Slide Number">
            <a:extLst>
              <a:ext uri="{FF2B5EF4-FFF2-40B4-BE49-F238E27FC236}">
                <a16:creationId xmlns:a16="http://schemas.microsoft.com/office/drawing/2014/main" id="{E9AC092D-A23E-4CA2-9373-8BD95B67BB1D}"/>
              </a:ext>
            </a:extLst>
          </p:cNvPr>
          <p:cNvSpPr>
            <a:spLocks noChangeArrowheads="1"/>
          </p:cNvSpPr>
          <p:nvPr userDrawn="1">
            <p:custDataLst>
              <p:tags r:id="rId7"/>
            </p:custDataLst>
          </p:nvPr>
        </p:nvSpPr>
        <p:spPr bwMode="black">
          <a:xfrm>
            <a:off x="554736" y="6493992"/>
            <a:ext cx="144270"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14" name="5. Source" hidden="1">
            <a:extLst>
              <a:ext uri="{FF2B5EF4-FFF2-40B4-BE49-F238E27FC236}">
                <a16:creationId xmlns:a16="http://schemas.microsoft.com/office/drawing/2014/main" id="{1D009D19-62D4-4D14-A283-2B109E1F20D5}"/>
              </a:ext>
            </a:extLst>
          </p:cNvPr>
          <p:cNvSpPr txBox="1"/>
          <p:nvPr userDrawn="1">
            <p:custDataLst>
              <p:tags r:id="rId8"/>
            </p:custDataLst>
          </p:nvPr>
        </p:nvSpPr>
        <p:spPr>
          <a:xfrm>
            <a:off x="840485" y="6501686"/>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pic>
        <p:nvPicPr>
          <p:cNvPr id="15" name="Picture 24">
            <a:extLst>
              <a:ext uri="{FF2B5EF4-FFF2-40B4-BE49-F238E27FC236}">
                <a16:creationId xmlns:a16="http://schemas.microsoft.com/office/drawing/2014/main" id="{6418485F-FC4D-4A3F-AF01-1B629D1877B4}"/>
              </a:ext>
            </a:extLst>
          </p:cNvPr>
          <p:cNvPicPr>
            <a:picLocks noChangeAspect="1" noChangeArrowheads="1"/>
          </p:cNvPicPr>
          <p:nvPr userDrawn="1"/>
        </p:nvPicPr>
        <p:blipFill>
          <a:blip r:embed="rId13"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
        <p:nvSpPr>
          <p:cNvPr id="17" name="EYP-Draft">
            <a:extLst>
              <a:ext uri="{FF2B5EF4-FFF2-40B4-BE49-F238E27FC236}">
                <a16:creationId xmlns:a16="http://schemas.microsoft.com/office/drawing/2014/main" id="{4FC65379-6ECC-4AB4-ADEF-CF9654E73D04}"/>
              </a:ext>
            </a:extLst>
          </p:cNvPr>
          <p:cNvSpPr/>
          <p:nvPr userDrawn="1">
            <p:custDataLst>
              <p:tags r:id="rId9"/>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165603347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4112654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903732"/>
            <a:ext cx="11082528" cy="357790"/>
          </a:xfrm>
        </p:spPr>
        <p:txBody>
          <a:bodyPr vert="horz" wrap="square">
            <a:spAutoFit/>
          </a:bodyPr>
          <a:lstStyle>
            <a:lvl1pPr rtl="0">
              <a:defRPr/>
            </a:lvl1pPr>
          </a:lstStyle>
          <a:p>
            <a:r>
              <a:rPr lang="de-DE"/>
              <a:t>Click to edit Master title style</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grpSp>
        <p:nvGrpSpPr>
          <p:cNvPr id="9" name="Group 8">
            <a:extLst>
              <a:ext uri="{FF2B5EF4-FFF2-40B4-BE49-F238E27FC236}">
                <a16:creationId xmlns:a16="http://schemas.microsoft.com/office/drawing/2014/main" id="{D8D25CB6-E932-4140-80E7-5D6DC06A3318}"/>
              </a:ext>
            </a:extLst>
          </p:cNvPr>
          <p:cNvGrpSpPr/>
          <p:nvPr userDrawn="1"/>
        </p:nvGrpSpPr>
        <p:grpSpPr>
          <a:xfrm>
            <a:off x="10527863" y="6332378"/>
            <a:ext cx="1109401" cy="346688"/>
            <a:chOff x="10527863" y="6332378"/>
            <a:chExt cx="1109401" cy="346688"/>
          </a:xfrm>
        </p:grpSpPr>
        <p:pic>
          <p:nvPicPr>
            <p:cNvPr id="11" name="Picture 24">
              <a:extLst>
                <a:ext uri="{FF2B5EF4-FFF2-40B4-BE49-F238E27FC236}">
                  <a16:creationId xmlns:a16="http://schemas.microsoft.com/office/drawing/2014/main" id="{B6C7E628-2C08-4995-8B27-915A6C698F73}"/>
                </a:ext>
              </a:extLst>
            </p:cNvPr>
            <p:cNvPicPr>
              <a:picLocks noChangeAspect="1" noChangeArrowheads="1"/>
            </p:cNvPicPr>
            <p:nvPr userDrawn="1"/>
          </p:nvPicPr>
          <p:blipFill rotWithShape="1">
            <a:blip r:embed="rId11" cstate="print">
              <a:extLst>
                <a:ext uri="{28A0092B-C50C-407E-A947-70E740481C1C}">
                  <a14:useLocalDpi xmlns:a14="http://schemas.microsoft.com/office/drawing/2010/main"/>
                </a:ext>
              </a:extLst>
            </a:blip>
            <a:srcRect b="18447"/>
            <a:stretch/>
          </p:blipFill>
          <p:spPr bwMode="auto">
            <a:xfrm>
              <a:off x="10527863" y="6332378"/>
              <a:ext cx="1109401" cy="282735"/>
            </a:xfrm>
            <a:prstGeom prst="rect">
              <a:avLst/>
            </a:prstGeom>
            <a:noFill/>
          </p:spPr>
        </p:pic>
        <p:pic>
          <p:nvPicPr>
            <p:cNvPr id="12" name="Picture 24">
              <a:extLst>
                <a:ext uri="{FF2B5EF4-FFF2-40B4-BE49-F238E27FC236}">
                  <a16:creationId xmlns:a16="http://schemas.microsoft.com/office/drawing/2014/main" id="{D855C707-DB57-48A2-AFE9-3A14B0BE407F}"/>
                </a:ext>
              </a:extLst>
            </p:cNvPr>
            <p:cNvPicPr>
              <a:picLocks noChangeAspect="1" noChangeArrowheads="1"/>
            </p:cNvPicPr>
            <p:nvPr userDrawn="1"/>
          </p:nvPicPr>
          <p:blipFill rotWithShape="1">
            <a:blip r:embed="rId11" cstate="print">
              <a:duotone>
                <a:schemeClr val="accent4">
                  <a:shade val="45000"/>
                  <a:satMod val="135000"/>
                </a:schemeClr>
                <a:prstClr val="white"/>
              </a:duotone>
              <a:lum bright="100000"/>
              <a:extLst>
                <a:ext uri="{28A0092B-C50C-407E-A947-70E740481C1C}">
                  <a14:useLocalDpi xmlns:a14="http://schemas.microsoft.com/office/drawing/2010/main"/>
                </a:ext>
              </a:extLst>
            </a:blip>
            <a:srcRect t="82240"/>
            <a:stretch/>
          </p:blipFill>
          <p:spPr bwMode="auto">
            <a:xfrm>
              <a:off x="10527863" y="6617494"/>
              <a:ext cx="1109401" cy="61572"/>
            </a:xfrm>
            <a:prstGeom prst="rect">
              <a:avLst/>
            </a:prstGeom>
            <a:noFill/>
          </p:spPr>
        </p:pic>
      </p:grpSp>
      <p:sp>
        <p:nvSpPr>
          <p:cNvPr id="13" name="Slide Number">
            <a:extLst>
              <a:ext uri="{FF2B5EF4-FFF2-40B4-BE49-F238E27FC236}">
                <a16:creationId xmlns:a16="http://schemas.microsoft.com/office/drawing/2014/main" id="{5B8B18F1-6DAB-42FD-AC0A-ABF33F2F7DC7}"/>
              </a:ext>
            </a:extLst>
          </p:cNvPr>
          <p:cNvSpPr>
            <a:spLocks noChangeArrowheads="1"/>
          </p:cNvSpPr>
          <p:nvPr userDrawn="1">
            <p:custDataLst>
              <p:tags r:id="rId5"/>
            </p:custDataLst>
          </p:nvPr>
        </p:nvSpPr>
        <p:spPr bwMode="black">
          <a:xfrm>
            <a:off x="554736" y="6493992"/>
            <a:ext cx="144270"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14" name="5. Source" hidden="1">
            <a:extLst>
              <a:ext uri="{FF2B5EF4-FFF2-40B4-BE49-F238E27FC236}">
                <a16:creationId xmlns:a16="http://schemas.microsoft.com/office/drawing/2014/main" id="{4F08B73C-7254-4656-988C-883C457C152D}"/>
              </a:ext>
            </a:extLst>
          </p:cNvPr>
          <p:cNvSpPr txBox="1"/>
          <p:nvPr userDrawn="1">
            <p:custDataLst>
              <p:tags r:id="rId6"/>
            </p:custDataLst>
          </p:nvPr>
        </p:nvSpPr>
        <p:spPr>
          <a:xfrm>
            <a:off x="840485" y="6501686"/>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
        <p:nvSpPr>
          <p:cNvPr id="16" name="EYP-Draft">
            <a:extLst>
              <a:ext uri="{FF2B5EF4-FFF2-40B4-BE49-F238E27FC236}">
                <a16:creationId xmlns:a16="http://schemas.microsoft.com/office/drawing/2014/main" id="{2C25C764-3F05-4D00-A679-FA0E3D3C824D}"/>
              </a:ext>
            </a:extLst>
          </p:cNvPr>
          <p:cNvSpPr/>
          <p:nvPr userDrawn="1">
            <p:custDataLst>
              <p:tags r:id="rId7"/>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412662470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3961238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a:t>Add tracker</a:t>
            </a:r>
          </a:p>
        </p:txBody>
      </p:sp>
      <p:grpSp>
        <p:nvGrpSpPr>
          <p:cNvPr id="8" name="Group 7">
            <a:extLst>
              <a:ext uri="{FF2B5EF4-FFF2-40B4-BE49-F238E27FC236}">
                <a16:creationId xmlns:a16="http://schemas.microsoft.com/office/drawing/2014/main" id="{A487255D-362F-43C4-AE52-C2688AFDE419}"/>
              </a:ext>
            </a:extLst>
          </p:cNvPr>
          <p:cNvGrpSpPr/>
          <p:nvPr userDrawn="1"/>
        </p:nvGrpSpPr>
        <p:grpSpPr>
          <a:xfrm>
            <a:off x="10527863" y="6332378"/>
            <a:ext cx="1109401" cy="346688"/>
            <a:chOff x="10527863" y="6332378"/>
            <a:chExt cx="1109401" cy="346688"/>
          </a:xfrm>
        </p:grpSpPr>
        <p:pic>
          <p:nvPicPr>
            <p:cNvPr id="9" name="Picture 24">
              <a:extLst>
                <a:ext uri="{FF2B5EF4-FFF2-40B4-BE49-F238E27FC236}">
                  <a16:creationId xmlns:a16="http://schemas.microsoft.com/office/drawing/2014/main" id="{9ACB7240-8991-41B5-80D3-9DAC67710D29}"/>
                </a:ext>
              </a:extLst>
            </p:cNvPr>
            <p:cNvPicPr>
              <a:picLocks noChangeAspect="1" noChangeArrowheads="1"/>
            </p:cNvPicPr>
            <p:nvPr userDrawn="1"/>
          </p:nvPicPr>
          <p:blipFill rotWithShape="1">
            <a:blip r:embed="rId9" cstate="print">
              <a:extLst>
                <a:ext uri="{28A0092B-C50C-407E-A947-70E740481C1C}">
                  <a14:useLocalDpi xmlns:a14="http://schemas.microsoft.com/office/drawing/2010/main"/>
                </a:ext>
              </a:extLst>
            </a:blip>
            <a:srcRect b="18447"/>
            <a:stretch/>
          </p:blipFill>
          <p:spPr bwMode="auto">
            <a:xfrm>
              <a:off x="10527863" y="6332378"/>
              <a:ext cx="1109401" cy="282735"/>
            </a:xfrm>
            <a:prstGeom prst="rect">
              <a:avLst/>
            </a:prstGeom>
            <a:noFill/>
          </p:spPr>
        </p:pic>
        <p:pic>
          <p:nvPicPr>
            <p:cNvPr id="10" name="Picture 24">
              <a:extLst>
                <a:ext uri="{FF2B5EF4-FFF2-40B4-BE49-F238E27FC236}">
                  <a16:creationId xmlns:a16="http://schemas.microsoft.com/office/drawing/2014/main" id="{A89A6603-039D-4125-B78C-E13F1B281420}"/>
                </a:ext>
              </a:extLst>
            </p:cNvPr>
            <p:cNvPicPr>
              <a:picLocks noChangeAspect="1" noChangeArrowheads="1"/>
            </p:cNvPicPr>
            <p:nvPr userDrawn="1"/>
          </p:nvPicPr>
          <p:blipFill rotWithShape="1">
            <a:blip r:embed="rId9" cstate="print">
              <a:duotone>
                <a:schemeClr val="accent4">
                  <a:shade val="45000"/>
                  <a:satMod val="135000"/>
                </a:schemeClr>
                <a:prstClr val="white"/>
              </a:duotone>
              <a:lum bright="100000"/>
              <a:extLst>
                <a:ext uri="{28A0092B-C50C-407E-A947-70E740481C1C}">
                  <a14:useLocalDpi xmlns:a14="http://schemas.microsoft.com/office/drawing/2010/main"/>
                </a:ext>
              </a:extLst>
            </a:blip>
            <a:srcRect t="82240"/>
            <a:stretch/>
          </p:blipFill>
          <p:spPr bwMode="auto">
            <a:xfrm>
              <a:off x="10527863" y="6617494"/>
              <a:ext cx="1109401" cy="61572"/>
            </a:xfrm>
            <a:prstGeom prst="rect">
              <a:avLst/>
            </a:prstGeom>
            <a:noFill/>
          </p:spPr>
        </p:pic>
      </p:grpSp>
      <p:sp>
        <p:nvSpPr>
          <p:cNvPr id="11" name="Slide Number">
            <a:extLst>
              <a:ext uri="{FF2B5EF4-FFF2-40B4-BE49-F238E27FC236}">
                <a16:creationId xmlns:a16="http://schemas.microsoft.com/office/drawing/2014/main" id="{F1A0CB9B-4847-4FA2-B4CF-1D7A5B84E3E8}"/>
              </a:ext>
            </a:extLst>
          </p:cNvPr>
          <p:cNvSpPr>
            <a:spLocks noChangeArrowheads="1"/>
          </p:cNvSpPr>
          <p:nvPr userDrawn="1">
            <p:custDataLst>
              <p:tags r:id="rId3"/>
            </p:custDataLst>
          </p:nvPr>
        </p:nvSpPr>
        <p:spPr bwMode="black">
          <a:xfrm>
            <a:off x="554736" y="6493992"/>
            <a:ext cx="144270"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Nr.›</a:t>
            </a:fld>
            <a:endParaRPr lang="de-DE"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311AF996-5569-468B-A5EC-7160684B346D}"/>
              </a:ext>
            </a:extLst>
          </p:cNvPr>
          <p:cNvSpPr txBox="1"/>
          <p:nvPr userDrawn="1">
            <p:custDataLst>
              <p:tags r:id="rId4"/>
            </p:custDataLst>
          </p:nvPr>
        </p:nvSpPr>
        <p:spPr>
          <a:xfrm>
            <a:off x="840485" y="6501686"/>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sp>
        <p:nvSpPr>
          <p:cNvPr id="14" name="EYP-Draft">
            <a:extLst>
              <a:ext uri="{FF2B5EF4-FFF2-40B4-BE49-F238E27FC236}">
                <a16:creationId xmlns:a16="http://schemas.microsoft.com/office/drawing/2014/main" id="{27C339C3-B9A8-4C39-9FCA-B70877C65CDD}"/>
              </a:ext>
            </a:extLst>
          </p:cNvPr>
          <p:cNvSpPr/>
          <p:nvPr userDrawn="1">
            <p:custDataLst>
              <p:tags r:id="rId5"/>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78429280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3313837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5. Source" hidden="1">
            <a:extLst>
              <a:ext uri="{FF2B5EF4-FFF2-40B4-BE49-F238E27FC236}">
                <a16:creationId xmlns:a16="http://schemas.microsoft.com/office/drawing/2014/main" id="{8139B82C-4269-4880-B8A3-53A2E3640924}"/>
              </a:ext>
            </a:extLst>
          </p:cNvPr>
          <p:cNvSpPr txBox="1"/>
          <p:nvPr userDrawn="1">
            <p:custDataLst>
              <p:tags r:id="rId2"/>
            </p:custDataLst>
          </p:nvPr>
        </p:nvSpPr>
        <p:spPr>
          <a:xfrm>
            <a:off x="840485" y="6501686"/>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Quelle: …</a:t>
            </a:r>
          </a:p>
        </p:txBody>
      </p:sp>
      <p:grpSp>
        <p:nvGrpSpPr>
          <p:cNvPr id="3" name="Group 2">
            <a:extLst>
              <a:ext uri="{FF2B5EF4-FFF2-40B4-BE49-F238E27FC236}">
                <a16:creationId xmlns:a16="http://schemas.microsoft.com/office/drawing/2014/main" id="{BCACFCB9-E497-4F80-B7B9-23F73A640E86}"/>
              </a:ext>
            </a:extLst>
          </p:cNvPr>
          <p:cNvGrpSpPr/>
          <p:nvPr userDrawn="1"/>
        </p:nvGrpSpPr>
        <p:grpSpPr>
          <a:xfrm>
            <a:off x="3933827" y="2753321"/>
            <a:ext cx="4324348" cy="1351358"/>
            <a:chOff x="3933827" y="2753321"/>
            <a:chExt cx="4324348" cy="1351358"/>
          </a:xfrm>
        </p:grpSpPr>
        <p:pic>
          <p:nvPicPr>
            <p:cNvPr id="6" name="Picture 24">
              <a:extLst>
                <a:ext uri="{FF2B5EF4-FFF2-40B4-BE49-F238E27FC236}">
                  <a16:creationId xmlns:a16="http://schemas.microsoft.com/office/drawing/2014/main" id="{215E7EBE-A299-4C53-BF85-59FEC9FA4589}"/>
                </a:ext>
              </a:extLst>
            </p:cNvPr>
            <p:cNvPicPr>
              <a:picLocks noChangeAspect="1" noChangeArrowheads="1"/>
            </p:cNvPicPr>
            <p:nvPr userDrawn="1"/>
          </p:nvPicPr>
          <p:blipFill rotWithShape="1">
            <a:blip r:embed="rId7" cstate="print">
              <a:extLst>
                <a:ext uri="{28A0092B-C50C-407E-A947-70E740481C1C}">
                  <a14:useLocalDpi xmlns:a14="http://schemas.microsoft.com/office/drawing/2010/main"/>
                </a:ext>
              </a:extLst>
            </a:blip>
            <a:srcRect b="19551"/>
            <a:stretch/>
          </p:blipFill>
          <p:spPr bwMode="auto">
            <a:xfrm>
              <a:off x="3933827" y="2753321"/>
              <a:ext cx="4324348" cy="1087159"/>
            </a:xfrm>
            <a:prstGeom prst="rect">
              <a:avLst/>
            </a:prstGeom>
            <a:noFill/>
          </p:spPr>
        </p:pic>
        <p:pic>
          <p:nvPicPr>
            <p:cNvPr id="7" name="Picture 24">
              <a:extLst>
                <a:ext uri="{FF2B5EF4-FFF2-40B4-BE49-F238E27FC236}">
                  <a16:creationId xmlns:a16="http://schemas.microsoft.com/office/drawing/2014/main" id="{23115F8D-86A0-4B9B-BA7E-75951C2C732B}"/>
                </a:ext>
              </a:extLst>
            </p:cNvPr>
            <p:cNvPicPr>
              <a:picLocks noChangeAspect="1" noChangeArrowheads="1"/>
            </p:cNvPicPr>
            <p:nvPr userDrawn="1"/>
          </p:nvPicPr>
          <p:blipFill rotWithShape="1">
            <a:blip r:embed="rId7" cstate="print">
              <a:duotone>
                <a:schemeClr val="accent4">
                  <a:shade val="45000"/>
                  <a:satMod val="135000"/>
                </a:schemeClr>
                <a:prstClr val="white"/>
              </a:duotone>
              <a:lum bright="100000"/>
              <a:extLst>
                <a:ext uri="{28A0092B-C50C-407E-A947-70E740481C1C}">
                  <a14:useLocalDpi xmlns:a14="http://schemas.microsoft.com/office/drawing/2010/main"/>
                </a:ext>
              </a:extLst>
            </a:blip>
            <a:srcRect t="82987"/>
            <a:stretch/>
          </p:blipFill>
          <p:spPr bwMode="auto">
            <a:xfrm>
              <a:off x="3933827" y="3874770"/>
              <a:ext cx="4324348" cy="229909"/>
            </a:xfrm>
            <a:prstGeom prst="rect">
              <a:avLst/>
            </a:prstGeom>
            <a:noFill/>
          </p:spPr>
        </p:pic>
      </p:grpSp>
      <p:sp>
        <p:nvSpPr>
          <p:cNvPr id="9" name="EYP-Draft">
            <a:extLst>
              <a:ext uri="{FF2B5EF4-FFF2-40B4-BE49-F238E27FC236}">
                <a16:creationId xmlns:a16="http://schemas.microsoft.com/office/drawing/2014/main" id="{B48B075A-492A-4E2C-B44E-9F028EE1A20C}"/>
              </a:ext>
            </a:extLst>
          </p:cNvPr>
          <p:cNvSpPr/>
          <p:nvPr userDrawn="1">
            <p:custDataLst>
              <p:tags r:id="rId3"/>
            </p:custDataLst>
          </p:nvPr>
        </p:nvSpPr>
        <p:spPr>
          <a:xfrm>
            <a:off x="6032500" y="0"/>
            <a:ext cx="127000" cy="130797"/>
          </a:xfrm>
          <a:prstGeom prst="rect">
            <a:avLst/>
          </a:prstGeom>
          <a:noFill/>
          <a:ln w="12700" cap="flat" cmpd="sng" algn="ctr">
            <a:noFill/>
            <a:prstDash val="solid"/>
          </a:ln>
          <a:effectLst/>
          <a:extLst>
            <a:ext uri="{909E8E84-426E-40DD-AFC4-6F175D3DCCD1}">
              <a14:hiddenFill xmlns:a14="http://schemas.microsoft.com/office/drawing/2010/main">
                <a:solidFill>
                  <a:schemeClr val="bg1">
                    <a:lumMod val="85000"/>
                  </a:schemeClr>
                </a:solidFill>
              </a14:hiddenFill>
            </a:ext>
            <a:ext uri="{91240B29-F687-4F45-9708-019B960494DF}">
              <a14:hiddenLine xmlns:a14="http://schemas.microsoft.com/office/drawing/2010/main" w="12700" cap="flat" cmpd="sng" algn="ctr">
                <a:solidFill>
                  <a:srgbClr val="4C5D68"/>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50800" rIns="0" bIns="35941" rtlCol="0" anchor="ctr"/>
          <a:lstStyle/>
          <a:p>
            <a:pPr algn="ctr"/>
            <a:r>
              <a:rPr lang="en-US" sz="1000" b="1">
                <a:solidFill>
                  <a:srgbClr val="F04C3E"/>
                </a:solidFill>
                <a:latin typeface="Arial" panose="020B0604020202020204" pitchFamily="34" charset="0"/>
                <a:ea typeface="Verdana" pitchFamily="34" charset="0"/>
                <a:cs typeface="Verdana" pitchFamily="34" charset="0"/>
              </a:rPr>
              <a:t>Working draft</a:t>
            </a:r>
          </a:p>
        </p:txBody>
      </p:sp>
    </p:spTree>
    <p:extLst>
      <p:ext uri="{BB962C8B-B14F-4D97-AF65-F5344CB8AC3E}">
        <p14:creationId xmlns:p14="http://schemas.microsoft.com/office/powerpoint/2010/main" val="8500699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648706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4219883"/>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1400" dirty="0"/>
            </a:lvl1pPr>
          </a:lstStyle>
          <a:p>
            <a:pPr lvl="0">
              <a:buNone/>
            </a:pPr>
            <a:r>
              <a:rPr lang="de-DE"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352650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2000" dirty="0"/>
            </a:lvl1pPr>
          </a:lstStyle>
          <a:p>
            <a:pPr lvl="0">
              <a:buNone/>
            </a:pPr>
            <a:r>
              <a:rPr lang="en-US"/>
              <a:t>Click to edit Master subtitle style</a:t>
            </a:r>
            <a:endParaRPr lang="de-DE"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2775732"/>
            <a:ext cx="9726795" cy="62972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de-DE" sz="4400" b="1" dirty="0"/>
            </a:lvl1pPr>
          </a:lstStyle>
          <a:p>
            <a:pPr lvl="0"/>
            <a:r>
              <a:rPr lang="en-US"/>
              <a:t>Click to edit Master title style</a:t>
            </a:r>
            <a:endParaRPr lang="de-DE" dirty="0"/>
          </a:p>
        </p:txBody>
      </p:sp>
      <p:grpSp>
        <p:nvGrpSpPr>
          <p:cNvPr id="4" name="Group 3">
            <a:extLst>
              <a:ext uri="{FF2B5EF4-FFF2-40B4-BE49-F238E27FC236}">
                <a16:creationId xmlns:a16="http://schemas.microsoft.com/office/drawing/2014/main" id="{838CDDEC-3074-4ADE-9430-F25148352A4E}"/>
              </a:ext>
            </a:extLst>
          </p:cNvPr>
          <p:cNvGrpSpPr/>
          <p:nvPr userDrawn="1"/>
        </p:nvGrpSpPr>
        <p:grpSpPr>
          <a:xfrm>
            <a:off x="551941" y="883130"/>
            <a:ext cx="1150957" cy="499731"/>
            <a:chOff x="814919" y="883130"/>
            <a:chExt cx="1150957" cy="499731"/>
          </a:xfrm>
        </p:grpSpPr>
        <p:cxnSp>
          <p:nvCxnSpPr>
            <p:cNvPr id="11" name="Straight Connector 10">
              <a:extLst>
                <a:ext uri="{FF2B5EF4-FFF2-40B4-BE49-F238E27FC236}">
                  <a16:creationId xmlns:a16="http://schemas.microsoft.com/office/drawing/2014/main" id="{3197A273-385D-44C6-B9D2-2EAE2CF3BF77}"/>
                </a:ext>
              </a:extLst>
            </p:cNvPr>
            <p:cNvCxnSpPr/>
            <p:nvPr/>
          </p:nvCxnSpPr>
          <p:spPr>
            <a:xfrm>
              <a:off x="814919" y="883130"/>
              <a:ext cx="11509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6475FBA-C050-4B6B-A237-084AFBFC9E09}"/>
                </a:ext>
              </a:extLst>
            </p:cNvPr>
            <p:cNvCxnSpPr/>
            <p:nvPr/>
          </p:nvCxnSpPr>
          <p:spPr>
            <a:xfrm>
              <a:off x="814919" y="1382861"/>
              <a:ext cx="115095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
              <a:extLst>
                <a:ext uri="{FF2B5EF4-FFF2-40B4-BE49-F238E27FC236}">
                  <a16:creationId xmlns:a16="http://schemas.microsoft.com/office/drawing/2014/main" id="{4DCCD6DA-9CF0-40CF-B364-49A4E26E5653}"/>
                </a:ext>
              </a:extLst>
            </p:cNvPr>
            <p:cNvSpPr txBox="1">
              <a:spLocks/>
            </p:cNvSpPr>
            <p:nvPr>
              <p:custDataLst>
                <p:tags r:id="rId6"/>
              </p:custDataLst>
            </p:nvPr>
          </p:nvSpPr>
          <p:spPr>
            <a:xfrm>
              <a:off x="814920" y="992529"/>
              <a:ext cx="1150956"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0" rIns="0" bIns="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de-DE" sz="20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rtl="0">
                <a:buNone/>
              </a:pPr>
              <a:r>
                <a:rPr lang="de-DE" dirty="0">
                  <a:latin typeface="Bahnschrift" panose="020B0502040204020203" pitchFamily="34" charset="0"/>
                </a:rPr>
                <a:t>ENTWURF</a:t>
              </a:r>
            </a:p>
          </p:txBody>
        </p:sp>
      </p:grpSp>
      <p:pic>
        <p:nvPicPr>
          <p:cNvPr id="15" name="Picture 24">
            <a:extLst>
              <a:ext uri="{FF2B5EF4-FFF2-40B4-BE49-F238E27FC236}">
                <a16:creationId xmlns:a16="http://schemas.microsoft.com/office/drawing/2014/main" id="{3434ED4C-9288-47B9-9629-BAFCC5315997}"/>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tretch>
            <a:fillRect/>
          </a:stretch>
        </p:blipFill>
        <p:spPr bwMode="auto">
          <a:xfrm>
            <a:off x="10521251" y="6345078"/>
            <a:ext cx="1116013" cy="346688"/>
          </a:xfrm>
          <a:prstGeom prst="rect">
            <a:avLst/>
          </a:prstGeom>
          <a:noFill/>
        </p:spPr>
      </p:pic>
      <p:sp>
        <p:nvSpPr>
          <p:cNvPr id="17" name="TextBox 16">
            <a:extLst>
              <a:ext uri="{FF2B5EF4-FFF2-40B4-BE49-F238E27FC236}">
                <a16:creationId xmlns:a16="http://schemas.microsoft.com/office/drawing/2014/main" id="{8114EF85-842D-4A55-9688-8671C84C44EA}"/>
              </a:ext>
            </a:extLst>
          </p:cNvPr>
          <p:cNvSpPr txBox="1"/>
          <p:nvPr userDrawn="1"/>
        </p:nvSpPr>
        <p:spPr>
          <a:xfrm>
            <a:off x="551941" y="6345078"/>
            <a:ext cx="4635884" cy="338554"/>
          </a:xfrm>
          <a:prstGeom prst="rect">
            <a:avLst/>
          </a:prstGeom>
        </p:spPr>
        <p:txBody>
          <a:bodyPr vert="horz" wrap="none" lIns="0" tIns="0" rIns="0" bIns="0" rtlCol="0">
            <a:noAutofit/>
          </a:bodyPr>
          <a:lstStyle>
            <a:lvl1pPr marL="469900" lvl="0" indent="-469900" eaLnBrk="1" hangingPunct="1">
              <a:spcBef>
                <a:spcPct val="20000"/>
              </a:spcBef>
              <a:buClr>
                <a:srgbClr val="ED1C24"/>
              </a:buClr>
              <a:buFont typeface="Arial" panose="020B0604020202020204" pitchFamily="34" charset="0"/>
              <a:buChar char="•"/>
              <a:defRPr sz="2200">
                <a:latin typeface="Bahnschrift" panose="020B0502040204020203" pitchFamily="34" charset="0"/>
              </a:defRPr>
            </a:lvl1pPr>
            <a:lvl2pPr marL="908050" lvl="1" indent="-436563" eaLnBrk="1" hangingPunct="1">
              <a:spcBef>
                <a:spcPct val="20000"/>
              </a:spcBef>
              <a:buClr>
                <a:schemeClr val="tx1"/>
              </a:buClr>
              <a:buFont typeface="Symbol" panose="05050102010706020507" pitchFamily="18" charset="2"/>
              <a:buChar char="-"/>
              <a:defRPr sz="2000">
                <a:latin typeface="Bahnschrift" panose="020B0502040204020203" pitchFamily="34" charset="0"/>
              </a:defRPr>
            </a:lvl2pPr>
            <a:lvl3pPr marL="1304925" lvl="2" indent="-395288" eaLnBrk="1" hangingPunct="1">
              <a:spcBef>
                <a:spcPct val="20000"/>
              </a:spcBef>
              <a:buClr>
                <a:srgbClr val="6F6F6F"/>
              </a:buClr>
              <a:buFont typeface="Symbol" pitchFamily="18" charset="2"/>
              <a:buChar char="-"/>
              <a:defRPr sz="1800">
                <a:latin typeface="Bahnschrift" panose="020B0502040204020203" pitchFamily="34" charset="0"/>
              </a:defRPr>
            </a:lvl3pPr>
            <a:lvl4pPr marL="1693863" lvl="3" indent="-387350" eaLnBrk="1" hangingPunct="1">
              <a:spcBef>
                <a:spcPct val="20000"/>
              </a:spcBef>
              <a:buClr>
                <a:srgbClr val="6F6F6F"/>
              </a:buClr>
              <a:buFont typeface="Symbol" pitchFamily="18" charset="2"/>
              <a:buChar char="-"/>
              <a:defRPr sz="1800">
                <a:latin typeface="Bahnschrift" panose="020B0502040204020203" pitchFamily="34" charset="0"/>
              </a:defRPr>
            </a:lvl4pPr>
            <a:lvl5pPr marL="2093913" lvl="4" indent="-398463" eaLnBrk="1" hangingPunct="1">
              <a:spcBef>
                <a:spcPct val="25000"/>
              </a:spcBef>
              <a:buClr>
                <a:srgbClr val="6F6F6F"/>
              </a:buClr>
              <a:buFont typeface="Symbol" pitchFamily="18" charset="2"/>
              <a:buChar char="-"/>
              <a:defRPr sz="1800">
                <a:latin typeface="Bahnschrift" panose="020B0502040204020203" pitchFamily="34" charset="0"/>
              </a:defRPr>
            </a:lvl5pPr>
            <a:lvl6pPr marL="2551113" indent="-398463" fontAlgn="base">
              <a:spcBef>
                <a:spcPct val="25000"/>
              </a:spcBef>
              <a:spcAft>
                <a:spcPct val="0"/>
              </a:spcAft>
              <a:buClr>
                <a:schemeClr val="accent2"/>
              </a:buClr>
              <a:buFont typeface="Wingdings" pitchFamily="2" charset="2"/>
              <a:buChar char="§"/>
              <a:defRPr sz="2000">
                <a:latin typeface="+mn-lt"/>
              </a:defRPr>
            </a:lvl6pPr>
            <a:lvl7pPr marL="3008313" indent="-398463" fontAlgn="base">
              <a:spcBef>
                <a:spcPct val="25000"/>
              </a:spcBef>
              <a:spcAft>
                <a:spcPct val="0"/>
              </a:spcAft>
              <a:buClr>
                <a:schemeClr val="accent2"/>
              </a:buClr>
              <a:buFont typeface="Wingdings" pitchFamily="2" charset="2"/>
              <a:buChar char="§"/>
              <a:defRPr sz="2000">
                <a:latin typeface="+mn-lt"/>
              </a:defRPr>
            </a:lvl7pPr>
            <a:lvl8pPr marL="3465513" indent="-398463" fontAlgn="base">
              <a:spcBef>
                <a:spcPct val="25000"/>
              </a:spcBef>
              <a:spcAft>
                <a:spcPct val="0"/>
              </a:spcAft>
              <a:buClr>
                <a:schemeClr val="accent2"/>
              </a:buClr>
              <a:buFont typeface="Wingdings" pitchFamily="2" charset="2"/>
              <a:buChar char="§"/>
              <a:defRPr sz="2000">
                <a:latin typeface="+mn-lt"/>
              </a:defRPr>
            </a:lvl8pPr>
            <a:lvl9pPr marL="3922713" indent="-398463" fontAlgn="base">
              <a:spcBef>
                <a:spcPct val="25000"/>
              </a:spcBef>
              <a:spcAft>
                <a:spcPct val="0"/>
              </a:spcAft>
              <a:buClr>
                <a:schemeClr val="accent2"/>
              </a:buClr>
              <a:buFont typeface="Wingdings" pitchFamily="2" charset="2"/>
              <a:buChar char="§"/>
              <a:defRPr sz="2000">
                <a:latin typeface="+mn-lt"/>
              </a:defRPr>
            </a:lvl9pPr>
          </a:lstStyle>
          <a:p>
            <a:pPr marL="0" indent="0" algn="l" rtl="0">
              <a:buNone/>
            </a:pPr>
            <a:r>
              <a:rPr lang="de-DE" b="1" dirty="0">
                <a:solidFill>
                  <a:schemeClr val="bg1">
                    <a:lumMod val="65000"/>
                    <a:alpha val="50000"/>
                  </a:schemeClr>
                </a:solidFill>
              </a:rPr>
              <a:t>ENTWURF – NICHT WEITERZUGEBEN</a:t>
            </a:r>
          </a:p>
        </p:txBody>
      </p:sp>
    </p:spTree>
    <p:extLst>
      <p:ext uri="{BB962C8B-B14F-4D97-AF65-F5344CB8AC3E}">
        <p14:creationId xmlns:p14="http://schemas.microsoft.com/office/powerpoint/2010/main" val="32423600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702681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45942"/>
            <a:ext cx="11082528" cy="35779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de-DE" dirty="0"/>
            </a:lvl1pPr>
          </a:lstStyle>
          <a:p>
            <a:pPr lvl="0"/>
            <a:r>
              <a:rPr lang="en-US"/>
              <a:t>Click to edit Master title style</a:t>
            </a:r>
            <a:endParaRPr lang="de-DE"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59517"/>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b="0" dirty="0"/>
            </a:lvl1pPr>
          </a:lstStyle>
          <a:p>
            <a:pPr lvl="0">
              <a:buNone/>
            </a:pPr>
            <a:r>
              <a:rPr lang="en-US"/>
              <a:t>Click to edit Master subtitle style</a:t>
            </a:r>
            <a:endParaRPr lang="de-DE"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mn-lt"/>
                <a:ea typeface="+mn-ea"/>
                <a:cs typeface="Arial" panose="020B0604020202020204" pitchFamily="34" charset="0"/>
              </a:rPr>
              <a:pPr algn="l" defTabSz="610744" rtl="0" fontAlgn="auto">
                <a:spcBef>
                  <a:spcPts val="0"/>
                </a:spcBef>
                <a:spcAft>
                  <a:spcPts val="0"/>
                </a:spcAft>
                <a:defRPr/>
              </a:pPr>
              <a:t>‹Nr.›</a:t>
            </a:fld>
            <a:endParaRPr lang="de-DE" sz="900" b="0" dirty="0">
              <a:solidFill>
                <a:schemeClr val="accent4"/>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800" b="0" dirty="0">
                <a:cs typeface="+mn-cs"/>
              </a:defRPr>
            </a:lvl1pPr>
          </a:lstStyle>
          <a:p>
            <a:pPr lvl="0">
              <a:buNone/>
            </a:pPr>
            <a:r>
              <a:rPr lang="de-DE" dirty="0"/>
              <a:t>Add tracker</a:t>
            </a:r>
          </a:p>
        </p:txBody>
      </p:sp>
      <p:pic>
        <p:nvPicPr>
          <p:cNvPr id="17" name="Picture 24">
            <a:extLst>
              <a:ext uri="{FF2B5EF4-FFF2-40B4-BE49-F238E27FC236}">
                <a16:creationId xmlns:a16="http://schemas.microsoft.com/office/drawing/2014/main" id="{6FEB58D9-A98B-4060-A150-78BACFDA2031}"/>
              </a:ext>
            </a:extLst>
          </p:cNvPr>
          <p:cNvPicPr>
            <a:picLocks noChangeAspect="1" noChangeArrowheads="1"/>
          </p:cNvPicPr>
          <p:nvPr userDrawn="1"/>
        </p:nvPicPr>
        <p:blipFill>
          <a:blip r:embed="rId11" cstate="print">
            <a:extLst>
              <a:ext uri="{28A0092B-C50C-407E-A947-70E740481C1C}">
                <a14:useLocalDpi xmlns:a14="http://schemas.microsoft.com/office/drawing/2010/main" val="0"/>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204707481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481105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de-DE" dirty="0"/>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8" name="Slide Number">
            <a:extLst>
              <a:ext uri="{FF2B5EF4-FFF2-40B4-BE49-F238E27FC236}">
                <a16:creationId xmlns:a16="http://schemas.microsoft.com/office/drawing/2014/main" id="{D10361C0-B2EF-4E62-B92E-09DC9AE5598F}"/>
              </a:ext>
            </a:extLst>
          </p:cNvPr>
          <p:cNvSpPr>
            <a:spLocks noChangeArrowheads="1"/>
          </p:cNvSpPr>
          <p:nvPr userDrawn="1">
            <p:custDataLst>
              <p:tags r:id="rId5"/>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mn-lt"/>
                <a:ea typeface="+mn-ea"/>
                <a:cs typeface="Arial" panose="020B0604020202020204" pitchFamily="34" charset="0"/>
              </a:rPr>
              <a:pPr algn="l" defTabSz="610744" rtl="0" fontAlgn="auto">
                <a:spcBef>
                  <a:spcPts val="0"/>
                </a:spcBef>
                <a:spcAft>
                  <a:spcPts val="0"/>
                </a:spcAft>
                <a:defRPr/>
              </a:pPr>
              <a:t>‹Nr.›</a:t>
            </a:fld>
            <a:endParaRPr lang="de-DE" sz="900" b="0" dirty="0">
              <a:solidFill>
                <a:schemeClr val="accent4"/>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83BC8AD5-CEDE-420E-8CDF-29B6B0AB85C8}"/>
              </a:ext>
            </a:extLst>
          </p:cNvPr>
          <p:cNvSpPr txBox="1"/>
          <p:nvPr userDrawn="1">
            <p:custDataLst>
              <p:tags r:id="rId6"/>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 …</a:t>
            </a:r>
          </a:p>
        </p:txBody>
      </p:sp>
      <p:pic>
        <p:nvPicPr>
          <p:cNvPr id="13" name="Picture 24">
            <a:extLst>
              <a:ext uri="{FF2B5EF4-FFF2-40B4-BE49-F238E27FC236}">
                <a16:creationId xmlns:a16="http://schemas.microsoft.com/office/drawing/2014/main" id="{E753E4B3-7552-4047-98C7-5D0FAF1195D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421574102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60323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50105"/>
            <a:ext cx="5065776" cy="357790"/>
          </a:xfrm>
          <a:prstGeom prst="rect">
            <a:avLst/>
          </a:prstGeom>
        </p:spPr>
        <p:txBody>
          <a:bodyPr vert="horz" wrap="square" rIns="365760" anchor="ctr">
            <a:spAutoFit/>
          </a:bodyPr>
          <a:lstStyle>
            <a:lvl1pPr rtl="0">
              <a:defRPr>
                <a:ln w="6350" cap="flat">
                  <a:noFill/>
                  <a:miter lim="800000"/>
                </a:ln>
              </a:defRPr>
            </a:lvl1pPr>
          </a:lstStyle>
          <a:p>
            <a:r>
              <a:rPr lang="en-US"/>
              <a:t>Click to edit Master title style</a:t>
            </a:r>
            <a:endParaRPr lang="de-DE" dirty="0"/>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11" name="Slide Number">
            <a:extLst>
              <a:ext uri="{FF2B5EF4-FFF2-40B4-BE49-F238E27FC236}">
                <a16:creationId xmlns:a16="http://schemas.microsoft.com/office/drawing/2014/main" id="{FBB88D9B-ABB7-4786-83C0-4CF6FC08CDFA}"/>
              </a:ext>
            </a:extLst>
          </p:cNvPr>
          <p:cNvSpPr>
            <a:spLocks noChangeArrowheads="1"/>
          </p:cNvSpPr>
          <p:nvPr userDrawn="1">
            <p:custDataLst>
              <p:tags r:id="rId5"/>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mn-lt"/>
                <a:ea typeface="+mn-ea"/>
                <a:cs typeface="Arial" panose="020B0604020202020204" pitchFamily="34" charset="0"/>
              </a:rPr>
              <a:pPr algn="l" defTabSz="610744" rtl="0" fontAlgn="auto">
                <a:spcBef>
                  <a:spcPts val="0"/>
                </a:spcBef>
                <a:spcAft>
                  <a:spcPts val="0"/>
                </a:spcAft>
                <a:defRPr/>
              </a:pPr>
              <a:t>‹Nr.›</a:t>
            </a:fld>
            <a:endParaRPr lang="de-DE" sz="900" b="0" dirty="0">
              <a:solidFill>
                <a:schemeClr val="accent4"/>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9C7CFAFE-151F-4006-AE1B-B99DDF767D38}"/>
              </a:ext>
            </a:extLst>
          </p:cNvPr>
          <p:cNvSpPr txBox="1"/>
          <p:nvPr userDrawn="1">
            <p:custDataLst>
              <p:tags r:id="rId6"/>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 …</a:t>
            </a:r>
          </a:p>
        </p:txBody>
      </p:sp>
      <p:pic>
        <p:nvPicPr>
          <p:cNvPr id="13" name="Picture 24">
            <a:extLst>
              <a:ext uri="{FF2B5EF4-FFF2-40B4-BE49-F238E27FC236}">
                <a16:creationId xmlns:a16="http://schemas.microsoft.com/office/drawing/2014/main" id="{AEE82E29-BBE7-40CA-B6D5-0CB8048FF73D}"/>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156955053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314749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de-DE" dirty="0"/>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10" name="Slide Number">
            <a:extLst>
              <a:ext uri="{FF2B5EF4-FFF2-40B4-BE49-F238E27FC236}">
                <a16:creationId xmlns:a16="http://schemas.microsoft.com/office/drawing/2014/main" id="{196D82A3-C41E-4026-9B9B-C6EDA362EA62}"/>
              </a:ext>
            </a:extLst>
          </p:cNvPr>
          <p:cNvSpPr>
            <a:spLocks noChangeArrowheads="1"/>
          </p:cNvSpPr>
          <p:nvPr userDrawn="1">
            <p:custDataLst>
              <p:tags r:id="rId5"/>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mn-lt"/>
                <a:ea typeface="+mn-ea"/>
                <a:cs typeface="Arial" panose="020B0604020202020204" pitchFamily="34" charset="0"/>
              </a:rPr>
              <a:pPr algn="l" defTabSz="610744" rtl="0" fontAlgn="auto">
                <a:spcBef>
                  <a:spcPts val="0"/>
                </a:spcBef>
                <a:spcAft>
                  <a:spcPts val="0"/>
                </a:spcAft>
                <a:defRPr/>
              </a:pPr>
              <a:t>‹Nr.›</a:t>
            </a:fld>
            <a:endParaRPr lang="de-DE" sz="900" b="0" dirty="0">
              <a:solidFill>
                <a:schemeClr val="accent4"/>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A1CEB5C6-0F65-45F7-B1E3-6C7EBF12A982}"/>
              </a:ext>
            </a:extLst>
          </p:cNvPr>
          <p:cNvSpPr txBox="1"/>
          <p:nvPr userDrawn="1">
            <p:custDataLst>
              <p:tags r:id="rId6"/>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 …</a:t>
            </a:r>
          </a:p>
        </p:txBody>
      </p:sp>
      <p:pic>
        <p:nvPicPr>
          <p:cNvPr id="12" name="Picture 24">
            <a:extLst>
              <a:ext uri="{FF2B5EF4-FFF2-40B4-BE49-F238E27FC236}">
                <a16:creationId xmlns:a16="http://schemas.microsoft.com/office/drawing/2014/main" id="{AC3BCAAF-839F-439B-AE06-F786DB13B9B7}"/>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26181507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D8AB414-0FC1-4289-A846-8EB361563F9C}"/>
              </a:ext>
            </a:extLst>
          </p:cNvPr>
          <p:cNvGraphicFramePr>
            <a:graphicFrameLocks noChangeAspect="1"/>
          </p:cNvGraphicFramePr>
          <p:nvPr userDrawn="1">
            <p:custDataLst>
              <p:tags r:id="rId1"/>
            </p:custDataLst>
            <p:extLst>
              <p:ext uri="{D42A27DB-BD31-4B8C-83A1-F6EECF244321}">
                <p14:modId xmlns:p14="http://schemas.microsoft.com/office/powerpoint/2010/main" val="1128617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7" name="Object 6" hidden="1">
                        <a:extLst>
                          <a:ext uri="{FF2B5EF4-FFF2-40B4-BE49-F238E27FC236}">
                            <a16:creationId xmlns:a16="http://schemas.microsoft.com/office/drawing/2014/main" id="{FD8AB414-0FC1-4289-A846-8EB361563F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609602" y="273050"/>
            <a:ext cx="4011084" cy="1162050"/>
          </a:xfrm>
        </p:spPr>
        <p:txBody>
          <a:bodyPr vert="horz"/>
          <a:lstStyle>
            <a:lvl1pPr algn="l">
              <a:defRPr sz="3000" b="0">
                <a:solidFill>
                  <a:srgbClr val="6F6F6F"/>
                </a:solidFill>
                <a:latin typeface="Bahnschrift" panose="020B0502040204020203" pitchFamily="34" charset="0"/>
              </a:defRPr>
            </a:lvl1pPr>
          </a:lstStyle>
          <a:p>
            <a:r>
              <a:rPr lang="de-DE"/>
              <a:t>Mastertitelformat bearbeiten</a:t>
            </a:r>
            <a:endParaRPr lang="de-AT"/>
          </a:p>
        </p:txBody>
      </p:sp>
      <p:sp>
        <p:nvSpPr>
          <p:cNvPr id="3" name="Inhaltsplatzhalter 2"/>
          <p:cNvSpPr>
            <a:spLocks noGrp="1"/>
          </p:cNvSpPr>
          <p:nvPr>
            <p:ph idx="1"/>
          </p:nvPr>
        </p:nvSpPr>
        <p:spPr>
          <a:xfrm>
            <a:off x="4766734" y="273053"/>
            <a:ext cx="6815668" cy="5853113"/>
          </a:xfrm>
          <a:prstGeom prst="rect">
            <a:avLst/>
          </a:prstGeom>
        </p:spPr>
        <p:txBody>
          <a:bodyPr/>
          <a:lstStyle>
            <a:lvl1pPr>
              <a:defRPr sz="22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Textplatzhalter 3"/>
          <p:cNvSpPr>
            <a:spLocks noGrp="1"/>
          </p:cNvSpPr>
          <p:nvPr>
            <p:ph type="body" sz="half" idx="2"/>
          </p:nvPr>
        </p:nvSpPr>
        <p:spPr>
          <a:xfrm>
            <a:off x="609602" y="1435103"/>
            <a:ext cx="4011084" cy="4691063"/>
          </a:xfrm>
          <a:prstGeom prst="rect">
            <a:avLst/>
          </a:prstGeom>
        </p:spPr>
        <p:txBody>
          <a:bodyPr/>
          <a:lstStyle>
            <a:lvl1pPr marL="0" indent="0">
              <a:buFont typeface="Wingdings" pitchFamily="2" charset="2"/>
              <a:buNone/>
              <a:defRPr sz="1400"/>
            </a:lvl1pPr>
            <a:lvl2pPr marL="539750" indent="-269875">
              <a:buFont typeface="Wingdings" pitchFamily="2" charset="2"/>
              <a:buChar char="§"/>
              <a:defRPr sz="1200"/>
            </a:lvl2pPr>
            <a:lvl3pPr marL="914400" indent="-374650">
              <a:buFont typeface="Symbol" pitchFamily="18" charset="2"/>
              <a:buChar char="-"/>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Foliennummernplatzhalter 4"/>
          <p:cNvSpPr>
            <a:spLocks noGrp="1"/>
          </p:cNvSpPr>
          <p:nvPr>
            <p:ph type="sldNum" sz="quarter" idx="10"/>
          </p:nvPr>
        </p:nvSpPr>
        <p:spPr/>
        <p:txBody>
          <a:bodyPr/>
          <a:lstStyle>
            <a:lvl1pPr>
              <a:defRPr/>
            </a:lvl1pPr>
          </a:lstStyle>
          <a:p>
            <a:fld id="{CEA5547C-C2D5-4D2D-84FE-5CA36B8B2314}" type="slidenum">
              <a:rPr lang="de-AT"/>
              <a:pPr/>
              <a:t>‹Nr.›</a:t>
            </a:fld>
            <a:endParaRPr lang="de-AT"/>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763150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77580"/>
            <a:ext cx="9180576" cy="501869"/>
          </a:xfrm>
          <a:prstGeom prst="rect">
            <a:avLst/>
          </a:prstGeom>
        </p:spPr>
        <p:txBody>
          <a:bodyPr vert="horz">
            <a:spAutoFit/>
          </a:bodyPr>
          <a:lstStyle>
            <a:lvl1pPr rtl="0">
              <a:lnSpc>
                <a:spcPct val="105000"/>
              </a:lnSpc>
              <a:defRPr sz="3400"/>
            </a:lvl1pPr>
          </a:lstStyle>
          <a:p>
            <a:r>
              <a:rPr lang="de-DE"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11" name="Slide Number">
            <a:extLst>
              <a:ext uri="{FF2B5EF4-FFF2-40B4-BE49-F238E27FC236}">
                <a16:creationId xmlns:a16="http://schemas.microsoft.com/office/drawing/2014/main" id="{B037E860-4142-4F46-8451-BAD5A1032E9B}"/>
              </a:ext>
            </a:extLst>
          </p:cNvPr>
          <p:cNvSpPr>
            <a:spLocks noChangeArrowheads="1"/>
          </p:cNvSpPr>
          <p:nvPr userDrawn="1">
            <p:custDataLst>
              <p:tags r:id="rId6"/>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mn-lt"/>
                <a:ea typeface="+mn-ea"/>
                <a:cs typeface="Arial" panose="020B0604020202020204" pitchFamily="34" charset="0"/>
              </a:rPr>
              <a:pPr algn="l" defTabSz="610744" rtl="0" fontAlgn="auto">
                <a:spcBef>
                  <a:spcPts val="0"/>
                </a:spcBef>
                <a:spcAft>
                  <a:spcPts val="0"/>
                </a:spcAft>
                <a:defRPr/>
              </a:pPr>
              <a:t>‹Nr.›</a:t>
            </a:fld>
            <a:endParaRPr lang="de-DE" sz="900" b="0" dirty="0">
              <a:solidFill>
                <a:schemeClr val="accent4"/>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18919A0-F6BB-4050-9154-4B5198BE167F}"/>
              </a:ext>
            </a:extLst>
          </p:cNvPr>
          <p:cNvSpPr txBox="1"/>
          <p:nvPr userDrawn="1">
            <p:custDataLst>
              <p:tags r:id="rId7"/>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 …</a:t>
            </a:r>
          </a:p>
        </p:txBody>
      </p:sp>
      <p:pic>
        <p:nvPicPr>
          <p:cNvPr id="13" name="Picture 24">
            <a:extLst>
              <a:ext uri="{FF2B5EF4-FFF2-40B4-BE49-F238E27FC236}">
                <a16:creationId xmlns:a16="http://schemas.microsoft.com/office/drawing/2014/main" id="{B8FEBBCE-27DB-4733-A806-5C277B948EF4}"/>
              </a:ext>
            </a:extLst>
          </p:cNvPr>
          <p:cNvPicPr>
            <a:picLocks noChangeAspect="1" noChangeArrowheads="1"/>
          </p:cNvPicPr>
          <p:nvPr userDrawn="1"/>
        </p:nvPicPr>
        <p:blipFill>
          <a:blip r:embed="rId11" cstate="print">
            <a:extLst>
              <a:ext uri="{28A0092B-C50C-407E-A947-70E740481C1C}">
                <a14:useLocalDpi xmlns:a14="http://schemas.microsoft.com/office/drawing/2010/main" val="0"/>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236005741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140740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EEEE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de-DE"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anchor="b">
            <a:noAutofit/>
          </a:bodyPr>
          <a:lstStyle>
            <a:lvl1pPr rtl="0">
              <a:defRPr>
                <a:solidFill>
                  <a:schemeClr val="tx1"/>
                </a:solidFill>
              </a:defRPr>
            </a:lvl1pPr>
          </a:lstStyle>
          <a:p>
            <a:r>
              <a:rPr lang="en-US"/>
              <a:t>Click to edit Master title style</a:t>
            </a:r>
            <a:endParaRPr lang="de-DE"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de-DE" dirty="0"/>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11" name="Slide Number">
            <a:extLst>
              <a:ext uri="{FF2B5EF4-FFF2-40B4-BE49-F238E27FC236}">
                <a16:creationId xmlns:a16="http://schemas.microsoft.com/office/drawing/2014/main" id="{51FC4C0D-286E-451D-9336-DB01EBEAF6B6}"/>
              </a:ext>
            </a:extLst>
          </p:cNvPr>
          <p:cNvSpPr>
            <a:spLocks noChangeArrowheads="1"/>
          </p:cNvSpPr>
          <p:nvPr userDrawn="1">
            <p:custDataLst>
              <p:tags r:id="rId7"/>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mn-lt"/>
                <a:ea typeface="+mn-ea"/>
                <a:cs typeface="Arial" panose="020B0604020202020204" pitchFamily="34" charset="0"/>
              </a:rPr>
              <a:pPr algn="l" defTabSz="610744" rtl="0" fontAlgn="auto">
                <a:spcBef>
                  <a:spcPts val="0"/>
                </a:spcBef>
                <a:spcAft>
                  <a:spcPts val="0"/>
                </a:spcAft>
                <a:defRPr/>
              </a:pPr>
              <a:t>‹Nr.›</a:t>
            </a:fld>
            <a:endParaRPr lang="de-DE" sz="900" b="0" dirty="0">
              <a:solidFill>
                <a:schemeClr val="accent4"/>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78EF73E-DE00-4E61-BAFD-ACFAF16BBA7F}"/>
              </a:ext>
            </a:extLst>
          </p:cNvPr>
          <p:cNvSpPr txBox="1"/>
          <p:nvPr userDrawn="1">
            <p:custDataLst>
              <p:tags r:id="rId8"/>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 …</a:t>
            </a:r>
          </a:p>
        </p:txBody>
      </p:sp>
      <p:pic>
        <p:nvPicPr>
          <p:cNvPr id="13" name="Picture 24">
            <a:extLst>
              <a:ext uri="{FF2B5EF4-FFF2-40B4-BE49-F238E27FC236}">
                <a16:creationId xmlns:a16="http://schemas.microsoft.com/office/drawing/2014/main" id="{48F2013B-FDDF-4BFB-ADA5-EBD5F271BF8B}"/>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29531311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263116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EEEE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de-DE"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98229"/>
            <a:ext cx="3465576" cy="715581"/>
          </a:xfrm>
          <a:prstGeom prst="rect">
            <a:avLst/>
          </a:prstGeom>
        </p:spPr>
        <p:txBody>
          <a:bodyPr vert="horz" wrap="square" anchor="b">
            <a:spAutoFit/>
          </a:bodyPr>
          <a:lstStyle>
            <a:lvl1pPr algn="l" rtl="0">
              <a:defRPr>
                <a:solidFill>
                  <a:schemeClr val="tx1"/>
                </a:solidFill>
              </a:defRPr>
            </a:lvl1pPr>
          </a:lstStyle>
          <a:p>
            <a:r>
              <a:rPr lang="en-US"/>
              <a:t>Click to edit Master title style</a:t>
            </a:r>
            <a:endParaRPr lang="de-DE"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de-DE" dirty="0"/>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11" name="Slide Number">
            <a:extLst>
              <a:ext uri="{FF2B5EF4-FFF2-40B4-BE49-F238E27FC236}">
                <a16:creationId xmlns:a16="http://schemas.microsoft.com/office/drawing/2014/main" id="{E16EE6E9-1FAC-4E55-93EB-B73ECF2BD38F}"/>
              </a:ext>
            </a:extLst>
          </p:cNvPr>
          <p:cNvSpPr>
            <a:spLocks noChangeArrowheads="1"/>
          </p:cNvSpPr>
          <p:nvPr userDrawn="1">
            <p:custDataLst>
              <p:tags r:id="rId7"/>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mn-lt"/>
                <a:ea typeface="+mn-ea"/>
                <a:cs typeface="Arial" panose="020B0604020202020204" pitchFamily="34" charset="0"/>
              </a:rPr>
              <a:pPr algn="l" defTabSz="610744" rtl="0" fontAlgn="auto">
                <a:spcBef>
                  <a:spcPts val="0"/>
                </a:spcBef>
                <a:spcAft>
                  <a:spcPts val="0"/>
                </a:spcAft>
                <a:defRPr/>
              </a:pPr>
              <a:t>‹Nr.›</a:t>
            </a:fld>
            <a:endParaRPr lang="de-DE" sz="900" b="0" dirty="0">
              <a:solidFill>
                <a:schemeClr val="accent4"/>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69829EE6-DFF1-4EDC-9186-BC864FE54902}"/>
              </a:ext>
            </a:extLst>
          </p:cNvPr>
          <p:cNvSpPr txBox="1"/>
          <p:nvPr userDrawn="1">
            <p:custDataLst>
              <p:tags r:id="rId8"/>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 …</a:t>
            </a:r>
          </a:p>
        </p:txBody>
      </p:sp>
      <p:pic>
        <p:nvPicPr>
          <p:cNvPr id="13" name="Picture 24">
            <a:extLst>
              <a:ext uri="{FF2B5EF4-FFF2-40B4-BE49-F238E27FC236}">
                <a16:creationId xmlns:a16="http://schemas.microsoft.com/office/drawing/2014/main" id="{F3150622-1A3B-40E7-869F-CB37F367FDDA}"/>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318303160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73022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EEEE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de-DE"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45942"/>
            <a:ext cx="5065776" cy="357790"/>
          </a:xfrm>
        </p:spPr>
        <p:txBody>
          <a:bodyPr vert="horz" wrap="square">
            <a:spAutoFit/>
          </a:bodyPr>
          <a:lstStyle>
            <a:lvl1pPr rtl="0">
              <a:defRPr/>
            </a:lvl1pPr>
          </a:lstStyle>
          <a:p>
            <a:r>
              <a:rPr lang="en-US"/>
              <a:t>Click to edit Master title style</a:t>
            </a:r>
            <a:endParaRPr lang="de-DE"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59517"/>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11" name="Slide Number">
            <a:extLst>
              <a:ext uri="{FF2B5EF4-FFF2-40B4-BE49-F238E27FC236}">
                <a16:creationId xmlns:a16="http://schemas.microsoft.com/office/drawing/2014/main" id="{5F9BF503-531B-4D65-90F0-C02847B72905}"/>
              </a:ext>
            </a:extLst>
          </p:cNvPr>
          <p:cNvSpPr>
            <a:spLocks noChangeArrowheads="1"/>
          </p:cNvSpPr>
          <p:nvPr userDrawn="1">
            <p:custDataLst>
              <p:tags r:id="rId7"/>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mn-lt"/>
                <a:ea typeface="+mn-ea"/>
                <a:cs typeface="Arial" panose="020B0604020202020204" pitchFamily="34" charset="0"/>
              </a:rPr>
              <a:pPr algn="l" defTabSz="610744" rtl="0" fontAlgn="auto">
                <a:spcBef>
                  <a:spcPts val="0"/>
                </a:spcBef>
                <a:spcAft>
                  <a:spcPts val="0"/>
                </a:spcAft>
                <a:defRPr/>
              </a:pPr>
              <a:t>‹Nr.›</a:t>
            </a:fld>
            <a:endParaRPr lang="de-DE" sz="900" b="0" dirty="0">
              <a:solidFill>
                <a:schemeClr val="accent4"/>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4BE99A5-A1C0-48C5-ACA1-F94ADAC5F1AC}"/>
              </a:ext>
            </a:extLst>
          </p:cNvPr>
          <p:cNvSpPr txBox="1"/>
          <p:nvPr userDrawn="1">
            <p:custDataLst>
              <p:tags r:id="rId8"/>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 …</a:t>
            </a:r>
          </a:p>
        </p:txBody>
      </p:sp>
      <p:pic>
        <p:nvPicPr>
          <p:cNvPr id="13" name="Picture 24">
            <a:extLst>
              <a:ext uri="{FF2B5EF4-FFF2-40B4-BE49-F238E27FC236}">
                <a16:creationId xmlns:a16="http://schemas.microsoft.com/office/drawing/2014/main" id="{31BFD129-D4B8-4352-93EC-B8114C0F4C87}"/>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318929713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663680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45942"/>
            <a:ext cx="6967728" cy="357790"/>
          </a:xfrm>
        </p:spPr>
        <p:txBody>
          <a:bodyPr vert="horz" wrap="square">
            <a:spAutoFit/>
          </a:bodyPr>
          <a:lstStyle>
            <a:lvl1pPr rtl="0">
              <a:defRPr/>
            </a:lvl1pPr>
          </a:lstStyle>
          <a:p>
            <a:r>
              <a:rPr lang="en-US"/>
              <a:t>Click to edit Master title style</a:t>
            </a:r>
            <a:endParaRPr lang="de-DE"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EEEE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de-DE"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59517"/>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11" name="Slide Number">
            <a:extLst>
              <a:ext uri="{FF2B5EF4-FFF2-40B4-BE49-F238E27FC236}">
                <a16:creationId xmlns:a16="http://schemas.microsoft.com/office/drawing/2014/main" id="{578D6356-D934-4A70-A72D-8878811039C7}"/>
              </a:ext>
            </a:extLst>
          </p:cNvPr>
          <p:cNvSpPr>
            <a:spLocks noChangeArrowheads="1"/>
          </p:cNvSpPr>
          <p:nvPr userDrawn="1">
            <p:custDataLst>
              <p:tags r:id="rId7"/>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mn-lt"/>
                <a:ea typeface="+mn-ea"/>
                <a:cs typeface="Arial" panose="020B0604020202020204" pitchFamily="34" charset="0"/>
              </a:rPr>
              <a:pPr algn="l" defTabSz="610744" rtl="0" fontAlgn="auto">
                <a:spcBef>
                  <a:spcPts val="0"/>
                </a:spcBef>
                <a:spcAft>
                  <a:spcPts val="0"/>
                </a:spcAft>
                <a:defRPr/>
              </a:pPr>
              <a:t>‹Nr.›</a:t>
            </a:fld>
            <a:endParaRPr lang="de-DE" sz="900" b="0" dirty="0">
              <a:solidFill>
                <a:schemeClr val="accent4"/>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D2141A58-C4AE-49EC-9929-366E0BE208BD}"/>
              </a:ext>
            </a:extLst>
          </p:cNvPr>
          <p:cNvSpPr txBox="1"/>
          <p:nvPr userDrawn="1">
            <p:custDataLst>
              <p:tags r:id="rId8"/>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 …</a:t>
            </a:r>
          </a:p>
        </p:txBody>
      </p:sp>
      <p:pic>
        <p:nvPicPr>
          <p:cNvPr id="13" name="Picture 24">
            <a:extLst>
              <a:ext uri="{FF2B5EF4-FFF2-40B4-BE49-F238E27FC236}">
                <a16:creationId xmlns:a16="http://schemas.microsoft.com/office/drawing/2014/main" id="{603086AB-DEDE-48D2-9F9F-F07BE5668B9A}"/>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103444299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4213165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EEEEE"/>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de-DE"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45942"/>
            <a:ext cx="7918704" cy="357790"/>
          </a:xfrm>
        </p:spPr>
        <p:txBody>
          <a:bodyPr vert="horz" wrap="square">
            <a:spAutoFit/>
          </a:bodyPr>
          <a:lstStyle>
            <a:lvl1pPr rtl="0">
              <a:defRPr/>
            </a:lvl1pPr>
          </a:lstStyle>
          <a:p>
            <a:r>
              <a:rPr lang="en-US"/>
              <a:t>Click to edit Master title style</a:t>
            </a:r>
            <a:endParaRPr lang="de-DE"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59517"/>
            <a:ext cx="7918704"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11" name="Slide Number">
            <a:extLst>
              <a:ext uri="{FF2B5EF4-FFF2-40B4-BE49-F238E27FC236}">
                <a16:creationId xmlns:a16="http://schemas.microsoft.com/office/drawing/2014/main" id="{40FF3879-DBE8-404E-A689-60ACE87E9ED0}"/>
              </a:ext>
            </a:extLst>
          </p:cNvPr>
          <p:cNvSpPr>
            <a:spLocks noChangeArrowheads="1"/>
          </p:cNvSpPr>
          <p:nvPr userDrawn="1">
            <p:custDataLst>
              <p:tags r:id="rId7"/>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mn-lt"/>
                <a:ea typeface="+mn-ea"/>
                <a:cs typeface="Arial" panose="020B0604020202020204" pitchFamily="34" charset="0"/>
              </a:rPr>
              <a:pPr algn="l" defTabSz="610744" rtl="0" fontAlgn="auto">
                <a:spcBef>
                  <a:spcPts val="0"/>
                </a:spcBef>
                <a:spcAft>
                  <a:spcPts val="0"/>
                </a:spcAft>
                <a:defRPr/>
              </a:pPr>
              <a:t>‹Nr.›</a:t>
            </a:fld>
            <a:endParaRPr lang="de-DE" sz="900" b="0" dirty="0">
              <a:solidFill>
                <a:schemeClr val="accent4"/>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939BE904-DC22-4F43-A99E-1DA5C5A773BE}"/>
              </a:ext>
            </a:extLst>
          </p:cNvPr>
          <p:cNvSpPr txBox="1"/>
          <p:nvPr userDrawn="1">
            <p:custDataLst>
              <p:tags r:id="rId8"/>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 …</a:t>
            </a:r>
          </a:p>
        </p:txBody>
      </p:sp>
      <p:pic>
        <p:nvPicPr>
          <p:cNvPr id="13" name="Picture 24">
            <a:extLst>
              <a:ext uri="{FF2B5EF4-FFF2-40B4-BE49-F238E27FC236}">
                <a16:creationId xmlns:a16="http://schemas.microsoft.com/office/drawing/2014/main" id="{01C2D45D-8A08-4068-813B-D6390E56A624}"/>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45256106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894498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903732"/>
            <a:ext cx="11082528" cy="357790"/>
          </a:xfrm>
        </p:spPr>
        <p:txBody>
          <a:bodyPr vert="horz" wrap="square">
            <a:spAutoFit/>
          </a:bodyPr>
          <a:lstStyle>
            <a:lvl1pPr rtl="0">
              <a:defRPr/>
            </a:lvl1pPr>
          </a:lstStyle>
          <a:p>
            <a:r>
              <a:rPr lang="en-US"/>
              <a:t>Click to edit Master title style</a:t>
            </a:r>
            <a:endParaRPr lang="de-DE" dirty="0"/>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17" name="Slide Number">
            <a:extLst>
              <a:ext uri="{FF2B5EF4-FFF2-40B4-BE49-F238E27FC236}">
                <a16:creationId xmlns:a16="http://schemas.microsoft.com/office/drawing/2014/main" id="{5639CB5E-D360-4894-960C-632E551CA978}"/>
              </a:ext>
            </a:extLst>
          </p:cNvPr>
          <p:cNvSpPr>
            <a:spLocks noChangeArrowheads="1"/>
          </p:cNvSpPr>
          <p:nvPr userDrawn="1">
            <p:custDataLst>
              <p:tags r:id="rId5"/>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mn-lt"/>
                <a:ea typeface="+mn-ea"/>
                <a:cs typeface="Arial" panose="020B0604020202020204" pitchFamily="34" charset="0"/>
              </a:rPr>
              <a:pPr algn="l" defTabSz="610744" rtl="0" fontAlgn="auto">
                <a:spcBef>
                  <a:spcPts val="0"/>
                </a:spcBef>
                <a:spcAft>
                  <a:spcPts val="0"/>
                </a:spcAft>
                <a:defRPr/>
              </a:pPr>
              <a:t>‹Nr.›</a:t>
            </a:fld>
            <a:endParaRPr lang="de-DE" sz="900" b="0" dirty="0">
              <a:solidFill>
                <a:schemeClr val="accent4"/>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BA5D077F-04AD-4703-AB58-D952DE4008D9}"/>
              </a:ext>
            </a:extLst>
          </p:cNvPr>
          <p:cNvSpPr txBox="1"/>
          <p:nvPr userDrawn="1">
            <p:custDataLst>
              <p:tags r:id="rId6"/>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 …</a:t>
            </a:r>
          </a:p>
        </p:txBody>
      </p:sp>
      <p:pic>
        <p:nvPicPr>
          <p:cNvPr id="19" name="Picture 24">
            <a:extLst>
              <a:ext uri="{FF2B5EF4-FFF2-40B4-BE49-F238E27FC236}">
                <a16:creationId xmlns:a16="http://schemas.microsoft.com/office/drawing/2014/main" id="{605A2992-CBC9-4ED4-BDF4-622ED031C6C1}"/>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50105226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731080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de-DE" dirty="0"/>
              <a:t>Add tracker</a:t>
            </a:r>
          </a:p>
        </p:txBody>
      </p:sp>
      <p:sp>
        <p:nvSpPr>
          <p:cNvPr id="6" name="Slide Number">
            <a:extLst>
              <a:ext uri="{FF2B5EF4-FFF2-40B4-BE49-F238E27FC236}">
                <a16:creationId xmlns:a16="http://schemas.microsoft.com/office/drawing/2014/main" id="{A2B020D1-B6FD-4A8E-BF14-18183EF962FB}"/>
              </a:ext>
            </a:extLst>
          </p:cNvPr>
          <p:cNvSpPr>
            <a:spLocks noChangeArrowheads="1"/>
          </p:cNvSpPr>
          <p:nvPr userDrawn="1">
            <p:custDataLst>
              <p:tags r:id="rId3"/>
            </p:custDataLst>
          </p:nvPr>
        </p:nvSpPr>
        <p:spPr bwMode="black">
          <a:xfrm>
            <a:off x="554736" y="6483514"/>
            <a:ext cx="142668"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accent4"/>
                </a:solidFill>
                <a:latin typeface="+mn-lt"/>
                <a:ea typeface="+mn-ea"/>
                <a:cs typeface="Arial" panose="020B0604020202020204" pitchFamily="34" charset="0"/>
              </a:rPr>
              <a:pPr algn="l" defTabSz="610744" rtl="0" fontAlgn="auto">
                <a:spcBef>
                  <a:spcPts val="0"/>
                </a:spcBef>
                <a:spcAft>
                  <a:spcPts val="0"/>
                </a:spcAft>
                <a:defRPr/>
              </a:pPr>
              <a:t>‹Nr.›</a:t>
            </a:fld>
            <a:endParaRPr lang="de-DE" sz="900" b="0" dirty="0">
              <a:solidFill>
                <a:schemeClr val="accent4"/>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F453AE36-253D-4279-B1AC-C083EE1E2899}"/>
              </a:ext>
            </a:extLst>
          </p:cNvPr>
          <p:cNvSpPr txBox="1"/>
          <p:nvPr userDrawn="1">
            <p:custDataLst>
              <p:tags r:id="rId4"/>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 …</a:t>
            </a:r>
          </a:p>
        </p:txBody>
      </p:sp>
      <p:pic>
        <p:nvPicPr>
          <p:cNvPr id="11" name="Picture 24">
            <a:extLst>
              <a:ext uri="{FF2B5EF4-FFF2-40B4-BE49-F238E27FC236}">
                <a16:creationId xmlns:a16="http://schemas.microsoft.com/office/drawing/2014/main" id="{0BC3C220-4D6B-43DF-AEAA-A26E73013794}"/>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tretch>
            <a:fillRect/>
          </a:stretch>
        </p:blipFill>
        <p:spPr bwMode="auto">
          <a:xfrm>
            <a:off x="10521251" y="6345078"/>
            <a:ext cx="1116013" cy="346688"/>
          </a:xfrm>
          <a:prstGeom prst="rect">
            <a:avLst/>
          </a:prstGeom>
          <a:noFill/>
        </p:spPr>
      </p:pic>
    </p:spTree>
    <p:extLst>
      <p:ext uri="{BB962C8B-B14F-4D97-AF65-F5344CB8AC3E}">
        <p14:creationId xmlns:p14="http://schemas.microsoft.com/office/powerpoint/2010/main" val="48808968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83038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5. Source" hidden="1">
            <a:extLst>
              <a:ext uri="{FF2B5EF4-FFF2-40B4-BE49-F238E27FC236}">
                <a16:creationId xmlns:a16="http://schemas.microsoft.com/office/drawing/2014/main" id="{AA0471FD-F801-4ED7-B723-9967EA0BDA51}"/>
              </a:ext>
            </a:extLst>
          </p:cNvPr>
          <p:cNvSpPr txBox="1"/>
          <p:nvPr userDrawn="1">
            <p:custDataLst>
              <p:tags r:id="rId2"/>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 …</a:t>
            </a:r>
          </a:p>
        </p:txBody>
      </p:sp>
      <p:pic>
        <p:nvPicPr>
          <p:cNvPr id="9" name="Picture 24">
            <a:extLst>
              <a:ext uri="{FF2B5EF4-FFF2-40B4-BE49-F238E27FC236}">
                <a16:creationId xmlns:a16="http://schemas.microsoft.com/office/drawing/2014/main" id="{A1E08BD0-F308-4E8B-BC70-FDD1A25700F7}"/>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3609977" y="2656721"/>
            <a:ext cx="4972048" cy="1544558"/>
          </a:xfrm>
          <a:prstGeom prst="rect">
            <a:avLst/>
          </a:prstGeom>
          <a:noFill/>
        </p:spPr>
      </p:pic>
    </p:spTree>
    <p:extLst>
      <p:ext uri="{BB962C8B-B14F-4D97-AF65-F5344CB8AC3E}">
        <p14:creationId xmlns:p14="http://schemas.microsoft.com/office/powerpoint/2010/main" val="24695542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752761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545942"/>
            <a:ext cx="11082528" cy="35779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de-DE" dirty="0"/>
            </a:lvl1pPr>
          </a:lstStyle>
          <a:p>
            <a:pPr lvl="0"/>
            <a:r>
              <a:rPr lang="de-DE"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59517"/>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b="0" baseline="0" dirty="0"/>
            </a:lvl1pPr>
          </a:lstStyle>
          <a:p>
            <a:pPr lvl="0">
              <a:buNone/>
            </a:pPr>
            <a:r>
              <a:rPr lang="de-DE" dirty="0"/>
              <a:t>Click to edit Master subtitle style</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de-DE" sz="800" b="0" dirty="0">
                <a:cs typeface="+mn-cs"/>
              </a:defRPr>
            </a:lvl1pPr>
          </a:lstStyle>
          <a:p>
            <a:pPr lvl="0">
              <a:buNone/>
            </a:pPr>
            <a:r>
              <a:rPr lang="de-DE" dirty="0"/>
              <a:t>Add tracker</a:t>
            </a:r>
          </a:p>
        </p:txBody>
      </p:sp>
      <p:grpSp>
        <p:nvGrpSpPr>
          <p:cNvPr id="10" name="Group 9">
            <a:extLst>
              <a:ext uri="{FF2B5EF4-FFF2-40B4-BE49-F238E27FC236}">
                <a16:creationId xmlns:a16="http://schemas.microsoft.com/office/drawing/2014/main" id="{A6F2C518-233C-487E-AF64-7CE0C33496CB}"/>
              </a:ext>
            </a:extLst>
          </p:cNvPr>
          <p:cNvGrpSpPr/>
          <p:nvPr userDrawn="1"/>
        </p:nvGrpSpPr>
        <p:grpSpPr>
          <a:xfrm>
            <a:off x="10527863" y="6332378"/>
            <a:ext cx="1109401" cy="346688"/>
            <a:chOff x="10527863" y="6332378"/>
            <a:chExt cx="1109401" cy="346688"/>
          </a:xfrm>
        </p:grpSpPr>
        <p:pic>
          <p:nvPicPr>
            <p:cNvPr id="14" name="Picture 24">
              <a:extLst>
                <a:ext uri="{FF2B5EF4-FFF2-40B4-BE49-F238E27FC236}">
                  <a16:creationId xmlns:a16="http://schemas.microsoft.com/office/drawing/2014/main" id="{0BA2CAC1-04C8-44CA-BB69-E644A1812FC0}"/>
                </a:ext>
              </a:extLst>
            </p:cNvPr>
            <p:cNvPicPr>
              <a:picLocks noChangeAspect="1" noChangeArrowheads="1"/>
            </p:cNvPicPr>
            <p:nvPr userDrawn="1"/>
          </p:nvPicPr>
          <p:blipFill rotWithShape="1">
            <a:blip r:embed="rId11" cstate="screen">
              <a:extLst>
                <a:ext uri="{28A0092B-C50C-407E-A947-70E740481C1C}">
                  <a14:useLocalDpi xmlns:a14="http://schemas.microsoft.com/office/drawing/2010/main"/>
                </a:ext>
              </a:extLst>
            </a:blip>
            <a:srcRect b="18447"/>
            <a:stretch/>
          </p:blipFill>
          <p:spPr bwMode="auto">
            <a:xfrm>
              <a:off x="10527863" y="6332378"/>
              <a:ext cx="1109401" cy="282735"/>
            </a:xfrm>
            <a:prstGeom prst="rect">
              <a:avLst/>
            </a:prstGeom>
            <a:noFill/>
          </p:spPr>
        </p:pic>
        <p:pic>
          <p:nvPicPr>
            <p:cNvPr id="16" name="Picture 24">
              <a:extLst>
                <a:ext uri="{FF2B5EF4-FFF2-40B4-BE49-F238E27FC236}">
                  <a16:creationId xmlns:a16="http://schemas.microsoft.com/office/drawing/2014/main" id="{3469FBB6-3027-4EE3-91E0-903F6B82AC36}"/>
                </a:ext>
              </a:extLst>
            </p:cNvPr>
            <p:cNvPicPr>
              <a:picLocks noChangeAspect="1" noChangeArrowheads="1"/>
            </p:cNvPicPr>
            <p:nvPr userDrawn="1"/>
          </p:nvPicPr>
          <p:blipFill rotWithShape="1">
            <a:blip r:embed="rId11" cstate="screen">
              <a:duotone>
                <a:schemeClr val="accent4">
                  <a:shade val="45000"/>
                  <a:satMod val="135000"/>
                </a:schemeClr>
                <a:prstClr val="white"/>
              </a:duotone>
              <a:lum bright="100000"/>
              <a:extLst>
                <a:ext uri="{28A0092B-C50C-407E-A947-70E740481C1C}">
                  <a14:useLocalDpi xmlns:a14="http://schemas.microsoft.com/office/drawing/2010/main"/>
                </a:ext>
              </a:extLst>
            </a:blip>
            <a:srcRect t="82240"/>
            <a:stretch/>
          </p:blipFill>
          <p:spPr bwMode="auto">
            <a:xfrm>
              <a:off x="10527863" y="6617494"/>
              <a:ext cx="1109401" cy="61572"/>
            </a:xfrm>
            <a:prstGeom prst="rect">
              <a:avLst/>
            </a:prstGeom>
            <a:noFill/>
          </p:spPr>
        </p:pic>
      </p:grpSp>
      <p:sp>
        <p:nvSpPr>
          <p:cNvPr id="17" name="Slide Number">
            <a:extLst>
              <a:ext uri="{FF2B5EF4-FFF2-40B4-BE49-F238E27FC236}">
                <a16:creationId xmlns:a16="http://schemas.microsoft.com/office/drawing/2014/main" id="{319FDB4A-4025-418B-84EA-B7864279E14D}"/>
              </a:ext>
            </a:extLst>
          </p:cNvPr>
          <p:cNvSpPr>
            <a:spLocks noChangeArrowheads="1"/>
          </p:cNvSpPr>
          <p:nvPr userDrawn="1">
            <p:custDataLst>
              <p:tags r:id="rId6"/>
            </p:custDataLst>
          </p:nvPr>
        </p:nvSpPr>
        <p:spPr bwMode="black">
          <a:xfrm>
            <a:off x="554736" y="6493992"/>
            <a:ext cx="144270" cy="138499"/>
          </a:xfrm>
          <a:prstGeom prst="rect">
            <a:avLst/>
          </a:prstGeom>
          <a:noFill/>
          <a:ln w="9525" algn="ctr">
            <a:noFill/>
            <a:miter lim="800000"/>
            <a:headEnd/>
            <a:tailEnd/>
          </a:ln>
          <a:effectLst/>
        </p:spPr>
        <p:txBody>
          <a:bodyPr wrap="none" lIns="0" tIns="0" rIns="0" bIns="0" anchor="b">
            <a:spAutoFit/>
          </a:bodyPr>
          <a:lstStyle/>
          <a:p>
            <a:pPr algn="l" defTabSz="610744" rtl="0" fontAlgn="auto">
              <a:spcBef>
                <a:spcPts val="0"/>
              </a:spcBef>
              <a:spcAft>
                <a:spcPts val="0"/>
              </a:spcAft>
              <a:defRPr/>
            </a:pPr>
            <a:fld id="{4ABDCABE-3F10-B64C-92F1-862014417034}" type="slidenum">
              <a:rPr lang="de-DE" sz="900" b="0" smtClean="0">
                <a:solidFill>
                  <a:schemeClr val="tx1"/>
                </a:solidFill>
                <a:latin typeface="+mn-lt"/>
                <a:ea typeface="+mn-ea"/>
                <a:cs typeface="Arial" panose="020B0604020202020204" pitchFamily="34" charset="0"/>
              </a:rPr>
              <a:pPr algn="l" defTabSz="610744" rtl="0" fontAlgn="auto">
                <a:spcBef>
                  <a:spcPts val="0"/>
                </a:spcBef>
                <a:spcAft>
                  <a:spcPts val="0"/>
                </a:spcAft>
                <a:defRPr/>
              </a:pPr>
              <a:t>‹Nr.›</a:t>
            </a:fld>
            <a:endParaRPr lang="de-DE" sz="900" b="0" dirty="0">
              <a:solidFill>
                <a:schemeClr val="tx1"/>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FA9C6F47-AEDB-4BB3-B518-01E95BAF2B0F}"/>
              </a:ext>
            </a:extLst>
          </p:cNvPr>
          <p:cNvSpPr txBox="1"/>
          <p:nvPr userDrawn="1">
            <p:custDataLst>
              <p:tags r:id="rId7"/>
            </p:custDataLst>
          </p:nvPr>
        </p:nvSpPr>
        <p:spPr>
          <a:xfrm>
            <a:off x="840485" y="6501686"/>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Quelle: …</a:t>
            </a:r>
          </a:p>
        </p:txBody>
      </p:sp>
    </p:spTree>
    <p:extLst>
      <p:ext uri="{BB962C8B-B14F-4D97-AF65-F5344CB8AC3E}">
        <p14:creationId xmlns:p14="http://schemas.microsoft.com/office/powerpoint/2010/main" val="29592307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w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theme" Target="../theme/theme10.xml"/><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image" Target="../media/image2.wmf"/><Relationship Id="rId2" Type="http://schemas.openxmlformats.org/officeDocument/2006/relationships/slideLayout" Target="../slideLayouts/slideLayout136.xml"/><Relationship Id="rId16" Type="http://schemas.openxmlformats.org/officeDocument/2006/relationships/image" Target="../media/image5.emf"/><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oleObject" Target="../embeddings/oleObject132.bin"/><Relationship Id="rId10" Type="http://schemas.openxmlformats.org/officeDocument/2006/relationships/slideLayout" Target="../slideLayouts/slideLayout144.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tags" Target="../tags/tag92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oleObject" Target="../embeddings/oleObject135.bin"/><Relationship Id="rId3" Type="http://schemas.openxmlformats.org/officeDocument/2006/relationships/slideLayout" Target="../slideLayouts/slideLayout149.xml"/><Relationship Id="rId7" Type="http://schemas.openxmlformats.org/officeDocument/2006/relationships/slideLayout" Target="../slideLayouts/slideLayout153.xml"/><Relationship Id="rId12" Type="http://schemas.openxmlformats.org/officeDocument/2006/relationships/tags" Target="../tags/tag940.xml"/><Relationship Id="rId2" Type="http://schemas.openxmlformats.org/officeDocument/2006/relationships/slideLayout" Target="../slideLayouts/slideLayout148.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theme" Target="../theme/theme11.xml"/><Relationship Id="rId5" Type="http://schemas.openxmlformats.org/officeDocument/2006/relationships/slideLayout" Target="../slideLayouts/slideLayout151.xml"/><Relationship Id="rId15" Type="http://schemas.openxmlformats.org/officeDocument/2006/relationships/image" Target="../media/image2.wmf"/><Relationship Id="rId10" Type="http://schemas.openxmlformats.org/officeDocument/2006/relationships/slideLayout" Target="../slideLayouts/slideLayout156.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image" Target="../media/image8.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tags" Target="../tags/tag24.xml"/><Relationship Id="rId26" Type="http://schemas.openxmlformats.org/officeDocument/2006/relationships/tags" Target="../tags/tag32.xml"/><Relationship Id="rId21" Type="http://schemas.openxmlformats.org/officeDocument/2006/relationships/tags" Target="../tags/tag27.xml"/><Relationship Id="rId34" Type="http://schemas.openxmlformats.org/officeDocument/2006/relationships/tags" Target="../tags/tag40.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ags" Target="../tags/tag23.xml"/><Relationship Id="rId25" Type="http://schemas.openxmlformats.org/officeDocument/2006/relationships/tags" Target="../tags/tag31.xml"/><Relationship Id="rId33" Type="http://schemas.openxmlformats.org/officeDocument/2006/relationships/tags" Target="../tags/tag39.xml"/><Relationship Id="rId2" Type="http://schemas.openxmlformats.org/officeDocument/2006/relationships/slideLayout" Target="../slideLayouts/slideLayout13.xml"/><Relationship Id="rId16" Type="http://schemas.openxmlformats.org/officeDocument/2006/relationships/tags" Target="../tags/tag22.xml"/><Relationship Id="rId20" Type="http://schemas.openxmlformats.org/officeDocument/2006/relationships/tags" Target="../tags/tag26.xml"/><Relationship Id="rId29" Type="http://schemas.openxmlformats.org/officeDocument/2006/relationships/tags" Target="../tags/tag35.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ags" Target="../tags/tag30.xml"/><Relationship Id="rId32" Type="http://schemas.openxmlformats.org/officeDocument/2006/relationships/tags" Target="../tags/tag38.xml"/><Relationship Id="rId37" Type="http://schemas.openxmlformats.org/officeDocument/2006/relationships/image" Target="../media/image4.wmf"/><Relationship Id="rId5" Type="http://schemas.openxmlformats.org/officeDocument/2006/relationships/slideLayout" Target="../slideLayouts/slideLayout16.xml"/><Relationship Id="rId15" Type="http://schemas.openxmlformats.org/officeDocument/2006/relationships/tags" Target="../tags/tag21.xml"/><Relationship Id="rId23" Type="http://schemas.openxmlformats.org/officeDocument/2006/relationships/tags" Target="../tags/tag29.xml"/><Relationship Id="rId28" Type="http://schemas.openxmlformats.org/officeDocument/2006/relationships/tags" Target="../tags/tag34.xml"/><Relationship Id="rId36" Type="http://schemas.openxmlformats.org/officeDocument/2006/relationships/image" Target="../media/image3.emf"/><Relationship Id="rId10" Type="http://schemas.openxmlformats.org/officeDocument/2006/relationships/slideLayout" Target="../slideLayouts/slideLayout21.xml"/><Relationship Id="rId19" Type="http://schemas.openxmlformats.org/officeDocument/2006/relationships/tags" Target="../tags/tag25.xml"/><Relationship Id="rId31" Type="http://schemas.openxmlformats.org/officeDocument/2006/relationships/tags" Target="../tags/tag37.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 Id="rId22" Type="http://schemas.openxmlformats.org/officeDocument/2006/relationships/tags" Target="../tags/tag28.xml"/><Relationship Id="rId27" Type="http://schemas.openxmlformats.org/officeDocument/2006/relationships/tags" Target="../tags/tag33.xml"/><Relationship Id="rId30" Type="http://schemas.openxmlformats.org/officeDocument/2006/relationships/tags" Target="../tags/tag36.xml"/><Relationship Id="rId35" Type="http://schemas.openxmlformats.org/officeDocument/2006/relationships/oleObject" Target="../embeddings/oleObject13.bin"/><Relationship Id="rId8" Type="http://schemas.openxmlformats.org/officeDocument/2006/relationships/slideLayout" Target="../slideLayouts/slideLayout19.xml"/><Relationship Id="rId3"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tags" Target="../tags/tag129.xml"/><Relationship Id="rId26" Type="http://schemas.openxmlformats.org/officeDocument/2006/relationships/tags" Target="../tags/tag137.xml"/><Relationship Id="rId39" Type="http://schemas.openxmlformats.org/officeDocument/2006/relationships/image" Target="../media/image4.wmf"/><Relationship Id="rId21" Type="http://schemas.openxmlformats.org/officeDocument/2006/relationships/tags" Target="../tags/tag132.xml"/><Relationship Id="rId34" Type="http://schemas.openxmlformats.org/officeDocument/2006/relationships/tags" Target="../tags/tag1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tags" Target="../tags/tag128.xml"/><Relationship Id="rId25" Type="http://schemas.openxmlformats.org/officeDocument/2006/relationships/tags" Target="../tags/tag136.xml"/><Relationship Id="rId33" Type="http://schemas.openxmlformats.org/officeDocument/2006/relationships/tags" Target="../tags/tag144.xml"/><Relationship Id="rId38" Type="http://schemas.openxmlformats.org/officeDocument/2006/relationships/image" Target="../media/image3.emf"/><Relationship Id="rId2" Type="http://schemas.openxmlformats.org/officeDocument/2006/relationships/slideLayout" Target="../slideLayouts/slideLayout26.xml"/><Relationship Id="rId16" Type="http://schemas.openxmlformats.org/officeDocument/2006/relationships/theme" Target="../theme/theme3.xml"/><Relationship Id="rId20" Type="http://schemas.openxmlformats.org/officeDocument/2006/relationships/tags" Target="../tags/tag131.xml"/><Relationship Id="rId29" Type="http://schemas.openxmlformats.org/officeDocument/2006/relationships/tags" Target="../tags/tag14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ags" Target="../tags/tag135.xml"/><Relationship Id="rId32" Type="http://schemas.openxmlformats.org/officeDocument/2006/relationships/tags" Target="../tags/tag143.xml"/><Relationship Id="rId37" Type="http://schemas.openxmlformats.org/officeDocument/2006/relationships/oleObject" Target="../embeddings/oleObject27.bin"/><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tags" Target="../tags/tag134.xml"/><Relationship Id="rId28" Type="http://schemas.openxmlformats.org/officeDocument/2006/relationships/tags" Target="../tags/tag139.xml"/><Relationship Id="rId36" Type="http://schemas.openxmlformats.org/officeDocument/2006/relationships/tags" Target="../tags/tag147.xml"/><Relationship Id="rId10" Type="http://schemas.openxmlformats.org/officeDocument/2006/relationships/slideLayout" Target="../slideLayouts/slideLayout34.xml"/><Relationship Id="rId19" Type="http://schemas.openxmlformats.org/officeDocument/2006/relationships/tags" Target="../tags/tag130.xml"/><Relationship Id="rId31" Type="http://schemas.openxmlformats.org/officeDocument/2006/relationships/tags" Target="../tags/tag142.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ags" Target="../tags/tag133.xml"/><Relationship Id="rId27" Type="http://schemas.openxmlformats.org/officeDocument/2006/relationships/tags" Target="../tags/tag138.xml"/><Relationship Id="rId30" Type="http://schemas.openxmlformats.org/officeDocument/2006/relationships/tags" Target="../tags/tag141.xml"/><Relationship Id="rId35" Type="http://schemas.openxmlformats.org/officeDocument/2006/relationships/tags" Target="../tags/tag146.xml"/><Relationship Id="rId8" Type="http://schemas.openxmlformats.org/officeDocument/2006/relationships/slideLayout" Target="../slideLayouts/slideLayout32.xml"/><Relationship Id="rId3"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theme" Target="../theme/theme4.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image" Target="../media/image2.wmf"/><Relationship Id="rId2" Type="http://schemas.openxmlformats.org/officeDocument/2006/relationships/slideLayout" Target="../slideLayouts/slideLayout41.xml"/><Relationship Id="rId16" Type="http://schemas.openxmlformats.org/officeDocument/2006/relationships/image" Target="../media/image5.emf"/><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oleObject" Target="../embeddings/oleObject42.bin"/><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tags" Target="../tags/tag24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tags" Target="../tags/tag269.xml"/><Relationship Id="rId26" Type="http://schemas.openxmlformats.org/officeDocument/2006/relationships/tags" Target="../tags/tag277.xml"/><Relationship Id="rId39" Type="http://schemas.openxmlformats.org/officeDocument/2006/relationships/image" Target="../media/image3.emf"/><Relationship Id="rId21" Type="http://schemas.openxmlformats.org/officeDocument/2006/relationships/tags" Target="../tags/tag272.xml"/><Relationship Id="rId34" Type="http://schemas.openxmlformats.org/officeDocument/2006/relationships/tags" Target="../tags/tag285.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theme" Target="../theme/theme5.xml"/><Relationship Id="rId25" Type="http://schemas.openxmlformats.org/officeDocument/2006/relationships/tags" Target="../tags/tag276.xml"/><Relationship Id="rId33" Type="http://schemas.openxmlformats.org/officeDocument/2006/relationships/tags" Target="../tags/tag284.xml"/><Relationship Id="rId38" Type="http://schemas.openxmlformats.org/officeDocument/2006/relationships/oleObject" Target="../embeddings/oleObject45.bin"/><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tags" Target="../tags/tag271.xml"/><Relationship Id="rId29" Type="http://schemas.openxmlformats.org/officeDocument/2006/relationships/tags" Target="../tags/tag280.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tags" Target="../tags/tag275.xml"/><Relationship Id="rId32" Type="http://schemas.openxmlformats.org/officeDocument/2006/relationships/tags" Target="../tags/tag283.xml"/><Relationship Id="rId37" Type="http://schemas.openxmlformats.org/officeDocument/2006/relationships/tags" Target="../tags/tag288.xml"/><Relationship Id="rId40" Type="http://schemas.openxmlformats.org/officeDocument/2006/relationships/image" Target="../media/image4.wmf"/><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tags" Target="../tags/tag274.xml"/><Relationship Id="rId28" Type="http://schemas.openxmlformats.org/officeDocument/2006/relationships/tags" Target="../tags/tag279.xml"/><Relationship Id="rId36" Type="http://schemas.openxmlformats.org/officeDocument/2006/relationships/tags" Target="../tags/tag287.xml"/><Relationship Id="rId10" Type="http://schemas.openxmlformats.org/officeDocument/2006/relationships/slideLayout" Target="../slideLayouts/slideLayout61.xml"/><Relationship Id="rId19" Type="http://schemas.openxmlformats.org/officeDocument/2006/relationships/tags" Target="../tags/tag270.xml"/><Relationship Id="rId31" Type="http://schemas.openxmlformats.org/officeDocument/2006/relationships/tags" Target="../tags/tag282.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tags" Target="../tags/tag273.xml"/><Relationship Id="rId27" Type="http://schemas.openxmlformats.org/officeDocument/2006/relationships/tags" Target="../tags/tag278.xml"/><Relationship Id="rId30" Type="http://schemas.openxmlformats.org/officeDocument/2006/relationships/tags" Target="../tags/tag281.xml"/><Relationship Id="rId35" Type="http://schemas.openxmlformats.org/officeDocument/2006/relationships/tags" Target="../tags/tag286.xml"/><Relationship Id="rId8" Type="http://schemas.openxmlformats.org/officeDocument/2006/relationships/slideLayout" Target="../slideLayouts/slideLayout59.xml"/><Relationship Id="rId3"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80.xml"/><Relationship Id="rId18" Type="http://schemas.openxmlformats.org/officeDocument/2006/relationships/theme" Target="../theme/theme6.xml"/><Relationship Id="rId26" Type="http://schemas.openxmlformats.org/officeDocument/2006/relationships/tags" Target="../tags/tag400.xml"/><Relationship Id="rId39" Type="http://schemas.openxmlformats.org/officeDocument/2006/relationships/tags" Target="../tags/tag413.xml"/><Relationship Id="rId21" Type="http://schemas.openxmlformats.org/officeDocument/2006/relationships/tags" Target="../tags/tag395.xml"/><Relationship Id="rId34" Type="http://schemas.openxmlformats.org/officeDocument/2006/relationships/tags" Target="../tags/tag408.xml"/><Relationship Id="rId7" Type="http://schemas.openxmlformats.org/officeDocument/2006/relationships/slideLayout" Target="../slideLayouts/slideLayout7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tags" Target="../tags/tag394.xml"/><Relationship Id="rId29" Type="http://schemas.openxmlformats.org/officeDocument/2006/relationships/tags" Target="../tags/tag403.xml"/><Relationship Id="rId41" Type="http://schemas.openxmlformats.org/officeDocument/2006/relationships/image" Target="../media/image5.emf"/><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tags" Target="../tags/tag398.xml"/><Relationship Id="rId32" Type="http://schemas.openxmlformats.org/officeDocument/2006/relationships/tags" Target="../tags/tag406.xml"/><Relationship Id="rId37" Type="http://schemas.openxmlformats.org/officeDocument/2006/relationships/tags" Target="../tags/tag411.xml"/><Relationship Id="rId40" Type="http://schemas.openxmlformats.org/officeDocument/2006/relationships/oleObject" Target="../embeddings/oleObject61.bin"/><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tags" Target="../tags/tag397.xml"/><Relationship Id="rId28" Type="http://schemas.openxmlformats.org/officeDocument/2006/relationships/tags" Target="../tags/tag402.xml"/><Relationship Id="rId36" Type="http://schemas.openxmlformats.org/officeDocument/2006/relationships/tags" Target="../tags/tag410.xml"/><Relationship Id="rId10" Type="http://schemas.openxmlformats.org/officeDocument/2006/relationships/slideLayout" Target="../slideLayouts/slideLayout77.xml"/><Relationship Id="rId19" Type="http://schemas.openxmlformats.org/officeDocument/2006/relationships/tags" Target="../tags/tag393.xml"/><Relationship Id="rId31" Type="http://schemas.openxmlformats.org/officeDocument/2006/relationships/tags" Target="../tags/tag405.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tags" Target="../tags/tag396.xml"/><Relationship Id="rId27" Type="http://schemas.openxmlformats.org/officeDocument/2006/relationships/tags" Target="../tags/tag401.xml"/><Relationship Id="rId30" Type="http://schemas.openxmlformats.org/officeDocument/2006/relationships/tags" Target="../tags/tag404.xml"/><Relationship Id="rId35" Type="http://schemas.openxmlformats.org/officeDocument/2006/relationships/tags" Target="../tags/tag409.xml"/><Relationship Id="rId8" Type="http://schemas.openxmlformats.org/officeDocument/2006/relationships/slideLayout" Target="../slideLayouts/slideLayout75.xml"/><Relationship Id="rId3" Type="http://schemas.openxmlformats.org/officeDocument/2006/relationships/slideLayout" Target="../slideLayouts/slideLayout70.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tags" Target="../tags/tag399.xml"/><Relationship Id="rId33" Type="http://schemas.openxmlformats.org/officeDocument/2006/relationships/tags" Target="../tags/tag407.xml"/><Relationship Id="rId38" Type="http://schemas.openxmlformats.org/officeDocument/2006/relationships/tags" Target="../tags/tag41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97.xml"/><Relationship Id="rId18" Type="http://schemas.openxmlformats.org/officeDocument/2006/relationships/tags" Target="../tags/tag544.xml"/><Relationship Id="rId26" Type="http://schemas.openxmlformats.org/officeDocument/2006/relationships/tags" Target="../tags/tag552.xml"/><Relationship Id="rId39" Type="http://schemas.openxmlformats.org/officeDocument/2006/relationships/image" Target="../media/image3.emf"/><Relationship Id="rId21" Type="http://schemas.openxmlformats.org/officeDocument/2006/relationships/tags" Target="../tags/tag547.xml"/><Relationship Id="rId34" Type="http://schemas.openxmlformats.org/officeDocument/2006/relationships/tags" Target="../tags/tag560.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theme" Target="../theme/theme7.xml"/><Relationship Id="rId25" Type="http://schemas.openxmlformats.org/officeDocument/2006/relationships/tags" Target="../tags/tag551.xml"/><Relationship Id="rId33" Type="http://schemas.openxmlformats.org/officeDocument/2006/relationships/tags" Target="../tags/tag559.xml"/><Relationship Id="rId38" Type="http://schemas.openxmlformats.org/officeDocument/2006/relationships/oleObject" Target="../embeddings/oleObject79.bin"/><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tags" Target="../tags/tag546.xml"/><Relationship Id="rId29" Type="http://schemas.openxmlformats.org/officeDocument/2006/relationships/tags" Target="../tags/tag555.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tags" Target="../tags/tag550.xml"/><Relationship Id="rId32" Type="http://schemas.openxmlformats.org/officeDocument/2006/relationships/tags" Target="../tags/tag558.xml"/><Relationship Id="rId37" Type="http://schemas.openxmlformats.org/officeDocument/2006/relationships/tags" Target="../tags/tag563.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tags" Target="../tags/tag549.xml"/><Relationship Id="rId28" Type="http://schemas.openxmlformats.org/officeDocument/2006/relationships/tags" Target="../tags/tag554.xml"/><Relationship Id="rId36" Type="http://schemas.openxmlformats.org/officeDocument/2006/relationships/tags" Target="../tags/tag562.xml"/><Relationship Id="rId10" Type="http://schemas.openxmlformats.org/officeDocument/2006/relationships/slideLayout" Target="../slideLayouts/slideLayout94.xml"/><Relationship Id="rId19" Type="http://schemas.openxmlformats.org/officeDocument/2006/relationships/tags" Target="../tags/tag545.xml"/><Relationship Id="rId31" Type="http://schemas.openxmlformats.org/officeDocument/2006/relationships/tags" Target="../tags/tag557.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tags" Target="../tags/tag548.xml"/><Relationship Id="rId27" Type="http://schemas.openxmlformats.org/officeDocument/2006/relationships/tags" Target="../tags/tag553.xml"/><Relationship Id="rId30" Type="http://schemas.openxmlformats.org/officeDocument/2006/relationships/tags" Target="../tags/tag556.xml"/><Relationship Id="rId35" Type="http://schemas.openxmlformats.org/officeDocument/2006/relationships/tags" Target="../tags/tag561.xml"/><Relationship Id="rId8" Type="http://schemas.openxmlformats.org/officeDocument/2006/relationships/slideLayout" Target="../slideLayouts/slideLayout92.xml"/><Relationship Id="rId3" Type="http://schemas.openxmlformats.org/officeDocument/2006/relationships/slideLayout" Target="../slideLayouts/slideLayout8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tags" Target="../tags/tag666.xml"/><Relationship Id="rId39" Type="http://schemas.openxmlformats.org/officeDocument/2006/relationships/tags" Target="../tags/tag679.xml"/><Relationship Id="rId21" Type="http://schemas.openxmlformats.org/officeDocument/2006/relationships/theme" Target="../theme/theme8.xml"/><Relationship Id="rId34" Type="http://schemas.openxmlformats.org/officeDocument/2006/relationships/tags" Target="../tags/tag674.xml"/><Relationship Id="rId42" Type="http://schemas.openxmlformats.org/officeDocument/2006/relationships/oleObject" Target="../embeddings/oleObject96.bin"/><Relationship Id="rId7" Type="http://schemas.openxmlformats.org/officeDocument/2006/relationships/slideLayout" Target="../slideLayouts/slideLayout107.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tags" Target="../tags/tag669.xml"/><Relationship Id="rId41" Type="http://schemas.openxmlformats.org/officeDocument/2006/relationships/tags" Target="../tags/tag681.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tags" Target="../tags/tag664.xml"/><Relationship Id="rId32" Type="http://schemas.openxmlformats.org/officeDocument/2006/relationships/tags" Target="../tags/tag672.xml"/><Relationship Id="rId37" Type="http://schemas.openxmlformats.org/officeDocument/2006/relationships/tags" Target="../tags/tag677.xml"/><Relationship Id="rId40" Type="http://schemas.openxmlformats.org/officeDocument/2006/relationships/tags" Target="../tags/tag680.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tags" Target="../tags/tag663.xml"/><Relationship Id="rId28" Type="http://schemas.openxmlformats.org/officeDocument/2006/relationships/tags" Target="../tags/tag668.xml"/><Relationship Id="rId36" Type="http://schemas.openxmlformats.org/officeDocument/2006/relationships/tags" Target="../tags/tag676.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31" Type="http://schemas.openxmlformats.org/officeDocument/2006/relationships/tags" Target="../tags/tag671.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tags" Target="../tags/tag662.xml"/><Relationship Id="rId27" Type="http://schemas.openxmlformats.org/officeDocument/2006/relationships/tags" Target="../tags/tag667.xml"/><Relationship Id="rId30" Type="http://schemas.openxmlformats.org/officeDocument/2006/relationships/tags" Target="../tags/tag670.xml"/><Relationship Id="rId35" Type="http://schemas.openxmlformats.org/officeDocument/2006/relationships/tags" Target="../tags/tag675.xml"/><Relationship Id="rId43" Type="http://schemas.openxmlformats.org/officeDocument/2006/relationships/image" Target="../media/image3.emf"/><Relationship Id="rId8" Type="http://schemas.openxmlformats.org/officeDocument/2006/relationships/slideLayout" Target="../slideLayouts/slideLayout108.xml"/><Relationship Id="rId3" Type="http://schemas.openxmlformats.org/officeDocument/2006/relationships/slideLayout" Target="../slideLayouts/slideLayout103.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tags" Target="../tags/tag665.xml"/><Relationship Id="rId33" Type="http://schemas.openxmlformats.org/officeDocument/2006/relationships/tags" Target="../tags/tag673.xml"/><Relationship Id="rId38" Type="http://schemas.openxmlformats.org/officeDocument/2006/relationships/tags" Target="../tags/tag678.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33.xml"/><Relationship Id="rId18" Type="http://schemas.openxmlformats.org/officeDocument/2006/relationships/tags" Target="../tags/tag818.xml"/><Relationship Id="rId26" Type="http://schemas.openxmlformats.org/officeDocument/2006/relationships/tags" Target="../tags/tag826.xml"/><Relationship Id="rId21" Type="http://schemas.openxmlformats.org/officeDocument/2006/relationships/tags" Target="../tags/tag821.xml"/><Relationship Id="rId34" Type="http://schemas.openxmlformats.org/officeDocument/2006/relationships/tags" Target="../tags/tag834.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tags" Target="../tags/tag817.xml"/><Relationship Id="rId25" Type="http://schemas.openxmlformats.org/officeDocument/2006/relationships/tags" Target="../tags/tag825.xml"/><Relationship Id="rId33" Type="http://schemas.openxmlformats.org/officeDocument/2006/relationships/tags" Target="../tags/tag833.xml"/><Relationship Id="rId2" Type="http://schemas.openxmlformats.org/officeDocument/2006/relationships/slideLayout" Target="../slideLayouts/slideLayout122.xml"/><Relationship Id="rId16" Type="http://schemas.openxmlformats.org/officeDocument/2006/relationships/tags" Target="../tags/tag816.xml"/><Relationship Id="rId20" Type="http://schemas.openxmlformats.org/officeDocument/2006/relationships/tags" Target="../tags/tag820.xml"/><Relationship Id="rId29" Type="http://schemas.openxmlformats.org/officeDocument/2006/relationships/tags" Target="../tags/tag829.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tags" Target="../tags/tag824.xml"/><Relationship Id="rId32" Type="http://schemas.openxmlformats.org/officeDocument/2006/relationships/tags" Target="../tags/tag832.xml"/><Relationship Id="rId37" Type="http://schemas.openxmlformats.org/officeDocument/2006/relationships/image" Target="../media/image3.emf"/><Relationship Id="rId5" Type="http://schemas.openxmlformats.org/officeDocument/2006/relationships/slideLayout" Target="../slideLayouts/slideLayout125.xml"/><Relationship Id="rId15" Type="http://schemas.openxmlformats.org/officeDocument/2006/relationships/theme" Target="../theme/theme9.xml"/><Relationship Id="rId23" Type="http://schemas.openxmlformats.org/officeDocument/2006/relationships/tags" Target="../tags/tag823.xml"/><Relationship Id="rId28" Type="http://schemas.openxmlformats.org/officeDocument/2006/relationships/tags" Target="../tags/tag828.xml"/><Relationship Id="rId36" Type="http://schemas.openxmlformats.org/officeDocument/2006/relationships/oleObject" Target="../embeddings/oleObject117.bin"/><Relationship Id="rId10" Type="http://schemas.openxmlformats.org/officeDocument/2006/relationships/slideLayout" Target="../slideLayouts/slideLayout130.xml"/><Relationship Id="rId19" Type="http://schemas.openxmlformats.org/officeDocument/2006/relationships/tags" Target="../tags/tag819.xml"/><Relationship Id="rId31" Type="http://schemas.openxmlformats.org/officeDocument/2006/relationships/tags" Target="../tags/tag831.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tags" Target="../tags/tag822.xml"/><Relationship Id="rId27" Type="http://schemas.openxmlformats.org/officeDocument/2006/relationships/tags" Target="../tags/tag827.xml"/><Relationship Id="rId30" Type="http://schemas.openxmlformats.org/officeDocument/2006/relationships/tags" Target="../tags/tag830.xml"/><Relationship Id="rId35" Type="http://schemas.openxmlformats.org/officeDocument/2006/relationships/tags" Target="../tags/tag835.xml"/><Relationship Id="rId8" Type="http://schemas.openxmlformats.org/officeDocument/2006/relationships/slideLayout" Target="../slideLayouts/slideLayout128.xml"/><Relationship Id="rId3" Type="http://schemas.openxmlformats.org/officeDocument/2006/relationships/slideLayout" Target="../slideLayouts/slideLayout1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01CD7B8-8A35-4CDC-8A1E-796100BFDAE7}"/>
              </a:ext>
            </a:extLst>
          </p:cNvPr>
          <p:cNvGraphicFramePr>
            <a:graphicFrameLocks noChangeAspect="1"/>
          </p:cNvGraphicFramePr>
          <p:nvPr userDrawn="1">
            <p:custDataLst>
              <p:tags r:id="rId13"/>
            </p:custDataLst>
            <p:extLst>
              <p:ext uri="{D42A27DB-BD31-4B8C-83A1-F6EECF244321}">
                <p14:modId xmlns:p14="http://schemas.microsoft.com/office/powerpoint/2010/main" val="2559167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27" imgH="327" progId="TCLayout.ActiveDocument.1">
                  <p:embed/>
                </p:oleObj>
              </mc:Choice>
              <mc:Fallback>
                <p:oleObj name="think-cell Slide" r:id="rId14" imgW="327" imgH="327" progId="TCLayout.ActiveDocument.1">
                  <p:embed/>
                  <p:pic>
                    <p:nvPicPr>
                      <p:cNvPr id="4" name="Object 3" hidden="1">
                        <a:extLst>
                          <a:ext uri="{FF2B5EF4-FFF2-40B4-BE49-F238E27FC236}">
                            <a16:creationId xmlns:a16="http://schemas.microsoft.com/office/drawing/2014/main" id="{301CD7B8-8A35-4CDC-8A1E-796100BFDAE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pic>
        <p:nvPicPr>
          <p:cNvPr id="2" name="Picture 24">
            <a:extLst>
              <a:ext uri="{FF2B5EF4-FFF2-40B4-BE49-F238E27FC236}">
                <a16:creationId xmlns:a16="http://schemas.microsoft.com/office/drawing/2014/main" id="{9C8CFC81-FA97-234F-B4EC-3D7DBBE9A56D}"/>
              </a:ext>
            </a:extLst>
          </p:cNvPr>
          <p:cNvPicPr>
            <a:picLocks noChangeAspect="1" noChangeArrowheads="1"/>
          </p:cNvPicPr>
          <p:nvPr userDrawn="1"/>
        </p:nvPicPr>
        <p:blipFill>
          <a:blip r:embed="rId16" cstate="print">
            <a:extLst>
              <a:ext uri="{28A0092B-C50C-407E-A947-70E740481C1C}">
                <a14:useLocalDpi xmlns:a14="http://schemas.microsoft.com/office/drawing/2010/main" val="0"/>
              </a:ext>
            </a:extLst>
          </a:blip>
          <a:stretch>
            <a:fillRect/>
          </a:stretch>
        </p:blipFill>
        <p:spPr bwMode="auto">
          <a:xfrm>
            <a:off x="10742580" y="6332378"/>
            <a:ext cx="1116013" cy="346688"/>
          </a:xfrm>
          <a:prstGeom prst="rect">
            <a:avLst/>
          </a:prstGeom>
          <a:noFill/>
        </p:spPr>
      </p:pic>
      <p:sp>
        <p:nvSpPr>
          <p:cNvPr id="26626" name="Rectangle 2"/>
          <p:cNvSpPr>
            <a:spLocks noGrp="1" noChangeArrowheads="1"/>
          </p:cNvSpPr>
          <p:nvPr>
            <p:ph type="title"/>
          </p:nvPr>
        </p:nvSpPr>
        <p:spPr bwMode="auto">
          <a:xfrm>
            <a:off x="838800" y="188916"/>
            <a:ext cx="9540000" cy="93662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normAutofit/>
          </a:bodyPr>
          <a:lstStyle/>
          <a:p>
            <a:pPr lvl="0"/>
            <a:r>
              <a:rPr lang="de-AT"/>
              <a:t>Titelmasterformat durch Klicken bearbeiten</a:t>
            </a:r>
          </a:p>
        </p:txBody>
      </p:sp>
      <p:sp>
        <p:nvSpPr>
          <p:cNvPr id="26632" name="Rectangle 8"/>
          <p:cNvSpPr>
            <a:spLocks noGrp="1" noChangeArrowheads="1"/>
          </p:cNvSpPr>
          <p:nvPr>
            <p:ph type="sldNum" sz="quarter" idx="4"/>
          </p:nvPr>
        </p:nvSpPr>
        <p:spPr bwMode="auto">
          <a:xfrm>
            <a:off x="297888" y="6245225"/>
            <a:ext cx="4692569"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defRPr sz="800">
                <a:solidFill>
                  <a:schemeClr val="bg1">
                    <a:lumMod val="50000"/>
                  </a:schemeClr>
                </a:solidFill>
                <a:latin typeface="Bahnschrift" panose="020B0502040204020203" pitchFamily="34" charset="0"/>
              </a:defRPr>
            </a:lvl1pPr>
          </a:lstStyle>
          <a:p>
            <a:fld id="{53411996-E14A-4808-B0AE-FE4357D1C128}" type="slidenum">
              <a:rPr lang="de-AT" smtClean="0"/>
              <a:pPr/>
              <a:t>‹Nr.›</a:t>
            </a:fld>
            <a:endParaRPr lang="de-AT"/>
          </a:p>
        </p:txBody>
      </p:sp>
      <p:sp>
        <p:nvSpPr>
          <p:cNvPr id="9" name="Textplatzhalter 8"/>
          <p:cNvSpPr>
            <a:spLocks noGrp="1"/>
          </p:cNvSpPr>
          <p:nvPr>
            <p:ph type="body" idx="1"/>
          </p:nvPr>
        </p:nvSpPr>
        <p:spPr>
          <a:xfrm>
            <a:off x="838800" y="1483200"/>
            <a:ext cx="9540000" cy="4666140"/>
          </a:xfrm>
          <a:prstGeom prst="rect">
            <a:avLst/>
          </a:prstGeom>
        </p:spPr>
        <p:txBody>
          <a:bodyPr vert="horz" lIns="91440" tIns="45720" rIns="91440" bIns="45720"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AT"/>
          </a:p>
        </p:txBody>
      </p:sp>
    </p:spTree>
  </p:cSld>
  <p:clrMap bg1="lt1" tx1="dk1" bg2="lt2" tx2="dk2" accent1="accent1" accent2="accent2" accent3="accent3" accent4="accent4" accent5="accent5" accent6="accent6" hlink="hlink" folHlink="folHlink"/>
  <p:sldLayoutIdLst>
    <p:sldLayoutId id="2147483672" r:id="rId1"/>
    <p:sldLayoutId id="2147483673" r:id="rId2"/>
    <p:sldLayoutId id="2147483683" r:id="rId3"/>
    <p:sldLayoutId id="2147483674" r:id="rId4"/>
    <p:sldLayoutId id="2147483675" r:id="rId5"/>
    <p:sldLayoutId id="2147483676" r:id="rId6"/>
    <p:sldLayoutId id="2147483677" r:id="rId7"/>
    <p:sldLayoutId id="2147483678" r:id="rId8"/>
    <p:sldLayoutId id="2147483679" r:id="rId9"/>
    <p:sldLayoutId id="2147483680" r:id="rId10"/>
    <p:sldLayoutId id="2147483845" r:id="rId11"/>
  </p:sldLayoutIdLst>
  <p:hf hdr="0" ftr="0" dt="0"/>
  <p:txStyles>
    <p:titleStyle>
      <a:lvl1pPr algn="l" rtl="0" eaLnBrk="1" fontAlgn="base" hangingPunct="1">
        <a:lnSpc>
          <a:spcPct val="80000"/>
        </a:lnSpc>
        <a:spcBef>
          <a:spcPct val="0"/>
        </a:spcBef>
        <a:spcAft>
          <a:spcPct val="0"/>
        </a:spcAft>
        <a:defRPr sz="2800" b="0">
          <a:solidFill>
            <a:schemeClr val="tx1"/>
          </a:solidFill>
          <a:latin typeface="Bahnschrift" panose="020B0502040204020203" pitchFamily="34" charset="0"/>
          <a:ea typeface="+mj-ea"/>
          <a:cs typeface="+mj-cs"/>
        </a:defRPr>
      </a:lvl1pPr>
      <a:lvl2pPr algn="l" rtl="0" eaLnBrk="1" fontAlgn="base" hangingPunct="1">
        <a:lnSpc>
          <a:spcPct val="80000"/>
        </a:lnSpc>
        <a:spcBef>
          <a:spcPct val="0"/>
        </a:spcBef>
        <a:spcAft>
          <a:spcPct val="0"/>
        </a:spcAft>
        <a:defRPr sz="3000">
          <a:solidFill>
            <a:srgbClr val="4C5D68"/>
          </a:solidFill>
          <a:latin typeface="Trebuchet MS" pitchFamily="34" charset="0"/>
        </a:defRPr>
      </a:lvl2pPr>
      <a:lvl3pPr algn="l" rtl="0" eaLnBrk="1" fontAlgn="base" hangingPunct="1">
        <a:lnSpc>
          <a:spcPct val="80000"/>
        </a:lnSpc>
        <a:spcBef>
          <a:spcPct val="0"/>
        </a:spcBef>
        <a:spcAft>
          <a:spcPct val="0"/>
        </a:spcAft>
        <a:defRPr sz="3000">
          <a:solidFill>
            <a:srgbClr val="4C5D68"/>
          </a:solidFill>
          <a:latin typeface="Trebuchet MS" pitchFamily="34" charset="0"/>
        </a:defRPr>
      </a:lvl3pPr>
      <a:lvl4pPr algn="l" rtl="0" eaLnBrk="1" fontAlgn="base" hangingPunct="1">
        <a:lnSpc>
          <a:spcPct val="80000"/>
        </a:lnSpc>
        <a:spcBef>
          <a:spcPct val="0"/>
        </a:spcBef>
        <a:spcAft>
          <a:spcPct val="0"/>
        </a:spcAft>
        <a:defRPr sz="3000">
          <a:solidFill>
            <a:srgbClr val="4C5D68"/>
          </a:solidFill>
          <a:latin typeface="Trebuchet MS" pitchFamily="34" charset="0"/>
        </a:defRPr>
      </a:lvl4pPr>
      <a:lvl5pPr algn="l" rtl="0" eaLnBrk="1" fontAlgn="base" hangingPunct="1">
        <a:lnSpc>
          <a:spcPct val="80000"/>
        </a:lnSpc>
        <a:spcBef>
          <a:spcPct val="0"/>
        </a:spcBef>
        <a:spcAft>
          <a:spcPct val="0"/>
        </a:spcAft>
        <a:defRPr sz="3000">
          <a:solidFill>
            <a:srgbClr val="4C5D68"/>
          </a:solidFill>
          <a:latin typeface="Trebuchet MS" pitchFamily="34" charset="0"/>
        </a:defRPr>
      </a:lvl5pPr>
      <a:lvl6pPr marL="457200" algn="l" rtl="0" eaLnBrk="1" fontAlgn="base" hangingPunct="1">
        <a:lnSpc>
          <a:spcPct val="80000"/>
        </a:lnSpc>
        <a:spcBef>
          <a:spcPct val="0"/>
        </a:spcBef>
        <a:spcAft>
          <a:spcPct val="0"/>
        </a:spcAft>
        <a:defRPr sz="3000">
          <a:solidFill>
            <a:srgbClr val="4C5D68"/>
          </a:solidFill>
          <a:latin typeface="Trebuchet MS" pitchFamily="34" charset="0"/>
        </a:defRPr>
      </a:lvl6pPr>
      <a:lvl7pPr marL="914400" algn="l" rtl="0" eaLnBrk="1" fontAlgn="base" hangingPunct="1">
        <a:lnSpc>
          <a:spcPct val="80000"/>
        </a:lnSpc>
        <a:spcBef>
          <a:spcPct val="0"/>
        </a:spcBef>
        <a:spcAft>
          <a:spcPct val="0"/>
        </a:spcAft>
        <a:defRPr sz="3000">
          <a:solidFill>
            <a:srgbClr val="4C5D68"/>
          </a:solidFill>
          <a:latin typeface="Trebuchet MS" pitchFamily="34" charset="0"/>
        </a:defRPr>
      </a:lvl7pPr>
      <a:lvl8pPr marL="1371600" algn="l" rtl="0" eaLnBrk="1" fontAlgn="base" hangingPunct="1">
        <a:lnSpc>
          <a:spcPct val="80000"/>
        </a:lnSpc>
        <a:spcBef>
          <a:spcPct val="0"/>
        </a:spcBef>
        <a:spcAft>
          <a:spcPct val="0"/>
        </a:spcAft>
        <a:defRPr sz="3000">
          <a:solidFill>
            <a:srgbClr val="4C5D68"/>
          </a:solidFill>
          <a:latin typeface="Trebuchet MS" pitchFamily="34" charset="0"/>
        </a:defRPr>
      </a:lvl8pPr>
      <a:lvl9pPr marL="1828800" algn="l" rtl="0" eaLnBrk="1" fontAlgn="base" hangingPunct="1">
        <a:lnSpc>
          <a:spcPct val="80000"/>
        </a:lnSpc>
        <a:spcBef>
          <a:spcPct val="0"/>
        </a:spcBef>
        <a:spcAft>
          <a:spcPct val="0"/>
        </a:spcAft>
        <a:defRPr sz="3000">
          <a:solidFill>
            <a:srgbClr val="4C5D68"/>
          </a:solidFill>
          <a:latin typeface="Trebuchet MS" pitchFamily="34" charset="0"/>
        </a:defRPr>
      </a:lvl9pPr>
    </p:titleStyle>
    <p:body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B04DF45-113E-C207-29C7-7A54D8E8CA13}"/>
              </a:ext>
            </a:extLst>
          </p:cNvPr>
          <p:cNvGraphicFramePr>
            <a:graphicFrameLocks noChangeAspect="1"/>
          </p:cNvGraphicFramePr>
          <p:nvPr userDrawn="1">
            <p:custDataLst>
              <p:tags r:id="rId14"/>
            </p:custDataLst>
            <p:extLst>
              <p:ext uri="{D42A27DB-BD31-4B8C-83A1-F6EECF244321}">
                <p14:modId xmlns:p14="http://schemas.microsoft.com/office/powerpoint/2010/main" val="2624641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592" imgH="591" progId="TCLayout.ActiveDocument.1">
                  <p:embed/>
                </p:oleObj>
              </mc:Choice>
              <mc:Fallback>
                <p:oleObj name="think-cell Slide" r:id="rId15" imgW="592" imgH="591" progId="TCLayout.ActiveDocument.1">
                  <p:embed/>
                  <p:pic>
                    <p:nvPicPr>
                      <p:cNvPr id="4" name="Object 3" hidden="1">
                        <a:extLst>
                          <a:ext uri="{FF2B5EF4-FFF2-40B4-BE49-F238E27FC236}">
                            <a16:creationId xmlns:a16="http://schemas.microsoft.com/office/drawing/2014/main" id="{0B04DF45-113E-C207-29C7-7A54D8E8CA13}"/>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pic>
        <p:nvPicPr>
          <p:cNvPr id="2" name="Picture 24">
            <a:extLst>
              <a:ext uri="{FF2B5EF4-FFF2-40B4-BE49-F238E27FC236}">
                <a16:creationId xmlns:a16="http://schemas.microsoft.com/office/drawing/2014/main" id="{9C8CFC81-FA97-234F-B4EC-3D7DBBE9A56D}"/>
              </a:ext>
            </a:extLst>
          </p:cNvPr>
          <p:cNvPicPr>
            <a:picLocks noChangeAspect="1" noChangeArrowheads="1"/>
          </p:cNvPicPr>
          <p:nvPr userDrawn="1"/>
        </p:nvPicPr>
        <p:blipFill>
          <a:blip r:embed="rId17" cstate="print">
            <a:extLst>
              <a:ext uri="{28A0092B-C50C-407E-A947-70E740481C1C}">
                <a14:useLocalDpi xmlns:a14="http://schemas.microsoft.com/office/drawing/2010/main" val="0"/>
              </a:ext>
            </a:extLst>
          </a:blip>
          <a:stretch>
            <a:fillRect/>
          </a:stretch>
        </p:blipFill>
        <p:spPr bwMode="auto">
          <a:xfrm>
            <a:off x="10742580" y="6332378"/>
            <a:ext cx="1116013" cy="346688"/>
          </a:xfrm>
          <a:prstGeom prst="rect">
            <a:avLst/>
          </a:prstGeom>
          <a:noFill/>
        </p:spPr>
      </p:pic>
      <p:sp>
        <p:nvSpPr>
          <p:cNvPr id="26626" name="Rectangle 2"/>
          <p:cNvSpPr>
            <a:spLocks noGrp="1" noChangeArrowheads="1"/>
          </p:cNvSpPr>
          <p:nvPr>
            <p:ph type="title"/>
          </p:nvPr>
        </p:nvSpPr>
        <p:spPr bwMode="auto">
          <a:xfrm>
            <a:off x="838800" y="188916"/>
            <a:ext cx="9540000" cy="93662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normAutofit/>
          </a:bodyPr>
          <a:lstStyle/>
          <a:p>
            <a:pPr lvl="0"/>
            <a:r>
              <a:rPr lang="de-AT" dirty="0"/>
              <a:t>Titelmasterformat durch Klicken bearbeiten</a:t>
            </a:r>
          </a:p>
        </p:txBody>
      </p:sp>
      <p:sp>
        <p:nvSpPr>
          <p:cNvPr id="26632" name="Rectangle 8"/>
          <p:cNvSpPr>
            <a:spLocks noGrp="1" noChangeArrowheads="1"/>
          </p:cNvSpPr>
          <p:nvPr>
            <p:ph type="sldNum" sz="quarter" idx="4"/>
          </p:nvPr>
        </p:nvSpPr>
        <p:spPr bwMode="auto">
          <a:xfrm>
            <a:off x="838801" y="6245225"/>
            <a:ext cx="4692569"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defRPr sz="800">
                <a:solidFill>
                  <a:schemeClr val="bg1">
                    <a:lumMod val="50000"/>
                  </a:schemeClr>
                </a:solidFill>
                <a:latin typeface="+mn-lt"/>
              </a:defRPr>
            </a:lvl1pPr>
          </a:lstStyle>
          <a:p>
            <a:fld id="{53411996-E14A-4808-B0AE-FE4357D1C128}" type="slidenum">
              <a:rPr lang="de-AT" smtClean="0"/>
              <a:pPr/>
              <a:t>‹Nr.›</a:t>
            </a:fld>
            <a:endParaRPr lang="de-AT" dirty="0"/>
          </a:p>
        </p:txBody>
      </p:sp>
      <p:sp>
        <p:nvSpPr>
          <p:cNvPr id="9" name="Textplatzhalter 8"/>
          <p:cNvSpPr>
            <a:spLocks noGrp="1"/>
          </p:cNvSpPr>
          <p:nvPr>
            <p:ph type="body" idx="1"/>
          </p:nvPr>
        </p:nvSpPr>
        <p:spPr>
          <a:xfrm>
            <a:off x="838800" y="1483200"/>
            <a:ext cx="9540000" cy="4666140"/>
          </a:xfrm>
          <a:prstGeom prst="rect">
            <a:avLst/>
          </a:prstGeom>
        </p:spPr>
        <p:txBody>
          <a:bodyPr vert="horz" lIns="91440" tIns="45720" rIns="91440" bIns="45720" rtlCol="0">
            <a:norm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de-AT" dirty="0"/>
          </a:p>
        </p:txBody>
      </p:sp>
    </p:spTree>
    <p:extLst>
      <p:ext uri="{BB962C8B-B14F-4D97-AF65-F5344CB8AC3E}">
        <p14:creationId xmlns:p14="http://schemas.microsoft.com/office/powerpoint/2010/main" val="2314628082"/>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Lst>
  <p:hf sldNum="0" hdr="0" ftr="0" dt="0"/>
  <p:txStyles>
    <p:titleStyle>
      <a:lvl1pPr algn="l" rtl="0" eaLnBrk="1" fontAlgn="base" hangingPunct="1">
        <a:lnSpc>
          <a:spcPct val="80000"/>
        </a:lnSpc>
        <a:spcBef>
          <a:spcPct val="0"/>
        </a:spcBef>
        <a:spcAft>
          <a:spcPct val="0"/>
        </a:spcAft>
        <a:defRPr sz="2800" b="0">
          <a:solidFill>
            <a:schemeClr val="tx1"/>
          </a:solidFill>
          <a:latin typeface="Bahnschrift" panose="020B0502040204020203" pitchFamily="34" charset="0"/>
          <a:ea typeface="+mj-ea"/>
          <a:cs typeface="+mj-cs"/>
        </a:defRPr>
      </a:lvl1pPr>
      <a:lvl2pPr algn="l" rtl="0" eaLnBrk="1" fontAlgn="base" hangingPunct="1">
        <a:lnSpc>
          <a:spcPct val="80000"/>
        </a:lnSpc>
        <a:spcBef>
          <a:spcPct val="0"/>
        </a:spcBef>
        <a:spcAft>
          <a:spcPct val="0"/>
        </a:spcAft>
        <a:defRPr sz="3000">
          <a:solidFill>
            <a:srgbClr val="4C5D68"/>
          </a:solidFill>
          <a:latin typeface="Trebuchet MS" pitchFamily="34" charset="0"/>
        </a:defRPr>
      </a:lvl2pPr>
      <a:lvl3pPr algn="l" rtl="0" eaLnBrk="1" fontAlgn="base" hangingPunct="1">
        <a:lnSpc>
          <a:spcPct val="80000"/>
        </a:lnSpc>
        <a:spcBef>
          <a:spcPct val="0"/>
        </a:spcBef>
        <a:spcAft>
          <a:spcPct val="0"/>
        </a:spcAft>
        <a:defRPr sz="3000">
          <a:solidFill>
            <a:srgbClr val="4C5D68"/>
          </a:solidFill>
          <a:latin typeface="Trebuchet MS" pitchFamily="34" charset="0"/>
        </a:defRPr>
      </a:lvl3pPr>
      <a:lvl4pPr algn="l" rtl="0" eaLnBrk="1" fontAlgn="base" hangingPunct="1">
        <a:lnSpc>
          <a:spcPct val="80000"/>
        </a:lnSpc>
        <a:spcBef>
          <a:spcPct val="0"/>
        </a:spcBef>
        <a:spcAft>
          <a:spcPct val="0"/>
        </a:spcAft>
        <a:defRPr sz="3000">
          <a:solidFill>
            <a:srgbClr val="4C5D68"/>
          </a:solidFill>
          <a:latin typeface="Trebuchet MS" pitchFamily="34" charset="0"/>
        </a:defRPr>
      </a:lvl4pPr>
      <a:lvl5pPr algn="l" rtl="0" eaLnBrk="1" fontAlgn="base" hangingPunct="1">
        <a:lnSpc>
          <a:spcPct val="80000"/>
        </a:lnSpc>
        <a:spcBef>
          <a:spcPct val="0"/>
        </a:spcBef>
        <a:spcAft>
          <a:spcPct val="0"/>
        </a:spcAft>
        <a:defRPr sz="3000">
          <a:solidFill>
            <a:srgbClr val="4C5D68"/>
          </a:solidFill>
          <a:latin typeface="Trebuchet MS" pitchFamily="34" charset="0"/>
        </a:defRPr>
      </a:lvl5pPr>
      <a:lvl6pPr marL="457200" algn="l" rtl="0" eaLnBrk="1" fontAlgn="base" hangingPunct="1">
        <a:lnSpc>
          <a:spcPct val="80000"/>
        </a:lnSpc>
        <a:spcBef>
          <a:spcPct val="0"/>
        </a:spcBef>
        <a:spcAft>
          <a:spcPct val="0"/>
        </a:spcAft>
        <a:defRPr sz="3000">
          <a:solidFill>
            <a:srgbClr val="4C5D68"/>
          </a:solidFill>
          <a:latin typeface="Trebuchet MS" pitchFamily="34" charset="0"/>
        </a:defRPr>
      </a:lvl6pPr>
      <a:lvl7pPr marL="914400" algn="l" rtl="0" eaLnBrk="1" fontAlgn="base" hangingPunct="1">
        <a:lnSpc>
          <a:spcPct val="80000"/>
        </a:lnSpc>
        <a:spcBef>
          <a:spcPct val="0"/>
        </a:spcBef>
        <a:spcAft>
          <a:spcPct val="0"/>
        </a:spcAft>
        <a:defRPr sz="3000">
          <a:solidFill>
            <a:srgbClr val="4C5D68"/>
          </a:solidFill>
          <a:latin typeface="Trebuchet MS" pitchFamily="34" charset="0"/>
        </a:defRPr>
      </a:lvl7pPr>
      <a:lvl8pPr marL="1371600" algn="l" rtl="0" eaLnBrk="1" fontAlgn="base" hangingPunct="1">
        <a:lnSpc>
          <a:spcPct val="80000"/>
        </a:lnSpc>
        <a:spcBef>
          <a:spcPct val="0"/>
        </a:spcBef>
        <a:spcAft>
          <a:spcPct val="0"/>
        </a:spcAft>
        <a:defRPr sz="3000">
          <a:solidFill>
            <a:srgbClr val="4C5D68"/>
          </a:solidFill>
          <a:latin typeface="Trebuchet MS" pitchFamily="34" charset="0"/>
        </a:defRPr>
      </a:lvl8pPr>
      <a:lvl9pPr marL="1828800" algn="l" rtl="0" eaLnBrk="1" fontAlgn="base" hangingPunct="1">
        <a:lnSpc>
          <a:spcPct val="80000"/>
        </a:lnSpc>
        <a:spcBef>
          <a:spcPct val="0"/>
        </a:spcBef>
        <a:spcAft>
          <a:spcPct val="0"/>
        </a:spcAft>
        <a:defRPr sz="3000">
          <a:solidFill>
            <a:srgbClr val="4C5D68"/>
          </a:solidFill>
          <a:latin typeface="Trebuchet MS" pitchFamily="34" charset="0"/>
        </a:defRPr>
      </a:lvl9pPr>
    </p:titleStyle>
    <p:body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6E6B21F-AC90-CB05-E681-92662D8F6B56}"/>
              </a:ext>
            </a:extLst>
          </p:cNvPr>
          <p:cNvGraphicFramePr>
            <a:graphicFrameLocks noChangeAspect="1"/>
          </p:cNvGraphicFramePr>
          <p:nvPr userDrawn="1">
            <p:custDataLst>
              <p:tags r:id="rId12"/>
            </p:custDataLst>
            <p:extLst>
              <p:ext uri="{D42A27DB-BD31-4B8C-83A1-F6EECF244321}">
                <p14:modId xmlns:p14="http://schemas.microsoft.com/office/powerpoint/2010/main" val="372652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592" imgH="595" progId="TCLayout.ActiveDocument.1">
                  <p:embed/>
                </p:oleObj>
              </mc:Choice>
              <mc:Fallback>
                <p:oleObj name="think-cell Slide" r:id="rId13" imgW="592" imgH="595" progId="TCLayout.ActiveDocument.1">
                  <p:embed/>
                  <p:pic>
                    <p:nvPicPr>
                      <p:cNvPr id="4" name="think-cell data - do not delete" hidden="1">
                        <a:extLst>
                          <a:ext uri="{FF2B5EF4-FFF2-40B4-BE49-F238E27FC236}">
                            <a16:creationId xmlns:a16="http://schemas.microsoft.com/office/drawing/2014/main" id="{86E6B21F-AC90-CB05-E681-92662D8F6B5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pic>
        <p:nvPicPr>
          <p:cNvPr id="2" name="Picture 24">
            <a:extLst>
              <a:ext uri="{FF2B5EF4-FFF2-40B4-BE49-F238E27FC236}">
                <a16:creationId xmlns:a16="http://schemas.microsoft.com/office/drawing/2014/main" id="{9C8CFC81-FA97-234F-B4EC-3D7DBBE9A56D}"/>
              </a:ext>
            </a:extLst>
          </p:cNvPr>
          <p:cNvPicPr>
            <a:picLocks noChangeAspect="1" noChangeArrowheads="1"/>
          </p:cNvPicPr>
          <p:nvPr userDrawn="1"/>
        </p:nvPicPr>
        <p:blipFill>
          <a:blip r:embed="rId15" cstate="print">
            <a:extLst>
              <a:ext uri="{28A0092B-C50C-407E-A947-70E740481C1C}">
                <a14:useLocalDpi xmlns:a14="http://schemas.microsoft.com/office/drawing/2010/main" val="0"/>
              </a:ext>
            </a:extLst>
          </a:blip>
          <a:stretch>
            <a:fillRect/>
          </a:stretch>
        </p:blipFill>
        <p:spPr bwMode="auto">
          <a:xfrm>
            <a:off x="10742580" y="6332378"/>
            <a:ext cx="1116013" cy="346688"/>
          </a:xfrm>
          <a:prstGeom prst="rect">
            <a:avLst/>
          </a:prstGeom>
          <a:noFill/>
        </p:spPr>
      </p:pic>
      <p:sp>
        <p:nvSpPr>
          <p:cNvPr id="26626" name="Rectangle 2"/>
          <p:cNvSpPr>
            <a:spLocks noGrp="1" noChangeArrowheads="1"/>
          </p:cNvSpPr>
          <p:nvPr>
            <p:ph type="title"/>
          </p:nvPr>
        </p:nvSpPr>
        <p:spPr bwMode="auto">
          <a:xfrm>
            <a:off x="838800" y="780831"/>
            <a:ext cx="9540000" cy="344710"/>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p>
            <a:pPr lvl="0"/>
            <a:r>
              <a:rPr lang="de-AT" dirty="0"/>
              <a:t>Titelmasterformat durch Klicken bearbeiten</a:t>
            </a:r>
          </a:p>
        </p:txBody>
      </p:sp>
      <p:sp>
        <p:nvSpPr>
          <p:cNvPr id="26632" name="Rectangle 8"/>
          <p:cNvSpPr>
            <a:spLocks noGrp="1" noChangeArrowheads="1"/>
          </p:cNvSpPr>
          <p:nvPr>
            <p:ph type="sldNum" sz="quarter" idx="4"/>
          </p:nvPr>
        </p:nvSpPr>
        <p:spPr bwMode="auto">
          <a:xfrm>
            <a:off x="203200" y="6598363"/>
            <a:ext cx="226027" cy="12311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l">
              <a:defRPr sz="800">
                <a:solidFill>
                  <a:schemeClr val="bg1">
                    <a:lumMod val="50000"/>
                  </a:schemeClr>
                </a:solidFill>
                <a:latin typeface="+mn-lt"/>
                <a:sym typeface="Bahnschrift" panose="020B0502040204020203" pitchFamily="34" charset="0"/>
              </a:defRPr>
            </a:lvl1pPr>
          </a:lstStyle>
          <a:p>
            <a:fld id="{53411996-E14A-4808-B0AE-FE4357D1C128}" type="slidenum">
              <a:rPr lang="de-AT" smtClean="0"/>
              <a:pPr/>
              <a:t>‹Nr.›</a:t>
            </a:fld>
            <a:endParaRPr lang="de-AT" dirty="0"/>
          </a:p>
        </p:txBody>
      </p:sp>
      <p:sp>
        <p:nvSpPr>
          <p:cNvPr id="9" name="Textplatzhalter 8"/>
          <p:cNvSpPr>
            <a:spLocks noGrp="1"/>
          </p:cNvSpPr>
          <p:nvPr>
            <p:ph type="body" idx="1"/>
          </p:nvPr>
        </p:nvSpPr>
        <p:spPr>
          <a:xfrm>
            <a:off x="838800" y="1483200"/>
            <a:ext cx="9540000" cy="4666140"/>
          </a:xfrm>
          <a:prstGeom prst="rect">
            <a:avLst/>
          </a:prstGeom>
        </p:spPr>
        <p:txBody>
          <a:bodyPr vert="horz" lIns="0" tIns="0" rIns="0" bIns="0" rtlCol="0">
            <a:normAutofit/>
          </a:bodyPr>
          <a:lstStyle/>
          <a:p>
            <a:pPr lvl="0"/>
            <a:r>
              <a:rPr lang="de-DE" dirty="0"/>
              <a:t>Sie lesen eben einen Blindtext beziehungsweise Musterworte, um die Optik besser sehen zu können.</a:t>
            </a:r>
          </a:p>
          <a:p>
            <a:pPr lvl="1"/>
            <a:r>
              <a:rPr lang="de-DE" dirty="0"/>
              <a:t>Der Text ist daher an sich redundant, aber Sie können nun die Abtrennungen besser sehen.</a:t>
            </a:r>
          </a:p>
          <a:p>
            <a:pPr lvl="2"/>
            <a:r>
              <a:rPr lang="de-DE" dirty="0"/>
              <a:t>Beispielsweise wäre die zweite Ebene jene, die jetzt</a:t>
            </a:r>
          </a:p>
          <a:p>
            <a:pPr lvl="3"/>
            <a:r>
              <a:rPr lang="de-DE" dirty="0"/>
              <a:t>folgt.</a:t>
            </a:r>
          </a:p>
          <a:p>
            <a:pPr lvl="4"/>
            <a:r>
              <a:rPr lang="de-DE" dirty="0"/>
              <a:t>Beispielsweise wäre die dritte Ebene jene, die jetzt folgt.</a:t>
            </a:r>
          </a:p>
        </p:txBody>
      </p:sp>
    </p:spTree>
    <p:extLst>
      <p:ext uri="{BB962C8B-B14F-4D97-AF65-F5344CB8AC3E}">
        <p14:creationId xmlns:p14="http://schemas.microsoft.com/office/powerpoint/2010/main" val="3311431142"/>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Lst>
  <p:hf sldNum="0" hdr="0" ftr="0" dt="0"/>
  <p:txStyles>
    <p:titleStyle>
      <a:lvl1pPr algn="l" rtl="0" eaLnBrk="1" fontAlgn="base" hangingPunct="1">
        <a:lnSpc>
          <a:spcPct val="80000"/>
        </a:lnSpc>
        <a:spcBef>
          <a:spcPct val="0"/>
        </a:spcBef>
        <a:spcAft>
          <a:spcPct val="0"/>
        </a:spcAft>
        <a:defRPr sz="2800" b="0">
          <a:solidFill>
            <a:schemeClr val="tx1"/>
          </a:solidFill>
          <a:latin typeface="+mj-lt"/>
          <a:ea typeface="+mj-ea"/>
          <a:cs typeface="+mj-cs"/>
          <a:sym typeface="Bahnschrift" panose="020B0502040204020203" pitchFamily="34" charset="0"/>
        </a:defRPr>
      </a:lvl1pPr>
      <a:lvl2pPr algn="l" rtl="0" eaLnBrk="1" fontAlgn="base" hangingPunct="1">
        <a:lnSpc>
          <a:spcPct val="80000"/>
        </a:lnSpc>
        <a:spcBef>
          <a:spcPct val="0"/>
        </a:spcBef>
        <a:spcAft>
          <a:spcPct val="0"/>
        </a:spcAft>
        <a:defRPr sz="3000">
          <a:solidFill>
            <a:srgbClr val="4C5D68"/>
          </a:solidFill>
          <a:latin typeface="Trebuchet MS" pitchFamily="34" charset="0"/>
        </a:defRPr>
      </a:lvl2pPr>
      <a:lvl3pPr algn="l" rtl="0" eaLnBrk="1" fontAlgn="base" hangingPunct="1">
        <a:lnSpc>
          <a:spcPct val="80000"/>
        </a:lnSpc>
        <a:spcBef>
          <a:spcPct val="0"/>
        </a:spcBef>
        <a:spcAft>
          <a:spcPct val="0"/>
        </a:spcAft>
        <a:defRPr sz="3000">
          <a:solidFill>
            <a:srgbClr val="4C5D68"/>
          </a:solidFill>
          <a:latin typeface="Trebuchet MS" pitchFamily="34" charset="0"/>
        </a:defRPr>
      </a:lvl3pPr>
      <a:lvl4pPr algn="l" rtl="0" eaLnBrk="1" fontAlgn="base" hangingPunct="1">
        <a:lnSpc>
          <a:spcPct val="80000"/>
        </a:lnSpc>
        <a:spcBef>
          <a:spcPct val="0"/>
        </a:spcBef>
        <a:spcAft>
          <a:spcPct val="0"/>
        </a:spcAft>
        <a:defRPr sz="3000">
          <a:solidFill>
            <a:srgbClr val="4C5D68"/>
          </a:solidFill>
          <a:latin typeface="Trebuchet MS" pitchFamily="34" charset="0"/>
        </a:defRPr>
      </a:lvl4pPr>
      <a:lvl5pPr algn="l" rtl="0" eaLnBrk="1" fontAlgn="base" hangingPunct="1">
        <a:lnSpc>
          <a:spcPct val="80000"/>
        </a:lnSpc>
        <a:spcBef>
          <a:spcPct val="0"/>
        </a:spcBef>
        <a:spcAft>
          <a:spcPct val="0"/>
        </a:spcAft>
        <a:defRPr sz="3000">
          <a:solidFill>
            <a:srgbClr val="4C5D68"/>
          </a:solidFill>
          <a:latin typeface="Trebuchet MS" pitchFamily="34" charset="0"/>
        </a:defRPr>
      </a:lvl5pPr>
      <a:lvl6pPr marL="457200" algn="l" rtl="0" eaLnBrk="1" fontAlgn="base" hangingPunct="1">
        <a:lnSpc>
          <a:spcPct val="80000"/>
        </a:lnSpc>
        <a:spcBef>
          <a:spcPct val="0"/>
        </a:spcBef>
        <a:spcAft>
          <a:spcPct val="0"/>
        </a:spcAft>
        <a:defRPr sz="3000">
          <a:solidFill>
            <a:srgbClr val="4C5D68"/>
          </a:solidFill>
          <a:latin typeface="Trebuchet MS" pitchFamily="34" charset="0"/>
        </a:defRPr>
      </a:lvl6pPr>
      <a:lvl7pPr marL="914400" algn="l" rtl="0" eaLnBrk="1" fontAlgn="base" hangingPunct="1">
        <a:lnSpc>
          <a:spcPct val="80000"/>
        </a:lnSpc>
        <a:spcBef>
          <a:spcPct val="0"/>
        </a:spcBef>
        <a:spcAft>
          <a:spcPct val="0"/>
        </a:spcAft>
        <a:defRPr sz="3000">
          <a:solidFill>
            <a:srgbClr val="4C5D68"/>
          </a:solidFill>
          <a:latin typeface="Trebuchet MS" pitchFamily="34" charset="0"/>
        </a:defRPr>
      </a:lvl7pPr>
      <a:lvl8pPr marL="1371600" algn="l" rtl="0" eaLnBrk="1" fontAlgn="base" hangingPunct="1">
        <a:lnSpc>
          <a:spcPct val="80000"/>
        </a:lnSpc>
        <a:spcBef>
          <a:spcPct val="0"/>
        </a:spcBef>
        <a:spcAft>
          <a:spcPct val="0"/>
        </a:spcAft>
        <a:defRPr sz="3000">
          <a:solidFill>
            <a:srgbClr val="4C5D68"/>
          </a:solidFill>
          <a:latin typeface="Trebuchet MS" pitchFamily="34" charset="0"/>
        </a:defRPr>
      </a:lvl8pPr>
      <a:lvl9pPr marL="1828800" algn="l" rtl="0" eaLnBrk="1" fontAlgn="base" hangingPunct="1">
        <a:lnSpc>
          <a:spcPct val="80000"/>
        </a:lnSpc>
        <a:spcBef>
          <a:spcPct val="0"/>
        </a:spcBef>
        <a:spcAft>
          <a:spcPct val="0"/>
        </a:spcAft>
        <a:defRPr sz="3000">
          <a:solidFill>
            <a:srgbClr val="4C5D68"/>
          </a:solidFill>
          <a:latin typeface="Trebuchet MS" pitchFamily="34" charset="0"/>
        </a:defRPr>
      </a:lvl9pPr>
    </p:titleStyle>
    <p:bodyStyle>
      <a:lvl1pPr marL="0" indent="0" algn="l" rtl="0" eaLnBrk="1" fontAlgn="base" hangingPunct="1">
        <a:spcBef>
          <a:spcPct val="20000"/>
        </a:spcBef>
        <a:spcAft>
          <a:spcPct val="0"/>
        </a:spcAft>
        <a:buClr>
          <a:srgbClr val="ED1C24"/>
        </a:buClr>
        <a:buFont typeface="Arial" panose="020B0604020202020204" pitchFamily="34" charset="0"/>
        <a:buNone/>
        <a:defRPr sz="1400">
          <a:solidFill>
            <a:schemeClr val="tx1"/>
          </a:solidFill>
          <a:latin typeface="+mn-lt"/>
          <a:ea typeface="+mn-ea"/>
          <a:cs typeface="+mn-cs"/>
          <a:sym typeface="Bahnschrift" panose="020B0502040204020203" pitchFamily="34" charset="0"/>
        </a:defRPr>
      </a:lvl1pPr>
      <a:lvl2pPr marL="358775" indent="-358775" algn="l" rtl="0" eaLnBrk="1" fontAlgn="base" hangingPunct="1">
        <a:spcBef>
          <a:spcPct val="20000"/>
        </a:spcBef>
        <a:spcAft>
          <a:spcPct val="0"/>
        </a:spcAft>
        <a:buClr>
          <a:schemeClr val="tx1"/>
        </a:buClr>
        <a:buFont typeface="Arial" panose="020B0604020202020204" pitchFamily="34" charset="0"/>
        <a:buChar char="•"/>
        <a:defRPr sz="1400">
          <a:solidFill>
            <a:schemeClr val="tx1"/>
          </a:solidFill>
          <a:latin typeface="+mn-lt"/>
          <a:sym typeface="Bahnschrift" panose="020B0502040204020203" pitchFamily="34" charset="0"/>
        </a:defRPr>
      </a:lvl2pPr>
      <a:lvl3pPr marL="715963" indent="-357188" algn="l" rtl="0" eaLnBrk="1" fontAlgn="base" hangingPunct="1">
        <a:spcBef>
          <a:spcPct val="20000"/>
        </a:spcBef>
        <a:spcAft>
          <a:spcPct val="0"/>
        </a:spcAft>
        <a:buClr>
          <a:schemeClr val="tx1"/>
        </a:buClr>
        <a:buFont typeface="Arial" panose="020B0604020202020204" pitchFamily="34" charset="0"/>
        <a:buChar char="•"/>
        <a:defRPr sz="1400">
          <a:solidFill>
            <a:schemeClr val="tx1"/>
          </a:solidFill>
          <a:latin typeface="+mn-lt"/>
          <a:sym typeface="Bahnschrift" panose="020B0502040204020203" pitchFamily="34" charset="0"/>
        </a:defRPr>
      </a:lvl3pPr>
      <a:lvl4pPr marL="1074738" indent="-358775" algn="l" rtl="0" eaLnBrk="1" fontAlgn="base" hangingPunct="1">
        <a:spcBef>
          <a:spcPct val="20000"/>
        </a:spcBef>
        <a:spcAft>
          <a:spcPct val="0"/>
        </a:spcAft>
        <a:buClr>
          <a:schemeClr val="tx1"/>
        </a:buClr>
        <a:buFont typeface="Arial" panose="020B0604020202020204" pitchFamily="34" charset="0"/>
        <a:buChar char="•"/>
        <a:defRPr sz="1400">
          <a:solidFill>
            <a:schemeClr val="tx1"/>
          </a:solidFill>
          <a:latin typeface="+mn-lt"/>
          <a:sym typeface="Bahnschrift" panose="020B0502040204020203" pitchFamily="34" charset="0"/>
        </a:defRPr>
      </a:lvl4pPr>
      <a:lvl5pPr marL="1431925" indent="-357188" algn="l" rtl="0" eaLnBrk="1" fontAlgn="base" hangingPunct="1">
        <a:spcBef>
          <a:spcPct val="25000"/>
        </a:spcBef>
        <a:spcAft>
          <a:spcPct val="0"/>
        </a:spcAft>
        <a:buClr>
          <a:schemeClr val="tx1"/>
        </a:buClr>
        <a:buFont typeface="Arial" panose="020B0604020202020204" pitchFamily="34" charset="0"/>
        <a:buChar char="•"/>
        <a:defRPr sz="1400">
          <a:solidFill>
            <a:schemeClr val="tx1"/>
          </a:solidFill>
          <a:latin typeface="+mn-lt"/>
          <a:sym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5"/>
            </p:custDataLst>
            <p:extLst>
              <p:ext uri="{D42A27DB-BD31-4B8C-83A1-F6EECF244321}">
                <p14:modId xmlns:p14="http://schemas.microsoft.com/office/powerpoint/2010/main" val="1203691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413" imgH="416" progId="TCLayout.ActiveDocument.1">
                  <p:embed/>
                </p:oleObj>
              </mc:Choice>
              <mc:Fallback>
                <p:oleObj name="think-cell Slide" r:id="rId35"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de-DE">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de-DE"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2" name="Rectangle 1" hidden="1">
            <a:extLst>
              <a:ext uri="{FF2B5EF4-FFF2-40B4-BE49-F238E27FC236}">
                <a16:creationId xmlns:a16="http://schemas.microsoft.com/office/drawing/2014/main" id="{15B28737-798E-48D4-BBDB-8EB35CB9FFFB}"/>
              </a:ext>
            </a:extLst>
          </p:cNvPr>
          <p:cNvSpPr/>
          <p:nvPr userDrawn="1">
            <p:custDataLst>
              <p:tags r:id="rId16"/>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7"/>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de-DE"/>
              <a:t>Fuß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8"/>
            </p:custDataLst>
          </p:nvPr>
        </p:nvSpPr>
        <p:spPr>
          <a:xfrm>
            <a:off x="554736" y="557620"/>
            <a:ext cx="11082528" cy="35779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pPr lvl="0"/>
            <a:r>
              <a:rPr lang="en-US"/>
              <a:t>Click to edit Master title style</a:t>
            </a:r>
            <a:endParaRPr lang="de-DE"/>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08323"/>
            <a:ext cx="391133"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de-DE"/>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9"/>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Above Chart Exhibit Title</a:t>
            </a:r>
            <a:br>
              <a:rPr lang="de-DE" b="1"/>
            </a:br>
            <a:r>
              <a:rPr lang="de-DE" sz="1400" b="0"/>
              <a:t>Unit of Measure</a:t>
            </a:r>
            <a:endParaRPr lang="de-DE" b="0"/>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3750514"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grpSp>
        <p:nvGrpSpPr>
          <p:cNvPr id="170" name="LegendLines" hidden="1">
            <a:extLst>
              <a:ext uri="{FF2B5EF4-FFF2-40B4-BE49-F238E27FC236}">
                <a16:creationId xmlns:a16="http://schemas.microsoft.com/office/drawing/2014/main" id="{83908F61-2BE1-4BB5-AA36-B3FC76851118}"/>
              </a:ext>
            </a:extLst>
          </p:cNvPr>
          <p:cNvGrpSpPr/>
          <p:nvPr userDrawn="1"/>
        </p:nvGrpSpPr>
        <p:grpSpPr>
          <a:xfrm>
            <a:off x="10217918" y="3150223"/>
            <a:ext cx="1419346" cy="958286"/>
            <a:chOff x="10162879" y="3243772"/>
            <a:chExt cx="1419346" cy="958286"/>
          </a:xfrm>
        </p:grpSpPr>
        <p:sp>
          <p:nvSpPr>
            <p:cNvPr id="171" name="Legend1">
              <a:extLst>
                <a:ext uri="{FF2B5EF4-FFF2-40B4-BE49-F238E27FC236}">
                  <a16:creationId xmlns:a16="http://schemas.microsoft.com/office/drawing/2014/main" id="{AA2C5397-3A4F-4300-859D-D83E642F601C}"/>
                </a:ext>
              </a:extLst>
            </p:cNvPr>
            <p:cNvSpPr txBox="1"/>
            <p:nvPr/>
          </p:nvSpPr>
          <p:spPr>
            <a:xfrm>
              <a:off x="10886522" y="324377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72" name="Legend2">
              <a:extLst>
                <a:ext uri="{FF2B5EF4-FFF2-40B4-BE49-F238E27FC236}">
                  <a16:creationId xmlns:a16="http://schemas.microsoft.com/office/drawing/2014/main" id="{DF3CF1D0-78E7-4A1A-BAF6-0C620FCC35FA}"/>
                </a:ext>
              </a:extLst>
            </p:cNvPr>
            <p:cNvSpPr txBox="1"/>
            <p:nvPr/>
          </p:nvSpPr>
          <p:spPr>
            <a:xfrm>
              <a:off x="10886522" y="3615193"/>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73" name="Legend3">
              <a:extLst>
                <a:ext uri="{FF2B5EF4-FFF2-40B4-BE49-F238E27FC236}">
                  <a16:creationId xmlns:a16="http://schemas.microsoft.com/office/drawing/2014/main" id="{F3FB99D4-6D52-46E8-84EB-BFBE2CB2694F}"/>
                </a:ext>
              </a:extLst>
            </p:cNvPr>
            <p:cNvSpPr txBox="1"/>
            <p:nvPr/>
          </p:nvSpPr>
          <p:spPr>
            <a:xfrm>
              <a:off x="10886522" y="398661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74" name="LineLegend3">
              <a:extLst>
                <a:ext uri="{FF2B5EF4-FFF2-40B4-BE49-F238E27FC236}">
                  <a16:creationId xmlns:a16="http://schemas.microsoft.com/office/drawing/2014/main" id="{7FFF0891-29FD-4B43-BC19-799557752C1C}"/>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rtl="0"/>
              <a:endParaRPr lang="de-DE" sz="1400" baseline="0">
                <a:ea typeface="+mn-ea"/>
              </a:endParaRPr>
            </a:p>
          </p:txBody>
        </p:sp>
        <p:sp>
          <p:nvSpPr>
            <p:cNvPr id="175" name="LineLegend2">
              <a:extLst>
                <a:ext uri="{FF2B5EF4-FFF2-40B4-BE49-F238E27FC236}">
                  <a16:creationId xmlns:a16="http://schemas.microsoft.com/office/drawing/2014/main" id="{96199B49-59CC-455F-BDEF-AF28B33B55EF}"/>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rtl="0"/>
              <a:endParaRPr lang="de-DE" sz="1400" baseline="0">
                <a:ea typeface="+mn-ea"/>
              </a:endParaRPr>
            </a:p>
          </p:txBody>
        </p:sp>
        <p:sp>
          <p:nvSpPr>
            <p:cNvPr id="176" name="LineLegend1">
              <a:extLst>
                <a:ext uri="{FF2B5EF4-FFF2-40B4-BE49-F238E27FC236}">
                  <a16:creationId xmlns:a16="http://schemas.microsoft.com/office/drawing/2014/main" id="{9861ABAB-C150-4786-85E2-AC1333FDC37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rtl="0"/>
              <a:endParaRPr lang="de-DE" sz="1400" baseline="0">
                <a:ea typeface="+mn-ea"/>
              </a:endParaRPr>
            </a:p>
          </p:txBody>
        </p:sp>
      </p:grpSp>
      <p:grpSp>
        <p:nvGrpSpPr>
          <p:cNvPr id="177" name="LegendMoons" hidden="1">
            <a:extLst>
              <a:ext uri="{FF2B5EF4-FFF2-40B4-BE49-F238E27FC236}">
                <a16:creationId xmlns:a16="http://schemas.microsoft.com/office/drawing/2014/main" id="{3464FB99-130B-4580-9298-0F7E962C113F}"/>
              </a:ext>
            </a:extLst>
          </p:cNvPr>
          <p:cNvGrpSpPr/>
          <p:nvPr userDrawn="1"/>
        </p:nvGrpSpPr>
        <p:grpSpPr>
          <a:xfrm>
            <a:off x="10588929" y="1145373"/>
            <a:ext cx="1048335" cy="1731859"/>
            <a:chOff x="7723680" y="1702457"/>
            <a:chExt cx="1048335" cy="1731859"/>
          </a:xfrm>
        </p:grpSpPr>
        <p:sp>
          <p:nvSpPr>
            <p:cNvPr id="178" name="Legend1">
              <a:extLst>
                <a:ext uri="{FF2B5EF4-FFF2-40B4-BE49-F238E27FC236}">
                  <a16:creationId xmlns:a16="http://schemas.microsoft.com/office/drawing/2014/main" id="{AC643127-5D8A-46E8-9087-E6B9189936B4}"/>
                </a:ext>
              </a:extLst>
            </p:cNvPr>
            <p:cNvSpPr txBox="1"/>
            <p:nvPr/>
          </p:nvSpPr>
          <p:spPr>
            <a:xfrm>
              <a:off x="8076312" y="1709816"/>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86" name="Legend2">
              <a:extLst>
                <a:ext uri="{FF2B5EF4-FFF2-40B4-BE49-F238E27FC236}">
                  <a16:creationId xmlns:a16="http://schemas.microsoft.com/office/drawing/2014/main" id="{7A8FE2F7-9B36-44A4-8FE1-CD5D5E8AF642}"/>
                </a:ext>
              </a:extLst>
            </p:cNvPr>
            <p:cNvSpPr txBox="1"/>
            <p:nvPr/>
          </p:nvSpPr>
          <p:spPr>
            <a:xfrm>
              <a:off x="8076312" y="2085275"/>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98" name="Legend3">
              <a:extLst>
                <a:ext uri="{FF2B5EF4-FFF2-40B4-BE49-F238E27FC236}">
                  <a16:creationId xmlns:a16="http://schemas.microsoft.com/office/drawing/2014/main" id="{35DE99B5-2594-4AD2-A963-D17FDA2E8BC2}"/>
                </a:ext>
              </a:extLst>
            </p:cNvPr>
            <p:cNvSpPr txBox="1"/>
            <p:nvPr/>
          </p:nvSpPr>
          <p:spPr>
            <a:xfrm>
              <a:off x="8076312" y="246073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99" name="Legend4">
              <a:extLst>
                <a:ext uri="{FF2B5EF4-FFF2-40B4-BE49-F238E27FC236}">
                  <a16:creationId xmlns:a16="http://schemas.microsoft.com/office/drawing/2014/main" id="{A091A922-76B5-4313-828A-E2DACA1E3095}"/>
                </a:ext>
              </a:extLst>
            </p:cNvPr>
            <p:cNvSpPr txBox="1"/>
            <p:nvPr/>
          </p:nvSpPr>
          <p:spPr>
            <a:xfrm>
              <a:off x="8076312" y="2836193"/>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200" name="Legend5">
              <a:extLst>
                <a:ext uri="{FF2B5EF4-FFF2-40B4-BE49-F238E27FC236}">
                  <a16:creationId xmlns:a16="http://schemas.microsoft.com/office/drawing/2014/main" id="{57647971-B174-4F1E-9CDD-2EF3C6DEC097}"/>
                </a:ext>
              </a:extLst>
            </p:cNvPr>
            <p:cNvSpPr txBox="1"/>
            <p:nvPr/>
          </p:nvSpPr>
          <p:spPr>
            <a:xfrm>
              <a:off x="8076312" y="321165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grpSp>
          <p:nvGrpSpPr>
            <p:cNvPr id="201" name="MoonLegend1">
              <a:extLst>
                <a:ext uri="{FF2B5EF4-FFF2-40B4-BE49-F238E27FC236}">
                  <a16:creationId xmlns:a16="http://schemas.microsoft.com/office/drawing/2014/main" id="{2D17764A-BB3A-4DE4-B253-D85603F5CF29}"/>
                </a:ext>
              </a:extLst>
            </p:cNvPr>
            <p:cNvGrpSpPr>
              <a:grpSpLocks noChangeAspect="1"/>
            </p:cNvGrpSpPr>
            <p:nvPr>
              <p:custDataLst>
                <p:tags r:id="rId20"/>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87434261-D8EC-449A-B0C3-34C18175ABE3}"/>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rtl="0"/>
                <a:endParaRPr lang="de-DE" sz="1400">
                  <a:solidFill>
                    <a:schemeClr val="tx1"/>
                  </a:solidFill>
                </a:endParaRPr>
              </a:p>
            </p:txBody>
          </p:sp>
          <p:sp>
            <p:nvSpPr>
              <p:cNvPr id="215" name="Arc 214">
                <a:extLst>
                  <a:ext uri="{FF2B5EF4-FFF2-40B4-BE49-F238E27FC236}">
                    <a16:creationId xmlns:a16="http://schemas.microsoft.com/office/drawing/2014/main" id="{42EE523B-BDBA-41BB-92A0-08E31340F6A9}"/>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wrap="none" rtlCol="0" anchor="ctr"/>
              <a:lstStyle/>
              <a:p>
                <a:pPr algn="ctr" rtl="0"/>
                <a:endParaRPr lang="de-DE" sz="1400"/>
              </a:p>
            </p:txBody>
          </p:sp>
        </p:grpSp>
        <p:grpSp>
          <p:nvGrpSpPr>
            <p:cNvPr id="202" name="MoonLegend2">
              <a:extLst>
                <a:ext uri="{FF2B5EF4-FFF2-40B4-BE49-F238E27FC236}">
                  <a16:creationId xmlns:a16="http://schemas.microsoft.com/office/drawing/2014/main" id="{B986B39F-6EBC-4B5D-A6C4-17C51365D538}"/>
                </a:ext>
              </a:extLst>
            </p:cNvPr>
            <p:cNvGrpSpPr>
              <a:grpSpLocks noChangeAspect="1"/>
            </p:cNvGrpSpPr>
            <p:nvPr>
              <p:custDataLst>
                <p:tags r:id="rId21"/>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804FB994-9E25-4500-A5DB-5390F23F5057}"/>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rtl="0"/>
                <a:endParaRPr lang="de-DE" sz="1400">
                  <a:solidFill>
                    <a:schemeClr val="tx1"/>
                  </a:solidFill>
                </a:endParaRPr>
              </a:p>
            </p:txBody>
          </p:sp>
          <p:sp>
            <p:nvSpPr>
              <p:cNvPr id="213" name="Arc 212">
                <a:extLst>
                  <a:ext uri="{FF2B5EF4-FFF2-40B4-BE49-F238E27FC236}">
                    <a16:creationId xmlns:a16="http://schemas.microsoft.com/office/drawing/2014/main" id="{C1E823F3-E59B-4F61-BFD4-79B3E1C6AAEE}"/>
                  </a:ext>
                </a:extLst>
              </p:cNvPr>
              <p:cNvSpPr/>
              <p:nvPr>
                <p:custDataLst>
                  <p:tags r:id="rId32"/>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wrap="none" rtlCol="0" anchor="ctr"/>
              <a:lstStyle/>
              <a:p>
                <a:pPr algn="ctr" rtl="0"/>
                <a:endParaRPr lang="de-DE" sz="1400"/>
              </a:p>
            </p:txBody>
          </p:sp>
        </p:grpSp>
        <p:grpSp>
          <p:nvGrpSpPr>
            <p:cNvPr id="203" name="MoonLegend3">
              <a:extLst>
                <a:ext uri="{FF2B5EF4-FFF2-40B4-BE49-F238E27FC236}">
                  <a16:creationId xmlns:a16="http://schemas.microsoft.com/office/drawing/2014/main" id="{A279A18D-C7BF-480E-8DE7-62FE9201ED26}"/>
                </a:ext>
              </a:extLst>
            </p:cNvPr>
            <p:cNvGrpSpPr>
              <a:grpSpLocks noChangeAspect="1"/>
            </p:cNvGrpSpPr>
            <p:nvPr>
              <p:custDataLst>
                <p:tags r:id="rId22"/>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E25D10B5-5C14-43F4-AAAA-7E17799F0F46}"/>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rtl="0"/>
                <a:endParaRPr lang="de-DE" sz="1400">
                  <a:solidFill>
                    <a:schemeClr val="tx1"/>
                  </a:solidFill>
                </a:endParaRPr>
              </a:p>
            </p:txBody>
          </p:sp>
          <p:sp>
            <p:nvSpPr>
              <p:cNvPr id="211" name="Arc 210">
                <a:extLst>
                  <a:ext uri="{FF2B5EF4-FFF2-40B4-BE49-F238E27FC236}">
                    <a16:creationId xmlns:a16="http://schemas.microsoft.com/office/drawing/2014/main" id="{E52D8558-2CDA-44F0-89A5-E28EF91B21E9}"/>
                  </a:ext>
                </a:extLst>
              </p:cNvPr>
              <p:cNvSpPr/>
              <p:nvPr>
                <p:custDataLst>
                  <p:tags r:id="rId3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wrap="none" rtlCol="0" anchor="ctr"/>
              <a:lstStyle/>
              <a:p>
                <a:pPr algn="ctr" rtl="0"/>
                <a:endParaRPr lang="de-DE" sz="1400"/>
              </a:p>
            </p:txBody>
          </p:sp>
        </p:grpSp>
        <p:grpSp>
          <p:nvGrpSpPr>
            <p:cNvPr id="204" name="MoonLegend4">
              <a:extLst>
                <a:ext uri="{FF2B5EF4-FFF2-40B4-BE49-F238E27FC236}">
                  <a16:creationId xmlns:a16="http://schemas.microsoft.com/office/drawing/2014/main" id="{28598DDB-17BE-4584-B9FE-397C33DD740F}"/>
                </a:ext>
              </a:extLst>
            </p:cNvPr>
            <p:cNvGrpSpPr>
              <a:grpSpLocks noChangeAspect="1"/>
            </p:cNvGrpSpPr>
            <p:nvPr>
              <p:custDataLst>
                <p:tags r:id="rId23"/>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34A7EAD6-F6CF-405E-A537-F2EDFE003C5B}"/>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rtl="0"/>
                <a:endParaRPr lang="de-DE" sz="1400">
                  <a:solidFill>
                    <a:schemeClr val="tx1"/>
                  </a:solidFill>
                </a:endParaRPr>
              </a:p>
            </p:txBody>
          </p:sp>
          <p:sp>
            <p:nvSpPr>
              <p:cNvPr id="209" name="Arc 208">
                <a:extLst>
                  <a:ext uri="{FF2B5EF4-FFF2-40B4-BE49-F238E27FC236}">
                    <a16:creationId xmlns:a16="http://schemas.microsoft.com/office/drawing/2014/main" id="{951CFAE1-3D0F-4F34-8EF6-091BCD99EA2F}"/>
                  </a:ext>
                </a:extLst>
              </p:cNvPr>
              <p:cNvSpPr/>
              <p:nvPr>
                <p:custDataLst>
                  <p:tags r:id="rId28"/>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wrap="none" rtlCol="0" anchor="ctr"/>
              <a:lstStyle/>
              <a:p>
                <a:pPr algn="ctr" rtl="0"/>
                <a:endParaRPr lang="de-DE" sz="1400"/>
              </a:p>
            </p:txBody>
          </p:sp>
        </p:grpSp>
        <p:grpSp>
          <p:nvGrpSpPr>
            <p:cNvPr id="205" name="MoonLegend5">
              <a:extLst>
                <a:ext uri="{FF2B5EF4-FFF2-40B4-BE49-F238E27FC236}">
                  <a16:creationId xmlns:a16="http://schemas.microsoft.com/office/drawing/2014/main" id="{AB206D39-4E71-43B8-9DEB-F8B03F6D1847}"/>
                </a:ext>
              </a:extLst>
            </p:cNvPr>
            <p:cNvGrpSpPr>
              <a:grpSpLocks noChangeAspect="1"/>
            </p:cNvGrpSpPr>
            <p:nvPr>
              <p:custDataLst>
                <p:tags r:id="rId24"/>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241570A2-2DD1-4689-B740-71D1630862B8}"/>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rtl="0"/>
                <a:endParaRPr lang="de-DE" sz="1400">
                  <a:solidFill>
                    <a:schemeClr val="tx1"/>
                  </a:solidFill>
                </a:endParaRPr>
              </a:p>
            </p:txBody>
          </p:sp>
          <p:sp>
            <p:nvSpPr>
              <p:cNvPr id="207" name="Arc 206">
                <a:extLst>
                  <a:ext uri="{FF2B5EF4-FFF2-40B4-BE49-F238E27FC236}">
                    <a16:creationId xmlns:a16="http://schemas.microsoft.com/office/drawing/2014/main" id="{02D530BD-AE29-447F-8D07-0CBE78540C6A}"/>
                  </a:ext>
                </a:extLst>
              </p:cNvPr>
              <p:cNvSpPr/>
              <p:nvPr>
                <p:custDataLst>
                  <p:tags r:id="rId26"/>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wrap="none" rtlCol="0" anchor="ctr"/>
              <a:lstStyle/>
              <a:p>
                <a:pPr algn="ctr" rtl="0"/>
                <a:endParaRPr lang="de-DE" sz="1400"/>
              </a:p>
            </p:txBody>
          </p:sp>
        </p:grpSp>
      </p:grpSp>
      <p:grpSp>
        <p:nvGrpSpPr>
          <p:cNvPr id="216" name="LegendBoxes" hidden="1">
            <a:extLst>
              <a:ext uri="{FF2B5EF4-FFF2-40B4-BE49-F238E27FC236}">
                <a16:creationId xmlns:a16="http://schemas.microsoft.com/office/drawing/2014/main" id="{60E098FB-C013-41D0-85AE-3F761DF0884B}"/>
              </a:ext>
            </a:extLst>
          </p:cNvPr>
          <p:cNvGrpSpPr/>
          <p:nvPr userDrawn="1"/>
        </p:nvGrpSpPr>
        <p:grpSpPr>
          <a:xfrm>
            <a:off x="10615415" y="4381500"/>
            <a:ext cx="1021849" cy="1717282"/>
            <a:chOff x="10652400" y="4322824"/>
            <a:chExt cx="1021849" cy="1717282"/>
          </a:xfrm>
        </p:grpSpPr>
        <p:sp>
          <p:nvSpPr>
            <p:cNvPr id="217" name="RectangleLegend1">
              <a:extLst>
                <a:ext uri="{FF2B5EF4-FFF2-40B4-BE49-F238E27FC236}">
                  <a16:creationId xmlns:a16="http://schemas.microsoft.com/office/drawing/2014/main" id="{D5D96167-F244-43A4-97D8-4D43AA7E2AE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218" name="RectangleLegend2">
              <a:extLst>
                <a:ext uri="{FF2B5EF4-FFF2-40B4-BE49-F238E27FC236}">
                  <a16:creationId xmlns:a16="http://schemas.microsoft.com/office/drawing/2014/main" id="{906B6F34-B349-4AAB-8EE8-FCF6A15661CD}"/>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219" name="RectangleLegend3">
              <a:extLst>
                <a:ext uri="{FF2B5EF4-FFF2-40B4-BE49-F238E27FC236}">
                  <a16:creationId xmlns:a16="http://schemas.microsoft.com/office/drawing/2014/main" id="{76C34F70-E60E-43F4-B846-10C5C42EA9B5}"/>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220" name="RectangleLegend4">
              <a:extLst>
                <a:ext uri="{FF2B5EF4-FFF2-40B4-BE49-F238E27FC236}">
                  <a16:creationId xmlns:a16="http://schemas.microsoft.com/office/drawing/2014/main" id="{D3E23DC5-8903-4782-A2A0-2B1CED06304D}"/>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221" name="RectangleLegend5">
              <a:extLst>
                <a:ext uri="{FF2B5EF4-FFF2-40B4-BE49-F238E27FC236}">
                  <a16:creationId xmlns:a16="http://schemas.microsoft.com/office/drawing/2014/main" id="{16A1392D-4148-4C1E-8302-785E485FADA6}"/>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222" name="Legend1">
              <a:extLst>
                <a:ext uri="{FF2B5EF4-FFF2-40B4-BE49-F238E27FC236}">
                  <a16:creationId xmlns:a16="http://schemas.microsoft.com/office/drawing/2014/main" id="{47BB4B5C-22C3-4BB9-B896-03BF3C50719C}"/>
                </a:ext>
              </a:extLst>
            </p:cNvPr>
            <p:cNvSpPr txBox="1"/>
            <p:nvPr/>
          </p:nvSpPr>
          <p:spPr>
            <a:xfrm>
              <a:off x="10978546" y="432282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223" name="Legend2">
              <a:extLst>
                <a:ext uri="{FF2B5EF4-FFF2-40B4-BE49-F238E27FC236}">
                  <a16:creationId xmlns:a16="http://schemas.microsoft.com/office/drawing/2014/main" id="{D461EAC7-9F61-4629-A4C3-F1D8F5A00EE2}"/>
                </a:ext>
              </a:extLst>
            </p:cNvPr>
            <p:cNvSpPr txBox="1"/>
            <p:nvPr/>
          </p:nvSpPr>
          <p:spPr>
            <a:xfrm>
              <a:off x="10978546" y="470232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224" name="Legend3">
              <a:extLst>
                <a:ext uri="{FF2B5EF4-FFF2-40B4-BE49-F238E27FC236}">
                  <a16:creationId xmlns:a16="http://schemas.microsoft.com/office/drawing/2014/main" id="{CFCD5C9E-7A88-4A45-A0A3-7B7DEAA81EE8}"/>
                </a:ext>
              </a:extLst>
            </p:cNvPr>
            <p:cNvSpPr txBox="1"/>
            <p:nvPr/>
          </p:nvSpPr>
          <p:spPr>
            <a:xfrm>
              <a:off x="10978546" y="5081820"/>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225" name="Legend4">
              <a:extLst>
                <a:ext uri="{FF2B5EF4-FFF2-40B4-BE49-F238E27FC236}">
                  <a16:creationId xmlns:a16="http://schemas.microsoft.com/office/drawing/2014/main" id="{0D02A37F-6349-4207-BF25-1A34125E74C6}"/>
                </a:ext>
              </a:extLst>
            </p:cNvPr>
            <p:cNvSpPr txBox="1"/>
            <p:nvPr/>
          </p:nvSpPr>
          <p:spPr>
            <a:xfrm>
              <a:off x="10978546" y="5453241"/>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226" name="Legend5">
              <a:extLst>
                <a:ext uri="{FF2B5EF4-FFF2-40B4-BE49-F238E27FC236}">
                  <a16:creationId xmlns:a16="http://schemas.microsoft.com/office/drawing/2014/main" id="{0C9761C9-63DF-4D7C-9704-7F0F569DB87F}"/>
                </a:ext>
              </a:extLst>
            </p:cNvPr>
            <p:cNvSpPr txBox="1"/>
            <p:nvPr/>
          </p:nvSpPr>
          <p:spPr>
            <a:xfrm>
              <a:off x="10978545" y="582466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grpSp>
      <p:pic>
        <p:nvPicPr>
          <p:cNvPr id="148" name="Picture 24">
            <a:extLst>
              <a:ext uri="{FF2B5EF4-FFF2-40B4-BE49-F238E27FC236}">
                <a16:creationId xmlns:a16="http://schemas.microsoft.com/office/drawing/2014/main" id="{911EDE88-75E1-4EC1-BD55-C63C268C56FB}"/>
              </a:ext>
            </a:extLst>
          </p:cNvPr>
          <p:cNvPicPr>
            <a:picLocks noChangeAspect="1" noChangeArrowheads="1"/>
          </p:cNvPicPr>
          <p:nvPr userDrawn="1"/>
        </p:nvPicPr>
        <p:blipFill>
          <a:blip r:embed="rId37"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Tree>
    <p:extLst>
      <p:ext uri="{BB962C8B-B14F-4D97-AF65-F5344CB8AC3E}">
        <p14:creationId xmlns:p14="http://schemas.microsoft.com/office/powerpoint/2010/main" val="4219347066"/>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Lst>
  <p:hf hdr="0" ftr="0" dt="0"/>
  <p:txStyles>
    <p:titleStyle>
      <a:lvl1pPr algn="l" defTabSz="914400" rtl="0" eaLnBrk="1" latinLnBrk="0" hangingPunct="1">
        <a:lnSpc>
          <a:spcPct val="93000"/>
        </a:lnSpc>
        <a:spcBef>
          <a:spcPct val="0"/>
        </a:spcBef>
        <a:buNone/>
        <a:defRPr lang="de-DE" sz="2500" b="1" kern="1200" spc="0" baseline="0" dirty="0">
          <a:ln w="6350" cap="flat">
            <a:noFill/>
            <a:miter lim="800000"/>
          </a:ln>
          <a:solidFill>
            <a:srgbClr val="6F6F6F"/>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2938323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de-DE">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de-DE"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2" name="Rectangle 1" hidden="1">
            <a:extLst>
              <a:ext uri="{FF2B5EF4-FFF2-40B4-BE49-F238E27FC236}">
                <a16:creationId xmlns:a16="http://schemas.microsoft.com/office/drawing/2014/main" id="{15B28737-798E-48D4-BBDB-8EB35CB9FFFB}"/>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de-DE"/>
              <a:t>Fuß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54736" y="557620"/>
            <a:ext cx="11082528" cy="35779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pPr lvl="0"/>
            <a:r>
              <a:rPr lang="en-US"/>
              <a:t>Click to edit Master title style</a:t>
            </a:r>
            <a:endParaRPr lang="de-DE"/>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08323"/>
            <a:ext cx="391133"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de-DE"/>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1"/>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Above Chart Exhibit Title</a:t>
            </a:r>
            <a:br>
              <a:rPr lang="de-DE" b="1"/>
            </a:br>
            <a:r>
              <a:rPr lang="de-DE" sz="1400" b="0"/>
              <a:t>Unit of Measure</a:t>
            </a:r>
            <a:endParaRPr lang="de-DE" b="0"/>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3750514"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grpSp>
        <p:nvGrpSpPr>
          <p:cNvPr id="170" name="LegendLines" hidden="1">
            <a:extLst>
              <a:ext uri="{FF2B5EF4-FFF2-40B4-BE49-F238E27FC236}">
                <a16:creationId xmlns:a16="http://schemas.microsoft.com/office/drawing/2014/main" id="{83908F61-2BE1-4BB5-AA36-B3FC76851118}"/>
              </a:ext>
            </a:extLst>
          </p:cNvPr>
          <p:cNvGrpSpPr/>
          <p:nvPr userDrawn="1"/>
        </p:nvGrpSpPr>
        <p:grpSpPr>
          <a:xfrm>
            <a:off x="10217918" y="3150223"/>
            <a:ext cx="1419346" cy="958286"/>
            <a:chOff x="10162879" y="3243772"/>
            <a:chExt cx="1419346" cy="958286"/>
          </a:xfrm>
        </p:grpSpPr>
        <p:sp>
          <p:nvSpPr>
            <p:cNvPr id="171" name="Legend1">
              <a:extLst>
                <a:ext uri="{FF2B5EF4-FFF2-40B4-BE49-F238E27FC236}">
                  <a16:creationId xmlns:a16="http://schemas.microsoft.com/office/drawing/2014/main" id="{AA2C5397-3A4F-4300-859D-D83E642F601C}"/>
                </a:ext>
              </a:extLst>
            </p:cNvPr>
            <p:cNvSpPr txBox="1"/>
            <p:nvPr/>
          </p:nvSpPr>
          <p:spPr>
            <a:xfrm>
              <a:off x="10886522" y="324377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72" name="Legend2">
              <a:extLst>
                <a:ext uri="{FF2B5EF4-FFF2-40B4-BE49-F238E27FC236}">
                  <a16:creationId xmlns:a16="http://schemas.microsoft.com/office/drawing/2014/main" id="{DF3CF1D0-78E7-4A1A-BAF6-0C620FCC35FA}"/>
                </a:ext>
              </a:extLst>
            </p:cNvPr>
            <p:cNvSpPr txBox="1"/>
            <p:nvPr/>
          </p:nvSpPr>
          <p:spPr>
            <a:xfrm>
              <a:off x="10886522" y="3615193"/>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73" name="Legend3">
              <a:extLst>
                <a:ext uri="{FF2B5EF4-FFF2-40B4-BE49-F238E27FC236}">
                  <a16:creationId xmlns:a16="http://schemas.microsoft.com/office/drawing/2014/main" id="{F3FB99D4-6D52-46E8-84EB-BFBE2CB2694F}"/>
                </a:ext>
              </a:extLst>
            </p:cNvPr>
            <p:cNvSpPr txBox="1"/>
            <p:nvPr/>
          </p:nvSpPr>
          <p:spPr>
            <a:xfrm>
              <a:off x="10886522" y="398661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74" name="LineLegend3">
              <a:extLst>
                <a:ext uri="{FF2B5EF4-FFF2-40B4-BE49-F238E27FC236}">
                  <a16:creationId xmlns:a16="http://schemas.microsoft.com/office/drawing/2014/main" id="{7FFF0891-29FD-4B43-BC19-799557752C1C}"/>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rtl="0"/>
              <a:endParaRPr lang="de-DE" sz="1400" baseline="0">
                <a:ea typeface="+mn-ea"/>
              </a:endParaRPr>
            </a:p>
          </p:txBody>
        </p:sp>
        <p:sp>
          <p:nvSpPr>
            <p:cNvPr id="175" name="LineLegend2">
              <a:extLst>
                <a:ext uri="{FF2B5EF4-FFF2-40B4-BE49-F238E27FC236}">
                  <a16:creationId xmlns:a16="http://schemas.microsoft.com/office/drawing/2014/main" id="{96199B49-59CC-455F-BDEF-AF28B33B55EF}"/>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rtl="0"/>
              <a:endParaRPr lang="de-DE" sz="1400" baseline="0">
                <a:ea typeface="+mn-ea"/>
              </a:endParaRPr>
            </a:p>
          </p:txBody>
        </p:sp>
        <p:sp>
          <p:nvSpPr>
            <p:cNvPr id="176" name="LineLegend1">
              <a:extLst>
                <a:ext uri="{FF2B5EF4-FFF2-40B4-BE49-F238E27FC236}">
                  <a16:creationId xmlns:a16="http://schemas.microsoft.com/office/drawing/2014/main" id="{9861ABAB-C150-4786-85E2-AC1333FDC37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rtl="0"/>
              <a:endParaRPr lang="de-DE" sz="1400" baseline="0">
                <a:ea typeface="+mn-ea"/>
              </a:endParaRPr>
            </a:p>
          </p:txBody>
        </p:sp>
      </p:grpSp>
      <p:grpSp>
        <p:nvGrpSpPr>
          <p:cNvPr id="177" name="LegendMoons" hidden="1">
            <a:extLst>
              <a:ext uri="{FF2B5EF4-FFF2-40B4-BE49-F238E27FC236}">
                <a16:creationId xmlns:a16="http://schemas.microsoft.com/office/drawing/2014/main" id="{3464FB99-130B-4580-9298-0F7E962C113F}"/>
              </a:ext>
            </a:extLst>
          </p:cNvPr>
          <p:cNvGrpSpPr/>
          <p:nvPr userDrawn="1"/>
        </p:nvGrpSpPr>
        <p:grpSpPr>
          <a:xfrm>
            <a:off x="10588929" y="1145373"/>
            <a:ext cx="1048335" cy="1731859"/>
            <a:chOff x="7723680" y="1702457"/>
            <a:chExt cx="1048335" cy="1731859"/>
          </a:xfrm>
        </p:grpSpPr>
        <p:sp>
          <p:nvSpPr>
            <p:cNvPr id="178" name="Legend1">
              <a:extLst>
                <a:ext uri="{FF2B5EF4-FFF2-40B4-BE49-F238E27FC236}">
                  <a16:creationId xmlns:a16="http://schemas.microsoft.com/office/drawing/2014/main" id="{AC643127-5D8A-46E8-9087-E6B9189936B4}"/>
                </a:ext>
              </a:extLst>
            </p:cNvPr>
            <p:cNvSpPr txBox="1"/>
            <p:nvPr/>
          </p:nvSpPr>
          <p:spPr>
            <a:xfrm>
              <a:off x="8076312" y="1709816"/>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86" name="Legend2">
              <a:extLst>
                <a:ext uri="{FF2B5EF4-FFF2-40B4-BE49-F238E27FC236}">
                  <a16:creationId xmlns:a16="http://schemas.microsoft.com/office/drawing/2014/main" id="{7A8FE2F7-9B36-44A4-8FE1-CD5D5E8AF642}"/>
                </a:ext>
              </a:extLst>
            </p:cNvPr>
            <p:cNvSpPr txBox="1"/>
            <p:nvPr/>
          </p:nvSpPr>
          <p:spPr>
            <a:xfrm>
              <a:off x="8076312" y="2085275"/>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98" name="Legend3">
              <a:extLst>
                <a:ext uri="{FF2B5EF4-FFF2-40B4-BE49-F238E27FC236}">
                  <a16:creationId xmlns:a16="http://schemas.microsoft.com/office/drawing/2014/main" id="{35DE99B5-2594-4AD2-A963-D17FDA2E8BC2}"/>
                </a:ext>
              </a:extLst>
            </p:cNvPr>
            <p:cNvSpPr txBox="1"/>
            <p:nvPr/>
          </p:nvSpPr>
          <p:spPr>
            <a:xfrm>
              <a:off x="8076312" y="246073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99" name="Legend4">
              <a:extLst>
                <a:ext uri="{FF2B5EF4-FFF2-40B4-BE49-F238E27FC236}">
                  <a16:creationId xmlns:a16="http://schemas.microsoft.com/office/drawing/2014/main" id="{A091A922-76B5-4313-828A-E2DACA1E3095}"/>
                </a:ext>
              </a:extLst>
            </p:cNvPr>
            <p:cNvSpPr txBox="1"/>
            <p:nvPr/>
          </p:nvSpPr>
          <p:spPr>
            <a:xfrm>
              <a:off x="8076312" y="2836193"/>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200" name="Legend5">
              <a:extLst>
                <a:ext uri="{FF2B5EF4-FFF2-40B4-BE49-F238E27FC236}">
                  <a16:creationId xmlns:a16="http://schemas.microsoft.com/office/drawing/2014/main" id="{57647971-B174-4F1E-9CDD-2EF3C6DEC097}"/>
                </a:ext>
              </a:extLst>
            </p:cNvPr>
            <p:cNvSpPr txBox="1"/>
            <p:nvPr/>
          </p:nvSpPr>
          <p:spPr>
            <a:xfrm>
              <a:off x="8076312" y="321165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grpSp>
          <p:nvGrpSpPr>
            <p:cNvPr id="201" name="MoonLegend1">
              <a:extLst>
                <a:ext uri="{FF2B5EF4-FFF2-40B4-BE49-F238E27FC236}">
                  <a16:creationId xmlns:a16="http://schemas.microsoft.com/office/drawing/2014/main" id="{2D17764A-BB3A-4DE4-B253-D85603F5CF29}"/>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87434261-D8EC-449A-B0C3-34C18175ABE3}"/>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rtl="0"/>
                <a:endParaRPr lang="de-DE" sz="1400">
                  <a:solidFill>
                    <a:schemeClr val="tx1"/>
                  </a:solidFill>
                </a:endParaRPr>
              </a:p>
            </p:txBody>
          </p:sp>
          <p:sp>
            <p:nvSpPr>
              <p:cNvPr id="215" name="Arc 214">
                <a:extLst>
                  <a:ext uri="{FF2B5EF4-FFF2-40B4-BE49-F238E27FC236}">
                    <a16:creationId xmlns:a16="http://schemas.microsoft.com/office/drawing/2014/main" id="{42EE523B-BDBA-41BB-92A0-08E31340F6A9}"/>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wrap="none" rtlCol="0" anchor="ctr"/>
              <a:lstStyle/>
              <a:p>
                <a:pPr algn="ctr" rtl="0"/>
                <a:endParaRPr lang="de-DE" sz="1400"/>
              </a:p>
            </p:txBody>
          </p:sp>
        </p:grpSp>
        <p:grpSp>
          <p:nvGrpSpPr>
            <p:cNvPr id="202" name="MoonLegend2">
              <a:extLst>
                <a:ext uri="{FF2B5EF4-FFF2-40B4-BE49-F238E27FC236}">
                  <a16:creationId xmlns:a16="http://schemas.microsoft.com/office/drawing/2014/main" id="{B986B39F-6EBC-4B5D-A6C4-17C51365D538}"/>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804FB994-9E25-4500-A5DB-5390F23F5057}"/>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rtl="0"/>
                <a:endParaRPr lang="de-DE" sz="1400">
                  <a:solidFill>
                    <a:schemeClr val="tx1"/>
                  </a:solidFill>
                </a:endParaRPr>
              </a:p>
            </p:txBody>
          </p:sp>
          <p:sp>
            <p:nvSpPr>
              <p:cNvPr id="213" name="Arc 212">
                <a:extLst>
                  <a:ext uri="{FF2B5EF4-FFF2-40B4-BE49-F238E27FC236}">
                    <a16:creationId xmlns:a16="http://schemas.microsoft.com/office/drawing/2014/main" id="{C1E823F3-E59B-4F61-BFD4-79B3E1C6AAEE}"/>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wrap="none" rtlCol="0" anchor="ctr"/>
              <a:lstStyle/>
              <a:p>
                <a:pPr algn="ctr" rtl="0"/>
                <a:endParaRPr lang="de-DE" sz="1400"/>
              </a:p>
            </p:txBody>
          </p:sp>
        </p:grpSp>
        <p:grpSp>
          <p:nvGrpSpPr>
            <p:cNvPr id="203" name="MoonLegend3">
              <a:extLst>
                <a:ext uri="{FF2B5EF4-FFF2-40B4-BE49-F238E27FC236}">
                  <a16:creationId xmlns:a16="http://schemas.microsoft.com/office/drawing/2014/main" id="{A279A18D-C7BF-480E-8DE7-62FE9201ED26}"/>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E25D10B5-5C14-43F4-AAAA-7E17799F0F46}"/>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rtl="0"/>
                <a:endParaRPr lang="de-DE" sz="1400">
                  <a:solidFill>
                    <a:schemeClr val="tx1"/>
                  </a:solidFill>
                </a:endParaRPr>
              </a:p>
            </p:txBody>
          </p:sp>
          <p:sp>
            <p:nvSpPr>
              <p:cNvPr id="211" name="Arc 210">
                <a:extLst>
                  <a:ext uri="{FF2B5EF4-FFF2-40B4-BE49-F238E27FC236}">
                    <a16:creationId xmlns:a16="http://schemas.microsoft.com/office/drawing/2014/main" id="{E52D8558-2CDA-44F0-89A5-E28EF91B21E9}"/>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wrap="none" rtlCol="0" anchor="ctr"/>
              <a:lstStyle/>
              <a:p>
                <a:pPr algn="ctr" rtl="0"/>
                <a:endParaRPr lang="de-DE" sz="1400"/>
              </a:p>
            </p:txBody>
          </p:sp>
        </p:grpSp>
        <p:grpSp>
          <p:nvGrpSpPr>
            <p:cNvPr id="204" name="MoonLegend4">
              <a:extLst>
                <a:ext uri="{FF2B5EF4-FFF2-40B4-BE49-F238E27FC236}">
                  <a16:creationId xmlns:a16="http://schemas.microsoft.com/office/drawing/2014/main" id="{28598DDB-17BE-4584-B9FE-397C33DD740F}"/>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34A7EAD6-F6CF-405E-A537-F2EDFE003C5B}"/>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rtl="0"/>
                <a:endParaRPr lang="de-DE" sz="1400">
                  <a:solidFill>
                    <a:schemeClr val="tx1"/>
                  </a:solidFill>
                </a:endParaRPr>
              </a:p>
            </p:txBody>
          </p:sp>
          <p:sp>
            <p:nvSpPr>
              <p:cNvPr id="209" name="Arc 208">
                <a:extLst>
                  <a:ext uri="{FF2B5EF4-FFF2-40B4-BE49-F238E27FC236}">
                    <a16:creationId xmlns:a16="http://schemas.microsoft.com/office/drawing/2014/main" id="{951CFAE1-3D0F-4F34-8EF6-091BCD99EA2F}"/>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wrap="none" rtlCol="0" anchor="ctr"/>
              <a:lstStyle/>
              <a:p>
                <a:pPr algn="ctr" rtl="0"/>
                <a:endParaRPr lang="de-DE" sz="1400"/>
              </a:p>
            </p:txBody>
          </p:sp>
        </p:grpSp>
        <p:grpSp>
          <p:nvGrpSpPr>
            <p:cNvPr id="205" name="MoonLegend5">
              <a:extLst>
                <a:ext uri="{FF2B5EF4-FFF2-40B4-BE49-F238E27FC236}">
                  <a16:creationId xmlns:a16="http://schemas.microsoft.com/office/drawing/2014/main" id="{AB206D39-4E71-43B8-9DEB-F8B03F6D1847}"/>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241570A2-2DD1-4689-B740-71D1630862B8}"/>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rtl="0"/>
                <a:endParaRPr lang="de-DE" sz="1400">
                  <a:solidFill>
                    <a:schemeClr val="tx1"/>
                  </a:solidFill>
                </a:endParaRPr>
              </a:p>
            </p:txBody>
          </p:sp>
          <p:sp>
            <p:nvSpPr>
              <p:cNvPr id="207" name="Arc 206">
                <a:extLst>
                  <a:ext uri="{FF2B5EF4-FFF2-40B4-BE49-F238E27FC236}">
                    <a16:creationId xmlns:a16="http://schemas.microsoft.com/office/drawing/2014/main" id="{02D530BD-AE29-447F-8D07-0CBE78540C6A}"/>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wrap="none" rtlCol="0" anchor="ctr"/>
              <a:lstStyle/>
              <a:p>
                <a:pPr algn="ctr" rtl="0"/>
                <a:endParaRPr lang="de-DE" sz="1400"/>
              </a:p>
            </p:txBody>
          </p:sp>
        </p:grpSp>
      </p:grpSp>
      <p:grpSp>
        <p:nvGrpSpPr>
          <p:cNvPr id="216" name="LegendBoxes" hidden="1">
            <a:extLst>
              <a:ext uri="{FF2B5EF4-FFF2-40B4-BE49-F238E27FC236}">
                <a16:creationId xmlns:a16="http://schemas.microsoft.com/office/drawing/2014/main" id="{60E098FB-C013-41D0-85AE-3F761DF0884B}"/>
              </a:ext>
            </a:extLst>
          </p:cNvPr>
          <p:cNvGrpSpPr/>
          <p:nvPr userDrawn="1"/>
        </p:nvGrpSpPr>
        <p:grpSpPr>
          <a:xfrm>
            <a:off x="10615415" y="4381500"/>
            <a:ext cx="1021849" cy="1717282"/>
            <a:chOff x="10652400" y="4322824"/>
            <a:chExt cx="1021849" cy="1717282"/>
          </a:xfrm>
        </p:grpSpPr>
        <p:sp>
          <p:nvSpPr>
            <p:cNvPr id="217" name="RectangleLegend1">
              <a:extLst>
                <a:ext uri="{FF2B5EF4-FFF2-40B4-BE49-F238E27FC236}">
                  <a16:creationId xmlns:a16="http://schemas.microsoft.com/office/drawing/2014/main" id="{D5D96167-F244-43A4-97D8-4D43AA7E2AE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218" name="RectangleLegend2">
              <a:extLst>
                <a:ext uri="{FF2B5EF4-FFF2-40B4-BE49-F238E27FC236}">
                  <a16:creationId xmlns:a16="http://schemas.microsoft.com/office/drawing/2014/main" id="{906B6F34-B349-4AAB-8EE8-FCF6A15661CD}"/>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219" name="RectangleLegend3">
              <a:extLst>
                <a:ext uri="{FF2B5EF4-FFF2-40B4-BE49-F238E27FC236}">
                  <a16:creationId xmlns:a16="http://schemas.microsoft.com/office/drawing/2014/main" id="{76C34F70-E60E-43F4-B846-10C5C42EA9B5}"/>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220" name="RectangleLegend4">
              <a:extLst>
                <a:ext uri="{FF2B5EF4-FFF2-40B4-BE49-F238E27FC236}">
                  <a16:creationId xmlns:a16="http://schemas.microsoft.com/office/drawing/2014/main" id="{D3E23DC5-8903-4782-A2A0-2B1CED06304D}"/>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221" name="RectangleLegend5">
              <a:extLst>
                <a:ext uri="{FF2B5EF4-FFF2-40B4-BE49-F238E27FC236}">
                  <a16:creationId xmlns:a16="http://schemas.microsoft.com/office/drawing/2014/main" id="{16A1392D-4148-4C1E-8302-785E485FADA6}"/>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222" name="Legend1">
              <a:extLst>
                <a:ext uri="{FF2B5EF4-FFF2-40B4-BE49-F238E27FC236}">
                  <a16:creationId xmlns:a16="http://schemas.microsoft.com/office/drawing/2014/main" id="{47BB4B5C-22C3-4BB9-B896-03BF3C50719C}"/>
                </a:ext>
              </a:extLst>
            </p:cNvPr>
            <p:cNvSpPr txBox="1"/>
            <p:nvPr/>
          </p:nvSpPr>
          <p:spPr>
            <a:xfrm>
              <a:off x="10978546" y="432282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223" name="Legend2">
              <a:extLst>
                <a:ext uri="{FF2B5EF4-FFF2-40B4-BE49-F238E27FC236}">
                  <a16:creationId xmlns:a16="http://schemas.microsoft.com/office/drawing/2014/main" id="{D461EAC7-9F61-4629-A4C3-F1D8F5A00EE2}"/>
                </a:ext>
              </a:extLst>
            </p:cNvPr>
            <p:cNvSpPr txBox="1"/>
            <p:nvPr/>
          </p:nvSpPr>
          <p:spPr>
            <a:xfrm>
              <a:off x="10978546" y="470232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224" name="Legend3">
              <a:extLst>
                <a:ext uri="{FF2B5EF4-FFF2-40B4-BE49-F238E27FC236}">
                  <a16:creationId xmlns:a16="http://schemas.microsoft.com/office/drawing/2014/main" id="{CFCD5C9E-7A88-4A45-A0A3-7B7DEAA81EE8}"/>
                </a:ext>
              </a:extLst>
            </p:cNvPr>
            <p:cNvSpPr txBox="1"/>
            <p:nvPr/>
          </p:nvSpPr>
          <p:spPr>
            <a:xfrm>
              <a:off x="10978546" y="5081820"/>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225" name="Legend4">
              <a:extLst>
                <a:ext uri="{FF2B5EF4-FFF2-40B4-BE49-F238E27FC236}">
                  <a16:creationId xmlns:a16="http://schemas.microsoft.com/office/drawing/2014/main" id="{0D02A37F-6349-4207-BF25-1A34125E74C6}"/>
                </a:ext>
              </a:extLst>
            </p:cNvPr>
            <p:cNvSpPr txBox="1"/>
            <p:nvPr/>
          </p:nvSpPr>
          <p:spPr>
            <a:xfrm>
              <a:off x="10978546" y="5453241"/>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226" name="Legend5">
              <a:extLst>
                <a:ext uri="{FF2B5EF4-FFF2-40B4-BE49-F238E27FC236}">
                  <a16:creationId xmlns:a16="http://schemas.microsoft.com/office/drawing/2014/main" id="{0C9761C9-63DF-4D7C-9704-7F0F569DB87F}"/>
                </a:ext>
              </a:extLst>
            </p:cNvPr>
            <p:cNvSpPr txBox="1"/>
            <p:nvPr/>
          </p:nvSpPr>
          <p:spPr>
            <a:xfrm>
              <a:off x="10978545" y="582466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grpSp>
      <p:pic>
        <p:nvPicPr>
          <p:cNvPr id="148" name="Picture 24">
            <a:extLst>
              <a:ext uri="{FF2B5EF4-FFF2-40B4-BE49-F238E27FC236}">
                <a16:creationId xmlns:a16="http://schemas.microsoft.com/office/drawing/2014/main" id="{911EDE88-75E1-4EC1-BD55-C63C268C56FB}"/>
              </a:ext>
            </a:extLst>
          </p:cNvPr>
          <p:cNvPicPr>
            <a:picLocks noChangeAspect="1" noChangeArrowheads="1"/>
          </p:cNvPicPr>
          <p:nvPr userDrawn="1"/>
        </p:nvPicPr>
        <p:blipFill>
          <a:blip r:embed="rId39"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Tree>
    <p:extLst>
      <p:ext uri="{BB962C8B-B14F-4D97-AF65-F5344CB8AC3E}">
        <p14:creationId xmlns:p14="http://schemas.microsoft.com/office/powerpoint/2010/main" val="1981377609"/>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Lst>
  <p:hf hdr="0" ftr="0" dt="0"/>
  <p:txStyles>
    <p:titleStyle>
      <a:lvl1pPr algn="l" defTabSz="914400" rtl="0" eaLnBrk="1" latinLnBrk="0" hangingPunct="1">
        <a:lnSpc>
          <a:spcPct val="93000"/>
        </a:lnSpc>
        <a:spcBef>
          <a:spcPct val="0"/>
        </a:spcBef>
        <a:buNone/>
        <a:defRPr lang="de-DE" sz="2500" b="1" kern="1200" spc="0" baseline="0" dirty="0">
          <a:ln w="6350" cap="flat">
            <a:noFill/>
            <a:miter lim="800000"/>
          </a:ln>
          <a:solidFill>
            <a:srgbClr val="6F6F6F"/>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DF7841-0AA2-4526-9D41-EC57D848136C}"/>
              </a:ext>
            </a:extLst>
          </p:cNvPr>
          <p:cNvGraphicFramePr>
            <a:graphicFrameLocks noChangeAspect="1"/>
          </p:cNvGraphicFramePr>
          <p:nvPr userDrawn="1">
            <p:custDataLst>
              <p:tags r:id="rId14"/>
            </p:custDataLst>
            <p:extLst>
              <p:ext uri="{D42A27DB-BD31-4B8C-83A1-F6EECF244321}">
                <p14:modId xmlns:p14="http://schemas.microsoft.com/office/powerpoint/2010/main" val="172734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592" imgH="591" progId="TCLayout.ActiveDocument.1">
                  <p:embed/>
                </p:oleObj>
              </mc:Choice>
              <mc:Fallback>
                <p:oleObj name="think-cell Slide" r:id="rId15" imgW="592" imgH="591" progId="TCLayout.ActiveDocument.1">
                  <p:embed/>
                  <p:pic>
                    <p:nvPicPr>
                      <p:cNvPr id="4" name="Object 3" hidden="1">
                        <a:extLst>
                          <a:ext uri="{FF2B5EF4-FFF2-40B4-BE49-F238E27FC236}">
                            <a16:creationId xmlns:a16="http://schemas.microsoft.com/office/drawing/2014/main" id="{CEDF7841-0AA2-4526-9D41-EC57D848136C}"/>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pic>
        <p:nvPicPr>
          <p:cNvPr id="2" name="Picture 24">
            <a:extLst>
              <a:ext uri="{FF2B5EF4-FFF2-40B4-BE49-F238E27FC236}">
                <a16:creationId xmlns:a16="http://schemas.microsoft.com/office/drawing/2014/main" id="{9C8CFC81-FA97-234F-B4EC-3D7DBBE9A56D}"/>
              </a:ext>
            </a:extLst>
          </p:cNvPr>
          <p:cNvPicPr>
            <a:picLocks noChangeAspect="1" noChangeArrowheads="1"/>
          </p:cNvPicPr>
          <p:nvPr userDrawn="1"/>
        </p:nvPicPr>
        <p:blipFill>
          <a:blip r:embed="rId17" cstate="print">
            <a:extLst>
              <a:ext uri="{28A0092B-C50C-407E-A947-70E740481C1C}">
                <a14:useLocalDpi xmlns:a14="http://schemas.microsoft.com/office/drawing/2010/main" val="0"/>
              </a:ext>
            </a:extLst>
          </a:blip>
          <a:stretch>
            <a:fillRect/>
          </a:stretch>
        </p:blipFill>
        <p:spPr bwMode="auto">
          <a:xfrm>
            <a:off x="10742580" y="6332378"/>
            <a:ext cx="1116013" cy="346688"/>
          </a:xfrm>
          <a:prstGeom prst="rect">
            <a:avLst/>
          </a:prstGeom>
          <a:noFill/>
        </p:spPr>
      </p:pic>
      <p:sp>
        <p:nvSpPr>
          <p:cNvPr id="26626" name="Rectangle 2"/>
          <p:cNvSpPr>
            <a:spLocks noGrp="1" noChangeArrowheads="1"/>
          </p:cNvSpPr>
          <p:nvPr>
            <p:ph type="title"/>
          </p:nvPr>
        </p:nvSpPr>
        <p:spPr bwMode="auto">
          <a:xfrm>
            <a:off x="838800" y="188916"/>
            <a:ext cx="9540000" cy="93662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normAutofit/>
          </a:bodyPr>
          <a:lstStyle/>
          <a:p>
            <a:pPr lvl="0"/>
            <a:r>
              <a:rPr lang="de-AT"/>
              <a:t>Titelmasterformat durch Klicken bearbeiten</a:t>
            </a:r>
          </a:p>
        </p:txBody>
      </p:sp>
      <p:sp>
        <p:nvSpPr>
          <p:cNvPr id="26632" name="Rectangle 8"/>
          <p:cNvSpPr>
            <a:spLocks noGrp="1" noChangeArrowheads="1"/>
          </p:cNvSpPr>
          <p:nvPr>
            <p:ph type="sldNum" sz="quarter" idx="4"/>
          </p:nvPr>
        </p:nvSpPr>
        <p:spPr bwMode="auto">
          <a:xfrm>
            <a:off x="838801" y="6245225"/>
            <a:ext cx="4692569"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defRPr sz="800">
                <a:solidFill>
                  <a:schemeClr val="bg1">
                    <a:lumMod val="50000"/>
                  </a:schemeClr>
                </a:solidFill>
                <a:latin typeface="+mn-lt"/>
              </a:defRPr>
            </a:lvl1pPr>
          </a:lstStyle>
          <a:p>
            <a:fld id="{53411996-E14A-4808-B0AE-FE4357D1C128}" type="slidenum">
              <a:rPr lang="de-AT" smtClean="0"/>
              <a:pPr/>
              <a:t>‹Nr.›</a:t>
            </a:fld>
            <a:endParaRPr lang="de-AT"/>
          </a:p>
        </p:txBody>
      </p:sp>
      <p:sp>
        <p:nvSpPr>
          <p:cNvPr id="9" name="Textplatzhalter 8"/>
          <p:cNvSpPr>
            <a:spLocks noGrp="1"/>
          </p:cNvSpPr>
          <p:nvPr>
            <p:ph type="body" idx="1"/>
          </p:nvPr>
        </p:nvSpPr>
        <p:spPr>
          <a:xfrm>
            <a:off x="838800" y="1483200"/>
            <a:ext cx="9540000" cy="4666140"/>
          </a:xfrm>
          <a:prstGeom prst="rect">
            <a:avLst/>
          </a:prstGeom>
        </p:spPr>
        <p:txBody>
          <a:bodyPr vert="horz" lIns="91440" tIns="45720" rIns="91440" bIns="45720"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AT"/>
          </a:p>
        </p:txBody>
      </p:sp>
    </p:spTree>
    <p:extLst>
      <p:ext uri="{BB962C8B-B14F-4D97-AF65-F5344CB8AC3E}">
        <p14:creationId xmlns:p14="http://schemas.microsoft.com/office/powerpoint/2010/main" val="3615221202"/>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4" r:id="rId11"/>
    <p:sldLayoutId id="2147483844" r:id="rId12"/>
  </p:sldLayoutIdLst>
  <p:hf hdr="0" ftr="0" dt="0"/>
  <p:txStyles>
    <p:titleStyle>
      <a:lvl1pPr algn="l" rtl="0" eaLnBrk="1" fontAlgn="base" hangingPunct="1">
        <a:lnSpc>
          <a:spcPct val="80000"/>
        </a:lnSpc>
        <a:spcBef>
          <a:spcPct val="0"/>
        </a:spcBef>
        <a:spcAft>
          <a:spcPct val="0"/>
        </a:spcAft>
        <a:defRPr sz="2800" b="0">
          <a:solidFill>
            <a:schemeClr val="tx1"/>
          </a:solidFill>
          <a:latin typeface="Bahnschrift" panose="020B0502040204020203" pitchFamily="34" charset="0"/>
          <a:ea typeface="+mj-ea"/>
          <a:cs typeface="+mj-cs"/>
        </a:defRPr>
      </a:lvl1pPr>
      <a:lvl2pPr algn="l" rtl="0" eaLnBrk="1" fontAlgn="base" hangingPunct="1">
        <a:lnSpc>
          <a:spcPct val="80000"/>
        </a:lnSpc>
        <a:spcBef>
          <a:spcPct val="0"/>
        </a:spcBef>
        <a:spcAft>
          <a:spcPct val="0"/>
        </a:spcAft>
        <a:defRPr sz="3000">
          <a:solidFill>
            <a:srgbClr val="4C5D68"/>
          </a:solidFill>
          <a:latin typeface="Trebuchet MS" pitchFamily="34" charset="0"/>
        </a:defRPr>
      </a:lvl2pPr>
      <a:lvl3pPr algn="l" rtl="0" eaLnBrk="1" fontAlgn="base" hangingPunct="1">
        <a:lnSpc>
          <a:spcPct val="80000"/>
        </a:lnSpc>
        <a:spcBef>
          <a:spcPct val="0"/>
        </a:spcBef>
        <a:spcAft>
          <a:spcPct val="0"/>
        </a:spcAft>
        <a:defRPr sz="3000">
          <a:solidFill>
            <a:srgbClr val="4C5D68"/>
          </a:solidFill>
          <a:latin typeface="Trebuchet MS" pitchFamily="34" charset="0"/>
        </a:defRPr>
      </a:lvl3pPr>
      <a:lvl4pPr algn="l" rtl="0" eaLnBrk="1" fontAlgn="base" hangingPunct="1">
        <a:lnSpc>
          <a:spcPct val="80000"/>
        </a:lnSpc>
        <a:spcBef>
          <a:spcPct val="0"/>
        </a:spcBef>
        <a:spcAft>
          <a:spcPct val="0"/>
        </a:spcAft>
        <a:defRPr sz="3000">
          <a:solidFill>
            <a:srgbClr val="4C5D68"/>
          </a:solidFill>
          <a:latin typeface="Trebuchet MS" pitchFamily="34" charset="0"/>
        </a:defRPr>
      </a:lvl4pPr>
      <a:lvl5pPr algn="l" rtl="0" eaLnBrk="1" fontAlgn="base" hangingPunct="1">
        <a:lnSpc>
          <a:spcPct val="80000"/>
        </a:lnSpc>
        <a:spcBef>
          <a:spcPct val="0"/>
        </a:spcBef>
        <a:spcAft>
          <a:spcPct val="0"/>
        </a:spcAft>
        <a:defRPr sz="3000">
          <a:solidFill>
            <a:srgbClr val="4C5D68"/>
          </a:solidFill>
          <a:latin typeface="Trebuchet MS" pitchFamily="34" charset="0"/>
        </a:defRPr>
      </a:lvl5pPr>
      <a:lvl6pPr marL="457200" algn="l" rtl="0" eaLnBrk="1" fontAlgn="base" hangingPunct="1">
        <a:lnSpc>
          <a:spcPct val="80000"/>
        </a:lnSpc>
        <a:spcBef>
          <a:spcPct val="0"/>
        </a:spcBef>
        <a:spcAft>
          <a:spcPct val="0"/>
        </a:spcAft>
        <a:defRPr sz="3000">
          <a:solidFill>
            <a:srgbClr val="4C5D68"/>
          </a:solidFill>
          <a:latin typeface="Trebuchet MS" pitchFamily="34" charset="0"/>
        </a:defRPr>
      </a:lvl6pPr>
      <a:lvl7pPr marL="914400" algn="l" rtl="0" eaLnBrk="1" fontAlgn="base" hangingPunct="1">
        <a:lnSpc>
          <a:spcPct val="80000"/>
        </a:lnSpc>
        <a:spcBef>
          <a:spcPct val="0"/>
        </a:spcBef>
        <a:spcAft>
          <a:spcPct val="0"/>
        </a:spcAft>
        <a:defRPr sz="3000">
          <a:solidFill>
            <a:srgbClr val="4C5D68"/>
          </a:solidFill>
          <a:latin typeface="Trebuchet MS" pitchFamily="34" charset="0"/>
        </a:defRPr>
      </a:lvl7pPr>
      <a:lvl8pPr marL="1371600" algn="l" rtl="0" eaLnBrk="1" fontAlgn="base" hangingPunct="1">
        <a:lnSpc>
          <a:spcPct val="80000"/>
        </a:lnSpc>
        <a:spcBef>
          <a:spcPct val="0"/>
        </a:spcBef>
        <a:spcAft>
          <a:spcPct val="0"/>
        </a:spcAft>
        <a:defRPr sz="3000">
          <a:solidFill>
            <a:srgbClr val="4C5D68"/>
          </a:solidFill>
          <a:latin typeface="Trebuchet MS" pitchFamily="34" charset="0"/>
        </a:defRPr>
      </a:lvl8pPr>
      <a:lvl9pPr marL="1828800" algn="l" rtl="0" eaLnBrk="1" fontAlgn="base" hangingPunct="1">
        <a:lnSpc>
          <a:spcPct val="80000"/>
        </a:lnSpc>
        <a:spcBef>
          <a:spcPct val="0"/>
        </a:spcBef>
        <a:spcAft>
          <a:spcPct val="0"/>
        </a:spcAft>
        <a:defRPr sz="3000">
          <a:solidFill>
            <a:srgbClr val="4C5D68"/>
          </a:solidFill>
          <a:latin typeface="Trebuchet MS" pitchFamily="34" charset="0"/>
        </a:defRPr>
      </a:lvl9pPr>
    </p:titleStyle>
    <p:body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2938323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de-DE">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de-DE"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de-DE"/>
              <a:t>Fuß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557620"/>
            <a:ext cx="11082528" cy="35779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pPr lvl="0"/>
            <a:r>
              <a:rPr lang="en-US"/>
              <a:t>Click to edit Master title style</a:t>
            </a:r>
            <a:endParaRPr lang="de-DE"/>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08323"/>
            <a:ext cx="391133"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de-DE"/>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Above Chart Exhibit Title</a:t>
            </a:r>
            <a:br>
              <a:rPr lang="de-DE" b="1"/>
            </a:br>
            <a:r>
              <a:rPr lang="de-DE" sz="1400" b="0"/>
              <a:t>Unit of Measure</a:t>
            </a:r>
            <a:endParaRPr lang="de-DE" b="0"/>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3750514"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grpSp>
        <p:nvGrpSpPr>
          <p:cNvPr id="170" name="LegendLines" hidden="1">
            <a:extLst>
              <a:ext uri="{FF2B5EF4-FFF2-40B4-BE49-F238E27FC236}">
                <a16:creationId xmlns:a16="http://schemas.microsoft.com/office/drawing/2014/main" id="{83908F61-2BE1-4BB5-AA36-B3FC76851118}"/>
              </a:ext>
            </a:extLst>
          </p:cNvPr>
          <p:cNvGrpSpPr/>
          <p:nvPr userDrawn="1"/>
        </p:nvGrpSpPr>
        <p:grpSpPr>
          <a:xfrm>
            <a:off x="10217918" y="3150223"/>
            <a:ext cx="1419346" cy="958286"/>
            <a:chOff x="10162879" y="3243772"/>
            <a:chExt cx="1419346" cy="958286"/>
          </a:xfrm>
        </p:grpSpPr>
        <p:sp>
          <p:nvSpPr>
            <p:cNvPr id="171" name="Legend1">
              <a:extLst>
                <a:ext uri="{FF2B5EF4-FFF2-40B4-BE49-F238E27FC236}">
                  <a16:creationId xmlns:a16="http://schemas.microsoft.com/office/drawing/2014/main" id="{AA2C5397-3A4F-4300-859D-D83E642F601C}"/>
                </a:ext>
              </a:extLst>
            </p:cNvPr>
            <p:cNvSpPr txBox="1"/>
            <p:nvPr/>
          </p:nvSpPr>
          <p:spPr>
            <a:xfrm>
              <a:off x="10886522" y="324377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72" name="Legend2">
              <a:extLst>
                <a:ext uri="{FF2B5EF4-FFF2-40B4-BE49-F238E27FC236}">
                  <a16:creationId xmlns:a16="http://schemas.microsoft.com/office/drawing/2014/main" id="{DF3CF1D0-78E7-4A1A-BAF6-0C620FCC35FA}"/>
                </a:ext>
              </a:extLst>
            </p:cNvPr>
            <p:cNvSpPr txBox="1"/>
            <p:nvPr/>
          </p:nvSpPr>
          <p:spPr>
            <a:xfrm>
              <a:off x="10886522" y="3615193"/>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73" name="Legend3">
              <a:extLst>
                <a:ext uri="{FF2B5EF4-FFF2-40B4-BE49-F238E27FC236}">
                  <a16:creationId xmlns:a16="http://schemas.microsoft.com/office/drawing/2014/main" id="{F3FB99D4-6D52-46E8-84EB-BFBE2CB2694F}"/>
                </a:ext>
              </a:extLst>
            </p:cNvPr>
            <p:cNvSpPr txBox="1"/>
            <p:nvPr/>
          </p:nvSpPr>
          <p:spPr>
            <a:xfrm>
              <a:off x="10886522" y="398661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74" name="LineLegend3">
              <a:extLst>
                <a:ext uri="{FF2B5EF4-FFF2-40B4-BE49-F238E27FC236}">
                  <a16:creationId xmlns:a16="http://schemas.microsoft.com/office/drawing/2014/main" id="{7FFF0891-29FD-4B43-BC19-799557752C1C}"/>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rtl="0"/>
              <a:endParaRPr lang="de-DE" sz="1400" baseline="0">
                <a:ea typeface="+mn-ea"/>
              </a:endParaRPr>
            </a:p>
          </p:txBody>
        </p:sp>
        <p:sp>
          <p:nvSpPr>
            <p:cNvPr id="175" name="LineLegend2">
              <a:extLst>
                <a:ext uri="{FF2B5EF4-FFF2-40B4-BE49-F238E27FC236}">
                  <a16:creationId xmlns:a16="http://schemas.microsoft.com/office/drawing/2014/main" id="{96199B49-59CC-455F-BDEF-AF28B33B55EF}"/>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rtl="0"/>
              <a:endParaRPr lang="de-DE" sz="1400" baseline="0">
                <a:ea typeface="+mn-ea"/>
              </a:endParaRPr>
            </a:p>
          </p:txBody>
        </p:sp>
        <p:sp>
          <p:nvSpPr>
            <p:cNvPr id="176" name="LineLegend1">
              <a:extLst>
                <a:ext uri="{FF2B5EF4-FFF2-40B4-BE49-F238E27FC236}">
                  <a16:creationId xmlns:a16="http://schemas.microsoft.com/office/drawing/2014/main" id="{9861ABAB-C150-4786-85E2-AC1333FDC37F}"/>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rtl="0"/>
              <a:endParaRPr lang="de-DE" sz="1400" baseline="0">
                <a:ea typeface="+mn-ea"/>
              </a:endParaRPr>
            </a:p>
          </p:txBody>
        </p:sp>
      </p:grpSp>
      <p:grpSp>
        <p:nvGrpSpPr>
          <p:cNvPr id="177" name="LegendMoons" hidden="1">
            <a:extLst>
              <a:ext uri="{FF2B5EF4-FFF2-40B4-BE49-F238E27FC236}">
                <a16:creationId xmlns:a16="http://schemas.microsoft.com/office/drawing/2014/main" id="{3464FB99-130B-4580-9298-0F7E962C113F}"/>
              </a:ext>
            </a:extLst>
          </p:cNvPr>
          <p:cNvGrpSpPr/>
          <p:nvPr userDrawn="1"/>
        </p:nvGrpSpPr>
        <p:grpSpPr>
          <a:xfrm>
            <a:off x="10588929" y="1145373"/>
            <a:ext cx="1048335" cy="1731859"/>
            <a:chOff x="7723680" y="1702457"/>
            <a:chExt cx="1048335" cy="1731859"/>
          </a:xfrm>
        </p:grpSpPr>
        <p:sp>
          <p:nvSpPr>
            <p:cNvPr id="178" name="Legend1">
              <a:extLst>
                <a:ext uri="{FF2B5EF4-FFF2-40B4-BE49-F238E27FC236}">
                  <a16:creationId xmlns:a16="http://schemas.microsoft.com/office/drawing/2014/main" id="{AC643127-5D8A-46E8-9087-E6B9189936B4}"/>
                </a:ext>
              </a:extLst>
            </p:cNvPr>
            <p:cNvSpPr txBox="1"/>
            <p:nvPr/>
          </p:nvSpPr>
          <p:spPr>
            <a:xfrm>
              <a:off x="8076312" y="1709816"/>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86" name="Legend2">
              <a:extLst>
                <a:ext uri="{FF2B5EF4-FFF2-40B4-BE49-F238E27FC236}">
                  <a16:creationId xmlns:a16="http://schemas.microsoft.com/office/drawing/2014/main" id="{7A8FE2F7-9B36-44A4-8FE1-CD5D5E8AF642}"/>
                </a:ext>
              </a:extLst>
            </p:cNvPr>
            <p:cNvSpPr txBox="1"/>
            <p:nvPr/>
          </p:nvSpPr>
          <p:spPr>
            <a:xfrm>
              <a:off x="8076312" y="2085275"/>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98" name="Legend3">
              <a:extLst>
                <a:ext uri="{FF2B5EF4-FFF2-40B4-BE49-F238E27FC236}">
                  <a16:creationId xmlns:a16="http://schemas.microsoft.com/office/drawing/2014/main" id="{35DE99B5-2594-4AD2-A963-D17FDA2E8BC2}"/>
                </a:ext>
              </a:extLst>
            </p:cNvPr>
            <p:cNvSpPr txBox="1"/>
            <p:nvPr/>
          </p:nvSpPr>
          <p:spPr>
            <a:xfrm>
              <a:off x="8076312" y="246073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99" name="Legend4">
              <a:extLst>
                <a:ext uri="{FF2B5EF4-FFF2-40B4-BE49-F238E27FC236}">
                  <a16:creationId xmlns:a16="http://schemas.microsoft.com/office/drawing/2014/main" id="{A091A922-76B5-4313-828A-E2DACA1E3095}"/>
                </a:ext>
              </a:extLst>
            </p:cNvPr>
            <p:cNvSpPr txBox="1"/>
            <p:nvPr/>
          </p:nvSpPr>
          <p:spPr>
            <a:xfrm>
              <a:off x="8076312" y="2836193"/>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200" name="Legend5">
              <a:extLst>
                <a:ext uri="{FF2B5EF4-FFF2-40B4-BE49-F238E27FC236}">
                  <a16:creationId xmlns:a16="http://schemas.microsoft.com/office/drawing/2014/main" id="{57647971-B174-4F1E-9CDD-2EF3C6DEC097}"/>
                </a:ext>
              </a:extLst>
            </p:cNvPr>
            <p:cNvSpPr txBox="1"/>
            <p:nvPr/>
          </p:nvSpPr>
          <p:spPr>
            <a:xfrm>
              <a:off x="8076312" y="321165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grpSp>
          <p:nvGrpSpPr>
            <p:cNvPr id="201" name="MoonLegend1">
              <a:extLst>
                <a:ext uri="{FF2B5EF4-FFF2-40B4-BE49-F238E27FC236}">
                  <a16:creationId xmlns:a16="http://schemas.microsoft.com/office/drawing/2014/main" id="{2D17764A-BB3A-4DE4-B253-D85603F5CF29}"/>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87434261-D8EC-449A-B0C3-34C18175ABE3}"/>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rtl="0"/>
                <a:endParaRPr lang="de-DE" sz="1400">
                  <a:solidFill>
                    <a:schemeClr val="tx1"/>
                  </a:solidFill>
                </a:endParaRPr>
              </a:p>
            </p:txBody>
          </p:sp>
          <p:sp>
            <p:nvSpPr>
              <p:cNvPr id="215" name="Arc 214">
                <a:extLst>
                  <a:ext uri="{FF2B5EF4-FFF2-40B4-BE49-F238E27FC236}">
                    <a16:creationId xmlns:a16="http://schemas.microsoft.com/office/drawing/2014/main" id="{42EE523B-BDBA-41BB-92A0-08E31340F6A9}"/>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wrap="none" rtlCol="0" anchor="ctr"/>
              <a:lstStyle/>
              <a:p>
                <a:pPr algn="ctr" rtl="0"/>
                <a:endParaRPr lang="de-DE" sz="1400"/>
              </a:p>
            </p:txBody>
          </p:sp>
        </p:grpSp>
        <p:grpSp>
          <p:nvGrpSpPr>
            <p:cNvPr id="202" name="MoonLegend2">
              <a:extLst>
                <a:ext uri="{FF2B5EF4-FFF2-40B4-BE49-F238E27FC236}">
                  <a16:creationId xmlns:a16="http://schemas.microsoft.com/office/drawing/2014/main" id="{B986B39F-6EBC-4B5D-A6C4-17C51365D538}"/>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804FB994-9E25-4500-A5DB-5390F23F505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rtl="0"/>
                <a:endParaRPr lang="de-DE" sz="1400">
                  <a:solidFill>
                    <a:schemeClr val="tx1"/>
                  </a:solidFill>
                </a:endParaRPr>
              </a:p>
            </p:txBody>
          </p:sp>
          <p:sp>
            <p:nvSpPr>
              <p:cNvPr id="213" name="Arc 212">
                <a:extLst>
                  <a:ext uri="{FF2B5EF4-FFF2-40B4-BE49-F238E27FC236}">
                    <a16:creationId xmlns:a16="http://schemas.microsoft.com/office/drawing/2014/main" id="{C1E823F3-E59B-4F61-BFD4-79B3E1C6AAEE}"/>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wrap="none" rtlCol="0" anchor="ctr"/>
              <a:lstStyle/>
              <a:p>
                <a:pPr algn="ctr" rtl="0"/>
                <a:endParaRPr lang="de-DE" sz="1400"/>
              </a:p>
            </p:txBody>
          </p:sp>
        </p:grpSp>
        <p:grpSp>
          <p:nvGrpSpPr>
            <p:cNvPr id="203" name="MoonLegend3">
              <a:extLst>
                <a:ext uri="{FF2B5EF4-FFF2-40B4-BE49-F238E27FC236}">
                  <a16:creationId xmlns:a16="http://schemas.microsoft.com/office/drawing/2014/main" id="{A279A18D-C7BF-480E-8DE7-62FE9201ED26}"/>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E25D10B5-5C14-43F4-AAAA-7E17799F0F46}"/>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rtl="0"/>
                <a:endParaRPr lang="de-DE" sz="1400">
                  <a:solidFill>
                    <a:schemeClr val="tx1"/>
                  </a:solidFill>
                </a:endParaRPr>
              </a:p>
            </p:txBody>
          </p:sp>
          <p:sp>
            <p:nvSpPr>
              <p:cNvPr id="211" name="Arc 210">
                <a:extLst>
                  <a:ext uri="{FF2B5EF4-FFF2-40B4-BE49-F238E27FC236}">
                    <a16:creationId xmlns:a16="http://schemas.microsoft.com/office/drawing/2014/main" id="{E52D8558-2CDA-44F0-89A5-E28EF91B21E9}"/>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wrap="none" rtlCol="0" anchor="ctr"/>
              <a:lstStyle/>
              <a:p>
                <a:pPr algn="ctr" rtl="0"/>
                <a:endParaRPr lang="de-DE" sz="1400"/>
              </a:p>
            </p:txBody>
          </p:sp>
        </p:grpSp>
        <p:grpSp>
          <p:nvGrpSpPr>
            <p:cNvPr id="204" name="MoonLegend4">
              <a:extLst>
                <a:ext uri="{FF2B5EF4-FFF2-40B4-BE49-F238E27FC236}">
                  <a16:creationId xmlns:a16="http://schemas.microsoft.com/office/drawing/2014/main" id="{28598DDB-17BE-4584-B9FE-397C33DD740F}"/>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34A7EAD6-F6CF-405E-A537-F2EDFE003C5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rtl="0"/>
                <a:endParaRPr lang="de-DE" sz="1400">
                  <a:solidFill>
                    <a:schemeClr val="tx1"/>
                  </a:solidFill>
                </a:endParaRPr>
              </a:p>
            </p:txBody>
          </p:sp>
          <p:sp>
            <p:nvSpPr>
              <p:cNvPr id="209" name="Arc 208">
                <a:extLst>
                  <a:ext uri="{FF2B5EF4-FFF2-40B4-BE49-F238E27FC236}">
                    <a16:creationId xmlns:a16="http://schemas.microsoft.com/office/drawing/2014/main" id="{951CFAE1-3D0F-4F34-8EF6-091BCD99EA2F}"/>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wrap="none" rtlCol="0" anchor="ctr"/>
              <a:lstStyle/>
              <a:p>
                <a:pPr algn="ctr" rtl="0"/>
                <a:endParaRPr lang="de-DE" sz="1400"/>
              </a:p>
            </p:txBody>
          </p:sp>
        </p:grpSp>
        <p:grpSp>
          <p:nvGrpSpPr>
            <p:cNvPr id="205" name="MoonLegend5">
              <a:extLst>
                <a:ext uri="{FF2B5EF4-FFF2-40B4-BE49-F238E27FC236}">
                  <a16:creationId xmlns:a16="http://schemas.microsoft.com/office/drawing/2014/main" id="{AB206D39-4E71-43B8-9DEB-F8B03F6D1847}"/>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241570A2-2DD1-4689-B740-71D1630862B8}"/>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rtl="0"/>
                <a:endParaRPr lang="de-DE" sz="1400">
                  <a:solidFill>
                    <a:schemeClr val="tx1"/>
                  </a:solidFill>
                </a:endParaRPr>
              </a:p>
            </p:txBody>
          </p:sp>
          <p:sp>
            <p:nvSpPr>
              <p:cNvPr id="207" name="Arc 206">
                <a:extLst>
                  <a:ext uri="{FF2B5EF4-FFF2-40B4-BE49-F238E27FC236}">
                    <a16:creationId xmlns:a16="http://schemas.microsoft.com/office/drawing/2014/main" id="{02D530BD-AE29-447F-8D07-0CBE78540C6A}"/>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wrap="none" rtlCol="0" anchor="ctr"/>
              <a:lstStyle/>
              <a:p>
                <a:pPr algn="ctr" rtl="0"/>
                <a:endParaRPr lang="de-DE" sz="1400"/>
              </a:p>
            </p:txBody>
          </p:sp>
        </p:grpSp>
      </p:grpSp>
      <p:grpSp>
        <p:nvGrpSpPr>
          <p:cNvPr id="216" name="LegendBoxes" hidden="1">
            <a:extLst>
              <a:ext uri="{FF2B5EF4-FFF2-40B4-BE49-F238E27FC236}">
                <a16:creationId xmlns:a16="http://schemas.microsoft.com/office/drawing/2014/main" id="{60E098FB-C013-41D0-85AE-3F761DF0884B}"/>
              </a:ext>
            </a:extLst>
          </p:cNvPr>
          <p:cNvGrpSpPr/>
          <p:nvPr userDrawn="1"/>
        </p:nvGrpSpPr>
        <p:grpSpPr>
          <a:xfrm>
            <a:off x="10615415" y="4381500"/>
            <a:ext cx="1021849" cy="1717282"/>
            <a:chOff x="10652400" y="4322824"/>
            <a:chExt cx="1021849" cy="1717282"/>
          </a:xfrm>
        </p:grpSpPr>
        <p:sp>
          <p:nvSpPr>
            <p:cNvPr id="217" name="RectangleLegend1">
              <a:extLst>
                <a:ext uri="{FF2B5EF4-FFF2-40B4-BE49-F238E27FC236}">
                  <a16:creationId xmlns:a16="http://schemas.microsoft.com/office/drawing/2014/main" id="{D5D96167-F244-43A4-97D8-4D43AA7E2AE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218" name="RectangleLegend2">
              <a:extLst>
                <a:ext uri="{FF2B5EF4-FFF2-40B4-BE49-F238E27FC236}">
                  <a16:creationId xmlns:a16="http://schemas.microsoft.com/office/drawing/2014/main" id="{906B6F34-B349-4AAB-8EE8-FCF6A15661CD}"/>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219" name="RectangleLegend3">
              <a:extLst>
                <a:ext uri="{FF2B5EF4-FFF2-40B4-BE49-F238E27FC236}">
                  <a16:creationId xmlns:a16="http://schemas.microsoft.com/office/drawing/2014/main" id="{76C34F70-E60E-43F4-B846-10C5C42EA9B5}"/>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220" name="RectangleLegend4">
              <a:extLst>
                <a:ext uri="{FF2B5EF4-FFF2-40B4-BE49-F238E27FC236}">
                  <a16:creationId xmlns:a16="http://schemas.microsoft.com/office/drawing/2014/main" id="{D3E23DC5-8903-4782-A2A0-2B1CED06304D}"/>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221" name="RectangleLegend5">
              <a:extLst>
                <a:ext uri="{FF2B5EF4-FFF2-40B4-BE49-F238E27FC236}">
                  <a16:creationId xmlns:a16="http://schemas.microsoft.com/office/drawing/2014/main" id="{16A1392D-4148-4C1E-8302-785E485FADA6}"/>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222" name="Legend1">
              <a:extLst>
                <a:ext uri="{FF2B5EF4-FFF2-40B4-BE49-F238E27FC236}">
                  <a16:creationId xmlns:a16="http://schemas.microsoft.com/office/drawing/2014/main" id="{47BB4B5C-22C3-4BB9-B896-03BF3C50719C}"/>
                </a:ext>
              </a:extLst>
            </p:cNvPr>
            <p:cNvSpPr txBox="1"/>
            <p:nvPr/>
          </p:nvSpPr>
          <p:spPr>
            <a:xfrm>
              <a:off x="10978546" y="432282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223" name="Legend2">
              <a:extLst>
                <a:ext uri="{FF2B5EF4-FFF2-40B4-BE49-F238E27FC236}">
                  <a16:creationId xmlns:a16="http://schemas.microsoft.com/office/drawing/2014/main" id="{D461EAC7-9F61-4629-A4C3-F1D8F5A00EE2}"/>
                </a:ext>
              </a:extLst>
            </p:cNvPr>
            <p:cNvSpPr txBox="1"/>
            <p:nvPr/>
          </p:nvSpPr>
          <p:spPr>
            <a:xfrm>
              <a:off x="10978546" y="470232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224" name="Legend3">
              <a:extLst>
                <a:ext uri="{FF2B5EF4-FFF2-40B4-BE49-F238E27FC236}">
                  <a16:creationId xmlns:a16="http://schemas.microsoft.com/office/drawing/2014/main" id="{CFCD5C9E-7A88-4A45-A0A3-7B7DEAA81EE8}"/>
                </a:ext>
              </a:extLst>
            </p:cNvPr>
            <p:cNvSpPr txBox="1"/>
            <p:nvPr/>
          </p:nvSpPr>
          <p:spPr>
            <a:xfrm>
              <a:off x="10978546" y="5081820"/>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225" name="Legend4">
              <a:extLst>
                <a:ext uri="{FF2B5EF4-FFF2-40B4-BE49-F238E27FC236}">
                  <a16:creationId xmlns:a16="http://schemas.microsoft.com/office/drawing/2014/main" id="{0D02A37F-6349-4207-BF25-1A34125E74C6}"/>
                </a:ext>
              </a:extLst>
            </p:cNvPr>
            <p:cNvSpPr txBox="1"/>
            <p:nvPr/>
          </p:nvSpPr>
          <p:spPr>
            <a:xfrm>
              <a:off x="10978546" y="5453241"/>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226" name="Legend5">
              <a:extLst>
                <a:ext uri="{FF2B5EF4-FFF2-40B4-BE49-F238E27FC236}">
                  <a16:creationId xmlns:a16="http://schemas.microsoft.com/office/drawing/2014/main" id="{0C9761C9-63DF-4D7C-9704-7F0F569DB87F}"/>
                </a:ext>
              </a:extLst>
            </p:cNvPr>
            <p:cNvSpPr txBox="1"/>
            <p:nvPr/>
          </p:nvSpPr>
          <p:spPr>
            <a:xfrm>
              <a:off x="10978545" y="582466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grpSp>
      <p:pic>
        <p:nvPicPr>
          <p:cNvPr id="148" name="Picture 24">
            <a:extLst>
              <a:ext uri="{FF2B5EF4-FFF2-40B4-BE49-F238E27FC236}">
                <a16:creationId xmlns:a16="http://schemas.microsoft.com/office/drawing/2014/main" id="{911EDE88-75E1-4EC1-BD55-C63C268C56FB}"/>
              </a:ext>
            </a:extLst>
          </p:cNvPr>
          <p:cNvPicPr>
            <a:picLocks noChangeAspect="1" noChangeArrowheads="1"/>
          </p:cNvPicPr>
          <p:nvPr userDrawn="1"/>
        </p:nvPicPr>
        <p:blipFill>
          <a:blip r:embed="rId40" cstate="print">
            <a:extLst>
              <a:ext uri="{28A0092B-C50C-407E-A947-70E740481C1C}">
                <a14:useLocalDpi xmlns:a14="http://schemas.microsoft.com/office/drawing/2010/main"/>
              </a:ext>
            </a:extLst>
          </a:blip>
          <a:stretch>
            <a:fillRect/>
          </a:stretch>
        </p:blipFill>
        <p:spPr bwMode="auto">
          <a:xfrm>
            <a:off x="10527863" y="6332378"/>
            <a:ext cx="1109401" cy="346688"/>
          </a:xfrm>
          <a:prstGeom prst="rect">
            <a:avLst/>
          </a:prstGeom>
          <a:noFill/>
        </p:spPr>
      </p:pic>
    </p:spTree>
    <p:extLst>
      <p:ext uri="{BB962C8B-B14F-4D97-AF65-F5344CB8AC3E}">
        <p14:creationId xmlns:p14="http://schemas.microsoft.com/office/powerpoint/2010/main" val="280972874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Lst>
  <p:hf hdr="0" ftr="0" dt="0"/>
  <p:txStyles>
    <p:titleStyle>
      <a:lvl1pPr algn="l" defTabSz="914400" rtl="0" eaLnBrk="1" latinLnBrk="0" hangingPunct="1">
        <a:lnSpc>
          <a:spcPct val="93000"/>
        </a:lnSpc>
        <a:spcBef>
          <a:spcPct val="0"/>
        </a:spcBef>
        <a:buNone/>
        <a:defRPr lang="de-DE" sz="2500" b="1" kern="1200" spc="0" baseline="0" dirty="0">
          <a:ln w="6350" cap="flat">
            <a:noFill/>
            <a:miter lim="800000"/>
          </a:ln>
          <a:solidFill>
            <a:srgbClr val="6F6F6F"/>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19"/>
            </p:custDataLst>
            <p:extLst>
              <p:ext uri="{D42A27DB-BD31-4B8C-83A1-F6EECF244321}">
                <p14:modId xmlns:p14="http://schemas.microsoft.com/office/powerpoint/2010/main" val="1719605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592" imgH="591" progId="TCLayout.ActiveDocument.1">
                  <p:embed/>
                </p:oleObj>
              </mc:Choice>
              <mc:Fallback>
                <p:oleObj name="think-cell Slide" r:id="rId40"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20"/>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1"/>
            </p:custDataLst>
          </p:nvPr>
        </p:nvSpPr>
        <p:spPr>
          <a:xfrm>
            <a:off x="554736" y="545942"/>
            <a:ext cx="11082528" cy="35779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pPr lvl="0"/>
            <a:r>
              <a:rPr lang="de-DE"/>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2"/>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de-DE">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de-DE"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3"/>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de-DE"/>
              <a:t>Fuß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289273"/>
            <a:ext cx="391133"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de-DE"/>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4"/>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a:t>Above Chart Exhibit Title</a:t>
            </a:r>
            <a:br>
              <a:rPr lang="de-DE"/>
            </a:br>
            <a:r>
              <a:rPr lang="de-DE" sz="1400" b="0"/>
              <a:t>Unit of Measure</a:t>
            </a:r>
          </a:p>
        </p:txBody>
      </p:sp>
      <p:sp>
        <p:nvSpPr>
          <p:cNvPr id="4" name="Text Placeholder 3">
            <a:extLst>
              <a:ext uri="{FF2B5EF4-FFF2-40B4-BE49-F238E27FC236}">
                <a16:creationId xmlns:a16="http://schemas.microsoft.com/office/drawing/2014/main" id="{3B3BD742-6774-47DD-B41B-1AA9870EFC7B}"/>
              </a:ext>
            </a:extLst>
          </p:cNvPr>
          <p:cNvSpPr>
            <a:spLocks noGrp="1"/>
          </p:cNvSpPr>
          <p:nvPr>
            <p:ph type="body" idx="1"/>
          </p:nvPr>
        </p:nvSpPr>
        <p:spPr>
          <a:xfrm>
            <a:off x="554736" y="2170800"/>
            <a:ext cx="3750514" cy="1384995"/>
          </a:xfrm>
          <a:prstGeom prst="rect">
            <a:avLst/>
          </a:prstGeom>
        </p:spPr>
        <p:txBody>
          <a:bodyPr vert="horz" lIns="0" tIns="0" rIns="0" bIns="0" rtlCol="0">
            <a:spAutoFit/>
          </a:body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grpSp>
        <p:nvGrpSpPr>
          <p:cNvPr id="146" name="LegendBoxes" hidden="1">
            <a:extLst>
              <a:ext uri="{FF2B5EF4-FFF2-40B4-BE49-F238E27FC236}">
                <a16:creationId xmlns:a16="http://schemas.microsoft.com/office/drawing/2014/main" id="{2A1D36FF-CE2F-4C63-9072-B3F057BBA2D3}"/>
              </a:ext>
            </a:extLst>
          </p:cNvPr>
          <p:cNvGrpSpPr/>
          <p:nvPr userDrawn="1"/>
        </p:nvGrpSpPr>
        <p:grpSpPr>
          <a:xfrm>
            <a:off x="10615415" y="4381500"/>
            <a:ext cx="1021849" cy="1717282"/>
            <a:chOff x="10554770" y="4322824"/>
            <a:chExt cx="1021849" cy="1717282"/>
          </a:xfrm>
        </p:grpSpPr>
        <p:sp>
          <p:nvSpPr>
            <p:cNvPr id="147" name="RectangleLegend1">
              <a:extLst>
                <a:ext uri="{FF2B5EF4-FFF2-40B4-BE49-F238E27FC236}">
                  <a16:creationId xmlns:a16="http://schemas.microsoft.com/office/drawing/2014/main" id="{6EA1C2E1-A0C9-48D3-9A88-4CC3BAA96AE2}"/>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148" name="RectangleLegend2">
              <a:extLst>
                <a:ext uri="{FF2B5EF4-FFF2-40B4-BE49-F238E27FC236}">
                  <a16:creationId xmlns:a16="http://schemas.microsoft.com/office/drawing/2014/main" id="{61985F83-7585-41E8-A9FD-5EF5344A6936}"/>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149" name="RectangleLegend3">
              <a:extLst>
                <a:ext uri="{FF2B5EF4-FFF2-40B4-BE49-F238E27FC236}">
                  <a16:creationId xmlns:a16="http://schemas.microsoft.com/office/drawing/2014/main" id="{48614351-F252-4587-ACF1-B8E7B3A499BF}"/>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150" name="RectangleLegend4">
              <a:extLst>
                <a:ext uri="{FF2B5EF4-FFF2-40B4-BE49-F238E27FC236}">
                  <a16:creationId xmlns:a16="http://schemas.microsoft.com/office/drawing/2014/main" id="{1DE85AD2-0F21-4816-87F8-62F817731391}"/>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151" name="RectangleLegend5">
              <a:extLst>
                <a:ext uri="{FF2B5EF4-FFF2-40B4-BE49-F238E27FC236}">
                  <a16:creationId xmlns:a16="http://schemas.microsoft.com/office/drawing/2014/main" id="{0614B4A9-AFC0-48AA-88FA-925FE22E43E1}"/>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a:solidFill>
                  <a:schemeClr val="tx1"/>
                </a:solidFill>
              </a:endParaRPr>
            </a:p>
          </p:txBody>
        </p:sp>
        <p:sp>
          <p:nvSpPr>
            <p:cNvPr id="152" name="Legend1">
              <a:extLst>
                <a:ext uri="{FF2B5EF4-FFF2-40B4-BE49-F238E27FC236}">
                  <a16:creationId xmlns:a16="http://schemas.microsoft.com/office/drawing/2014/main" id="{16A88776-CB5E-469F-B3D4-64D368C60C7F}"/>
                </a:ext>
              </a:extLst>
            </p:cNvPr>
            <p:cNvSpPr txBox="1"/>
            <p:nvPr/>
          </p:nvSpPr>
          <p:spPr>
            <a:xfrm>
              <a:off x="10880916" y="432282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53" name="Legend2">
              <a:extLst>
                <a:ext uri="{FF2B5EF4-FFF2-40B4-BE49-F238E27FC236}">
                  <a16:creationId xmlns:a16="http://schemas.microsoft.com/office/drawing/2014/main" id="{FB0D74F9-0D00-410A-999D-09CEFCB46452}"/>
                </a:ext>
              </a:extLst>
            </p:cNvPr>
            <p:cNvSpPr txBox="1"/>
            <p:nvPr/>
          </p:nvSpPr>
          <p:spPr>
            <a:xfrm>
              <a:off x="10880916" y="470232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54" name="Legend3">
              <a:extLst>
                <a:ext uri="{FF2B5EF4-FFF2-40B4-BE49-F238E27FC236}">
                  <a16:creationId xmlns:a16="http://schemas.microsoft.com/office/drawing/2014/main" id="{835ECBBB-98BA-40BE-B784-37DC99A24102}"/>
                </a:ext>
              </a:extLst>
            </p:cNvPr>
            <p:cNvSpPr txBox="1"/>
            <p:nvPr/>
          </p:nvSpPr>
          <p:spPr>
            <a:xfrm>
              <a:off x="10880916" y="5081820"/>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55" name="Legend4">
              <a:extLst>
                <a:ext uri="{FF2B5EF4-FFF2-40B4-BE49-F238E27FC236}">
                  <a16:creationId xmlns:a16="http://schemas.microsoft.com/office/drawing/2014/main" id="{CD93171C-AC49-4596-905D-AE1C46C9625C}"/>
                </a:ext>
              </a:extLst>
            </p:cNvPr>
            <p:cNvSpPr txBox="1"/>
            <p:nvPr/>
          </p:nvSpPr>
          <p:spPr>
            <a:xfrm>
              <a:off x="10880916" y="5453241"/>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56" name="Legend5">
              <a:extLst>
                <a:ext uri="{FF2B5EF4-FFF2-40B4-BE49-F238E27FC236}">
                  <a16:creationId xmlns:a16="http://schemas.microsoft.com/office/drawing/2014/main" id="{5380FBE2-6FA5-44EA-B403-B7ED7856ECD2}"/>
                </a:ext>
              </a:extLst>
            </p:cNvPr>
            <p:cNvSpPr txBox="1"/>
            <p:nvPr/>
          </p:nvSpPr>
          <p:spPr>
            <a:xfrm>
              <a:off x="10880915" y="582466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grpSp>
      <p:grpSp>
        <p:nvGrpSpPr>
          <p:cNvPr id="157" name="LegendLines" hidden="1">
            <a:extLst>
              <a:ext uri="{FF2B5EF4-FFF2-40B4-BE49-F238E27FC236}">
                <a16:creationId xmlns:a16="http://schemas.microsoft.com/office/drawing/2014/main" id="{839BDF62-B50D-44D0-9567-B8F28958F772}"/>
              </a:ext>
            </a:extLst>
          </p:cNvPr>
          <p:cNvGrpSpPr/>
          <p:nvPr userDrawn="1"/>
        </p:nvGrpSpPr>
        <p:grpSpPr>
          <a:xfrm>
            <a:off x="10217918" y="3222173"/>
            <a:ext cx="1419346" cy="958286"/>
            <a:chOff x="10162879" y="3243772"/>
            <a:chExt cx="1419346" cy="958286"/>
          </a:xfrm>
        </p:grpSpPr>
        <p:sp>
          <p:nvSpPr>
            <p:cNvPr id="158" name="Legend1">
              <a:extLst>
                <a:ext uri="{FF2B5EF4-FFF2-40B4-BE49-F238E27FC236}">
                  <a16:creationId xmlns:a16="http://schemas.microsoft.com/office/drawing/2014/main" id="{60FB2209-FEE0-4D9F-B19F-3AA79EE6F112}"/>
                </a:ext>
              </a:extLst>
            </p:cNvPr>
            <p:cNvSpPr txBox="1"/>
            <p:nvPr/>
          </p:nvSpPr>
          <p:spPr>
            <a:xfrm>
              <a:off x="10886522" y="324377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59" name="Legend2">
              <a:extLst>
                <a:ext uri="{FF2B5EF4-FFF2-40B4-BE49-F238E27FC236}">
                  <a16:creationId xmlns:a16="http://schemas.microsoft.com/office/drawing/2014/main" id="{7BAB2276-7729-4F92-8F8C-3F9C53B9E670}"/>
                </a:ext>
              </a:extLst>
            </p:cNvPr>
            <p:cNvSpPr txBox="1"/>
            <p:nvPr/>
          </p:nvSpPr>
          <p:spPr>
            <a:xfrm>
              <a:off x="10886522" y="3615193"/>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60" name="Legend3">
              <a:extLst>
                <a:ext uri="{FF2B5EF4-FFF2-40B4-BE49-F238E27FC236}">
                  <a16:creationId xmlns:a16="http://schemas.microsoft.com/office/drawing/2014/main" id="{EEB7B16A-E355-45EB-9AC1-521E6C3AA835}"/>
                </a:ext>
              </a:extLst>
            </p:cNvPr>
            <p:cNvSpPr txBox="1"/>
            <p:nvPr/>
          </p:nvSpPr>
          <p:spPr>
            <a:xfrm>
              <a:off x="10886522" y="398661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61" name="LineLegend3">
              <a:extLst>
                <a:ext uri="{FF2B5EF4-FFF2-40B4-BE49-F238E27FC236}">
                  <a16:creationId xmlns:a16="http://schemas.microsoft.com/office/drawing/2014/main" id="{06820E51-42BF-4433-AB86-4654C8FAF90D}"/>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de-DE" sz="1400" baseline="0">
                <a:latin typeface="+mn-lt"/>
                <a:ea typeface="+mn-ea"/>
              </a:endParaRPr>
            </a:p>
          </p:txBody>
        </p:sp>
        <p:sp>
          <p:nvSpPr>
            <p:cNvPr id="162" name="LineLegend2">
              <a:extLst>
                <a:ext uri="{FF2B5EF4-FFF2-40B4-BE49-F238E27FC236}">
                  <a16:creationId xmlns:a16="http://schemas.microsoft.com/office/drawing/2014/main" id="{0B21BCFC-EE53-4AE0-B821-A564FFCC7D8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de-DE" sz="1400" baseline="0">
                <a:latin typeface="+mn-lt"/>
                <a:ea typeface="+mn-ea"/>
              </a:endParaRPr>
            </a:p>
          </p:txBody>
        </p:sp>
        <p:sp>
          <p:nvSpPr>
            <p:cNvPr id="163" name="LineLegend1">
              <a:extLst>
                <a:ext uri="{FF2B5EF4-FFF2-40B4-BE49-F238E27FC236}">
                  <a16:creationId xmlns:a16="http://schemas.microsoft.com/office/drawing/2014/main" id="{9E32FC5F-AD3C-49A5-AFD4-419DAC31A17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de-DE" sz="1400" baseline="0">
                <a:latin typeface="+mn-lt"/>
                <a:ea typeface="+mn-ea"/>
              </a:endParaRPr>
            </a:p>
          </p:txBody>
        </p:sp>
      </p:grpSp>
      <p:grpSp>
        <p:nvGrpSpPr>
          <p:cNvPr id="164" name="LegendMoons" hidden="1">
            <a:extLst>
              <a:ext uri="{FF2B5EF4-FFF2-40B4-BE49-F238E27FC236}">
                <a16:creationId xmlns:a16="http://schemas.microsoft.com/office/drawing/2014/main" id="{5CFB4703-DB6C-4C46-9086-DA1DFCAE77EA}"/>
              </a:ext>
            </a:extLst>
          </p:cNvPr>
          <p:cNvGrpSpPr/>
          <p:nvPr userDrawn="1"/>
        </p:nvGrpSpPr>
        <p:grpSpPr>
          <a:xfrm>
            <a:off x="10588929" y="1289273"/>
            <a:ext cx="1048335" cy="1731859"/>
            <a:chOff x="7716535" y="2630582"/>
            <a:chExt cx="1048335" cy="1731859"/>
          </a:xfrm>
        </p:grpSpPr>
        <p:sp>
          <p:nvSpPr>
            <p:cNvPr id="165" name="Legend1">
              <a:extLst>
                <a:ext uri="{FF2B5EF4-FFF2-40B4-BE49-F238E27FC236}">
                  <a16:creationId xmlns:a16="http://schemas.microsoft.com/office/drawing/2014/main" id="{395EAA23-58DF-4424-AE2E-1E02344D5692}"/>
                </a:ext>
              </a:extLst>
            </p:cNvPr>
            <p:cNvSpPr txBox="1"/>
            <p:nvPr/>
          </p:nvSpPr>
          <p:spPr>
            <a:xfrm>
              <a:off x="8069167" y="2637941"/>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66" name="Legend2">
              <a:extLst>
                <a:ext uri="{FF2B5EF4-FFF2-40B4-BE49-F238E27FC236}">
                  <a16:creationId xmlns:a16="http://schemas.microsoft.com/office/drawing/2014/main" id="{58BCD831-563A-40B0-9BC4-EDBEED372431}"/>
                </a:ext>
              </a:extLst>
            </p:cNvPr>
            <p:cNvSpPr txBox="1"/>
            <p:nvPr/>
          </p:nvSpPr>
          <p:spPr>
            <a:xfrm>
              <a:off x="8069167" y="3013400"/>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167" name="Legend3">
              <a:extLst>
                <a:ext uri="{FF2B5EF4-FFF2-40B4-BE49-F238E27FC236}">
                  <a16:creationId xmlns:a16="http://schemas.microsoft.com/office/drawing/2014/main" id="{3D5A5E9A-C1D0-4A22-A4D7-02CE14646131}"/>
                </a:ext>
              </a:extLst>
            </p:cNvPr>
            <p:cNvSpPr txBox="1"/>
            <p:nvPr/>
          </p:nvSpPr>
          <p:spPr>
            <a:xfrm>
              <a:off x="8069167" y="3388859"/>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208" name="Legend4">
              <a:extLst>
                <a:ext uri="{FF2B5EF4-FFF2-40B4-BE49-F238E27FC236}">
                  <a16:creationId xmlns:a16="http://schemas.microsoft.com/office/drawing/2014/main" id="{2B830FEA-CA9F-45F3-AAFB-90EF6274D019}"/>
                </a:ext>
              </a:extLst>
            </p:cNvPr>
            <p:cNvSpPr txBox="1"/>
            <p:nvPr/>
          </p:nvSpPr>
          <p:spPr>
            <a:xfrm>
              <a:off x="8069167" y="3764318"/>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sp>
          <p:nvSpPr>
            <p:cNvPr id="209" name="Legend5">
              <a:extLst>
                <a:ext uri="{FF2B5EF4-FFF2-40B4-BE49-F238E27FC236}">
                  <a16:creationId xmlns:a16="http://schemas.microsoft.com/office/drawing/2014/main" id="{8010F07E-5969-489A-BA53-CE962BD9A1B0}"/>
                </a:ext>
              </a:extLst>
            </p:cNvPr>
            <p:cNvSpPr txBox="1"/>
            <p:nvPr/>
          </p:nvSpPr>
          <p:spPr>
            <a:xfrm>
              <a:off x="8069167" y="4139779"/>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a:t>Legende</a:t>
              </a:r>
            </a:p>
          </p:txBody>
        </p:sp>
        <p:grpSp>
          <p:nvGrpSpPr>
            <p:cNvPr id="210" name="MoonLegend1">
              <a:extLst>
                <a:ext uri="{FF2B5EF4-FFF2-40B4-BE49-F238E27FC236}">
                  <a16:creationId xmlns:a16="http://schemas.microsoft.com/office/drawing/2014/main" id="{D826CB45-4849-4130-A9AA-63DB4C6D7C2F}"/>
                </a:ext>
              </a:extLst>
            </p:cNvPr>
            <p:cNvGrpSpPr>
              <a:grpSpLocks noChangeAspect="1"/>
            </p:cNvGrpSpPr>
            <p:nvPr>
              <p:custDataLst>
                <p:tags r:id="rId25"/>
              </p:custDataLst>
            </p:nvPr>
          </p:nvGrpSpPr>
          <p:grpSpPr>
            <a:xfrm>
              <a:off x="7716535" y="2630582"/>
              <a:ext cx="228600" cy="228600"/>
              <a:chOff x="762000" y="1270000"/>
              <a:chExt cx="254000" cy="254000"/>
            </a:xfrm>
          </p:grpSpPr>
          <p:sp>
            <p:nvSpPr>
              <p:cNvPr id="223" name="Oval 222">
                <a:extLst>
                  <a:ext uri="{FF2B5EF4-FFF2-40B4-BE49-F238E27FC236}">
                    <a16:creationId xmlns:a16="http://schemas.microsoft.com/office/drawing/2014/main" id="{13F4E9AC-43EC-4B43-A5A5-DE716624D314}"/>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a:solidFill>
                    <a:schemeClr val="tx1"/>
                  </a:solidFill>
                </a:endParaRPr>
              </a:p>
            </p:txBody>
          </p:sp>
          <p:sp>
            <p:nvSpPr>
              <p:cNvPr id="224" name="Arc 223">
                <a:extLst>
                  <a:ext uri="{FF2B5EF4-FFF2-40B4-BE49-F238E27FC236}">
                    <a16:creationId xmlns:a16="http://schemas.microsoft.com/office/drawing/2014/main" id="{134B2B43-B2D4-4C43-8E9E-2D8188DCF2F9}"/>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a:p>
            </p:txBody>
          </p:sp>
        </p:grpSp>
        <p:grpSp>
          <p:nvGrpSpPr>
            <p:cNvPr id="211" name="MoonLegend2">
              <a:extLst>
                <a:ext uri="{FF2B5EF4-FFF2-40B4-BE49-F238E27FC236}">
                  <a16:creationId xmlns:a16="http://schemas.microsoft.com/office/drawing/2014/main" id="{154639CA-8574-4610-AF01-0D9755B6DA55}"/>
                </a:ext>
              </a:extLst>
            </p:cNvPr>
            <p:cNvGrpSpPr>
              <a:grpSpLocks noChangeAspect="1"/>
            </p:cNvGrpSpPr>
            <p:nvPr>
              <p:custDataLst>
                <p:tags r:id="rId26"/>
              </p:custDataLst>
            </p:nvPr>
          </p:nvGrpSpPr>
          <p:grpSpPr>
            <a:xfrm>
              <a:off x="7716535" y="3006395"/>
              <a:ext cx="228600" cy="228600"/>
              <a:chOff x="762000" y="1270000"/>
              <a:chExt cx="254000" cy="254000"/>
            </a:xfrm>
          </p:grpSpPr>
          <p:sp>
            <p:nvSpPr>
              <p:cNvPr id="221" name="Oval 220">
                <a:extLst>
                  <a:ext uri="{FF2B5EF4-FFF2-40B4-BE49-F238E27FC236}">
                    <a16:creationId xmlns:a16="http://schemas.microsoft.com/office/drawing/2014/main" id="{BB5661E1-F8FF-4DDE-B32A-DF4FD9B0E187}"/>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a:solidFill>
                    <a:schemeClr val="tx1"/>
                  </a:solidFill>
                </a:endParaRPr>
              </a:p>
            </p:txBody>
          </p:sp>
          <p:sp>
            <p:nvSpPr>
              <p:cNvPr id="222" name="Arc 221">
                <a:extLst>
                  <a:ext uri="{FF2B5EF4-FFF2-40B4-BE49-F238E27FC236}">
                    <a16:creationId xmlns:a16="http://schemas.microsoft.com/office/drawing/2014/main" id="{7803F105-2EAD-426C-A55A-339974401D0A}"/>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a:p>
            </p:txBody>
          </p:sp>
        </p:grpSp>
        <p:grpSp>
          <p:nvGrpSpPr>
            <p:cNvPr id="212" name="MoonLegend3">
              <a:extLst>
                <a:ext uri="{FF2B5EF4-FFF2-40B4-BE49-F238E27FC236}">
                  <a16:creationId xmlns:a16="http://schemas.microsoft.com/office/drawing/2014/main" id="{63B8458A-81C4-4A45-A187-7CD0C1716DE8}"/>
                </a:ext>
              </a:extLst>
            </p:cNvPr>
            <p:cNvGrpSpPr>
              <a:grpSpLocks noChangeAspect="1"/>
            </p:cNvGrpSpPr>
            <p:nvPr>
              <p:custDataLst>
                <p:tags r:id="rId27"/>
              </p:custDataLst>
            </p:nvPr>
          </p:nvGrpSpPr>
          <p:grpSpPr>
            <a:xfrm>
              <a:off x="7716535" y="3382210"/>
              <a:ext cx="228600" cy="228600"/>
              <a:chOff x="762000" y="1270000"/>
              <a:chExt cx="254000" cy="254000"/>
            </a:xfrm>
          </p:grpSpPr>
          <p:sp>
            <p:nvSpPr>
              <p:cNvPr id="219" name="Oval 218">
                <a:extLst>
                  <a:ext uri="{FF2B5EF4-FFF2-40B4-BE49-F238E27FC236}">
                    <a16:creationId xmlns:a16="http://schemas.microsoft.com/office/drawing/2014/main" id="{9F66C827-AF28-42F6-937E-A8E1B9A72939}"/>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a:solidFill>
                    <a:schemeClr val="tx1"/>
                  </a:solidFill>
                </a:endParaRPr>
              </a:p>
            </p:txBody>
          </p:sp>
          <p:sp>
            <p:nvSpPr>
              <p:cNvPr id="220" name="Arc 219">
                <a:extLst>
                  <a:ext uri="{FF2B5EF4-FFF2-40B4-BE49-F238E27FC236}">
                    <a16:creationId xmlns:a16="http://schemas.microsoft.com/office/drawing/2014/main" id="{26B3D528-2540-41C6-B749-DE63FE6E930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a:p>
            </p:txBody>
          </p:sp>
        </p:grpSp>
        <p:grpSp>
          <p:nvGrpSpPr>
            <p:cNvPr id="213" name="MoonLegend4">
              <a:extLst>
                <a:ext uri="{FF2B5EF4-FFF2-40B4-BE49-F238E27FC236}">
                  <a16:creationId xmlns:a16="http://schemas.microsoft.com/office/drawing/2014/main" id="{DFD84D16-9A1E-42D7-8747-478F83449E2D}"/>
                </a:ext>
              </a:extLst>
            </p:cNvPr>
            <p:cNvGrpSpPr>
              <a:grpSpLocks noChangeAspect="1"/>
            </p:cNvGrpSpPr>
            <p:nvPr>
              <p:custDataLst>
                <p:tags r:id="rId28"/>
              </p:custDataLst>
            </p:nvPr>
          </p:nvGrpSpPr>
          <p:grpSpPr>
            <a:xfrm>
              <a:off x="7716535" y="3758025"/>
              <a:ext cx="228600" cy="228600"/>
              <a:chOff x="762000" y="1270000"/>
              <a:chExt cx="254000" cy="254000"/>
            </a:xfrm>
          </p:grpSpPr>
          <p:sp>
            <p:nvSpPr>
              <p:cNvPr id="217" name="Oval 216">
                <a:extLst>
                  <a:ext uri="{FF2B5EF4-FFF2-40B4-BE49-F238E27FC236}">
                    <a16:creationId xmlns:a16="http://schemas.microsoft.com/office/drawing/2014/main" id="{14646AC5-FAE4-4C86-9BF9-EFE88E7413D6}"/>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a:solidFill>
                    <a:schemeClr val="tx1"/>
                  </a:solidFill>
                </a:endParaRPr>
              </a:p>
            </p:txBody>
          </p:sp>
          <p:sp>
            <p:nvSpPr>
              <p:cNvPr id="218" name="Arc 217">
                <a:extLst>
                  <a:ext uri="{FF2B5EF4-FFF2-40B4-BE49-F238E27FC236}">
                    <a16:creationId xmlns:a16="http://schemas.microsoft.com/office/drawing/2014/main" id="{6C105981-1EEC-4FA1-9857-8884DB8A233D}"/>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a:p>
            </p:txBody>
          </p:sp>
        </p:grpSp>
        <p:grpSp>
          <p:nvGrpSpPr>
            <p:cNvPr id="214" name="MoonLegend5">
              <a:extLst>
                <a:ext uri="{FF2B5EF4-FFF2-40B4-BE49-F238E27FC236}">
                  <a16:creationId xmlns:a16="http://schemas.microsoft.com/office/drawing/2014/main" id="{CDC28583-22E6-4AD1-8766-30F9DCD71838}"/>
                </a:ext>
              </a:extLst>
            </p:cNvPr>
            <p:cNvGrpSpPr>
              <a:grpSpLocks noChangeAspect="1"/>
            </p:cNvGrpSpPr>
            <p:nvPr>
              <p:custDataLst>
                <p:tags r:id="rId29"/>
              </p:custDataLst>
            </p:nvPr>
          </p:nvGrpSpPr>
          <p:grpSpPr>
            <a:xfrm>
              <a:off x="7716535" y="4133841"/>
              <a:ext cx="228600" cy="228600"/>
              <a:chOff x="762000" y="1270000"/>
              <a:chExt cx="254000" cy="254000"/>
            </a:xfrm>
          </p:grpSpPr>
          <p:sp>
            <p:nvSpPr>
              <p:cNvPr id="215" name="Oval 214">
                <a:extLst>
                  <a:ext uri="{FF2B5EF4-FFF2-40B4-BE49-F238E27FC236}">
                    <a16:creationId xmlns:a16="http://schemas.microsoft.com/office/drawing/2014/main" id="{6C5BD472-6393-481F-BB86-6428CF70B9E1}"/>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a:solidFill>
                    <a:schemeClr val="tx1"/>
                  </a:solidFill>
                </a:endParaRPr>
              </a:p>
            </p:txBody>
          </p:sp>
          <p:sp>
            <p:nvSpPr>
              <p:cNvPr id="216" name="Arc 215">
                <a:extLst>
                  <a:ext uri="{FF2B5EF4-FFF2-40B4-BE49-F238E27FC236}">
                    <a16:creationId xmlns:a16="http://schemas.microsoft.com/office/drawing/2014/main" id="{9F2B6290-026A-42E4-A581-9AEEEE8E6771}"/>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a:p>
            </p:txBody>
          </p:sp>
        </p:grpSp>
      </p:grpSp>
    </p:spTree>
    <p:extLst>
      <p:ext uri="{BB962C8B-B14F-4D97-AF65-F5344CB8AC3E}">
        <p14:creationId xmlns:p14="http://schemas.microsoft.com/office/powerpoint/2010/main" val="2194091183"/>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Lst>
  <p:hf hdr="0" ftr="0" dt="0"/>
  <p:txStyles>
    <p:titleStyle>
      <a:lvl1pPr algn="l" defTabSz="914400" rtl="0" eaLnBrk="1" latinLnBrk="0" hangingPunct="1">
        <a:lnSpc>
          <a:spcPct val="93000"/>
        </a:lnSpc>
        <a:spcBef>
          <a:spcPct val="0"/>
        </a:spcBef>
        <a:buNone/>
        <a:defRPr lang="de-DE"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rgbClr val="ED1C24"/>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sz="1600" kern="1200">
          <a:solidFill>
            <a:schemeClr val="tx1"/>
          </a:solidFill>
          <a:latin typeface="+mn-lt"/>
          <a:ea typeface="+mn-ea"/>
          <a:cs typeface="Arial" panose="020B0604020202020204" pitchFamily="34" charset="0"/>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1821733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de-DE" dirty="0"/>
              <a:t>Fuß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545942"/>
            <a:ext cx="11082528" cy="35779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pPr lvl="0"/>
            <a:r>
              <a:rPr lang="en-US"/>
              <a:t>Click to edit Master title style</a:t>
            </a:r>
            <a:endParaRPr lang="de-DE"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de-DE"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de-DE"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399148"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de-DE"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Above Chart Exhibit Title</a:t>
            </a:r>
            <a:br>
              <a:rPr lang="de-DE" dirty="0"/>
            </a:br>
            <a:r>
              <a:rPr lang="de-DE"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3393558"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grpSp>
        <p:nvGrpSpPr>
          <p:cNvPr id="170" name="LegendLines" hidden="1">
            <a:extLst>
              <a:ext uri="{FF2B5EF4-FFF2-40B4-BE49-F238E27FC236}">
                <a16:creationId xmlns:a16="http://schemas.microsoft.com/office/drawing/2014/main" id="{17B8FA50-7EC1-4798-8601-8A59BFE96F3D}"/>
              </a:ext>
            </a:extLst>
          </p:cNvPr>
          <p:cNvGrpSpPr/>
          <p:nvPr userDrawn="1"/>
        </p:nvGrpSpPr>
        <p:grpSpPr>
          <a:xfrm>
            <a:off x="10217918" y="3222173"/>
            <a:ext cx="1419346" cy="958286"/>
            <a:chOff x="10162879" y="3243772"/>
            <a:chExt cx="1419346" cy="958286"/>
          </a:xfrm>
        </p:grpSpPr>
        <p:sp>
          <p:nvSpPr>
            <p:cNvPr id="171" name="Legend1">
              <a:extLst>
                <a:ext uri="{FF2B5EF4-FFF2-40B4-BE49-F238E27FC236}">
                  <a16:creationId xmlns:a16="http://schemas.microsoft.com/office/drawing/2014/main" id="{3A6CBEDF-AE2E-472D-9989-2A1C14A0C701}"/>
                </a:ext>
              </a:extLst>
            </p:cNvPr>
            <p:cNvSpPr txBox="1"/>
            <p:nvPr/>
          </p:nvSpPr>
          <p:spPr>
            <a:xfrm>
              <a:off x="10886522" y="324377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172" name="Legend2">
              <a:extLst>
                <a:ext uri="{FF2B5EF4-FFF2-40B4-BE49-F238E27FC236}">
                  <a16:creationId xmlns:a16="http://schemas.microsoft.com/office/drawing/2014/main" id="{FD241BEB-A101-49DD-A36B-C12BE98E33B0}"/>
                </a:ext>
              </a:extLst>
            </p:cNvPr>
            <p:cNvSpPr txBox="1"/>
            <p:nvPr/>
          </p:nvSpPr>
          <p:spPr>
            <a:xfrm>
              <a:off x="10886522" y="3615193"/>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173" name="Legend3">
              <a:extLst>
                <a:ext uri="{FF2B5EF4-FFF2-40B4-BE49-F238E27FC236}">
                  <a16:creationId xmlns:a16="http://schemas.microsoft.com/office/drawing/2014/main" id="{1D3C2AD9-6713-4EA9-BCA9-2E1B86B41880}"/>
                </a:ext>
              </a:extLst>
            </p:cNvPr>
            <p:cNvSpPr txBox="1"/>
            <p:nvPr/>
          </p:nvSpPr>
          <p:spPr>
            <a:xfrm>
              <a:off x="10886522" y="398661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174" name="LineLegend3">
              <a:extLst>
                <a:ext uri="{FF2B5EF4-FFF2-40B4-BE49-F238E27FC236}">
                  <a16:creationId xmlns:a16="http://schemas.microsoft.com/office/drawing/2014/main" id="{1E3A850D-A449-4D6F-8AFF-3CA4BC333E7C}"/>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de-DE" sz="1400" baseline="0" dirty="0">
                <a:ea typeface="+mn-ea"/>
              </a:endParaRPr>
            </a:p>
          </p:txBody>
        </p:sp>
        <p:sp>
          <p:nvSpPr>
            <p:cNvPr id="175" name="LineLegend2">
              <a:extLst>
                <a:ext uri="{FF2B5EF4-FFF2-40B4-BE49-F238E27FC236}">
                  <a16:creationId xmlns:a16="http://schemas.microsoft.com/office/drawing/2014/main" id="{6E927CDA-A612-478F-8AA0-583B410EB85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de-DE" sz="1400" baseline="0" dirty="0">
                <a:ea typeface="+mn-ea"/>
              </a:endParaRPr>
            </a:p>
          </p:txBody>
        </p:sp>
        <p:sp>
          <p:nvSpPr>
            <p:cNvPr id="176" name="LineLegend1">
              <a:extLst>
                <a:ext uri="{FF2B5EF4-FFF2-40B4-BE49-F238E27FC236}">
                  <a16:creationId xmlns:a16="http://schemas.microsoft.com/office/drawing/2014/main" id="{FBDB59BE-C9FE-423F-A89F-22C0ACFA9EA3}"/>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de-DE" sz="1400" baseline="0" dirty="0">
                <a:ea typeface="+mn-ea"/>
              </a:endParaRPr>
            </a:p>
          </p:txBody>
        </p:sp>
      </p:grpSp>
      <p:grpSp>
        <p:nvGrpSpPr>
          <p:cNvPr id="177" name="LegendMoons" hidden="1">
            <a:extLst>
              <a:ext uri="{FF2B5EF4-FFF2-40B4-BE49-F238E27FC236}">
                <a16:creationId xmlns:a16="http://schemas.microsoft.com/office/drawing/2014/main" id="{F9B62C43-8D6F-4B74-87AB-1BFA1DA5A83C}"/>
              </a:ext>
            </a:extLst>
          </p:cNvPr>
          <p:cNvGrpSpPr/>
          <p:nvPr userDrawn="1"/>
        </p:nvGrpSpPr>
        <p:grpSpPr>
          <a:xfrm>
            <a:off x="10588929" y="1289273"/>
            <a:ext cx="1048335" cy="1731859"/>
            <a:chOff x="7723680" y="1702457"/>
            <a:chExt cx="1048335" cy="1731859"/>
          </a:xfrm>
        </p:grpSpPr>
        <p:sp>
          <p:nvSpPr>
            <p:cNvPr id="178" name="Legend1">
              <a:extLst>
                <a:ext uri="{FF2B5EF4-FFF2-40B4-BE49-F238E27FC236}">
                  <a16:creationId xmlns:a16="http://schemas.microsoft.com/office/drawing/2014/main" id="{35EA7E2B-C9D3-4488-BF67-415315321A2A}"/>
                </a:ext>
              </a:extLst>
            </p:cNvPr>
            <p:cNvSpPr txBox="1"/>
            <p:nvPr/>
          </p:nvSpPr>
          <p:spPr>
            <a:xfrm>
              <a:off x="8076312" y="1709816"/>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186" name="Legend2">
              <a:extLst>
                <a:ext uri="{FF2B5EF4-FFF2-40B4-BE49-F238E27FC236}">
                  <a16:creationId xmlns:a16="http://schemas.microsoft.com/office/drawing/2014/main" id="{0BD0BFDF-7A74-4295-B869-13C258523290}"/>
                </a:ext>
              </a:extLst>
            </p:cNvPr>
            <p:cNvSpPr txBox="1"/>
            <p:nvPr/>
          </p:nvSpPr>
          <p:spPr>
            <a:xfrm>
              <a:off x="8076312" y="2085275"/>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198" name="Legend3">
              <a:extLst>
                <a:ext uri="{FF2B5EF4-FFF2-40B4-BE49-F238E27FC236}">
                  <a16:creationId xmlns:a16="http://schemas.microsoft.com/office/drawing/2014/main" id="{28B0F4AC-FC2D-481A-9128-8605DEB186C3}"/>
                </a:ext>
              </a:extLst>
            </p:cNvPr>
            <p:cNvSpPr txBox="1"/>
            <p:nvPr/>
          </p:nvSpPr>
          <p:spPr>
            <a:xfrm>
              <a:off x="8076312" y="246073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199" name="Legend4">
              <a:extLst>
                <a:ext uri="{FF2B5EF4-FFF2-40B4-BE49-F238E27FC236}">
                  <a16:creationId xmlns:a16="http://schemas.microsoft.com/office/drawing/2014/main" id="{66FFDECC-710D-423B-AE0D-C8991607814D}"/>
                </a:ext>
              </a:extLst>
            </p:cNvPr>
            <p:cNvSpPr txBox="1"/>
            <p:nvPr/>
          </p:nvSpPr>
          <p:spPr>
            <a:xfrm>
              <a:off x="8076312" y="2836193"/>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200" name="Legend5">
              <a:extLst>
                <a:ext uri="{FF2B5EF4-FFF2-40B4-BE49-F238E27FC236}">
                  <a16:creationId xmlns:a16="http://schemas.microsoft.com/office/drawing/2014/main" id="{36019472-86B2-4E05-AE2B-9BA0E66D43D0}"/>
                </a:ext>
              </a:extLst>
            </p:cNvPr>
            <p:cNvSpPr txBox="1"/>
            <p:nvPr/>
          </p:nvSpPr>
          <p:spPr>
            <a:xfrm>
              <a:off x="8076312" y="321165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grpSp>
          <p:nvGrpSpPr>
            <p:cNvPr id="201" name="MoonLegend1">
              <a:extLst>
                <a:ext uri="{FF2B5EF4-FFF2-40B4-BE49-F238E27FC236}">
                  <a16:creationId xmlns:a16="http://schemas.microsoft.com/office/drawing/2014/main" id="{FD3936D6-5B76-4ACE-9D2D-1026104B9BE4}"/>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CF897800-0278-47C7-A740-075D59763394}"/>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dirty="0">
                  <a:solidFill>
                    <a:schemeClr val="tx1"/>
                  </a:solidFill>
                </a:endParaRPr>
              </a:p>
            </p:txBody>
          </p:sp>
          <p:sp>
            <p:nvSpPr>
              <p:cNvPr id="215" name="Arc 214">
                <a:extLst>
                  <a:ext uri="{FF2B5EF4-FFF2-40B4-BE49-F238E27FC236}">
                    <a16:creationId xmlns:a16="http://schemas.microsoft.com/office/drawing/2014/main" id="{7E65F976-0593-4CA9-9F7B-03B5AE193583}"/>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dirty="0"/>
              </a:p>
            </p:txBody>
          </p:sp>
        </p:grpSp>
        <p:grpSp>
          <p:nvGrpSpPr>
            <p:cNvPr id="202" name="MoonLegend2">
              <a:extLst>
                <a:ext uri="{FF2B5EF4-FFF2-40B4-BE49-F238E27FC236}">
                  <a16:creationId xmlns:a16="http://schemas.microsoft.com/office/drawing/2014/main" id="{B7B8A3F5-747B-435B-8E9F-7B4D316297D9}"/>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714C5B60-6C84-46D1-A076-B75E4342119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dirty="0">
                  <a:solidFill>
                    <a:schemeClr val="tx1"/>
                  </a:solidFill>
                </a:endParaRPr>
              </a:p>
            </p:txBody>
          </p:sp>
          <p:sp>
            <p:nvSpPr>
              <p:cNvPr id="213" name="Arc 212">
                <a:extLst>
                  <a:ext uri="{FF2B5EF4-FFF2-40B4-BE49-F238E27FC236}">
                    <a16:creationId xmlns:a16="http://schemas.microsoft.com/office/drawing/2014/main" id="{F180C744-3105-47F0-B409-C8143778862D}"/>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dirty="0"/>
              </a:p>
            </p:txBody>
          </p:sp>
        </p:grpSp>
        <p:grpSp>
          <p:nvGrpSpPr>
            <p:cNvPr id="203" name="MoonLegend3">
              <a:extLst>
                <a:ext uri="{FF2B5EF4-FFF2-40B4-BE49-F238E27FC236}">
                  <a16:creationId xmlns:a16="http://schemas.microsoft.com/office/drawing/2014/main" id="{2FF14DCB-DE51-4B4E-901D-98243203D1B9}"/>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BB22103-92E5-4DC4-B8B2-AE6494B9E8B4}"/>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dirty="0">
                  <a:solidFill>
                    <a:schemeClr val="tx1"/>
                  </a:solidFill>
                </a:endParaRPr>
              </a:p>
            </p:txBody>
          </p:sp>
          <p:sp>
            <p:nvSpPr>
              <p:cNvPr id="211" name="Arc 210">
                <a:extLst>
                  <a:ext uri="{FF2B5EF4-FFF2-40B4-BE49-F238E27FC236}">
                    <a16:creationId xmlns:a16="http://schemas.microsoft.com/office/drawing/2014/main" id="{58CC9AA8-1579-472F-B138-C1B99850A6C7}"/>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dirty="0"/>
              </a:p>
            </p:txBody>
          </p:sp>
        </p:grpSp>
        <p:grpSp>
          <p:nvGrpSpPr>
            <p:cNvPr id="204" name="MoonLegend4">
              <a:extLst>
                <a:ext uri="{FF2B5EF4-FFF2-40B4-BE49-F238E27FC236}">
                  <a16:creationId xmlns:a16="http://schemas.microsoft.com/office/drawing/2014/main" id="{BF8E647B-7A5E-465C-9903-926800717790}"/>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58679731-080A-437A-9EA0-B8D1A0D2FE00}"/>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dirty="0">
                  <a:solidFill>
                    <a:schemeClr val="tx1"/>
                  </a:solidFill>
                </a:endParaRPr>
              </a:p>
            </p:txBody>
          </p:sp>
          <p:sp>
            <p:nvSpPr>
              <p:cNvPr id="209" name="Arc 208">
                <a:extLst>
                  <a:ext uri="{FF2B5EF4-FFF2-40B4-BE49-F238E27FC236}">
                    <a16:creationId xmlns:a16="http://schemas.microsoft.com/office/drawing/2014/main" id="{111C6334-C1CF-431C-B9F3-2127E72A1EC0}"/>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dirty="0"/>
              </a:p>
            </p:txBody>
          </p:sp>
        </p:grpSp>
        <p:grpSp>
          <p:nvGrpSpPr>
            <p:cNvPr id="205" name="MoonLegend5">
              <a:extLst>
                <a:ext uri="{FF2B5EF4-FFF2-40B4-BE49-F238E27FC236}">
                  <a16:creationId xmlns:a16="http://schemas.microsoft.com/office/drawing/2014/main" id="{C9D1736E-C875-4B7C-AED3-4D4EC72CF6D5}"/>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0E1D39BA-F1F6-4124-B14D-53CC60A317C9}"/>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dirty="0">
                  <a:solidFill>
                    <a:schemeClr val="tx1"/>
                  </a:solidFill>
                </a:endParaRPr>
              </a:p>
            </p:txBody>
          </p:sp>
          <p:sp>
            <p:nvSpPr>
              <p:cNvPr id="207" name="Arc 206">
                <a:extLst>
                  <a:ext uri="{FF2B5EF4-FFF2-40B4-BE49-F238E27FC236}">
                    <a16:creationId xmlns:a16="http://schemas.microsoft.com/office/drawing/2014/main" id="{AE98F399-A50A-4642-820B-617EEDB62DA0}"/>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dirty="0"/>
              </a:p>
            </p:txBody>
          </p:sp>
        </p:grpSp>
      </p:grpSp>
      <p:grpSp>
        <p:nvGrpSpPr>
          <p:cNvPr id="216" name="LegendBoxes" hidden="1">
            <a:extLst>
              <a:ext uri="{FF2B5EF4-FFF2-40B4-BE49-F238E27FC236}">
                <a16:creationId xmlns:a16="http://schemas.microsoft.com/office/drawing/2014/main" id="{D6790C06-FA00-438C-9440-D1B33FE3C26F}"/>
              </a:ext>
            </a:extLst>
          </p:cNvPr>
          <p:cNvGrpSpPr/>
          <p:nvPr userDrawn="1"/>
        </p:nvGrpSpPr>
        <p:grpSpPr>
          <a:xfrm>
            <a:off x="10615415" y="4381500"/>
            <a:ext cx="1021849" cy="1717282"/>
            <a:chOff x="10652400" y="4322824"/>
            <a:chExt cx="1021849" cy="1717282"/>
          </a:xfrm>
        </p:grpSpPr>
        <p:sp>
          <p:nvSpPr>
            <p:cNvPr id="217" name="RectangleLegend1">
              <a:extLst>
                <a:ext uri="{FF2B5EF4-FFF2-40B4-BE49-F238E27FC236}">
                  <a16:creationId xmlns:a16="http://schemas.microsoft.com/office/drawing/2014/main" id="{0C2B5E23-5052-40AA-AB21-A31FD9FCDB57}"/>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dirty="0">
                <a:solidFill>
                  <a:schemeClr val="tx1"/>
                </a:solidFill>
              </a:endParaRPr>
            </a:p>
          </p:txBody>
        </p:sp>
        <p:sp>
          <p:nvSpPr>
            <p:cNvPr id="218" name="RectangleLegend2">
              <a:extLst>
                <a:ext uri="{FF2B5EF4-FFF2-40B4-BE49-F238E27FC236}">
                  <a16:creationId xmlns:a16="http://schemas.microsoft.com/office/drawing/2014/main" id="{A2B50A46-228D-49C2-9DF9-D345BE528F67}"/>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dirty="0">
                <a:solidFill>
                  <a:schemeClr val="tx1"/>
                </a:solidFill>
              </a:endParaRPr>
            </a:p>
          </p:txBody>
        </p:sp>
        <p:sp>
          <p:nvSpPr>
            <p:cNvPr id="219" name="RectangleLegend3">
              <a:extLst>
                <a:ext uri="{FF2B5EF4-FFF2-40B4-BE49-F238E27FC236}">
                  <a16:creationId xmlns:a16="http://schemas.microsoft.com/office/drawing/2014/main" id="{886BEEA4-5DDC-42B3-B0ED-9EE87CBC286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dirty="0">
                <a:solidFill>
                  <a:schemeClr val="tx1"/>
                </a:solidFill>
              </a:endParaRPr>
            </a:p>
          </p:txBody>
        </p:sp>
        <p:sp>
          <p:nvSpPr>
            <p:cNvPr id="220" name="RectangleLegend4">
              <a:extLst>
                <a:ext uri="{FF2B5EF4-FFF2-40B4-BE49-F238E27FC236}">
                  <a16:creationId xmlns:a16="http://schemas.microsoft.com/office/drawing/2014/main" id="{0F04DC4F-5CDC-44CC-9C3D-B05672CAA87B}"/>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dirty="0">
                <a:solidFill>
                  <a:schemeClr val="tx1"/>
                </a:solidFill>
              </a:endParaRPr>
            </a:p>
          </p:txBody>
        </p:sp>
        <p:sp>
          <p:nvSpPr>
            <p:cNvPr id="221" name="RectangleLegend5">
              <a:extLst>
                <a:ext uri="{FF2B5EF4-FFF2-40B4-BE49-F238E27FC236}">
                  <a16:creationId xmlns:a16="http://schemas.microsoft.com/office/drawing/2014/main" id="{0A634051-19B2-4417-AF01-09C7908E71A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dirty="0">
                <a:solidFill>
                  <a:schemeClr val="tx1"/>
                </a:solidFill>
              </a:endParaRPr>
            </a:p>
          </p:txBody>
        </p:sp>
        <p:sp>
          <p:nvSpPr>
            <p:cNvPr id="222" name="Legend1">
              <a:extLst>
                <a:ext uri="{FF2B5EF4-FFF2-40B4-BE49-F238E27FC236}">
                  <a16:creationId xmlns:a16="http://schemas.microsoft.com/office/drawing/2014/main" id="{CCCFAC71-35AD-4BD1-90E2-1AC8BC51760D}"/>
                </a:ext>
              </a:extLst>
            </p:cNvPr>
            <p:cNvSpPr txBox="1"/>
            <p:nvPr/>
          </p:nvSpPr>
          <p:spPr>
            <a:xfrm>
              <a:off x="10978546" y="432282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223" name="Legend2">
              <a:extLst>
                <a:ext uri="{FF2B5EF4-FFF2-40B4-BE49-F238E27FC236}">
                  <a16:creationId xmlns:a16="http://schemas.microsoft.com/office/drawing/2014/main" id="{71EDA051-44B9-458D-91A8-DDE1D14945C7}"/>
                </a:ext>
              </a:extLst>
            </p:cNvPr>
            <p:cNvSpPr txBox="1"/>
            <p:nvPr/>
          </p:nvSpPr>
          <p:spPr>
            <a:xfrm>
              <a:off x="10978546" y="470232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224" name="Legend3">
              <a:extLst>
                <a:ext uri="{FF2B5EF4-FFF2-40B4-BE49-F238E27FC236}">
                  <a16:creationId xmlns:a16="http://schemas.microsoft.com/office/drawing/2014/main" id="{0699E6E1-066A-4FEA-A705-3034AD46CED7}"/>
                </a:ext>
              </a:extLst>
            </p:cNvPr>
            <p:cNvSpPr txBox="1"/>
            <p:nvPr/>
          </p:nvSpPr>
          <p:spPr>
            <a:xfrm>
              <a:off x="10978546" y="5081820"/>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225" name="Legend4">
              <a:extLst>
                <a:ext uri="{FF2B5EF4-FFF2-40B4-BE49-F238E27FC236}">
                  <a16:creationId xmlns:a16="http://schemas.microsoft.com/office/drawing/2014/main" id="{F9AB8057-225D-4969-A21B-AE954E18F678}"/>
                </a:ext>
              </a:extLst>
            </p:cNvPr>
            <p:cNvSpPr txBox="1"/>
            <p:nvPr/>
          </p:nvSpPr>
          <p:spPr>
            <a:xfrm>
              <a:off x="10978546" y="5453241"/>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226" name="Legend5">
              <a:extLst>
                <a:ext uri="{FF2B5EF4-FFF2-40B4-BE49-F238E27FC236}">
                  <a16:creationId xmlns:a16="http://schemas.microsoft.com/office/drawing/2014/main" id="{73DEBC99-0A9C-4BC7-9CFF-28A6794C2074}"/>
                </a:ext>
              </a:extLst>
            </p:cNvPr>
            <p:cNvSpPr txBox="1"/>
            <p:nvPr/>
          </p:nvSpPr>
          <p:spPr>
            <a:xfrm>
              <a:off x="10978545" y="582466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grpSp>
    </p:spTree>
    <p:extLst>
      <p:ext uri="{BB962C8B-B14F-4D97-AF65-F5344CB8AC3E}">
        <p14:creationId xmlns:p14="http://schemas.microsoft.com/office/powerpoint/2010/main" val="379076115"/>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Lst>
  <p:txStyles>
    <p:titleStyle>
      <a:lvl1pPr algn="l" defTabSz="914400" rtl="0" eaLnBrk="1" latinLnBrk="0" hangingPunct="1">
        <a:lnSpc>
          <a:spcPct val="93000"/>
        </a:lnSpc>
        <a:spcBef>
          <a:spcPct val="0"/>
        </a:spcBef>
        <a:buNone/>
        <a:defRPr lang="de-DE" sz="2500" b="0"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2"/>
            </p:custDataLst>
            <p:extLst>
              <p:ext uri="{D42A27DB-BD31-4B8C-83A1-F6EECF244321}">
                <p14:modId xmlns:p14="http://schemas.microsoft.com/office/powerpoint/2010/main" val="1821733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413" imgH="416" progId="TCLayout.ActiveDocument.1">
                  <p:embed/>
                </p:oleObj>
              </mc:Choice>
              <mc:Fallback>
                <p:oleObj name="think-cell Slide" r:id="rId42"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4"/>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de-DE" dirty="0"/>
              <a:t>Fuß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5"/>
            </p:custDataLst>
          </p:nvPr>
        </p:nvSpPr>
        <p:spPr>
          <a:xfrm>
            <a:off x="554736" y="545942"/>
            <a:ext cx="11082528" cy="35779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pPr lvl="0"/>
            <a:r>
              <a:rPr lang="en-US"/>
              <a:t>Click to edit Master title style</a:t>
            </a:r>
            <a:endParaRPr lang="de-DE"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de-DE"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de-DE"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399148"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de-DE"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6"/>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t>Above Chart Exhibit Title</a:t>
            </a:r>
            <a:br>
              <a:rPr lang="de-DE" dirty="0"/>
            </a:br>
            <a:r>
              <a:rPr lang="de-DE"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3393558"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grpSp>
        <p:nvGrpSpPr>
          <p:cNvPr id="170" name="LegendLines" hidden="1">
            <a:extLst>
              <a:ext uri="{FF2B5EF4-FFF2-40B4-BE49-F238E27FC236}">
                <a16:creationId xmlns:a16="http://schemas.microsoft.com/office/drawing/2014/main" id="{17B8FA50-7EC1-4798-8601-8A59BFE96F3D}"/>
              </a:ext>
            </a:extLst>
          </p:cNvPr>
          <p:cNvGrpSpPr/>
          <p:nvPr userDrawn="1"/>
        </p:nvGrpSpPr>
        <p:grpSpPr>
          <a:xfrm>
            <a:off x="10217918" y="3222173"/>
            <a:ext cx="1419346" cy="958286"/>
            <a:chOff x="10162879" y="3243772"/>
            <a:chExt cx="1419346" cy="958286"/>
          </a:xfrm>
        </p:grpSpPr>
        <p:sp>
          <p:nvSpPr>
            <p:cNvPr id="171" name="Legend1">
              <a:extLst>
                <a:ext uri="{FF2B5EF4-FFF2-40B4-BE49-F238E27FC236}">
                  <a16:creationId xmlns:a16="http://schemas.microsoft.com/office/drawing/2014/main" id="{3A6CBEDF-AE2E-472D-9989-2A1C14A0C701}"/>
                </a:ext>
              </a:extLst>
            </p:cNvPr>
            <p:cNvSpPr txBox="1"/>
            <p:nvPr/>
          </p:nvSpPr>
          <p:spPr>
            <a:xfrm>
              <a:off x="10886522" y="324377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172" name="Legend2">
              <a:extLst>
                <a:ext uri="{FF2B5EF4-FFF2-40B4-BE49-F238E27FC236}">
                  <a16:creationId xmlns:a16="http://schemas.microsoft.com/office/drawing/2014/main" id="{FD241BEB-A101-49DD-A36B-C12BE98E33B0}"/>
                </a:ext>
              </a:extLst>
            </p:cNvPr>
            <p:cNvSpPr txBox="1"/>
            <p:nvPr/>
          </p:nvSpPr>
          <p:spPr>
            <a:xfrm>
              <a:off x="10886522" y="3615193"/>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173" name="Legend3">
              <a:extLst>
                <a:ext uri="{FF2B5EF4-FFF2-40B4-BE49-F238E27FC236}">
                  <a16:creationId xmlns:a16="http://schemas.microsoft.com/office/drawing/2014/main" id="{1D3C2AD9-6713-4EA9-BCA9-2E1B86B41880}"/>
                </a:ext>
              </a:extLst>
            </p:cNvPr>
            <p:cNvSpPr txBox="1"/>
            <p:nvPr/>
          </p:nvSpPr>
          <p:spPr>
            <a:xfrm>
              <a:off x="10886522" y="398661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174" name="LineLegend3">
              <a:extLst>
                <a:ext uri="{FF2B5EF4-FFF2-40B4-BE49-F238E27FC236}">
                  <a16:creationId xmlns:a16="http://schemas.microsoft.com/office/drawing/2014/main" id="{1E3A850D-A449-4D6F-8AFF-3CA4BC333E7C}"/>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de-DE" sz="1400" baseline="0" dirty="0">
                <a:ea typeface="+mn-ea"/>
              </a:endParaRPr>
            </a:p>
          </p:txBody>
        </p:sp>
        <p:sp>
          <p:nvSpPr>
            <p:cNvPr id="175" name="LineLegend2">
              <a:extLst>
                <a:ext uri="{FF2B5EF4-FFF2-40B4-BE49-F238E27FC236}">
                  <a16:creationId xmlns:a16="http://schemas.microsoft.com/office/drawing/2014/main" id="{6E927CDA-A612-478F-8AA0-583B410EB85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de-DE" sz="1400" baseline="0" dirty="0">
                <a:ea typeface="+mn-ea"/>
              </a:endParaRPr>
            </a:p>
          </p:txBody>
        </p:sp>
        <p:sp>
          <p:nvSpPr>
            <p:cNvPr id="176" name="LineLegend1">
              <a:extLst>
                <a:ext uri="{FF2B5EF4-FFF2-40B4-BE49-F238E27FC236}">
                  <a16:creationId xmlns:a16="http://schemas.microsoft.com/office/drawing/2014/main" id="{FBDB59BE-C9FE-423F-A89F-22C0ACFA9EA3}"/>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de-DE" sz="1400" baseline="0" dirty="0">
                <a:ea typeface="+mn-ea"/>
              </a:endParaRPr>
            </a:p>
          </p:txBody>
        </p:sp>
      </p:grpSp>
      <p:grpSp>
        <p:nvGrpSpPr>
          <p:cNvPr id="177" name="LegendMoons" hidden="1">
            <a:extLst>
              <a:ext uri="{FF2B5EF4-FFF2-40B4-BE49-F238E27FC236}">
                <a16:creationId xmlns:a16="http://schemas.microsoft.com/office/drawing/2014/main" id="{F9B62C43-8D6F-4B74-87AB-1BFA1DA5A83C}"/>
              </a:ext>
            </a:extLst>
          </p:cNvPr>
          <p:cNvGrpSpPr/>
          <p:nvPr userDrawn="1"/>
        </p:nvGrpSpPr>
        <p:grpSpPr>
          <a:xfrm>
            <a:off x="10588929" y="1289273"/>
            <a:ext cx="1048335" cy="1731859"/>
            <a:chOff x="7723680" y="1702457"/>
            <a:chExt cx="1048335" cy="1731859"/>
          </a:xfrm>
        </p:grpSpPr>
        <p:sp>
          <p:nvSpPr>
            <p:cNvPr id="178" name="Legend1">
              <a:extLst>
                <a:ext uri="{FF2B5EF4-FFF2-40B4-BE49-F238E27FC236}">
                  <a16:creationId xmlns:a16="http://schemas.microsoft.com/office/drawing/2014/main" id="{35EA7E2B-C9D3-4488-BF67-415315321A2A}"/>
                </a:ext>
              </a:extLst>
            </p:cNvPr>
            <p:cNvSpPr txBox="1"/>
            <p:nvPr/>
          </p:nvSpPr>
          <p:spPr>
            <a:xfrm>
              <a:off x="8076312" y="1709816"/>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186" name="Legend2">
              <a:extLst>
                <a:ext uri="{FF2B5EF4-FFF2-40B4-BE49-F238E27FC236}">
                  <a16:creationId xmlns:a16="http://schemas.microsoft.com/office/drawing/2014/main" id="{0BD0BFDF-7A74-4295-B869-13C258523290}"/>
                </a:ext>
              </a:extLst>
            </p:cNvPr>
            <p:cNvSpPr txBox="1"/>
            <p:nvPr/>
          </p:nvSpPr>
          <p:spPr>
            <a:xfrm>
              <a:off x="8076312" y="2085275"/>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198" name="Legend3">
              <a:extLst>
                <a:ext uri="{FF2B5EF4-FFF2-40B4-BE49-F238E27FC236}">
                  <a16:creationId xmlns:a16="http://schemas.microsoft.com/office/drawing/2014/main" id="{28B0F4AC-FC2D-481A-9128-8605DEB186C3}"/>
                </a:ext>
              </a:extLst>
            </p:cNvPr>
            <p:cNvSpPr txBox="1"/>
            <p:nvPr/>
          </p:nvSpPr>
          <p:spPr>
            <a:xfrm>
              <a:off x="8076312" y="246073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199" name="Legend4">
              <a:extLst>
                <a:ext uri="{FF2B5EF4-FFF2-40B4-BE49-F238E27FC236}">
                  <a16:creationId xmlns:a16="http://schemas.microsoft.com/office/drawing/2014/main" id="{66FFDECC-710D-423B-AE0D-C8991607814D}"/>
                </a:ext>
              </a:extLst>
            </p:cNvPr>
            <p:cNvSpPr txBox="1"/>
            <p:nvPr/>
          </p:nvSpPr>
          <p:spPr>
            <a:xfrm>
              <a:off x="8076312" y="2836193"/>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200" name="Legend5">
              <a:extLst>
                <a:ext uri="{FF2B5EF4-FFF2-40B4-BE49-F238E27FC236}">
                  <a16:creationId xmlns:a16="http://schemas.microsoft.com/office/drawing/2014/main" id="{36019472-86B2-4E05-AE2B-9BA0E66D43D0}"/>
                </a:ext>
              </a:extLst>
            </p:cNvPr>
            <p:cNvSpPr txBox="1"/>
            <p:nvPr/>
          </p:nvSpPr>
          <p:spPr>
            <a:xfrm>
              <a:off x="8076312" y="321165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grpSp>
          <p:nvGrpSpPr>
            <p:cNvPr id="201" name="MoonLegend1">
              <a:extLst>
                <a:ext uri="{FF2B5EF4-FFF2-40B4-BE49-F238E27FC236}">
                  <a16:creationId xmlns:a16="http://schemas.microsoft.com/office/drawing/2014/main" id="{FD3936D6-5B76-4ACE-9D2D-1026104B9BE4}"/>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CF897800-0278-47C7-A740-075D59763394}"/>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dirty="0">
                  <a:solidFill>
                    <a:schemeClr val="tx1"/>
                  </a:solidFill>
                </a:endParaRPr>
              </a:p>
            </p:txBody>
          </p:sp>
          <p:sp>
            <p:nvSpPr>
              <p:cNvPr id="215" name="Arc 214">
                <a:extLst>
                  <a:ext uri="{FF2B5EF4-FFF2-40B4-BE49-F238E27FC236}">
                    <a16:creationId xmlns:a16="http://schemas.microsoft.com/office/drawing/2014/main" id="{7E65F976-0593-4CA9-9F7B-03B5AE193583}"/>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dirty="0"/>
              </a:p>
            </p:txBody>
          </p:sp>
        </p:grpSp>
        <p:grpSp>
          <p:nvGrpSpPr>
            <p:cNvPr id="202" name="MoonLegend2">
              <a:extLst>
                <a:ext uri="{FF2B5EF4-FFF2-40B4-BE49-F238E27FC236}">
                  <a16:creationId xmlns:a16="http://schemas.microsoft.com/office/drawing/2014/main" id="{B7B8A3F5-747B-435B-8E9F-7B4D316297D9}"/>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714C5B60-6C84-46D1-A076-B75E43421190}"/>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dirty="0">
                  <a:solidFill>
                    <a:schemeClr val="tx1"/>
                  </a:solidFill>
                </a:endParaRPr>
              </a:p>
            </p:txBody>
          </p:sp>
          <p:sp>
            <p:nvSpPr>
              <p:cNvPr id="213" name="Arc 212">
                <a:extLst>
                  <a:ext uri="{FF2B5EF4-FFF2-40B4-BE49-F238E27FC236}">
                    <a16:creationId xmlns:a16="http://schemas.microsoft.com/office/drawing/2014/main" id="{F180C744-3105-47F0-B409-C8143778862D}"/>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dirty="0"/>
              </a:p>
            </p:txBody>
          </p:sp>
        </p:grpSp>
        <p:grpSp>
          <p:nvGrpSpPr>
            <p:cNvPr id="203" name="MoonLegend3">
              <a:extLst>
                <a:ext uri="{FF2B5EF4-FFF2-40B4-BE49-F238E27FC236}">
                  <a16:creationId xmlns:a16="http://schemas.microsoft.com/office/drawing/2014/main" id="{2FF14DCB-DE51-4B4E-901D-98243203D1B9}"/>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BB22103-92E5-4DC4-B8B2-AE6494B9E8B4}"/>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dirty="0">
                  <a:solidFill>
                    <a:schemeClr val="tx1"/>
                  </a:solidFill>
                </a:endParaRPr>
              </a:p>
            </p:txBody>
          </p:sp>
          <p:sp>
            <p:nvSpPr>
              <p:cNvPr id="211" name="Arc 210">
                <a:extLst>
                  <a:ext uri="{FF2B5EF4-FFF2-40B4-BE49-F238E27FC236}">
                    <a16:creationId xmlns:a16="http://schemas.microsoft.com/office/drawing/2014/main" id="{58CC9AA8-1579-472F-B138-C1B99850A6C7}"/>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dirty="0"/>
              </a:p>
            </p:txBody>
          </p:sp>
        </p:grpSp>
        <p:grpSp>
          <p:nvGrpSpPr>
            <p:cNvPr id="204" name="MoonLegend4">
              <a:extLst>
                <a:ext uri="{FF2B5EF4-FFF2-40B4-BE49-F238E27FC236}">
                  <a16:creationId xmlns:a16="http://schemas.microsoft.com/office/drawing/2014/main" id="{BF8E647B-7A5E-465C-9903-926800717790}"/>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58679731-080A-437A-9EA0-B8D1A0D2FE0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dirty="0">
                  <a:solidFill>
                    <a:schemeClr val="tx1"/>
                  </a:solidFill>
                </a:endParaRPr>
              </a:p>
            </p:txBody>
          </p:sp>
          <p:sp>
            <p:nvSpPr>
              <p:cNvPr id="209" name="Arc 208">
                <a:extLst>
                  <a:ext uri="{FF2B5EF4-FFF2-40B4-BE49-F238E27FC236}">
                    <a16:creationId xmlns:a16="http://schemas.microsoft.com/office/drawing/2014/main" id="{111C6334-C1CF-431C-B9F3-2127E72A1EC0}"/>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dirty="0"/>
              </a:p>
            </p:txBody>
          </p:sp>
        </p:grpSp>
        <p:grpSp>
          <p:nvGrpSpPr>
            <p:cNvPr id="205" name="MoonLegend5">
              <a:extLst>
                <a:ext uri="{FF2B5EF4-FFF2-40B4-BE49-F238E27FC236}">
                  <a16:creationId xmlns:a16="http://schemas.microsoft.com/office/drawing/2014/main" id="{C9D1736E-C875-4B7C-AED3-4D4EC72CF6D5}"/>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0E1D39BA-F1F6-4124-B14D-53CC60A317C9}"/>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dirty="0">
                  <a:solidFill>
                    <a:schemeClr val="tx1"/>
                  </a:solidFill>
                </a:endParaRPr>
              </a:p>
            </p:txBody>
          </p:sp>
          <p:sp>
            <p:nvSpPr>
              <p:cNvPr id="207" name="Arc 206">
                <a:extLst>
                  <a:ext uri="{FF2B5EF4-FFF2-40B4-BE49-F238E27FC236}">
                    <a16:creationId xmlns:a16="http://schemas.microsoft.com/office/drawing/2014/main" id="{AE98F399-A50A-4642-820B-617EEDB62DA0}"/>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dirty="0"/>
              </a:p>
            </p:txBody>
          </p:sp>
        </p:grpSp>
      </p:grpSp>
      <p:grpSp>
        <p:nvGrpSpPr>
          <p:cNvPr id="216" name="LegendBoxes" hidden="1">
            <a:extLst>
              <a:ext uri="{FF2B5EF4-FFF2-40B4-BE49-F238E27FC236}">
                <a16:creationId xmlns:a16="http://schemas.microsoft.com/office/drawing/2014/main" id="{D6790C06-FA00-438C-9440-D1B33FE3C26F}"/>
              </a:ext>
            </a:extLst>
          </p:cNvPr>
          <p:cNvGrpSpPr/>
          <p:nvPr userDrawn="1"/>
        </p:nvGrpSpPr>
        <p:grpSpPr>
          <a:xfrm>
            <a:off x="10615415" y="4381500"/>
            <a:ext cx="1021849" cy="1717282"/>
            <a:chOff x="10652400" y="4322824"/>
            <a:chExt cx="1021849" cy="1717282"/>
          </a:xfrm>
        </p:grpSpPr>
        <p:sp>
          <p:nvSpPr>
            <p:cNvPr id="217" name="RectangleLegend1">
              <a:extLst>
                <a:ext uri="{FF2B5EF4-FFF2-40B4-BE49-F238E27FC236}">
                  <a16:creationId xmlns:a16="http://schemas.microsoft.com/office/drawing/2014/main" id="{0C2B5E23-5052-40AA-AB21-A31FD9FCDB57}"/>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dirty="0">
                <a:solidFill>
                  <a:schemeClr val="tx1"/>
                </a:solidFill>
              </a:endParaRPr>
            </a:p>
          </p:txBody>
        </p:sp>
        <p:sp>
          <p:nvSpPr>
            <p:cNvPr id="218" name="RectangleLegend2">
              <a:extLst>
                <a:ext uri="{FF2B5EF4-FFF2-40B4-BE49-F238E27FC236}">
                  <a16:creationId xmlns:a16="http://schemas.microsoft.com/office/drawing/2014/main" id="{A2B50A46-228D-49C2-9DF9-D345BE528F67}"/>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dirty="0">
                <a:solidFill>
                  <a:schemeClr val="tx1"/>
                </a:solidFill>
              </a:endParaRPr>
            </a:p>
          </p:txBody>
        </p:sp>
        <p:sp>
          <p:nvSpPr>
            <p:cNvPr id="219" name="RectangleLegend3">
              <a:extLst>
                <a:ext uri="{FF2B5EF4-FFF2-40B4-BE49-F238E27FC236}">
                  <a16:creationId xmlns:a16="http://schemas.microsoft.com/office/drawing/2014/main" id="{886BEEA4-5DDC-42B3-B0ED-9EE87CBC286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dirty="0">
                <a:solidFill>
                  <a:schemeClr val="tx1"/>
                </a:solidFill>
              </a:endParaRPr>
            </a:p>
          </p:txBody>
        </p:sp>
        <p:sp>
          <p:nvSpPr>
            <p:cNvPr id="220" name="RectangleLegend4">
              <a:extLst>
                <a:ext uri="{FF2B5EF4-FFF2-40B4-BE49-F238E27FC236}">
                  <a16:creationId xmlns:a16="http://schemas.microsoft.com/office/drawing/2014/main" id="{0F04DC4F-5CDC-44CC-9C3D-B05672CAA87B}"/>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dirty="0">
                <a:solidFill>
                  <a:schemeClr val="tx1"/>
                </a:solidFill>
              </a:endParaRPr>
            </a:p>
          </p:txBody>
        </p:sp>
        <p:sp>
          <p:nvSpPr>
            <p:cNvPr id="221" name="RectangleLegend5">
              <a:extLst>
                <a:ext uri="{FF2B5EF4-FFF2-40B4-BE49-F238E27FC236}">
                  <a16:creationId xmlns:a16="http://schemas.microsoft.com/office/drawing/2014/main" id="{0A634051-19B2-4417-AF01-09C7908E71A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dirty="0">
                <a:solidFill>
                  <a:schemeClr val="tx1"/>
                </a:solidFill>
              </a:endParaRPr>
            </a:p>
          </p:txBody>
        </p:sp>
        <p:sp>
          <p:nvSpPr>
            <p:cNvPr id="222" name="Legend1">
              <a:extLst>
                <a:ext uri="{FF2B5EF4-FFF2-40B4-BE49-F238E27FC236}">
                  <a16:creationId xmlns:a16="http://schemas.microsoft.com/office/drawing/2014/main" id="{CCCFAC71-35AD-4BD1-90E2-1AC8BC51760D}"/>
                </a:ext>
              </a:extLst>
            </p:cNvPr>
            <p:cNvSpPr txBox="1"/>
            <p:nvPr/>
          </p:nvSpPr>
          <p:spPr>
            <a:xfrm>
              <a:off x="10978546" y="432282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223" name="Legend2">
              <a:extLst>
                <a:ext uri="{FF2B5EF4-FFF2-40B4-BE49-F238E27FC236}">
                  <a16:creationId xmlns:a16="http://schemas.microsoft.com/office/drawing/2014/main" id="{71EDA051-44B9-458D-91A8-DDE1D14945C7}"/>
                </a:ext>
              </a:extLst>
            </p:cNvPr>
            <p:cNvSpPr txBox="1"/>
            <p:nvPr/>
          </p:nvSpPr>
          <p:spPr>
            <a:xfrm>
              <a:off x="10978546" y="470232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224" name="Legend3">
              <a:extLst>
                <a:ext uri="{FF2B5EF4-FFF2-40B4-BE49-F238E27FC236}">
                  <a16:creationId xmlns:a16="http://schemas.microsoft.com/office/drawing/2014/main" id="{0699E6E1-066A-4FEA-A705-3034AD46CED7}"/>
                </a:ext>
              </a:extLst>
            </p:cNvPr>
            <p:cNvSpPr txBox="1"/>
            <p:nvPr/>
          </p:nvSpPr>
          <p:spPr>
            <a:xfrm>
              <a:off x="10978546" y="5081820"/>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225" name="Legend4">
              <a:extLst>
                <a:ext uri="{FF2B5EF4-FFF2-40B4-BE49-F238E27FC236}">
                  <a16:creationId xmlns:a16="http://schemas.microsoft.com/office/drawing/2014/main" id="{F9AB8057-225D-4969-A21B-AE954E18F678}"/>
                </a:ext>
              </a:extLst>
            </p:cNvPr>
            <p:cNvSpPr txBox="1"/>
            <p:nvPr/>
          </p:nvSpPr>
          <p:spPr>
            <a:xfrm>
              <a:off x="10978546" y="5453241"/>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sp>
          <p:nvSpPr>
            <p:cNvPr id="226" name="Legend5">
              <a:extLst>
                <a:ext uri="{FF2B5EF4-FFF2-40B4-BE49-F238E27FC236}">
                  <a16:creationId xmlns:a16="http://schemas.microsoft.com/office/drawing/2014/main" id="{73DEBC99-0A9C-4BC7-9CFF-28A6794C2074}"/>
                </a:ext>
              </a:extLst>
            </p:cNvPr>
            <p:cNvSpPr txBox="1"/>
            <p:nvPr/>
          </p:nvSpPr>
          <p:spPr>
            <a:xfrm>
              <a:off x="10978545" y="582466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t>Legende</a:t>
              </a:r>
            </a:p>
          </p:txBody>
        </p:sp>
      </p:grpSp>
    </p:spTree>
    <p:extLst>
      <p:ext uri="{BB962C8B-B14F-4D97-AF65-F5344CB8AC3E}">
        <p14:creationId xmlns:p14="http://schemas.microsoft.com/office/powerpoint/2010/main" val="3475180378"/>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 id="2147483831" r:id="rId9"/>
    <p:sldLayoutId id="2147483832" r:id="rId10"/>
    <p:sldLayoutId id="2147483833" r:id="rId11"/>
    <p:sldLayoutId id="2147483834" r:id="rId12"/>
    <p:sldLayoutId id="2147483835" r:id="rId13"/>
    <p:sldLayoutId id="2147483836" r:id="rId14"/>
    <p:sldLayoutId id="2147483837" r:id="rId15"/>
    <p:sldLayoutId id="2147483838" r:id="rId16"/>
    <p:sldLayoutId id="2147483839" r:id="rId17"/>
    <p:sldLayoutId id="2147483840" r:id="rId18"/>
    <p:sldLayoutId id="2147483841" r:id="rId19"/>
    <p:sldLayoutId id="2147483842" r:id="rId20"/>
  </p:sldLayoutIdLst>
  <p:txStyles>
    <p:titleStyle>
      <a:lvl1pPr algn="l" defTabSz="914400" rtl="0" eaLnBrk="1" latinLnBrk="0" hangingPunct="1">
        <a:lnSpc>
          <a:spcPct val="93000"/>
        </a:lnSpc>
        <a:spcBef>
          <a:spcPct val="0"/>
        </a:spcBef>
        <a:buNone/>
        <a:defRPr lang="de-DE" sz="2500" b="0"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2477669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413" imgH="416" progId="TCLayout.ActiveDocument.1">
                  <p:embed/>
                </p:oleObj>
              </mc:Choice>
              <mc:Fallback>
                <p:oleObj name="think-cell Slide" r:id="rId36"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de-DE" sz="2500" b="1" i="0" baseline="0" dirty="0">
              <a:solidFill>
                <a:schemeClr val="bg1"/>
              </a:solidFill>
              <a:latin typeface="Bahnschrift" panose="020B0502040204020203" pitchFamily="34" charset="0"/>
              <a:ea typeface="+mj-ea"/>
              <a:cs typeface="+mj-cs"/>
              <a:sym typeface="Bahnschrift" panose="020B0502040204020203"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8"/>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de-DE" dirty="0">
                <a:latin typeface="Bahnschrift" panose="020B0502040204020203" pitchFamily="34" charset="0"/>
                <a:sym typeface="Bahnschrift" panose="020B0502040204020203" pitchFamily="34" charset="0"/>
              </a:rPr>
              <a:t>Fuß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9"/>
            </p:custDataLst>
          </p:nvPr>
        </p:nvSpPr>
        <p:spPr>
          <a:xfrm>
            <a:off x="554736" y="545942"/>
            <a:ext cx="11082528" cy="35779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pPr lvl="0"/>
            <a:r>
              <a:rPr lang="en-US"/>
              <a:t>Click to edit Master title style</a:t>
            </a:r>
            <a:endParaRPr lang="de-DE"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de-DE" dirty="0">
                <a:solidFill>
                  <a:schemeClr val="tx1"/>
                </a:solidFill>
                <a:latin typeface="Bahnschrift" panose="020B0502040204020203" pitchFamily="34" charset="0"/>
                <a:sym typeface="Bahnschrift" panose="020B0502040204020203" pitchFamily="34" charset="0"/>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Bahnschrift" panose="020B0502040204020203" pitchFamily="34" charset="0"/>
                <a:sym typeface="Bahnschrift" panose="020B0502040204020203" pitchFamily="34" charset="0"/>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Bahnschrift" panose="020B0502040204020203" pitchFamily="34" charset="0"/>
                <a:sym typeface="Bahnschrift" panose="020B0502040204020203" pitchFamily="34" charset="0"/>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Bahnschrift" panose="020B0502040204020203" pitchFamily="34" charset="0"/>
                <a:sym typeface="Bahnschrift" panose="020B0502040204020203" pitchFamily="34" charset="0"/>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Bahnschrift" panose="020B0502040204020203" pitchFamily="34" charset="0"/>
                <a:sym typeface="Bahnschrift" panose="020B0502040204020203" pitchFamily="34" charset="0"/>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Bahnschrift" panose="020B0502040204020203" pitchFamily="34" charset="0"/>
                <a:sym typeface="Bahnschrift" panose="020B0502040204020203" pitchFamily="34" charset="0"/>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Bahnschrift" panose="020B0502040204020203" pitchFamily="34" charset="0"/>
                <a:sym typeface="Bahnschrift" panose="020B0502040204020203" pitchFamily="34" charset="0"/>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Bahnschrift" panose="020B0502040204020203" pitchFamily="34" charset="0"/>
                <a:sym typeface="Bahnschrift" panose="020B0502040204020203" pitchFamily="34" charset="0"/>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Bahnschrift" panose="020B0502040204020203" pitchFamily="34" charset="0"/>
                <a:sym typeface="Bahnschrift" panose="020B0502040204020203" pitchFamily="34" charset="0"/>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Bahnschrift" panose="020B0502040204020203" pitchFamily="34" charset="0"/>
                <a:sym typeface="Bahnschrift" panose="020B0502040204020203" pitchFamily="34" charset="0"/>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Bahnschrift" panose="020B0502040204020203" pitchFamily="34" charset="0"/>
                <a:sym typeface="Bahnschrift" panose="020B0502040204020203" pitchFamily="34" charset="0"/>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Bahnschrift" panose="020B0502040204020203" pitchFamily="34" charset="0"/>
                <a:sym typeface="Bahnschrift" panose="020B0502040204020203" pitchFamily="34" charset="0"/>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Bahnschrift" panose="020B0502040204020203" pitchFamily="34" charset="0"/>
                <a:sym typeface="Bahnschrift" panose="020B0502040204020203" pitchFamily="34" charset="0"/>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Bahnschrift" panose="020B0502040204020203" pitchFamily="34" charset="0"/>
                <a:sym typeface="Bahnschrift" panose="020B0502040204020203" pitchFamily="34" charset="0"/>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Bahnschrift" panose="020B0502040204020203" pitchFamily="34" charset="0"/>
                <a:sym typeface="Bahnschrift" panose="020B0502040204020203" pitchFamily="34" charset="0"/>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Bahnschrift" panose="020B0502040204020203" pitchFamily="34" charset="0"/>
                <a:sym typeface="Bahnschrift" panose="020B0502040204020203" pitchFamily="34" charset="0"/>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Bahnschrift" panose="020B0502040204020203" pitchFamily="34" charset="0"/>
                <a:sym typeface="Bahnschrift" panose="020B0502040204020203" pitchFamily="34" charset="0"/>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Bahnschrift" panose="020B0502040204020203" pitchFamily="34" charset="0"/>
                <a:sym typeface="Bahnschrift" panose="020B0502040204020203" pitchFamily="34" charset="0"/>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Bahnschrift" panose="020B0502040204020203" pitchFamily="34" charset="0"/>
                <a:sym typeface="Bahnschrift" panose="020B0502040204020203" pitchFamily="34" charset="0"/>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Bahnschrift" panose="020B0502040204020203" pitchFamily="34" charset="0"/>
                <a:sym typeface="Bahnschrift" panose="020B0502040204020203" pitchFamily="34" charset="0"/>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Bahnschrift" panose="020B0502040204020203" pitchFamily="34" charset="0"/>
                <a:sym typeface="Bahnschrift" panose="020B0502040204020203" pitchFamily="34" charset="0"/>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Bahnschrift" panose="020B0502040204020203" pitchFamily="34" charset="0"/>
                <a:sym typeface="Bahnschrift" panose="020B0502040204020203" pitchFamily="34" charset="0"/>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Bahnschrift" panose="020B0502040204020203" pitchFamily="34" charset="0"/>
                <a:sym typeface="Bahnschrift" panose="020B0502040204020203" pitchFamily="34" charset="0"/>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Bahnschrift" panose="020B0502040204020203" pitchFamily="34" charset="0"/>
                <a:sym typeface="Bahnschrift" panose="020B0502040204020203" pitchFamily="34" charset="0"/>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Bahnschrift" panose="020B0502040204020203" pitchFamily="34" charset="0"/>
                <a:sym typeface="Bahnschrift" panose="020B0502040204020203" pitchFamily="34" charset="0"/>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de-DE" sz="1323" dirty="0">
                <a:solidFill>
                  <a:schemeClr val="tx1"/>
                </a:solidFill>
                <a:latin typeface="Bahnschrift" panose="020B0502040204020203" pitchFamily="34" charset="0"/>
                <a:sym typeface="Bahnschrift" panose="020B0502040204020203" pitchFamily="34" charset="0"/>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de-DE" sz="1323" dirty="0">
                <a:solidFill>
                  <a:schemeClr val="tx1"/>
                </a:solidFill>
                <a:latin typeface="Bahnschrift" panose="020B0502040204020203" pitchFamily="34" charset="0"/>
                <a:sym typeface="Bahnschrift" panose="020B0502040204020203" pitchFamily="34" charset="0"/>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399148"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de-DE" dirty="0">
                <a:latin typeface="Bahnschrift" panose="020B0502040204020203" pitchFamily="34" charset="0"/>
                <a:sym typeface="Bahnschrift" panose="020B0502040204020203" pitchFamily="34" charset="0"/>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0"/>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de-DE" dirty="0">
                <a:latin typeface="Bahnschrift" panose="020B0502040204020203" pitchFamily="34" charset="0"/>
                <a:sym typeface="Bahnschrift" panose="020B0502040204020203" pitchFamily="34" charset="0"/>
              </a:rPr>
              <a:t>Above Chart Exhibit Title</a:t>
            </a:r>
            <a:br>
              <a:rPr lang="de-DE" dirty="0">
                <a:latin typeface="Bahnschrift" panose="020B0502040204020203" pitchFamily="34" charset="0"/>
                <a:sym typeface="Bahnschrift" panose="020B0502040204020203" pitchFamily="34" charset="0"/>
              </a:rPr>
            </a:br>
            <a:r>
              <a:rPr lang="de-DE" sz="1400" b="0" dirty="0">
                <a:latin typeface="Bahnschrift" panose="020B0502040204020203" pitchFamily="34" charset="0"/>
                <a:sym typeface="Bahnschrift" panose="020B0502040204020203" pitchFamily="34" charset="0"/>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3393558"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grpSp>
        <p:nvGrpSpPr>
          <p:cNvPr id="170" name="LegendLines" hidden="1">
            <a:extLst>
              <a:ext uri="{FF2B5EF4-FFF2-40B4-BE49-F238E27FC236}">
                <a16:creationId xmlns:a16="http://schemas.microsoft.com/office/drawing/2014/main" id="{17B8FA50-7EC1-4798-8601-8A59BFE96F3D}"/>
              </a:ext>
            </a:extLst>
          </p:cNvPr>
          <p:cNvGrpSpPr/>
          <p:nvPr userDrawn="1"/>
        </p:nvGrpSpPr>
        <p:grpSpPr>
          <a:xfrm>
            <a:off x="10217918" y="3222173"/>
            <a:ext cx="1419346" cy="958286"/>
            <a:chOff x="10162879" y="3243772"/>
            <a:chExt cx="1419346" cy="958286"/>
          </a:xfrm>
        </p:grpSpPr>
        <p:sp>
          <p:nvSpPr>
            <p:cNvPr id="171" name="Legend1">
              <a:extLst>
                <a:ext uri="{FF2B5EF4-FFF2-40B4-BE49-F238E27FC236}">
                  <a16:creationId xmlns:a16="http://schemas.microsoft.com/office/drawing/2014/main" id="{3A6CBEDF-AE2E-472D-9989-2A1C14A0C701}"/>
                </a:ext>
              </a:extLst>
            </p:cNvPr>
            <p:cNvSpPr txBox="1"/>
            <p:nvPr/>
          </p:nvSpPr>
          <p:spPr>
            <a:xfrm>
              <a:off x="10886522" y="324377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latin typeface="Bahnschrift" panose="020B0502040204020203" pitchFamily="34" charset="0"/>
                  <a:sym typeface="Bahnschrift" panose="020B0502040204020203" pitchFamily="34" charset="0"/>
                </a:rPr>
                <a:t>Legende</a:t>
              </a:r>
            </a:p>
          </p:txBody>
        </p:sp>
        <p:sp>
          <p:nvSpPr>
            <p:cNvPr id="172" name="Legend2">
              <a:extLst>
                <a:ext uri="{FF2B5EF4-FFF2-40B4-BE49-F238E27FC236}">
                  <a16:creationId xmlns:a16="http://schemas.microsoft.com/office/drawing/2014/main" id="{FD241BEB-A101-49DD-A36B-C12BE98E33B0}"/>
                </a:ext>
              </a:extLst>
            </p:cNvPr>
            <p:cNvSpPr txBox="1"/>
            <p:nvPr/>
          </p:nvSpPr>
          <p:spPr>
            <a:xfrm>
              <a:off x="10886522" y="3615193"/>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latin typeface="Bahnschrift" panose="020B0502040204020203" pitchFamily="34" charset="0"/>
                  <a:sym typeface="Bahnschrift" panose="020B0502040204020203" pitchFamily="34" charset="0"/>
                </a:rPr>
                <a:t>Legende</a:t>
              </a:r>
            </a:p>
          </p:txBody>
        </p:sp>
        <p:sp>
          <p:nvSpPr>
            <p:cNvPr id="173" name="Legend3">
              <a:extLst>
                <a:ext uri="{FF2B5EF4-FFF2-40B4-BE49-F238E27FC236}">
                  <a16:creationId xmlns:a16="http://schemas.microsoft.com/office/drawing/2014/main" id="{1D3C2AD9-6713-4EA9-BCA9-2E1B86B41880}"/>
                </a:ext>
              </a:extLst>
            </p:cNvPr>
            <p:cNvSpPr txBox="1"/>
            <p:nvPr/>
          </p:nvSpPr>
          <p:spPr>
            <a:xfrm>
              <a:off x="10886522" y="398661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latin typeface="Bahnschrift" panose="020B0502040204020203" pitchFamily="34" charset="0"/>
                  <a:sym typeface="Bahnschrift" panose="020B0502040204020203" pitchFamily="34" charset="0"/>
                </a:rPr>
                <a:t>Legende</a:t>
              </a:r>
            </a:p>
          </p:txBody>
        </p:sp>
        <p:sp>
          <p:nvSpPr>
            <p:cNvPr id="174" name="LineLegend3">
              <a:extLst>
                <a:ext uri="{FF2B5EF4-FFF2-40B4-BE49-F238E27FC236}">
                  <a16:creationId xmlns:a16="http://schemas.microsoft.com/office/drawing/2014/main" id="{1E3A850D-A449-4D6F-8AFF-3CA4BC333E7C}"/>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de-DE" sz="1400" baseline="0" dirty="0">
                <a:latin typeface="Bahnschrift" panose="020B0502040204020203" pitchFamily="34" charset="0"/>
                <a:ea typeface="+mn-ea"/>
                <a:sym typeface="Bahnschrift" panose="020B0502040204020203" pitchFamily="34" charset="0"/>
              </a:endParaRPr>
            </a:p>
          </p:txBody>
        </p:sp>
        <p:sp>
          <p:nvSpPr>
            <p:cNvPr id="175" name="LineLegend2">
              <a:extLst>
                <a:ext uri="{FF2B5EF4-FFF2-40B4-BE49-F238E27FC236}">
                  <a16:creationId xmlns:a16="http://schemas.microsoft.com/office/drawing/2014/main" id="{6E927CDA-A612-478F-8AA0-583B410EB85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de-DE" sz="1400" baseline="0" dirty="0">
                <a:latin typeface="Bahnschrift" panose="020B0502040204020203" pitchFamily="34" charset="0"/>
                <a:ea typeface="+mn-ea"/>
                <a:sym typeface="Bahnschrift" panose="020B0502040204020203" pitchFamily="34" charset="0"/>
              </a:endParaRPr>
            </a:p>
          </p:txBody>
        </p:sp>
        <p:sp>
          <p:nvSpPr>
            <p:cNvPr id="176" name="LineLegend1">
              <a:extLst>
                <a:ext uri="{FF2B5EF4-FFF2-40B4-BE49-F238E27FC236}">
                  <a16:creationId xmlns:a16="http://schemas.microsoft.com/office/drawing/2014/main" id="{FBDB59BE-C9FE-423F-A89F-22C0ACFA9EA3}"/>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de-DE" sz="1400" baseline="0" dirty="0">
                <a:latin typeface="Bahnschrift" panose="020B0502040204020203" pitchFamily="34" charset="0"/>
                <a:ea typeface="+mn-ea"/>
                <a:sym typeface="Bahnschrift" panose="020B0502040204020203" pitchFamily="34" charset="0"/>
              </a:endParaRPr>
            </a:p>
          </p:txBody>
        </p:sp>
      </p:grpSp>
      <p:grpSp>
        <p:nvGrpSpPr>
          <p:cNvPr id="177" name="LegendMoons" hidden="1">
            <a:extLst>
              <a:ext uri="{FF2B5EF4-FFF2-40B4-BE49-F238E27FC236}">
                <a16:creationId xmlns:a16="http://schemas.microsoft.com/office/drawing/2014/main" id="{F9B62C43-8D6F-4B74-87AB-1BFA1DA5A83C}"/>
              </a:ext>
            </a:extLst>
          </p:cNvPr>
          <p:cNvGrpSpPr/>
          <p:nvPr userDrawn="1"/>
        </p:nvGrpSpPr>
        <p:grpSpPr>
          <a:xfrm>
            <a:off x="10588929" y="1289273"/>
            <a:ext cx="1048335" cy="1731859"/>
            <a:chOff x="7723680" y="1702457"/>
            <a:chExt cx="1048335" cy="1731859"/>
          </a:xfrm>
        </p:grpSpPr>
        <p:sp>
          <p:nvSpPr>
            <p:cNvPr id="178" name="Legend1">
              <a:extLst>
                <a:ext uri="{FF2B5EF4-FFF2-40B4-BE49-F238E27FC236}">
                  <a16:creationId xmlns:a16="http://schemas.microsoft.com/office/drawing/2014/main" id="{35EA7E2B-C9D3-4488-BF67-415315321A2A}"/>
                </a:ext>
              </a:extLst>
            </p:cNvPr>
            <p:cNvSpPr txBox="1"/>
            <p:nvPr/>
          </p:nvSpPr>
          <p:spPr>
            <a:xfrm>
              <a:off x="8076312" y="1709816"/>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latin typeface="Bahnschrift" panose="020B0502040204020203" pitchFamily="34" charset="0"/>
                  <a:sym typeface="Bahnschrift" panose="020B0502040204020203" pitchFamily="34" charset="0"/>
                </a:rPr>
                <a:t>Legende</a:t>
              </a:r>
            </a:p>
          </p:txBody>
        </p:sp>
        <p:sp>
          <p:nvSpPr>
            <p:cNvPr id="186" name="Legend2">
              <a:extLst>
                <a:ext uri="{FF2B5EF4-FFF2-40B4-BE49-F238E27FC236}">
                  <a16:creationId xmlns:a16="http://schemas.microsoft.com/office/drawing/2014/main" id="{0BD0BFDF-7A74-4295-B869-13C258523290}"/>
                </a:ext>
              </a:extLst>
            </p:cNvPr>
            <p:cNvSpPr txBox="1"/>
            <p:nvPr/>
          </p:nvSpPr>
          <p:spPr>
            <a:xfrm>
              <a:off x="8076312" y="2085275"/>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latin typeface="Bahnschrift" panose="020B0502040204020203" pitchFamily="34" charset="0"/>
                  <a:sym typeface="Bahnschrift" panose="020B0502040204020203" pitchFamily="34" charset="0"/>
                </a:rPr>
                <a:t>Legende</a:t>
              </a:r>
            </a:p>
          </p:txBody>
        </p:sp>
        <p:sp>
          <p:nvSpPr>
            <p:cNvPr id="198" name="Legend3">
              <a:extLst>
                <a:ext uri="{FF2B5EF4-FFF2-40B4-BE49-F238E27FC236}">
                  <a16:creationId xmlns:a16="http://schemas.microsoft.com/office/drawing/2014/main" id="{28B0F4AC-FC2D-481A-9128-8605DEB186C3}"/>
                </a:ext>
              </a:extLst>
            </p:cNvPr>
            <p:cNvSpPr txBox="1"/>
            <p:nvPr/>
          </p:nvSpPr>
          <p:spPr>
            <a:xfrm>
              <a:off x="8076312" y="246073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latin typeface="Bahnschrift" panose="020B0502040204020203" pitchFamily="34" charset="0"/>
                  <a:sym typeface="Bahnschrift" panose="020B0502040204020203" pitchFamily="34" charset="0"/>
                </a:rPr>
                <a:t>Legende</a:t>
              </a:r>
            </a:p>
          </p:txBody>
        </p:sp>
        <p:sp>
          <p:nvSpPr>
            <p:cNvPr id="199" name="Legend4">
              <a:extLst>
                <a:ext uri="{FF2B5EF4-FFF2-40B4-BE49-F238E27FC236}">
                  <a16:creationId xmlns:a16="http://schemas.microsoft.com/office/drawing/2014/main" id="{66FFDECC-710D-423B-AE0D-C8991607814D}"/>
                </a:ext>
              </a:extLst>
            </p:cNvPr>
            <p:cNvSpPr txBox="1"/>
            <p:nvPr/>
          </p:nvSpPr>
          <p:spPr>
            <a:xfrm>
              <a:off x="8076312" y="2836193"/>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latin typeface="Bahnschrift" panose="020B0502040204020203" pitchFamily="34" charset="0"/>
                  <a:sym typeface="Bahnschrift" panose="020B0502040204020203" pitchFamily="34" charset="0"/>
                </a:rPr>
                <a:t>Legende</a:t>
              </a:r>
            </a:p>
          </p:txBody>
        </p:sp>
        <p:sp>
          <p:nvSpPr>
            <p:cNvPr id="200" name="Legend5">
              <a:extLst>
                <a:ext uri="{FF2B5EF4-FFF2-40B4-BE49-F238E27FC236}">
                  <a16:creationId xmlns:a16="http://schemas.microsoft.com/office/drawing/2014/main" id="{36019472-86B2-4E05-AE2B-9BA0E66D43D0}"/>
                </a:ext>
              </a:extLst>
            </p:cNvPr>
            <p:cNvSpPr txBox="1"/>
            <p:nvPr/>
          </p:nvSpPr>
          <p:spPr>
            <a:xfrm>
              <a:off x="8076312" y="321165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latin typeface="Bahnschrift" panose="020B0502040204020203" pitchFamily="34" charset="0"/>
                  <a:sym typeface="Bahnschrift" panose="020B0502040204020203" pitchFamily="34" charset="0"/>
                </a:rPr>
                <a:t>Legende</a:t>
              </a:r>
            </a:p>
          </p:txBody>
        </p:sp>
        <p:grpSp>
          <p:nvGrpSpPr>
            <p:cNvPr id="201" name="MoonLegend1">
              <a:extLst>
                <a:ext uri="{FF2B5EF4-FFF2-40B4-BE49-F238E27FC236}">
                  <a16:creationId xmlns:a16="http://schemas.microsoft.com/office/drawing/2014/main" id="{FD3936D6-5B76-4ACE-9D2D-1026104B9BE4}"/>
                </a:ext>
              </a:extLst>
            </p:cNvPr>
            <p:cNvGrpSpPr>
              <a:grpSpLocks noChangeAspect="1"/>
            </p:cNvGrpSpPr>
            <p:nvPr>
              <p:custDataLst>
                <p:tags r:id="rId21"/>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CF897800-0278-47C7-A740-075D59763394}"/>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dirty="0">
                  <a:solidFill>
                    <a:schemeClr val="tx1"/>
                  </a:solidFill>
                  <a:latin typeface="Bahnschrift" panose="020B0502040204020203" pitchFamily="34" charset="0"/>
                  <a:sym typeface="Bahnschrift" panose="020B0502040204020203" pitchFamily="34" charset="0"/>
                </a:endParaRPr>
              </a:p>
            </p:txBody>
          </p:sp>
          <p:sp>
            <p:nvSpPr>
              <p:cNvPr id="215" name="Arc 214">
                <a:extLst>
                  <a:ext uri="{FF2B5EF4-FFF2-40B4-BE49-F238E27FC236}">
                    <a16:creationId xmlns:a16="http://schemas.microsoft.com/office/drawing/2014/main" id="{7E65F976-0593-4CA9-9F7B-03B5AE193583}"/>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dirty="0">
                  <a:latin typeface="Bahnschrift" panose="020B0502040204020203" pitchFamily="34" charset="0"/>
                  <a:sym typeface="Bahnschrift" panose="020B0502040204020203" pitchFamily="34" charset="0"/>
                </a:endParaRPr>
              </a:p>
            </p:txBody>
          </p:sp>
        </p:grpSp>
        <p:grpSp>
          <p:nvGrpSpPr>
            <p:cNvPr id="202" name="MoonLegend2">
              <a:extLst>
                <a:ext uri="{FF2B5EF4-FFF2-40B4-BE49-F238E27FC236}">
                  <a16:creationId xmlns:a16="http://schemas.microsoft.com/office/drawing/2014/main" id="{B7B8A3F5-747B-435B-8E9F-7B4D316297D9}"/>
                </a:ext>
              </a:extLst>
            </p:cNvPr>
            <p:cNvGrpSpPr>
              <a:grpSpLocks noChangeAspect="1"/>
            </p:cNvGrpSpPr>
            <p:nvPr>
              <p:custDataLst>
                <p:tags r:id="rId22"/>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714C5B60-6C84-46D1-A076-B75E43421190}"/>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dirty="0">
                  <a:solidFill>
                    <a:schemeClr val="tx1"/>
                  </a:solidFill>
                  <a:latin typeface="Bahnschrift" panose="020B0502040204020203" pitchFamily="34" charset="0"/>
                  <a:sym typeface="Bahnschrift" panose="020B0502040204020203" pitchFamily="34" charset="0"/>
                </a:endParaRPr>
              </a:p>
            </p:txBody>
          </p:sp>
          <p:sp>
            <p:nvSpPr>
              <p:cNvPr id="213" name="Arc 212">
                <a:extLst>
                  <a:ext uri="{FF2B5EF4-FFF2-40B4-BE49-F238E27FC236}">
                    <a16:creationId xmlns:a16="http://schemas.microsoft.com/office/drawing/2014/main" id="{F180C744-3105-47F0-B409-C8143778862D}"/>
                  </a:ext>
                </a:extLst>
              </p:cNvPr>
              <p:cNvSpPr/>
              <p:nvPr>
                <p:custDataLst>
                  <p:tags r:id="rId3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dirty="0">
                  <a:latin typeface="Bahnschrift" panose="020B0502040204020203" pitchFamily="34" charset="0"/>
                  <a:sym typeface="Bahnschrift" panose="020B0502040204020203" pitchFamily="34" charset="0"/>
                </a:endParaRPr>
              </a:p>
            </p:txBody>
          </p:sp>
        </p:grpSp>
        <p:grpSp>
          <p:nvGrpSpPr>
            <p:cNvPr id="203" name="MoonLegend3">
              <a:extLst>
                <a:ext uri="{FF2B5EF4-FFF2-40B4-BE49-F238E27FC236}">
                  <a16:creationId xmlns:a16="http://schemas.microsoft.com/office/drawing/2014/main" id="{2FF14DCB-DE51-4B4E-901D-98243203D1B9}"/>
                </a:ext>
              </a:extLst>
            </p:cNvPr>
            <p:cNvGrpSpPr>
              <a:grpSpLocks noChangeAspect="1"/>
            </p:cNvGrpSpPr>
            <p:nvPr>
              <p:custDataLst>
                <p:tags r:id="rId23"/>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BB22103-92E5-4DC4-B8B2-AE6494B9E8B4}"/>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dirty="0">
                  <a:solidFill>
                    <a:schemeClr val="tx1"/>
                  </a:solidFill>
                  <a:latin typeface="Bahnschrift" panose="020B0502040204020203" pitchFamily="34" charset="0"/>
                  <a:sym typeface="Bahnschrift" panose="020B0502040204020203" pitchFamily="34" charset="0"/>
                </a:endParaRPr>
              </a:p>
            </p:txBody>
          </p:sp>
          <p:sp>
            <p:nvSpPr>
              <p:cNvPr id="211" name="Arc 210">
                <a:extLst>
                  <a:ext uri="{FF2B5EF4-FFF2-40B4-BE49-F238E27FC236}">
                    <a16:creationId xmlns:a16="http://schemas.microsoft.com/office/drawing/2014/main" id="{58CC9AA8-1579-472F-B138-C1B99850A6C7}"/>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dirty="0">
                  <a:latin typeface="Bahnschrift" panose="020B0502040204020203" pitchFamily="34" charset="0"/>
                  <a:sym typeface="Bahnschrift" panose="020B0502040204020203" pitchFamily="34" charset="0"/>
                </a:endParaRPr>
              </a:p>
            </p:txBody>
          </p:sp>
        </p:grpSp>
        <p:grpSp>
          <p:nvGrpSpPr>
            <p:cNvPr id="204" name="MoonLegend4">
              <a:extLst>
                <a:ext uri="{FF2B5EF4-FFF2-40B4-BE49-F238E27FC236}">
                  <a16:creationId xmlns:a16="http://schemas.microsoft.com/office/drawing/2014/main" id="{BF8E647B-7A5E-465C-9903-926800717790}"/>
                </a:ext>
              </a:extLst>
            </p:cNvPr>
            <p:cNvGrpSpPr>
              <a:grpSpLocks noChangeAspect="1"/>
            </p:cNvGrpSpPr>
            <p:nvPr>
              <p:custDataLst>
                <p:tags r:id="rId24"/>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58679731-080A-437A-9EA0-B8D1A0D2FE00}"/>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dirty="0">
                  <a:solidFill>
                    <a:schemeClr val="tx1"/>
                  </a:solidFill>
                  <a:latin typeface="Bahnschrift" panose="020B0502040204020203" pitchFamily="34" charset="0"/>
                  <a:sym typeface="Bahnschrift" panose="020B0502040204020203" pitchFamily="34" charset="0"/>
                </a:endParaRPr>
              </a:p>
            </p:txBody>
          </p:sp>
          <p:sp>
            <p:nvSpPr>
              <p:cNvPr id="209" name="Arc 208">
                <a:extLst>
                  <a:ext uri="{FF2B5EF4-FFF2-40B4-BE49-F238E27FC236}">
                    <a16:creationId xmlns:a16="http://schemas.microsoft.com/office/drawing/2014/main" id="{111C6334-C1CF-431C-B9F3-2127E72A1EC0}"/>
                  </a:ext>
                </a:extLst>
              </p:cNvPr>
              <p:cNvSpPr/>
              <p:nvPr>
                <p:custDataLst>
                  <p:tags r:id="rId2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dirty="0">
                  <a:latin typeface="Bahnschrift" panose="020B0502040204020203" pitchFamily="34" charset="0"/>
                  <a:sym typeface="Bahnschrift" panose="020B0502040204020203" pitchFamily="34" charset="0"/>
                </a:endParaRPr>
              </a:p>
            </p:txBody>
          </p:sp>
        </p:grpSp>
        <p:grpSp>
          <p:nvGrpSpPr>
            <p:cNvPr id="205" name="MoonLegend5">
              <a:extLst>
                <a:ext uri="{FF2B5EF4-FFF2-40B4-BE49-F238E27FC236}">
                  <a16:creationId xmlns:a16="http://schemas.microsoft.com/office/drawing/2014/main" id="{C9D1736E-C875-4B7C-AED3-4D4EC72CF6D5}"/>
                </a:ext>
              </a:extLst>
            </p:cNvPr>
            <p:cNvGrpSpPr>
              <a:grpSpLocks noChangeAspect="1"/>
            </p:cNvGrpSpPr>
            <p:nvPr>
              <p:custDataLst>
                <p:tags r:id="rId25"/>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0E1D39BA-F1F6-4124-B14D-53CC60A317C9}"/>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sz="1400" dirty="0">
                  <a:solidFill>
                    <a:schemeClr val="tx1"/>
                  </a:solidFill>
                  <a:latin typeface="Bahnschrift" panose="020B0502040204020203" pitchFamily="34" charset="0"/>
                  <a:sym typeface="Bahnschrift" panose="020B0502040204020203" pitchFamily="34" charset="0"/>
                </a:endParaRPr>
              </a:p>
            </p:txBody>
          </p:sp>
          <p:sp>
            <p:nvSpPr>
              <p:cNvPr id="207" name="Arc 206">
                <a:extLst>
                  <a:ext uri="{FF2B5EF4-FFF2-40B4-BE49-F238E27FC236}">
                    <a16:creationId xmlns:a16="http://schemas.microsoft.com/office/drawing/2014/main" id="{AE98F399-A50A-4642-820B-617EEDB62DA0}"/>
                  </a:ext>
                </a:extLst>
              </p:cNvPr>
              <p:cNvSpPr/>
              <p:nvPr>
                <p:custDataLst>
                  <p:tags r:id="rId2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400" dirty="0">
                  <a:latin typeface="Bahnschrift" panose="020B0502040204020203" pitchFamily="34" charset="0"/>
                  <a:sym typeface="Bahnschrift" panose="020B0502040204020203" pitchFamily="34" charset="0"/>
                </a:endParaRPr>
              </a:p>
            </p:txBody>
          </p:sp>
        </p:grpSp>
      </p:grpSp>
      <p:grpSp>
        <p:nvGrpSpPr>
          <p:cNvPr id="216" name="LegendBoxes" hidden="1">
            <a:extLst>
              <a:ext uri="{FF2B5EF4-FFF2-40B4-BE49-F238E27FC236}">
                <a16:creationId xmlns:a16="http://schemas.microsoft.com/office/drawing/2014/main" id="{D6790C06-FA00-438C-9440-D1B33FE3C26F}"/>
              </a:ext>
            </a:extLst>
          </p:cNvPr>
          <p:cNvGrpSpPr/>
          <p:nvPr userDrawn="1"/>
        </p:nvGrpSpPr>
        <p:grpSpPr>
          <a:xfrm>
            <a:off x="10615415" y="4381500"/>
            <a:ext cx="1021849" cy="1717282"/>
            <a:chOff x="10652400" y="4322824"/>
            <a:chExt cx="1021849" cy="1717282"/>
          </a:xfrm>
        </p:grpSpPr>
        <p:sp>
          <p:nvSpPr>
            <p:cNvPr id="217" name="RectangleLegend1">
              <a:extLst>
                <a:ext uri="{FF2B5EF4-FFF2-40B4-BE49-F238E27FC236}">
                  <a16:creationId xmlns:a16="http://schemas.microsoft.com/office/drawing/2014/main" id="{0C2B5E23-5052-40AA-AB21-A31FD9FCDB57}"/>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dirty="0">
                <a:solidFill>
                  <a:schemeClr val="tx1"/>
                </a:solidFill>
                <a:latin typeface="Bahnschrift" panose="020B0502040204020203" pitchFamily="34" charset="0"/>
                <a:sym typeface="Bahnschrift" panose="020B0502040204020203" pitchFamily="34" charset="0"/>
              </a:endParaRPr>
            </a:p>
          </p:txBody>
        </p:sp>
        <p:sp>
          <p:nvSpPr>
            <p:cNvPr id="218" name="RectangleLegend2">
              <a:extLst>
                <a:ext uri="{FF2B5EF4-FFF2-40B4-BE49-F238E27FC236}">
                  <a16:creationId xmlns:a16="http://schemas.microsoft.com/office/drawing/2014/main" id="{A2B50A46-228D-49C2-9DF9-D345BE528F67}"/>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dirty="0">
                <a:solidFill>
                  <a:schemeClr val="tx1"/>
                </a:solidFill>
                <a:latin typeface="Bahnschrift" panose="020B0502040204020203" pitchFamily="34" charset="0"/>
                <a:sym typeface="Bahnschrift" panose="020B0502040204020203" pitchFamily="34" charset="0"/>
              </a:endParaRPr>
            </a:p>
          </p:txBody>
        </p:sp>
        <p:sp>
          <p:nvSpPr>
            <p:cNvPr id="219" name="RectangleLegend3">
              <a:extLst>
                <a:ext uri="{FF2B5EF4-FFF2-40B4-BE49-F238E27FC236}">
                  <a16:creationId xmlns:a16="http://schemas.microsoft.com/office/drawing/2014/main" id="{886BEEA4-5DDC-42B3-B0ED-9EE87CBC286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dirty="0">
                <a:solidFill>
                  <a:schemeClr val="tx1"/>
                </a:solidFill>
                <a:latin typeface="Bahnschrift" panose="020B0502040204020203" pitchFamily="34" charset="0"/>
                <a:sym typeface="Bahnschrift" panose="020B0502040204020203" pitchFamily="34" charset="0"/>
              </a:endParaRPr>
            </a:p>
          </p:txBody>
        </p:sp>
        <p:sp>
          <p:nvSpPr>
            <p:cNvPr id="220" name="RectangleLegend4">
              <a:extLst>
                <a:ext uri="{FF2B5EF4-FFF2-40B4-BE49-F238E27FC236}">
                  <a16:creationId xmlns:a16="http://schemas.microsoft.com/office/drawing/2014/main" id="{0F04DC4F-5CDC-44CC-9C3D-B05672CAA87B}"/>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dirty="0">
                <a:solidFill>
                  <a:schemeClr val="tx1"/>
                </a:solidFill>
                <a:latin typeface="Bahnschrift" panose="020B0502040204020203" pitchFamily="34" charset="0"/>
                <a:sym typeface="Bahnschrift" panose="020B0502040204020203" pitchFamily="34" charset="0"/>
              </a:endParaRPr>
            </a:p>
          </p:txBody>
        </p:sp>
        <p:sp>
          <p:nvSpPr>
            <p:cNvPr id="221" name="RectangleLegend5">
              <a:extLst>
                <a:ext uri="{FF2B5EF4-FFF2-40B4-BE49-F238E27FC236}">
                  <a16:creationId xmlns:a16="http://schemas.microsoft.com/office/drawing/2014/main" id="{0A634051-19B2-4417-AF01-09C7908E71A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de-DE" sz="1400" dirty="0">
                <a:solidFill>
                  <a:schemeClr val="tx1"/>
                </a:solidFill>
                <a:latin typeface="Bahnschrift" panose="020B0502040204020203" pitchFamily="34" charset="0"/>
                <a:sym typeface="Bahnschrift" panose="020B0502040204020203" pitchFamily="34" charset="0"/>
              </a:endParaRPr>
            </a:p>
          </p:txBody>
        </p:sp>
        <p:sp>
          <p:nvSpPr>
            <p:cNvPr id="222" name="Legend1">
              <a:extLst>
                <a:ext uri="{FF2B5EF4-FFF2-40B4-BE49-F238E27FC236}">
                  <a16:creationId xmlns:a16="http://schemas.microsoft.com/office/drawing/2014/main" id="{CCCFAC71-35AD-4BD1-90E2-1AC8BC51760D}"/>
                </a:ext>
              </a:extLst>
            </p:cNvPr>
            <p:cNvSpPr txBox="1"/>
            <p:nvPr/>
          </p:nvSpPr>
          <p:spPr>
            <a:xfrm>
              <a:off x="10978546" y="4322824"/>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latin typeface="Bahnschrift" panose="020B0502040204020203" pitchFamily="34" charset="0"/>
                  <a:sym typeface="Bahnschrift" panose="020B0502040204020203" pitchFamily="34" charset="0"/>
                </a:rPr>
                <a:t>Legende</a:t>
              </a:r>
            </a:p>
          </p:txBody>
        </p:sp>
        <p:sp>
          <p:nvSpPr>
            <p:cNvPr id="223" name="Legend2">
              <a:extLst>
                <a:ext uri="{FF2B5EF4-FFF2-40B4-BE49-F238E27FC236}">
                  <a16:creationId xmlns:a16="http://schemas.microsoft.com/office/drawing/2014/main" id="{71EDA051-44B9-458D-91A8-DDE1D14945C7}"/>
                </a:ext>
              </a:extLst>
            </p:cNvPr>
            <p:cNvSpPr txBox="1"/>
            <p:nvPr/>
          </p:nvSpPr>
          <p:spPr>
            <a:xfrm>
              <a:off x="10978546" y="470232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latin typeface="Bahnschrift" panose="020B0502040204020203" pitchFamily="34" charset="0"/>
                  <a:sym typeface="Bahnschrift" panose="020B0502040204020203" pitchFamily="34" charset="0"/>
                </a:rPr>
                <a:t>Legende</a:t>
              </a:r>
            </a:p>
          </p:txBody>
        </p:sp>
        <p:sp>
          <p:nvSpPr>
            <p:cNvPr id="224" name="Legend3">
              <a:extLst>
                <a:ext uri="{FF2B5EF4-FFF2-40B4-BE49-F238E27FC236}">
                  <a16:creationId xmlns:a16="http://schemas.microsoft.com/office/drawing/2014/main" id="{0699E6E1-066A-4FEA-A705-3034AD46CED7}"/>
                </a:ext>
              </a:extLst>
            </p:cNvPr>
            <p:cNvSpPr txBox="1"/>
            <p:nvPr/>
          </p:nvSpPr>
          <p:spPr>
            <a:xfrm>
              <a:off x="10978546" y="5081820"/>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latin typeface="Bahnschrift" panose="020B0502040204020203" pitchFamily="34" charset="0"/>
                  <a:sym typeface="Bahnschrift" panose="020B0502040204020203" pitchFamily="34" charset="0"/>
                </a:rPr>
                <a:t>Legende</a:t>
              </a:r>
            </a:p>
          </p:txBody>
        </p:sp>
        <p:sp>
          <p:nvSpPr>
            <p:cNvPr id="225" name="Legend4">
              <a:extLst>
                <a:ext uri="{FF2B5EF4-FFF2-40B4-BE49-F238E27FC236}">
                  <a16:creationId xmlns:a16="http://schemas.microsoft.com/office/drawing/2014/main" id="{F9AB8057-225D-4969-A21B-AE954E18F678}"/>
                </a:ext>
              </a:extLst>
            </p:cNvPr>
            <p:cNvSpPr txBox="1"/>
            <p:nvPr/>
          </p:nvSpPr>
          <p:spPr>
            <a:xfrm>
              <a:off x="10978546" y="5453241"/>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latin typeface="Bahnschrift" panose="020B0502040204020203" pitchFamily="34" charset="0"/>
                  <a:sym typeface="Bahnschrift" panose="020B0502040204020203" pitchFamily="34" charset="0"/>
                </a:rPr>
                <a:t>Legende</a:t>
              </a:r>
            </a:p>
          </p:txBody>
        </p:sp>
        <p:sp>
          <p:nvSpPr>
            <p:cNvPr id="226" name="Legend5">
              <a:extLst>
                <a:ext uri="{FF2B5EF4-FFF2-40B4-BE49-F238E27FC236}">
                  <a16:creationId xmlns:a16="http://schemas.microsoft.com/office/drawing/2014/main" id="{73DEBC99-0A9C-4BC7-9CFF-28A6794C2074}"/>
                </a:ext>
              </a:extLst>
            </p:cNvPr>
            <p:cNvSpPr txBox="1"/>
            <p:nvPr/>
          </p:nvSpPr>
          <p:spPr>
            <a:xfrm>
              <a:off x="10978545" y="5824662"/>
              <a:ext cx="695703" cy="215444"/>
            </a:xfrm>
            <a:prstGeom prst="rect">
              <a:avLst/>
            </a:prstGeom>
            <a:noFill/>
            <a:ln>
              <a:noFill/>
              <a:miter lim="800000"/>
            </a:ln>
          </p:spPr>
          <p:txBody>
            <a:bodyPr wrap="none" lIns="0" tIns="0" rIns="0" bIns="0" rtlCol="0" anchor="ctr" anchorCtr="0">
              <a:spAutoFit/>
            </a:bodyPr>
            <a:lstStyle/>
            <a:p>
              <a:pPr rtl="0">
                <a:spcAft>
                  <a:spcPts val="600"/>
                </a:spcAft>
              </a:pPr>
              <a:r>
                <a:rPr lang="de-DE" sz="1400" dirty="0">
                  <a:latin typeface="Bahnschrift" panose="020B0502040204020203" pitchFamily="34" charset="0"/>
                  <a:sym typeface="Bahnschrift" panose="020B0502040204020203" pitchFamily="34" charset="0"/>
                </a:rPr>
                <a:t>Legende</a:t>
              </a:r>
            </a:p>
          </p:txBody>
        </p:sp>
      </p:grpSp>
    </p:spTree>
    <p:extLst>
      <p:ext uri="{BB962C8B-B14F-4D97-AF65-F5344CB8AC3E}">
        <p14:creationId xmlns:p14="http://schemas.microsoft.com/office/powerpoint/2010/main" val="1550556627"/>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Lst>
  <p:txStyles>
    <p:titleStyle>
      <a:lvl1pPr algn="l" defTabSz="914400" rtl="0" eaLnBrk="1" latinLnBrk="0" hangingPunct="1">
        <a:lnSpc>
          <a:spcPct val="93000"/>
        </a:lnSpc>
        <a:spcBef>
          <a:spcPct val="0"/>
        </a:spcBef>
        <a:buNone/>
        <a:defRPr lang="de-DE" sz="2500" b="0" kern="1200" spc="0" baseline="0" dirty="0">
          <a:ln w="6350" cap="flat">
            <a:noFill/>
            <a:miter lim="800000"/>
          </a:ln>
          <a:solidFill>
            <a:schemeClr val="tx1"/>
          </a:solidFill>
          <a:latin typeface="Bahnschrift" panose="020B0502040204020203" pitchFamily="34" charset="0"/>
          <a:ea typeface="+mj-ea"/>
          <a:cs typeface="+mj-cs"/>
          <a:sym typeface="Bahnschrift" panose="020B0502040204020203" pitchFamily="34" charset="0"/>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Bahnschrift" panose="020B0502040204020203" pitchFamily="34" charset="0"/>
          <a:ea typeface="+mn-ea"/>
          <a:cs typeface="Arial" panose="020B0604020202020204" pitchFamily="34" charset="0"/>
          <a:sym typeface="Bahnschrift" panose="020B0502040204020203"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1.xml"/><Relationship Id="rId7" Type="http://schemas.openxmlformats.org/officeDocument/2006/relationships/image" Target="../media/image12.png"/><Relationship Id="rId12" Type="http://schemas.openxmlformats.org/officeDocument/2006/relationships/image" Target="../media/image2.wmf"/><Relationship Id="rId2" Type="http://schemas.openxmlformats.org/officeDocument/2006/relationships/slideLayout" Target="../slideLayouts/slideLayout1.xml"/><Relationship Id="rId1" Type="http://schemas.openxmlformats.org/officeDocument/2006/relationships/tags" Target="../tags/tag955.xml"/><Relationship Id="rId6" Type="http://schemas.openxmlformats.org/officeDocument/2006/relationships/image" Target="../media/image11.png"/><Relationship Id="rId11" Type="http://schemas.openxmlformats.org/officeDocument/2006/relationships/image" Target="../media/image1.emf"/><Relationship Id="rId5" Type="http://schemas.openxmlformats.org/officeDocument/2006/relationships/image" Target="../media/image10.png"/><Relationship Id="rId10" Type="http://schemas.openxmlformats.org/officeDocument/2006/relationships/oleObject" Target="../embeddings/oleObject146.bin"/><Relationship Id="rId4" Type="http://schemas.openxmlformats.org/officeDocument/2006/relationships/image" Target="../media/image9.png"/><Relationship Id="rId9" Type="http://schemas.openxmlformats.org/officeDocument/2006/relationships/image" Target="../media/image14.png"/></Relationships>
</file>

<file path=ppt/slides/_rels/slide10.xml.rels><?xml version="1.0" encoding="UTF-8" standalone="yes"?>
<Relationships xmlns="http://schemas.openxmlformats.org/package/2006/relationships"><Relationship Id="rId26" Type="http://schemas.openxmlformats.org/officeDocument/2006/relationships/tags" Target="../tags/tag1274.xml"/><Relationship Id="rId21" Type="http://schemas.openxmlformats.org/officeDocument/2006/relationships/tags" Target="../tags/tag1269.xml"/><Relationship Id="rId42" Type="http://schemas.openxmlformats.org/officeDocument/2006/relationships/tags" Target="../tags/tag1290.xml"/><Relationship Id="rId47" Type="http://schemas.openxmlformats.org/officeDocument/2006/relationships/tags" Target="../tags/tag1295.xml"/><Relationship Id="rId63" Type="http://schemas.openxmlformats.org/officeDocument/2006/relationships/tags" Target="../tags/tag1311.xml"/><Relationship Id="rId68" Type="http://schemas.openxmlformats.org/officeDocument/2006/relationships/tags" Target="../tags/tag1316.xml"/><Relationship Id="rId84" Type="http://schemas.openxmlformats.org/officeDocument/2006/relationships/tags" Target="../tags/tag1332.xml"/><Relationship Id="rId89" Type="http://schemas.openxmlformats.org/officeDocument/2006/relationships/image" Target="../media/image8.emf"/><Relationship Id="rId16" Type="http://schemas.openxmlformats.org/officeDocument/2006/relationships/tags" Target="../tags/tag1264.xml"/><Relationship Id="rId11" Type="http://schemas.openxmlformats.org/officeDocument/2006/relationships/tags" Target="../tags/tag1259.xml"/><Relationship Id="rId32" Type="http://schemas.openxmlformats.org/officeDocument/2006/relationships/tags" Target="../tags/tag1280.xml"/><Relationship Id="rId37" Type="http://schemas.openxmlformats.org/officeDocument/2006/relationships/tags" Target="../tags/tag1285.xml"/><Relationship Id="rId53" Type="http://schemas.openxmlformats.org/officeDocument/2006/relationships/tags" Target="../tags/tag1301.xml"/><Relationship Id="rId58" Type="http://schemas.openxmlformats.org/officeDocument/2006/relationships/tags" Target="../tags/tag1306.xml"/><Relationship Id="rId74" Type="http://schemas.openxmlformats.org/officeDocument/2006/relationships/tags" Target="../tags/tag1322.xml"/><Relationship Id="rId79" Type="http://schemas.openxmlformats.org/officeDocument/2006/relationships/tags" Target="../tags/tag1327.xml"/><Relationship Id="rId5" Type="http://schemas.openxmlformats.org/officeDocument/2006/relationships/tags" Target="../tags/tag1253.xml"/><Relationship Id="rId90" Type="http://schemas.openxmlformats.org/officeDocument/2006/relationships/chart" Target="../charts/chart11.xml"/><Relationship Id="rId14" Type="http://schemas.openxmlformats.org/officeDocument/2006/relationships/tags" Target="../tags/tag1262.xml"/><Relationship Id="rId22" Type="http://schemas.openxmlformats.org/officeDocument/2006/relationships/tags" Target="../tags/tag1270.xml"/><Relationship Id="rId27" Type="http://schemas.openxmlformats.org/officeDocument/2006/relationships/tags" Target="../tags/tag1275.xml"/><Relationship Id="rId30" Type="http://schemas.openxmlformats.org/officeDocument/2006/relationships/tags" Target="../tags/tag1278.xml"/><Relationship Id="rId35" Type="http://schemas.openxmlformats.org/officeDocument/2006/relationships/tags" Target="../tags/tag1283.xml"/><Relationship Id="rId43" Type="http://schemas.openxmlformats.org/officeDocument/2006/relationships/tags" Target="../tags/tag1291.xml"/><Relationship Id="rId48" Type="http://schemas.openxmlformats.org/officeDocument/2006/relationships/tags" Target="../tags/tag1296.xml"/><Relationship Id="rId56" Type="http://schemas.openxmlformats.org/officeDocument/2006/relationships/tags" Target="../tags/tag1304.xml"/><Relationship Id="rId64" Type="http://schemas.openxmlformats.org/officeDocument/2006/relationships/tags" Target="../tags/tag1312.xml"/><Relationship Id="rId69" Type="http://schemas.openxmlformats.org/officeDocument/2006/relationships/tags" Target="../tags/tag1317.xml"/><Relationship Id="rId77" Type="http://schemas.openxmlformats.org/officeDocument/2006/relationships/tags" Target="../tags/tag1325.xml"/><Relationship Id="rId8" Type="http://schemas.openxmlformats.org/officeDocument/2006/relationships/tags" Target="../tags/tag1256.xml"/><Relationship Id="rId51" Type="http://schemas.openxmlformats.org/officeDocument/2006/relationships/tags" Target="../tags/tag1299.xml"/><Relationship Id="rId72" Type="http://schemas.openxmlformats.org/officeDocument/2006/relationships/tags" Target="../tags/tag1320.xml"/><Relationship Id="rId80" Type="http://schemas.openxmlformats.org/officeDocument/2006/relationships/tags" Target="../tags/tag1328.xml"/><Relationship Id="rId85" Type="http://schemas.openxmlformats.org/officeDocument/2006/relationships/tags" Target="../tags/tag1333.xml"/><Relationship Id="rId3" Type="http://schemas.openxmlformats.org/officeDocument/2006/relationships/tags" Target="../tags/tag1251.xml"/><Relationship Id="rId12" Type="http://schemas.openxmlformats.org/officeDocument/2006/relationships/tags" Target="../tags/tag1260.xml"/><Relationship Id="rId17" Type="http://schemas.openxmlformats.org/officeDocument/2006/relationships/tags" Target="../tags/tag1265.xml"/><Relationship Id="rId25" Type="http://schemas.openxmlformats.org/officeDocument/2006/relationships/tags" Target="../tags/tag1273.xml"/><Relationship Id="rId33" Type="http://schemas.openxmlformats.org/officeDocument/2006/relationships/tags" Target="../tags/tag1281.xml"/><Relationship Id="rId38" Type="http://schemas.openxmlformats.org/officeDocument/2006/relationships/tags" Target="../tags/tag1286.xml"/><Relationship Id="rId46" Type="http://schemas.openxmlformats.org/officeDocument/2006/relationships/tags" Target="../tags/tag1294.xml"/><Relationship Id="rId59" Type="http://schemas.openxmlformats.org/officeDocument/2006/relationships/tags" Target="../tags/tag1307.xml"/><Relationship Id="rId67" Type="http://schemas.openxmlformats.org/officeDocument/2006/relationships/tags" Target="../tags/tag1315.xml"/><Relationship Id="rId20" Type="http://schemas.openxmlformats.org/officeDocument/2006/relationships/tags" Target="../tags/tag1268.xml"/><Relationship Id="rId41" Type="http://schemas.openxmlformats.org/officeDocument/2006/relationships/tags" Target="../tags/tag1289.xml"/><Relationship Id="rId54" Type="http://schemas.openxmlformats.org/officeDocument/2006/relationships/tags" Target="../tags/tag1302.xml"/><Relationship Id="rId62" Type="http://schemas.openxmlformats.org/officeDocument/2006/relationships/tags" Target="../tags/tag1310.xml"/><Relationship Id="rId70" Type="http://schemas.openxmlformats.org/officeDocument/2006/relationships/tags" Target="../tags/tag1318.xml"/><Relationship Id="rId75" Type="http://schemas.openxmlformats.org/officeDocument/2006/relationships/tags" Target="../tags/tag1323.xml"/><Relationship Id="rId83" Type="http://schemas.openxmlformats.org/officeDocument/2006/relationships/tags" Target="../tags/tag1331.xml"/><Relationship Id="rId88" Type="http://schemas.openxmlformats.org/officeDocument/2006/relationships/oleObject" Target="../embeddings/oleObject153.bin"/><Relationship Id="rId91" Type="http://schemas.openxmlformats.org/officeDocument/2006/relationships/chart" Target="../charts/chart12.xml"/><Relationship Id="rId1" Type="http://schemas.openxmlformats.org/officeDocument/2006/relationships/tags" Target="../tags/tag1249.xml"/><Relationship Id="rId6" Type="http://schemas.openxmlformats.org/officeDocument/2006/relationships/tags" Target="../tags/tag1254.xml"/><Relationship Id="rId15" Type="http://schemas.openxmlformats.org/officeDocument/2006/relationships/tags" Target="../tags/tag1263.xml"/><Relationship Id="rId23" Type="http://schemas.openxmlformats.org/officeDocument/2006/relationships/tags" Target="../tags/tag1271.xml"/><Relationship Id="rId28" Type="http://schemas.openxmlformats.org/officeDocument/2006/relationships/tags" Target="../tags/tag1276.xml"/><Relationship Id="rId36" Type="http://schemas.openxmlformats.org/officeDocument/2006/relationships/tags" Target="../tags/tag1284.xml"/><Relationship Id="rId49" Type="http://schemas.openxmlformats.org/officeDocument/2006/relationships/tags" Target="../tags/tag1297.xml"/><Relationship Id="rId57" Type="http://schemas.openxmlformats.org/officeDocument/2006/relationships/tags" Target="../tags/tag1305.xml"/><Relationship Id="rId10" Type="http://schemas.openxmlformats.org/officeDocument/2006/relationships/tags" Target="../tags/tag1258.xml"/><Relationship Id="rId31" Type="http://schemas.openxmlformats.org/officeDocument/2006/relationships/tags" Target="../tags/tag1279.xml"/><Relationship Id="rId44" Type="http://schemas.openxmlformats.org/officeDocument/2006/relationships/tags" Target="../tags/tag1292.xml"/><Relationship Id="rId52" Type="http://schemas.openxmlformats.org/officeDocument/2006/relationships/tags" Target="../tags/tag1300.xml"/><Relationship Id="rId60" Type="http://schemas.openxmlformats.org/officeDocument/2006/relationships/tags" Target="../tags/tag1308.xml"/><Relationship Id="rId65" Type="http://schemas.openxmlformats.org/officeDocument/2006/relationships/tags" Target="../tags/tag1313.xml"/><Relationship Id="rId73" Type="http://schemas.openxmlformats.org/officeDocument/2006/relationships/tags" Target="../tags/tag1321.xml"/><Relationship Id="rId78" Type="http://schemas.openxmlformats.org/officeDocument/2006/relationships/tags" Target="../tags/tag1326.xml"/><Relationship Id="rId81" Type="http://schemas.openxmlformats.org/officeDocument/2006/relationships/tags" Target="../tags/tag1329.xml"/><Relationship Id="rId86" Type="http://schemas.openxmlformats.org/officeDocument/2006/relationships/slideLayout" Target="../slideLayouts/slideLayout2.xml"/><Relationship Id="rId4" Type="http://schemas.openxmlformats.org/officeDocument/2006/relationships/tags" Target="../tags/tag1252.xml"/><Relationship Id="rId9" Type="http://schemas.openxmlformats.org/officeDocument/2006/relationships/tags" Target="../tags/tag1257.xml"/><Relationship Id="rId13" Type="http://schemas.openxmlformats.org/officeDocument/2006/relationships/tags" Target="../tags/tag1261.xml"/><Relationship Id="rId18" Type="http://schemas.openxmlformats.org/officeDocument/2006/relationships/tags" Target="../tags/tag1266.xml"/><Relationship Id="rId39" Type="http://schemas.openxmlformats.org/officeDocument/2006/relationships/tags" Target="../tags/tag1287.xml"/><Relationship Id="rId34" Type="http://schemas.openxmlformats.org/officeDocument/2006/relationships/tags" Target="../tags/tag1282.xml"/><Relationship Id="rId50" Type="http://schemas.openxmlformats.org/officeDocument/2006/relationships/tags" Target="../tags/tag1298.xml"/><Relationship Id="rId55" Type="http://schemas.openxmlformats.org/officeDocument/2006/relationships/tags" Target="../tags/tag1303.xml"/><Relationship Id="rId76" Type="http://schemas.openxmlformats.org/officeDocument/2006/relationships/tags" Target="../tags/tag1324.xml"/><Relationship Id="rId7" Type="http://schemas.openxmlformats.org/officeDocument/2006/relationships/tags" Target="../tags/tag1255.xml"/><Relationship Id="rId71" Type="http://schemas.openxmlformats.org/officeDocument/2006/relationships/tags" Target="../tags/tag1319.xml"/><Relationship Id="rId2" Type="http://schemas.openxmlformats.org/officeDocument/2006/relationships/tags" Target="../tags/tag1250.xml"/><Relationship Id="rId29" Type="http://schemas.openxmlformats.org/officeDocument/2006/relationships/tags" Target="../tags/tag1277.xml"/><Relationship Id="rId24" Type="http://schemas.openxmlformats.org/officeDocument/2006/relationships/tags" Target="../tags/tag1272.xml"/><Relationship Id="rId40" Type="http://schemas.openxmlformats.org/officeDocument/2006/relationships/tags" Target="../tags/tag1288.xml"/><Relationship Id="rId45" Type="http://schemas.openxmlformats.org/officeDocument/2006/relationships/tags" Target="../tags/tag1293.xml"/><Relationship Id="rId66" Type="http://schemas.openxmlformats.org/officeDocument/2006/relationships/tags" Target="../tags/tag1314.xml"/><Relationship Id="rId87" Type="http://schemas.openxmlformats.org/officeDocument/2006/relationships/notesSlide" Target="../notesSlides/notesSlide5.xml"/><Relationship Id="rId61" Type="http://schemas.openxmlformats.org/officeDocument/2006/relationships/tags" Target="../tags/tag1309.xml"/><Relationship Id="rId82" Type="http://schemas.openxmlformats.org/officeDocument/2006/relationships/tags" Target="../tags/tag1330.xml"/><Relationship Id="rId19" Type="http://schemas.openxmlformats.org/officeDocument/2006/relationships/tags" Target="../tags/tag1267.xml"/></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37.png"/><Relationship Id="rId18" Type="http://schemas.openxmlformats.org/officeDocument/2006/relationships/image" Target="../media/image42.svg"/><Relationship Id="rId3" Type="http://schemas.openxmlformats.org/officeDocument/2006/relationships/tags" Target="../tags/tag1336.xml"/><Relationship Id="rId7" Type="http://schemas.openxmlformats.org/officeDocument/2006/relationships/tags" Target="../tags/tag1340.xml"/><Relationship Id="rId12" Type="http://schemas.openxmlformats.org/officeDocument/2006/relationships/image" Target="../media/image5.emf"/><Relationship Id="rId17" Type="http://schemas.openxmlformats.org/officeDocument/2006/relationships/image" Target="../media/image41.png"/><Relationship Id="rId2" Type="http://schemas.openxmlformats.org/officeDocument/2006/relationships/tags" Target="../tags/tag1335.xml"/><Relationship Id="rId16" Type="http://schemas.openxmlformats.org/officeDocument/2006/relationships/image" Target="../media/image40.svg"/><Relationship Id="rId20" Type="http://schemas.openxmlformats.org/officeDocument/2006/relationships/image" Target="../media/image44.svg"/><Relationship Id="rId1" Type="http://schemas.openxmlformats.org/officeDocument/2006/relationships/tags" Target="../tags/tag1334.xml"/><Relationship Id="rId6" Type="http://schemas.openxmlformats.org/officeDocument/2006/relationships/tags" Target="../tags/tag1339.xml"/><Relationship Id="rId11" Type="http://schemas.openxmlformats.org/officeDocument/2006/relationships/oleObject" Target="../embeddings/oleObject154.bin"/><Relationship Id="rId5" Type="http://schemas.openxmlformats.org/officeDocument/2006/relationships/tags" Target="../tags/tag1338.xml"/><Relationship Id="rId15" Type="http://schemas.openxmlformats.org/officeDocument/2006/relationships/image" Target="../media/image39.png"/><Relationship Id="rId10" Type="http://schemas.openxmlformats.org/officeDocument/2006/relationships/image" Target="../media/image36.dat"/><Relationship Id="rId19" Type="http://schemas.openxmlformats.org/officeDocument/2006/relationships/image" Target="../media/image43.png"/><Relationship Id="rId4" Type="http://schemas.openxmlformats.org/officeDocument/2006/relationships/tags" Target="../tags/tag1337.xml"/><Relationship Id="rId9" Type="http://schemas.openxmlformats.org/officeDocument/2006/relationships/notesSlide" Target="../notesSlides/notesSlide6.xml"/><Relationship Id="rId14" Type="http://schemas.openxmlformats.org/officeDocument/2006/relationships/image" Target="../media/image38.svg"/></Relationships>
</file>

<file path=ppt/slides/_rels/slide12.xml.rels><?xml version="1.0" encoding="UTF-8" standalone="yes"?>
<Relationships xmlns="http://schemas.openxmlformats.org/package/2006/relationships"><Relationship Id="rId26" Type="http://schemas.openxmlformats.org/officeDocument/2006/relationships/tags" Target="../tags/tag1366.xml"/><Relationship Id="rId21" Type="http://schemas.openxmlformats.org/officeDocument/2006/relationships/tags" Target="../tags/tag1361.xml"/><Relationship Id="rId34" Type="http://schemas.openxmlformats.org/officeDocument/2006/relationships/tags" Target="../tags/tag1374.xml"/><Relationship Id="rId42" Type="http://schemas.openxmlformats.org/officeDocument/2006/relationships/tags" Target="../tags/tag1382.xml"/><Relationship Id="rId47" Type="http://schemas.openxmlformats.org/officeDocument/2006/relationships/tags" Target="../tags/tag1387.xml"/><Relationship Id="rId50" Type="http://schemas.openxmlformats.org/officeDocument/2006/relationships/tags" Target="../tags/tag1390.xml"/><Relationship Id="rId55" Type="http://schemas.openxmlformats.org/officeDocument/2006/relationships/tags" Target="../tags/tag1395.xml"/><Relationship Id="rId63" Type="http://schemas.openxmlformats.org/officeDocument/2006/relationships/tags" Target="../tags/tag1403.xml"/><Relationship Id="rId68" Type="http://schemas.openxmlformats.org/officeDocument/2006/relationships/chart" Target="../charts/chart13.xml"/><Relationship Id="rId7" Type="http://schemas.openxmlformats.org/officeDocument/2006/relationships/tags" Target="../tags/tag1347.xml"/><Relationship Id="rId2" Type="http://schemas.openxmlformats.org/officeDocument/2006/relationships/tags" Target="../tags/tag1342.xml"/><Relationship Id="rId16" Type="http://schemas.openxmlformats.org/officeDocument/2006/relationships/tags" Target="../tags/tag1356.xml"/><Relationship Id="rId29" Type="http://schemas.openxmlformats.org/officeDocument/2006/relationships/tags" Target="../tags/tag1369.xml"/><Relationship Id="rId11" Type="http://schemas.openxmlformats.org/officeDocument/2006/relationships/tags" Target="../tags/tag1351.xml"/><Relationship Id="rId24" Type="http://schemas.openxmlformats.org/officeDocument/2006/relationships/tags" Target="../tags/tag1364.xml"/><Relationship Id="rId32" Type="http://schemas.openxmlformats.org/officeDocument/2006/relationships/tags" Target="../tags/tag1372.xml"/><Relationship Id="rId37" Type="http://schemas.openxmlformats.org/officeDocument/2006/relationships/tags" Target="../tags/tag1377.xml"/><Relationship Id="rId40" Type="http://schemas.openxmlformats.org/officeDocument/2006/relationships/tags" Target="../tags/tag1380.xml"/><Relationship Id="rId45" Type="http://schemas.openxmlformats.org/officeDocument/2006/relationships/tags" Target="../tags/tag1385.xml"/><Relationship Id="rId53" Type="http://schemas.openxmlformats.org/officeDocument/2006/relationships/tags" Target="../tags/tag1393.xml"/><Relationship Id="rId58" Type="http://schemas.openxmlformats.org/officeDocument/2006/relationships/tags" Target="../tags/tag1398.xml"/><Relationship Id="rId66" Type="http://schemas.openxmlformats.org/officeDocument/2006/relationships/oleObject" Target="../embeddings/oleObject155.bin"/><Relationship Id="rId5" Type="http://schemas.openxmlformats.org/officeDocument/2006/relationships/tags" Target="../tags/tag1345.xml"/><Relationship Id="rId61" Type="http://schemas.openxmlformats.org/officeDocument/2006/relationships/tags" Target="../tags/tag1401.xml"/><Relationship Id="rId19" Type="http://schemas.openxmlformats.org/officeDocument/2006/relationships/tags" Target="../tags/tag1359.xml"/><Relationship Id="rId14" Type="http://schemas.openxmlformats.org/officeDocument/2006/relationships/tags" Target="../tags/tag1354.xml"/><Relationship Id="rId22" Type="http://schemas.openxmlformats.org/officeDocument/2006/relationships/tags" Target="../tags/tag1362.xml"/><Relationship Id="rId27" Type="http://schemas.openxmlformats.org/officeDocument/2006/relationships/tags" Target="../tags/tag1367.xml"/><Relationship Id="rId30" Type="http://schemas.openxmlformats.org/officeDocument/2006/relationships/tags" Target="../tags/tag1370.xml"/><Relationship Id="rId35" Type="http://schemas.openxmlformats.org/officeDocument/2006/relationships/tags" Target="../tags/tag1375.xml"/><Relationship Id="rId43" Type="http://schemas.openxmlformats.org/officeDocument/2006/relationships/tags" Target="../tags/tag1383.xml"/><Relationship Id="rId48" Type="http://schemas.openxmlformats.org/officeDocument/2006/relationships/tags" Target="../tags/tag1388.xml"/><Relationship Id="rId56" Type="http://schemas.openxmlformats.org/officeDocument/2006/relationships/tags" Target="../tags/tag1396.xml"/><Relationship Id="rId64" Type="http://schemas.openxmlformats.org/officeDocument/2006/relationships/slideLayout" Target="../slideLayouts/slideLayout2.xml"/><Relationship Id="rId8" Type="http://schemas.openxmlformats.org/officeDocument/2006/relationships/tags" Target="../tags/tag1348.xml"/><Relationship Id="rId51" Type="http://schemas.openxmlformats.org/officeDocument/2006/relationships/tags" Target="../tags/tag1391.xml"/><Relationship Id="rId3" Type="http://schemas.openxmlformats.org/officeDocument/2006/relationships/tags" Target="../tags/tag1343.xml"/><Relationship Id="rId12" Type="http://schemas.openxmlformats.org/officeDocument/2006/relationships/tags" Target="../tags/tag1352.xml"/><Relationship Id="rId17" Type="http://schemas.openxmlformats.org/officeDocument/2006/relationships/tags" Target="../tags/tag1357.xml"/><Relationship Id="rId25" Type="http://schemas.openxmlformats.org/officeDocument/2006/relationships/tags" Target="../tags/tag1365.xml"/><Relationship Id="rId33" Type="http://schemas.openxmlformats.org/officeDocument/2006/relationships/tags" Target="../tags/tag1373.xml"/><Relationship Id="rId38" Type="http://schemas.openxmlformats.org/officeDocument/2006/relationships/tags" Target="../tags/tag1378.xml"/><Relationship Id="rId46" Type="http://schemas.openxmlformats.org/officeDocument/2006/relationships/tags" Target="../tags/tag1386.xml"/><Relationship Id="rId59" Type="http://schemas.openxmlformats.org/officeDocument/2006/relationships/tags" Target="../tags/tag1399.xml"/><Relationship Id="rId67" Type="http://schemas.openxmlformats.org/officeDocument/2006/relationships/image" Target="../media/image8.emf"/><Relationship Id="rId20" Type="http://schemas.openxmlformats.org/officeDocument/2006/relationships/tags" Target="../tags/tag1360.xml"/><Relationship Id="rId41" Type="http://schemas.openxmlformats.org/officeDocument/2006/relationships/tags" Target="../tags/tag1381.xml"/><Relationship Id="rId54" Type="http://schemas.openxmlformats.org/officeDocument/2006/relationships/tags" Target="../tags/tag1394.xml"/><Relationship Id="rId62" Type="http://schemas.openxmlformats.org/officeDocument/2006/relationships/tags" Target="../tags/tag1402.xml"/><Relationship Id="rId1" Type="http://schemas.openxmlformats.org/officeDocument/2006/relationships/tags" Target="../tags/tag1341.xml"/><Relationship Id="rId6" Type="http://schemas.openxmlformats.org/officeDocument/2006/relationships/tags" Target="../tags/tag1346.xml"/><Relationship Id="rId15" Type="http://schemas.openxmlformats.org/officeDocument/2006/relationships/tags" Target="../tags/tag1355.xml"/><Relationship Id="rId23" Type="http://schemas.openxmlformats.org/officeDocument/2006/relationships/tags" Target="../tags/tag1363.xml"/><Relationship Id="rId28" Type="http://schemas.openxmlformats.org/officeDocument/2006/relationships/tags" Target="../tags/tag1368.xml"/><Relationship Id="rId36" Type="http://schemas.openxmlformats.org/officeDocument/2006/relationships/tags" Target="../tags/tag1376.xml"/><Relationship Id="rId49" Type="http://schemas.openxmlformats.org/officeDocument/2006/relationships/tags" Target="../tags/tag1389.xml"/><Relationship Id="rId57" Type="http://schemas.openxmlformats.org/officeDocument/2006/relationships/tags" Target="../tags/tag1397.xml"/><Relationship Id="rId10" Type="http://schemas.openxmlformats.org/officeDocument/2006/relationships/tags" Target="../tags/tag1350.xml"/><Relationship Id="rId31" Type="http://schemas.openxmlformats.org/officeDocument/2006/relationships/tags" Target="../tags/tag1371.xml"/><Relationship Id="rId44" Type="http://schemas.openxmlformats.org/officeDocument/2006/relationships/tags" Target="../tags/tag1384.xml"/><Relationship Id="rId52" Type="http://schemas.openxmlformats.org/officeDocument/2006/relationships/tags" Target="../tags/tag1392.xml"/><Relationship Id="rId60" Type="http://schemas.openxmlformats.org/officeDocument/2006/relationships/tags" Target="../tags/tag1400.xml"/><Relationship Id="rId65" Type="http://schemas.openxmlformats.org/officeDocument/2006/relationships/notesSlide" Target="../notesSlides/notesSlide7.xml"/><Relationship Id="rId4" Type="http://schemas.openxmlformats.org/officeDocument/2006/relationships/tags" Target="../tags/tag1344.xml"/><Relationship Id="rId9" Type="http://schemas.openxmlformats.org/officeDocument/2006/relationships/tags" Target="../tags/tag1349.xml"/><Relationship Id="rId13" Type="http://schemas.openxmlformats.org/officeDocument/2006/relationships/tags" Target="../tags/tag1353.xml"/><Relationship Id="rId18" Type="http://schemas.openxmlformats.org/officeDocument/2006/relationships/tags" Target="../tags/tag1358.xml"/><Relationship Id="rId39" Type="http://schemas.openxmlformats.org/officeDocument/2006/relationships/tags" Target="../tags/tag1379.xml"/></Relationships>
</file>

<file path=ppt/slides/_rels/slide13.xml.rels><?xml version="1.0" encoding="UTF-8" standalone="yes"?>
<Relationships xmlns="http://schemas.openxmlformats.org/package/2006/relationships"><Relationship Id="rId13" Type="http://schemas.openxmlformats.org/officeDocument/2006/relationships/tags" Target="../tags/tag1416.xml"/><Relationship Id="rId18" Type="http://schemas.openxmlformats.org/officeDocument/2006/relationships/tags" Target="../tags/tag1421.xml"/><Relationship Id="rId26" Type="http://schemas.openxmlformats.org/officeDocument/2006/relationships/tags" Target="../tags/tag1429.xml"/><Relationship Id="rId39" Type="http://schemas.openxmlformats.org/officeDocument/2006/relationships/tags" Target="../tags/tag1442.xml"/><Relationship Id="rId21" Type="http://schemas.openxmlformats.org/officeDocument/2006/relationships/tags" Target="../tags/tag1424.xml"/><Relationship Id="rId34" Type="http://schemas.openxmlformats.org/officeDocument/2006/relationships/tags" Target="../tags/tag1437.xml"/><Relationship Id="rId42" Type="http://schemas.openxmlformats.org/officeDocument/2006/relationships/notesSlide" Target="../notesSlides/notesSlide8.xml"/><Relationship Id="rId47" Type="http://schemas.openxmlformats.org/officeDocument/2006/relationships/image" Target="../media/image46.svg"/><Relationship Id="rId7" Type="http://schemas.openxmlformats.org/officeDocument/2006/relationships/tags" Target="../tags/tag1410.xml"/><Relationship Id="rId2" Type="http://schemas.openxmlformats.org/officeDocument/2006/relationships/tags" Target="../tags/tag1405.xml"/><Relationship Id="rId16" Type="http://schemas.openxmlformats.org/officeDocument/2006/relationships/tags" Target="../tags/tag1419.xml"/><Relationship Id="rId29" Type="http://schemas.openxmlformats.org/officeDocument/2006/relationships/tags" Target="../tags/tag1432.xml"/><Relationship Id="rId1" Type="http://schemas.openxmlformats.org/officeDocument/2006/relationships/tags" Target="../tags/tag1404.xml"/><Relationship Id="rId6" Type="http://schemas.openxmlformats.org/officeDocument/2006/relationships/tags" Target="../tags/tag1409.xml"/><Relationship Id="rId11" Type="http://schemas.openxmlformats.org/officeDocument/2006/relationships/tags" Target="../tags/tag1414.xml"/><Relationship Id="rId24" Type="http://schemas.openxmlformats.org/officeDocument/2006/relationships/tags" Target="../tags/tag1427.xml"/><Relationship Id="rId32" Type="http://schemas.openxmlformats.org/officeDocument/2006/relationships/tags" Target="../tags/tag1435.xml"/><Relationship Id="rId37" Type="http://schemas.openxmlformats.org/officeDocument/2006/relationships/tags" Target="../tags/tag1440.xml"/><Relationship Id="rId40" Type="http://schemas.openxmlformats.org/officeDocument/2006/relationships/tags" Target="../tags/tag1443.xml"/><Relationship Id="rId45" Type="http://schemas.openxmlformats.org/officeDocument/2006/relationships/chart" Target="../charts/chart14.xml"/><Relationship Id="rId5" Type="http://schemas.openxmlformats.org/officeDocument/2006/relationships/tags" Target="../tags/tag1408.xml"/><Relationship Id="rId15" Type="http://schemas.openxmlformats.org/officeDocument/2006/relationships/tags" Target="../tags/tag1418.xml"/><Relationship Id="rId23" Type="http://schemas.openxmlformats.org/officeDocument/2006/relationships/tags" Target="../tags/tag1426.xml"/><Relationship Id="rId28" Type="http://schemas.openxmlformats.org/officeDocument/2006/relationships/tags" Target="../tags/tag1431.xml"/><Relationship Id="rId36" Type="http://schemas.openxmlformats.org/officeDocument/2006/relationships/tags" Target="../tags/tag1439.xml"/><Relationship Id="rId10" Type="http://schemas.openxmlformats.org/officeDocument/2006/relationships/tags" Target="../tags/tag1413.xml"/><Relationship Id="rId19" Type="http://schemas.openxmlformats.org/officeDocument/2006/relationships/tags" Target="../tags/tag1422.xml"/><Relationship Id="rId31" Type="http://schemas.openxmlformats.org/officeDocument/2006/relationships/tags" Target="../tags/tag1434.xml"/><Relationship Id="rId44" Type="http://schemas.openxmlformats.org/officeDocument/2006/relationships/image" Target="../media/image8.emf"/><Relationship Id="rId4" Type="http://schemas.openxmlformats.org/officeDocument/2006/relationships/tags" Target="../tags/tag1407.xml"/><Relationship Id="rId9" Type="http://schemas.openxmlformats.org/officeDocument/2006/relationships/tags" Target="../tags/tag1412.xml"/><Relationship Id="rId14" Type="http://schemas.openxmlformats.org/officeDocument/2006/relationships/tags" Target="../tags/tag1417.xml"/><Relationship Id="rId22" Type="http://schemas.openxmlformats.org/officeDocument/2006/relationships/tags" Target="../tags/tag1425.xml"/><Relationship Id="rId27" Type="http://schemas.openxmlformats.org/officeDocument/2006/relationships/tags" Target="../tags/tag1430.xml"/><Relationship Id="rId30" Type="http://schemas.openxmlformats.org/officeDocument/2006/relationships/tags" Target="../tags/tag1433.xml"/><Relationship Id="rId35" Type="http://schemas.openxmlformats.org/officeDocument/2006/relationships/tags" Target="../tags/tag1438.xml"/><Relationship Id="rId43" Type="http://schemas.openxmlformats.org/officeDocument/2006/relationships/oleObject" Target="../embeddings/oleObject156.bin"/><Relationship Id="rId48" Type="http://schemas.openxmlformats.org/officeDocument/2006/relationships/image" Target="../media/image2.wmf"/><Relationship Id="rId8" Type="http://schemas.openxmlformats.org/officeDocument/2006/relationships/tags" Target="../tags/tag1411.xml"/><Relationship Id="rId3" Type="http://schemas.openxmlformats.org/officeDocument/2006/relationships/tags" Target="../tags/tag1406.xml"/><Relationship Id="rId12" Type="http://schemas.openxmlformats.org/officeDocument/2006/relationships/tags" Target="../tags/tag1415.xml"/><Relationship Id="rId17" Type="http://schemas.openxmlformats.org/officeDocument/2006/relationships/tags" Target="../tags/tag1420.xml"/><Relationship Id="rId25" Type="http://schemas.openxmlformats.org/officeDocument/2006/relationships/tags" Target="../tags/tag1428.xml"/><Relationship Id="rId33" Type="http://schemas.openxmlformats.org/officeDocument/2006/relationships/tags" Target="../tags/tag1436.xml"/><Relationship Id="rId38" Type="http://schemas.openxmlformats.org/officeDocument/2006/relationships/tags" Target="../tags/tag1441.xml"/><Relationship Id="rId46" Type="http://schemas.openxmlformats.org/officeDocument/2006/relationships/image" Target="../media/image45.png"/><Relationship Id="rId20" Type="http://schemas.openxmlformats.org/officeDocument/2006/relationships/tags" Target="../tags/tag1423.xml"/><Relationship Id="rId41" Type="http://schemas.openxmlformats.org/officeDocument/2006/relationships/slideLayout" Target="../slideLayouts/slideLayout41.xml"/></Relationships>
</file>

<file path=ppt/slides/_rels/slide14.xml.rels><?xml version="1.0" encoding="UTF-8" standalone="yes"?>
<Relationships xmlns="http://schemas.openxmlformats.org/package/2006/relationships"><Relationship Id="rId8" Type="http://schemas.openxmlformats.org/officeDocument/2006/relationships/tags" Target="../tags/tag1451.xml"/><Relationship Id="rId13" Type="http://schemas.openxmlformats.org/officeDocument/2006/relationships/image" Target="../media/image47.jpeg"/><Relationship Id="rId18" Type="http://schemas.openxmlformats.org/officeDocument/2006/relationships/image" Target="../media/image52.png"/><Relationship Id="rId3" Type="http://schemas.openxmlformats.org/officeDocument/2006/relationships/tags" Target="../tags/tag1446.xml"/><Relationship Id="rId21" Type="http://schemas.openxmlformats.org/officeDocument/2006/relationships/image" Target="../media/image55.svg"/><Relationship Id="rId7" Type="http://schemas.openxmlformats.org/officeDocument/2006/relationships/tags" Target="../tags/tag1450.xml"/><Relationship Id="rId12" Type="http://schemas.openxmlformats.org/officeDocument/2006/relationships/image" Target="../media/image8.emf"/><Relationship Id="rId17" Type="http://schemas.openxmlformats.org/officeDocument/2006/relationships/image" Target="../media/image51.svg"/><Relationship Id="rId2" Type="http://schemas.openxmlformats.org/officeDocument/2006/relationships/tags" Target="../tags/tag1445.xml"/><Relationship Id="rId16" Type="http://schemas.openxmlformats.org/officeDocument/2006/relationships/image" Target="../media/image50.png"/><Relationship Id="rId20" Type="http://schemas.openxmlformats.org/officeDocument/2006/relationships/image" Target="../media/image54.png"/><Relationship Id="rId1" Type="http://schemas.openxmlformats.org/officeDocument/2006/relationships/tags" Target="../tags/tag1444.xml"/><Relationship Id="rId6" Type="http://schemas.openxmlformats.org/officeDocument/2006/relationships/tags" Target="../tags/tag1449.xml"/><Relationship Id="rId11" Type="http://schemas.openxmlformats.org/officeDocument/2006/relationships/oleObject" Target="../embeddings/oleObject157.bin"/><Relationship Id="rId5" Type="http://schemas.openxmlformats.org/officeDocument/2006/relationships/tags" Target="../tags/tag1448.xml"/><Relationship Id="rId15" Type="http://schemas.openxmlformats.org/officeDocument/2006/relationships/image" Target="../media/image49.svg"/><Relationship Id="rId10" Type="http://schemas.openxmlformats.org/officeDocument/2006/relationships/notesSlide" Target="../notesSlides/notesSlide9.xml"/><Relationship Id="rId19" Type="http://schemas.openxmlformats.org/officeDocument/2006/relationships/image" Target="../media/image53.svg"/><Relationship Id="rId4" Type="http://schemas.openxmlformats.org/officeDocument/2006/relationships/tags" Target="../tags/tag1447.xml"/><Relationship Id="rId9" Type="http://schemas.openxmlformats.org/officeDocument/2006/relationships/slideLayout" Target="../slideLayouts/slideLayout109.xml"/><Relationship Id="rId14" Type="http://schemas.openxmlformats.org/officeDocument/2006/relationships/image" Target="../media/image48.png"/><Relationship Id="rId22" Type="http://schemas.openxmlformats.org/officeDocument/2006/relationships/image" Target="../media/image2.wmf"/></Relationships>
</file>

<file path=ppt/slides/_rels/slide15.xml.rels><?xml version="1.0" encoding="UTF-8" standalone="yes"?>
<Relationships xmlns="http://schemas.openxmlformats.org/package/2006/relationships"><Relationship Id="rId26" Type="http://schemas.openxmlformats.org/officeDocument/2006/relationships/tags" Target="../tags/tag1477.xml"/><Relationship Id="rId21" Type="http://schemas.openxmlformats.org/officeDocument/2006/relationships/tags" Target="../tags/tag1472.xml"/><Relationship Id="rId42" Type="http://schemas.openxmlformats.org/officeDocument/2006/relationships/tags" Target="../tags/tag1493.xml"/><Relationship Id="rId47" Type="http://schemas.openxmlformats.org/officeDocument/2006/relationships/tags" Target="../tags/tag1498.xml"/><Relationship Id="rId63" Type="http://schemas.openxmlformats.org/officeDocument/2006/relationships/tags" Target="../tags/tag1514.xml"/><Relationship Id="rId68" Type="http://schemas.openxmlformats.org/officeDocument/2006/relationships/tags" Target="../tags/tag1519.xml"/><Relationship Id="rId84" Type="http://schemas.openxmlformats.org/officeDocument/2006/relationships/tags" Target="../tags/tag1535.xml"/><Relationship Id="rId89" Type="http://schemas.openxmlformats.org/officeDocument/2006/relationships/tags" Target="../tags/tag1540.xml"/><Relationship Id="rId16" Type="http://schemas.openxmlformats.org/officeDocument/2006/relationships/tags" Target="../tags/tag1467.xml"/><Relationship Id="rId11" Type="http://schemas.openxmlformats.org/officeDocument/2006/relationships/tags" Target="../tags/tag1462.xml"/><Relationship Id="rId32" Type="http://schemas.openxmlformats.org/officeDocument/2006/relationships/tags" Target="../tags/tag1483.xml"/><Relationship Id="rId37" Type="http://schemas.openxmlformats.org/officeDocument/2006/relationships/tags" Target="../tags/tag1488.xml"/><Relationship Id="rId53" Type="http://schemas.openxmlformats.org/officeDocument/2006/relationships/tags" Target="../tags/tag1504.xml"/><Relationship Id="rId58" Type="http://schemas.openxmlformats.org/officeDocument/2006/relationships/tags" Target="../tags/tag1509.xml"/><Relationship Id="rId74" Type="http://schemas.openxmlformats.org/officeDocument/2006/relationships/tags" Target="../tags/tag1525.xml"/><Relationship Id="rId79" Type="http://schemas.openxmlformats.org/officeDocument/2006/relationships/tags" Target="../tags/tag1530.xml"/><Relationship Id="rId102" Type="http://schemas.openxmlformats.org/officeDocument/2006/relationships/image" Target="../media/image45.png"/><Relationship Id="rId5" Type="http://schemas.openxmlformats.org/officeDocument/2006/relationships/tags" Target="../tags/tag1456.xml"/><Relationship Id="rId90" Type="http://schemas.openxmlformats.org/officeDocument/2006/relationships/tags" Target="../tags/tag1541.xml"/><Relationship Id="rId95" Type="http://schemas.openxmlformats.org/officeDocument/2006/relationships/tags" Target="../tags/tag1546.xml"/><Relationship Id="rId22" Type="http://schemas.openxmlformats.org/officeDocument/2006/relationships/tags" Target="../tags/tag1473.xml"/><Relationship Id="rId27" Type="http://schemas.openxmlformats.org/officeDocument/2006/relationships/tags" Target="../tags/tag1478.xml"/><Relationship Id="rId43" Type="http://schemas.openxmlformats.org/officeDocument/2006/relationships/tags" Target="../tags/tag1494.xml"/><Relationship Id="rId48" Type="http://schemas.openxmlformats.org/officeDocument/2006/relationships/tags" Target="../tags/tag1499.xml"/><Relationship Id="rId64" Type="http://schemas.openxmlformats.org/officeDocument/2006/relationships/tags" Target="../tags/tag1515.xml"/><Relationship Id="rId69" Type="http://schemas.openxmlformats.org/officeDocument/2006/relationships/tags" Target="../tags/tag1520.xml"/><Relationship Id="rId80" Type="http://schemas.openxmlformats.org/officeDocument/2006/relationships/tags" Target="../tags/tag1531.xml"/><Relationship Id="rId85" Type="http://schemas.openxmlformats.org/officeDocument/2006/relationships/tags" Target="../tags/tag1536.xml"/><Relationship Id="rId12" Type="http://schemas.openxmlformats.org/officeDocument/2006/relationships/tags" Target="../tags/tag1463.xml"/><Relationship Id="rId17" Type="http://schemas.openxmlformats.org/officeDocument/2006/relationships/tags" Target="../tags/tag1468.xml"/><Relationship Id="rId25" Type="http://schemas.openxmlformats.org/officeDocument/2006/relationships/tags" Target="../tags/tag1476.xml"/><Relationship Id="rId33" Type="http://schemas.openxmlformats.org/officeDocument/2006/relationships/tags" Target="../tags/tag1484.xml"/><Relationship Id="rId38" Type="http://schemas.openxmlformats.org/officeDocument/2006/relationships/tags" Target="../tags/tag1489.xml"/><Relationship Id="rId46" Type="http://schemas.openxmlformats.org/officeDocument/2006/relationships/tags" Target="../tags/tag1497.xml"/><Relationship Id="rId59" Type="http://schemas.openxmlformats.org/officeDocument/2006/relationships/tags" Target="../tags/tag1510.xml"/><Relationship Id="rId67" Type="http://schemas.openxmlformats.org/officeDocument/2006/relationships/tags" Target="../tags/tag1518.xml"/><Relationship Id="rId103" Type="http://schemas.openxmlformats.org/officeDocument/2006/relationships/image" Target="../media/image46.svg"/><Relationship Id="rId20" Type="http://schemas.openxmlformats.org/officeDocument/2006/relationships/tags" Target="../tags/tag1471.xml"/><Relationship Id="rId41" Type="http://schemas.openxmlformats.org/officeDocument/2006/relationships/tags" Target="../tags/tag1492.xml"/><Relationship Id="rId54" Type="http://schemas.openxmlformats.org/officeDocument/2006/relationships/tags" Target="../tags/tag1505.xml"/><Relationship Id="rId62" Type="http://schemas.openxmlformats.org/officeDocument/2006/relationships/tags" Target="../tags/tag1513.xml"/><Relationship Id="rId70" Type="http://schemas.openxmlformats.org/officeDocument/2006/relationships/tags" Target="../tags/tag1521.xml"/><Relationship Id="rId75" Type="http://schemas.openxmlformats.org/officeDocument/2006/relationships/tags" Target="../tags/tag1526.xml"/><Relationship Id="rId83" Type="http://schemas.openxmlformats.org/officeDocument/2006/relationships/tags" Target="../tags/tag1534.xml"/><Relationship Id="rId88" Type="http://schemas.openxmlformats.org/officeDocument/2006/relationships/tags" Target="../tags/tag1539.xml"/><Relationship Id="rId91" Type="http://schemas.openxmlformats.org/officeDocument/2006/relationships/tags" Target="../tags/tag1542.xml"/><Relationship Id="rId96" Type="http://schemas.openxmlformats.org/officeDocument/2006/relationships/slideLayout" Target="../slideLayouts/slideLayout51.xml"/><Relationship Id="rId1" Type="http://schemas.openxmlformats.org/officeDocument/2006/relationships/tags" Target="../tags/tag1452.xml"/><Relationship Id="rId6" Type="http://schemas.openxmlformats.org/officeDocument/2006/relationships/tags" Target="../tags/tag1457.xml"/><Relationship Id="rId15" Type="http://schemas.openxmlformats.org/officeDocument/2006/relationships/tags" Target="../tags/tag1466.xml"/><Relationship Id="rId23" Type="http://schemas.openxmlformats.org/officeDocument/2006/relationships/tags" Target="../tags/tag1474.xml"/><Relationship Id="rId28" Type="http://schemas.openxmlformats.org/officeDocument/2006/relationships/tags" Target="../tags/tag1479.xml"/><Relationship Id="rId36" Type="http://schemas.openxmlformats.org/officeDocument/2006/relationships/tags" Target="../tags/tag1487.xml"/><Relationship Id="rId49" Type="http://schemas.openxmlformats.org/officeDocument/2006/relationships/tags" Target="../tags/tag1500.xml"/><Relationship Id="rId57" Type="http://schemas.openxmlformats.org/officeDocument/2006/relationships/tags" Target="../tags/tag1508.xml"/><Relationship Id="rId10" Type="http://schemas.openxmlformats.org/officeDocument/2006/relationships/tags" Target="../tags/tag1461.xml"/><Relationship Id="rId31" Type="http://schemas.openxmlformats.org/officeDocument/2006/relationships/tags" Target="../tags/tag1482.xml"/><Relationship Id="rId44" Type="http://schemas.openxmlformats.org/officeDocument/2006/relationships/tags" Target="../tags/tag1495.xml"/><Relationship Id="rId52" Type="http://schemas.openxmlformats.org/officeDocument/2006/relationships/tags" Target="../tags/tag1503.xml"/><Relationship Id="rId60" Type="http://schemas.openxmlformats.org/officeDocument/2006/relationships/tags" Target="../tags/tag1511.xml"/><Relationship Id="rId65" Type="http://schemas.openxmlformats.org/officeDocument/2006/relationships/tags" Target="../tags/tag1516.xml"/><Relationship Id="rId73" Type="http://schemas.openxmlformats.org/officeDocument/2006/relationships/tags" Target="../tags/tag1524.xml"/><Relationship Id="rId78" Type="http://schemas.openxmlformats.org/officeDocument/2006/relationships/tags" Target="../tags/tag1529.xml"/><Relationship Id="rId81" Type="http://schemas.openxmlformats.org/officeDocument/2006/relationships/tags" Target="../tags/tag1532.xml"/><Relationship Id="rId86" Type="http://schemas.openxmlformats.org/officeDocument/2006/relationships/tags" Target="../tags/tag1537.xml"/><Relationship Id="rId94" Type="http://schemas.openxmlformats.org/officeDocument/2006/relationships/tags" Target="../tags/tag1545.xml"/><Relationship Id="rId99" Type="http://schemas.openxmlformats.org/officeDocument/2006/relationships/image" Target="../media/image1.emf"/><Relationship Id="rId101" Type="http://schemas.openxmlformats.org/officeDocument/2006/relationships/image" Target="../media/image56.png"/><Relationship Id="rId4" Type="http://schemas.openxmlformats.org/officeDocument/2006/relationships/tags" Target="../tags/tag1455.xml"/><Relationship Id="rId9" Type="http://schemas.openxmlformats.org/officeDocument/2006/relationships/tags" Target="../tags/tag1460.xml"/><Relationship Id="rId13" Type="http://schemas.openxmlformats.org/officeDocument/2006/relationships/tags" Target="../tags/tag1464.xml"/><Relationship Id="rId18" Type="http://schemas.openxmlformats.org/officeDocument/2006/relationships/tags" Target="../tags/tag1469.xml"/><Relationship Id="rId39" Type="http://schemas.openxmlformats.org/officeDocument/2006/relationships/tags" Target="../tags/tag1490.xml"/><Relationship Id="rId34" Type="http://schemas.openxmlformats.org/officeDocument/2006/relationships/tags" Target="../tags/tag1485.xml"/><Relationship Id="rId50" Type="http://schemas.openxmlformats.org/officeDocument/2006/relationships/tags" Target="../tags/tag1501.xml"/><Relationship Id="rId55" Type="http://schemas.openxmlformats.org/officeDocument/2006/relationships/tags" Target="../tags/tag1506.xml"/><Relationship Id="rId76" Type="http://schemas.openxmlformats.org/officeDocument/2006/relationships/tags" Target="../tags/tag1527.xml"/><Relationship Id="rId97" Type="http://schemas.openxmlformats.org/officeDocument/2006/relationships/notesSlide" Target="../notesSlides/notesSlide10.xml"/><Relationship Id="rId7" Type="http://schemas.openxmlformats.org/officeDocument/2006/relationships/tags" Target="../tags/tag1458.xml"/><Relationship Id="rId71" Type="http://schemas.openxmlformats.org/officeDocument/2006/relationships/tags" Target="../tags/tag1522.xml"/><Relationship Id="rId92" Type="http://schemas.openxmlformats.org/officeDocument/2006/relationships/tags" Target="../tags/tag1543.xml"/><Relationship Id="rId2" Type="http://schemas.openxmlformats.org/officeDocument/2006/relationships/tags" Target="../tags/tag1453.xml"/><Relationship Id="rId29" Type="http://schemas.openxmlformats.org/officeDocument/2006/relationships/tags" Target="../tags/tag1480.xml"/><Relationship Id="rId24" Type="http://schemas.openxmlformats.org/officeDocument/2006/relationships/tags" Target="../tags/tag1475.xml"/><Relationship Id="rId40" Type="http://schemas.openxmlformats.org/officeDocument/2006/relationships/tags" Target="../tags/tag1491.xml"/><Relationship Id="rId45" Type="http://schemas.openxmlformats.org/officeDocument/2006/relationships/tags" Target="../tags/tag1496.xml"/><Relationship Id="rId66" Type="http://schemas.openxmlformats.org/officeDocument/2006/relationships/tags" Target="../tags/tag1517.xml"/><Relationship Id="rId87" Type="http://schemas.openxmlformats.org/officeDocument/2006/relationships/tags" Target="../tags/tag1538.xml"/><Relationship Id="rId61" Type="http://schemas.openxmlformats.org/officeDocument/2006/relationships/tags" Target="../tags/tag1512.xml"/><Relationship Id="rId82" Type="http://schemas.openxmlformats.org/officeDocument/2006/relationships/tags" Target="../tags/tag1533.xml"/><Relationship Id="rId19" Type="http://schemas.openxmlformats.org/officeDocument/2006/relationships/tags" Target="../tags/tag1470.xml"/><Relationship Id="rId14" Type="http://schemas.openxmlformats.org/officeDocument/2006/relationships/tags" Target="../tags/tag1465.xml"/><Relationship Id="rId30" Type="http://schemas.openxmlformats.org/officeDocument/2006/relationships/tags" Target="../tags/tag1481.xml"/><Relationship Id="rId35" Type="http://schemas.openxmlformats.org/officeDocument/2006/relationships/tags" Target="../tags/tag1486.xml"/><Relationship Id="rId56" Type="http://schemas.openxmlformats.org/officeDocument/2006/relationships/tags" Target="../tags/tag1507.xml"/><Relationship Id="rId77" Type="http://schemas.openxmlformats.org/officeDocument/2006/relationships/tags" Target="../tags/tag1528.xml"/><Relationship Id="rId100" Type="http://schemas.openxmlformats.org/officeDocument/2006/relationships/chart" Target="../charts/chart15.xml"/><Relationship Id="rId8" Type="http://schemas.openxmlformats.org/officeDocument/2006/relationships/tags" Target="../tags/tag1459.xml"/><Relationship Id="rId51" Type="http://schemas.openxmlformats.org/officeDocument/2006/relationships/tags" Target="../tags/tag1502.xml"/><Relationship Id="rId72" Type="http://schemas.openxmlformats.org/officeDocument/2006/relationships/tags" Target="../tags/tag1523.xml"/><Relationship Id="rId93" Type="http://schemas.openxmlformats.org/officeDocument/2006/relationships/tags" Target="../tags/tag1544.xml"/><Relationship Id="rId98" Type="http://schemas.openxmlformats.org/officeDocument/2006/relationships/oleObject" Target="../embeddings/oleObject158.bin"/><Relationship Id="rId3" Type="http://schemas.openxmlformats.org/officeDocument/2006/relationships/tags" Target="../tags/tag1454.xml"/></Relationships>
</file>

<file path=ppt/slides/_rels/slide16.xml.rels><?xml version="1.0" encoding="UTF-8" standalone="yes"?>
<Relationships xmlns="http://schemas.openxmlformats.org/package/2006/relationships"><Relationship Id="rId26" Type="http://schemas.openxmlformats.org/officeDocument/2006/relationships/tags" Target="../tags/tag1572.xml"/><Relationship Id="rId21" Type="http://schemas.openxmlformats.org/officeDocument/2006/relationships/tags" Target="../tags/tag1567.xml"/><Relationship Id="rId42" Type="http://schemas.openxmlformats.org/officeDocument/2006/relationships/tags" Target="../tags/tag1588.xml"/><Relationship Id="rId47" Type="http://schemas.openxmlformats.org/officeDocument/2006/relationships/tags" Target="../tags/tag1593.xml"/><Relationship Id="rId63" Type="http://schemas.openxmlformats.org/officeDocument/2006/relationships/slideLayout" Target="../slideLayouts/slideLayout51.xml"/><Relationship Id="rId68" Type="http://schemas.openxmlformats.org/officeDocument/2006/relationships/image" Target="../media/image48.png"/><Relationship Id="rId7" Type="http://schemas.openxmlformats.org/officeDocument/2006/relationships/tags" Target="../tags/tag1553.xml"/><Relationship Id="rId2" Type="http://schemas.openxmlformats.org/officeDocument/2006/relationships/tags" Target="../tags/tag1548.xml"/><Relationship Id="rId16" Type="http://schemas.openxmlformats.org/officeDocument/2006/relationships/tags" Target="../tags/tag1562.xml"/><Relationship Id="rId29" Type="http://schemas.openxmlformats.org/officeDocument/2006/relationships/tags" Target="../tags/tag1575.xml"/><Relationship Id="rId11" Type="http://schemas.openxmlformats.org/officeDocument/2006/relationships/tags" Target="../tags/tag1557.xml"/><Relationship Id="rId24" Type="http://schemas.openxmlformats.org/officeDocument/2006/relationships/tags" Target="../tags/tag1570.xml"/><Relationship Id="rId32" Type="http://schemas.openxmlformats.org/officeDocument/2006/relationships/tags" Target="../tags/tag1578.xml"/><Relationship Id="rId37" Type="http://schemas.openxmlformats.org/officeDocument/2006/relationships/tags" Target="../tags/tag1583.xml"/><Relationship Id="rId40" Type="http://schemas.openxmlformats.org/officeDocument/2006/relationships/tags" Target="../tags/tag1586.xml"/><Relationship Id="rId45" Type="http://schemas.openxmlformats.org/officeDocument/2006/relationships/tags" Target="../tags/tag1591.xml"/><Relationship Id="rId53" Type="http://schemas.openxmlformats.org/officeDocument/2006/relationships/tags" Target="../tags/tag1599.xml"/><Relationship Id="rId58" Type="http://schemas.openxmlformats.org/officeDocument/2006/relationships/tags" Target="../tags/tag1604.xml"/><Relationship Id="rId66" Type="http://schemas.openxmlformats.org/officeDocument/2006/relationships/image" Target="../media/image8.emf"/><Relationship Id="rId5" Type="http://schemas.openxmlformats.org/officeDocument/2006/relationships/tags" Target="../tags/tag1551.xml"/><Relationship Id="rId61" Type="http://schemas.openxmlformats.org/officeDocument/2006/relationships/tags" Target="../tags/tag1607.xml"/><Relationship Id="rId19" Type="http://schemas.openxmlformats.org/officeDocument/2006/relationships/tags" Target="../tags/tag1565.xml"/><Relationship Id="rId14" Type="http://schemas.openxmlformats.org/officeDocument/2006/relationships/tags" Target="../tags/tag1560.xml"/><Relationship Id="rId22" Type="http://schemas.openxmlformats.org/officeDocument/2006/relationships/tags" Target="../tags/tag1568.xml"/><Relationship Id="rId27" Type="http://schemas.openxmlformats.org/officeDocument/2006/relationships/tags" Target="../tags/tag1573.xml"/><Relationship Id="rId30" Type="http://schemas.openxmlformats.org/officeDocument/2006/relationships/tags" Target="../tags/tag1576.xml"/><Relationship Id="rId35" Type="http://schemas.openxmlformats.org/officeDocument/2006/relationships/tags" Target="../tags/tag1581.xml"/><Relationship Id="rId43" Type="http://schemas.openxmlformats.org/officeDocument/2006/relationships/tags" Target="../tags/tag1589.xml"/><Relationship Id="rId48" Type="http://schemas.openxmlformats.org/officeDocument/2006/relationships/tags" Target="../tags/tag1594.xml"/><Relationship Id="rId56" Type="http://schemas.openxmlformats.org/officeDocument/2006/relationships/tags" Target="../tags/tag1602.xml"/><Relationship Id="rId64" Type="http://schemas.openxmlformats.org/officeDocument/2006/relationships/notesSlide" Target="../notesSlides/notesSlide11.xml"/><Relationship Id="rId69" Type="http://schemas.openxmlformats.org/officeDocument/2006/relationships/image" Target="../media/image57.svg"/><Relationship Id="rId8" Type="http://schemas.openxmlformats.org/officeDocument/2006/relationships/tags" Target="../tags/tag1554.xml"/><Relationship Id="rId51" Type="http://schemas.openxmlformats.org/officeDocument/2006/relationships/tags" Target="../tags/tag1597.xml"/><Relationship Id="rId3" Type="http://schemas.openxmlformats.org/officeDocument/2006/relationships/tags" Target="../tags/tag1549.xml"/><Relationship Id="rId12" Type="http://schemas.openxmlformats.org/officeDocument/2006/relationships/tags" Target="../tags/tag1558.xml"/><Relationship Id="rId17" Type="http://schemas.openxmlformats.org/officeDocument/2006/relationships/tags" Target="../tags/tag1563.xml"/><Relationship Id="rId25" Type="http://schemas.openxmlformats.org/officeDocument/2006/relationships/tags" Target="../tags/tag1571.xml"/><Relationship Id="rId33" Type="http://schemas.openxmlformats.org/officeDocument/2006/relationships/tags" Target="../tags/tag1579.xml"/><Relationship Id="rId38" Type="http://schemas.openxmlformats.org/officeDocument/2006/relationships/tags" Target="../tags/tag1584.xml"/><Relationship Id="rId46" Type="http://schemas.openxmlformats.org/officeDocument/2006/relationships/tags" Target="../tags/tag1592.xml"/><Relationship Id="rId59" Type="http://schemas.openxmlformats.org/officeDocument/2006/relationships/tags" Target="../tags/tag1605.xml"/><Relationship Id="rId67" Type="http://schemas.openxmlformats.org/officeDocument/2006/relationships/chart" Target="../charts/chart16.xml"/><Relationship Id="rId20" Type="http://schemas.openxmlformats.org/officeDocument/2006/relationships/tags" Target="../tags/tag1566.xml"/><Relationship Id="rId41" Type="http://schemas.openxmlformats.org/officeDocument/2006/relationships/tags" Target="../tags/tag1587.xml"/><Relationship Id="rId54" Type="http://schemas.openxmlformats.org/officeDocument/2006/relationships/tags" Target="../tags/tag1600.xml"/><Relationship Id="rId62" Type="http://schemas.openxmlformats.org/officeDocument/2006/relationships/tags" Target="../tags/tag1608.xml"/><Relationship Id="rId1" Type="http://schemas.openxmlformats.org/officeDocument/2006/relationships/tags" Target="../tags/tag1547.xml"/><Relationship Id="rId6" Type="http://schemas.openxmlformats.org/officeDocument/2006/relationships/tags" Target="../tags/tag1552.xml"/><Relationship Id="rId15" Type="http://schemas.openxmlformats.org/officeDocument/2006/relationships/tags" Target="../tags/tag1561.xml"/><Relationship Id="rId23" Type="http://schemas.openxmlformats.org/officeDocument/2006/relationships/tags" Target="../tags/tag1569.xml"/><Relationship Id="rId28" Type="http://schemas.openxmlformats.org/officeDocument/2006/relationships/tags" Target="../tags/tag1574.xml"/><Relationship Id="rId36" Type="http://schemas.openxmlformats.org/officeDocument/2006/relationships/tags" Target="../tags/tag1582.xml"/><Relationship Id="rId49" Type="http://schemas.openxmlformats.org/officeDocument/2006/relationships/tags" Target="../tags/tag1595.xml"/><Relationship Id="rId57" Type="http://schemas.openxmlformats.org/officeDocument/2006/relationships/tags" Target="../tags/tag1603.xml"/><Relationship Id="rId10" Type="http://schemas.openxmlformats.org/officeDocument/2006/relationships/tags" Target="../tags/tag1556.xml"/><Relationship Id="rId31" Type="http://schemas.openxmlformats.org/officeDocument/2006/relationships/tags" Target="../tags/tag1577.xml"/><Relationship Id="rId44" Type="http://schemas.openxmlformats.org/officeDocument/2006/relationships/tags" Target="../tags/tag1590.xml"/><Relationship Id="rId52" Type="http://schemas.openxmlformats.org/officeDocument/2006/relationships/tags" Target="../tags/tag1598.xml"/><Relationship Id="rId60" Type="http://schemas.openxmlformats.org/officeDocument/2006/relationships/tags" Target="../tags/tag1606.xml"/><Relationship Id="rId65" Type="http://schemas.openxmlformats.org/officeDocument/2006/relationships/oleObject" Target="../embeddings/oleObject159.bin"/><Relationship Id="rId4" Type="http://schemas.openxmlformats.org/officeDocument/2006/relationships/tags" Target="../tags/tag1550.xml"/><Relationship Id="rId9" Type="http://schemas.openxmlformats.org/officeDocument/2006/relationships/tags" Target="../tags/tag1555.xml"/><Relationship Id="rId13" Type="http://schemas.openxmlformats.org/officeDocument/2006/relationships/tags" Target="../tags/tag1559.xml"/><Relationship Id="rId18" Type="http://schemas.openxmlformats.org/officeDocument/2006/relationships/tags" Target="../tags/tag1564.xml"/><Relationship Id="rId39" Type="http://schemas.openxmlformats.org/officeDocument/2006/relationships/tags" Target="../tags/tag1585.xml"/><Relationship Id="rId34" Type="http://schemas.openxmlformats.org/officeDocument/2006/relationships/tags" Target="../tags/tag1580.xml"/><Relationship Id="rId50" Type="http://schemas.openxmlformats.org/officeDocument/2006/relationships/tags" Target="../tags/tag1596.xml"/><Relationship Id="rId55" Type="http://schemas.openxmlformats.org/officeDocument/2006/relationships/tags" Target="../tags/tag1601.xml"/></Relationships>
</file>

<file path=ppt/slides/_rels/slide17.xml.rels><?xml version="1.0" encoding="UTF-8" standalone="yes"?>
<Relationships xmlns="http://schemas.openxmlformats.org/package/2006/relationships"><Relationship Id="rId13" Type="http://schemas.openxmlformats.org/officeDocument/2006/relationships/tags" Target="../tags/tag1621.xml"/><Relationship Id="rId18" Type="http://schemas.openxmlformats.org/officeDocument/2006/relationships/tags" Target="../tags/tag1626.xml"/><Relationship Id="rId26" Type="http://schemas.openxmlformats.org/officeDocument/2006/relationships/tags" Target="../tags/tag1634.xml"/><Relationship Id="rId39" Type="http://schemas.openxmlformats.org/officeDocument/2006/relationships/tags" Target="../tags/tag1647.xml"/><Relationship Id="rId21" Type="http://schemas.openxmlformats.org/officeDocument/2006/relationships/tags" Target="../tags/tag1629.xml"/><Relationship Id="rId34" Type="http://schemas.openxmlformats.org/officeDocument/2006/relationships/tags" Target="../tags/tag1642.xml"/><Relationship Id="rId42" Type="http://schemas.openxmlformats.org/officeDocument/2006/relationships/tags" Target="../tags/tag1650.xml"/><Relationship Id="rId47" Type="http://schemas.openxmlformats.org/officeDocument/2006/relationships/tags" Target="../tags/tag1655.xml"/><Relationship Id="rId50" Type="http://schemas.openxmlformats.org/officeDocument/2006/relationships/tags" Target="../tags/tag1658.xml"/><Relationship Id="rId55" Type="http://schemas.openxmlformats.org/officeDocument/2006/relationships/tags" Target="../tags/tag1663.xml"/><Relationship Id="rId63" Type="http://schemas.openxmlformats.org/officeDocument/2006/relationships/image" Target="../media/image58.svg"/><Relationship Id="rId7" Type="http://schemas.openxmlformats.org/officeDocument/2006/relationships/tags" Target="../tags/tag1615.xml"/><Relationship Id="rId2" Type="http://schemas.openxmlformats.org/officeDocument/2006/relationships/tags" Target="../tags/tag1610.xml"/><Relationship Id="rId16" Type="http://schemas.openxmlformats.org/officeDocument/2006/relationships/tags" Target="../tags/tag1624.xml"/><Relationship Id="rId29" Type="http://schemas.openxmlformats.org/officeDocument/2006/relationships/tags" Target="../tags/tag1637.xml"/><Relationship Id="rId11" Type="http://schemas.openxmlformats.org/officeDocument/2006/relationships/tags" Target="../tags/tag1619.xml"/><Relationship Id="rId24" Type="http://schemas.openxmlformats.org/officeDocument/2006/relationships/tags" Target="../tags/tag1632.xml"/><Relationship Id="rId32" Type="http://schemas.openxmlformats.org/officeDocument/2006/relationships/tags" Target="../tags/tag1640.xml"/><Relationship Id="rId37" Type="http://schemas.openxmlformats.org/officeDocument/2006/relationships/tags" Target="../tags/tag1645.xml"/><Relationship Id="rId40" Type="http://schemas.openxmlformats.org/officeDocument/2006/relationships/tags" Target="../tags/tag1648.xml"/><Relationship Id="rId45" Type="http://schemas.openxmlformats.org/officeDocument/2006/relationships/tags" Target="../tags/tag1653.xml"/><Relationship Id="rId53" Type="http://schemas.openxmlformats.org/officeDocument/2006/relationships/tags" Target="../tags/tag1661.xml"/><Relationship Id="rId58" Type="http://schemas.openxmlformats.org/officeDocument/2006/relationships/notesSlide" Target="../notesSlides/notesSlide12.xml"/><Relationship Id="rId5" Type="http://schemas.openxmlformats.org/officeDocument/2006/relationships/tags" Target="../tags/tag1613.xml"/><Relationship Id="rId61" Type="http://schemas.openxmlformats.org/officeDocument/2006/relationships/chart" Target="../charts/chart17.xml"/><Relationship Id="rId19" Type="http://schemas.openxmlformats.org/officeDocument/2006/relationships/tags" Target="../tags/tag1627.xml"/><Relationship Id="rId14" Type="http://schemas.openxmlformats.org/officeDocument/2006/relationships/tags" Target="../tags/tag1622.xml"/><Relationship Id="rId22" Type="http://schemas.openxmlformats.org/officeDocument/2006/relationships/tags" Target="../tags/tag1630.xml"/><Relationship Id="rId27" Type="http://schemas.openxmlformats.org/officeDocument/2006/relationships/tags" Target="../tags/tag1635.xml"/><Relationship Id="rId30" Type="http://schemas.openxmlformats.org/officeDocument/2006/relationships/tags" Target="../tags/tag1638.xml"/><Relationship Id="rId35" Type="http://schemas.openxmlformats.org/officeDocument/2006/relationships/tags" Target="../tags/tag1643.xml"/><Relationship Id="rId43" Type="http://schemas.openxmlformats.org/officeDocument/2006/relationships/tags" Target="../tags/tag1651.xml"/><Relationship Id="rId48" Type="http://schemas.openxmlformats.org/officeDocument/2006/relationships/tags" Target="../tags/tag1656.xml"/><Relationship Id="rId56" Type="http://schemas.openxmlformats.org/officeDocument/2006/relationships/tags" Target="../tags/tag1664.xml"/><Relationship Id="rId8" Type="http://schemas.openxmlformats.org/officeDocument/2006/relationships/tags" Target="../tags/tag1616.xml"/><Relationship Id="rId51" Type="http://schemas.openxmlformats.org/officeDocument/2006/relationships/tags" Target="../tags/tag1659.xml"/><Relationship Id="rId3" Type="http://schemas.openxmlformats.org/officeDocument/2006/relationships/tags" Target="../tags/tag1611.xml"/><Relationship Id="rId12" Type="http://schemas.openxmlformats.org/officeDocument/2006/relationships/tags" Target="../tags/tag1620.xml"/><Relationship Id="rId17" Type="http://schemas.openxmlformats.org/officeDocument/2006/relationships/tags" Target="../tags/tag1625.xml"/><Relationship Id="rId25" Type="http://schemas.openxmlformats.org/officeDocument/2006/relationships/tags" Target="../tags/tag1633.xml"/><Relationship Id="rId33" Type="http://schemas.openxmlformats.org/officeDocument/2006/relationships/tags" Target="../tags/tag1641.xml"/><Relationship Id="rId38" Type="http://schemas.openxmlformats.org/officeDocument/2006/relationships/tags" Target="../tags/tag1646.xml"/><Relationship Id="rId46" Type="http://schemas.openxmlformats.org/officeDocument/2006/relationships/tags" Target="../tags/tag1654.xml"/><Relationship Id="rId59" Type="http://schemas.openxmlformats.org/officeDocument/2006/relationships/oleObject" Target="../embeddings/oleObject160.bin"/><Relationship Id="rId20" Type="http://schemas.openxmlformats.org/officeDocument/2006/relationships/tags" Target="../tags/tag1628.xml"/><Relationship Id="rId41" Type="http://schemas.openxmlformats.org/officeDocument/2006/relationships/tags" Target="../tags/tag1649.xml"/><Relationship Id="rId54" Type="http://schemas.openxmlformats.org/officeDocument/2006/relationships/tags" Target="../tags/tag1662.xml"/><Relationship Id="rId62" Type="http://schemas.openxmlformats.org/officeDocument/2006/relationships/image" Target="../media/image50.png"/><Relationship Id="rId1" Type="http://schemas.openxmlformats.org/officeDocument/2006/relationships/tags" Target="../tags/tag1609.xml"/><Relationship Id="rId6" Type="http://schemas.openxmlformats.org/officeDocument/2006/relationships/tags" Target="../tags/tag1614.xml"/><Relationship Id="rId15" Type="http://schemas.openxmlformats.org/officeDocument/2006/relationships/tags" Target="../tags/tag1623.xml"/><Relationship Id="rId23" Type="http://schemas.openxmlformats.org/officeDocument/2006/relationships/tags" Target="../tags/tag1631.xml"/><Relationship Id="rId28" Type="http://schemas.openxmlformats.org/officeDocument/2006/relationships/tags" Target="../tags/tag1636.xml"/><Relationship Id="rId36" Type="http://schemas.openxmlformats.org/officeDocument/2006/relationships/tags" Target="../tags/tag1644.xml"/><Relationship Id="rId49" Type="http://schemas.openxmlformats.org/officeDocument/2006/relationships/tags" Target="../tags/tag1657.xml"/><Relationship Id="rId57" Type="http://schemas.openxmlformats.org/officeDocument/2006/relationships/slideLayout" Target="../slideLayouts/slideLayout51.xml"/><Relationship Id="rId10" Type="http://schemas.openxmlformats.org/officeDocument/2006/relationships/tags" Target="../tags/tag1618.xml"/><Relationship Id="rId31" Type="http://schemas.openxmlformats.org/officeDocument/2006/relationships/tags" Target="../tags/tag1639.xml"/><Relationship Id="rId44" Type="http://schemas.openxmlformats.org/officeDocument/2006/relationships/tags" Target="../tags/tag1652.xml"/><Relationship Id="rId52" Type="http://schemas.openxmlformats.org/officeDocument/2006/relationships/tags" Target="../tags/tag1660.xml"/><Relationship Id="rId60" Type="http://schemas.openxmlformats.org/officeDocument/2006/relationships/image" Target="../media/image8.emf"/><Relationship Id="rId4" Type="http://schemas.openxmlformats.org/officeDocument/2006/relationships/tags" Target="../tags/tag1612.xml"/><Relationship Id="rId9" Type="http://schemas.openxmlformats.org/officeDocument/2006/relationships/tags" Target="../tags/tag1617.xml"/></Relationships>
</file>

<file path=ppt/slides/_rels/slide18.xml.rels><?xml version="1.0" encoding="UTF-8" standalone="yes"?>
<Relationships xmlns="http://schemas.openxmlformats.org/package/2006/relationships"><Relationship Id="rId13" Type="http://schemas.openxmlformats.org/officeDocument/2006/relationships/tags" Target="../tags/tag1677.xml"/><Relationship Id="rId18" Type="http://schemas.openxmlformats.org/officeDocument/2006/relationships/tags" Target="../tags/tag1682.xml"/><Relationship Id="rId26" Type="http://schemas.openxmlformats.org/officeDocument/2006/relationships/tags" Target="../tags/tag1690.xml"/><Relationship Id="rId39" Type="http://schemas.openxmlformats.org/officeDocument/2006/relationships/tags" Target="../tags/tag1703.xml"/><Relationship Id="rId21" Type="http://schemas.openxmlformats.org/officeDocument/2006/relationships/tags" Target="../tags/tag1685.xml"/><Relationship Id="rId34" Type="http://schemas.openxmlformats.org/officeDocument/2006/relationships/tags" Target="../tags/tag1698.xml"/><Relationship Id="rId42" Type="http://schemas.openxmlformats.org/officeDocument/2006/relationships/tags" Target="../tags/tag1706.xml"/><Relationship Id="rId47" Type="http://schemas.openxmlformats.org/officeDocument/2006/relationships/oleObject" Target="../embeddings/oleObject161.bin"/><Relationship Id="rId7" Type="http://schemas.openxmlformats.org/officeDocument/2006/relationships/tags" Target="../tags/tag1671.xml"/><Relationship Id="rId2" Type="http://schemas.openxmlformats.org/officeDocument/2006/relationships/tags" Target="../tags/tag1666.xml"/><Relationship Id="rId16" Type="http://schemas.openxmlformats.org/officeDocument/2006/relationships/tags" Target="../tags/tag1680.xml"/><Relationship Id="rId29" Type="http://schemas.openxmlformats.org/officeDocument/2006/relationships/tags" Target="../tags/tag1693.xml"/><Relationship Id="rId11" Type="http://schemas.openxmlformats.org/officeDocument/2006/relationships/tags" Target="../tags/tag1675.xml"/><Relationship Id="rId24" Type="http://schemas.openxmlformats.org/officeDocument/2006/relationships/tags" Target="../tags/tag1688.xml"/><Relationship Id="rId32" Type="http://schemas.openxmlformats.org/officeDocument/2006/relationships/tags" Target="../tags/tag1696.xml"/><Relationship Id="rId37" Type="http://schemas.openxmlformats.org/officeDocument/2006/relationships/tags" Target="../tags/tag1701.xml"/><Relationship Id="rId40" Type="http://schemas.openxmlformats.org/officeDocument/2006/relationships/tags" Target="../tags/tag1704.xml"/><Relationship Id="rId45" Type="http://schemas.openxmlformats.org/officeDocument/2006/relationships/tags" Target="../tags/tag1709.xml"/><Relationship Id="rId5" Type="http://schemas.openxmlformats.org/officeDocument/2006/relationships/tags" Target="../tags/tag1669.xml"/><Relationship Id="rId15" Type="http://schemas.openxmlformats.org/officeDocument/2006/relationships/tags" Target="../tags/tag1679.xml"/><Relationship Id="rId23" Type="http://schemas.openxmlformats.org/officeDocument/2006/relationships/tags" Target="../tags/tag1687.xml"/><Relationship Id="rId28" Type="http://schemas.openxmlformats.org/officeDocument/2006/relationships/tags" Target="../tags/tag1692.xml"/><Relationship Id="rId36" Type="http://schemas.openxmlformats.org/officeDocument/2006/relationships/tags" Target="../tags/tag1700.xml"/><Relationship Id="rId49" Type="http://schemas.openxmlformats.org/officeDocument/2006/relationships/chart" Target="../charts/chart18.xml"/><Relationship Id="rId10" Type="http://schemas.openxmlformats.org/officeDocument/2006/relationships/tags" Target="../tags/tag1674.xml"/><Relationship Id="rId19" Type="http://schemas.openxmlformats.org/officeDocument/2006/relationships/tags" Target="../tags/tag1683.xml"/><Relationship Id="rId31" Type="http://schemas.openxmlformats.org/officeDocument/2006/relationships/tags" Target="../tags/tag1695.xml"/><Relationship Id="rId44" Type="http://schemas.openxmlformats.org/officeDocument/2006/relationships/tags" Target="../tags/tag1708.xml"/><Relationship Id="rId4" Type="http://schemas.openxmlformats.org/officeDocument/2006/relationships/tags" Target="../tags/tag1668.xml"/><Relationship Id="rId9" Type="http://schemas.openxmlformats.org/officeDocument/2006/relationships/tags" Target="../tags/tag1673.xml"/><Relationship Id="rId14" Type="http://schemas.openxmlformats.org/officeDocument/2006/relationships/tags" Target="../tags/tag1678.xml"/><Relationship Id="rId22" Type="http://schemas.openxmlformats.org/officeDocument/2006/relationships/tags" Target="../tags/tag1686.xml"/><Relationship Id="rId27" Type="http://schemas.openxmlformats.org/officeDocument/2006/relationships/tags" Target="../tags/tag1691.xml"/><Relationship Id="rId30" Type="http://schemas.openxmlformats.org/officeDocument/2006/relationships/tags" Target="../tags/tag1694.xml"/><Relationship Id="rId35" Type="http://schemas.openxmlformats.org/officeDocument/2006/relationships/tags" Target="../tags/tag1699.xml"/><Relationship Id="rId43" Type="http://schemas.openxmlformats.org/officeDocument/2006/relationships/tags" Target="../tags/tag1707.xml"/><Relationship Id="rId48" Type="http://schemas.openxmlformats.org/officeDocument/2006/relationships/image" Target="../media/image59.emf"/><Relationship Id="rId8" Type="http://schemas.openxmlformats.org/officeDocument/2006/relationships/tags" Target="../tags/tag1672.xml"/><Relationship Id="rId3" Type="http://schemas.openxmlformats.org/officeDocument/2006/relationships/tags" Target="../tags/tag1667.xml"/><Relationship Id="rId12" Type="http://schemas.openxmlformats.org/officeDocument/2006/relationships/tags" Target="../tags/tag1676.xml"/><Relationship Id="rId17" Type="http://schemas.openxmlformats.org/officeDocument/2006/relationships/tags" Target="../tags/tag1681.xml"/><Relationship Id="rId25" Type="http://schemas.openxmlformats.org/officeDocument/2006/relationships/tags" Target="../tags/tag1689.xml"/><Relationship Id="rId33" Type="http://schemas.openxmlformats.org/officeDocument/2006/relationships/tags" Target="../tags/tag1697.xml"/><Relationship Id="rId38" Type="http://schemas.openxmlformats.org/officeDocument/2006/relationships/tags" Target="../tags/tag1702.xml"/><Relationship Id="rId46" Type="http://schemas.openxmlformats.org/officeDocument/2006/relationships/slideLayout" Target="../slideLayouts/slideLayout41.xml"/><Relationship Id="rId20" Type="http://schemas.openxmlformats.org/officeDocument/2006/relationships/tags" Target="../tags/tag1684.xml"/><Relationship Id="rId41" Type="http://schemas.openxmlformats.org/officeDocument/2006/relationships/tags" Target="../tags/tag1705.xml"/><Relationship Id="rId1" Type="http://schemas.openxmlformats.org/officeDocument/2006/relationships/tags" Target="../tags/tag1665.xml"/><Relationship Id="rId6" Type="http://schemas.openxmlformats.org/officeDocument/2006/relationships/tags" Target="../tags/tag1670.xml"/></Relationships>
</file>

<file path=ppt/slides/_rels/slide19.xml.rels><?xml version="1.0" encoding="UTF-8" standalone="yes"?>
<Relationships xmlns="http://schemas.openxmlformats.org/package/2006/relationships"><Relationship Id="rId8" Type="http://schemas.openxmlformats.org/officeDocument/2006/relationships/image" Target="../media/image61.svg"/><Relationship Id="rId13" Type="http://schemas.microsoft.com/office/2007/relationships/hdphoto" Target="../media/hdphoto1.wdp"/><Relationship Id="rId3" Type="http://schemas.openxmlformats.org/officeDocument/2006/relationships/tags" Target="../tags/tag1712.xml"/><Relationship Id="rId7" Type="http://schemas.openxmlformats.org/officeDocument/2006/relationships/image" Target="../media/image60.png"/><Relationship Id="rId12" Type="http://schemas.openxmlformats.org/officeDocument/2006/relationships/image" Target="../media/image65.png"/><Relationship Id="rId2" Type="http://schemas.openxmlformats.org/officeDocument/2006/relationships/tags" Target="../tags/tag1711.xml"/><Relationship Id="rId1" Type="http://schemas.openxmlformats.org/officeDocument/2006/relationships/tags" Target="../tags/tag1710.xml"/><Relationship Id="rId6" Type="http://schemas.openxmlformats.org/officeDocument/2006/relationships/image" Target="../media/image8.emf"/><Relationship Id="rId11" Type="http://schemas.openxmlformats.org/officeDocument/2006/relationships/image" Target="../media/image64.png"/><Relationship Id="rId5" Type="http://schemas.openxmlformats.org/officeDocument/2006/relationships/oleObject" Target="../embeddings/oleObject162.bin"/><Relationship Id="rId10" Type="http://schemas.openxmlformats.org/officeDocument/2006/relationships/image" Target="../media/image63.jpeg"/><Relationship Id="rId4" Type="http://schemas.openxmlformats.org/officeDocument/2006/relationships/slideLayout" Target="../slideLayouts/slideLayout51.xml"/><Relationship Id="rId9" Type="http://schemas.openxmlformats.org/officeDocument/2006/relationships/image" Target="../media/image62.jpeg"/></Relationships>
</file>

<file path=ppt/slides/_rels/slide2.xml.rels><?xml version="1.0" encoding="UTF-8" standalone="yes"?>
<Relationships xmlns="http://schemas.openxmlformats.org/package/2006/relationships"><Relationship Id="rId13" Type="http://schemas.openxmlformats.org/officeDocument/2006/relationships/tags" Target="../tags/tag968.xml"/><Relationship Id="rId18" Type="http://schemas.openxmlformats.org/officeDocument/2006/relationships/tags" Target="../tags/tag973.xml"/><Relationship Id="rId26" Type="http://schemas.openxmlformats.org/officeDocument/2006/relationships/slideLayout" Target="../slideLayouts/slideLayout2.xml"/><Relationship Id="rId39" Type="http://schemas.openxmlformats.org/officeDocument/2006/relationships/image" Target="../media/image23.png"/><Relationship Id="rId21" Type="http://schemas.openxmlformats.org/officeDocument/2006/relationships/tags" Target="../tags/tag976.xml"/><Relationship Id="rId34" Type="http://schemas.openxmlformats.org/officeDocument/2006/relationships/image" Target="../media/image18.svg"/><Relationship Id="rId42" Type="http://schemas.openxmlformats.org/officeDocument/2006/relationships/image" Target="../media/image26.svg"/><Relationship Id="rId7" Type="http://schemas.openxmlformats.org/officeDocument/2006/relationships/tags" Target="../tags/tag962.xml"/><Relationship Id="rId2" Type="http://schemas.openxmlformats.org/officeDocument/2006/relationships/tags" Target="../tags/tag957.xml"/><Relationship Id="rId16" Type="http://schemas.openxmlformats.org/officeDocument/2006/relationships/tags" Target="../tags/tag971.xml"/><Relationship Id="rId20" Type="http://schemas.openxmlformats.org/officeDocument/2006/relationships/tags" Target="../tags/tag975.xml"/><Relationship Id="rId29" Type="http://schemas.openxmlformats.org/officeDocument/2006/relationships/image" Target="../media/image8.emf"/><Relationship Id="rId41" Type="http://schemas.openxmlformats.org/officeDocument/2006/relationships/image" Target="../media/image25.png"/><Relationship Id="rId1" Type="http://schemas.openxmlformats.org/officeDocument/2006/relationships/tags" Target="../tags/tag956.xml"/><Relationship Id="rId6" Type="http://schemas.openxmlformats.org/officeDocument/2006/relationships/tags" Target="../tags/tag961.xml"/><Relationship Id="rId11" Type="http://schemas.openxmlformats.org/officeDocument/2006/relationships/tags" Target="../tags/tag966.xml"/><Relationship Id="rId24" Type="http://schemas.openxmlformats.org/officeDocument/2006/relationships/tags" Target="../tags/tag979.xml"/><Relationship Id="rId32" Type="http://schemas.openxmlformats.org/officeDocument/2006/relationships/image" Target="../media/image16.svg"/><Relationship Id="rId37" Type="http://schemas.openxmlformats.org/officeDocument/2006/relationships/image" Target="../media/image21.png"/><Relationship Id="rId40" Type="http://schemas.openxmlformats.org/officeDocument/2006/relationships/image" Target="../media/image24.svg"/><Relationship Id="rId5" Type="http://schemas.openxmlformats.org/officeDocument/2006/relationships/tags" Target="../tags/tag960.xml"/><Relationship Id="rId15" Type="http://schemas.openxmlformats.org/officeDocument/2006/relationships/tags" Target="../tags/tag970.xml"/><Relationship Id="rId23" Type="http://schemas.openxmlformats.org/officeDocument/2006/relationships/tags" Target="../tags/tag978.xml"/><Relationship Id="rId28" Type="http://schemas.openxmlformats.org/officeDocument/2006/relationships/oleObject" Target="../embeddings/oleObject147.bin"/><Relationship Id="rId36" Type="http://schemas.openxmlformats.org/officeDocument/2006/relationships/image" Target="../media/image20.svg"/><Relationship Id="rId10" Type="http://schemas.openxmlformats.org/officeDocument/2006/relationships/tags" Target="../tags/tag965.xml"/><Relationship Id="rId19" Type="http://schemas.openxmlformats.org/officeDocument/2006/relationships/tags" Target="../tags/tag974.xml"/><Relationship Id="rId31" Type="http://schemas.openxmlformats.org/officeDocument/2006/relationships/image" Target="../media/image15.png"/><Relationship Id="rId4" Type="http://schemas.openxmlformats.org/officeDocument/2006/relationships/tags" Target="../tags/tag959.xml"/><Relationship Id="rId9" Type="http://schemas.openxmlformats.org/officeDocument/2006/relationships/tags" Target="../tags/tag964.xml"/><Relationship Id="rId14" Type="http://schemas.openxmlformats.org/officeDocument/2006/relationships/tags" Target="../tags/tag969.xml"/><Relationship Id="rId22" Type="http://schemas.openxmlformats.org/officeDocument/2006/relationships/tags" Target="../tags/tag977.xml"/><Relationship Id="rId27" Type="http://schemas.openxmlformats.org/officeDocument/2006/relationships/notesSlide" Target="../notesSlides/notesSlide2.xml"/><Relationship Id="rId30" Type="http://schemas.openxmlformats.org/officeDocument/2006/relationships/chart" Target="../charts/chart1.xml"/><Relationship Id="rId35" Type="http://schemas.openxmlformats.org/officeDocument/2006/relationships/image" Target="../media/image19.png"/><Relationship Id="rId8" Type="http://schemas.openxmlformats.org/officeDocument/2006/relationships/tags" Target="../tags/tag963.xml"/><Relationship Id="rId3" Type="http://schemas.openxmlformats.org/officeDocument/2006/relationships/tags" Target="../tags/tag958.xml"/><Relationship Id="rId12" Type="http://schemas.openxmlformats.org/officeDocument/2006/relationships/tags" Target="../tags/tag967.xml"/><Relationship Id="rId17" Type="http://schemas.openxmlformats.org/officeDocument/2006/relationships/tags" Target="../tags/tag972.xml"/><Relationship Id="rId25" Type="http://schemas.openxmlformats.org/officeDocument/2006/relationships/tags" Target="../tags/tag980.xml"/><Relationship Id="rId33" Type="http://schemas.openxmlformats.org/officeDocument/2006/relationships/image" Target="../media/image17.png"/><Relationship Id="rId38" Type="http://schemas.openxmlformats.org/officeDocument/2006/relationships/image" Target="../media/image22.svg"/></Relationships>
</file>

<file path=ppt/slides/_rels/slide20.xml.rels><?xml version="1.0" encoding="UTF-8" standalone="yes"?>
<Relationships xmlns="http://schemas.openxmlformats.org/package/2006/relationships"><Relationship Id="rId13" Type="http://schemas.openxmlformats.org/officeDocument/2006/relationships/tags" Target="../tags/tag1725.xml"/><Relationship Id="rId18" Type="http://schemas.openxmlformats.org/officeDocument/2006/relationships/image" Target="../media/image50.png"/><Relationship Id="rId26" Type="http://schemas.openxmlformats.org/officeDocument/2006/relationships/image" Target="../media/image72.png"/><Relationship Id="rId21" Type="http://schemas.openxmlformats.org/officeDocument/2006/relationships/image" Target="../media/image67.svg"/><Relationship Id="rId34" Type="http://schemas.openxmlformats.org/officeDocument/2006/relationships/image" Target="../media/image45.png"/><Relationship Id="rId7" Type="http://schemas.openxmlformats.org/officeDocument/2006/relationships/tags" Target="../tags/tag1719.xml"/><Relationship Id="rId12" Type="http://schemas.openxmlformats.org/officeDocument/2006/relationships/tags" Target="../tags/tag1724.xml"/><Relationship Id="rId17" Type="http://schemas.openxmlformats.org/officeDocument/2006/relationships/image" Target="../media/image8.emf"/><Relationship Id="rId25" Type="http://schemas.openxmlformats.org/officeDocument/2006/relationships/image" Target="../media/image71.svg"/><Relationship Id="rId33" Type="http://schemas.openxmlformats.org/officeDocument/2006/relationships/image" Target="../media/image79.svg"/><Relationship Id="rId2" Type="http://schemas.openxmlformats.org/officeDocument/2006/relationships/tags" Target="../tags/tag1714.xml"/><Relationship Id="rId16" Type="http://schemas.openxmlformats.org/officeDocument/2006/relationships/oleObject" Target="../embeddings/oleObject163.bin"/><Relationship Id="rId20" Type="http://schemas.openxmlformats.org/officeDocument/2006/relationships/image" Target="../media/image66.png"/><Relationship Id="rId29" Type="http://schemas.openxmlformats.org/officeDocument/2006/relationships/image" Target="../media/image75.svg"/><Relationship Id="rId1" Type="http://schemas.openxmlformats.org/officeDocument/2006/relationships/tags" Target="../tags/tag1713.xml"/><Relationship Id="rId6" Type="http://schemas.openxmlformats.org/officeDocument/2006/relationships/tags" Target="../tags/tag1718.xml"/><Relationship Id="rId11" Type="http://schemas.openxmlformats.org/officeDocument/2006/relationships/tags" Target="../tags/tag1723.xml"/><Relationship Id="rId24" Type="http://schemas.openxmlformats.org/officeDocument/2006/relationships/image" Target="../media/image70.png"/><Relationship Id="rId32" Type="http://schemas.openxmlformats.org/officeDocument/2006/relationships/image" Target="../media/image78.png"/><Relationship Id="rId37" Type="http://schemas.openxmlformats.org/officeDocument/2006/relationships/image" Target="../media/image81.svg"/><Relationship Id="rId5" Type="http://schemas.openxmlformats.org/officeDocument/2006/relationships/tags" Target="../tags/tag1717.xml"/><Relationship Id="rId15" Type="http://schemas.openxmlformats.org/officeDocument/2006/relationships/notesSlide" Target="../notesSlides/notesSlide13.xml"/><Relationship Id="rId23" Type="http://schemas.openxmlformats.org/officeDocument/2006/relationships/image" Target="../media/image69.svg"/><Relationship Id="rId28" Type="http://schemas.openxmlformats.org/officeDocument/2006/relationships/image" Target="../media/image74.png"/><Relationship Id="rId36" Type="http://schemas.openxmlformats.org/officeDocument/2006/relationships/image" Target="../media/image80.png"/><Relationship Id="rId10" Type="http://schemas.openxmlformats.org/officeDocument/2006/relationships/tags" Target="../tags/tag1722.xml"/><Relationship Id="rId19" Type="http://schemas.openxmlformats.org/officeDocument/2006/relationships/image" Target="../media/image58.svg"/><Relationship Id="rId31" Type="http://schemas.openxmlformats.org/officeDocument/2006/relationships/image" Target="../media/image77.svg"/><Relationship Id="rId4" Type="http://schemas.openxmlformats.org/officeDocument/2006/relationships/tags" Target="../tags/tag1716.xml"/><Relationship Id="rId9" Type="http://schemas.openxmlformats.org/officeDocument/2006/relationships/tags" Target="../tags/tag1721.xml"/><Relationship Id="rId14" Type="http://schemas.openxmlformats.org/officeDocument/2006/relationships/slideLayout" Target="../slideLayouts/slideLayout51.xml"/><Relationship Id="rId22" Type="http://schemas.openxmlformats.org/officeDocument/2006/relationships/image" Target="../media/image68.png"/><Relationship Id="rId27" Type="http://schemas.openxmlformats.org/officeDocument/2006/relationships/image" Target="../media/image73.svg"/><Relationship Id="rId30" Type="http://schemas.openxmlformats.org/officeDocument/2006/relationships/image" Target="../media/image76.png"/><Relationship Id="rId35" Type="http://schemas.openxmlformats.org/officeDocument/2006/relationships/image" Target="../media/image46.svg"/><Relationship Id="rId8" Type="http://schemas.openxmlformats.org/officeDocument/2006/relationships/tags" Target="../tags/tag1720.xml"/><Relationship Id="rId3" Type="http://schemas.openxmlformats.org/officeDocument/2006/relationships/tags" Target="../tags/tag1715.xml"/></Relationships>
</file>

<file path=ppt/slides/_rels/slide21.xml.rels><?xml version="1.0" encoding="UTF-8" standalone="yes"?>
<Relationships xmlns="http://schemas.openxmlformats.org/package/2006/relationships"><Relationship Id="rId13" Type="http://schemas.openxmlformats.org/officeDocument/2006/relationships/tags" Target="../tags/tag1738.xml"/><Relationship Id="rId18" Type="http://schemas.openxmlformats.org/officeDocument/2006/relationships/tags" Target="../tags/tag1743.xml"/><Relationship Id="rId26" Type="http://schemas.openxmlformats.org/officeDocument/2006/relationships/tags" Target="../tags/tag1751.xml"/><Relationship Id="rId39" Type="http://schemas.openxmlformats.org/officeDocument/2006/relationships/image" Target="../media/image8.emf"/><Relationship Id="rId21" Type="http://schemas.openxmlformats.org/officeDocument/2006/relationships/tags" Target="../tags/tag1746.xml"/><Relationship Id="rId34" Type="http://schemas.openxmlformats.org/officeDocument/2006/relationships/tags" Target="../tags/tag1759.xml"/><Relationship Id="rId42" Type="http://schemas.openxmlformats.org/officeDocument/2006/relationships/image" Target="../media/image34.svg"/><Relationship Id="rId7" Type="http://schemas.openxmlformats.org/officeDocument/2006/relationships/tags" Target="../tags/tag1732.xml"/><Relationship Id="rId2" Type="http://schemas.openxmlformats.org/officeDocument/2006/relationships/tags" Target="../tags/tag1727.xml"/><Relationship Id="rId16" Type="http://schemas.openxmlformats.org/officeDocument/2006/relationships/tags" Target="../tags/tag1741.xml"/><Relationship Id="rId20" Type="http://schemas.openxmlformats.org/officeDocument/2006/relationships/tags" Target="../tags/tag1745.xml"/><Relationship Id="rId29" Type="http://schemas.openxmlformats.org/officeDocument/2006/relationships/tags" Target="../tags/tag1754.xml"/><Relationship Id="rId41" Type="http://schemas.openxmlformats.org/officeDocument/2006/relationships/image" Target="../media/image33.png"/><Relationship Id="rId1" Type="http://schemas.openxmlformats.org/officeDocument/2006/relationships/tags" Target="../tags/tag1726.xml"/><Relationship Id="rId6" Type="http://schemas.openxmlformats.org/officeDocument/2006/relationships/tags" Target="../tags/tag1731.xml"/><Relationship Id="rId11" Type="http://schemas.openxmlformats.org/officeDocument/2006/relationships/tags" Target="../tags/tag1736.xml"/><Relationship Id="rId24" Type="http://schemas.openxmlformats.org/officeDocument/2006/relationships/tags" Target="../tags/tag1749.xml"/><Relationship Id="rId32" Type="http://schemas.openxmlformats.org/officeDocument/2006/relationships/tags" Target="../tags/tag1757.xml"/><Relationship Id="rId37" Type="http://schemas.openxmlformats.org/officeDocument/2006/relationships/notesSlide" Target="../notesSlides/notesSlide14.xml"/><Relationship Id="rId40" Type="http://schemas.openxmlformats.org/officeDocument/2006/relationships/chart" Target="../charts/chart19.xml"/><Relationship Id="rId5" Type="http://schemas.openxmlformats.org/officeDocument/2006/relationships/tags" Target="../tags/tag1730.xml"/><Relationship Id="rId15" Type="http://schemas.openxmlformats.org/officeDocument/2006/relationships/tags" Target="../tags/tag1740.xml"/><Relationship Id="rId23" Type="http://schemas.openxmlformats.org/officeDocument/2006/relationships/tags" Target="../tags/tag1748.xml"/><Relationship Id="rId28" Type="http://schemas.openxmlformats.org/officeDocument/2006/relationships/tags" Target="../tags/tag1753.xml"/><Relationship Id="rId36" Type="http://schemas.openxmlformats.org/officeDocument/2006/relationships/slideLayout" Target="../slideLayouts/slideLayout136.xml"/><Relationship Id="rId10" Type="http://schemas.openxmlformats.org/officeDocument/2006/relationships/tags" Target="../tags/tag1735.xml"/><Relationship Id="rId19" Type="http://schemas.openxmlformats.org/officeDocument/2006/relationships/tags" Target="../tags/tag1744.xml"/><Relationship Id="rId31" Type="http://schemas.openxmlformats.org/officeDocument/2006/relationships/tags" Target="../tags/tag1756.xml"/><Relationship Id="rId4" Type="http://schemas.openxmlformats.org/officeDocument/2006/relationships/tags" Target="../tags/tag1729.xml"/><Relationship Id="rId9" Type="http://schemas.openxmlformats.org/officeDocument/2006/relationships/tags" Target="../tags/tag1734.xml"/><Relationship Id="rId14" Type="http://schemas.openxmlformats.org/officeDocument/2006/relationships/tags" Target="../tags/tag1739.xml"/><Relationship Id="rId22" Type="http://schemas.openxmlformats.org/officeDocument/2006/relationships/tags" Target="../tags/tag1747.xml"/><Relationship Id="rId27" Type="http://schemas.openxmlformats.org/officeDocument/2006/relationships/tags" Target="../tags/tag1752.xml"/><Relationship Id="rId30" Type="http://schemas.openxmlformats.org/officeDocument/2006/relationships/tags" Target="../tags/tag1755.xml"/><Relationship Id="rId35" Type="http://schemas.openxmlformats.org/officeDocument/2006/relationships/tags" Target="../tags/tag1760.xml"/><Relationship Id="rId8" Type="http://schemas.openxmlformats.org/officeDocument/2006/relationships/tags" Target="../tags/tag1733.xml"/><Relationship Id="rId3" Type="http://schemas.openxmlformats.org/officeDocument/2006/relationships/tags" Target="../tags/tag1728.xml"/><Relationship Id="rId12" Type="http://schemas.openxmlformats.org/officeDocument/2006/relationships/tags" Target="../tags/tag1737.xml"/><Relationship Id="rId17" Type="http://schemas.openxmlformats.org/officeDocument/2006/relationships/tags" Target="../tags/tag1742.xml"/><Relationship Id="rId25" Type="http://schemas.openxmlformats.org/officeDocument/2006/relationships/tags" Target="../tags/tag1750.xml"/><Relationship Id="rId33" Type="http://schemas.openxmlformats.org/officeDocument/2006/relationships/tags" Target="../tags/tag1758.xml"/><Relationship Id="rId38" Type="http://schemas.openxmlformats.org/officeDocument/2006/relationships/oleObject" Target="../embeddings/oleObject164.bin"/></Relationships>
</file>

<file path=ppt/slides/_rels/slide22.xml.rels><?xml version="1.0" encoding="UTF-8" standalone="yes"?>
<Relationships xmlns="http://schemas.openxmlformats.org/package/2006/relationships"><Relationship Id="rId13" Type="http://schemas.openxmlformats.org/officeDocument/2006/relationships/tags" Target="../tags/tag1773.xml"/><Relationship Id="rId18" Type="http://schemas.openxmlformats.org/officeDocument/2006/relationships/tags" Target="../tags/tag1778.xml"/><Relationship Id="rId26" Type="http://schemas.openxmlformats.org/officeDocument/2006/relationships/tags" Target="../tags/tag1786.xml"/><Relationship Id="rId3" Type="http://schemas.openxmlformats.org/officeDocument/2006/relationships/tags" Target="../tags/tag1763.xml"/><Relationship Id="rId21" Type="http://schemas.openxmlformats.org/officeDocument/2006/relationships/tags" Target="../tags/tag1781.xml"/><Relationship Id="rId34" Type="http://schemas.openxmlformats.org/officeDocument/2006/relationships/chart" Target="../charts/chart20.xml"/><Relationship Id="rId7" Type="http://schemas.openxmlformats.org/officeDocument/2006/relationships/tags" Target="../tags/tag1767.xml"/><Relationship Id="rId12" Type="http://schemas.openxmlformats.org/officeDocument/2006/relationships/tags" Target="../tags/tag1772.xml"/><Relationship Id="rId17" Type="http://schemas.openxmlformats.org/officeDocument/2006/relationships/tags" Target="../tags/tag1777.xml"/><Relationship Id="rId25" Type="http://schemas.openxmlformats.org/officeDocument/2006/relationships/tags" Target="../tags/tag1785.xml"/><Relationship Id="rId33" Type="http://schemas.openxmlformats.org/officeDocument/2006/relationships/image" Target="../media/image8.emf"/><Relationship Id="rId2" Type="http://schemas.openxmlformats.org/officeDocument/2006/relationships/tags" Target="../tags/tag1762.xml"/><Relationship Id="rId16" Type="http://schemas.openxmlformats.org/officeDocument/2006/relationships/tags" Target="../tags/tag1776.xml"/><Relationship Id="rId20" Type="http://schemas.openxmlformats.org/officeDocument/2006/relationships/tags" Target="../tags/tag1780.xml"/><Relationship Id="rId29" Type="http://schemas.openxmlformats.org/officeDocument/2006/relationships/tags" Target="../tags/tag1789.xml"/><Relationship Id="rId1" Type="http://schemas.openxmlformats.org/officeDocument/2006/relationships/tags" Target="../tags/tag1761.xml"/><Relationship Id="rId6" Type="http://schemas.openxmlformats.org/officeDocument/2006/relationships/tags" Target="../tags/tag1766.xml"/><Relationship Id="rId11" Type="http://schemas.openxmlformats.org/officeDocument/2006/relationships/tags" Target="../tags/tag1771.xml"/><Relationship Id="rId24" Type="http://schemas.openxmlformats.org/officeDocument/2006/relationships/tags" Target="../tags/tag1784.xml"/><Relationship Id="rId32" Type="http://schemas.openxmlformats.org/officeDocument/2006/relationships/oleObject" Target="../embeddings/oleObject165.bin"/><Relationship Id="rId5" Type="http://schemas.openxmlformats.org/officeDocument/2006/relationships/tags" Target="../tags/tag1765.xml"/><Relationship Id="rId15" Type="http://schemas.openxmlformats.org/officeDocument/2006/relationships/tags" Target="../tags/tag1775.xml"/><Relationship Id="rId23" Type="http://schemas.openxmlformats.org/officeDocument/2006/relationships/tags" Target="../tags/tag1783.xml"/><Relationship Id="rId28" Type="http://schemas.openxmlformats.org/officeDocument/2006/relationships/tags" Target="../tags/tag1788.xml"/><Relationship Id="rId36" Type="http://schemas.openxmlformats.org/officeDocument/2006/relationships/image" Target="../media/image34.svg"/><Relationship Id="rId10" Type="http://schemas.openxmlformats.org/officeDocument/2006/relationships/tags" Target="../tags/tag1770.xml"/><Relationship Id="rId19" Type="http://schemas.openxmlformats.org/officeDocument/2006/relationships/tags" Target="../tags/tag1779.xml"/><Relationship Id="rId31" Type="http://schemas.openxmlformats.org/officeDocument/2006/relationships/notesSlide" Target="../notesSlides/notesSlide15.xml"/><Relationship Id="rId4" Type="http://schemas.openxmlformats.org/officeDocument/2006/relationships/tags" Target="../tags/tag1764.xml"/><Relationship Id="rId9" Type="http://schemas.openxmlformats.org/officeDocument/2006/relationships/tags" Target="../tags/tag1769.xml"/><Relationship Id="rId14" Type="http://schemas.openxmlformats.org/officeDocument/2006/relationships/tags" Target="../tags/tag1774.xml"/><Relationship Id="rId22" Type="http://schemas.openxmlformats.org/officeDocument/2006/relationships/tags" Target="../tags/tag1782.xml"/><Relationship Id="rId27" Type="http://schemas.openxmlformats.org/officeDocument/2006/relationships/tags" Target="../tags/tag1787.xml"/><Relationship Id="rId30" Type="http://schemas.openxmlformats.org/officeDocument/2006/relationships/slideLayout" Target="../slideLayouts/slideLayout136.xml"/><Relationship Id="rId35" Type="http://schemas.openxmlformats.org/officeDocument/2006/relationships/image" Target="../media/image33.png"/><Relationship Id="rId8" Type="http://schemas.openxmlformats.org/officeDocument/2006/relationships/tags" Target="../tags/tag1768.xml"/></Relationships>
</file>

<file path=ppt/slides/_rels/slide23.xml.rels><?xml version="1.0" encoding="UTF-8" standalone="yes"?>
<Relationships xmlns="http://schemas.openxmlformats.org/package/2006/relationships"><Relationship Id="rId8" Type="http://schemas.openxmlformats.org/officeDocument/2006/relationships/tags" Target="../tags/tag1797.xml"/><Relationship Id="rId13" Type="http://schemas.openxmlformats.org/officeDocument/2006/relationships/tags" Target="../tags/tag1802.xml"/><Relationship Id="rId18" Type="http://schemas.openxmlformats.org/officeDocument/2006/relationships/tags" Target="../tags/tag1807.xml"/><Relationship Id="rId26" Type="http://schemas.openxmlformats.org/officeDocument/2006/relationships/slideLayout" Target="../slideLayouts/slideLayout136.xml"/><Relationship Id="rId3" Type="http://schemas.openxmlformats.org/officeDocument/2006/relationships/tags" Target="../tags/tag1792.xml"/><Relationship Id="rId21" Type="http://schemas.openxmlformats.org/officeDocument/2006/relationships/tags" Target="../tags/tag1810.xml"/><Relationship Id="rId7" Type="http://schemas.openxmlformats.org/officeDocument/2006/relationships/tags" Target="../tags/tag1796.xml"/><Relationship Id="rId12" Type="http://schemas.openxmlformats.org/officeDocument/2006/relationships/tags" Target="../tags/tag1801.xml"/><Relationship Id="rId17" Type="http://schemas.openxmlformats.org/officeDocument/2006/relationships/tags" Target="../tags/tag1806.xml"/><Relationship Id="rId25" Type="http://schemas.openxmlformats.org/officeDocument/2006/relationships/tags" Target="../tags/tag1814.xml"/><Relationship Id="rId2" Type="http://schemas.openxmlformats.org/officeDocument/2006/relationships/tags" Target="../tags/tag1791.xml"/><Relationship Id="rId16" Type="http://schemas.openxmlformats.org/officeDocument/2006/relationships/tags" Target="../tags/tag1805.xml"/><Relationship Id="rId20" Type="http://schemas.openxmlformats.org/officeDocument/2006/relationships/tags" Target="../tags/tag1809.xml"/><Relationship Id="rId29" Type="http://schemas.openxmlformats.org/officeDocument/2006/relationships/image" Target="../media/image8.emf"/><Relationship Id="rId1" Type="http://schemas.openxmlformats.org/officeDocument/2006/relationships/tags" Target="../tags/tag1790.xml"/><Relationship Id="rId6" Type="http://schemas.openxmlformats.org/officeDocument/2006/relationships/tags" Target="../tags/tag1795.xml"/><Relationship Id="rId11" Type="http://schemas.openxmlformats.org/officeDocument/2006/relationships/tags" Target="../tags/tag1800.xml"/><Relationship Id="rId24" Type="http://schemas.openxmlformats.org/officeDocument/2006/relationships/tags" Target="../tags/tag1813.xml"/><Relationship Id="rId32" Type="http://schemas.openxmlformats.org/officeDocument/2006/relationships/image" Target="../media/image34.svg"/><Relationship Id="rId5" Type="http://schemas.openxmlformats.org/officeDocument/2006/relationships/tags" Target="../tags/tag1794.xml"/><Relationship Id="rId15" Type="http://schemas.openxmlformats.org/officeDocument/2006/relationships/tags" Target="../tags/tag1804.xml"/><Relationship Id="rId23" Type="http://schemas.openxmlformats.org/officeDocument/2006/relationships/tags" Target="../tags/tag1812.xml"/><Relationship Id="rId28" Type="http://schemas.openxmlformats.org/officeDocument/2006/relationships/oleObject" Target="../embeddings/oleObject166.bin"/><Relationship Id="rId10" Type="http://schemas.openxmlformats.org/officeDocument/2006/relationships/tags" Target="../tags/tag1799.xml"/><Relationship Id="rId19" Type="http://schemas.openxmlformats.org/officeDocument/2006/relationships/tags" Target="../tags/tag1808.xml"/><Relationship Id="rId31" Type="http://schemas.openxmlformats.org/officeDocument/2006/relationships/image" Target="../media/image33.png"/><Relationship Id="rId4" Type="http://schemas.openxmlformats.org/officeDocument/2006/relationships/tags" Target="../tags/tag1793.xml"/><Relationship Id="rId9" Type="http://schemas.openxmlformats.org/officeDocument/2006/relationships/tags" Target="../tags/tag1798.xml"/><Relationship Id="rId14" Type="http://schemas.openxmlformats.org/officeDocument/2006/relationships/tags" Target="../tags/tag1803.xml"/><Relationship Id="rId22" Type="http://schemas.openxmlformats.org/officeDocument/2006/relationships/tags" Target="../tags/tag1811.xml"/><Relationship Id="rId27" Type="http://schemas.openxmlformats.org/officeDocument/2006/relationships/notesSlide" Target="../notesSlides/notesSlide16.xml"/><Relationship Id="rId30" Type="http://schemas.openxmlformats.org/officeDocument/2006/relationships/chart" Target="../charts/chart21.xml"/></Relationships>
</file>

<file path=ppt/slides/_rels/slide24.xml.rels><?xml version="1.0" encoding="UTF-8" standalone="yes"?>
<Relationships xmlns="http://schemas.openxmlformats.org/package/2006/relationships"><Relationship Id="rId13" Type="http://schemas.openxmlformats.org/officeDocument/2006/relationships/tags" Target="../tags/tag1827.xml"/><Relationship Id="rId18" Type="http://schemas.openxmlformats.org/officeDocument/2006/relationships/tags" Target="../tags/tag1832.xml"/><Relationship Id="rId26" Type="http://schemas.openxmlformats.org/officeDocument/2006/relationships/tags" Target="../tags/tag1840.xml"/><Relationship Id="rId39" Type="http://schemas.openxmlformats.org/officeDocument/2006/relationships/chart" Target="../charts/chart22.xml"/><Relationship Id="rId21" Type="http://schemas.openxmlformats.org/officeDocument/2006/relationships/tags" Target="../tags/tag1835.xml"/><Relationship Id="rId34" Type="http://schemas.openxmlformats.org/officeDocument/2006/relationships/tags" Target="../tags/tag1848.xml"/><Relationship Id="rId42" Type="http://schemas.openxmlformats.org/officeDocument/2006/relationships/image" Target="../media/image84.png"/><Relationship Id="rId7" Type="http://schemas.openxmlformats.org/officeDocument/2006/relationships/tags" Target="../tags/tag1821.xml"/><Relationship Id="rId2" Type="http://schemas.openxmlformats.org/officeDocument/2006/relationships/tags" Target="../tags/tag1816.xml"/><Relationship Id="rId16" Type="http://schemas.openxmlformats.org/officeDocument/2006/relationships/tags" Target="../tags/tag1830.xml"/><Relationship Id="rId29" Type="http://schemas.openxmlformats.org/officeDocument/2006/relationships/tags" Target="../tags/tag1843.xml"/><Relationship Id="rId1" Type="http://schemas.openxmlformats.org/officeDocument/2006/relationships/tags" Target="../tags/tag1815.xml"/><Relationship Id="rId6" Type="http://schemas.openxmlformats.org/officeDocument/2006/relationships/tags" Target="../tags/tag1820.xml"/><Relationship Id="rId11" Type="http://schemas.openxmlformats.org/officeDocument/2006/relationships/tags" Target="../tags/tag1825.xml"/><Relationship Id="rId24" Type="http://schemas.openxmlformats.org/officeDocument/2006/relationships/tags" Target="../tags/tag1838.xml"/><Relationship Id="rId32" Type="http://schemas.openxmlformats.org/officeDocument/2006/relationships/tags" Target="../tags/tag1846.xml"/><Relationship Id="rId37" Type="http://schemas.openxmlformats.org/officeDocument/2006/relationships/oleObject" Target="../embeddings/oleObject167.bin"/><Relationship Id="rId40" Type="http://schemas.openxmlformats.org/officeDocument/2006/relationships/image" Target="../media/image82.png"/><Relationship Id="rId45" Type="http://schemas.openxmlformats.org/officeDocument/2006/relationships/image" Target="../media/image87.png"/><Relationship Id="rId5" Type="http://schemas.openxmlformats.org/officeDocument/2006/relationships/tags" Target="../tags/tag1819.xml"/><Relationship Id="rId15" Type="http://schemas.openxmlformats.org/officeDocument/2006/relationships/tags" Target="../tags/tag1829.xml"/><Relationship Id="rId23" Type="http://schemas.openxmlformats.org/officeDocument/2006/relationships/tags" Target="../tags/tag1837.xml"/><Relationship Id="rId28" Type="http://schemas.openxmlformats.org/officeDocument/2006/relationships/tags" Target="../tags/tag1842.xml"/><Relationship Id="rId36" Type="http://schemas.openxmlformats.org/officeDocument/2006/relationships/notesSlide" Target="../notesSlides/notesSlide17.xml"/><Relationship Id="rId10" Type="http://schemas.openxmlformats.org/officeDocument/2006/relationships/tags" Target="../tags/tag1824.xml"/><Relationship Id="rId19" Type="http://schemas.openxmlformats.org/officeDocument/2006/relationships/tags" Target="../tags/tag1833.xml"/><Relationship Id="rId31" Type="http://schemas.openxmlformats.org/officeDocument/2006/relationships/tags" Target="../tags/tag1845.xml"/><Relationship Id="rId44" Type="http://schemas.openxmlformats.org/officeDocument/2006/relationships/image" Target="../media/image86.png"/><Relationship Id="rId4" Type="http://schemas.openxmlformats.org/officeDocument/2006/relationships/tags" Target="../tags/tag1818.xml"/><Relationship Id="rId9" Type="http://schemas.openxmlformats.org/officeDocument/2006/relationships/tags" Target="../tags/tag1823.xml"/><Relationship Id="rId14" Type="http://schemas.openxmlformats.org/officeDocument/2006/relationships/tags" Target="../tags/tag1828.xml"/><Relationship Id="rId22" Type="http://schemas.openxmlformats.org/officeDocument/2006/relationships/tags" Target="../tags/tag1836.xml"/><Relationship Id="rId27" Type="http://schemas.openxmlformats.org/officeDocument/2006/relationships/tags" Target="../tags/tag1841.xml"/><Relationship Id="rId30" Type="http://schemas.openxmlformats.org/officeDocument/2006/relationships/tags" Target="../tags/tag1844.xml"/><Relationship Id="rId35" Type="http://schemas.openxmlformats.org/officeDocument/2006/relationships/slideLayout" Target="../slideLayouts/slideLayout136.xml"/><Relationship Id="rId43" Type="http://schemas.openxmlformats.org/officeDocument/2006/relationships/image" Target="../media/image85.png"/><Relationship Id="rId8" Type="http://schemas.openxmlformats.org/officeDocument/2006/relationships/tags" Target="../tags/tag1822.xml"/><Relationship Id="rId3" Type="http://schemas.openxmlformats.org/officeDocument/2006/relationships/tags" Target="../tags/tag1817.xml"/><Relationship Id="rId12" Type="http://schemas.openxmlformats.org/officeDocument/2006/relationships/tags" Target="../tags/tag1826.xml"/><Relationship Id="rId17" Type="http://schemas.openxmlformats.org/officeDocument/2006/relationships/tags" Target="../tags/tag1831.xml"/><Relationship Id="rId25" Type="http://schemas.openxmlformats.org/officeDocument/2006/relationships/tags" Target="../tags/tag1839.xml"/><Relationship Id="rId33" Type="http://schemas.openxmlformats.org/officeDocument/2006/relationships/tags" Target="../tags/tag1847.xml"/><Relationship Id="rId38" Type="http://schemas.openxmlformats.org/officeDocument/2006/relationships/image" Target="../media/image8.emf"/><Relationship Id="rId46" Type="http://schemas.openxmlformats.org/officeDocument/2006/relationships/image" Target="../media/image88.png"/><Relationship Id="rId20" Type="http://schemas.openxmlformats.org/officeDocument/2006/relationships/tags" Target="../tags/tag1834.xml"/><Relationship Id="rId41" Type="http://schemas.openxmlformats.org/officeDocument/2006/relationships/image" Target="../media/image83.png"/></Relationships>
</file>

<file path=ppt/slides/_rels/slide25.xml.rels><?xml version="1.0" encoding="UTF-8" standalone="yes"?>
<Relationships xmlns="http://schemas.openxmlformats.org/package/2006/relationships"><Relationship Id="rId13" Type="http://schemas.openxmlformats.org/officeDocument/2006/relationships/tags" Target="../tags/tag1861.xml"/><Relationship Id="rId18" Type="http://schemas.openxmlformats.org/officeDocument/2006/relationships/oleObject" Target="../embeddings/oleObject168.bin"/><Relationship Id="rId26" Type="http://schemas.openxmlformats.org/officeDocument/2006/relationships/image" Target="../media/image95.png"/><Relationship Id="rId21" Type="http://schemas.openxmlformats.org/officeDocument/2006/relationships/image" Target="../media/image90.svg"/><Relationship Id="rId34" Type="http://schemas.openxmlformats.org/officeDocument/2006/relationships/image" Target="../media/image103.jpeg"/><Relationship Id="rId7" Type="http://schemas.openxmlformats.org/officeDocument/2006/relationships/tags" Target="../tags/tag1855.xml"/><Relationship Id="rId12" Type="http://schemas.openxmlformats.org/officeDocument/2006/relationships/tags" Target="../tags/tag1860.xml"/><Relationship Id="rId17" Type="http://schemas.openxmlformats.org/officeDocument/2006/relationships/notesSlide" Target="../notesSlides/notesSlide18.xml"/><Relationship Id="rId25" Type="http://schemas.openxmlformats.org/officeDocument/2006/relationships/image" Target="../media/image94.svg"/><Relationship Id="rId33" Type="http://schemas.openxmlformats.org/officeDocument/2006/relationships/image" Target="../media/image102.png"/><Relationship Id="rId38" Type="http://schemas.openxmlformats.org/officeDocument/2006/relationships/image" Target="../media/image107.jpeg"/><Relationship Id="rId2" Type="http://schemas.openxmlformats.org/officeDocument/2006/relationships/tags" Target="../tags/tag1850.xml"/><Relationship Id="rId16" Type="http://schemas.openxmlformats.org/officeDocument/2006/relationships/slideLayout" Target="../slideLayouts/slideLayout136.xml"/><Relationship Id="rId20" Type="http://schemas.openxmlformats.org/officeDocument/2006/relationships/image" Target="../media/image89.png"/><Relationship Id="rId29" Type="http://schemas.openxmlformats.org/officeDocument/2006/relationships/image" Target="../media/image98.png"/><Relationship Id="rId1" Type="http://schemas.openxmlformats.org/officeDocument/2006/relationships/tags" Target="../tags/tag1849.xml"/><Relationship Id="rId6" Type="http://schemas.openxmlformats.org/officeDocument/2006/relationships/tags" Target="../tags/tag1854.xml"/><Relationship Id="rId11" Type="http://schemas.openxmlformats.org/officeDocument/2006/relationships/tags" Target="../tags/tag1859.xml"/><Relationship Id="rId24" Type="http://schemas.openxmlformats.org/officeDocument/2006/relationships/image" Target="../media/image93.png"/><Relationship Id="rId32" Type="http://schemas.openxmlformats.org/officeDocument/2006/relationships/image" Target="../media/image101.png"/><Relationship Id="rId37" Type="http://schemas.openxmlformats.org/officeDocument/2006/relationships/image" Target="../media/image106.png"/><Relationship Id="rId5" Type="http://schemas.openxmlformats.org/officeDocument/2006/relationships/tags" Target="../tags/tag1853.xml"/><Relationship Id="rId15" Type="http://schemas.openxmlformats.org/officeDocument/2006/relationships/tags" Target="../tags/tag1863.xml"/><Relationship Id="rId23" Type="http://schemas.openxmlformats.org/officeDocument/2006/relationships/image" Target="../media/image92.svg"/><Relationship Id="rId28" Type="http://schemas.openxmlformats.org/officeDocument/2006/relationships/image" Target="../media/image97.png"/><Relationship Id="rId36" Type="http://schemas.openxmlformats.org/officeDocument/2006/relationships/image" Target="../media/image105.png"/><Relationship Id="rId10" Type="http://schemas.openxmlformats.org/officeDocument/2006/relationships/tags" Target="../tags/tag1858.xml"/><Relationship Id="rId19" Type="http://schemas.openxmlformats.org/officeDocument/2006/relationships/image" Target="../media/image8.emf"/><Relationship Id="rId31" Type="http://schemas.openxmlformats.org/officeDocument/2006/relationships/image" Target="../media/image100.png"/><Relationship Id="rId4" Type="http://schemas.openxmlformats.org/officeDocument/2006/relationships/tags" Target="../tags/tag1852.xml"/><Relationship Id="rId9" Type="http://schemas.openxmlformats.org/officeDocument/2006/relationships/tags" Target="../tags/tag1857.xml"/><Relationship Id="rId14" Type="http://schemas.openxmlformats.org/officeDocument/2006/relationships/tags" Target="../tags/tag1862.xml"/><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image" Target="../media/image99.jpeg"/><Relationship Id="rId35" Type="http://schemas.openxmlformats.org/officeDocument/2006/relationships/image" Target="../media/image104.png"/><Relationship Id="rId8" Type="http://schemas.openxmlformats.org/officeDocument/2006/relationships/tags" Target="../tags/tag1856.xml"/><Relationship Id="rId3" Type="http://schemas.openxmlformats.org/officeDocument/2006/relationships/tags" Target="../tags/tag1851.xml"/></Relationships>
</file>

<file path=ppt/slides/_rels/slide26.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slideLayout" Target="../slideLayouts/slideLayout136.xml"/><Relationship Id="rId7" Type="http://schemas.openxmlformats.org/officeDocument/2006/relationships/image" Target="../media/image108.png"/><Relationship Id="rId2" Type="http://schemas.openxmlformats.org/officeDocument/2006/relationships/tags" Target="../tags/tag1865.xml"/><Relationship Id="rId1" Type="http://schemas.openxmlformats.org/officeDocument/2006/relationships/tags" Target="../tags/tag1864.xml"/><Relationship Id="rId6" Type="http://schemas.openxmlformats.org/officeDocument/2006/relationships/image" Target="../media/image8.emf"/><Relationship Id="rId5" Type="http://schemas.openxmlformats.org/officeDocument/2006/relationships/oleObject" Target="../embeddings/oleObject169.bin"/><Relationship Id="rId4" Type="http://schemas.openxmlformats.org/officeDocument/2006/relationships/notesSlide" Target="../notesSlides/notesSlide19.xml"/></Relationships>
</file>

<file path=ppt/slides/_rels/slide27.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114.png"/><Relationship Id="rId18" Type="http://schemas.openxmlformats.org/officeDocument/2006/relationships/image" Target="../media/image119.png"/><Relationship Id="rId3" Type="http://schemas.openxmlformats.org/officeDocument/2006/relationships/tags" Target="../tags/tag1868.xml"/><Relationship Id="rId7" Type="http://schemas.openxmlformats.org/officeDocument/2006/relationships/oleObject" Target="../embeddings/oleObject170.bin"/><Relationship Id="rId12" Type="http://schemas.openxmlformats.org/officeDocument/2006/relationships/image" Target="../media/image113.png"/><Relationship Id="rId17" Type="http://schemas.openxmlformats.org/officeDocument/2006/relationships/image" Target="../media/image118.png"/><Relationship Id="rId2" Type="http://schemas.openxmlformats.org/officeDocument/2006/relationships/tags" Target="../tags/tag1867.xml"/><Relationship Id="rId16" Type="http://schemas.openxmlformats.org/officeDocument/2006/relationships/image" Target="../media/image117.png"/><Relationship Id="rId1" Type="http://schemas.openxmlformats.org/officeDocument/2006/relationships/tags" Target="../tags/tag1866.xml"/><Relationship Id="rId6" Type="http://schemas.openxmlformats.org/officeDocument/2006/relationships/notesSlide" Target="../notesSlides/notesSlide20.xml"/><Relationship Id="rId11" Type="http://schemas.openxmlformats.org/officeDocument/2006/relationships/image" Target="../media/image112.png"/><Relationship Id="rId5" Type="http://schemas.openxmlformats.org/officeDocument/2006/relationships/slideLayout" Target="../slideLayouts/slideLayout136.xml"/><Relationship Id="rId15" Type="http://schemas.openxmlformats.org/officeDocument/2006/relationships/image" Target="../media/image116.png"/><Relationship Id="rId10" Type="http://schemas.openxmlformats.org/officeDocument/2006/relationships/image" Target="../media/image111.png"/><Relationship Id="rId19" Type="http://schemas.openxmlformats.org/officeDocument/2006/relationships/image" Target="../media/image120.png"/><Relationship Id="rId4" Type="http://schemas.openxmlformats.org/officeDocument/2006/relationships/tags" Target="../tags/tag1869.xml"/><Relationship Id="rId9" Type="http://schemas.openxmlformats.org/officeDocument/2006/relationships/image" Target="../media/image110.emf"/><Relationship Id="rId14" Type="http://schemas.openxmlformats.org/officeDocument/2006/relationships/image" Target="../media/image115.png"/></Relationships>
</file>

<file path=ppt/slides/_rels/slide28.xml.rels><?xml version="1.0" encoding="UTF-8" standalone="yes"?>
<Relationships xmlns="http://schemas.openxmlformats.org/package/2006/relationships"><Relationship Id="rId13" Type="http://schemas.openxmlformats.org/officeDocument/2006/relationships/tags" Target="../tags/tag1882.xml"/><Relationship Id="rId18" Type="http://schemas.openxmlformats.org/officeDocument/2006/relationships/tags" Target="../tags/tag1887.xml"/><Relationship Id="rId26" Type="http://schemas.openxmlformats.org/officeDocument/2006/relationships/notesSlide" Target="../notesSlides/notesSlide21.xml"/><Relationship Id="rId39" Type="http://schemas.openxmlformats.org/officeDocument/2006/relationships/image" Target="../media/image131.jpeg"/><Relationship Id="rId21" Type="http://schemas.openxmlformats.org/officeDocument/2006/relationships/tags" Target="../tags/tag1890.xml"/><Relationship Id="rId34" Type="http://schemas.openxmlformats.org/officeDocument/2006/relationships/image" Target="../media/image126.jpeg"/><Relationship Id="rId42" Type="http://schemas.openxmlformats.org/officeDocument/2006/relationships/image" Target="../media/image134.svg"/><Relationship Id="rId47" Type="http://schemas.openxmlformats.org/officeDocument/2006/relationships/image" Target="../media/image139.png"/><Relationship Id="rId7" Type="http://schemas.openxmlformats.org/officeDocument/2006/relationships/tags" Target="../tags/tag1876.xml"/><Relationship Id="rId2" Type="http://schemas.openxmlformats.org/officeDocument/2006/relationships/tags" Target="../tags/tag1871.xml"/><Relationship Id="rId16" Type="http://schemas.openxmlformats.org/officeDocument/2006/relationships/tags" Target="../tags/tag1885.xml"/><Relationship Id="rId29" Type="http://schemas.openxmlformats.org/officeDocument/2006/relationships/image" Target="../media/image121.png"/><Relationship Id="rId11" Type="http://schemas.openxmlformats.org/officeDocument/2006/relationships/tags" Target="../tags/tag1880.xml"/><Relationship Id="rId24" Type="http://schemas.openxmlformats.org/officeDocument/2006/relationships/tags" Target="../tags/tag1893.xml"/><Relationship Id="rId32" Type="http://schemas.openxmlformats.org/officeDocument/2006/relationships/image" Target="../media/image124.png"/><Relationship Id="rId37" Type="http://schemas.openxmlformats.org/officeDocument/2006/relationships/image" Target="../media/image129.png"/><Relationship Id="rId40" Type="http://schemas.openxmlformats.org/officeDocument/2006/relationships/image" Target="../media/image132.png"/><Relationship Id="rId45" Type="http://schemas.openxmlformats.org/officeDocument/2006/relationships/image" Target="../media/image137.png"/><Relationship Id="rId5" Type="http://schemas.openxmlformats.org/officeDocument/2006/relationships/tags" Target="../tags/tag1874.xml"/><Relationship Id="rId15" Type="http://schemas.openxmlformats.org/officeDocument/2006/relationships/tags" Target="../tags/tag1884.xml"/><Relationship Id="rId23" Type="http://schemas.openxmlformats.org/officeDocument/2006/relationships/tags" Target="../tags/tag1892.xml"/><Relationship Id="rId28" Type="http://schemas.openxmlformats.org/officeDocument/2006/relationships/image" Target="../media/image8.emf"/><Relationship Id="rId36" Type="http://schemas.openxmlformats.org/officeDocument/2006/relationships/image" Target="../media/image128.png"/><Relationship Id="rId49" Type="http://schemas.openxmlformats.org/officeDocument/2006/relationships/image" Target="../media/image141.png"/><Relationship Id="rId10" Type="http://schemas.openxmlformats.org/officeDocument/2006/relationships/tags" Target="../tags/tag1879.xml"/><Relationship Id="rId19" Type="http://schemas.openxmlformats.org/officeDocument/2006/relationships/tags" Target="../tags/tag1888.xml"/><Relationship Id="rId31" Type="http://schemas.openxmlformats.org/officeDocument/2006/relationships/image" Target="../media/image123.jpeg"/><Relationship Id="rId44" Type="http://schemas.openxmlformats.org/officeDocument/2006/relationships/image" Target="../media/image136.jpeg"/><Relationship Id="rId4" Type="http://schemas.openxmlformats.org/officeDocument/2006/relationships/tags" Target="../tags/tag1873.xml"/><Relationship Id="rId9" Type="http://schemas.openxmlformats.org/officeDocument/2006/relationships/tags" Target="../tags/tag1878.xml"/><Relationship Id="rId14" Type="http://schemas.openxmlformats.org/officeDocument/2006/relationships/tags" Target="../tags/tag1883.xml"/><Relationship Id="rId22" Type="http://schemas.openxmlformats.org/officeDocument/2006/relationships/tags" Target="../tags/tag1891.xml"/><Relationship Id="rId27" Type="http://schemas.openxmlformats.org/officeDocument/2006/relationships/oleObject" Target="../embeddings/oleObject171.bin"/><Relationship Id="rId30" Type="http://schemas.openxmlformats.org/officeDocument/2006/relationships/image" Target="../media/image122.jpeg"/><Relationship Id="rId35" Type="http://schemas.openxmlformats.org/officeDocument/2006/relationships/image" Target="../media/image127.png"/><Relationship Id="rId43" Type="http://schemas.openxmlformats.org/officeDocument/2006/relationships/image" Target="../media/image135.png"/><Relationship Id="rId48" Type="http://schemas.openxmlformats.org/officeDocument/2006/relationships/image" Target="../media/image140.png"/><Relationship Id="rId8" Type="http://schemas.openxmlformats.org/officeDocument/2006/relationships/tags" Target="../tags/tag1877.xml"/><Relationship Id="rId3" Type="http://schemas.openxmlformats.org/officeDocument/2006/relationships/tags" Target="../tags/tag1872.xml"/><Relationship Id="rId12" Type="http://schemas.openxmlformats.org/officeDocument/2006/relationships/tags" Target="../tags/tag1881.xml"/><Relationship Id="rId17" Type="http://schemas.openxmlformats.org/officeDocument/2006/relationships/tags" Target="../tags/tag1886.xml"/><Relationship Id="rId25" Type="http://schemas.openxmlformats.org/officeDocument/2006/relationships/slideLayout" Target="../slideLayouts/slideLayout148.xml"/><Relationship Id="rId33" Type="http://schemas.openxmlformats.org/officeDocument/2006/relationships/image" Target="../media/image125.jpeg"/><Relationship Id="rId38" Type="http://schemas.openxmlformats.org/officeDocument/2006/relationships/image" Target="../media/image130.png"/><Relationship Id="rId46" Type="http://schemas.openxmlformats.org/officeDocument/2006/relationships/image" Target="../media/image138.png"/><Relationship Id="rId20" Type="http://schemas.openxmlformats.org/officeDocument/2006/relationships/tags" Target="../tags/tag1889.xml"/><Relationship Id="rId41" Type="http://schemas.openxmlformats.org/officeDocument/2006/relationships/image" Target="../media/image133.png"/><Relationship Id="rId1" Type="http://schemas.openxmlformats.org/officeDocument/2006/relationships/tags" Target="../tags/tag1870.xml"/><Relationship Id="rId6" Type="http://schemas.openxmlformats.org/officeDocument/2006/relationships/tags" Target="../tags/tag1875.xml"/></Relationships>
</file>

<file path=ppt/slides/_rels/slide29.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slideLayout" Target="../slideLayouts/slideLayout2.xml"/><Relationship Id="rId7" Type="http://schemas.openxmlformats.org/officeDocument/2006/relationships/image" Target="../media/image5.emf"/><Relationship Id="rId2" Type="http://schemas.openxmlformats.org/officeDocument/2006/relationships/tags" Target="../tags/tag1895.xml"/><Relationship Id="rId1" Type="http://schemas.openxmlformats.org/officeDocument/2006/relationships/tags" Target="../tags/tag1894.xml"/><Relationship Id="rId6" Type="http://schemas.openxmlformats.org/officeDocument/2006/relationships/oleObject" Target="../embeddings/oleObject172.bin"/><Relationship Id="rId5" Type="http://schemas.openxmlformats.org/officeDocument/2006/relationships/image" Target="../media/image142.jpg"/><Relationship Id="rId4" Type="http://schemas.openxmlformats.org/officeDocument/2006/relationships/notesSlide" Target="../notesSlides/notesSlide22.xml"/><Relationship Id="rId9" Type="http://schemas.openxmlformats.org/officeDocument/2006/relationships/image" Target="../media/image144.svg"/></Relationships>
</file>

<file path=ppt/slides/_rels/slide3.xml.rels><?xml version="1.0" encoding="UTF-8" standalone="yes"?>
<Relationships xmlns="http://schemas.openxmlformats.org/package/2006/relationships"><Relationship Id="rId26" Type="http://schemas.openxmlformats.org/officeDocument/2006/relationships/tags" Target="../tags/tag1006.xml"/><Relationship Id="rId21" Type="http://schemas.openxmlformats.org/officeDocument/2006/relationships/tags" Target="../tags/tag1001.xml"/><Relationship Id="rId34" Type="http://schemas.openxmlformats.org/officeDocument/2006/relationships/tags" Target="../tags/tag1014.xml"/><Relationship Id="rId42" Type="http://schemas.openxmlformats.org/officeDocument/2006/relationships/tags" Target="../tags/tag1022.xml"/><Relationship Id="rId47" Type="http://schemas.openxmlformats.org/officeDocument/2006/relationships/tags" Target="../tags/tag1027.xml"/><Relationship Id="rId50" Type="http://schemas.openxmlformats.org/officeDocument/2006/relationships/tags" Target="../tags/tag1030.xml"/><Relationship Id="rId55" Type="http://schemas.openxmlformats.org/officeDocument/2006/relationships/tags" Target="../tags/tag1035.xml"/><Relationship Id="rId63" Type="http://schemas.openxmlformats.org/officeDocument/2006/relationships/image" Target="../media/image30.svg"/><Relationship Id="rId7" Type="http://schemas.openxmlformats.org/officeDocument/2006/relationships/tags" Target="../tags/tag987.xml"/><Relationship Id="rId2" Type="http://schemas.openxmlformats.org/officeDocument/2006/relationships/tags" Target="../tags/tag982.xml"/><Relationship Id="rId16" Type="http://schemas.openxmlformats.org/officeDocument/2006/relationships/tags" Target="../tags/tag996.xml"/><Relationship Id="rId29" Type="http://schemas.openxmlformats.org/officeDocument/2006/relationships/tags" Target="../tags/tag1009.xml"/><Relationship Id="rId11" Type="http://schemas.openxmlformats.org/officeDocument/2006/relationships/tags" Target="../tags/tag991.xml"/><Relationship Id="rId24" Type="http://schemas.openxmlformats.org/officeDocument/2006/relationships/tags" Target="../tags/tag1004.xml"/><Relationship Id="rId32" Type="http://schemas.openxmlformats.org/officeDocument/2006/relationships/tags" Target="../tags/tag1012.xml"/><Relationship Id="rId37" Type="http://schemas.openxmlformats.org/officeDocument/2006/relationships/tags" Target="../tags/tag1017.xml"/><Relationship Id="rId40" Type="http://schemas.openxmlformats.org/officeDocument/2006/relationships/tags" Target="../tags/tag1020.xml"/><Relationship Id="rId45" Type="http://schemas.openxmlformats.org/officeDocument/2006/relationships/tags" Target="../tags/tag1025.xml"/><Relationship Id="rId53" Type="http://schemas.openxmlformats.org/officeDocument/2006/relationships/tags" Target="../tags/tag1033.xml"/><Relationship Id="rId58" Type="http://schemas.openxmlformats.org/officeDocument/2006/relationships/chart" Target="../charts/chart2.xml"/><Relationship Id="rId5" Type="http://schemas.openxmlformats.org/officeDocument/2006/relationships/tags" Target="../tags/tag985.xml"/><Relationship Id="rId61" Type="http://schemas.openxmlformats.org/officeDocument/2006/relationships/image" Target="../media/image28.svg"/><Relationship Id="rId19" Type="http://schemas.openxmlformats.org/officeDocument/2006/relationships/tags" Target="../tags/tag999.xml"/><Relationship Id="rId14" Type="http://schemas.openxmlformats.org/officeDocument/2006/relationships/tags" Target="../tags/tag994.xml"/><Relationship Id="rId22" Type="http://schemas.openxmlformats.org/officeDocument/2006/relationships/tags" Target="../tags/tag1002.xml"/><Relationship Id="rId27" Type="http://schemas.openxmlformats.org/officeDocument/2006/relationships/tags" Target="../tags/tag1007.xml"/><Relationship Id="rId30" Type="http://schemas.openxmlformats.org/officeDocument/2006/relationships/tags" Target="../tags/tag1010.xml"/><Relationship Id="rId35" Type="http://schemas.openxmlformats.org/officeDocument/2006/relationships/tags" Target="../tags/tag1015.xml"/><Relationship Id="rId43" Type="http://schemas.openxmlformats.org/officeDocument/2006/relationships/tags" Target="../tags/tag1023.xml"/><Relationship Id="rId48" Type="http://schemas.openxmlformats.org/officeDocument/2006/relationships/tags" Target="../tags/tag1028.xml"/><Relationship Id="rId56" Type="http://schemas.openxmlformats.org/officeDocument/2006/relationships/slideLayout" Target="../slideLayouts/slideLayout2.xml"/><Relationship Id="rId64" Type="http://schemas.openxmlformats.org/officeDocument/2006/relationships/image" Target="../media/image31.png"/><Relationship Id="rId8" Type="http://schemas.openxmlformats.org/officeDocument/2006/relationships/tags" Target="../tags/tag988.xml"/><Relationship Id="rId51" Type="http://schemas.openxmlformats.org/officeDocument/2006/relationships/tags" Target="../tags/tag1031.xml"/><Relationship Id="rId3" Type="http://schemas.openxmlformats.org/officeDocument/2006/relationships/tags" Target="../tags/tag983.xml"/><Relationship Id="rId12" Type="http://schemas.openxmlformats.org/officeDocument/2006/relationships/tags" Target="../tags/tag992.xml"/><Relationship Id="rId17" Type="http://schemas.openxmlformats.org/officeDocument/2006/relationships/tags" Target="../tags/tag997.xml"/><Relationship Id="rId25" Type="http://schemas.openxmlformats.org/officeDocument/2006/relationships/tags" Target="../tags/tag1005.xml"/><Relationship Id="rId33" Type="http://schemas.openxmlformats.org/officeDocument/2006/relationships/tags" Target="../tags/tag1013.xml"/><Relationship Id="rId38" Type="http://schemas.openxmlformats.org/officeDocument/2006/relationships/tags" Target="../tags/tag1018.xml"/><Relationship Id="rId46" Type="http://schemas.openxmlformats.org/officeDocument/2006/relationships/tags" Target="../tags/tag1026.xml"/><Relationship Id="rId59" Type="http://schemas.openxmlformats.org/officeDocument/2006/relationships/chart" Target="../charts/chart3.xml"/><Relationship Id="rId20" Type="http://schemas.openxmlformats.org/officeDocument/2006/relationships/tags" Target="../tags/tag1000.xml"/><Relationship Id="rId41" Type="http://schemas.openxmlformats.org/officeDocument/2006/relationships/tags" Target="../tags/tag1021.xml"/><Relationship Id="rId54" Type="http://schemas.openxmlformats.org/officeDocument/2006/relationships/tags" Target="../tags/tag1034.xml"/><Relationship Id="rId62" Type="http://schemas.openxmlformats.org/officeDocument/2006/relationships/image" Target="../media/image29.png"/><Relationship Id="rId1" Type="http://schemas.openxmlformats.org/officeDocument/2006/relationships/tags" Target="../tags/tag981.xml"/><Relationship Id="rId6" Type="http://schemas.openxmlformats.org/officeDocument/2006/relationships/tags" Target="../tags/tag986.xml"/><Relationship Id="rId15" Type="http://schemas.openxmlformats.org/officeDocument/2006/relationships/tags" Target="../tags/tag995.xml"/><Relationship Id="rId23" Type="http://schemas.openxmlformats.org/officeDocument/2006/relationships/tags" Target="../tags/tag1003.xml"/><Relationship Id="rId28" Type="http://schemas.openxmlformats.org/officeDocument/2006/relationships/tags" Target="../tags/tag1008.xml"/><Relationship Id="rId36" Type="http://schemas.openxmlformats.org/officeDocument/2006/relationships/tags" Target="../tags/tag1016.xml"/><Relationship Id="rId49" Type="http://schemas.openxmlformats.org/officeDocument/2006/relationships/tags" Target="../tags/tag1029.xml"/><Relationship Id="rId57" Type="http://schemas.openxmlformats.org/officeDocument/2006/relationships/notesSlide" Target="../notesSlides/notesSlide3.xml"/><Relationship Id="rId10" Type="http://schemas.openxmlformats.org/officeDocument/2006/relationships/tags" Target="../tags/tag990.xml"/><Relationship Id="rId31" Type="http://schemas.openxmlformats.org/officeDocument/2006/relationships/tags" Target="../tags/tag1011.xml"/><Relationship Id="rId44" Type="http://schemas.openxmlformats.org/officeDocument/2006/relationships/tags" Target="../tags/tag1024.xml"/><Relationship Id="rId52" Type="http://schemas.openxmlformats.org/officeDocument/2006/relationships/tags" Target="../tags/tag1032.xml"/><Relationship Id="rId60" Type="http://schemas.openxmlformats.org/officeDocument/2006/relationships/image" Target="../media/image27.png"/><Relationship Id="rId65" Type="http://schemas.openxmlformats.org/officeDocument/2006/relationships/image" Target="../media/image32.png"/><Relationship Id="rId4" Type="http://schemas.openxmlformats.org/officeDocument/2006/relationships/tags" Target="../tags/tag984.xml"/><Relationship Id="rId9" Type="http://schemas.openxmlformats.org/officeDocument/2006/relationships/tags" Target="../tags/tag989.xml"/><Relationship Id="rId13" Type="http://schemas.openxmlformats.org/officeDocument/2006/relationships/tags" Target="../tags/tag993.xml"/><Relationship Id="rId18" Type="http://schemas.openxmlformats.org/officeDocument/2006/relationships/tags" Target="../tags/tag998.xml"/><Relationship Id="rId39" Type="http://schemas.openxmlformats.org/officeDocument/2006/relationships/tags" Target="../tags/tag1019.xml"/></Relationships>
</file>

<file path=ppt/slides/_rels/slide30.xml.rels><?xml version="1.0" encoding="UTF-8" standalone="yes"?>
<Relationships xmlns="http://schemas.openxmlformats.org/package/2006/relationships"><Relationship Id="rId8" Type="http://schemas.openxmlformats.org/officeDocument/2006/relationships/image" Target="../media/image145.png"/><Relationship Id="rId13" Type="http://schemas.openxmlformats.org/officeDocument/2006/relationships/image" Target="../media/image148.png"/><Relationship Id="rId3" Type="http://schemas.openxmlformats.org/officeDocument/2006/relationships/tags" Target="../tags/tag1898.xml"/><Relationship Id="rId7" Type="http://schemas.openxmlformats.org/officeDocument/2006/relationships/notesSlide" Target="../notesSlides/notesSlide23.xml"/><Relationship Id="rId12" Type="http://schemas.openxmlformats.org/officeDocument/2006/relationships/image" Target="../media/image147.svg"/><Relationship Id="rId2" Type="http://schemas.openxmlformats.org/officeDocument/2006/relationships/tags" Target="../tags/tag1897.xml"/><Relationship Id="rId16" Type="http://schemas.openxmlformats.org/officeDocument/2006/relationships/image" Target="../media/image151.svg"/><Relationship Id="rId1" Type="http://schemas.openxmlformats.org/officeDocument/2006/relationships/tags" Target="../tags/tag1896.xml"/><Relationship Id="rId6" Type="http://schemas.openxmlformats.org/officeDocument/2006/relationships/slideLayout" Target="../slideLayouts/slideLayout2.xml"/><Relationship Id="rId11" Type="http://schemas.openxmlformats.org/officeDocument/2006/relationships/image" Target="../media/image146.png"/><Relationship Id="rId5" Type="http://schemas.openxmlformats.org/officeDocument/2006/relationships/tags" Target="../tags/tag1900.xml"/><Relationship Id="rId15" Type="http://schemas.openxmlformats.org/officeDocument/2006/relationships/image" Target="../media/image150.png"/><Relationship Id="rId10" Type="http://schemas.openxmlformats.org/officeDocument/2006/relationships/image" Target="../media/image8.emf"/><Relationship Id="rId4" Type="http://schemas.openxmlformats.org/officeDocument/2006/relationships/tags" Target="../tags/tag1899.xml"/><Relationship Id="rId9" Type="http://schemas.openxmlformats.org/officeDocument/2006/relationships/oleObject" Target="../embeddings/oleObject173.bin"/><Relationship Id="rId14" Type="http://schemas.openxmlformats.org/officeDocument/2006/relationships/image" Target="../media/image149.svg"/></Relationships>
</file>

<file path=ppt/slides/_rels/slide31.xml.rels><?xml version="1.0" encoding="UTF-8" standalone="yes"?>
<Relationships xmlns="http://schemas.openxmlformats.org/package/2006/relationships"><Relationship Id="rId13" Type="http://schemas.openxmlformats.org/officeDocument/2006/relationships/tags" Target="../tags/tag1913.xml"/><Relationship Id="rId18" Type="http://schemas.openxmlformats.org/officeDocument/2006/relationships/tags" Target="../tags/tag1918.xml"/><Relationship Id="rId26" Type="http://schemas.openxmlformats.org/officeDocument/2006/relationships/tags" Target="../tags/tag1926.xml"/><Relationship Id="rId39" Type="http://schemas.openxmlformats.org/officeDocument/2006/relationships/tags" Target="../tags/tag1939.xml"/><Relationship Id="rId21" Type="http://schemas.openxmlformats.org/officeDocument/2006/relationships/tags" Target="../tags/tag1921.xml"/><Relationship Id="rId34" Type="http://schemas.openxmlformats.org/officeDocument/2006/relationships/tags" Target="../tags/tag1934.xml"/><Relationship Id="rId42" Type="http://schemas.openxmlformats.org/officeDocument/2006/relationships/tags" Target="../tags/tag1942.xml"/><Relationship Id="rId47" Type="http://schemas.openxmlformats.org/officeDocument/2006/relationships/tags" Target="../tags/tag1947.xml"/><Relationship Id="rId50" Type="http://schemas.openxmlformats.org/officeDocument/2006/relationships/tags" Target="../tags/tag1950.xml"/><Relationship Id="rId55" Type="http://schemas.openxmlformats.org/officeDocument/2006/relationships/image" Target="../media/image153.svg"/><Relationship Id="rId7" Type="http://schemas.openxmlformats.org/officeDocument/2006/relationships/tags" Target="../tags/tag1907.xml"/><Relationship Id="rId2" Type="http://schemas.openxmlformats.org/officeDocument/2006/relationships/tags" Target="../tags/tag1902.xml"/><Relationship Id="rId16" Type="http://schemas.openxmlformats.org/officeDocument/2006/relationships/tags" Target="../tags/tag1916.xml"/><Relationship Id="rId29" Type="http://schemas.openxmlformats.org/officeDocument/2006/relationships/tags" Target="../tags/tag1929.xml"/><Relationship Id="rId11" Type="http://schemas.openxmlformats.org/officeDocument/2006/relationships/tags" Target="../tags/tag1911.xml"/><Relationship Id="rId24" Type="http://schemas.openxmlformats.org/officeDocument/2006/relationships/tags" Target="../tags/tag1924.xml"/><Relationship Id="rId32" Type="http://schemas.openxmlformats.org/officeDocument/2006/relationships/tags" Target="../tags/tag1932.xml"/><Relationship Id="rId37" Type="http://schemas.openxmlformats.org/officeDocument/2006/relationships/tags" Target="../tags/tag1937.xml"/><Relationship Id="rId40" Type="http://schemas.openxmlformats.org/officeDocument/2006/relationships/tags" Target="../tags/tag1940.xml"/><Relationship Id="rId45" Type="http://schemas.openxmlformats.org/officeDocument/2006/relationships/tags" Target="../tags/tag1945.xml"/><Relationship Id="rId53" Type="http://schemas.openxmlformats.org/officeDocument/2006/relationships/slideLayout" Target="../slideLayouts/slideLayout7.xml"/><Relationship Id="rId58" Type="http://schemas.openxmlformats.org/officeDocument/2006/relationships/image" Target="../media/image156.png"/><Relationship Id="rId5" Type="http://schemas.openxmlformats.org/officeDocument/2006/relationships/tags" Target="../tags/tag1905.xml"/><Relationship Id="rId19" Type="http://schemas.openxmlformats.org/officeDocument/2006/relationships/tags" Target="../tags/tag1919.xml"/><Relationship Id="rId4" Type="http://schemas.openxmlformats.org/officeDocument/2006/relationships/tags" Target="../tags/tag1904.xml"/><Relationship Id="rId9" Type="http://schemas.openxmlformats.org/officeDocument/2006/relationships/tags" Target="../tags/tag1909.xml"/><Relationship Id="rId14" Type="http://schemas.openxmlformats.org/officeDocument/2006/relationships/tags" Target="../tags/tag1914.xml"/><Relationship Id="rId22" Type="http://schemas.openxmlformats.org/officeDocument/2006/relationships/tags" Target="../tags/tag1922.xml"/><Relationship Id="rId27" Type="http://schemas.openxmlformats.org/officeDocument/2006/relationships/tags" Target="../tags/tag1927.xml"/><Relationship Id="rId30" Type="http://schemas.openxmlformats.org/officeDocument/2006/relationships/tags" Target="../tags/tag1930.xml"/><Relationship Id="rId35" Type="http://schemas.openxmlformats.org/officeDocument/2006/relationships/tags" Target="../tags/tag1935.xml"/><Relationship Id="rId43" Type="http://schemas.openxmlformats.org/officeDocument/2006/relationships/tags" Target="../tags/tag1943.xml"/><Relationship Id="rId48" Type="http://schemas.openxmlformats.org/officeDocument/2006/relationships/tags" Target="../tags/tag1948.xml"/><Relationship Id="rId56" Type="http://schemas.openxmlformats.org/officeDocument/2006/relationships/image" Target="../media/image154.png"/><Relationship Id="rId8" Type="http://schemas.openxmlformats.org/officeDocument/2006/relationships/tags" Target="../tags/tag1908.xml"/><Relationship Id="rId51" Type="http://schemas.openxmlformats.org/officeDocument/2006/relationships/tags" Target="../tags/tag1951.xml"/><Relationship Id="rId3" Type="http://schemas.openxmlformats.org/officeDocument/2006/relationships/tags" Target="../tags/tag1903.xml"/><Relationship Id="rId12" Type="http://schemas.openxmlformats.org/officeDocument/2006/relationships/tags" Target="../tags/tag1912.xml"/><Relationship Id="rId17" Type="http://schemas.openxmlformats.org/officeDocument/2006/relationships/tags" Target="../tags/tag1917.xml"/><Relationship Id="rId25" Type="http://schemas.openxmlformats.org/officeDocument/2006/relationships/tags" Target="../tags/tag1925.xml"/><Relationship Id="rId33" Type="http://schemas.openxmlformats.org/officeDocument/2006/relationships/tags" Target="../tags/tag1933.xml"/><Relationship Id="rId38" Type="http://schemas.openxmlformats.org/officeDocument/2006/relationships/tags" Target="../tags/tag1938.xml"/><Relationship Id="rId46" Type="http://schemas.openxmlformats.org/officeDocument/2006/relationships/tags" Target="../tags/tag1946.xml"/><Relationship Id="rId59" Type="http://schemas.openxmlformats.org/officeDocument/2006/relationships/image" Target="../media/image157.svg"/><Relationship Id="rId20" Type="http://schemas.openxmlformats.org/officeDocument/2006/relationships/tags" Target="../tags/tag1920.xml"/><Relationship Id="rId41" Type="http://schemas.openxmlformats.org/officeDocument/2006/relationships/tags" Target="../tags/tag1941.xml"/><Relationship Id="rId54" Type="http://schemas.openxmlformats.org/officeDocument/2006/relationships/image" Target="../media/image152.png"/><Relationship Id="rId1" Type="http://schemas.openxmlformats.org/officeDocument/2006/relationships/tags" Target="../tags/tag1901.xml"/><Relationship Id="rId6" Type="http://schemas.openxmlformats.org/officeDocument/2006/relationships/tags" Target="../tags/tag1906.xml"/><Relationship Id="rId15" Type="http://schemas.openxmlformats.org/officeDocument/2006/relationships/tags" Target="../tags/tag1915.xml"/><Relationship Id="rId23" Type="http://schemas.openxmlformats.org/officeDocument/2006/relationships/tags" Target="../tags/tag1923.xml"/><Relationship Id="rId28" Type="http://schemas.openxmlformats.org/officeDocument/2006/relationships/tags" Target="../tags/tag1928.xml"/><Relationship Id="rId36" Type="http://schemas.openxmlformats.org/officeDocument/2006/relationships/tags" Target="../tags/tag1936.xml"/><Relationship Id="rId49" Type="http://schemas.openxmlformats.org/officeDocument/2006/relationships/tags" Target="../tags/tag1949.xml"/><Relationship Id="rId57" Type="http://schemas.openxmlformats.org/officeDocument/2006/relationships/image" Target="../media/image155.svg"/><Relationship Id="rId10" Type="http://schemas.openxmlformats.org/officeDocument/2006/relationships/tags" Target="../tags/tag1910.xml"/><Relationship Id="rId31" Type="http://schemas.openxmlformats.org/officeDocument/2006/relationships/tags" Target="../tags/tag1931.xml"/><Relationship Id="rId44" Type="http://schemas.openxmlformats.org/officeDocument/2006/relationships/tags" Target="../tags/tag1944.xml"/><Relationship Id="rId52" Type="http://schemas.openxmlformats.org/officeDocument/2006/relationships/tags" Target="../tags/tag1952.xml"/></Relationships>
</file>

<file path=ppt/slides/_rels/slide3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24.xml"/><Relationship Id="rId7" Type="http://schemas.openxmlformats.org/officeDocument/2006/relationships/image" Target="../media/image12.png"/><Relationship Id="rId12" Type="http://schemas.openxmlformats.org/officeDocument/2006/relationships/image" Target="../media/image2.wmf"/><Relationship Id="rId2" Type="http://schemas.openxmlformats.org/officeDocument/2006/relationships/slideLayout" Target="../slideLayouts/slideLayout40.xml"/><Relationship Id="rId1" Type="http://schemas.openxmlformats.org/officeDocument/2006/relationships/tags" Target="../tags/tag1953.xml"/><Relationship Id="rId6" Type="http://schemas.openxmlformats.org/officeDocument/2006/relationships/image" Target="../media/image11.png"/><Relationship Id="rId11" Type="http://schemas.openxmlformats.org/officeDocument/2006/relationships/image" Target="../media/image1.emf"/><Relationship Id="rId5" Type="http://schemas.openxmlformats.org/officeDocument/2006/relationships/image" Target="../media/image10.png"/><Relationship Id="rId10" Type="http://schemas.openxmlformats.org/officeDocument/2006/relationships/oleObject" Target="../embeddings/oleObject174.bin"/><Relationship Id="rId4" Type="http://schemas.openxmlformats.org/officeDocument/2006/relationships/image" Target="../media/image9.png"/><Relationship Id="rId9" Type="http://schemas.openxmlformats.org/officeDocument/2006/relationships/image" Target="../media/image14.png"/></Relationships>
</file>

<file path=ppt/slides/_rels/slide4.xml.rels><?xml version="1.0" encoding="UTF-8" standalone="yes"?>
<Relationships xmlns="http://schemas.openxmlformats.org/package/2006/relationships"><Relationship Id="rId8" Type="http://schemas.openxmlformats.org/officeDocument/2006/relationships/tags" Target="../tags/tag1043.xml"/><Relationship Id="rId13" Type="http://schemas.openxmlformats.org/officeDocument/2006/relationships/tags" Target="../tags/tag1048.xml"/><Relationship Id="rId18" Type="http://schemas.openxmlformats.org/officeDocument/2006/relationships/tags" Target="../tags/tag1053.xml"/><Relationship Id="rId26" Type="http://schemas.openxmlformats.org/officeDocument/2006/relationships/chart" Target="../charts/chart4.xml"/><Relationship Id="rId3" Type="http://schemas.openxmlformats.org/officeDocument/2006/relationships/tags" Target="../tags/tag1038.xml"/><Relationship Id="rId21" Type="http://schemas.openxmlformats.org/officeDocument/2006/relationships/tags" Target="../tags/tag1056.xml"/><Relationship Id="rId7" Type="http://schemas.openxmlformats.org/officeDocument/2006/relationships/tags" Target="../tags/tag1042.xml"/><Relationship Id="rId12" Type="http://schemas.openxmlformats.org/officeDocument/2006/relationships/tags" Target="../tags/tag1047.xml"/><Relationship Id="rId17" Type="http://schemas.openxmlformats.org/officeDocument/2006/relationships/tags" Target="../tags/tag1052.xml"/><Relationship Id="rId25" Type="http://schemas.openxmlformats.org/officeDocument/2006/relationships/image" Target="../media/image5.emf"/><Relationship Id="rId2" Type="http://schemas.openxmlformats.org/officeDocument/2006/relationships/tags" Target="../tags/tag1037.xml"/><Relationship Id="rId16" Type="http://schemas.openxmlformats.org/officeDocument/2006/relationships/tags" Target="../tags/tag1051.xml"/><Relationship Id="rId20" Type="http://schemas.openxmlformats.org/officeDocument/2006/relationships/tags" Target="../tags/tag1055.xml"/><Relationship Id="rId1" Type="http://schemas.openxmlformats.org/officeDocument/2006/relationships/tags" Target="../tags/tag1036.xml"/><Relationship Id="rId6" Type="http://schemas.openxmlformats.org/officeDocument/2006/relationships/tags" Target="../tags/tag1041.xml"/><Relationship Id="rId11" Type="http://schemas.openxmlformats.org/officeDocument/2006/relationships/tags" Target="../tags/tag1046.xml"/><Relationship Id="rId24" Type="http://schemas.openxmlformats.org/officeDocument/2006/relationships/oleObject" Target="../embeddings/oleObject148.bin"/><Relationship Id="rId5" Type="http://schemas.openxmlformats.org/officeDocument/2006/relationships/tags" Target="../tags/tag1040.xml"/><Relationship Id="rId15" Type="http://schemas.openxmlformats.org/officeDocument/2006/relationships/tags" Target="../tags/tag1050.xml"/><Relationship Id="rId23" Type="http://schemas.openxmlformats.org/officeDocument/2006/relationships/slideLayout" Target="../slideLayouts/slideLayout2.xml"/><Relationship Id="rId10" Type="http://schemas.openxmlformats.org/officeDocument/2006/relationships/tags" Target="../tags/tag1045.xml"/><Relationship Id="rId19" Type="http://schemas.openxmlformats.org/officeDocument/2006/relationships/tags" Target="../tags/tag1054.xml"/><Relationship Id="rId4" Type="http://schemas.openxmlformats.org/officeDocument/2006/relationships/tags" Target="../tags/tag1039.xml"/><Relationship Id="rId9" Type="http://schemas.openxmlformats.org/officeDocument/2006/relationships/tags" Target="../tags/tag1044.xml"/><Relationship Id="rId14" Type="http://schemas.openxmlformats.org/officeDocument/2006/relationships/tags" Target="../tags/tag1049.xml"/><Relationship Id="rId22" Type="http://schemas.openxmlformats.org/officeDocument/2006/relationships/tags" Target="../tags/tag1057.xml"/><Relationship Id="rId27" Type="http://schemas.openxmlformats.org/officeDocument/2006/relationships/chart" Target="../charts/chart5.xml"/></Relationships>
</file>

<file path=ppt/slides/_rels/slide5.xml.rels><?xml version="1.0" encoding="UTF-8" standalone="yes"?>
<Relationships xmlns="http://schemas.openxmlformats.org/package/2006/relationships"><Relationship Id="rId13" Type="http://schemas.openxmlformats.org/officeDocument/2006/relationships/tags" Target="../tags/tag1070.xml"/><Relationship Id="rId18" Type="http://schemas.openxmlformats.org/officeDocument/2006/relationships/tags" Target="../tags/tag1075.xml"/><Relationship Id="rId26" Type="http://schemas.openxmlformats.org/officeDocument/2006/relationships/tags" Target="../tags/tag1083.xml"/><Relationship Id="rId39" Type="http://schemas.openxmlformats.org/officeDocument/2006/relationships/tags" Target="../tags/tag1096.xml"/><Relationship Id="rId21" Type="http://schemas.openxmlformats.org/officeDocument/2006/relationships/tags" Target="../tags/tag1078.xml"/><Relationship Id="rId34" Type="http://schemas.openxmlformats.org/officeDocument/2006/relationships/tags" Target="../tags/tag1091.xml"/><Relationship Id="rId42" Type="http://schemas.openxmlformats.org/officeDocument/2006/relationships/tags" Target="../tags/tag1099.xml"/><Relationship Id="rId47" Type="http://schemas.openxmlformats.org/officeDocument/2006/relationships/tags" Target="../tags/tag1104.xml"/><Relationship Id="rId50" Type="http://schemas.openxmlformats.org/officeDocument/2006/relationships/slideLayout" Target="../slideLayouts/slideLayout3.xml"/><Relationship Id="rId7" Type="http://schemas.openxmlformats.org/officeDocument/2006/relationships/tags" Target="../tags/tag1064.xml"/><Relationship Id="rId2" Type="http://schemas.openxmlformats.org/officeDocument/2006/relationships/tags" Target="../tags/tag1059.xml"/><Relationship Id="rId16" Type="http://schemas.openxmlformats.org/officeDocument/2006/relationships/tags" Target="../tags/tag1073.xml"/><Relationship Id="rId29" Type="http://schemas.openxmlformats.org/officeDocument/2006/relationships/tags" Target="../tags/tag1086.xml"/><Relationship Id="rId11" Type="http://schemas.openxmlformats.org/officeDocument/2006/relationships/tags" Target="../tags/tag1068.xml"/><Relationship Id="rId24" Type="http://schemas.openxmlformats.org/officeDocument/2006/relationships/tags" Target="../tags/tag1081.xml"/><Relationship Id="rId32" Type="http://schemas.openxmlformats.org/officeDocument/2006/relationships/tags" Target="../tags/tag1089.xml"/><Relationship Id="rId37" Type="http://schemas.openxmlformats.org/officeDocument/2006/relationships/tags" Target="../tags/tag1094.xml"/><Relationship Id="rId40" Type="http://schemas.openxmlformats.org/officeDocument/2006/relationships/tags" Target="../tags/tag1097.xml"/><Relationship Id="rId45" Type="http://schemas.openxmlformats.org/officeDocument/2006/relationships/tags" Target="../tags/tag1102.xml"/><Relationship Id="rId53" Type="http://schemas.openxmlformats.org/officeDocument/2006/relationships/image" Target="../media/image34.svg"/><Relationship Id="rId5" Type="http://schemas.openxmlformats.org/officeDocument/2006/relationships/tags" Target="../tags/tag1062.xml"/><Relationship Id="rId10" Type="http://schemas.openxmlformats.org/officeDocument/2006/relationships/tags" Target="../tags/tag1067.xml"/><Relationship Id="rId19" Type="http://schemas.openxmlformats.org/officeDocument/2006/relationships/tags" Target="../tags/tag1076.xml"/><Relationship Id="rId31" Type="http://schemas.openxmlformats.org/officeDocument/2006/relationships/tags" Target="../tags/tag1088.xml"/><Relationship Id="rId44" Type="http://schemas.openxmlformats.org/officeDocument/2006/relationships/tags" Target="../tags/tag1101.xml"/><Relationship Id="rId52" Type="http://schemas.openxmlformats.org/officeDocument/2006/relationships/image" Target="../media/image33.png"/><Relationship Id="rId4" Type="http://schemas.openxmlformats.org/officeDocument/2006/relationships/tags" Target="../tags/tag1061.xml"/><Relationship Id="rId9" Type="http://schemas.openxmlformats.org/officeDocument/2006/relationships/tags" Target="../tags/tag1066.xml"/><Relationship Id="rId14" Type="http://schemas.openxmlformats.org/officeDocument/2006/relationships/tags" Target="../tags/tag1071.xml"/><Relationship Id="rId22" Type="http://schemas.openxmlformats.org/officeDocument/2006/relationships/tags" Target="../tags/tag1079.xml"/><Relationship Id="rId27" Type="http://schemas.openxmlformats.org/officeDocument/2006/relationships/tags" Target="../tags/tag1084.xml"/><Relationship Id="rId30" Type="http://schemas.openxmlformats.org/officeDocument/2006/relationships/tags" Target="../tags/tag1087.xml"/><Relationship Id="rId35" Type="http://schemas.openxmlformats.org/officeDocument/2006/relationships/tags" Target="../tags/tag1092.xml"/><Relationship Id="rId43" Type="http://schemas.openxmlformats.org/officeDocument/2006/relationships/tags" Target="../tags/tag1100.xml"/><Relationship Id="rId48" Type="http://schemas.openxmlformats.org/officeDocument/2006/relationships/tags" Target="../tags/tag1105.xml"/><Relationship Id="rId8" Type="http://schemas.openxmlformats.org/officeDocument/2006/relationships/tags" Target="../tags/tag1065.xml"/><Relationship Id="rId51" Type="http://schemas.openxmlformats.org/officeDocument/2006/relationships/chart" Target="../charts/chart6.xml"/><Relationship Id="rId3" Type="http://schemas.openxmlformats.org/officeDocument/2006/relationships/tags" Target="../tags/tag1060.xml"/><Relationship Id="rId12" Type="http://schemas.openxmlformats.org/officeDocument/2006/relationships/tags" Target="../tags/tag1069.xml"/><Relationship Id="rId17" Type="http://schemas.openxmlformats.org/officeDocument/2006/relationships/tags" Target="../tags/tag1074.xml"/><Relationship Id="rId25" Type="http://schemas.openxmlformats.org/officeDocument/2006/relationships/tags" Target="../tags/tag1082.xml"/><Relationship Id="rId33" Type="http://schemas.openxmlformats.org/officeDocument/2006/relationships/tags" Target="../tags/tag1090.xml"/><Relationship Id="rId38" Type="http://schemas.openxmlformats.org/officeDocument/2006/relationships/tags" Target="../tags/tag1095.xml"/><Relationship Id="rId46" Type="http://schemas.openxmlformats.org/officeDocument/2006/relationships/tags" Target="../tags/tag1103.xml"/><Relationship Id="rId20" Type="http://schemas.openxmlformats.org/officeDocument/2006/relationships/tags" Target="../tags/tag1077.xml"/><Relationship Id="rId41" Type="http://schemas.openxmlformats.org/officeDocument/2006/relationships/tags" Target="../tags/tag1098.xml"/><Relationship Id="rId1" Type="http://schemas.openxmlformats.org/officeDocument/2006/relationships/tags" Target="../tags/tag1058.xml"/><Relationship Id="rId6" Type="http://schemas.openxmlformats.org/officeDocument/2006/relationships/tags" Target="../tags/tag1063.xml"/><Relationship Id="rId15" Type="http://schemas.openxmlformats.org/officeDocument/2006/relationships/tags" Target="../tags/tag1072.xml"/><Relationship Id="rId23" Type="http://schemas.openxmlformats.org/officeDocument/2006/relationships/tags" Target="../tags/tag1080.xml"/><Relationship Id="rId28" Type="http://schemas.openxmlformats.org/officeDocument/2006/relationships/tags" Target="../tags/tag1085.xml"/><Relationship Id="rId36" Type="http://schemas.openxmlformats.org/officeDocument/2006/relationships/tags" Target="../tags/tag1093.xml"/><Relationship Id="rId49" Type="http://schemas.openxmlformats.org/officeDocument/2006/relationships/tags" Target="../tags/tag1106.xml"/></Relationships>
</file>

<file path=ppt/slides/_rels/slide6.xml.rels><?xml version="1.0" encoding="UTF-8" standalone="yes"?>
<Relationships xmlns="http://schemas.openxmlformats.org/package/2006/relationships"><Relationship Id="rId8" Type="http://schemas.openxmlformats.org/officeDocument/2006/relationships/tags" Target="../tags/tag1114.xml"/><Relationship Id="rId13" Type="http://schemas.openxmlformats.org/officeDocument/2006/relationships/tags" Target="../tags/tag1119.xml"/><Relationship Id="rId18" Type="http://schemas.openxmlformats.org/officeDocument/2006/relationships/tags" Target="../tags/tag1124.xml"/><Relationship Id="rId26" Type="http://schemas.openxmlformats.org/officeDocument/2006/relationships/tags" Target="../tags/tag1132.xml"/><Relationship Id="rId3" Type="http://schemas.openxmlformats.org/officeDocument/2006/relationships/tags" Target="../tags/tag1109.xml"/><Relationship Id="rId21" Type="http://schemas.openxmlformats.org/officeDocument/2006/relationships/tags" Target="../tags/tag1127.xml"/><Relationship Id="rId7" Type="http://schemas.openxmlformats.org/officeDocument/2006/relationships/tags" Target="../tags/tag1113.xml"/><Relationship Id="rId12" Type="http://schemas.openxmlformats.org/officeDocument/2006/relationships/tags" Target="../tags/tag1118.xml"/><Relationship Id="rId17" Type="http://schemas.openxmlformats.org/officeDocument/2006/relationships/tags" Target="../tags/tag1123.xml"/><Relationship Id="rId25" Type="http://schemas.openxmlformats.org/officeDocument/2006/relationships/tags" Target="../tags/tag1131.xml"/><Relationship Id="rId2" Type="http://schemas.openxmlformats.org/officeDocument/2006/relationships/tags" Target="../tags/tag1108.xml"/><Relationship Id="rId16" Type="http://schemas.openxmlformats.org/officeDocument/2006/relationships/tags" Target="../tags/tag1122.xml"/><Relationship Id="rId20" Type="http://schemas.openxmlformats.org/officeDocument/2006/relationships/tags" Target="../tags/tag1126.xml"/><Relationship Id="rId29" Type="http://schemas.openxmlformats.org/officeDocument/2006/relationships/slideLayout" Target="../slideLayouts/slideLayout2.xml"/><Relationship Id="rId1" Type="http://schemas.openxmlformats.org/officeDocument/2006/relationships/tags" Target="../tags/tag1107.xml"/><Relationship Id="rId6" Type="http://schemas.openxmlformats.org/officeDocument/2006/relationships/tags" Target="../tags/tag1112.xml"/><Relationship Id="rId11" Type="http://schemas.openxmlformats.org/officeDocument/2006/relationships/tags" Target="../tags/tag1117.xml"/><Relationship Id="rId24" Type="http://schemas.openxmlformats.org/officeDocument/2006/relationships/tags" Target="../tags/tag1130.xml"/><Relationship Id="rId32" Type="http://schemas.openxmlformats.org/officeDocument/2006/relationships/chart" Target="../charts/chart7.xml"/><Relationship Id="rId5" Type="http://schemas.openxmlformats.org/officeDocument/2006/relationships/tags" Target="../tags/tag1111.xml"/><Relationship Id="rId15" Type="http://schemas.openxmlformats.org/officeDocument/2006/relationships/tags" Target="../tags/tag1121.xml"/><Relationship Id="rId23" Type="http://schemas.openxmlformats.org/officeDocument/2006/relationships/tags" Target="../tags/tag1129.xml"/><Relationship Id="rId28" Type="http://schemas.openxmlformats.org/officeDocument/2006/relationships/tags" Target="../tags/tag1134.xml"/><Relationship Id="rId10" Type="http://schemas.openxmlformats.org/officeDocument/2006/relationships/tags" Target="../tags/tag1116.xml"/><Relationship Id="rId19" Type="http://schemas.openxmlformats.org/officeDocument/2006/relationships/tags" Target="../tags/tag1125.xml"/><Relationship Id="rId31" Type="http://schemas.openxmlformats.org/officeDocument/2006/relationships/image" Target="../media/image5.emf"/><Relationship Id="rId4" Type="http://schemas.openxmlformats.org/officeDocument/2006/relationships/tags" Target="../tags/tag1110.xml"/><Relationship Id="rId9" Type="http://schemas.openxmlformats.org/officeDocument/2006/relationships/tags" Target="../tags/tag1115.xml"/><Relationship Id="rId14" Type="http://schemas.openxmlformats.org/officeDocument/2006/relationships/tags" Target="../tags/tag1120.xml"/><Relationship Id="rId22" Type="http://schemas.openxmlformats.org/officeDocument/2006/relationships/tags" Target="../tags/tag1128.xml"/><Relationship Id="rId27" Type="http://schemas.openxmlformats.org/officeDocument/2006/relationships/tags" Target="../tags/tag1133.xml"/><Relationship Id="rId30" Type="http://schemas.openxmlformats.org/officeDocument/2006/relationships/oleObject" Target="../embeddings/oleObject149.bin"/></Relationships>
</file>

<file path=ppt/slides/_rels/slide7.xml.rels><?xml version="1.0" encoding="UTF-8" standalone="yes"?>
<Relationships xmlns="http://schemas.openxmlformats.org/package/2006/relationships"><Relationship Id="rId13" Type="http://schemas.openxmlformats.org/officeDocument/2006/relationships/tags" Target="../tags/tag1147.xml"/><Relationship Id="rId18" Type="http://schemas.openxmlformats.org/officeDocument/2006/relationships/tags" Target="../tags/tag1152.xml"/><Relationship Id="rId26" Type="http://schemas.openxmlformats.org/officeDocument/2006/relationships/tags" Target="../tags/tag1160.xml"/><Relationship Id="rId3" Type="http://schemas.openxmlformats.org/officeDocument/2006/relationships/tags" Target="../tags/tag1137.xml"/><Relationship Id="rId21" Type="http://schemas.openxmlformats.org/officeDocument/2006/relationships/tags" Target="../tags/tag1155.xml"/><Relationship Id="rId34" Type="http://schemas.openxmlformats.org/officeDocument/2006/relationships/oleObject" Target="../embeddings/oleObject150.bin"/><Relationship Id="rId7" Type="http://schemas.openxmlformats.org/officeDocument/2006/relationships/tags" Target="../tags/tag1141.xml"/><Relationship Id="rId12" Type="http://schemas.openxmlformats.org/officeDocument/2006/relationships/tags" Target="../tags/tag1146.xml"/><Relationship Id="rId17" Type="http://schemas.openxmlformats.org/officeDocument/2006/relationships/tags" Target="../tags/tag1151.xml"/><Relationship Id="rId25" Type="http://schemas.openxmlformats.org/officeDocument/2006/relationships/tags" Target="../tags/tag1159.xml"/><Relationship Id="rId33" Type="http://schemas.openxmlformats.org/officeDocument/2006/relationships/slideLayout" Target="../slideLayouts/slideLayout11.xml"/><Relationship Id="rId2" Type="http://schemas.openxmlformats.org/officeDocument/2006/relationships/tags" Target="../tags/tag1136.xml"/><Relationship Id="rId16" Type="http://schemas.openxmlformats.org/officeDocument/2006/relationships/tags" Target="../tags/tag1150.xml"/><Relationship Id="rId20" Type="http://schemas.openxmlformats.org/officeDocument/2006/relationships/tags" Target="../tags/tag1154.xml"/><Relationship Id="rId29" Type="http://schemas.openxmlformats.org/officeDocument/2006/relationships/tags" Target="../tags/tag1163.xml"/><Relationship Id="rId1" Type="http://schemas.openxmlformats.org/officeDocument/2006/relationships/tags" Target="../tags/tag1135.xml"/><Relationship Id="rId6" Type="http://schemas.openxmlformats.org/officeDocument/2006/relationships/tags" Target="../tags/tag1140.xml"/><Relationship Id="rId11" Type="http://schemas.openxmlformats.org/officeDocument/2006/relationships/tags" Target="../tags/tag1145.xml"/><Relationship Id="rId24" Type="http://schemas.openxmlformats.org/officeDocument/2006/relationships/tags" Target="../tags/tag1158.xml"/><Relationship Id="rId32" Type="http://schemas.openxmlformats.org/officeDocument/2006/relationships/tags" Target="../tags/tag1166.xml"/><Relationship Id="rId5" Type="http://schemas.openxmlformats.org/officeDocument/2006/relationships/tags" Target="../tags/tag1139.xml"/><Relationship Id="rId15" Type="http://schemas.openxmlformats.org/officeDocument/2006/relationships/tags" Target="../tags/tag1149.xml"/><Relationship Id="rId23" Type="http://schemas.openxmlformats.org/officeDocument/2006/relationships/tags" Target="../tags/tag1157.xml"/><Relationship Id="rId28" Type="http://schemas.openxmlformats.org/officeDocument/2006/relationships/tags" Target="../tags/tag1162.xml"/><Relationship Id="rId36" Type="http://schemas.openxmlformats.org/officeDocument/2006/relationships/chart" Target="../charts/chart8.xml"/><Relationship Id="rId10" Type="http://schemas.openxmlformats.org/officeDocument/2006/relationships/tags" Target="../tags/tag1144.xml"/><Relationship Id="rId19" Type="http://schemas.openxmlformats.org/officeDocument/2006/relationships/tags" Target="../tags/tag1153.xml"/><Relationship Id="rId31" Type="http://schemas.openxmlformats.org/officeDocument/2006/relationships/tags" Target="../tags/tag1165.xml"/><Relationship Id="rId4" Type="http://schemas.openxmlformats.org/officeDocument/2006/relationships/tags" Target="../tags/tag1138.xml"/><Relationship Id="rId9" Type="http://schemas.openxmlformats.org/officeDocument/2006/relationships/tags" Target="../tags/tag1143.xml"/><Relationship Id="rId14" Type="http://schemas.openxmlformats.org/officeDocument/2006/relationships/tags" Target="../tags/tag1148.xml"/><Relationship Id="rId22" Type="http://schemas.openxmlformats.org/officeDocument/2006/relationships/tags" Target="../tags/tag1156.xml"/><Relationship Id="rId27" Type="http://schemas.openxmlformats.org/officeDocument/2006/relationships/tags" Target="../tags/tag1161.xml"/><Relationship Id="rId30" Type="http://schemas.openxmlformats.org/officeDocument/2006/relationships/tags" Target="../tags/tag1164.xml"/><Relationship Id="rId35" Type="http://schemas.openxmlformats.org/officeDocument/2006/relationships/image" Target="../media/image8.emf"/><Relationship Id="rId8" Type="http://schemas.openxmlformats.org/officeDocument/2006/relationships/tags" Target="../tags/tag1142.xml"/></Relationships>
</file>

<file path=ppt/slides/_rels/slide8.xml.rels><?xml version="1.0" encoding="UTF-8" standalone="yes"?>
<Relationships xmlns="http://schemas.openxmlformats.org/package/2006/relationships"><Relationship Id="rId13" Type="http://schemas.openxmlformats.org/officeDocument/2006/relationships/tags" Target="../tags/tag1179.xml"/><Relationship Id="rId18" Type="http://schemas.openxmlformats.org/officeDocument/2006/relationships/tags" Target="../tags/tag1184.xml"/><Relationship Id="rId26" Type="http://schemas.openxmlformats.org/officeDocument/2006/relationships/tags" Target="../tags/tag1192.xml"/><Relationship Id="rId39" Type="http://schemas.openxmlformats.org/officeDocument/2006/relationships/tags" Target="../tags/tag1205.xml"/><Relationship Id="rId21" Type="http://schemas.openxmlformats.org/officeDocument/2006/relationships/tags" Target="../tags/tag1187.xml"/><Relationship Id="rId34" Type="http://schemas.openxmlformats.org/officeDocument/2006/relationships/tags" Target="../tags/tag1200.xml"/><Relationship Id="rId42" Type="http://schemas.openxmlformats.org/officeDocument/2006/relationships/tags" Target="../tags/tag1208.xml"/><Relationship Id="rId47" Type="http://schemas.openxmlformats.org/officeDocument/2006/relationships/tags" Target="../tags/tag1213.xml"/><Relationship Id="rId50" Type="http://schemas.openxmlformats.org/officeDocument/2006/relationships/tags" Target="../tags/tag1216.xml"/><Relationship Id="rId55" Type="http://schemas.openxmlformats.org/officeDocument/2006/relationships/tags" Target="../tags/tag1221.xml"/><Relationship Id="rId7" Type="http://schemas.openxmlformats.org/officeDocument/2006/relationships/tags" Target="../tags/tag1173.xml"/><Relationship Id="rId2" Type="http://schemas.openxmlformats.org/officeDocument/2006/relationships/tags" Target="../tags/tag1168.xml"/><Relationship Id="rId16" Type="http://schemas.openxmlformats.org/officeDocument/2006/relationships/tags" Target="../tags/tag1182.xml"/><Relationship Id="rId29" Type="http://schemas.openxmlformats.org/officeDocument/2006/relationships/tags" Target="../tags/tag1195.xml"/><Relationship Id="rId11" Type="http://schemas.openxmlformats.org/officeDocument/2006/relationships/tags" Target="../tags/tag1177.xml"/><Relationship Id="rId24" Type="http://schemas.openxmlformats.org/officeDocument/2006/relationships/tags" Target="../tags/tag1190.xml"/><Relationship Id="rId32" Type="http://schemas.openxmlformats.org/officeDocument/2006/relationships/tags" Target="../tags/tag1198.xml"/><Relationship Id="rId37" Type="http://schemas.openxmlformats.org/officeDocument/2006/relationships/tags" Target="../tags/tag1203.xml"/><Relationship Id="rId40" Type="http://schemas.openxmlformats.org/officeDocument/2006/relationships/tags" Target="../tags/tag1206.xml"/><Relationship Id="rId45" Type="http://schemas.openxmlformats.org/officeDocument/2006/relationships/tags" Target="../tags/tag1211.xml"/><Relationship Id="rId53" Type="http://schemas.openxmlformats.org/officeDocument/2006/relationships/tags" Target="../tags/tag1219.xml"/><Relationship Id="rId58" Type="http://schemas.openxmlformats.org/officeDocument/2006/relationships/oleObject" Target="../embeddings/oleObject151.bin"/><Relationship Id="rId5" Type="http://schemas.openxmlformats.org/officeDocument/2006/relationships/tags" Target="../tags/tag1171.xml"/><Relationship Id="rId19" Type="http://schemas.openxmlformats.org/officeDocument/2006/relationships/tags" Target="../tags/tag1185.xml"/><Relationship Id="rId4" Type="http://schemas.openxmlformats.org/officeDocument/2006/relationships/tags" Target="../tags/tag1170.xml"/><Relationship Id="rId9" Type="http://schemas.openxmlformats.org/officeDocument/2006/relationships/tags" Target="../tags/tag1175.xml"/><Relationship Id="rId14" Type="http://schemas.openxmlformats.org/officeDocument/2006/relationships/tags" Target="../tags/tag1180.xml"/><Relationship Id="rId22" Type="http://schemas.openxmlformats.org/officeDocument/2006/relationships/tags" Target="../tags/tag1188.xml"/><Relationship Id="rId27" Type="http://schemas.openxmlformats.org/officeDocument/2006/relationships/tags" Target="../tags/tag1193.xml"/><Relationship Id="rId30" Type="http://schemas.openxmlformats.org/officeDocument/2006/relationships/tags" Target="../tags/tag1196.xml"/><Relationship Id="rId35" Type="http://schemas.openxmlformats.org/officeDocument/2006/relationships/tags" Target="../tags/tag1201.xml"/><Relationship Id="rId43" Type="http://schemas.openxmlformats.org/officeDocument/2006/relationships/tags" Target="../tags/tag1209.xml"/><Relationship Id="rId48" Type="http://schemas.openxmlformats.org/officeDocument/2006/relationships/tags" Target="../tags/tag1214.xml"/><Relationship Id="rId56" Type="http://schemas.openxmlformats.org/officeDocument/2006/relationships/tags" Target="../tags/tag1222.xml"/><Relationship Id="rId8" Type="http://schemas.openxmlformats.org/officeDocument/2006/relationships/tags" Target="../tags/tag1174.xml"/><Relationship Id="rId51" Type="http://schemas.openxmlformats.org/officeDocument/2006/relationships/tags" Target="../tags/tag1217.xml"/><Relationship Id="rId3" Type="http://schemas.openxmlformats.org/officeDocument/2006/relationships/tags" Target="../tags/tag1169.xml"/><Relationship Id="rId12" Type="http://schemas.openxmlformats.org/officeDocument/2006/relationships/tags" Target="../tags/tag1178.xml"/><Relationship Id="rId17" Type="http://schemas.openxmlformats.org/officeDocument/2006/relationships/tags" Target="../tags/tag1183.xml"/><Relationship Id="rId25" Type="http://schemas.openxmlformats.org/officeDocument/2006/relationships/tags" Target="../tags/tag1191.xml"/><Relationship Id="rId33" Type="http://schemas.openxmlformats.org/officeDocument/2006/relationships/tags" Target="../tags/tag1199.xml"/><Relationship Id="rId38" Type="http://schemas.openxmlformats.org/officeDocument/2006/relationships/tags" Target="../tags/tag1204.xml"/><Relationship Id="rId46" Type="http://schemas.openxmlformats.org/officeDocument/2006/relationships/tags" Target="../tags/tag1212.xml"/><Relationship Id="rId59" Type="http://schemas.openxmlformats.org/officeDocument/2006/relationships/image" Target="../media/image8.emf"/><Relationship Id="rId20" Type="http://schemas.openxmlformats.org/officeDocument/2006/relationships/tags" Target="../tags/tag1186.xml"/><Relationship Id="rId41" Type="http://schemas.openxmlformats.org/officeDocument/2006/relationships/tags" Target="../tags/tag1207.xml"/><Relationship Id="rId54" Type="http://schemas.openxmlformats.org/officeDocument/2006/relationships/tags" Target="../tags/tag1220.xml"/><Relationship Id="rId1" Type="http://schemas.openxmlformats.org/officeDocument/2006/relationships/tags" Target="../tags/tag1167.xml"/><Relationship Id="rId6" Type="http://schemas.openxmlformats.org/officeDocument/2006/relationships/tags" Target="../tags/tag1172.xml"/><Relationship Id="rId15" Type="http://schemas.openxmlformats.org/officeDocument/2006/relationships/tags" Target="../tags/tag1181.xml"/><Relationship Id="rId23" Type="http://schemas.openxmlformats.org/officeDocument/2006/relationships/tags" Target="../tags/tag1189.xml"/><Relationship Id="rId28" Type="http://schemas.openxmlformats.org/officeDocument/2006/relationships/tags" Target="../tags/tag1194.xml"/><Relationship Id="rId36" Type="http://schemas.openxmlformats.org/officeDocument/2006/relationships/tags" Target="../tags/tag1202.xml"/><Relationship Id="rId49" Type="http://schemas.openxmlformats.org/officeDocument/2006/relationships/tags" Target="../tags/tag1215.xml"/><Relationship Id="rId57" Type="http://schemas.openxmlformats.org/officeDocument/2006/relationships/slideLayout" Target="../slideLayouts/slideLayout11.xml"/><Relationship Id="rId10" Type="http://schemas.openxmlformats.org/officeDocument/2006/relationships/tags" Target="../tags/tag1176.xml"/><Relationship Id="rId31" Type="http://schemas.openxmlformats.org/officeDocument/2006/relationships/tags" Target="../tags/tag1197.xml"/><Relationship Id="rId44" Type="http://schemas.openxmlformats.org/officeDocument/2006/relationships/tags" Target="../tags/tag1210.xml"/><Relationship Id="rId52" Type="http://schemas.openxmlformats.org/officeDocument/2006/relationships/tags" Target="../tags/tag1218.xml"/><Relationship Id="rId60" Type="http://schemas.openxmlformats.org/officeDocument/2006/relationships/chart" Target="../charts/chart9.xml"/></Relationships>
</file>

<file path=ppt/slides/_rels/slide9.xml.rels><?xml version="1.0" encoding="UTF-8" standalone="yes"?>
<Relationships xmlns="http://schemas.openxmlformats.org/package/2006/relationships"><Relationship Id="rId8" Type="http://schemas.openxmlformats.org/officeDocument/2006/relationships/tags" Target="../tags/tag1230.xml"/><Relationship Id="rId13" Type="http://schemas.openxmlformats.org/officeDocument/2006/relationships/tags" Target="../tags/tag1235.xml"/><Relationship Id="rId18" Type="http://schemas.openxmlformats.org/officeDocument/2006/relationships/tags" Target="../tags/tag1240.xml"/><Relationship Id="rId26" Type="http://schemas.openxmlformats.org/officeDocument/2006/relationships/tags" Target="../tags/tag1248.xml"/><Relationship Id="rId3" Type="http://schemas.openxmlformats.org/officeDocument/2006/relationships/tags" Target="../tags/tag1225.xml"/><Relationship Id="rId21" Type="http://schemas.openxmlformats.org/officeDocument/2006/relationships/tags" Target="../tags/tag1243.xml"/><Relationship Id="rId7" Type="http://schemas.openxmlformats.org/officeDocument/2006/relationships/tags" Target="../tags/tag1229.xml"/><Relationship Id="rId12" Type="http://schemas.openxmlformats.org/officeDocument/2006/relationships/tags" Target="../tags/tag1234.xml"/><Relationship Id="rId17" Type="http://schemas.openxmlformats.org/officeDocument/2006/relationships/tags" Target="../tags/tag1239.xml"/><Relationship Id="rId25" Type="http://schemas.openxmlformats.org/officeDocument/2006/relationships/tags" Target="../tags/tag1247.xml"/><Relationship Id="rId2" Type="http://schemas.openxmlformats.org/officeDocument/2006/relationships/tags" Target="../tags/tag1224.xml"/><Relationship Id="rId16" Type="http://schemas.openxmlformats.org/officeDocument/2006/relationships/tags" Target="../tags/tag1238.xml"/><Relationship Id="rId20" Type="http://schemas.openxmlformats.org/officeDocument/2006/relationships/tags" Target="../tags/tag1242.xml"/><Relationship Id="rId29" Type="http://schemas.openxmlformats.org/officeDocument/2006/relationships/oleObject" Target="../embeddings/oleObject152.bin"/><Relationship Id="rId1" Type="http://schemas.openxmlformats.org/officeDocument/2006/relationships/tags" Target="../tags/tag1223.xml"/><Relationship Id="rId6" Type="http://schemas.openxmlformats.org/officeDocument/2006/relationships/tags" Target="../tags/tag1228.xml"/><Relationship Id="rId11" Type="http://schemas.openxmlformats.org/officeDocument/2006/relationships/tags" Target="../tags/tag1233.xml"/><Relationship Id="rId24" Type="http://schemas.openxmlformats.org/officeDocument/2006/relationships/tags" Target="../tags/tag1246.xml"/><Relationship Id="rId32" Type="http://schemas.openxmlformats.org/officeDocument/2006/relationships/image" Target="../media/image35.png"/><Relationship Id="rId5" Type="http://schemas.openxmlformats.org/officeDocument/2006/relationships/tags" Target="../tags/tag1227.xml"/><Relationship Id="rId15" Type="http://schemas.openxmlformats.org/officeDocument/2006/relationships/tags" Target="../tags/tag1237.xml"/><Relationship Id="rId23" Type="http://schemas.openxmlformats.org/officeDocument/2006/relationships/tags" Target="../tags/tag1245.xml"/><Relationship Id="rId28" Type="http://schemas.openxmlformats.org/officeDocument/2006/relationships/notesSlide" Target="../notesSlides/notesSlide4.xml"/><Relationship Id="rId10" Type="http://schemas.openxmlformats.org/officeDocument/2006/relationships/tags" Target="../tags/tag1232.xml"/><Relationship Id="rId19" Type="http://schemas.openxmlformats.org/officeDocument/2006/relationships/tags" Target="../tags/tag1241.xml"/><Relationship Id="rId31" Type="http://schemas.openxmlformats.org/officeDocument/2006/relationships/chart" Target="../charts/chart10.xml"/><Relationship Id="rId4" Type="http://schemas.openxmlformats.org/officeDocument/2006/relationships/tags" Target="../tags/tag1226.xml"/><Relationship Id="rId9" Type="http://schemas.openxmlformats.org/officeDocument/2006/relationships/tags" Target="../tags/tag1231.xml"/><Relationship Id="rId14" Type="http://schemas.openxmlformats.org/officeDocument/2006/relationships/tags" Target="../tags/tag1236.xml"/><Relationship Id="rId22" Type="http://schemas.openxmlformats.org/officeDocument/2006/relationships/tags" Target="../tags/tag1244.xml"/><Relationship Id="rId27" Type="http://schemas.openxmlformats.org/officeDocument/2006/relationships/slideLayout" Target="../slideLayouts/slideLayout2.xml"/><Relationship Id="rId30"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Grafik 27">
            <a:extLst>
              <a:ext uri="{FF2B5EF4-FFF2-40B4-BE49-F238E27FC236}">
                <a16:creationId xmlns:a16="http://schemas.microsoft.com/office/drawing/2014/main" id="{E3459ADA-8C73-4B02-FA9E-F17184CC9B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85464" y="2498650"/>
            <a:ext cx="8408841" cy="4728495"/>
          </a:xfrm>
          <a:prstGeom prst="rect">
            <a:avLst/>
          </a:prstGeom>
        </p:spPr>
      </p:pic>
      <p:pic>
        <p:nvPicPr>
          <p:cNvPr id="5" name="Grafik 4">
            <a:extLst>
              <a:ext uri="{FF2B5EF4-FFF2-40B4-BE49-F238E27FC236}">
                <a16:creationId xmlns:a16="http://schemas.microsoft.com/office/drawing/2014/main" id="{AF408618-3B00-FEA4-3A2E-757B9AA9980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85464" y="2498650"/>
            <a:ext cx="8408841" cy="4728495"/>
          </a:xfrm>
          <a:prstGeom prst="rect">
            <a:avLst/>
          </a:prstGeom>
        </p:spPr>
      </p:pic>
      <p:pic>
        <p:nvPicPr>
          <p:cNvPr id="30" name="Grafik 29">
            <a:extLst>
              <a:ext uri="{FF2B5EF4-FFF2-40B4-BE49-F238E27FC236}">
                <a16:creationId xmlns:a16="http://schemas.microsoft.com/office/drawing/2014/main" id="{EE2F4AC2-C7B5-6F99-D3F6-C165899C3A6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585464" y="2498650"/>
            <a:ext cx="8408841" cy="4728495"/>
          </a:xfrm>
          <a:prstGeom prst="rect">
            <a:avLst/>
          </a:prstGeom>
        </p:spPr>
      </p:pic>
      <p:pic>
        <p:nvPicPr>
          <p:cNvPr id="32" name="Grafik 31">
            <a:extLst>
              <a:ext uri="{FF2B5EF4-FFF2-40B4-BE49-F238E27FC236}">
                <a16:creationId xmlns:a16="http://schemas.microsoft.com/office/drawing/2014/main" id="{C0ED4F13-3352-177D-286B-0DA04F2CC1A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585464" y="2498650"/>
            <a:ext cx="8408841" cy="4728495"/>
          </a:xfrm>
          <a:prstGeom prst="rect">
            <a:avLst/>
          </a:prstGeom>
        </p:spPr>
      </p:pic>
      <p:pic>
        <p:nvPicPr>
          <p:cNvPr id="34" name="Grafik 33">
            <a:extLst>
              <a:ext uri="{FF2B5EF4-FFF2-40B4-BE49-F238E27FC236}">
                <a16:creationId xmlns:a16="http://schemas.microsoft.com/office/drawing/2014/main" id="{D1101BF6-3E16-A141-710F-B74D86A0D06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585464" y="2498650"/>
            <a:ext cx="8408841" cy="4728495"/>
          </a:xfrm>
          <a:prstGeom prst="rect">
            <a:avLst/>
          </a:prstGeom>
        </p:spPr>
      </p:pic>
      <p:pic>
        <p:nvPicPr>
          <p:cNvPr id="36" name="Grafik 35" descr="Ein Bild, das Text, Vektorgrafiken enthält.&#10;&#10;Automatisch generierte Beschreibung">
            <a:extLst>
              <a:ext uri="{FF2B5EF4-FFF2-40B4-BE49-F238E27FC236}">
                <a16:creationId xmlns:a16="http://schemas.microsoft.com/office/drawing/2014/main" id="{9B97BC7C-DCA4-05EA-E9AA-AEA0B15CEB1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599222" y="2498650"/>
            <a:ext cx="8408841" cy="4728495"/>
          </a:xfrm>
          <a:prstGeom prst="rect">
            <a:avLst/>
          </a:prstGeom>
        </p:spPr>
      </p:pic>
      <p:graphicFrame>
        <p:nvGraphicFramePr>
          <p:cNvPr id="7" name="Object 6" hidden="1">
            <a:extLst>
              <a:ext uri="{FF2B5EF4-FFF2-40B4-BE49-F238E27FC236}">
                <a16:creationId xmlns:a16="http://schemas.microsoft.com/office/drawing/2014/main" id="{3CD4AF99-FBB1-4CF6-92DD-5D4E59EAA7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27" imgH="327" progId="TCLayout.ActiveDocument.1">
                  <p:embed/>
                </p:oleObj>
              </mc:Choice>
              <mc:Fallback>
                <p:oleObj name="think-cell Slide" r:id="rId10" imgW="327" imgH="327" progId="TCLayout.ActiveDocument.1">
                  <p:embed/>
                  <p:pic>
                    <p:nvPicPr>
                      <p:cNvPr id="7" name="Object 6" hidden="1">
                        <a:extLst>
                          <a:ext uri="{FF2B5EF4-FFF2-40B4-BE49-F238E27FC236}">
                            <a16:creationId xmlns:a16="http://schemas.microsoft.com/office/drawing/2014/main" id="{3CD4AF99-FBB1-4CF6-92DD-5D4E59EAA70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Untertitel 2">
            <a:extLst>
              <a:ext uri="{FF2B5EF4-FFF2-40B4-BE49-F238E27FC236}">
                <a16:creationId xmlns:a16="http://schemas.microsoft.com/office/drawing/2014/main" id="{C5279457-A505-56DD-0DA7-429012C8125C}"/>
              </a:ext>
            </a:extLst>
          </p:cNvPr>
          <p:cNvSpPr>
            <a:spLocks noGrp="1"/>
          </p:cNvSpPr>
          <p:nvPr>
            <p:ph type="subTitle" idx="1"/>
          </p:nvPr>
        </p:nvSpPr>
        <p:spPr>
          <a:xfrm>
            <a:off x="814919" y="2438400"/>
            <a:ext cx="10306049" cy="1600200"/>
          </a:xfrm>
        </p:spPr>
        <p:txBody>
          <a:bodyPr/>
          <a:lstStyle/>
          <a:p>
            <a:r>
              <a:rPr lang="de-AT" dirty="0">
                <a:cs typeface="Calibri" panose="020F0502020204030204" pitchFamily="34" charset="0"/>
              </a:rPr>
              <a:t>Mag. Siegfried Nagl, Energie-Sonderbeauftragter des WKÖ-Präsidiums</a:t>
            </a:r>
            <a:endParaRPr lang="en-US" dirty="0"/>
          </a:p>
        </p:txBody>
      </p:sp>
      <p:pic>
        <p:nvPicPr>
          <p:cNvPr id="23" name="Picture 24">
            <a:extLst>
              <a:ext uri="{FF2B5EF4-FFF2-40B4-BE49-F238E27FC236}">
                <a16:creationId xmlns:a16="http://schemas.microsoft.com/office/drawing/2014/main" id="{D7B40661-669F-43A9-9DF3-A9DBA716BA00}"/>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10742580" y="6332378"/>
            <a:ext cx="1116013" cy="346688"/>
          </a:xfrm>
          <a:prstGeom prst="rect">
            <a:avLst/>
          </a:prstGeom>
          <a:noFill/>
        </p:spPr>
      </p:pic>
      <p:sp>
        <p:nvSpPr>
          <p:cNvPr id="8" name="Title 7">
            <a:extLst>
              <a:ext uri="{FF2B5EF4-FFF2-40B4-BE49-F238E27FC236}">
                <a16:creationId xmlns:a16="http://schemas.microsoft.com/office/drawing/2014/main" id="{D9A0E991-10F3-4C84-A3E9-0C29405C54F4}"/>
              </a:ext>
            </a:extLst>
          </p:cNvPr>
          <p:cNvSpPr>
            <a:spLocks noGrp="1"/>
          </p:cNvSpPr>
          <p:nvPr>
            <p:ph type="ctrTitle"/>
          </p:nvPr>
        </p:nvSpPr>
        <p:spPr/>
        <p:txBody>
          <a:bodyPr vert="horz">
            <a:normAutofit fontScale="90000"/>
          </a:bodyPr>
          <a:lstStyle/>
          <a:p>
            <a:r>
              <a:rPr lang="de-AT" b="1" dirty="0"/>
              <a:t>Energiemasterplan für Österreich</a:t>
            </a:r>
            <a:br>
              <a:rPr lang="de-AT" b="1" dirty="0"/>
            </a:br>
            <a:r>
              <a:rPr lang="de-AT" b="1" dirty="0"/>
              <a:t>Für die Wirtschaft. Für uns ALLE.</a:t>
            </a:r>
            <a:br>
              <a:rPr lang="de-AT" b="1" dirty="0"/>
            </a:br>
            <a:br>
              <a:rPr lang="de-AT" b="1" dirty="0"/>
            </a:br>
            <a:br>
              <a:rPr lang="de-AT" dirty="0"/>
            </a:br>
            <a:endParaRPr lang="en-US" dirty="0"/>
          </a:p>
        </p:txBody>
      </p:sp>
    </p:spTree>
    <p:extLst>
      <p:ext uri="{BB962C8B-B14F-4D97-AF65-F5344CB8AC3E}">
        <p14:creationId xmlns:p14="http://schemas.microsoft.com/office/powerpoint/2010/main" val="36112472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8" name="Object 6" hidden="1">
            <a:extLst>
              <a:ext uri="{FF2B5EF4-FFF2-40B4-BE49-F238E27FC236}">
                <a16:creationId xmlns:a16="http://schemas.microsoft.com/office/drawing/2014/main" id="{EAC4D95E-087E-4AC0-B2C1-EBB2F6E70298}"/>
              </a:ext>
            </a:extLst>
          </p:cNvPr>
          <p:cNvGraphicFramePr>
            <a:graphicFrameLocks noChangeAspect="1"/>
          </p:cNvGraphicFramePr>
          <p:nvPr>
            <p:custDataLst>
              <p:tags r:id="rId1"/>
            </p:custDataLst>
            <p:extLst>
              <p:ext uri="{D42A27DB-BD31-4B8C-83A1-F6EECF244321}">
                <p14:modId xmlns:p14="http://schemas.microsoft.com/office/powerpoint/2010/main" val="949022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8" imgW="592" imgH="595" progId="TCLayout.ActiveDocument.1">
                  <p:embed/>
                </p:oleObj>
              </mc:Choice>
              <mc:Fallback>
                <p:oleObj name="think-cell Slide" r:id="rId88" imgW="592" imgH="595" progId="TCLayout.ActiveDocument.1">
                  <p:embed/>
                  <p:pic>
                    <p:nvPicPr>
                      <p:cNvPr id="148" name="Object 6" hidden="1">
                        <a:extLst>
                          <a:ext uri="{FF2B5EF4-FFF2-40B4-BE49-F238E27FC236}">
                            <a16:creationId xmlns:a16="http://schemas.microsoft.com/office/drawing/2014/main" id="{EAC4D95E-087E-4AC0-B2C1-EBB2F6E70298}"/>
                          </a:ext>
                        </a:extLst>
                      </p:cNvPr>
                      <p:cNvPicPr/>
                      <p:nvPr/>
                    </p:nvPicPr>
                    <p:blipFill>
                      <a:blip r:embed="rId89"/>
                      <a:stretch>
                        <a:fillRect/>
                      </a:stretch>
                    </p:blipFill>
                    <p:spPr>
                      <a:xfrm>
                        <a:off x="1588" y="1588"/>
                        <a:ext cx="1588" cy="1588"/>
                      </a:xfrm>
                      <a:prstGeom prst="rect">
                        <a:avLst/>
                      </a:prstGeom>
                    </p:spPr>
                  </p:pic>
                </p:oleObj>
              </mc:Fallback>
            </mc:AlternateContent>
          </a:graphicData>
        </a:graphic>
      </p:graphicFrame>
      <p:graphicFrame>
        <p:nvGraphicFramePr>
          <p:cNvPr id="5" name="Chart 4">
            <a:extLst>
              <a:ext uri="{FF2B5EF4-FFF2-40B4-BE49-F238E27FC236}">
                <a16:creationId xmlns:a16="http://schemas.microsoft.com/office/drawing/2014/main" id="{D72CEA95-B123-AED3-45A4-AE51CD02E711}"/>
              </a:ext>
            </a:extLst>
          </p:cNvPr>
          <p:cNvGraphicFramePr/>
          <p:nvPr>
            <p:custDataLst>
              <p:tags r:id="rId2"/>
            </p:custDataLst>
            <p:extLst>
              <p:ext uri="{D42A27DB-BD31-4B8C-83A1-F6EECF244321}">
                <p14:modId xmlns:p14="http://schemas.microsoft.com/office/powerpoint/2010/main" val="1996937917"/>
              </p:ext>
            </p:extLst>
          </p:nvPr>
        </p:nvGraphicFramePr>
        <p:xfrm>
          <a:off x="471488" y="2151063"/>
          <a:ext cx="11249025" cy="3589337"/>
        </p:xfrm>
        <a:graphic>
          <a:graphicData uri="http://schemas.openxmlformats.org/drawingml/2006/chart">
            <c:chart xmlns:c="http://schemas.openxmlformats.org/drawingml/2006/chart" xmlns:r="http://schemas.openxmlformats.org/officeDocument/2006/relationships" r:id="rId90"/>
          </a:graphicData>
        </a:graphic>
      </p:graphicFrame>
      <p:cxnSp>
        <p:nvCxnSpPr>
          <p:cNvPr id="252" name="Straight Connector 251">
            <a:extLst>
              <a:ext uri="{FF2B5EF4-FFF2-40B4-BE49-F238E27FC236}">
                <a16:creationId xmlns:a16="http://schemas.microsoft.com/office/drawing/2014/main" id="{7D20A3C0-3245-424E-A208-A4A4254803D7}"/>
              </a:ext>
            </a:extLst>
          </p:cNvPr>
          <p:cNvCxnSpPr/>
          <p:nvPr>
            <p:custDataLst>
              <p:tags r:id="rId3"/>
            </p:custDataLst>
          </p:nvPr>
        </p:nvCxnSpPr>
        <p:spPr bwMode="gray">
          <a:xfrm>
            <a:off x="7473950" y="2734898"/>
            <a:ext cx="0" cy="958850"/>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7B4C4FAF-12C0-4EC4-81DE-2FDBCE424EF1}"/>
              </a:ext>
            </a:extLst>
          </p:cNvPr>
          <p:cNvCxnSpPr/>
          <p:nvPr>
            <p:custDataLst>
              <p:tags r:id="rId4"/>
            </p:custDataLst>
          </p:nvPr>
        </p:nvCxnSpPr>
        <p:spPr bwMode="gray">
          <a:xfrm>
            <a:off x="7180263" y="2734898"/>
            <a:ext cx="293688" cy="0"/>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E881B3BE-1560-4C65-A006-AA1C3DED43E1}"/>
              </a:ext>
            </a:extLst>
          </p:cNvPr>
          <p:cNvCxnSpPr/>
          <p:nvPr>
            <p:custDataLst>
              <p:tags r:id="rId5"/>
            </p:custDataLst>
          </p:nvPr>
        </p:nvCxnSpPr>
        <p:spPr bwMode="gray">
          <a:xfrm>
            <a:off x="7180263" y="2734898"/>
            <a:ext cx="0" cy="958850"/>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8E94FD15-25F6-4D49-8E57-3B81513A5417}"/>
              </a:ext>
            </a:extLst>
          </p:cNvPr>
          <p:cNvCxnSpPr/>
          <p:nvPr>
            <p:custDataLst>
              <p:tags r:id="rId6"/>
            </p:custDataLst>
          </p:nvPr>
        </p:nvCxnSpPr>
        <p:spPr bwMode="gray">
          <a:xfrm>
            <a:off x="7062788" y="2855548"/>
            <a:ext cx="0" cy="903288"/>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68E6A493-C14E-42EB-AA4E-45475ED0641D}"/>
              </a:ext>
            </a:extLst>
          </p:cNvPr>
          <p:cNvCxnSpPr/>
          <p:nvPr>
            <p:custDataLst>
              <p:tags r:id="rId7"/>
            </p:custDataLst>
          </p:nvPr>
        </p:nvCxnSpPr>
        <p:spPr bwMode="gray">
          <a:xfrm>
            <a:off x="6769100" y="2855548"/>
            <a:ext cx="0" cy="903288"/>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FB3AA217-4934-4783-95F3-FE344C37AD59}"/>
              </a:ext>
            </a:extLst>
          </p:cNvPr>
          <p:cNvCxnSpPr/>
          <p:nvPr>
            <p:custDataLst>
              <p:tags r:id="rId8"/>
            </p:custDataLst>
          </p:nvPr>
        </p:nvCxnSpPr>
        <p:spPr bwMode="gray">
          <a:xfrm>
            <a:off x="6769100" y="2855548"/>
            <a:ext cx="293688" cy="0"/>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C0C472FC-B41C-47F4-AE21-761A45C16CAF}"/>
              </a:ext>
            </a:extLst>
          </p:cNvPr>
          <p:cNvCxnSpPr/>
          <p:nvPr>
            <p:custDataLst>
              <p:tags r:id="rId9"/>
            </p:custDataLst>
          </p:nvPr>
        </p:nvCxnSpPr>
        <p:spPr bwMode="gray">
          <a:xfrm>
            <a:off x="6653213" y="2653935"/>
            <a:ext cx="0" cy="987425"/>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Straight Connector 244">
            <a:extLst>
              <a:ext uri="{FF2B5EF4-FFF2-40B4-BE49-F238E27FC236}">
                <a16:creationId xmlns:a16="http://schemas.microsoft.com/office/drawing/2014/main" id="{B6D3F9E5-34F8-4B42-A6E2-989C142CA9A5}"/>
              </a:ext>
            </a:extLst>
          </p:cNvPr>
          <p:cNvCxnSpPr/>
          <p:nvPr>
            <p:custDataLst>
              <p:tags r:id="rId10"/>
            </p:custDataLst>
          </p:nvPr>
        </p:nvCxnSpPr>
        <p:spPr bwMode="gray">
          <a:xfrm>
            <a:off x="6359525" y="2653935"/>
            <a:ext cx="0" cy="987425"/>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66250A9F-2502-4898-BCBB-638D02B506A1}"/>
              </a:ext>
            </a:extLst>
          </p:cNvPr>
          <p:cNvCxnSpPr/>
          <p:nvPr>
            <p:custDataLst>
              <p:tags r:id="rId11"/>
            </p:custDataLst>
          </p:nvPr>
        </p:nvCxnSpPr>
        <p:spPr bwMode="gray">
          <a:xfrm>
            <a:off x="6359525" y="2653935"/>
            <a:ext cx="293688" cy="0"/>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Straight Connector 240">
            <a:extLst>
              <a:ext uri="{FF2B5EF4-FFF2-40B4-BE49-F238E27FC236}">
                <a16:creationId xmlns:a16="http://schemas.microsoft.com/office/drawing/2014/main" id="{9C39ACDF-2793-44C1-A907-33D7040C7AB5}"/>
              </a:ext>
            </a:extLst>
          </p:cNvPr>
          <p:cNvCxnSpPr/>
          <p:nvPr>
            <p:custDataLst>
              <p:tags r:id="rId12"/>
            </p:custDataLst>
          </p:nvPr>
        </p:nvCxnSpPr>
        <p:spPr bwMode="gray">
          <a:xfrm>
            <a:off x="5948363" y="2692035"/>
            <a:ext cx="293688" cy="0"/>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Straight Connector 241">
            <a:extLst>
              <a:ext uri="{FF2B5EF4-FFF2-40B4-BE49-F238E27FC236}">
                <a16:creationId xmlns:a16="http://schemas.microsoft.com/office/drawing/2014/main" id="{98F5E6D7-239E-45B6-A555-DFF50A82E685}"/>
              </a:ext>
            </a:extLst>
          </p:cNvPr>
          <p:cNvCxnSpPr/>
          <p:nvPr>
            <p:custDataLst>
              <p:tags r:id="rId13"/>
            </p:custDataLst>
          </p:nvPr>
        </p:nvCxnSpPr>
        <p:spPr bwMode="gray">
          <a:xfrm>
            <a:off x="5948363" y="2692035"/>
            <a:ext cx="0" cy="947738"/>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Straight Connector 242">
            <a:extLst>
              <a:ext uri="{FF2B5EF4-FFF2-40B4-BE49-F238E27FC236}">
                <a16:creationId xmlns:a16="http://schemas.microsoft.com/office/drawing/2014/main" id="{3CBA1F0E-3AB0-4B4C-8FD3-CE77764E716E}"/>
              </a:ext>
            </a:extLst>
          </p:cNvPr>
          <p:cNvCxnSpPr/>
          <p:nvPr>
            <p:custDataLst>
              <p:tags r:id="rId14"/>
            </p:custDataLst>
          </p:nvPr>
        </p:nvCxnSpPr>
        <p:spPr bwMode="gray">
          <a:xfrm>
            <a:off x="6242050" y="2692035"/>
            <a:ext cx="0" cy="947738"/>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Straight Connector 239">
            <a:extLst>
              <a:ext uri="{FF2B5EF4-FFF2-40B4-BE49-F238E27FC236}">
                <a16:creationId xmlns:a16="http://schemas.microsoft.com/office/drawing/2014/main" id="{E5F0C0A8-6ACB-47DC-AFCB-1F9FD5000602}"/>
              </a:ext>
            </a:extLst>
          </p:cNvPr>
          <p:cNvCxnSpPr/>
          <p:nvPr>
            <p:custDataLst>
              <p:tags r:id="rId15"/>
            </p:custDataLst>
          </p:nvPr>
        </p:nvCxnSpPr>
        <p:spPr bwMode="gray">
          <a:xfrm>
            <a:off x="5832475" y="2580910"/>
            <a:ext cx="0" cy="1020763"/>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Straight Connector 238">
            <a:extLst>
              <a:ext uri="{FF2B5EF4-FFF2-40B4-BE49-F238E27FC236}">
                <a16:creationId xmlns:a16="http://schemas.microsoft.com/office/drawing/2014/main" id="{293F3721-331E-4CE7-9BEC-B1234B719A93}"/>
              </a:ext>
            </a:extLst>
          </p:cNvPr>
          <p:cNvCxnSpPr/>
          <p:nvPr>
            <p:custDataLst>
              <p:tags r:id="rId16"/>
            </p:custDataLst>
          </p:nvPr>
        </p:nvCxnSpPr>
        <p:spPr bwMode="gray">
          <a:xfrm>
            <a:off x="5538788" y="2580910"/>
            <a:ext cx="0" cy="1020763"/>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8" name="Straight Connector 237">
            <a:extLst>
              <a:ext uri="{FF2B5EF4-FFF2-40B4-BE49-F238E27FC236}">
                <a16:creationId xmlns:a16="http://schemas.microsoft.com/office/drawing/2014/main" id="{0C528E4E-84B4-4DC7-9A02-ADF09B651740}"/>
              </a:ext>
            </a:extLst>
          </p:cNvPr>
          <p:cNvCxnSpPr/>
          <p:nvPr>
            <p:custDataLst>
              <p:tags r:id="rId17"/>
            </p:custDataLst>
          </p:nvPr>
        </p:nvCxnSpPr>
        <p:spPr bwMode="gray">
          <a:xfrm>
            <a:off x="5538788" y="2580910"/>
            <a:ext cx="293688" cy="0"/>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Straight Connector 234">
            <a:extLst>
              <a:ext uri="{FF2B5EF4-FFF2-40B4-BE49-F238E27FC236}">
                <a16:creationId xmlns:a16="http://schemas.microsoft.com/office/drawing/2014/main" id="{7B78B169-7DBE-4819-A7FF-3BB721B476AF}"/>
              </a:ext>
            </a:extLst>
          </p:cNvPr>
          <p:cNvCxnSpPr/>
          <p:nvPr>
            <p:custDataLst>
              <p:tags r:id="rId18"/>
            </p:custDataLst>
          </p:nvPr>
        </p:nvCxnSpPr>
        <p:spPr bwMode="gray">
          <a:xfrm>
            <a:off x="5127625" y="2658698"/>
            <a:ext cx="293688" cy="0"/>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6" name="Straight Connector 235">
            <a:extLst>
              <a:ext uri="{FF2B5EF4-FFF2-40B4-BE49-F238E27FC236}">
                <a16:creationId xmlns:a16="http://schemas.microsoft.com/office/drawing/2014/main" id="{9351B166-3046-4FAA-8B18-31D0C788FA74}"/>
              </a:ext>
            </a:extLst>
          </p:cNvPr>
          <p:cNvCxnSpPr/>
          <p:nvPr>
            <p:custDataLst>
              <p:tags r:id="rId19"/>
            </p:custDataLst>
          </p:nvPr>
        </p:nvCxnSpPr>
        <p:spPr bwMode="gray">
          <a:xfrm>
            <a:off x="5127625" y="2658698"/>
            <a:ext cx="0" cy="968375"/>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7" name="Straight Connector 236">
            <a:extLst>
              <a:ext uri="{FF2B5EF4-FFF2-40B4-BE49-F238E27FC236}">
                <a16:creationId xmlns:a16="http://schemas.microsoft.com/office/drawing/2014/main" id="{9B1AAFAA-5D04-425E-9BB2-F1462B357DAD}"/>
              </a:ext>
            </a:extLst>
          </p:cNvPr>
          <p:cNvCxnSpPr/>
          <p:nvPr>
            <p:custDataLst>
              <p:tags r:id="rId20"/>
            </p:custDataLst>
          </p:nvPr>
        </p:nvCxnSpPr>
        <p:spPr bwMode="gray">
          <a:xfrm>
            <a:off x="5421313" y="2658698"/>
            <a:ext cx="0" cy="968375"/>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Straight Connector 233">
            <a:extLst>
              <a:ext uri="{FF2B5EF4-FFF2-40B4-BE49-F238E27FC236}">
                <a16:creationId xmlns:a16="http://schemas.microsoft.com/office/drawing/2014/main" id="{1D1250C1-9C24-42F1-BBED-49F73DABD132}"/>
              </a:ext>
            </a:extLst>
          </p:cNvPr>
          <p:cNvCxnSpPr/>
          <p:nvPr>
            <p:custDataLst>
              <p:tags r:id="rId21"/>
            </p:custDataLst>
          </p:nvPr>
        </p:nvCxnSpPr>
        <p:spPr bwMode="gray">
          <a:xfrm>
            <a:off x="5011738" y="2690448"/>
            <a:ext cx="0" cy="984250"/>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2" name="Straight Connector 231">
            <a:extLst>
              <a:ext uri="{FF2B5EF4-FFF2-40B4-BE49-F238E27FC236}">
                <a16:creationId xmlns:a16="http://schemas.microsoft.com/office/drawing/2014/main" id="{52C97E5D-4FCF-4E5A-8105-80C53AB2A873}"/>
              </a:ext>
            </a:extLst>
          </p:cNvPr>
          <p:cNvCxnSpPr/>
          <p:nvPr>
            <p:custDataLst>
              <p:tags r:id="rId22"/>
            </p:custDataLst>
          </p:nvPr>
        </p:nvCxnSpPr>
        <p:spPr bwMode="gray">
          <a:xfrm>
            <a:off x="4718050" y="2690448"/>
            <a:ext cx="293688" cy="0"/>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3" name="Straight Connector 232">
            <a:extLst>
              <a:ext uri="{FF2B5EF4-FFF2-40B4-BE49-F238E27FC236}">
                <a16:creationId xmlns:a16="http://schemas.microsoft.com/office/drawing/2014/main" id="{2B6F39F2-1D9C-44A2-A879-1900237AD8D0}"/>
              </a:ext>
            </a:extLst>
          </p:cNvPr>
          <p:cNvCxnSpPr/>
          <p:nvPr>
            <p:custDataLst>
              <p:tags r:id="rId23"/>
            </p:custDataLst>
          </p:nvPr>
        </p:nvCxnSpPr>
        <p:spPr bwMode="gray">
          <a:xfrm>
            <a:off x="4718050" y="2690448"/>
            <a:ext cx="0" cy="984250"/>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Straight Connector 230">
            <a:extLst>
              <a:ext uri="{FF2B5EF4-FFF2-40B4-BE49-F238E27FC236}">
                <a16:creationId xmlns:a16="http://schemas.microsoft.com/office/drawing/2014/main" id="{0514B2F9-BF32-4166-9CC3-019D26B326E7}"/>
              </a:ext>
            </a:extLst>
          </p:cNvPr>
          <p:cNvCxnSpPr/>
          <p:nvPr>
            <p:custDataLst>
              <p:tags r:id="rId24"/>
            </p:custDataLst>
          </p:nvPr>
        </p:nvCxnSpPr>
        <p:spPr bwMode="gray">
          <a:xfrm>
            <a:off x="4600575" y="2765060"/>
            <a:ext cx="0" cy="938213"/>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Straight Connector 229">
            <a:extLst>
              <a:ext uri="{FF2B5EF4-FFF2-40B4-BE49-F238E27FC236}">
                <a16:creationId xmlns:a16="http://schemas.microsoft.com/office/drawing/2014/main" id="{8F19388C-75E2-4A09-9FB2-828CDA5F8796}"/>
              </a:ext>
            </a:extLst>
          </p:cNvPr>
          <p:cNvCxnSpPr/>
          <p:nvPr>
            <p:custDataLst>
              <p:tags r:id="rId25"/>
            </p:custDataLst>
          </p:nvPr>
        </p:nvCxnSpPr>
        <p:spPr bwMode="gray">
          <a:xfrm>
            <a:off x="4306888" y="2765060"/>
            <a:ext cx="0" cy="938213"/>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28">
            <a:extLst>
              <a:ext uri="{FF2B5EF4-FFF2-40B4-BE49-F238E27FC236}">
                <a16:creationId xmlns:a16="http://schemas.microsoft.com/office/drawing/2014/main" id="{18E2C60E-0D3D-4608-9578-7D9362DF33C2}"/>
              </a:ext>
            </a:extLst>
          </p:cNvPr>
          <p:cNvCxnSpPr/>
          <p:nvPr>
            <p:custDataLst>
              <p:tags r:id="rId26"/>
            </p:custDataLst>
          </p:nvPr>
        </p:nvCxnSpPr>
        <p:spPr bwMode="gray">
          <a:xfrm>
            <a:off x="4306888" y="2765060"/>
            <a:ext cx="293688" cy="0"/>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7" name="Straight Connector 226">
            <a:extLst>
              <a:ext uri="{FF2B5EF4-FFF2-40B4-BE49-F238E27FC236}">
                <a16:creationId xmlns:a16="http://schemas.microsoft.com/office/drawing/2014/main" id="{CB435030-8643-4DAE-BA59-1FB2C342CE35}"/>
              </a:ext>
            </a:extLst>
          </p:cNvPr>
          <p:cNvCxnSpPr/>
          <p:nvPr>
            <p:custDataLst>
              <p:tags r:id="rId27"/>
            </p:custDataLst>
          </p:nvPr>
        </p:nvCxnSpPr>
        <p:spPr bwMode="gray">
          <a:xfrm>
            <a:off x="3895725" y="2645998"/>
            <a:ext cx="0" cy="996950"/>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Straight Connector 227">
            <a:extLst>
              <a:ext uri="{FF2B5EF4-FFF2-40B4-BE49-F238E27FC236}">
                <a16:creationId xmlns:a16="http://schemas.microsoft.com/office/drawing/2014/main" id="{C239BC7D-8D4D-4D96-A29E-F55BF56004DD}"/>
              </a:ext>
            </a:extLst>
          </p:cNvPr>
          <p:cNvCxnSpPr/>
          <p:nvPr>
            <p:custDataLst>
              <p:tags r:id="rId28"/>
            </p:custDataLst>
          </p:nvPr>
        </p:nvCxnSpPr>
        <p:spPr bwMode="gray">
          <a:xfrm>
            <a:off x="4189413" y="2645998"/>
            <a:ext cx="0" cy="996950"/>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3A0692E0-AD72-4CAE-BD84-AC75B8A417C4}"/>
              </a:ext>
            </a:extLst>
          </p:cNvPr>
          <p:cNvCxnSpPr/>
          <p:nvPr>
            <p:custDataLst>
              <p:tags r:id="rId29"/>
            </p:custDataLst>
          </p:nvPr>
        </p:nvCxnSpPr>
        <p:spPr bwMode="gray">
          <a:xfrm>
            <a:off x="3895725" y="2645998"/>
            <a:ext cx="293688" cy="0"/>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54998A02-5507-40BB-9EED-5F3807DD17F7}"/>
              </a:ext>
            </a:extLst>
          </p:cNvPr>
          <p:cNvCxnSpPr/>
          <p:nvPr>
            <p:custDataLst>
              <p:tags r:id="rId30"/>
            </p:custDataLst>
          </p:nvPr>
        </p:nvCxnSpPr>
        <p:spPr bwMode="gray">
          <a:xfrm>
            <a:off x="3486150" y="2660285"/>
            <a:ext cx="0" cy="1011238"/>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1D1208F9-EA2F-43A3-B4FC-03F83BC37F39}"/>
              </a:ext>
            </a:extLst>
          </p:cNvPr>
          <p:cNvCxnSpPr/>
          <p:nvPr>
            <p:custDataLst>
              <p:tags r:id="rId31"/>
            </p:custDataLst>
          </p:nvPr>
        </p:nvCxnSpPr>
        <p:spPr bwMode="gray">
          <a:xfrm>
            <a:off x="3779838" y="2660285"/>
            <a:ext cx="0" cy="1011238"/>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1AD50725-DAB8-433E-BA3D-AF696AEDF444}"/>
              </a:ext>
            </a:extLst>
          </p:cNvPr>
          <p:cNvCxnSpPr/>
          <p:nvPr>
            <p:custDataLst>
              <p:tags r:id="rId32"/>
            </p:custDataLst>
          </p:nvPr>
        </p:nvCxnSpPr>
        <p:spPr bwMode="gray">
          <a:xfrm>
            <a:off x="3486150" y="2660285"/>
            <a:ext cx="293688" cy="0"/>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0" name="Straight Connector 219">
            <a:extLst>
              <a:ext uri="{FF2B5EF4-FFF2-40B4-BE49-F238E27FC236}">
                <a16:creationId xmlns:a16="http://schemas.microsoft.com/office/drawing/2014/main" id="{B77300CE-011E-4B30-A900-10FDE7D91330}"/>
              </a:ext>
            </a:extLst>
          </p:cNvPr>
          <p:cNvCxnSpPr/>
          <p:nvPr>
            <p:custDataLst>
              <p:tags r:id="rId33"/>
            </p:custDataLst>
          </p:nvPr>
        </p:nvCxnSpPr>
        <p:spPr bwMode="gray">
          <a:xfrm>
            <a:off x="3074988" y="2569798"/>
            <a:ext cx="293688" cy="0"/>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1" name="Straight Connector 220">
            <a:extLst>
              <a:ext uri="{FF2B5EF4-FFF2-40B4-BE49-F238E27FC236}">
                <a16:creationId xmlns:a16="http://schemas.microsoft.com/office/drawing/2014/main" id="{C44B55C9-0735-4F25-97BE-2C7A6094028C}"/>
              </a:ext>
            </a:extLst>
          </p:cNvPr>
          <p:cNvCxnSpPr/>
          <p:nvPr>
            <p:custDataLst>
              <p:tags r:id="rId34"/>
            </p:custDataLst>
          </p:nvPr>
        </p:nvCxnSpPr>
        <p:spPr bwMode="gray">
          <a:xfrm>
            <a:off x="3074988" y="2569798"/>
            <a:ext cx="0" cy="1089025"/>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2" name="Straight Connector 221">
            <a:extLst>
              <a:ext uri="{FF2B5EF4-FFF2-40B4-BE49-F238E27FC236}">
                <a16:creationId xmlns:a16="http://schemas.microsoft.com/office/drawing/2014/main" id="{80E32A22-44F5-4F15-A5F9-1AEC35925D94}"/>
              </a:ext>
            </a:extLst>
          </p:cNvPr>
          <p:cNvCxnSpPr/>
          <p:nvPr>
            <p:custDataLst>
              <p:tags r:id="rId35"/>
            </p:custDataLst>
          </p:nvPr>
        </p:nvCxnSpPr>
        <p:spPr bwMode="gray">
          <a:xfrm>
            <a:off x="3368675" y="2569798"/>
            <a:ext cx="0" cy="1089025"/>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7" name="Straight Connector 216">
            <a:extLst>
              <a:ext uri="{FF2B5EF4-FFF2-40B4-BE49-F238E27FC236}">
                <a16:creationId xmlns:a16="http://schemas.microsoft.com/office/drawing/2014/main" id="{839954DE-89C0-4C4E-944E-D0CD11FA0B95}"/>
              </a:ext>
            </a:extLst>
          </p:cNvPr>
          <p:cNvCxnSpPr/>
          <p:nvPr>
            <p:custDataLst>
              <p:tags r:id="rId36"/>
            </p:custDataLst>
          </p:nvPr>
        </p:nvCxnSpPr>
        <p:spPr bwMode="gray">
          <a:xfrm>
            <a:off x="2665413" y="2496773"/>
            <a:ext cx="293688" cy="0"/>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9" name="Straight Connector 218">
            <a:extLst>
              <a:ext uri="{FF2B5EF4-FFF2-40B4-BE49-F238E27FC236}">
                <a16:creationId xmlns:a16="http://schemas.microsoft.com/office/drawing/2014/main" id="{1F8F619E-883C-44DB-AE4F-8EC37302ADA4}"/>
              </a:ext>
            </a:extLst>
          </p:cNvPr>
          <p:cNvCxnSpPr/>
          <p:nvPr>
            <p:custDataLst>
              <p:tags r:id="rId37"/>
            </p:custDataLst>
          </p:nvPr>
        </p:nvCxnSpPr>
        <p:spPr bwMode="gray">
          <a:xfrm>
            <a:off x="2959100" y="2496773"/>
            <a:ext cx="0" cy="1092200"/>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8" name="Straight Connector 217">
            <a:extLst>
              <a:ext uri="{FF2B5EF4-FFF2-40B4-BE49-F238E27FC236}">
                <a16:creationId xmlns:a16="http://schemas.microsoft.com/office/drawing/2014/main" id="{8A670B13-F723-42A1-9A73-116D78E17455}"/>
              </a:ext>
            </a:extLst>
          </p:cNvPr>
          <p:cNvCxnSpPr/>
          <p:nvPr>
            <p:custDataLst>
              <p:tags r:id="rId38"/>
            </p:custDataLst>
          </p:nvPr>
        </p:nvCxnSpPr>
        <p:spPr bwMode="gray">
          <a:xfrm>
            <a:off x="2665413" y="2496773"/>
            <a:ext cx="0" cy="1092200"/>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6" name="Straight Connector 215">
            <a:extLst>
              <a:ext uri="{FF2B5EF4-FFF2-40B4-BE49-F238E27FC236}">
                <a16:creationId xmlns:a16="http://schemas.microsoft.com/office/drawing/2014/main" id="{CC29D13D-FA0F-420E-B72C-F5B60D12882E}"/>
              </a:ext>
            </a:extLst>
          </p:cNvPr>
          <p:cNvCxnSpPr/>
          <p:nvPr>
            <p:custDataLst>
              <p:tags r:id="rId39"/>
            </p:custDataLst>
          </p:nvPr>
        </p:nvCxnSpPr>
        <p:spPr bwMode="gray">
          <a:xfrm>
            <a:off x="2547938" y="2649173"/>
            <a:ext cx="0" cy="977900"/>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6C1372DD-414B-49D2-93DA-4309E60F38F3}"/>
              </a:ext>
            </a:extLst>
          </p:cNvPr>
          <p:cNvCxnSpPr/>
          <p:nvPr>
            <p:custDataLst>
              <p:tags r:id="rId40"/>
            </p:custDataLst>
          </p:nvPr>
        </p:nvCxnSpPr>
        <p:spPr bwMode="gray">
          <a:xfrm>
            <a:off x="2254250" y="2649173"/>
            <a:ext cx="0" cy="977900"/>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674A759A-49C3-4DD0-9503-9FF3CC626967}"/>
              </a:ext>
            </a:extLst>
          </p:cNvPr>
          <p:cNvCxnSpPr/>
          <p:nvPr>
            <p:custDataLst>
              <p:tags r:id="rId41"/>
            </p:custDataLst>
          </p:nvPr>
        </p:nvCxnSpPr>
        <p:spPr bwMode="gray">
          <a:xfrm>
            <a:off x="2254250" y="2649173"/>
            <a:ext cx="293688" cy="0"/>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3" name="Straight Connector 212">
            <a:extLst>
              <a:ext uri="{FF2B5EF4-FFF2-40B4-BE49-F238E27FC236}">
                <a16:creationId xmlns:a16="http://schemas.microsoft.com/office/drawing/2014/main" id="{52AA7134-974F-4422-9F98-877CFCDC4BB1}"/>
              </a:ext>
            </a:extLst>
          </p:cNvPr>
          <p:cNvCxnSpPr/>
          <p:nvPr>
            <p:custDataLst>
              <p:tags r:id="rId42"/>
            </p:custDataLst>
          </p:nvPr>
        </p:nvCxnSpPr>
        <p:spPr bwMode="gray">
          <a:xfrm>
            <a:off x="2136775" y="2426923"/>
            <a:ext cx="0" cy="1147763"/>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2" name="Straight Connector 211">
            <a:extLst>
              <a:ext uri="{FF2B5EF4-FFF2-40B4-BE49-F238E27FC236}">
                <a16:creationId xmlns:a16="http://schemas.microsoft.com/office/drawing/2014/main" id="{4910070A-194F-4D23-83F4-BE124F0B88B0}"/>
              </a:ext>
            </a:extLst>
          </p:cNvPr>
          <p:cNvCxnSpPr/>
          <p:nvPr>
            <p:custDataLst>
              <p:tags r:id="rId43"/>
            </p:custDataLst>
          </p:nvPr>
        </p:nvCxnSpPr>
        <p:spPr bwMode="gray">
          <a:xfrm>
            <a:off x="1843088" y="2426923"/>
            <a:ext cx="0" cy="1147763"/>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Straight Connector 210">
            <a:extLst>
              <a:ext uri="{FF2B5EF4-FFF2-40B4-BE49-F238E27FC236}">
                <a16:creationId xmlns:a16="http://schemas.microsoft.com/office/drawing/2014/main" id="{2A6E71AA-8551-4EDB-8F10-09A554D80990}"/>
              </a:ext>
            </a:extLst>
          </p:cNvPr>
          <p:cNvCxnSpPr/>
          <p:nvPr>
            <p:custDataLst>
              <p:tags r:id="rId44"/>
            </p:custDataLst>
          </p:nvPr>
        </p:nvCxnSpPr>
        <p:spPr bwMode="gray">
          <a:xfrm>
            <a:off x="1843088" y="2426923"/>
            <a:ext cx="293688" cy="0"/>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09">
            <a:extLst>
              <a:ext uri="{FF2B5EF4-FFF2-40B4-BE49-F238E27FC236}">
                <a16:creationId xmlns:a16="http://schemas.microsoft.com/office/drawing/2014/main" id="{64797AA0-886F-425B-AEAD-BB2DBC8AE3FD}"/>
              </a:ext>
            </a:extLst>
          </p:cNvPr>
          <p:cNvCxnSpPr/>
          <p:nvPr>
            <p:custDataLst>
              <p:tags r:id="rId45"/>
            </p:custDataLst>
          </p:nvPr>
        </p:nvCxnSpPr>
        <p:spPr bwMode="gray">
          <a:xfrm>
            <a:off x="1727200" y="2407873"/>
            <a:ext cx="0" cy="1143000"/>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Straight Connector 208">
            <a:extLst>
              <a:ext uri="{FF2B5EF4-FFF2-40B4-BE49-F238E27FC236}">
                <a16:creationId xmlns:a16="http://schemas.microsoft.com/office/drawing/2014/main" id="{A2BC4C47-569F-4932-821F-137E70F1BD7D}"/>
              </a:ext>
            </a:extLst>
          </p:cNvPr>
          <p:cNvCxnSpPr/>
          <p:nvPr>
            <p:custDataLst>
              <p:tags r:id="rId46"/>
            </p:custDataLst>
          </p:nvPr>
        </p:nvCxnSpPr>
        <p:spPr bwMode="gray">
          <a:xfrm>
            <a:off x="1433513" y="2407873"/>
            <a:ext cx="0" cy="1143000"/>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C3588DB2-C3F5-4908-93EB-1B6820963128}"/>
              </a:ext>
            </a:extLst>
          </p:cNvPr>
          <p:cNvCxnSpPr/>
          <p:nvPr>
            <p:custDataLst>
              <p:tags r:id="rId47"/>
            </p:custDataLst>
          </p:nvPr>
        </p:nvCxnSpPr>
        <p:spPr bwMode="gray">
          <a:xfrm>
            <a:off x="1433513" y="2407873"/>
            <a:ext cx="293688" cy="0"/>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90AFCD6A-3C64-42D1-B85F-B15545511F8F}"/>
              </a:ext>
            </a:extLst>
          </p:cNvPr>
          <p:cNvCxnSpPr/>
          <p:nvPr>
            <p:custDataLst>
              <p:tags r:id="rId48"/>
            </p:custDataLst>
          </p:nvPr>
        </p:nvCxnSpPr>
        <p:spPr bwMode="gray">
          <a:xfrm>
            <a:off x="1022350" y="2314210"/>
            <a:ext cx="0" cy="1163638"/>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7" name="Straight Connector 206">
            <a:extLst>
              <a:ext uri="{FF2B5EF4-FFF2-40B4-BE49-F238E27FC236}">
                <a16:creationId xmlns:a16="http://schemas.microsoft.com/office/drawing/2014/main" id="{9D4CE9F5-B061-4803-BE95-A79C2DD604BA}"/>
              </a:ext>
            </a:extLst>
          </p:cNvPr>
          <p:cNvCxnSpPr/>
          <p:nvPr>
            <p:custDataLst>
              <p:tags r:id="rId49"/>
            </p:custDataLst>
          </p:nvPr>
        </p:nvCxnSpPr>
        <p:spPr bwMode="gray">
          <a:xfrm>
            <a:off x="1316038" y="2314210"/>
            <a:ext cx="0" cy="1163638"/>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5" name="Straight Connector 204">
            <a:extLst>
              <a:ext uri="{FF2B5EF4-FFF2-40B4-BE49-F238E27FC236}">
                <a16:creationId xmlns:a16="http://schemas.microsoft.com/office/drawing/2014/main" id="{FE8F56AF-D749-4E52-BAD0-6423EF3E545B}"/>
              </a:ext>
            </a:extLst>
          </p:cNvPr>
          <p:cNvCxnSpPr/>
          <p:nvPr>
            <p:custDataLst>
              <p:tags r:id="rId50"/>
            </p:custDataLst>
          </p:nvPr>
        </p:nvCxnSpPr>
        <p:spPr bwMode="gray">
          <a:xfrm>
            <a:off x="1022350" y="2314210"/>
            <a:ext cx="293688" cy="0"/>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2" name="Straight Connector 151">
            <a:extLst>
              <a:ext uri="{FF2B5EF4-FFF2-40B4-BE49-F238E27FC236}">
                <a16:creationId xmlns:a16="http://schemas.microsoft.com/office/drawing/2014/main" id="{89961D08-4E1D-4C7B-91B8-F11663056866}"/>
              </a:ext>
            </a:extLst>
          </p:cNvPr>
          <p:cNvCxnSpPr/>
          <p:nvPr>
            <p:custDataLst>
              <p:tags r:id="rId51"/>
            </p:custDataLst>
          </p:nvPr>
        </p:nvCxnSpPr>
        <p:spPr bwMode="gray">
          <a:xfrm>
            <a:off x="612775" y="2233248"/>
            <a:ext cx="293688" cy="0"/>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F623E2D6-2C57-470D-AB5A-7B9401C385F7}"/>
              </a:ext>
            </a:extLst>
          </p:cNvPr>
          <p:cNvCxnSpPr/>
          <p:nvPr>
            <p:custDataLst>
              <p:tags r:id="rId52"/>
            </p:custDataLst>
          </p:nvPr>
        </p:nvCxnSpPr>
        <p:spPr bwMode="gray">
          <a:xfrm>
            <a:off x="906463" y="2233248"/>
            <a:ext cx="0" cy="1193800"/>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BBFD69E8-1C65-413A-B6FB-3E6515E3A617}"/>
              </a:ext>
            </a:extLst>
          </p:cNvPr>
          <p:cNvCxnSpPr/>
          <p:nvPr>
            <p:custDataLst>
              <p:tags r:id="rId53"/>
            </p:custDataLst>
          </p:nvPr>
        </p:nvCxnSpPr>
        <p:spPr bwMode="gray">
          <a:xfrm>
            <a:off x="612775" y="2233248"/>
            <a:ext cx="0" cy="1193800"/>
          </a:xfrm>
          <a:prstGeom prst="line">
            <a:avLst/>
          </a:prstGeom>
          <a:ln w="9525" cap="flat" cmpd="sng" algn="ctr">
            <a:solidFill>
              <a:srgbClr val="D0D0D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8" name="Chart 7">
            <a:extLst>
              <a:ext uri="{FF2B5EF4-FFF2-40B4-BE49-F238E27FC236}">
                <a16:creationId xmlns:a16="http://schemas.microsoft.com/office/drawing/2014/main" id="{117859DA-E495-2827-E9E5-BED41522D43E}"/>
              </a:ext>
            </a:extLst>
          </p:cNvPr>
          <p:cNvGraphicFramePr/>
          <p:nvPr>
            <p:custDataLst>
              <p:tags r:id="rId54"/>
            </p:custDataLst>
            <p:extLst>
              <p:ext uri="{D42A27DB-BD31-4B8C-83A1-F6EECF244321}">
                <p14:modId xmlns:p14="http://schemas.microsoft.com/office/powerpoint/2010/main" val="3245999568"/>
              </p:ext>
            </p:extLst>
          </p:nvPr>
        </p:nvGraphicFramePr>
        <p:xfrm>
          <a:off x="471488" y="2151063"/>
          <a:ext cx="11249025" cy="3589337"/>
        </p:xfrm>
        <a:graphic>
          <a:graphicData uri="http://schemas.openxmlformats.org/drawingml/2006/chart">
            <c:chart xmlns:c="http://schemas.openxmlformats.org/drawingml/2006/chart" xmlns:r="http://schemas.openxmlformats.org/officeDocument/2006/relationships" r:id="rId91"/>
          </a:graphicData>
        </a:graphic>
      </p:graphicFrame>
      <p:cxnSp>
        <p:nvCxnSpPr>
          <p:cNvPr id="63" name="Straight Connector 62">
            <a:extLst>
              <a:ext uri="{FF2B5EF4-FFF2-40B4-BE49-F238E27FC236}">
                <a16:creationId xmlns:a16="http://schemas.microsoft.com/office/drawing/2014/main" id="{4E67EEF9-EADE-47BB-9A98-86097BBAC87D}"/>
              </a:ext>
            </a:extLst>
          </p:cNvPr>
          <p:cNvCxnSpPr/>
          <p:nvPr>
            <p:custDataLst>
              <p:tags r:id="rId55"/>
            </p:custDataLst>
          </p:nvPr>
        </p:nvCxnSpPr>
        <p:spPr bwMode="auto">
          <a:xfrm>
            <a:off x="758825" y="3049223"/>
            <a:ext cx="6567488" cy="266700"/>
          </a:xfrm>
          <a:prstGeom prst="line">
            <a:avLst/>
          </a:prstGeom>
          <a:ln w="381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55" name="Straight Connector 154">
            <a:extLst>
              <a:ext uri="{FF2B5EF4-FFF2-40B4-BE49-F238E27FC236}">
                <a16:creationId xmlns:a16="http://schemas.microsoft.com/office/drawing/2014/main" id="{3DF2ED5A-920D-4275-B481-C8679278F077}"/>
              </a:ext>
            </a:extLst>
          </p:cNvPr>
          <p:cNvCxnSpPr/>
          <p:nvPr>
            <p:custDataLst>
              <p:tags r:id="rId56"/>
            </p:custDataLst>
          </p:nvPr>
        </p:nvCxnSpPr>
        <p:spPr bwMode="auto">
          <a:xfrm>
            <a:off x="7326313" y="3315923"/>
            <a:ext cx="2052638" cy="642938"/>
          </a:xfrm>
          <a:prstGeom prst="line">
            <a:avLst/>
          </a:prstGeom>
          <a:ln w="381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57311489-5575-44DD-8E28-20A016CC2D45}"/>
              </a:ext>
            </a:extLst>
          </p:cNvPr>
          <p:cNvCxnSpPr/>
          <p:nvPr>
            <p:custDataLst>
              <p:tags r:id="rId57"/>
            </p:custDataLst>
          </p:nvPr>
        </p:nvCxnSpPr>
        <p:spPr bwMode="auto">
          <a:xfrm>
            <a:off x="9378950" y="3958860"/>
            <a:ext cx="2052638" cy="652463"/>
          </a:xfrm>
          <a:prstGeom prst="line">
            <a:avLst/>
          </a:prstGeom>
          <a:ln w="381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6" name="Text Placeholder 4">
            <a:extLst>
              <a:ext uri="{FF2B5EF4-FFF2-40B4-BE49-F238E27FC236}">
                <a16:creationId xmlns:a16="http://schemas.microsoft.com/office/drawing/2014/main" id="{4C1F3293-4EFE-461D-940D-7EE66BAE31C5}"/>
              </a:ext>
            </a:extLst>
          </p:cNvPr>
          <p:cNvSpPr>
            <a:spLocks noGrp="1"/>
          </p:cNvSpPr>
          <p:nvPr>
            <p:custDataLst>
              <p:tags r:id="rId58"/>
            </p:custDataLst>
          </p:nvPr>
        </p:nvSpPr>
        <p:spPr bwMode="auto">
          <a:xfrm>
            <a:off x="560388" y="5716223"/>
            <a:ext cx="3984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3CEA8DE-214A-4F32-863C-7EDC414E2889}" type="datetime'''''''''''20''0''''''''''''''''''''''''''''''''''5'">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05</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1" name="Text Placeholder 4">
            <a:extLst>
              <a:ext uri="{FF2B5EF4-FFF2-40B4-BE49-F238E27FC236}">
                <a16:creationId xmlns:a16="http://schemas.microsoft.com/office/drawing/2014/main" id="{4C1F3293-4EFE-461D-940D-7EE66BAE31C5}"/>
              </a:ext>
            </a:extLst>
          </p:cNvPr>
          <p:cNvSpPr>
            <a:spLocks noGrp="1"/>
          </p:cNvSpPr>
          <p:nvPr>
            <p:custDataLst>
              <p:tags r:id="rId59"/>
            </p:custDataLst>
          </p:nvPr>
        </p:nvSpPr>
        <p:spPr bwMode="auto">
          <a:xfrm>
            <a:off x="1479550" y="5716223"/>
            <a:ext cx="2000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B97EBEE-D59B-4F4B-B66A-A8637AF974D7}" type="datetime'0''''''''''''''''7'''''''''''''''''''''''''''">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7</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4" name="Text Placeholder 4">
            <a:extLst>
              <a:ext uri="{FF2B5EF4-FFF2-40B4-BE49-F238E27FC236}">
                <a16:creationId xmlns:a16="http://schemas.microsoft.com/office/drawing/2014/main" id="{4C1F3293-4EFE-461D-940D-7EE66BAE31C5}"/>
              </a:ext>
            </a:extLst>
          </p:cNvPr>
          <p:cNvSpPr>
            <a:spLocks noGrp="1"/>
          </p:cNvSpPr>
          <p:nvPr>
            <p:custDataLst>
              <p:tags r:id="rId60"/>
            </p:custDataLst>
          </p:nvPr>
        </p:nvSpPr>
        <p:spPr bwMode="auto">
          <a:xfrm>
            <a:off x="2727325" y="5716223"/>
            <a:ext cx="1698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732C8AC-0FFF-4CBF-A881-9DD534120892}" type="datetime'''''''''''''''''''''1''''''0'''''''''''''''''''''''">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0</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9" name="Text Placeholder 4">
            <a:extLst>
              <a:ext uri="{FF2B5EF4-FFF2-40B4-BE49-F238E27FC236}">
                <a16:creationId xmlns:a16="http://schemas.microsoft.com/office/drawing/2014/main" id="{4C1F3293-4EFE-461D-940D-7EE66BAE31C5}"/>
              </a:ext>
            </a:extLst>
          </p:cNvPr>
          <p:cNvSpPr>
            <a:spLocks noGrp="1"/>
          </p:cNvSpPr>
          <p:nvPr>
            <p:custDataLst>
              <p:tags r:id="rId61"/>
            </p:custDataLst>
          </p:nvPr>
        </p:nvSpPr>
        <p:spPr bwMode="auto">
          <a:xfrm>
            <a:off x="1068388" y="5716223"/>
            <a:ext cx="201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2B5F363-494C-4839-90B1-6C744AE64727}" type="datetime'''''''''''''0''''''''''''''''''6'''''''">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6</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2" name="Text Placeholder 4">
            <a:extLst>
              <a:ext uri="{FF2B5EF4-FFF2-40B4-BE49-F238E27FC236}">
                <a16:creationId xmlns:a16="http://schemas.microsoft.com/office/drawing/2014/main" id="{4C1F3293-4EFE-461D-940D-7EE66BAE31C5}"/>
              </a:ext>
            </a:extLst>
          </p:cNvPr>
          <p:cNvSpPr>
            <a:spLocks noGrp="1"/>
          </p:cNvSpPr>
          <p:nvPr>
            <p:custDataLst>
              <p:tags r:id="rId62"/>
            </p:custDataLst>
          </p:nvPr>
        </p:nvSpPr>
        <p:spPr bwMode="auto">
          <a:xfrm>
            <a:off x="1884362" y="5716223"/>
            <a:ext cx="2111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6411B8C-BFEA-4448-8851-52A212FBEB51}" type="datetime'''''''''''''''''''''''''''0''''''''''''''''''''''''''''''''8'">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8</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76" name="Text Placeholder 4">
            <a:extLst>
              <a:ext uri="{FF2B5EF4-FFF2-40B4-BE49-F238E27FC236}">
                <a16:creationId xmlns:a16="http://schemas.microsoft.com/office/drawing/2014/main" id="{215958F7-823C-4CB7-ACFB-32A77FDAF53A}"/>
              </a:ext>
            </a:extLst>
          </p:cNvPr>
          <p:cNvSpPr>
            <a:spLocks noGrp="1"/>
          </p:cNvSpPr>
          <p:nvPr>
            <p:custDataLst>
              <p:tags r:id="rId63"/>
            </p:custDataLst>
          </p:nvPr>
        </p:nvSpPr>
        <p:spPr bwMode="gray">
          <a:xfrm>
            <a:off x="11160126" y="5049473"/>
            <a:ext cx="544513" cy="212725"/>
          </a:xfrm>
          <a:prstGeom prst="rect">
            <a:avLst/>
          </a:prstGeom>
          <a:solidFill>
            <a:schemeClr val="accent2"/>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de-DE" altLang="en-US" sz="1400" b="0"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5-</a:t>
            </a:r>
            <a:fld id="{6428FC52-5A86-4816-8C33-DAAFD06A7D52}" type="datetime'1''''''0'''''''''''''''''''''''''''''''''''''''''''">
              <a:rPr kumimoji="0" lang="de-DE" altLang="en-US" sz="1400" b="0" i="0" u="none" strike="noStrike" kern="1200" cap="none" spc="0" normalizeH="0" baseline="0" noProof="0" smtClean="0">
                <a:ln>
                  <a:noFill/>
                </a:ln>
                <a:solidFill>
                  <a:prstClr val="black"/>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0</a:t>
            </a:fld>
            <a:r>
              <a:rPr kumimoji="0" lang="de-DE" altLang="en-US" sz="1400" b="0" i="0" u="none" strike="noStrike" kern="1200" cap="none" spc="0" normalizeH="0" baseline="30000" noProof="0" dirty="0">
                <a:ln>
                  <a:noFill/>
                </a:ln>
                <a:solidFill>
                  <a:prstClr val="black"/>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2</a:t>
            </a:r>
            <a:endParaRPr kumimoji="0" lang="de-DE" sz="1400" b="0" i="0" u="none" strike="noStrike" kern="1200" cap="none" spc="0" normalizeH="0" baseline="30000" noProof="0" dirty="0">
              <a:ln>
                <a:noFill/>
              </a:ln>
              <a:solidFill>
                <a:prstClr val="black"/>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5" name="Text Placeholder 4">
            <a:extLst>
              <a:ext uri="{FF2B5EF4-FFF2-40B4-BE49-F238E27FC236}">
                <a16:creationId xmlns:a16="http://schemas.microsoft.com/office/drawing/2014/main" id="{4C1F3293-4EFE-461D-940D-7EE66BAE31C5}"/>
              </a:ext>
            </a:extLst>
          </p:cNvPr>
          <p:cNvSpPr>
            <a:spLocks noGrp="1"/>
          </p:cNvSpPr>
          <p:nvPr>
            <p:custDataLst>
              <p:tags r:id="rId64"/>
            </p:custDataLst>
          </p:nvPr>
        </p:nvSpPr>
        <p:spPr bwMode="auto">
          <a:xfrm>
            <a:off x="3155950" y="5716223"/>
            <a:ext cx="1301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685965F-8A9B-4217-BEF7-E9E089AC67B2}" type="datetime'''''1''''''1'''''''''''''''">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1</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6" name="Text Placeholder 4">
            <a:extLst>
              <a:ext uri="{FF2B5EF4-FFF2-40B4-BE49-F238E27FC236}">
                <a16:creationId xmlns:a16="http://schemas.microsoft.com/office/drawing/2014/main" id="{4C1F3293-4EFE-461D-940D-7EE66BAE31C5}"/>
              </a:ext>
            </a:extLst>
          </p:cNvPr>
          <p:cNvSpPr>
            <a:spLocks noGrp="1"/>
          </p:cNvSpPr>
          <p:nvPr>
            <p:custDataLst>
              <p:tags r:id="rId65"/>
            </p:custDataLst>
          </p:nvPr>
        </p:nvSpPr>
        <p:spPr bwMode="auto">
          <a:xfrm>
            <a:off x="3551238" y="5716223"/>
            <a:ext cx="1635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D870B85-8FAE-4241-8967-14C02C87C49A}" type="datetime'''''''''''''''1''''''2'''''''''''''''''''''''''''''''''''''">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2</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3" name="Text Placeholder 4">
            <a:extLst>
              <a:ext uri="{FF2B5EF4-FFF2-40B4-BE49-F238E27FC236}">
                <a16:creationId xmlns:a16="http://schemas.microsoft.com/office/drawing/2014/main" id="{4C1F3293-4EFE-461D-940D-7EE66BAE31C5}"/>
              </a:ext>
            </a:extLst>
          </p:cNvPr>
          <p:cNvSpPr>
            <a:spLocks noGrp="1"/>
          </p:cNvSpPr>
          <p:nvPr>
            <p:custDataLst>
              <p:tags r:id="rId66"/>
            </p:custDataLst>
          </p:nvPr>
        </p:nvSpPr>
        <p:spPr bwMode="auto">
          <a:xfrm>
            <a:off x="2300288" y="5716223"/>
            <a:ext cx="201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DF62287-4CDC-4F9B-908C-ADFD004F30AB}" type="datetime'''''''''''''''''''''''''''''''''''''''''0''''''9'''''''''''">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9</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7" name="Text Placeholder 4">
            <a:extLst>
              <a:ext uri="{FF2B5EF4-FFF2-40B4-BE49-F238E27FC236}">
                <a16:creationId xmlns:a16="http://schemas.microsoft.com/office/drawing/2014/main" id="{4C1F3293-4EFE-461D-940D-7EE66BAE31C5}"/>
              </a:ext>
            </a:extLst>
          </p:cNvPr>
          <p:cNvSpPr>
            <a:spLocks noGrp="1"/>
          </p:cNvSpPr>
          <p:nvPr>
            <p:custDataLst>
              <p:tags r:id="rId67"/>
            </p:custDataLst>
          </p:nvPr>
        </p:nvSpPr>
        <p:spPr bwMode="auto">
          <a:xfrm>
            <a:off x="3959225" y="5716223"/>
            <a:ext cx="1651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6CAFE97-8590-44A9-9171-7429CBD1241F}" type="datetime'1''''''''''''''''''''''''''3'''''''''''''''''''''''''''''''''">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3</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8" name="Text Placeholder 4">
            <a:extLst>
              <a:ext uri="{FF2B5EF4-FFF2-40B4-BE49-F238E27FC236}">
                <a16:creationId xmlns:a16="http://schemas.microsoft.com/office/drawing/2014/main" id="{4C1F3293-4EFE-461D-940D-7EE66BAE31C5}"/>
              </a:ext>
            </a:extLst>
          </p:cNvPr>
          <p:cNvSpPr>
            <a:spLocks noGrp="1"/>
          </p:cNvSpPr>
          <p:nvPr>
            <p:custDataLst>
              <p:tags r:id="rId68"/>
            </p:custDataLst>
          </p:nvPr>
        </p:nvSpPr>
        <p:spPr bwMode="auto">
          <a:xfrm>
            <a:off x="4367213" y="5716223"/>
            <a:ext cx="1730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0B63D13-DF21-4003-B5DB-45B45E044C03}" type="datetime'1''''''''''''''''''''''''''''''''''''''''4'''''''''''''''''''">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4</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9" name="Text Placeholder 4">
            <a:extLst>
              <a:ext uri="{FF2B5EF4-FFF2-40B4-BE49-F238E27FC236}">
                <a16:creationId xmlns:a16="http://schemas.microsoft.com/office/drawing/2014/main" id="{4C1F3293-4EFE-461D-940D-7EE66BAE31C5}"/>
              </a:ext>
            </a:extLst>
          </p:cNvPr>
          <p:cNvSpPr>
            <a:spLocks noGrp="1"/>
          </p:cNvSpPr>
          <p:nvPr>
            <p:custDataLst>
              <p:tags r:id="rId69"/>
            </p:custDataLst>
          </p:nvPr>
        </p:nvSpPr>
        <p:spPr bwMode="auto">
          <a:xfrm>
            <a:off x="4779963" y="5716223"/>
            <a:ext cx="168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53DAC48-CB9D-42CF-99A5-4AA99E494E73}" type="datetime'''''''''''''''''''''''''''''''''''''''''''''''15'">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5</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20" name="Text Placeholder 4">
            <a:extLst>
              <a:ext uri="{FF2B5EF4-FFF2-40B4-BE49-F238E27FC236}">
                <a16:creationId xmlns:a16="http://schemas.microsoft.com/office/drawing/2014/main" id="{4C1F3293-4EFE-461D-940D-7EE66BAE31C5}"/>
              </a:ext>
            </a:extLst>
          </p:cNvPr>
          <p:cNvSpPr>
            <a:spLocks noGrp="1"/>
          </p:cNvSpPr>
          <p:nvPr>
            <p:custDataLst>
              <p:tags r:id="rId70"/>
            </p:custDataLst>
          </p:nvPr>
        </p:nvSpPr>
        <p:spPr bwMode="auto">
          <a:xfrm>
            <a:off x="5192713" y="5716223"/>
            <a:ext cx="1619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10EEB61-F4F4-495C-A5BF-3B66874E1DD2}" type="datetime'''''''''''''''''''1''''''''''''''''''''6'''''''''''''''">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6</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21" name="Text Placeholder 4">
            <a:extLst>
              <a:ext uri="{FF2B5EF4-FFF2-40B4-BE49-F238E27FC236}">
                <a16:creationId xmlns:a16="http://schemas.microsoft.com/office/drawing/2014/main" id="{4C1F3293-4EFE-461D-940D-7EE66BAE31C5}"/>
              </a:ext>
            </a:extLst>
          </p:cNvPr>
          <p:cNvSpPr>
            <a:spLocks noGrp="1"/>
          </p:cNvSpPr>
          <p:nvPr>
            <p:custDataLst>
              <p:tags r:id="rId71"/>
            </p:custDataLst>
          </p:nvPr>
        </p:nvSpPr>
        <p:spPr bwMode="auto">
          <a:xfrm>
            <a:off x="5605463" y="5716223"/>
            <a:ext cx="1603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389DF4D-D90D-4404-ACF6-FEE6ADA00A73}" type="datetime'''''''''1''''''''''''''''''''7'''''''''''''''''''''''''''''">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7</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22" name="Text Placeholder 4">
            <a:extLst>
              <a:ext uri="{FF2B5EF4-FFF2-40B4-BE49-F238E27FC236}">
                <a16:creationId xmlns:a16="http://schemas.microsoft.com/office/drawing/2014/main" id="{4C1F3293-4EFE-461D-940D-7EE66BAE31C5}"/>
              </a:ext>
            </a:extLst>
          </p:cNvPr>
          <p:cNvSpPr>
            <a:spLocks noGrp="1"/>
          </p:cNvSpPr>
          <p:nvPr>
            <p:custDataLst>
              <p:tags r:id="rId72"/>
            </p:custDataLst>
          </p:nvPr>
        </p:nvSpPr>
        <p:spPr bwMode="auto">
          <a:xfrm>
            <a:off x="6008688" y="5716223"/>
            <a:ext cx="1714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B3BC320-1B14-4498-95BA-197A5B85DA7B}" type="datetime'''''''''''''''''1''8'">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8</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23" name="Text Placeholder 4">
            <a:extLst>
              <a:ext uri="{FF2B5EF4-FFF2-40B4-BE49-F238E27FC236}">
                <a16:creationId xmlns:a16="http://schemas.microsoft.com/office/drawing/2014/main" id="{4C1F3293-4EFE-461D-940D-7EE66BAE31C5}"/>
              </a:ext>
            </a:extLst>
          </p:cNvPr>
          <p:cNvSpPr>
            <a:spLocks noGrp="1"/>
          </p:cNvSpPr>
          <p:nvPr>
            <p:custDataLst>
              <p:tags r:id="rId73"/>
            </p:custDataLst>
          </p:nvPr>
        </p:nvSpPr>
        <p:spPr bwMode="auto">
          <a:xfrm>
            <a:off x="6424613" y="5716223"/>
            <a:ext cx="1619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9DC8380-2FEE-4EE9-909E-B835F3EB3D2E}" type="datetime'''''''''''''''''''''''''''''''''''''1''9'">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9</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24" name="Text Placeholder 4">
            <a:extLst>
              <a:ext uri="{FF2B5EF4-FFF2-40B4-BE49-F238E27FC236}">
                <a16:creationId xmlns:a16="http://schemas.microsoft.com/office/drawing/2014/main" id="{4C1F3293-4EFE-461D-940D-7EE66BAE31C5}"/>
              </a:ext>
            </a:extLst>
          </p:cNvPr>
          <p:cNvSpPr>
            <a:spLocks noGrp="1"/>
          </p:cNvSpPr>
          <p:nvPr>
            <p:custDataLst>
              <p:tags r:id="rId74"/>
            </p:custDataLst>
          </p:nvPr>
        </p:nvSpPr>
        <p:spPr bwMode="auto">
          <a:xfrm>
            <a:off x="6813549" y="5716223"/>
            <a:ext cx="203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2F5E660-9332-43C5-8D5A-59E2FA1B6B76}" type="datetime'''''''''''''''2''''''''''''0'''''''''''''''">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25" name="Text Placeholder 4">
            <a:extLst>
              <a:ext uri="{FF2B5EF4-FFF2-40B4-BE49-F238E27FC236}">
                <a16:creationId xmlns:a16="http://schemas.microsoft.com/office/drawing/2014/main" id="{4C1F3293-4EFE-461D-940D-7EE66BAE31C5}"/>
              </a:ext>
            </a:extLst>
          </p:cNvPr>
          <p:cNvSpPr>
            <a:spLocks noGrp="1"/>
          </p:cNvSpPr>
          <p:nvPr>
            <p:custDataLst>
              <p:tags r:id="rId75"/>
            </p:custDataLst>
          </p:nvPr>
        </p:nvSpPr>
        <p:spPr bwMode="auto">
          <a:xfrm>
            <a:off x="7150100" y="5716223"/>
            <a:ext cx="3540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de-DE" altLang="en-US"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20</a:t>
            </a:r>
            <a:fld id="{8F37E480-C339-4C79-BD42-58CA9E195706}" type="datetime'''''''''''''''''''2''''''''''''''''''1'">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1</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26" name="Text Placeholder 4">
            <a:extLst>
              <a:ext uri="{FF2B5EF4-FFF2-40B4-BE49-F238E27FC236}">
                <a16:creationId xmlns:a16="http://schemas.microsoft.com/office/drawing/2014/main" id="{4C1F3293-4EFE-461D-940D-7EE66BAE31C5}"/>
              </a:ext>
            </a:extLst>
          </p:cNvPr>
          <p:cNvSpPr>
            <a:spLocks noGrp="1"/>
          </p:cNvSpPr>
          <p:nvPr>
            <p:custDataLst>
              <p:tags r:id="rId76"/>
            </p:custDataLst>
          </p:nvPr>
        </p:nvSpPr>
        <p:spPr bwMode="auto">
          <a:xfrm>
            <a:off x="9182100" y="5716223"/>
            <a:ext cx="3952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de-DE" altLang="en-US"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20</a:t>
            </a:r>
            <a:fld id="{F1399AC2-C901-4E27-84CD-9BD019BCDC43}" type="datetime'''''''''''''''''''''''''''''''''''30'''''''''''">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0</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27" name="Text Placeholder 4">
            <a:extLst>
              <a:ext uri="{FF2B5EF4-FFF2-40B4-BE49-F238E27FC236}">
                <a16:creationId xmlns:a16="http://schemas.microsoft.com/office/drawing/2014/main" id="{4C1F3293-4EFE-461D-940D-7EE66BAE31C5}"/>
              </a:ext>
            </a:extLst>
          </p:cNvPr>
          <p:cNvSpPr>
            <a:spLocks noGrp="1"/>
          </p:cNvSpPr>
          <p:nvPr>
            <p:custDataLst>
              <p:tags r:id="rId77"/>
            </p:custDataLst>
          </p:nvPr>
        </p:nvSpPr>
        <p:spPr bwMode="auto">
          <a:xfrm>
            <a:off x="11229975" y="5716223"/>
            <a:ext cx="403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C0211C1-EEEE-48D5-BD63-E992F7594BCC}" type="datetime'''''''20''''''''''4''''''''''''''''''''0'''''''''''''''''">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40</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78" name="Text Placeholder 4">
            <a:extLst>
              <a:ext uri="{FF2B5EF4-FFF2-40B4-BE49-F238E27FC236}">
                <a16:creationId xmlns:a16="http://schemas.microsoft.com/office/drawing/2014/main" id="{FE911897-391C-4D4B-A9E8-E110F66F7DB9}"/>
              </a:ext>
            </a:extLst>
          </p:cNvPr>
          <p:cNvSpPr>
            <a:spLocks noGrp="1"/>
          </p:cNvSpPr>
          <p:nvPr>
            <p:custDataLst>
              <p:tags r:id="rId78"/>
            </p:custDataLst>
          </p:nvPr>
        </p:nvSpPr>
        <p:spPr bwMode="auto">
          <a:xfrm>
            <a:off x="3506789" y="3031760"/>
            <a:ext cx="1069975" cy="301625"/>
          </a:xfrm>
          <a:prstGeom prst="ellipse">
            <a:avLst/>
          </a:prstGeom>
          <a:solidFill>
            <a:schemeClr val="bg1"/>
          </a:solidFill>
          <a:ln>
            <a:noFill/>
          </a:ln>
          <a:effec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de-DE" altLang="en-US" sz="14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0.9%</a:t>
            </a: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 p.a.</a:t>
            </a:r>
          </a:p>
        </p:txBody>
      </p:sp>
      <p:sp>
        <p:nvSpPr>
          <p:cNvPr id="153" name="Text Placeholder 4">
            <a:extLst>
              <a:ext uri="{FF2B5EF4-FFF2-40B4-BE49-F238E27FC236}">
                <a16:creationId xmlns:a16="http://schemas.microsoft.com/office/drawing/2014/main" id="{4C1F3293-4EFE-461D-940D-7EE66BAE31C5}"/>
              </a:ext>
            </a:extLst>
          </p:cNvPr>
          <p:cNvSpPr>
            <a:spLocks noGrp="1"/>
          </p:cNvSpPr>
          <p:nvPr>
            <p:custDataLst>
              <p:tags r:id="rId79"/>
            </p:custDataLst>
          </p:nvPr>
        </p:nvSpPr>
        <p:spPr bwMode="auto">
          <a:xfrm>
            <a:off x="7810501" y="3485785"/>
            <a:ext cx="1082675" cy="301625"/>
          </a:xfrm>
          <a:prstGeom prst="ellipse">
            <a:avLst/>
          </a:prstGeom>
          <a:solidFill>
            <a:schemeClr val="bg1"/>
          </a:solidFill>
          <a:ln>
            <a:noFill/>
          </a:ln>
          <a:effec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6E02785-06FA-4C81-9CD5-4AC5117BD223}" type="datetime'''''-''''''''''''5''''''''''''''.4''%'''">
              <a:rPr kumimoji="0" lang="de-DE" altLang="en-US" sz="1400" b="1"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4%</a:t>
            </a:fld>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 p.a.</a:t>
            </a:r>
          </a:p>
        </p:txBody>
      </p:sp>
      <p:sp>
        <p:nvSpPr>
          <p:cNvPr id="42" name="Text Placeholder 4">
            <a:extLst>
              <a:ext uri="{FF2B5EF4-FFF2-40B4-BE49-F238E27FC236}">
                <a16:creationId xmlns:a16="http://schemas.microsoft.com/office/drawing/2014/main" id="{4C1F3293-4EFE-461D-940D-7EE66BAE31C5}"/>
              </a:ext>
            </a:extLst>
          </p:cNvPr>
          <p:cNvSpPr>
            <a:spLocks noGrp="1"/>
          </p:cNvSpPr>
          <p:nvPr>
            <p:custDataLst>
              <p:tags r:id="rId80"/>
            </p:custDataLst>
          </p:nvPr>
        </p:nvSpPr>
        <p:spPr bwMode="auto">
          <a:xfrm>
            <a:off x="9926638" y="3982673"/>
            <a:ext cx="957263" cy="603250"/>
          </a:xfrm>
          <a:prstGeom prst="ellipse">
            <a:avLst/>
          </a:prstGeom>
          <a:solidFill>
            <a:schemeClr val="bg1"/>
          </a:solidFill>
          <a:ln>
            <a:noFill/>
          </a:ln>
          <a:effec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prstClr val="black"/>
              </a:buClr>
              <a:buSzPct val="100000"/>
              <a:buFont typeface="Segoe UI" panose="020B0502040204020203" pitchFamily="34" charset="0"/>
              <a:buChar char="​"/>
              <a:tabLst/>
              <a:defRPr/>
            </a:pPr>
            <a:r>
              <a:rPr kumimoji="0" lang="de-DE" altLang="en-US" sz="1400" b="1"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10% - </a:t>
            </a:r>
            <a:br>
              <a:rPr kumimoji="0" lang="de-DE" altLang="en-US" sz="1400" b="1"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br>
            <a:r>
              <a:rPr kumimoji="0" lang="de-DE" altLang="en-US" sz="1400" b="1"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16%</a:t>
            </a:r>
            <a:r>
              <a:rPr kumimoji="0" lang="de-DE" sz="1400" b="1"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 p.a.</a:t>
            </a:r>
          </a:p>
        </p:txBody>
      </p:sp>
      <p:sp>
        <p:nvSpPr>
          <p:cNvPr id="172" name="2. Slide Title">
            <a:extLst>
              <a:ext uri="{FF2B5EF4-FFF2-40B4-BE49-F238E27FC236}">
                <a16:creationId xmlns:a16="http://schemas.microsoft.com/office/drawing/2014/main" id="{A56F1DB2-6954-4D0F-BA8A-51C5409A48DB}"/>
              </a:ext>
            </a:extLst>
          </p:cNvPr>
          <p:cNvSpPr>
            <a:spLocks noGrp="1"/>
          </p:cNvSpPr>
          <p:nvPr>
            <p:ph type="title"/>
            <p:custDataLst>
              <p:tags r:id="rId81"/>
            </p:custDataLst>
          </p:nvPr>
        </p:nvSpPr>
        <p:spPr>
          <a:xfrm>
            <a:off x="838799" y="343789"/>
            <a:ext cx="9540001" cy="781752"/>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de-DE" dirty="0"/>
              <a:t>Österreich muss die Reduktion an Treibhausgasen massiv beschleunigen, um die gesetzten Ziele zu erreichen</a:t>
            </a:r>
          </a:p>
        </p:txBody>
      </p:sp>
      <p:sp>
        <p:nvSpPr>
          <p:cNvPr id="92" name="TextBox 91">
            <a:extLst>
              <a:ext uri="{FF2B5EF4-FFF2-40B4-BE49-F238E27FC236}">
                <a16:creationId xmlns:a16="http://schemas.microsoft.com/office/drawing/2014/main" id="{2B55EC57-0D03-4DFE-B185-6C0791AFBC0E}"/>
              </a:ext>
            </a:extLst>
          </p:cNvPr>
          <p:cNvSpPr txBox="1">
            <a:spLocks/>
          </p:cNvSpPr>
          <p:nvPr/>
        </p:nvSpPr>
        <p:spPr>
          <a:xfrm>
            <a:off x="554736" y="1529982"/>
            <a:ext cx="11082528" cy="246221"/>
          </a:xfrm>
          <a:prstGeom prst="rect">
            <a:avLst/>
          </a:prstGeom>
        </p:spPr>
        <p:txBody>
          <a:bodyPr vert="horz" wrap="square" lIns="0" tIns="0" rIns="0" bIns="0"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6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Entwicklung CO</a:t>
            </a:r>
            <a:r>
              <a:rPr kumimoji="0" lang="de-DE" sz="1600" b="1" i="0" u="none" strike="noStrike" kern="1200" cap="none" spc="0" normalizeH="0" baseline="-25000" noProof="0" dirty="0">
                <a:ln>
                  <a:noFill/>
                </a:ln>
                <a:solidFill>
                  <a:srgbClr val="000000"/>
                </a:solidFill>
                <a:effectLst/>
                <a:uLnTx/>
                <a:uFillTx/>
                <a:latin typeface="Bahnschrift" panose="020B0502040204020203" pitchFamily="34" charset="0"/>
                <a:ea typeface="+mn-ea"/>
                <a:cs typeface="Arial" panose="020B0604020202020204" pitchFamily="34" charset="0"/>
              </a:rPr>
              <a:t>2</a:t>
            </a:r>
            <a:r>
              <a:rPr kumimoji="0" lang="de-DE" sz="16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e Emissionen in Österreich (ohne Emissionshandel)</a:t>
            </a:r>
            <a:r>
              <a:rPr kumimoji="0" lang="de-DE" sz="1600" b="1" i="0" u="none" strike="noStrike" kern="1200" cap="none" spc="0" normalizeH="0" baseline="30000" noProof="0" dirty="0">
                <a:ln>
                  <a:noFill/>
                </a:ln>
                <a:solidFill>
                  <a:srgbClr val="000000"/>
                </a:solidFill>
                <a:effectLst/>
                <a:uLnTx/>
                <a:uFillTx/>
                <a:latin typeface="Bahnschrift" panose="020B0502040204020203" pitchFamily="34" charset="0"/>
                <a:ea typeface="+mn-ea"/>
                <a:cs typeface="Arial" panose="020B0604020202020204" pitchFamily="34" charset="0"/>
              </a:rPr>
              <a:t>1</a:t>
            </a:r>
            <a:r>
              <a:rPr kumimoji="0" lang="de-DE" sz="16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 </a:t>
            </a:r>
            <a:r>
              <a:rPr kumimoji="0" lang="de-DE" sz="16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in </a:t>
            </a:r>
            <a:r>
              <a:rPr kumimoji="0" lang="de-DE" sz="1600" b="0" i="0" u="none" strike="noStrike" kern="1200" cap="none" spc="0" normalizeH="0" baseline="0" noProof="0" dirty="0" err="1">
                <a:ln>
                  <a:noFill/>
                </a:ln>
                <a:solidFill>
                  <a:srgbClr val="000000"/>
                </a:solidFill>
                <a:effectLst/>
                <a:uLnTx/>
                <a:uFillTx/>
                <a:latin typeface="Bahnschrift" panose="020B0502040204020203" pitchFamily="34" charset="0"/>
                <a:ea typeface="+mn-ea"/>
                <a:cs typeface="Arial" panose="020B0604020202020204" pitchFamily="34" charset="0"/>
              </a:rPr>
              <a:t>Mt</a:t>
            </a:r>
            <a:r>
              <a:rPr kumimoji="0" lang="de-DE" sz="1600" b="0" i="0" u="none" strike="noStrike" kern="0" cap="none" spc="0" normalizeH="0" baseline="0" noProof="0" dirty="0">
                <a:ln>
                  <a:noFill/>
                </a:ln>
                <a:solidFill>
                  <a:prstClr val="black"/>
                </a:solidFill>
                <a:effectLst/>
                <a:uLnTx/>
                <a:uFillTx/>
                <a:latin typeface="Bahnschrift" panose="020B0502040204020203" pitchFamily="34" charset="0"/>
                <a:ea typeface="Arial Unicode MS" pitchFamily="34" charset="-128"/>
                <a:cs typeface="Arial" panose="020B0604020202020204" pitchFamily="34" charset="0"/>
              </a:rPr>
              <a:t>CO</a:t>
            </a:r>
            <a:r>
              <a:rPr kumimoji="0" lang="de-DE" sz="1600" b="0" i="0" u="none" strike="noStrike" kern="0" cap="none" spc="0" normalizeH="0" baseline="-25000" noProof="0" dirty="0">
                <a:ln>
                  <a:noFill/>
                </a:ln>
                <a:solidFill>
                  <a:prstClr val="black"/>
                </a:solidFill>
                <a:effectLst/>
                <a:uLnTx/>
                <a:uFillTx/>
                <a:latin typeface="Bahnschrift" panose="020B0502040204020203" pitchFamily="34" charset="0"/>
                <a:ea typeface="Arial Unicode MS" pitchFamily="34" charset="-128"/>
                <a:cs typeface="Arial" panose="020B0604020202020204" pitchFamily="34" charset="0"/>
              </a:rPr>
              <a:t>2</a:t>
            </a:r>
            <a:r>
              <a:rPr kumimoji="0" lang="de-DE" sz="16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e</a:t>
            </a:r>
            <a:r>
              <a:rPr kumimoji="0" lang="de-DE" sz="1600" b="0" i="0" u="none" strike="noStrike" kern="1200" cap="none" spc="0" normalizeH="0" baseline="30000" noProof="0" dirty="0">
                <a:ln>
                  <a:noFill/>
                </a:ln>
                <a:solidFill>
                  <a:srgbClr val="000000"/>
                </a:solidFill>
                <a:effectLst/>
                <a:uLnTx/>
                <a:uFillTx/>
                <a:latin typeface="Bahnschrift" panose="020B0502040204020203" pitchFamily="34" charset="0"/>
                <a:ea typeface="+mn-ea"/>
                <a:cs typeface="Arial" panose="020B0604020202020204" pitchFamily="34" charset="0"/>
              </a:rPr>
              <a:t>2</a:t>
            </a:r>
            <a:endParaRPr kumimoji="0" lang="de-DE" sz="1200" b="0" i="0" u="none" strike="noStrike" kern="1200" cap="none" spc="0" normalizeH="0" baseline="30000" noProof="0" dirty="0">
              <a:ln>
                <a:noFill/>
              </a:ln>
              <a:solidFill>
                <a:srgbClr val="000000"/>
              </a:solidFill>
              <a:effectLst/>
              <a:uLnTx/>
              <a:uFillTx/>
              <a:latin typeface="Bahnschrift" panose="020B0502040204020203" pitchFamily="34" charset="0"/>
              <a:ea typeface="+mn-ea"/>
              <a:cs typeface="Arial" panose="020B0604020202020204" pitchFamily="34" charset="0"/>
            </a:endParaRPr>
          </a:p>
        </p:txBody>
      </p:sp>
      <p:sp>
        <p:nvSpPr>
          <p:cNvPr id="139" name="TextBox 138">
            <a:extLst>
              <a:ext uri="{FF2B5EF4-FFF2-40B4-BE49-F238E27FC236}">
                <a16:creationId xmlns:a16="http://schemas.microsoft.com/office/drawing/2014/main" id="{D576F6DD-0911-4EC1-BA4E-8A465B6FB864}"/>
              </a:ext>
            </a:extLst>
          </p:cNvPr>
          <p:cNvSpPr txBox="1"/>
          <p:nvPr/>
        </p:nvSpPr>
        <p:spPr>
          <a:xfrm>
            <a:off x="8479915" y="2731614"/>
            <a:ext cx="1823037"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Zielwert Pariser Klimaübereinkommen („Fit-for-55“)</a:t>
            </a:r>
          </a:p>
        </p:txBody>
      </p:sp>
      <p:sp>
        <p:nvSpPr>
          <p:cNvPr id="141" name="TextBox 140">
            <a:extLst>
              <a:ext uri="{FF2B5EF4-FFF2-40B4-BE49-F238E27FC236}">
                <a16:creationId xmlns:a16="http://schemas.microsoft.com/office/drawing/2014/main" id="{3A36084C-3504-4C2E-8789-37E3413B2D09}"/>
              </a:ext>
            </a:extLst>
          </p:cNvPr>
          <p:cNvSpPr txBox="1"/>
          <p:nvPr/>
        </p:nvSpPr>
        <p:spPr>
          <a:xfrm>
            <a:off x="9948116" y="5360924"/>
            <a:ext cx="1222851"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Kompensation durch LULUCF und CCUS</a:t>
            </a:r>
          </a:p>
        </p:txBody>
      </p:sp>
      <p:sp>
        <p:nvSpPr>
          <p:cNvPr id="2" name="4. Footnote">
            <a:extLst>
              <a:ext uri="{FF2B5EF4-FFF2-40B4-BE49-F238E27FC236}">
                <a16:creationId xmlns:a16="http://schemas.microsoft.com/office/drawing/2014/main" id="{7D732CFA-416C-4CF8-8BE8-7D197A505242}"/>
              </a:ext>
            </a:extLst>
          </p:cNvPr>
          <p:cNvSpPr txBox="1"/>
          <p:nvPr>
            <p:custDataLst>
              <p:tags r:id="rId82"/>
            </p:custDataLst>
          </p:nvPr>
        </p:nvSpPr>
        <p:spPr>
          <a:xfrm>
            <a:off x="553972" y="6248251"/>
            <a:ext cx="9214868" cy="246221"/>
          </a:xfrm>
          <a:prstGeom prst="rect">
            <a:avLst/>
          </a:prstGeom>
          <a:noFill/>
        </p:spPr>
        <p:txBody>
          <a:bodyPr vert="horz" wrap="square" lIns="0" tIns="0" rIns="0" bIns="0" rtlCol="0" anchor="b" anchorCtr="0">
            <a:spAutoFit/>
          </a:bodyPr>
          <a:lstStyle>
            <a:defPPr>
              <a:defRPr lang="de-AT"/>
            </a:defPPr>
            <a:lvl1pPr marL="203200" indent="-212725">
              <a:defRPr sz="800">
                <a:latin typeface="Trebuchet MS" pitchFamily="34" charset="0"/>
              </a:defRPr>
            </a:lvl1pPr>
          </a:lstStyle>
          <a:p>
            <a:pPr marL="203200" marR="0" lvl="0" indent="-212725" algn="l" defTabSz="914400" rtl="0" eaLnBrk="1" fontAlgn="base" latinLnBrk="0" hangingPunct="1">
              <a:lnSpc>
                <a:spcPct val="100000"/>
              </a:lnSpc>
              <a:spcBef>
                <a:spcPct val="0"/>
              </a:spcBef>
              <a:spcAft>
                <a:spcPct val="0"/>
              </a:spcAft>
              <a:buClrTx/>
              <a:buSzTx/>
              <a:buFontTx/>
              <a:buNone/>
              <a:tabLst/>
              <a:defRPr/>
            </a:pP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rPr>
              <a:t>1.	Bruttoemissionen (vor Einführung des Emissionshandels für Verkehr und Gebäude)</a:t>
            </a:r>
          </a:p>
          <a:p>
            <a:pPr marL="203200" marR="0" lvl="0" indent="-212725" algn="l" defTabSz="914400" rtl="0" eaLnBrk="1" fontAlgn="base" latinLnBrk="0" hangingPunct="1">
              <a:lnSpc>
                <a:spcPct val="100000"/>
              </a:lnSpc>
              <a:spcBef>
                <a:spcPct val="0"/>
              </a:spcBef>
              <a:spcAft>
                <a:spcPct val="0"/>
              </a:spcAft>
              <a:buClrTx/>
              <a:buSzTx/>
              <a:buFontTx/>
              <a:buNone/>
              <a:tabLst/>
              <a:defRPr/>
            </a:pP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rPr>
              <a:t>2.	Indikative Angabe Umweltbundesamt 2023: „Selbst wenn sehr ambitionierte Maßnahmen gesetzt werden, ist im Jahr 2040 mit Emissionen von bis zu 10 Mio. Tonnen </a:t>
            </a:r>
            <a:r>
              <a:rPr kumimoji="0" lang="de-DE" sz="800" b="0" i="0" u="none" strike="noStrike" kern="0" cap="none" spc="0" normalizeH="0" baseline="0" noProof="0" dirty="0">
                <a:ln>
                  <a:noFill/>
                </a:ln>
                <a:solidFill>
                  <a:srgbClr val="004FA1"/>
                </a:solidFill>
                <a:effectLst/>
                <a:uLnTx/>
                <a:uFillTx/>
                <a:latin typeface="Bahnschrift" panose="020B0502040204020203" pitchFamily="34" charset="0"/>
                <a:ea typeface="Arial Unicode MS" pitchFamily="34" charset="-128"/>
                <a:cs typeface="+mn-cs"/>
              </a:rPr>
              <a:t>CO</a:t>
            </a:r>
            <a:r>
              <a:rPr kumimoji="0" lang="de-DE" sz="800" b="0" i="0" u="none" strike="noStrike" kern="0" cap="none" spc="0" normalizeH="0" baseline="-25000" noProof="0" dirty="0">
                <a:ln>
                  <a:noFill/>
                </a:ln>
                <a:solidFill>
                  <a:srgbClr val="004FA1"/>
                </a:solidFill>
                <a:effectLst/>
                <a:uLnTx/>
                <a:uFillTx/>
                <a:latin typeface="Bahnschrift" panose="020B0502040204020203" pitchFamily="34" charset="0"/>
                <a:ea typeface="Arial Unicode MS" pitchFamily="34" charset="-128"/>
                <a:cs typeface="+mn-cs"/>
              </a:rPr>
              <a:t>2</a:t>
            </a: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rPr>
              <a:t>-Äquivalent zu rechnen“</a:t>
            </a:r>
          </a:p>
        </p:txBody>
      </p:sp>
      <p:sp>
        <p:nvSpPr>
          <p:cNvPr id="44" name="5. Source">
            <a:extLst>
              <a:ext uri="{FF2B5EF4-FFF2-40B4-BE49-F238E27FC236}">
                <a16:creationId xmlns:a16="http://schemas.microsoft.com/office/drawing/2014/main" id="{0ABF8DA3-4135-49C1-8838-E156962B3A6B}"/>
              </a:ext>
            </a:extLst>
          </p:cNvPr>
          <p:cNvSpPr txBox="1"/>
          <p:nvPr>
            <p:custDataLst>
              <p:tags r:id="rId83"/>
            </p:custDataLst>
          </p:nvPr>
        </p:nvSpPr>
        <p:spPr>
          <a:xfrm>
            <a:off x="553972" y="6549229"/>
            <a:ext cx="10287000" cy="123111"/>
          </a:xfrm>
          <a:prstGeom prst="rect">
            <a:avLst/>
          </a:prstGeom>
          <a:noFill/>
        </p:spPr>
        <p:txBody>
          <a:bodyPr vert="horz" wrap="square" lIns="0" tIns="0" rIns="0" bIns="0" rtlCol="0" anchor="b"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rPr>
              <a:t>Quelle: Bundesregierung, Umweltbundesamt, Europäischer Rat, Global Carbon Atlas</a:t>
            </a:r>
          </a:p>
        </p:txBody>
      </p:sp>
      <p:cxnSp>
        <p:nvCxnSpPr>
          <p:cNvPr id="51" name="Straight Connector 50">
            <a:extLst>
              <a:ext uri="{FF2B5EF4-FFF2-40B4-BE49-F238E27FC236}">
                <a16:creationId xmlns:a16="http://schemas.microsoft.com/office/drawing/2014/main" id="{5CB1ABA7-FC31-4E60-8787-160C895C04D4}"/>
              </a:ext>
            </a:extLst>
          </p:cNvPr>
          <p:cNvCxnSpPr>
            <a:cxnSpLocks/>
          </p:cNvCxnSpPr>
          <p:nvPr/>
        </p:nvCxnSpPr>
        <p:spPr>
          <a:xfrm>
            <a:off x="554736" y="1829543"/>
            <a:ext cx="11082528"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47298EB5-FEE3-4FEA-ACA3-F2F83E7B1B3C}"/>
              </a:ext>
            </a:extLst>
          </p:cNvPr>
          <p:cNvSpPr>
            <a:spLocks noGrp="1"/>
          </p:cNvSpPr>
          <p:nvPr>
            <p:ph type="sldNum" sz="quarter" idx="10"/>
          </p:nvPr>
        </p:nvSpPr>
        <p:spPr>
          <a:xfrm>
            <a:off x="167425" y="6245225"/>
            <a:ext cx="304063" cy="476250"/>
          </a:xfr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1920E2B-FC99-4A38-BFFD-416A818AECB0}" type="slidenum">
              <a:rPr kumimoji="0" lang="de-AT" sz="800" b="0" i="0" u="none" strike="noStrike" kern="1200" cap="none" spc="0" normalizeH="0" baseline="0" noProof="0" smtClean="0">
                <a:ln>
                  <a:noFill/>
                </a:ln>
                <a:solidFill>
                  <a:prstClr val="white">
                    <a:lumMod val="50000"/>
                  </a:prstClr>
                </a:solidFill>
                <a:effectLst/>
                <a:uLnTx/>
                <a:uFillTx/>
                <a:latin typeface="Bahnschrift" panose="020B0502040204020203" pitchFamily="34"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10</a:t>
            </a:fld>
            <a:endParaRPr kumimoji="0" lang="de-AT" sz="800" b="0" i="0" u="none" strike="noStrike" kern="1200" cap="none" spc="0" normalizeH="0" baseline="0" noProof="0" dirty="0">
              <a:ln>
                <a:noFill/>
              </a:ln>
              <a:solidFill>
                <a:prstClr val="white">
                  <a:lumMod val="50000"/>
                </a:prstClr>
              </a:solidFill>
              <a:effectLst/>
              <a:uLnTx/>
              <a:uFillTx/>
              <a:latin typeface="Bahnschrift" panose="020B0502040204020203" pitchFamily="34" charset="0"/>
              <a:ea typeface="+mn-ea"/>
              <a:cs typeface="+mn-cs"/>
            </a:endParaRPr>
          </a:p>
        </p:txBody>
      </p:sp>
      <p:sp>
        <p:nvSpPr>
          <p:cNvPr id="7" name="Rectangle 6">
            <a:extLst>
              <a:ext uri="{FF2B5EF4-FFF2-40B4-BE49-F238E27FC236}">
                <a16:creationId xmlns:a16="http://schemas.microsoft.com/office/drawing/2014/main" id="{3F9239B0-ACF5-BA22-FB3E-9D3BD4AB9B6E}"/>
              </a:ext>
            </a:extLst>
          </p:cNvPr>
          <p:cNvSpPr/>
          <p:nvPr/>
        </p:nvSpPr>
        <p:spPr>
          <a:xfrm>
            <a:off x="11289507" y="5322523"/>
            <a:ext cx="283368" cy="329406"/>
          </a:xfrm>
          <a:prstGeom prst="rect">
            <a:avLst/>
          </a:prstGeom>
          <a:pattFill prst="wdUpDiag">
            <a:fgClr>
              <a:schemeClr val="accent2"/>
            </a:fgClr>
            <a:bgClr>
              <a:schemeClr val="bg1"/>
            </a:bgClr>
          </a:pattFill>
          <a:ln w="6350" cap="sq">
            <a:solidFill>
              <a:srgbClr val="304C59"/>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Bahnschrift" panose="020B0502040204020203" pitchFamily="34" charset="0"/>
              <a:ea typeface="+mn-ea"/>
              <a:cs typeface="+mn-cs"/>
            </a:endParaRPr>
          </a:p>
        </p:txBody>
      </p:sp>
      <p:sp>
        <p:nvSpPr>
          <p:cNvPr id="279" name="Rectangle 278">
            <a:extLst>
              <a:ext uri="{FF2B5EF4-FFF2-40B4-BE49-F238E27FC236}">
                <a16:creationId xmlns:a16="http://schemas.microsoft.com/office/drawing/2014/main" id="{E869F0CE-FD4C-41BF-98F8-C9F323190B6C}"/>
              </a:ext>
            </a:extLst>
          </p:cNvPr>
          <p:cNvSpPr/>
          <p:nvPr>
            <p:custDataLst>
              <p:tags r:id="rId84"/>
            </p:custDataLst>
          </p:nvPr>
        </p:nvSpPr>
        <p:spPr bwMode="auto">
          <a:xfrm>
            <a:off x="10198100" y="1946275"/>
            <a:ext cx="165100" cy="165100"/>
          </a:xfrm>
          <a:prstGeom prst="rect">
            <a:avLst/>
          </a:prstGeom>
          <a:noFill/>
          <a:ln w="9525" cap="flat" cmpd="sng" algn="ctr">
            <a:solidFill>
              <a:srgbClr val="D0D0D0"/>
            </a:solidFill>
            <a:prstDash val="lgDash"/>
            <a:round/>
            <a:headEnd type="none" w="med" len="med"/>
            <a:tailEnd type="none" w="med" len="med"/>
          </a:ln>
          <a:effectLst/>
          <a:extLst>
            <a:ext uri="{909E8E84-426E-40DD-AFC4-6F175D3DCCD1}">
              <a14:hiddenFill xmlns:a14="http://schemas.microsoft.com/office/drawing/2010/main">
                <a:solidFill>
                  <a:schemeClr val="bg1">
                    <a:lumMod val="8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1800" b="0" i="0" u="none" strike="noStrike" kern="1200" cap="none" spc="0" normalizeH="0" baseline="0" noProof="0" dirty="0" err="1">
              <a:ln>
                <a:noFill/>
              </a:ln>
              <a:solidFill>
                <a:prstClr val="black"/>
              </a:solidFill>
              <a:effectLst/>
              <a:uLnTx/>
              <a:uFillTx/>
              <a:latin typeface="Verdana" pitchFamily="34" charset="0"/>
              <a:ea typeface="Verdana" pitchFamily="34" charset="0"/>
              <a:cs typeface="Verdana" pitchFamily="34" charset="0"/>
            </a:endParaRPr>
          </a:p>
        </p:txBody>
      </p:sp>
      <p:sp>
        <p:nvSpPr>
          <p:cNvPr id="275" name="Textplatzhalter 8">
            <a:extLst>
              <a:ext uri="{FF2B5EF4-FFF2-40B4-BE49-F238E27FC236}">
                <a16:creationId xmlns:a16="http://schemas.microsoft.com/office/drawing/2014/main" id="{71B62D9A-E215-4604-8E85-DA797A07712A}"/>
              </a:ext>
            </a:extLst>
          </p:cNvPr>
          <p:cNvSpPr>
            <a:spLocks noGrp="1"/>
          </p:cNvSpPr>
          <p:nvPr>
            <p:custDataLst>
              <p:tags r:id="rId85"/>
            </p:custDataLst>
          </p:nvPr>
        </p:nvSpPr>
        <p:spPr bwMode="auto">
          <a:xfrm>
            <a:off x="10414000" y="1944323"/>
            <a:ext cx="11636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algn="l"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4EAC589D-6938-474A-9975-6EBFCED3AF3F}" type="datetime'''''E''m''is''si''''''''''o''''n''s''ha''n''d''''''el'''">
              <a:rPr kumimoji="0" lang="de-DE" altLang="en-US" sz="1200" b="0" i="0" u="none" strike="noStrike" kern="1200" cap="none" spc="0" normalizeH="0" baseline="0" noProof="0" smtClean="0">
                <a:ln>
                  <a:noFill/>
                </a:ln>
                <a:solidFill>
                  <a:prstClr val="black"/>
                </a:solidFill>
                <a:effectLst/>
                <a:uLnTx/>
                <a:uFillTx/>
                <a:latin typeface="Bahnschrift" panose="020B0502040204020203" pitchFamily="34" charset="0"/>
                <a:ea typeface="+mn-ea"/>
                <a:cs typeface="+mn-cs"/>
                <a:sym typeface="Bahnschrift" panose="020B0502040204020203" pitchFamily="34" charset="0"/>
              </a:rPr>
              <a:pPr marL="0" marR="0" lvl="0" indent="0" algn="l"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Emissionshandel</a:t>
            </a:fld>
            <a:endParaRPr kumimoji="0" lang="de-DE" sz="1200" b="0" i="0" u="none" strike="noStrike" kern="1200" cap="none" spc="0" normalizeH="0" baseline="0" noProof="0" dirty="0">
              <a:ln>
                <a:noFill/>
              </a:ln>
              <a:solidFill>
                <a:prstClr val="black"/>
              </a:solidFill>
              <a:effectLst/>
              <a:uLnTx/>
              <a:uFillTx/>
              <a:latin typeface="Bahnschrift" panose="020B0502040204020203" pitchFamily="34" charset="0"/>
              <a:ea typeface="+mn-ea"/>
              <a:cs typeface="+mn-cs"/>
              <a:sym typeface="Bahnschrift" panose="020B0502040204020203" pitchFamily="34" charset="0"/>
            </a:endParaRPr>
          </a:p>
        </p:txBody>
      </p:sp>
    </p:spTree>
    <p:extLst>
      <p:ext uri="{BB962C8B-B14F-4D97-AF65-F5344CB8AC3E}">
        <p14:creationId xmlns:p14="http://schemas.microsoft.com/office/powerpoint/2010/main" val="266128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77">
            <a:extLst>
              <a:ext uri="{FF2B5EF4-FFF2-40B4-BE49-F238E27FC236}">
                <a16:creationId xmlns:a16="http://schemas.microsoft.com/office/drawing/2014/main" id="{97D9B54C-8FAE-2718-ABAD-9FE7E8FBFE26}"/>
              </a:ext>
            </a:extLst>
          </p:cNvPr>
          <p:cNvPicPr>
            <a:picLocks noChangeAspect="1"/>
          </p:cNvPicPr>
          <p:nvPr/>
        </p:nvPicPr>
        <p:blipFill>
          <a:blip r:embed="rId10">
            <a:alphaModFix amt="20000"/>
          </a:blip>
          <a:stretch>
            <a:fillRect/>
          </a:stretch>
        </p:blipFill>
        <p:spPr>
          <a:xfrm>
            <a:off x="3176" y="3176"/>
            <a:ext cx="12192000" cy="6858000"/>
          </a:xfrm>
          <a:prstGeom prst="rect">
            <a:avLst/>
          </a:prstGeom>
        </p:spPr>
      </p:pic>
      <p:graphicFrame>
        <p:nvGraphicFramePr>
          <p:cNvPr id="5" name="Object 6" hidden="1">
            <a:extLst>
              <a:ext uri="{FF2B5EF4-FFF2-40B4-BE49-F238E27FC236}">
                <a16:creationId xmlns:a16="http://schemas.microsoft.com/office/drawing/2014/main" id="{C039E18E-10AF-48A8-B66F-BF3B676889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4" progId="TCLayout.ActiveDocument.1">
                  <p:embed/>
                </p:oleObj>
              </mc:Choice>
              <mc:Fallback>
                <p:oleObj name="think-cell Slide" r:id="rId11" imgW="395" imgH="394" progId="TCLayout.ActiveDocument.1">
                  <p:embed/>
                  <p:pic>
                    <p:nvPicPr>
                      <p:cNvPr id="5" name="Object 6" hidden="1">
                        <a:extLst>
                          <a:ext uri="{FF2B5EF4-FFF2-40B4-BE49-F238E27FC236}">
                            <a16:creationId xmlns:a16="http://schemas.microsoft.com/office/drawing/2014/main" id="{C039E18E-10AF-48A8-B66F-BF3B6768891C}"/>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2" name="4. Footnote">
            <a:extLst>
              <a:ext uri="{FF2B5EF4-FFF2-40B4-BE49-F238E27FC236}">
                <a16:creationId xmlns:a16="http://schemas.microsoft.com/office/drawing/2014/main" id="{5D25531E-26AD-4D68-A4FE-FF722768FF50}"/>
              </a:ext>
            </a:extLst>
          </p:cNvPr>
          <p:cNvSpPr txBox="1">
            <a:spLocks/>
          </p:cNvSpPr>
          <p:nvPr>
            <p:custDataLst>
              <p:tags r:id="rId2"/>
            </p:custDataLst>
          </p:nvPr>
        </p:nvSpPr>
        <p:spPr>
          <a:xfrm>
            <a:off x="696290" y="6274971"/>
            <a:ext cx="9439579" cy="36933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noAutofit/>
          </a:body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cs typeface="Arial" panose="020B0604020202020204" pitchFamily="34" charset="0"/>
              </a:rPr>
              <a:t>1.	Erneuerbaren-Ziel im Erneuerbaren Ausbau Gesetz detailliert. Weitere Ziele bis 2030 im Nationalen Energie- &amp; Klimaplan festgeschrieben, </a:t>
            </a:r>
            <a:b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cs typeface="Arial" panose="020B0604020202020204" pitchFamily="34" charset="0"/>
              </a:rPr>
            </a:b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cs typeface="Arial" panose="020B0604020202020204" pitchFamily="34" charset="0"/>
              </a:rPr>
              <a:t>Detailziele für einige Sektoren (u.a. Landwirtschaft) sollen im Klimaschutzgesetz festgelegt werden</a:t>
            </a:r>
          </a:p>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cs typeface="Arial" panose="020B0604020202020204" pitchFamily="34" charset="0"/>
              </a:rPr>
              <a:t>2.	Ziel im Regierungsprogramm 2020-2024 festgeschrieben (Stand Jänner 2023). </a:t>
            </a: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cs typeface="DIN Offc Pro" panose="020B0504020101020102" pitchFamily="34" charset="0"/>
              </a:rPr>
              <a:t>Zu klären ist, ob auch der EU-Emissionshandelssektor inkludiert ist.</a:t>
            </a:r>
            <a:endParaRPr kumimoji="0" lang="en-US" sz="800" b="0" i="0" u="none" strike="noStrike" kern="1200" cap="none" spc="0" normalizeH="0" baseline="0" noProof="0" dirty="0">
              <a:ln>
                <a:noFill/>
              </a:ln>
              <a:solidFill>
                <a:srgbClr val="004FA1"/>
              </a:solidFill>
              <a:effectLst/>
              <a:uLnTx/>
              <a:uFillTx/>
              <a:latin typeface="Bahnschrift" panose="020B0502040204020203" pitchFamily="34" charset="0"/>
              <a:cs typeface="Arial" panose="020B0604020202020204" pitchFamily="34" charset="0"/>
            </a:endParaRPr>
          </a:p>
        </p:txBody>
      </p:sp>
      <p:sp>
        <p:nvSpPr>
          <p:cNvPr id="19" name="Freeform: Shape 18">
            <a:extLst>
              <a:ext uri="{FF2B5EF4-FFF2-40B4-BE49-F238E27FC236}">
                <a16:creationId xmlns:a16="http://schemas.microsoft.com/office/drawing/2014/main" id="{B07E796D-3911-4941-A1C3-A974DD36BC61}"/>
              </a:ext>
            </a:extLst>
          </p:cNvPr>
          <p:cNvSpPr/>
          <p:nvPr/>
        </p:nvSpPr>
        <p:spPr>
          <a:xfrm rot="3874621">
            <a:off x="7737308" y="1193777"/>
            <a:ext cx="1789723" cy="1756775"/>
          </a:xfrm>
          <a:custGeom>
            <a:avLst/>
            <a:gdLst>
              <a:gd name="connsiteX0" fmla="*/ 0 w 3784348"/>
              <a:gd name="connsiteY0" fmla="*/ 3723985 h 3723985"/>
              <a:gd name="connsiteX1" fmla="*/ 805758 w 3784348"/>
              <a:gd name="connsiteY1" fmla="*/ 3624397 h 3723985"/>
              <a:gd name="connsiteX2" fmla="*/ 1249378 w 3784348"/>
              <a:gd name="connsiteY2" fmla="*/ 2682837 h 3723985"/>
              <a:gd name="connsiteX3" fmla="*/ 1186004 w 3784348"/>
              <a:gd name="connsiteY3" fmla="*/ 998892 h 3723985"/>
              <a:gd name="connsiteX4" fmla="*/ 1865014 w 3784348"/>
              <a:gd name="connsiteY4" fmla="*/ 175027 h 3723985"/>
              <a:gd name="connsiteX5" fmla="*/ 2516863 w 3784348"/>
              <a:gd name="connsiteY5" fmla="*/ 528112 h 3723985"/>
              <a:gd name="connsiteX6" fmla="*/ 2951429 w 3784348"/>
              <a:gd name="connsiteY6" fmla="*/ 1324817 h 3723985"/>
              <a:gd name="connsiteX7" fmla="*/ 3395049 w 3784348"/>
              <a:gd name="connsiteY7" fmla="*/ 790662 h 3723985"/>
              <a:gd name="connsiteX8" fmla="*/ 3385996 w 3784348"/>
              <a:gd name="connsiteY8" fmla="*/ 120706 h 3723985"/>
              <a:gd name="connsiteX9" fmla="*/ 3784348 w 3784348"/>
              <a:gd name="connsiteY9"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186004 w 3784348"/>
              <a:gd name="connsiteY3" fmla="*/ 998892 h 3723985"/>
              <a:gd name="connsiteX4" fmla="*/ 1865014 w 3784348"/>
              <a:gd name="connsiteY4" fmla="*/ 175027 h 3723985"/>
              <a:gd name="connsiteX5" fmla="*/ 2444436 w 3784348"/>
              <a:gd name="connsiteY5" fmla="*/ 446631 h 3723985"/>
              <a:gd name="connsiteX6" fmla="*/ 2951429 w 3784348"/>
              <a:gd name="connsiteY6" fmla="*/ 1324817 h 3723985"/>
              <a:gd name="connsiteX7" fmla="*/ 3395049 w 3784348"/>
              <a:gd name="connsiteY7" fmla="*/ 790662 h 3723985"/>
              <a:gd name="connsiteX8" fmla="*/ 3385996 w 3784348"/>
              <a:gd name="connsiteY8" fmla="*/ 120706 h 3723985"/>
              <a:gd name="connsiteX9" fmla="*/ 3784348 w 3784348"/>
              <a:gd name="connsiteY9"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186004 w 3784348"/>
              <a:gd name="connsiteY3" fmla="*/ 998892 h 3723985"/>
              <a:gd name="connsiteX4" fmla="*/ 1865014 w 3784348"/>
              <a:gd name="connsiteY4" fmla="*/ 175027 h 3723985"/>
              <a:gd name="connsiteX5" fmla="*/ 2444436 w 3784348"/>
              <a:gd name="connsiteY5" fmla="*/ 446631 h 3723985"/>
              <a:gd name="connsiteX6" fmla="*/ 2951429 w 3784348"/>
              <a:gd name="connsiteY6" fmla="*/ 1333870 h 3723985"/>
              <a:gd name="connsiteX7" fmla="*/ 3395049 w 3784348"/>
              <a:gd name="connsiteY7" fmla="*/ 790662 h 3723985"/>
              <a:gd name="connsiteX8" fmla="*/ 3385996 w 3784348"/>
              <a:gd name="connsiteY8" fmla="*/ 120706 h 3723985"/>
              <a:gd name="connsiteX9" fmla="*/ 3784348 w 3784348"/>
              <a:gd name="connsiteY9"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186004 w 3784348"/>
              <a:gd name="connsiteY3" fmla="*/ 998892 h 3723985"/>
              <a:gd name="connsiteX4" fmla="*/ 1865014 w 3784348"/>
              <a:gd name="connsiteY4" fmla="*/ 175027 h 3723985"/>
              <a:gd name="connsiteX5" fmla="*/ 2444436 w 3784348"/>
              <a:gd name="connsiteY5" fmla="*/ 446631 h 3723985"/>
              <a:gd name="connsiteX6" fmla="*/ 2951429 w 3784348"/>
              <a:gd name="connsiteY6" fmla="*/ 1333870 h 3723985"/>
              <a:gd name="connsiteX7" fmla="*/ 3395049 w 3784348"/>
              <a:gd name="connsiteY7" fmla="*/ 790662 h 3723985"/>
              <a:gd name="connsiteX8" fmla="*/ 3385996 w 3784348"/>
              <a:gd name="connsiteY8" fmla="*/ 120706 h 3723985"/>
              <a:gd name="connsiteX9" fmla="*/ 3784348 w 3784348"/>
              <a:gd name="connsiteY9"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186004 w 3784348"/>
              <a:gd name="connsiteY3" fmla="*/ 998892 h 3723985"/>
              <a:gd name="connsiteX4" fmla="*/ 1865014 w 3784348"/>
              <a:gd name="connsiteY4" fmla="*/ 175027 h 3723985"/>
              <a:gd name="connsiteX5" fmla="*/ 2444436 w 3784348"/>
              <a:gd name="connsiteY5" fmla="*/ 446631 h 3723985"/>
              <a:gd name="connsiteX6" fmla="*/ 2951429 w 3784348"/>
              <a:gd name="connsiteY6" fmla="*/ 1333870 h 3723985"/>
              <a:gd name="connsiteX7" fmla="*/ 3395049 w 3784348"/>
              <a:gd name="connsiteY7" fmla="*/ 790662 h 3723985"/>
              <a:gd name="connsiteX8" fmla="*/ 3385996 w 3784348"/>
              <a:gd name="connsiteY8" fmla="*/ 120706 h 3723985"/>
              <a:gd name="connsiteX9" fmla="*/ 3784348 w 3784348"/>
              <a:gd name="connsiteY9"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186004 w 3784348"/>
              <a:gd name="connsiteY3" fmla="*/ 998892 h 3723985"/>
              <a:gd name="connsiteX4" fmla="*/ 1865014 w 3784348"/>
              <a:gd name="connsiteY4" fmla="*/ 175027 h 3723985"/>
              <a:gd name="connsiteX5" fmla="*/ 2444436 w 3784348"/>
              <a:gd name="connsiteY5" fmla="*/ 446631 h 3723985"/>
              <a:gd name="connsiteX6" fmla="*/ 2951429 w 3784348"/>
              <a:gd name="connsiteY6" fmla="*/ 1333870 h 3723985"/>
              <a:gd name="connsiteX7" fmla="*/ 3385996 w 3784348"/>
              <a:gd name="connsiteY7" fmla="*/ 120706 h 3723985"/>
              <a:gd name="connsiteX8" fmla="*/ 3784348 w 3784348"/>
              <a:gd name="connsiteY8"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186004 w 3784348"/>
              <a:gd name="connsiteY3" fmla="*/ 998892 h 3723985"/>
              <a:gd name="connsiteX4" fmla="*/ 1865014 w 3784348"/>
              <a:gd name="connsiteY4" fmla="*/ 175027 h 3723985"/>
              <a:gd name="connsiteX5" fmla="*/ 2444436 w 3784348"/>
              <a:gd name="connsiteY5" fmla="*/ 446631 h 3723985"/>
              <a:gd name="connsiteX6" fmla="*/ 2951429 w 3784348"/>
              <a:gd name="connsiteY6" fmla="*/ 1333870 h 3723985"/>
              <a:gd name="connsiteX7" fmla="*/ 3385996 w 3784348"/>
              <a:gd name="connsiteY7" fmla="*/ 120706 h 3723985"/>
              <a:gd name="connsiteX8" fmla="*/ 3784348 w 3784348"/>
              <a:gd name="connsiteY8"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186004 w 3784348"/>
              <a:gd name="connsiteY3" fmla="*/ 998892 h 3723985"/>
              <a:gd name="connsiteX4" fmla="*/ 1865014 w 3784348"/>
              <a:gd name="connsiteY4" fmla="*/ 175027 h 3723985"/>
              <a:gd name="connsiteX5" fmla="*/ 2951429 w 3784348"/>
              <a:gd name="connsiteY5" fmla="*/ 1333870 h 3723985"/>
              <a:gd name="connsiteX6" fmla="*/ 3385996 w 3784348"/>
              <a:gd name="connsiteY6" fmla="*/ 120706 h 3723985"/>
              <a:gd name="connsiteX7" fmla="*/ 3784348 w 3784348"/>
              <a:gd name="connsiteY7"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186004 w 3784348"/>
              <a:gd name="connsiteY3" fmla="*/ 998892 h 3723985"/>
              <a:gd name="connsiteX4" fmla="*/ 1865014 w 3784348"/>
              <a:gd name="connsiteY4" fmla="*/ 175027 h 3723985"/>
              <a:gd name="connsiteX5" fmla="*/ 2951429 w 3784348"/>
              <a:gd name="connsiteY5" fmla="*/ 1333870 h 3723985"/>
              <a:gd name="connsiteX6" fmla="*/ 3385996 w 3784348"/>
              <a:gd name="connsiteY6" fmla="*/ 120706 h 3723985"/>
              <a:gd name="connsiteX7" fmla="*/ 3784348 w 3784348"/>
              <a:gd name="connsiteY7"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222218 w 3784348"/>
              <a:gd name="connsiteY3" fmla="*/ 754448 h 3723985"/>
              <a:gd name="connsiteX4" fmla="*/ 1865014 w 3784348"/>
              <a:gd name="connsiteY4" fmla="*/ 175027 h 3723985"/>
              <a:gd name="connsiteX5" fmla="*/ 2951429 w 3784348"/>
              <a:gd name="connsiteY5" fmla="*/ 1333870 h 3723985"/>
              <a:gd name="connsiteX6" fmla="*/ 3385996 w 3784348"/>
              <a:gd name="connsiteY6" fmla="*/ 120706 h 3723985"/>
              <a:gd name="connsiteX7" fmla="*/ 3784348 w 3784348"/>
              <a:gd name="connsiteY7"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865014 w 3784348"/>
              <a:gd name="connsiteY3" fmla="*/ 175027 h 3723985"/>
              <a:gd name="connsiteX4" fmla="*/ 2951429 w 3784348"/>
              <a:gd name="connsiteY4" fmla="*/ 1333870 h 3723985"/>
              <a:gd name="connsiteX5" fmla="*/ 3385996 w 3784348"/>
              <a:gd name="connsiteY5" fmla="*/ 120706 h 3723985"/>
              <a:gd name="connsiteX6" fmla="*/ 3784348 w 3784348"/>
              <a:gd name="connsiteY6"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865014 w 3784348"/>
              <a:gd name="connsiteY3" fmla="*/ 175027 h 3723985"/>
              <a:gd name="connsiteX4" fmla="*/ 2951429 w 3784348"/>
              <a:gd name="connsiteY4" fmla="*/ 1333870 h 3723985"/>
              <a:gd name="connsiteX5" fmla="*/ 3385996 w 3784348"/>
              <a:gd name="connsiteY5" fmla="*/ 120706 h 3723985"/>
              <a:gd name="connsiteX6" fmla="*/ 3784348 w 3784348"/>
              <a:gd name="connsiteY6" fmla="*/ 3011 h 3723985"/>
              <a:gd name="connsiteX0" fmla="*/ 0 w 3784348"/>
              <a:gd name="connsiteY0" fmla="*/ 3723985 h 3723985"/>
              <a:gd name="connsiteX1" fmla="*/ 805758 w 3784348"/>
              <a:gd name="connsiteY1" fmla="*/ 3624397 h 3723985"/>
              <a:gd name="connsiteX2" fmla="*/ 1865014 w 3784348"/>
              <a:gd name="connsiteY2" fmla="*/ 175027 h 3723985"/>
              <a:gd name="connsiteX3" fmla="*/ 2951429 w 3784348"/>
              <a:gd name="connsiteY3" fmla="*/ 1333870 h 3723985"/>
              <a:gd name="connsiteX4" fmla="*/ 3385996 w 3784348"/>
              <a:gd name="connsiteY4" fmla="*/ 120706 h 3723985"/>
              <a:gd name="connsiteX5" fmla="*/ 3784348 w 3784348"/>
              <a:gd name="connsiteY5" fmla="*/ 3011 h 3723985"/>
              <a:gd name="connsiteX0" fmla="*/ 0 w 3784348"/>
              <a:gd name="connsiteY0" fmla="*/ 3723985 h 3723985"/>
              <a:gd name="connsiteX1" fmla="*/ 1013987 w 3784348"/>
              <a:gd name="connsiteY1" fmla="*/ 3615343 h 3723985"/>
              <a:gd name="connsiteX2" fmla="*/ 1865014 w 3784348"/>
              <a:gd name="connsiteY2" fmla="*/ 175027 h 3723985"/>
              <a:gd name="connsiteX3" fmla="*/ 2951429 w 3784348"/>
              <a:gd name="connsiteY3" fmla="*/ 1333870 h 3723985"/>
              <a:gd name="connsiteX4" fmla="*/ 3385996 w 3784348"/>
              <a:gd name="connsiteY4" fmla="*/ 120706 h 3723985"/>
              <a:gd name="connsiteX5" fmla="*/ 3784348 w 3784348"/>
              <a:gd name="connsiteY5" fmla="*/ 3011 h 3723985"/>
              <a:gd name="connsiteX0" fmla="*/ 0 w 3784348"/>
              <a:gd name="connsiteY0" fmla="*/ 3723985 h 3723985"/>
              <a:gd name="connsiteX1" fmla="*/ 1013987 w 3784348"/>
              <a:gd name="connsiteY1" fmla="*/ 3615343 h 3723985"/>
              <a:gd name="connsiteX2" fmla="*/ 1865014 w 3784348"/>
              <a:gd name="connsiteY2" fmla="*/ 175027 h 3723985"/>
              <a:gd name="connsiteX3" fmla="*/ 2951429 w 3784348"/>
              <a:gd name="connsiteY3" fmla="*/ 1333870 h 3723985"/>
              <a:gd name="connsiteX4" fmla="*/ 3385996 w 3784348"/>
              <a:gd name="connsiteY4" fmla="*/ 120706 h 3723985"/>
              <a:gd name="connsiteX5" fmla="*/ 3784348 w 3784348"/>
              <a:gd name="connsiteY5" fmla="*/ 3011 h 3723985"/>
              <a:gd name="connsiteX0" fmla="*/ 0 w 3784348"/>
              <a:gd name="connsiteY0" fmla="*/ 3723985 h 3723985"/>
              <a:gd name="connsiteX1" fmla="*/ 1865014 w 3784348"/>
              <a:gd name="connsiteY1" fmla="*/ 175027 h 3723985"/>
              <a:gd name="connsiteX2" fmla="*/ 2951429 w 3784348"/>
              <a:gd name="connsiteY2" fmla="*/ 1333870 h 3723985"/>
              <a:gd name="connsiteX3" fmla="*/ 3385996 w 3784348"/>
              <a:gd name="connsiteY3" fmla="*/ 120706 h 3723985"/>
              <a:gd name="connsiteX4" fmla="*/ 3784348 w 3784348"/>
              <a:gd name="connsiteY4" fmla="*/ 3011 h 3723985"/>
              <a:gd name="connsiteX0" fmla="*/ 0 w 3784348"/>
              <a:gd name="connsiteY0" fmla="*/ 3723985 h 3750241"/>
              <a:gd name="connsiteX1" fmla="*/ 1865014 w 3784348"/>
              <a:gd name="connsiteY1" fmla="*/ 175027 h 3750241"/>
              <a:gd name="connsiteX2" fmla="*/ 2951429 w 3784348"/>
              <a:gd name="connsiteY2" fmla="*/ 1333870 h 3750241"/>
              <a:gd name="connsiteX3" fmla="*/ 3385996 w 3784348"/>
              <a:gd name="connsiteY3" fmla="*/ 120706 h 3750241"/>
              <a:gd name="connsiteX4" fmla="*/ 3784348 w 3784348"/>
              <a:gd name="connsiteY4" fmla="*/ 3011 h 3750241"/>
              <a:gd name="connsiteX0" fmla="*/ 0 w 3784348"/>
              <a:gd name="connsiteY0" fmla="*/ 3723985 h 3743671"/>
              <a:gd name="connsiteX1" fmla="*/ 1865014 w 3784348"/>
              <a:gd name="connsiteY1" fmla="*/ 175027 h 3743671"/>
              <a:gd name="connsiteX2" fmla="*/ 2951429 w 3784348"/>
              <a:gd name="connsiteY2" fmla="*/ 1333870 h 3743671"/>
              <a:gd name="connsiteX3" fmla="*/ 3385996 w 3784348"/>
              <a:gd name="connsiteY3" fmla="*/ 120706 h 3743671"/>
              <a:gd name="connsiteX4" fmla="*/ 3784348 w 3784348"/>
              <a:gd name="connsiteY4" fmla="*/ 3011 h 3743671"/>
              <a:gd name="connsiteX0" fmla="*/ 0 w 3784348"/>
              <a:gd name="connsiteY0" fmla="*/ 3723985 h 3743671"/>
              <a:gd name="connsiteX1" fmla="*/ 1865014 w 3784348"/>
              <a:gd name="connsiteY1" fmla="*/ 175027 h 3743671"/>
              <a:gd name="connsiteX2" fmla="*/ 2951429 w 3784348"/>
              <a:gd name="connsiteY2" fmla="*/ 1333870 h 3743671"/>
              <a:gd name="connsiteX3" fmla="*/ 3385996 w 3784348"/>
              <a:gd name="connsiteY3" fmla="*/ 120706 h 3743671"/>
              <a:gd name="connsiteX4" fmla="*/ 3784348 w 3784348"/>
              <a:gd name="connsiteY4" fmla="*/ 3011 h 3743671"/>
              <a:gd name="connsiteX0" fmla="*/ 0 w 3784348"/>
              <a:gd name="connsiteY0" fmla="*/ 3720974 h 3740660"/>
              <a:gd name="connsiteX1" fmla="*/ 1865014 w 3784348"/>
              <a:gd name="connsiteY1" fmla="*/ 172016 h 3740660"/>
              <a:gd name="connsiteX2" fmla="*/ 2951429 w 3784348"/>
              <a:gd name="connsiteY2" fmla="*/ 1330859 h 3740660"/>
              <a:gd name="connsiteX3" fmla="*/ 3784348 w 3784348"/>
              <a:gd name="connsiteY3" fmla="*/ 0 h 3740660"/>
              <a:gd name="connsiteX0" fmla="*/ 0 w 3784348"/>
              <a:gd name="connsiteY0" fmla="*/ 3720974 h 3740660"/>
              <a:gd name="connsiteX1" fmla="*/ 1865014 w 3784348"/>
              <a:gd name="connsiteY1" fmla="*/ 172016 h 3740660"/>
              <a:gd name="connsiteX2" fmla="*/ 2951429 w 3784348"/>
              <a:gd name="connsiteY2" fmla="*/ 1330859 h 3740660"/>
              <a:gd name="connsiteX3" fmla="*/ 3784348 w 3784348"/>
              <a:gd name="connsiteY3" fmla="*/ 0 h 3740660"/>
              <a:gd name="connsiteX0" fmla="*/ 0 w 3784348"/>
              <a:gd name="connsiteY0" fmla="*/ 3720974 h 3741794"/>
              <a:gd name="connsiteX1" fmla="*/ 1865014 w 3784348"/>
              <a:gd name="connsiteY1" fmla="*/ 172016 h 3741794"/>
              <a:gd name="connsiteX2" fmla="*/ 3132499 w 3784348"/>
              <a:gd name="connsiteY2" fmla="*/ 1303699 h 3741794"/>
              <a:gd name="connsiteX3" fmla="*/ 3784348 w 3784348"/>
              <a:gd name="connsiteY3" fmla="*/ 0 h 3741794"/>
              <a:gd name="connsiteX0" fmla="*/ 0 w 3784348"/>
              <a:gd name="connsiteY0" fmla="*/ 3720974 h 3742309"/>
              <a:gd name="connsiteX1" fmla="*/ 1865014 w 3784348"/>
              <a:gd name="connsiteY1" fmla="*/ 172016 h 3742309"/>
              <a:gd name="connsiteX2" fmla="*/ 3132499 w 3784348"/>
              <a:gd name="connsiteY2" fmla="*/ 1303699 h 3742309"/>
              <a:gd name="connsiteX3" fmla="*/ 3784348 w 3784348"/>
              <a:gd name="connsiteY3" fmla="*/ 0 h 3742309"/>
              <a:gd name="connsiteX0" fmla="*/ 0 w 3576118"/>
              <a:gd name="connsiteY0" fmla="*/ 3657599 h 3678934"/>
              <a:gd name="connsiteX1" fmla="*/ 1865014 w 3576118"/>
              <a:gd name="connsiteY1" fmla="*/ 108641 h 3678934"/>
              <a:gd name="connsiteX2" fmla="*/ 3132499 w 3576118"/>
              <a:gd name="connsiteY2" fmla="*/ 1240324 h 3678934"/>
              <a:gd name="connsiteX3" fmla="*/ 3576118 w 3576118"/>
              <a:gd name="connsiteY3" fmla="*/ 0 h 3678934"/>
              <a:gd name="connsiteX0" fmla="*/ 0 w 3576118"/>
              <a:gd name="connsiteY0" fmla="*/ 3665318 h 3686653"/>
              <a:gd name="connsiteX1" fmla="*/ 1865014 w 3576118"/>
              <a:gd name="connsiteY1" fmla="*/ 116360 h 3686653"/>
              <a:gd name="connsiteX2" fmla="*/ 3132499 w 3576118"/>
              <a:gd name="connsiteY2" fmla="*/ 1248043 h 3686653"/>
              <a:gd name="connsiteX3" fmla="*/ 3576118 w 3576118"/>
              <a:gd name="connsiteY3" fmla="*/ 7719 h 3686653"/>
              <a:gd name="connsiteX0" fmla="*/ 0 w 3576118"/>
              <a:gd name="connsiteY0" fmla="*/ 3665417 h 3686254"/>
              <a:gd name="connsiteX1" fmla="*/ 1865014 w 3576118"/>
              <a:gd name="connsiteY1" fmla="*/ 116459 h 3686254"/>
              <a:gd name="connsiteX2" fmla="*/ 2743200 w 3576118"/>
              <a:gd name="connsiteY2" fmla="*/ 1230035 h 3686254"/>
              <a:gd name="connsiteX3" fmla="*/ 3576118 w 3576118"/>
              <a:gd name="connsiteY3" fmla="*/ 7818 h 3686254"/>
              <a:gd name="connsiteX0" fmla="*/ 0 w 3576118"/>
              <a:gd name="connsiteY0" fmla="*/ 3665835 h 3686672"/>
              <a:gd name="connsiteX1" fmla="*/ 1865014 w 3576118"/>
              <a:gd name="connsiteY1" fmla="*/ 116877 h 3686672"/>
              <a:gd name="connsiteX2" fmla="*/ 2743200 w 3576118"/>
              <a:gd name="connsiteY2" fmla="*/ 1230453 h 3686672"/>
              <a:gd name="connsiteX3" fmla="*/ 3576118 w 3576118"/>
              <a:gd name="connsiteY3" fmla="*/ 8236 h 3686672"/>
              <a:gd name="connsiteX0" fmla="*/ 0 w 3576118"/>
              <a:gd name="connsiteY0" fmla="*/ 3665835 h 3686325"/>
              <a:gd name="connsiteX1" fmla="*/ 1865014 w 3576118"/>
              <a:gd name="connsiteY1" fmla="*/ 116877 h 3686325"/>
              <a:gd name="connsiteX2" fmla="*/ 2743200 w 3576118"/>
              <a:gd name="connsiteY2" fmla="*/ 1230453 h 3686325"/>
              <a:gd name="connsiteX3" fmla="*/ 3576118 w 3576118"/>
              <a:gd name="connsiteY3" fmla="*/ 8236 h 3686325"/>
              <a:gd name="connsiteX0" fmla="*/ 0 w 3576118"/>
              <a:gd name="connsiteY0" fmla="*/ 3665835 h 3698931"/>
              <a:gd name="connsiteX1" fmla="*/ 1412341 w 3576118"/>
              <a:gd name="connsiteY1" fmla="*/ 1547324 h 3698931"/>
              <a:gd name="connsiteX2" fmla="*/ 2743200 w 3576118"/>
              <a:gd name="connsiteY2" fmla="*/ 1230453 h 3698931"/>
              <a:gd name="connsiteX3" fmla="*/ 3576118 w 3576118"/>
              <a:gd name="connsiteY3" fmla="*/ 8236 h 3698931"/>
              <a:gd name="connsiteX0" fmla="*/ 0 w 3576118"/>
              <a:gd name="connsiteY0" fmla="*/ 3665835 h 3702082"/>
              <a:gd name="connsiteX1" fmla="*/ 1412341 w 3576118"/>
              <a:gd name="connsiteY1" fmla="*/ 1547324 h 3702082"/>
              <a:gd name="connsiteX2" fmla="*/ 2743200 w 3576118"/>
              <a:gd name="connsiteY2" fmla="*/ 1230453 h 3702082"/>
              <a:gd name="connsiteX3" fmla="*/ 3576118 w 3576118"/>
              <a:gd name="connsiteY3" fmla="*/ 8236 h 3702082"/>
              <a:gd name="connsiteX0" fmla="*/ 0 w 3576118"/>
              <a:gd name="connsiteY0" fmla="*/ 3665835 h 3699643"/>
              <a:gd name="connsiteX1" fmla="*/ 1276539 w 3576118"/>
              <a:gd name="connsiteY1" fmla="*/ 1393415 h 3699643"/>
              <a:gd name="connsiteX2" fmla="*/ 2743200 w 3576118"/>
              <a:gd name="connsiteY2" fmla="*/ 1230453 h 3699643"/>
              <a:gd name="connsiteX3" fmla="*/ 3576118 w 3576118"/>
              <a:gd name="connsiteY3" fmla="*/ 8236 h 3699643"/>
              <a:gd name="connsiteX0" fmla="*/ 0 w 3576118"/>
              <a:gd name="connsiteY0" fmla="*/ 3665835 h 3697673"/>
              <a:gd name="connsiteX1" fmla="*/ 1276539 w 3576118"/>
              <a:gd name="connsiteY1" fmla="*/ 1393415 h 3697673"/>
              <a:gd name="connsiteX2" fmla="*/ 2743200 w 3576118"/>
              <a:gd name="connsiteY2" fmla="*/ 1230453 h 3697673"/>
              <a:gd name="connsiteX3" fmla="*/ 3576118 w 3576118"/>
              <a:gd name="connsiteY3" fmla="*/ 8236 h 3697673"/>
              <a:gd name="connsiteX0" fmla="*/ 0 w 3576118"/>
              <a:gd name="connsiteY0" fmla="*/ 3665835 h 3701541"/>
              <a:gd name="connsiteX1" fmla="*/ 968721 w 3576118"/>
              <a:gd name="connsiteY1" fmla="*/ 1655966 h 3701541"/>
              <a:gd name="connsiteX2" fmla="*/ 2743200 w 3576118"/>
              <a:gd name="connsiteY2" fmla="*/ 1230453 h 3701541"/>
              <a:gd name="connsiteX3" fmla="*/ 3576118 w 3576118"/>
              <a:gd name="connsiteY3" fmla="*/ 8236 h 3701541"/>
              <a:gd name="connsiteX0" fmla="*/ 0 w 3576118"/>
              <a:gd name="connsiteY0" fmla="*/ 3665835 h 3700828"/>
              <a:gd name="connsiteX1" fmla="*/ 968721 w 3576118"/>
              <a:gd name="connsiteY1" fmla="*/ 1655966 h 3700828"/>
              <a:gd name="connsiteX2" fmla="*/ 2743200 w 3576118"/>
              <a:gd name="connsiteY2" fmla="*/ 1230453 h 3700828"/>
              <a:gd name="connsiteX3" fmla="*/ 3576118 w 3576118"/>
              <a:gd name="connsiteY3" fmla="*/ 8236 h 3700828"/>
              <a:gd name="connsiteX0" fmla="*/ 0 w 3576118"/>
              <a:gd name="connsiteY0" fmla="*/ 3665835 h 3704024"/>
              <a:gd name="connsiteX1" fmla="*/ 968721 w 3576118"/>
              <a:gd name="connsiteY1" fmla="*/ 1655966 h 3704024"/>
              <a:gd name="connsiteX2" fmla="*/ 2743200 w 3576118"/>
              <a:gd name="connsiteY2" fmla="*/ 1230453 h 3704024"/>
              <a:gd name="connsiteX3" fmla="*/ 3576118 w 3576118"/>
              <a:gd name="connsiteY3" fmla="*/ 8236 h 3704024"/>
              <a:gd name="connsiteX0" fmla="*/ 0 w 3576118"/>
              <a:gd name="connsiteY0" fmla="*/ 3666237 h 3704426"/>
              <a:gd name="connsiteX1" fmla="*/ 968721 w 3576118"/>
              <a:gd name="connsiteY1" fmla="*/ 1656368 h 3704426"/>
              <a:gd name="connsiteX2" fmla="*/ 2743200 w 3576118"/>
              <a:gd name="connsiteY2" fmla="*/ 1230855 h 3704426"/>
              <a:gd name="connsiteX3" fmla="*/ 3576118 w 3576118"/>
              <a:gd name="connsiteY3" fmla="*/ 8638 h 3704426"/>
              <a:gd name="connsiteX0" fmla="*/ 0 w 3576118"/>
              <a:gd name="connsiteY0" fmla="*/ 3666237 h 3702385"/>
              <a:gd name="connsiteX1" fmla="*/ 968721 w 3576118"/>
              <a:gd name="connsiteY1" fmla="*/ 1656368 h 3702385"/>
              <a:gd name="connsiteX2" fmla="*/ 2743200 w 3576118"/>
              <a:gd name="connsiteY2" fmla="*/ 1230855 h 3702385"/>
              <a:gd name="connsiteX3" fmla="*/ 3576118 w 3576118"/>
              <a:gd name="connsiteY3" fmla="*/ 8638 h 3702385"/>
              <a:gd name="connsiteX0" fmla="*/ 0 w 3576118"/>
              <a:gd name="connsiteY0" fmla="*/ 3666237 h 3705974"/>
              <a:gd name="connsiteX1" fmla="*/ 968721 w 3576118"/>
              <a:gd name="connsiteY1" fmla="*/ 1656368 h 3705974"/>
              <a:gd name="connsiteX2" fmla="*/ 2743200 w 3576118"/>
              <a:gd name="connsiteY2" fmla="*/ 1230855 h 3705974"/>
              <a:gd name="connsiteX3" fmla="*/ 3576118 w 3576118"/>
              <a:gd name="connsiteY3" fmla="*/ 8638 h 3705974"/>
              <a:gd name="connsiteX0" fmla="*/ 0 w 3576118"/>
              <a:gd name="connsiteY0" fmla="*/ 3657599 h 3697336"/>
              <a:gd name="connsiteX1" fmla="*/ 968721 w 3576118"/>
              <a:gd name="connsiteY1" fmla="*/ 1647730 h 3697336"/>
              <a:gd name="connsiteX2" fmla="*/ 2743200 w 3576118"/>
              <a:gd name="connsiteY2" fmla="*/ 1222217 h 3697336"/>
              <a:gd name="connsiteX3" fmla="*/ 3576118 w 3576118"/>
              <a:gd name="connsiteY3" fmla="*/ 0 h 3697336"/>
              <a:gd name="connsiteX0" fmla="*/ 0 w 3742064"/>
              <a:gd name="connsiteY0" fmla="*/ 3621385 h 3661122"/>
              <a:gd name="connsiteX1" fmla="*/ 968721 w 3742064"/>
              <a:gd name="connsiteY1" fmla="*/ 1611516 h 3661122"/>
              <a:gd name="connsiteX2" fmla="*/ 2743200 w 3742064"/>
              <a:gd name="connsiteY2" fmla="*/ 1186003 h 3661122"/>
              <a:gd name="connsiteX3" fmla="*/ 3742064 w 3742064"/>
              <a:gd name="connsiteY3" fmla="*/ 0 h 3661122"/>
              <a:gd name="connsiteX0" fmla="*/ 0 w 3426769"/>
              <a:gd name="connsiteY0" fmla="*/ 3539903 h 3579640"/>
              <a:gd name="connsiteX1" fmla="*/ 968721 w 3426769"/>
              <a:gd name="connsiteY1" fmla="*/ 1530034 h 3579640"/>
              <a:gd name="connsiteX2" fmla="*/ 2743200 w 3426769"/>
              <a:gd name="connsiteY2" fmla="*/ 1104521 h 3579640"/>
              <a:gd name="connsiteX3" fmla="*/ 3426769 w 3426769"/>
              <a:gd name="connsiteY3" fmla="*/ 0 h 3579640"/>
              <a:gd name="connsiteX0" fmla="*/ 0 w 3825037"/>
              <a:gd name="connsiteY0" fmla="*/ 3603277 h 3643014"/>
              <a:gd name="connsiteX1" fmla="*/ 968721 w 3825037"/>
              <a:gd name="connsiteY1" fmla="*/ 1593408 h 3643014"/>
              <a:gd name="connsiteX2" fmla="*/ 2743200 w 3825037"/>
              <a:gd name="connsiteY2" fmla="*/ 1167895 h 3643014"/>
              <a:gd name="connsiteX3" fmla="*/ 3825037 w 3825037"/>
              <a:gd name="connsiteY3" fmla="*/ 0 h 3643014"/>
              <a:gd name="connsiteX0" fmla="*/ 0 w 3825037"/>
              <a:gd name="connsiteY0" fmla="*/ 3603277 h 3643014"/>
              <a:gd name="connsiteX1" fmla="*/ 968721 w 3825037"/>
              <a:gd name="connsiteY1" fmla="*/ 1593408 h 3643014"/>
              <a:gd name="connsiteX2" fmla="*/ 2743200 w 3825037"/>
              <a:gd name="connsiteY2" fmla="*/ 1167895 h 3643014"/>
              <a:gd name="connsiteX3" fmla="*/ 3825037 w 3825037"/>
              <a:gd name="connsiteY3" fmla="*/ 0 h 3643014"/>
              <a:gd name="connsiteX0" fmla="*/ 0 w 3825037"/>
              <a:gd name="connsiteY0" fmla="*/ 3603277 h 3640755"/>
              <a:gd name="connsiteX1" fmla="*/ 1159559 w 3825037"/>
              <a:gd name="connsiteY1" fmla="*/ 1475713 h 3640755"/>
              <a:gd name="connsiteX2" fmla="*/ 2743200 w 3825037"/>
              <a:gd name="connsiteY2" fmla="*/ 1167895 h 3640755"/>
              <a:gd name="connsiteX3" fmla="*/ 3825037 w 3825037"/>
              <a:gd name="connsiteY3" fmla="*/ 0 h 3640755"/>
              <a:gd name="connsiteX0" fmla="*/ 0 w 3825037"/>
              <a:gd name="connsiteY0" fmla="*/ 3603277 h 3639821"/>
              <a:gd name="connsiteX1" fmla="*/ 1159559 w 3825037"/>
              <a:gd name="connsiteY1" fmla="*/ 1475713 h 3639821"/>
              <a:gd name="connsiteX2" fmla="*/ 2743200 w 3825037"/>
              <a:gd name="connsiteY2" fmla="*/ 1167895 h 3639821"/>
              <a:gd name="connsiteX3" fmla="*/ 3825037 w 3825037"/>
              <a:gd name="connsiteY3" fmla="*/ 0 h 3639821"/>
              <a:gd name="connsiteX0" fmla="*/ 0 w 3825037"/>
              <a:gd name="connsiteY0" fmla="*/ 3603277 h 3637183"/>
              <a:gd name="connsiteX1" fmla="*/ 1159559 w 3825037"/>
              <a:gd name="connsiteY1" fmla="*/ 1475713 h 3637183"/>
              <a:gd name="connsiteX2" fmla="*/ 2809578 w 3825037"/>
              <a:gd name="connsiteY2" fmla="*/ 1149788 h 3637183"/>
              <a:gd name="connsiteX3" fmla="*/ 3825037 w 3825037"/>
              <a:gd name="connsiteY3" fmla="*/ 0 h 3637183"/>
              <a:gd name="connsiteX0" fmla="*/ 0 w 3825037"/>
              <a:gd name="connsiteY0" fmla="*/ 3603277 h 3640649"/>
              <a:gd name="connsiteX1" fmla="*/ 1159559 w 3825037"/>
              <a:gd name="connsiteY1" fmla="*/ 1475713 h 3640649"/>
              <a:gd name="connsiteX2" fmla="*/ 2809578 w 3825037"/>
              <a:gd name="connsiteY2" fmla="*/ 1149788 h 3640649"/>
              <a:gd name="connsiteX3" fmla="*/ 3825037 w 3825037"/>
              <a:gd name="connsiteY3" fmla="*/ 0 h 3640649"/>
              <a:gd name="connsiteX0" fmla="*/ 0 w 3990982"/>
              <a:gd name="connsiteY0" fmla="*/ 3458421 h 3494236"/>
              <a:gd name="connsiteX1" fmla="*/ 1325504 w 3990982"/>
              <a:gd name="connsiteY1" fmla="*/ 1475713 h 3494236"/>
              <a:gd name="connsiteX2" fmla="*/ 2975523 w 3990982"/>
              <a:gd name="connsiteY2" fmla="*/ 1149788 h 3494236"/>
              <a:gd name="connsiteX3" fmla="*/ 3990982 w 3990982"/>
              <a:gd name="connsiteY3" fmla="*/ 0 h 3494236"/>
              <a:gd name="connsiteX0" fmla="*/ 0 w 3990982"/>
              <a:gd name="connsiteY0" fmla="*/ 3458421 h 3463649"/>
              <a:gd name="connsiteX1" fmla="*/ 1325504 w 3990982"/>
              <a:gd name="connsiteY1" fmla="*/ 1475713 h 3463649"/>
              <a:gd name="connsiteX2" fmla="*/ 2975523 w 3990982"/>
              <a:gd name="connsiteY2" fmla="*/ 1149788 h 3463649"/>
              <a:gd name="connsiteX3" fmla="*/ 3990982 w 3990982"/>
              <a:gd name="connsiteY3" fmla="*/ 0 h 3463649"/>
              <a:gd name="connsiteX0" fmla="*/ 0 w 3990982"/>
              <a:gd name="connsiteY0" fmla="*/ 3458421 h 3464103"/>
              <a:gd name="connsiteX1" fmla="*/ 1325504 w 3990982"/>
              <a:gd name="connsiteY1" fmla="*/ 1475713 h 3464103"/>
              <a:gd name="connsiteX2" fmla="*/ 2975523 w 3990982"/>
              <a:gd name="connsiteY2" fmla="*/ 1149788 h 3464103"/>
              <a:gd name="connsiteX3" fmla="*/ 3990982 w 3990982"/>
              <a:gd name="connsiteY3" fmla="*/ 0 h 3464103"/>
              <a:gd name="connsiteX0" fmla="*/ 0 w 3990982"/>
              <a:gd name="connsiteY0" fmla="*/ 3458421 h 3463628"/>
              <a:gd name="connsiteX1" fmla="*/ 1325504 w 3990982"/>
              <a:gd name="connsiteY1" fmla="*/ 1475713 h 3463628"/>
              <a:gd name="connsiteX2" fmla="*/ 2776388 w 3990982"/>
              <a:gd name="connsiteY2" fmla="*/ 1195055 h 3463628"/>
              <a:gd name="connsiteX3" fmla="*/ 3990982 w 3990982"/>
              <a:gd name="connsiteY3" fmla="*/ 0 h 3463628"/>
              <a:gd name="connsiteX0" fmla="*/ 0 w 3990982"/>
              <a:gd name="connsiteY0" fmla="*/ 3458421 h 3463815"/>
              <a:gd name="connsiteX1" fmla="*/ 1325504 w 3990982"/>
              <a:gd name="connsiteY1" fmla="*/ 1475713 h 3463815"/>
              <a:gd name="connsiteX2" fmla="*/ 2776388 w 3990982"/>
              <a:gd name="connsiteY2" fmla="*/ 1195055 h 3463815"/>
              <a:gd name="connsiteX3" fmla="*/ 3990982 w 3990982"/>
              <a:gd name="connsiteY3" fmla="*/ 0 h 3463815"/>
              <a:gd name="connsiteX0" fmla="*/ 0 w 3990982"/>
              <a:gd name="connsiteY0" fmla="*/ 3458421 h 3464143"/>
              <a:gd name="connsiteX1" fmla="*/ 1433369 w 3990982"/>
              <a:gd name="connsiteY1" fmla="*/ 1575301 h 3464143"/>
              <a:gd name="connsiteX2" fmla="*/ 2776388 w 3990982"/>
              <a:gd name="connsiteY2" fmla="*/ 1195055 h 3464143"/>
              <a:gd name="connsiteX3" fmla="*/ 3990982 w 3990982"/>
              <a:gd name="connsiteY3" fmla="*/ 0 h 3464143"/>
            </a:gdLst>
            <a:ahLst/>
            <a:cxnLst>
              <a:cxn ang="0">
                <a:pos x="connsiteX0" y="connsiteY0"/>
              </a:cxn>
              <a:cxn ang="0">
                <a:pos x="connsiteX1" y="connsiteY1"/>
              </a:cxn>
              <a:cxn ang="0">
                <a:pos x="connsiteX2" y="connsiteY2"/>
              </a:cxn>
              <a:cxn ang="0">
                <a:pos x="connsiteX3" y="connsiteY3"/>
              </a:cxn>
            </a:cxnLst>
            <a:rect l="l" t="t" r="r" b="b"/>
            <a:pathLst>
              <a:path w="3990982" h="3464143">
                <a:moveTo>
                  <a:pt x="0" y="3458421"/>
                </a:moveTo>
                <a:cubicBezTo>
                  <a:pt x="1462215" y="3570080"/>
                  <a:pt x="1103394" y="2015903"/>
                  <a:pt x="1433369" y="1575301"/>
                </a:cubicBezTo>
                <a:cubicBezTo>
                  <a:pt x="1763344" y="1134699"/>
                  <a:pt x="2038531" y="1285590"/>
                  <a:pt x="2776388" y="1195055"/>
                </a:cubicBezTo>
                <a:cubicBezTo>
                  <a:pt x="3740582" y="1041146"/>
                  <a:pt x="3262234" y="195780"/>
                  <a:pt x="3990982" y="0"/>
                </a:cubicBezTo>
              </a:path>
            </a:pathLst>
          </a:custGeom>
          <a:noFill/>
          <a:ln w="19050" cap="sq">
            <a:solidFill>
              <a:srgbClr val="004FA1"/>
            </a:solid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Bahnschrift" panose="020B0502040204020203" pitchFamily="34" charset="0"/>
            </a:endParaRPr>
          </a:p>
        </p:txBody>
      </p:sp>
      <p:sp>
        <p:nvSpPr>
          <p:cNvPr id="12" name="TextBox 11">
            <a:extLst>
              <a:ext uri="{FF2B5EF4-FFF2-40B4-BE49-F238E27FC236}">
                <a16:creationId xmlns:a16="http://schemas.microsoft.com/office/drawing/2014/main" id="{053A684E-4884-4996-B6CC-0CB7716C9099}"/>
              </a:ext>
            </a:extLst>
          </p:cNvPr>
          <p:cNvSpPr txBox="1">
            <a:spLocks/>
          </p:cNvSpPr>
          <p:nvPr/>
        </p:nvSpPr>
        <p:spPr>
          <a:xfrm>
            <a:off x="7023110" y="2808825"/>
            <a:ext cx="1718895"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t>Österreich</a:t>
            </a:r>
            <a:b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b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t>Klimaneutral</a:t>
            </a:r>
            <a:r>
              <a:rPr kumimoji="0" lang="de-DE" sz="1400" b="1" i="0" u="none" strike="noStrike" kern="1200" cap="none" spc="0" normalizeH="0" baseline="30000" noProof="0" dirty="0">
                <a:ln>
                  <a:noFill/>
                </a:ln>
                <a:solidFill>
                  <a:srgbClr val="000000"/>
                </a:solidFill>
                <a:effectLst/>
                <a:uLnTx/>
                <a:uFillTx/>
                <a:latin typeface="Bahnschrift" panose="020B0502040204020203" pitchFamily="34" charset="0"/>
              </a:rPr>
              <a:t>2</a:t>
            </a: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t>  </a:t>
            </a:r>
          </a:p>
        </p:txBody>
      </p:sp>
      <p:sp>
        <p:nvSpPr>
          <p:cNvPr id="3" name="Freeform: Shape 2">
            <a:extLst>
              <a:ext uri="{FF2B5EF4-FFF2-40B4-BE49-F238E27FC236}">
                <a16:creationId xmlns:a16="http://schemas.microsoft.com/office/drawing/2014/main" id="{8C8D2574-A071-444C-90D7-68AB304BFD50}"/>
              </a:ext>
            </a:extLst>
          </p:cNvPr>
          <p:cNvSpPr/>
          <p:nvPr/>
        </p:nvSpPr>
        <p:spPr>
          <a:xfrm rot="336145">
            <a:off x="1322963" y="1216374"/>
            <a:ext cx="5550990" cy="3623562"/>
          </a:xfrm>
          <a:custGeom>
            <a:avLst/>
            <a:gdLst>
              <a:gd name="connsiteX0" fmla="*/ 0 w 3784348"/>
              <a:gd name="connsiteY0" fmla="*/ 3723985 h 3723985"/>
              <a:gd name="connsiteX1" fmla="*/ 805758 w 3784348"/>
              <a:gd name="connsiteY1" fmla="*/ 3624397 h 3723985"/>
              <a:gd name="connsiteX2" fmla="*/ 1249378 w 3784348"/>
              <a:gd name="connsiteY2" fmla="*/ 2682837 h 3723985"/>
              <a:gd name="connsiteX3" fmla="*/ 1186004 w 3784348"/>
              <a:gd name="connsiteY3" fmla="*/ 998892 h 3723985"/>
              <a:gd name="connsiteX4" fmla="*/ 1865014 w 3784348"/>
              <a:gd name="connsiteY4" fmla="*/ 175027 h 3723985"/>
              <a:gd name="connsiteX5" fmla="*/ 2516863 w 3784348"/>
              <a:gd name="connsiteY5" fmla="*/ 528112 h 3723985"/>
              <a:gd name="connsiteX6" fmla="*/ 2951429 w 3784348"/>
              <a:gd name="connsiteY6" fmla="*/ 1324817 h 3723985"/>
              <a:gd name="connsiteX7" fmla="*/ 3395049 w 3784348"/>
              <a:gd name="connsiteY7" fmla="*/ 790662 h 3723985"/>
              <a:gd name="connsiteX8" fmla="*/ 3385996 w 3784348"/>
              <a:gd name="connsiteY8" fmla="*/ 120706 h 3723985"/>
              <a:gd name="connsiteX9" fmla="*/ 3784348 w 3784348"/>
              <a:gd name="connsiteY9"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186004 w 3784348"/>
              <a:gd name="connsiteY3" fmla="*/ 998892 h 3723985"/>
              <a:gd name="connsiteX4" fmla="*/ 1865014 w 3784348"/>
              <a:gd name="connsiteY4" fmla="*/ 175027 h 3723985"/>
              <a:gd name="connsiteX5" fmla="*/ 2444436 w 3784348"/>
              <a:gd name="connsiteY5" fmla="*/ 446631 h 3723985"/>
              <a:gd name="connsiteX6" fmla="*/ 2951429 w 3784348"/>
              <a:gd name="connsiteY6" fmla="*/ 1324817 h 3723985"/>
              <a:gd name="connsiteX7" fmla="*/ 3395049 w 3784348"/>
              <a:gd name="connsiteY7" fmla="*/ 790662 h 3723985"/>
              <a:gd name="connsiteX8" fmla="*/ 3385996 w 3784348"/>
              <a:gd name="connsiteY8" fmla="*/ 120706 h 3723985"/>
              <a:gd name="connsiteX9" fmla="*/ 3784348 w 3784348"/>
              <a:gd name="connsiteY9"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186004 w 3784348"/>
              <a:gd name="connsiteY3" fmla="*/ 998892 h 3723985"/>
              <a:gd name="connsiteX4" fmla="*/ 1865014 w 3784348"/>
              <a:gd name="connsiteY4" fmla="*/ 175027 h 3723985"/>
              <a:gd name="connsiteX5" fmla="*/ 2444436 w 3784348"/>
              <a:gd name="connsiteY5" fmla="*/ 446631 h 3723985"/>
              <a:gd name="connsiteX6" fmla="*/ 2951429 w 3784348"/>
              <a:gd name="connsiteY6" fmla="*/ 1333870 h 3723985"/>
              <a:gd name="connsiteX7" fmla="*/ 3395049 w 3784348"/>
              <a:gd name="connsiteY7" fmla="*/ 790662 h 3723985"/>
              <a:gd name="connsiteX8" fmla="*/ 3385996 w 3784348"/>
              <a:gd name="connsiteY8" fmla="*/ 120706 h 3723985"/>
              <a:gd name="connsiteX9" fmla="*/ 3784348 w 3784348"/>
              <a:gd name="connsiteY9"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186004 w 3784348"/>
              <a:gd name="connsiteY3" fmla="*/ 998892 h 3723985"/>
              <a:gd name="connsiteX4" fmla="*/ 1865014 w 3784348"/>
              <a:gd name="connsiteY4" fmla="*/ 175027 h 3723985"/>
              <a:gd name="connsiteX5" fmla="*/ 2444436 w 3784348"/>
              <a:gd name="connsiteY5" fmla="*/ 446631 h 3723985"/>
              <a:gd name="connsiteX6" fmla="*/ 2951429 w 3784348"/>
              <a:gd name="connsiteY6" fmla="*/ 1333870 h 3723985"/>
              <a:gd name="connsiteX7" fmla="*/ 3395049 w 3784348"/>
              <a:gd name="connsiteY7" fmla="*/ 790662 h 3723985"/>
              <a:gd name="connsiteX8" fmla="*/ 3385996 w 3784348"/>
              <a:gd name="connsiteY8" fmla="*/ 120706 h 3723985"/>
              <a:gd name="connsiteX9" fmla="*/ 3784348 w 3784348"/>
              <a:gd name="connsiteY9"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186004 w 3784348"/>
              <a:gd name="connsiteY3" fmla="*/ 998892 h 3723985"/>
              <a:gd name="connsiteX4" fmla="*/ 1865014 w 3784348"/>
              <a:gd name="connsiteY4" fmla="*/ 175027 h 3723985"/>
              <a:gd name="connsiteX5" fmla="*/ 2444436 w 3784348"/>
              <a:gd name="connsiteY5" fmla="*/ 446631 h 3723985"/>
              <a:gd name="connsiteX6" fmla="*/ 2951429 w 3784348"/>
              <a:gd name="connsiteY6" fmla="*/ 1333870 h 3723985"/>
              <a:gd name="connsiteX7" fmla="*/ 3395049 w 3784348"/>
              <a:gd name="connsiteY7" fmla="*/ 790662 h 3723985"/>
              <a:gd name="connsiteX8" fmla="*/ 3385996 w 3784348"/>
              <a:gd name="connsiteY8" fmla="*/ 120706 h 3723985"/>
              <a:gd name="connsiteX9" fmla="*/ 3784348 w 3784348"/>
              <a:gd name="connsiteY9"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186004 w 3784348"/>
              <a:gd name="connsiteY3" fmla="*/ 998892 h 3723985"/>
              <a:gd name="connsiteX4" fmla="*/ 1865014 w 3784348"/>
              <a:gd name="connsiteY4" fmla="*/ 175027 h 3723985"/>
              <a:gd name="connsiteX5" fmla="*/ 2444436 w 3784348"/>
              <a:gd name="connsiteY5" fmla="*/ 446631 h 3723985"/>
              <a:gd name="connsiteX6" fmla="*/ 2951429 w 3784348"/>
              <a:gd name="connsiteY6" fmla="*/ 1333870 h 3723985"/>
              <a:gd name="connsiteX7" fmla="*/ 3385996 w 3784348"/>
              <a:gd name="connsiteY7" fmla="*/ 120706 h 3723985"/>
              <a:gd name="connsiteX8" fmla="*/ 3784348 w 3784348"/>
              <a:gd name="connsiteY8"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186004 w 3784348"/>
              <a:gd name="connsiteY3" fmla="*/ 998892 h 3723985"/>
              <a:gd name="connsiteX4" fmla="*/ 1865014 w 3784348"/>
              <a:gd name="connsiteY4" fmla="*/ 175027 h 3723985"/>
              <a:gd name="connsiteX5" fmla="*/ 2444436 w 3784348"/>
              <a:gd name="connsiteY5" fmla="*/ 446631 h 3723985"/>
              <a:gd name="connsiteX6" fmla="*/ 2951429 w 3784348"/>
              <a:gd name="connsiteY6" fmla="*/ 1333870 h 3723985"/>
              <a:gd name="connsiteX7" fmla="*/ 3385996 w 3784348"/>
              <a:gd name="connsiteY7" fmla="*/ 120706 h 3723985"/>
              <a:gd name="connsiteX8" fmla="*/ 3784348 w 3784348"/>
              <a:gd name="connsiteY8"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186004 w 3784348"/>
              <a:gd name="connsiteY3" fmla="*/ 998892 h 3723985"/>
              <a:gd name="connsiteX4" fmla="*/ 1865014 w 3784348"/>
              <a:gd name="connsiteY4" fmla="*/ 175027 h 3723985"/>
              <a:gd name="connsiteX5" fmla="*/ 2951429 w 3784348"/>
              <a:gd name="connsiteY5" fmla="*/ 1333870 h 3723985"/>
              <a:gd name="connsiteX6" fmla="*/ 3385996 w 3784348"/>
              <a:gd name="connsiteY6" fmla="*/ 120706 h 3723985"/>
              <a:gd name="connsiteX7" fmla="*/ 3784348 w 3784348"/>
              <a:gd name="connsiteY7"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186004 w 3784348"/>
              <a:gd name="connsiteY3" fmla="*/ 998892 h 3723985"/>
              <a:gd name="connsiteX4" fmla="*/ 1865014 w 3784348"/>
              <a:gd name="connsiteY4" fmla="*/ 175027 h 3723985"/>
              <a:gd name="connsiteX5" fmla="*/ 2951429 w 3784348"/>
              <a:gd name="connsiteY5" fmla="*/ 1333870 h 3723985"/>
              <a:gd name="connsiteX6" fmla="*/ 3385996 w 3784348"/>
              <a:gd name="connsiteY6" fmla="*/ 120706 h 3723985"/>
              <a:gd name="connsiteX7" fmla="*/ 3784348 w 3784348"/>
              <a:gd name="connsiteY7"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222218 w 3784348"/>
              <a:gd name="connsiteY3" fmla="*/ 754448 h 3723985"/>
              <a:gd name="connsiteX4" fmla="*/ 1865014 w 3784348"/>
              <a:gd name="connsiteY4" fmla="*/ 175027 h 3723985"/>
              <a:gd name="connsiteX5" fmla="*/ 2951429 w 3784348"/>
              <a:gd name="connsiteY5" fmla="*/ 1333870 h 3723985"/>
              <a:gd name="connsiteX6" fmla="*/ 3385996 w 3784348"/>
              <a:gd name="connsiteY6" fmla="*/ 120706 h 3723985"/>
              <a:gd name="connsiteX7" fmla="*/ 3784348 w 3784348"/>
              <a:gd name="connsiteY7"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865014 w 3784348"/>
              <a:gd name="connsiteY3" fmla="*/ 175027 h 3723985"/>
              <a:gd name="connsiteX4" fmla="*/ 2951429 w 3784348"/>
              <a:gd name="connsiteY4" fmla="*/ 1333870 h 3723985"/>
              <a:gd name="connsiteX5" fmla="*/ 3385996 w 3784348"/>
              <a:gd name="connsiteY5" fmla="*/ 120706 h 3723985"/>
              <a:gd name="connsiteX6" fmla="*/ 3784348 w 3784348"/>
              <a:gd name="connsiteY6"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865014 w 3784348"/>
              <a:gd name="connsiteY3" fmla="*/ 175027 h 3723985"/>
              <a:gd name="connsiteX4" fmla="*/ 2951429 w 3784348"/>
              <a:gd name="connsiteY4" fmla="*/ 1333870 h 3723985"/>
              <a:gd name="connsiteX5" fmla="*/ 3385996 w 3784348"/>
              <a:gd name="connsiteY5" fmla="*/ 120706 h 3723985"/>
              <a:gd name="connsiteX6" fmla="*/ 3784348 w 3784348"/>
              <a:gd name="connsiteY6" fmla="*/ 3011 h 3723985"/>
              <a:gd name="connsiteX0" fmla="*/ 0 w 3784348"/>
              <a:gd name="connsiteY0" fmla="*/ 3723985 h 3723985"/>
              <a:gd name="connsiteX1" fmla="*/ 805758 w 3784348"/>
              <a:gd name="connsiteY1" fmla="*/ 3624397 h 3723985"/>
              <a:gd name="connsiteX2" fmla="*/ 1865014 w 3784348"/>
              <a:gd name="connsiteY2" fmla="*/ 175027 h 3723985"/>
              <a:gd name="connsiteX3" fmla="*/ 2951429 w 3784348"/>
              <a:gd name="connsiteY3" fmla="*/ 1333870 h 3723985"/>
              <a:gd name="connsiteX4" fmla="*/ 3385996 w 3784348"/>
              <a:gd name="connsiteY4" fmla="*/ 120706 h 3723985"/>
              <a:gd name="connsiteX5" fmla="*/ 3784348 w 3784348"/>
              <a:gd name="connsiteY5" fmla="*/ 3011 h 3723985"/>
              <a:gd name="connsiteX0" fmla="*/ 0 w 3784348"/>
              <a:gd name="connsiteY0" fmla="*/ 3723985 h 3723985"/>
              <a:gd name="connsiteX1" fmla="*/ 1013987 w 3784348"/>
              <a:gd name="connsiteY1" fmla="*/ 3615343 h 3723985"/>
              <a:gd name="connsiteX2" fmla="*/ 1865014 w 3784348"/>
              <a:gd name="connsiteY2" fmla="*/ 175027 h 3723985"/>
              <a:gd name="connsiteX3" fmla="*/ 2951429 w 3784348"/>
              <a:gd name="connsiteY3" fmla="*/ 1333870 h 3723985"/>
              <a:gd name="connsiteX4" fmla="*/ 3385996 w 3784348"/>
              <a:gd name="connsiteY4" fmla="*/ 120706 h 3723985"/>
              <a:gd name="connsiteX5" fmla="*/ 3784348 w 3784348"/>
              <a:gd name="connsiteY5" fmla="*/ 3011 h 3723985"/>
              <a:gd name="connsiteX0" fmla="*/ 0 w 3784348"/>
              <a:gd name="connsiteY0" fmla="*/ 3723985 h 3723985"/>
              <a:gd name="connsiteX1" fmla="*/ 1013987 w 3784348"/>
              <a:gd name="connsiteY1" fmla="*/ 3615343 h 3723985"/>
              <a:gd name="connsiteX2" fmla="*/ 1865014 w 3784348"/>
              <a:gd name="connsiteY2" fmla="*/ 175027 h 3723985"/>
              <a:gd name="connsiteX3" fmla="*/ 2951429 w 3784348"/>
              <a:gd name="connsiteY3" fmla="*/ 1333870 h 3723985"/>
              <a:gd name="connsiteX4" fmla="*/ 3385996 w 3784348"/>
              <a:gd name="connsiteY4" fmla="*/ 120706 h 3723985"/>
              <a:gd name="connsiteX5" fmla="*/ 3784348 w 3784348"/>
              <a:gd name="connsiteY5" fmla="*/ 3011 h 3723985"/>
              <a:gd name="connsiteX0" fmla="*/ 0 w 3784348"/>
              <a:gd name="connsiteY0" fmla="*/ 3723985 h 3723985"/>
              <a:gd name="connsiteX1" fmla="*/ 1865014 w 3784348"/>
              <a:gd name="connsiteY1" fmla="*/ 175027 h 3723985"/>
              <a:gd name="connsiteX2" fmla="*/ 2951429 w 3784348"/>
              <a:gd name="connsiteY2" fmla="*/ 1333870 h 3723985"/>
              <a:gd name="connsiteX3" fmla="*/ 3385996 w 3784348"/>
              <a:gd name="connsiteY3" fmla="*/ 120706 h 3723985"/>
              <a:gd name="connsiteX4" fmla="*/ 3784348 w 3784348"/>
              <a:gd name="connsiteY4" fmla="*/ 3011 h 3723985"/>
              <a:gd name="connsiteX0" fmla="*/ 0 w 3784348"/>
              <a:gd name="connsiteY0" fmla="*/ 3723985 h 3750241"/>
              <a:gd name="connsiteX1" fmla="*/ 1865014 w 3784348"/>
              <a:gd name="connsiteY1" fmla="*/ 175027 h 3750241"/>
              <a:gd name="connsiteX2" fmla="*/ 2951429 w 3784348"/>
              <a:gd name="connsiteY2" fmla="*/ 1333870 h 3750241"/>
              <a:gd name="connsiteX3" fmla="*/ 3385996 w 3784348"/>
              <a:gd name="connsiteY3" fmla="*/ 120706 h 3750241"/>
              <a:gd name="connsiteX4" fmla="*/ 3784348 w 3784348"/>
              <a:gd name="connsiteY4" fmla="*/ 3011 h 3750241"/>
              <a:gd name="connsiteX0" fmla="*/ 0 w 3784348"/>
              <a:gd name="connsiteY0" fmla="*/ 3723985 h 3743671"/>
              <a:gd name="connsiteX1" fmla="*/ 1865014 w 3784348"/>
              <a:gd name="connsiteY1" fmla="*/ 175027 h 3743671"/>
              <a:gd name="connsiteX2" fmla="*/ 2951429 w 3784348"/>
              <a:gd name="connsiteY2" fmla="*/ 1333870 h 3743671"/>
              <a:gd name="connsiteX3" fmla="*/ 3385996 w 3784348"/>
              <a:gd name="connsiteY3" fmla="*/ 120706 h 3743671"/>
              <a:gd name="connsiteX4" fmla="*/ 3784348 w 3784348"/>
              <a:gd name="connsiteY4" fmla="*/ 3011 h 3743671"/>
              <a:gd name="connsiteX0" fmla="*/ 0 w 3784348"/>
              <a:gd name="connsiteY0" fmla="*/ 3723985 h 3743671"/>
              <a:gd name="connsiteX1" fmla="*/ 1865014 w 3784348"/>
              <a:gd name="connsiteY1" fmla="*/ 175027 h 3743671"/>
              <a:gd name="connsiteX2" fmla="*/ 2951429 w 3784348"/>
              <a:gd name="connsiteY2" fmla="*/ 1333870 h 3743671"/>
              <a:gd name="connsiteX3" fmla="*/ 3385996 w 3784348"/>
              <a:gd name="connsiteY3" fmla="*/ 120706 h 3743671"/>
              <a:gd name="connsiteX4" fmla="*/ 3784348 w 3784348"/>
              <a:gd name="connsiteY4" fmla="*/ 3011 h 3743671"/>
              <a:gd name="connsiteX0" fmla="*/ 0 w 3784348"/>
              <a:gd name="connsiteY0" fmla="*/ 3720974 h 3740660"/>
              <a:gd name="connsiteX1" fmla="*/ 1865014 w 3784348"/>
              <a:gd name="connsiteY1" fmla="*/ 172016 h 3740660"/>
              <a:gd name="connsiteX2" fmla="*/ 2951429 w 3784348"/>
              <a:gd name="connsiteY2" fmla="*/ 1330859 h 3740660"/>
              <a:gd name="connsiteX3" fmla="*/ 3784348 w 3784348"/>
              <a:gd name="connsiteY3" fmla="*/ 0 h 3740660"/>
              <a:gd name="connsiteX0" fmla="*/ 0 w 3784348"/>
              <a:gd name="connsiteY0" fmla="*/ 3720974 h 3740660"/>
              <a:gd name="connsiteX1" fmla="*/ 1865014 w 3784348"/>
              <a:gd name="connsiteY1" fmla="*/ 172016 h 3740660"/>
              <a:gd name="connsiteX2" fmla="*/ 2951429 w 3784348"/>
              <a:gd name="connsiteY2" fmla="*/ 1330859 h 3740660"/>
              <a:gd name="connsiteX3" fmla="*/ 3784348 w 3784348"/>
              <a:gd name="connsiteY3" fmla="*/ 0 h 3740660"/>
              <a:gd name="connsiteX0" fmla="*/ 0 w 3784348"/>
              <a:gd name="connsiteY0" fmla="*/ 3720974 h 3741794"/>
              <a:gd name="connsiteX1" fmla="*/ 1865014 w 3784348"/>
              <a:gd name="connsiteY1" fmla="*/ 172016 h 3741794"/>
              <a:gd name="connsiteX2" fmla="*/ 3132499 w 3784348"/>
              <a:gd name="connsiteY2" fmla="*/ 1303699 h 3741794"/>
              <a:gd name="connsiteX3" fmla="*/ 3784348 w 3784348"/>
              <a:gd name="connsiteY3" fmla="*/ 0 h 3741794"/>
              <a:gd name="connsiteX0" fmla="*/ 0 w 3784348"/>
              <a:gd name="connsiteY0" fmla="*/ 3720974 h 3742309"/>
              <a:gd name="connsiteX1" fmla="*/ 1865014 w 3784348"/>
              <a:gd name="connsiteY1" fmla="*/ 172016 h 3742309"/>
              <a:gd name="connsiteX2" fmla="*/ 3132499 w 3784348"/>
              <a:gd name="connsiteY2" fmla="*/ 1303699 h 3742309"/>
              <a:gd name="connsiteX3" fmla="*/ 3784348 w 3784348"/>
              <a:gd name="connsiteY3" fmla="*/ 0 h 3742309"/>
              <a:gd name="connsiteX0" fmla="*/ 0 w 3576118"/>
              <a:gd name="connsiteY0" fmla="*/ 3657599 h 3678934"/>
              <a:gd name="connsiteX1" fmla="*/ 1865014 w 3576118"/>
              <a:gd name="connsiteY1" fmla="*/ 108641 h 3678934"/>
              <a:gd name="connsiteX2" fmla="*/ 3132499 w 3576118"/>
              <a:gd name="connsiteY2" fmla="*/ 1240324 h 3678934"/>
              <a:gd name="connsiteX3" fmla="*/ 3576118 w 3576118"/>
              <a:gd name="connsiteY3" fmla="*/ 0 h 3678934"/>
              <a:gd name="connsiteX0" fmla="*/ 0 w 3576118"/>
              <a:gd name="connsiteY0" fmla="*/ 3665318 h 3686653"/>
              <a:gd name="connsiteX1" fmla="*/ 1865014 w 3576118"/>
              <a:gd name="connsiteY1" fmla="*/ 116360 h 3686653"/>
              <a:gd name="connsiteX2" fmla="*/ 3132499 w 3576118"/>
              <a:gd name="connsiteY2" fmla="*/ 1248043 h 3686653"/>
              <a:gd name="connsiteX3" fmla="*/ 3576118 w 3576118"/>
              <a:gd name="connsiteY3" fmla="*/ 7719 h 3686653"/>
              <a:gd name="connsiteX0" fmla="*/ 0 w 3576118"/>
              <a:gd name="connsiteY0" fmla="*/ 3665417 h 3686254"/>
              <a:gd name="connsiteX1" fmla="*/ 1865014 w 3576118"/>
              <a:gd name="connsiteY1" fmla="*/ 116459 h 3686254"/>
              <a:gd name="connsiteX2" fmla="*/ 2743200 w 3576118"/>
              <a:gd name="connsiteY2" fmla="*/ 1230035 h 3686254"/>
              <a:gd name="connsiteX3" fmla="*/ 3576118 w 3576118"/>
              <a:gd name="connsiteY3" fmla="*/ 7818 h 3686254"/>
              <a:gd name="connsiteX0" fmla="*/ 0 w 3576118"/>
              <a:gd name="connsiteY0" fmla="*/ 3665835 h 3686672"/>
              <a:gd name="connsiteX1" fmla="*/ 1865014 w 3576118"/>
              <a:gd name="connsiteY1" fmla="*/ 116877 h 3686672"/>
              <a:gd name="connsiteX2" fmla="*/ 2743200 w 3576118"/>
              <a:gd name="connsiteY2" fmla="*/ 1230453 h 3686672"/>
              <a:gd name="connsiteX3" fmla="*/ 3576118 w 3576118"/>
              <a:gd name="connsiteY3" fmla="*/ 8236 h 3686672"/>
              <a:gd name="connsiteX0" fmla="*/ 0 w 3576118"/>
              <a:gd name="connsiteY0" fmla="*/ 3665835 h 3686325"/>
              <a:gd name="connsiteX1" fmla="*/ 1865014 w 3576118"/>
              <a:gd name="connsiteY1" fmla="*/ 116877 h 3686325"/>
              <a:gd name="connsiteX2" fmla="*/ 2743200 w 3576118"/>
              <a:gd name="connsiteY2" fmla="*/ 1230453 h 3686325"/>
              <a:gd name="connsiteX3" fmla="*/ 3576118 w 3576118"/>
              <a:gd name="connsiteY3" fmla="*/ 8236 h 3686325"/>
              <a:gd name="connsiteX0" fmla="*/ 0 w 3576118"/>
              <a:gd name="connsiteY0" fmla="*/ 3665835 h 3698931"/>
              <a:gd name="connsiteX1" fmla="*/ 1412341 w 3576118"/>
              <a:gd name="connsiteY1" fmla="*/ 1547324 h 3698931"/>
              <a:gd name="connsiteX2" fmla="*/ 2743200 w 3576118"/>
              <a:gd name="connsiteY2" fmla="*/ 1230453 h 3698931"/>
              <a:gd name="connsiteX3" fmla="*/ 3576118 w 3576118"/>
              <a:gd name="connsiteY3" fmla="*/ 8236 h 3698931"/>
              <a:gd name="connsiteX0" fmla="*/ 0 w 3576118"/>
              <a:gd name="connsiteY0" fmla="*/ 3665835 h 3702082"/>
              <a:gd name="connsiteX1" fmla="*/ 1412341 w 3576118"/>
              <a:gd name="connsiteY1" fmla="*/ 1547324 h 3702082"/>
              <a:gd name="connsiteX2" fmla="*/ 2743200 w 3576118"/>
              <a:gd name="connsiteY2" fmla="*/ 1230453 h 3702082"/>
              <a:gd name="connsiteX3" fmla="*/ 3576118 w 3576118"/>
              <a:gd name="connsiteY3" fmla="*/ 8236 h 3702082"/>
              <a:gd name="connsiteX0" fmla="*/ 0 w 3576118"/>
              <a:gd name="connsiteY0" fmla="*/ 3665835 h 3699643"/>
              <a:gd name="connsiteX1" fmla="*/ 1276539 w 3576118"/>
              <a:gd name="connsiteY1" fmla="*/ 1393415 h 3699643"/>
              <a:gd name="connsiteX2" fmla="*/ 2743200 w 3576118"/>
              <a:gd name="connsiteY2" fmla="*/ 1230453 h 3699643"/>
              <a:gd name="connsiteX3" fmla="*/ 3576118 w 3576118"/>
              <a:gd name="connsiteY3" fmla="*/ 8236 h 3699643"/>
              <a:gd name="connsiteX0" fmla="*/ 0 w 3576118"/>
              <a:gd name="connsiteY0" fmla="*/ 3665835 h 3697673"/>
              <a:gd name="connsiteX1" fmla="*/ 1276539 w 3576118"/>
              <a:gd name="connsiteY1" fmla="*/ 1393415 h 3697673"/>
              <a:gd name="connsiteX2" fmla="*/ 2743200 w 3576118"/>
              <a:gd name="connsiteY2" fmla="*/ 1230453 h 3697673"/>
              <a:gd name="connsiteX3" fmla="*/ 3576118 w 3576118"/>
              <a:gd name="connsiteY3" fmla="*/ 8236 h 3697673"/>
              <a:gd name="connsiteX0" fmla="*/ 0 w 3576118"/>
              <a:gd name="connsiteY0" fmla="*/ 3665835 h 3701541"/>
              <a:gd name="connsiteX1" fmla="*/ 968721 w 3576118"/>
              <a:gd name="connsiteY1" fmla="*/ 1655966 h 3701541"/>
              <a:gd name="connsiteX2" fmla="*/ 2743200 w 3576118"/>
              <a:gd name="connsiteY2" fmla="*/ 1230453 h 3701541"/>
              <a:gd name="connsiteX3" fmla="*/ 3576118 w 3576118"/>
              <a:gd name="connsiteY3" fmla="*/ 8236 h 3701541"/>
              <a:gd name="connsiteX0" fmla="*/ 0 w 3576118"/>
              <a:gd name="connsiteY0" fmla="*/ 3665835 h 3700828"/>
              <a:gd name="connsiteX1" fmla="*/ 968721 w 3576118"/>
              <a:gd name="connsiteY1" fmla="*/ 1655966 h 3700828"/>
              <a:gd name="connsiteX2" fmla="*/ 2743200 w 3576118"/>
              <a:gd name="connsiteY2" fmla="*/ 1230453 h 3700828"/>
              <a:gd name="connsiteX3" fmla="*/ 3576118 w 3576118"/>
              <a:gd name="connsiteY3" fmla="*/ 8236 h 3700828"/>
              <a:gd name="connsiteX0" fmla="*/ 0 w 3576118"/>
              <a:gd name="connsiteY0" fmla="*/ 3665835 h 3704024"/>
              <a:gd name="connsiteX1" fmla="*/ 968721 w 3576118"/>
              <a:gd name="connsiteY1" fmla="*/ 1655966 h 3704024"/>
              <a:gd name="connsiteX2" fmla="*/ 2743200 w 3576118"/>
              <a:gd name="connsiteY2" fmla="*/ 1230453 h 3704024"/>
              <a:gd name="connsiteX3" fmla="*/ 3576118 w 3576118"/>
              <a:gd name="connsiteY3" fmla="*/ 8236 h 3704024"/>
              <a:gd name="connsiteX0" fmla="*/ 0 w 3576118"/>
              <a:gd name="connsiteY0" fmla="*/ 3666237 h 3704426"/>
              <a:gd name="connsiteX1" fmla="*/ 968721 w 3576118"/>
              <a:gd name="connsiteY1" fmla="*/ 1656368 h 3704426"/>
              <a:gd name="connsiteX2" fmla="*/ 2743200 w 3576118"/>
              <a:gd name="connsiteY2" fmla="*/ 1230855 h 3704426"/>
              <a:gd name="connsiteX3" fmla="*/ 3576118 w 3576118"/>
              <a:gd name="connsiteY3" fmla="*/ 8638 h 3704426"/>
              <a:gd name="connsiteX0" fmla="*/ 0 w 3576118"/>
              <a:gd name="connsiteY0" fmla="*/ 3666237 h 3702385"/>
              <a:gd name="connsiteX1" fmla="*/ 968721 w 3576118"/>
              <a:gd name="connsiteY1" fmla="*/ 1656368 h 3702385"/>
              <a:gd name="connsiteX2" fmla="*/ 2743200 w 3576118"/>
              <a:gd name="connsiteY2" fmla="*/ 1230855 h 3702385"/>
              <a:gd name="connsiteX3" fmla="*/ 3576118 w 3576118"/>
              <a:gd name="connsiteY3" fmla="*/ 8638 h 3702385"/>
              <a:gd name="connsiteX0" fmla="*/ 0 w 3576118"/>
              <a:gd name="connsiteY0" fmla="*/ 3666237 h 3705974"/>
              <a:gd name="connsiteX1" fmla="*/ 968721 w 3576118"/>
              <a:gd name="connsiteY1" fmla="*/ 1656368 h 3705974"/>
              <a:gd name="connsiteX2" fmla="*/ 2743200 w 3576118"/>
              <a:gd name="connsiteY2" fmla="*/ 1230855 h 3705974"/>
              <a:gd name="connsiteX3" fmla="*/ 3576118 w 3576118"/>
              <a:gd name="connsiteY3" fmla="*/ 8638 h 3705974"/>
              <a:gd name="connsiteX0" fmla="*/ 0 w 3576118"/>
              <a:gd name="connsiteY0" fmla="*/ 3657599 h 3697336"/>
              <a:gd name="connsiteX1" fmla="*/ 968721 w 3576118"/>
              <a:gd name="connsiteY1" fmla="*/ 1647730 h 3697336"/>
              <a:gd name="connsiteX2" fmla="*/ 2743200 w 3576118"/>
              <a:gd name="connsiteY2" fmla="*/ 1222217 h 3697336"/>
              <a:gd name="connsiteX3" fmla="*/ 3576118 w 3576118"/>
              <a:gd name="connsiteY3" fmla="*/ 0 h 3697336"/>
              <a:gd name="connsiteX0" fmla="*/ 0 w 3742064"/>
              <a:gd name="connsiteY0" fmla="*/ 3621385 h 3661122"/>
              <a:gd name="connsiteX1" fmla="*/ 968721 w 3742064"/>
              <a:gd name="connsiteY1" fmla="*/ 1611516 h 3661122"/>
              <a:gd name="connsiteX2" fmla="*/ 2743200 w 3742064"/>
              <a:gd name="connsiteY2" fmla="*/ 1186003 h 3661122"/>
              <a:gd name="connsiteX3" fmla="*/ 3742064 w 3742064"/>
              <a:gd name="connsiteY3" fmla="*/ 0 h 3661122"/>
              <a:gd name="connsiteX0" fmla="*/ 0 w 3426769"/>
              <a:gd name="connsiteY0" fmla="*/ 3539903 h 3579640"/>
              <a:gd name="connsiteX1" fmla="*/ 968721 w 3426769"/>
              <a:gd name="connsiteY1" fmla="*/ 1530034 h 3579640"/>
              <a:gd name="connsiteX2" fmla="*/ 2743200 w 3426769"/>
              <a:gd name="connsiteY2" fmla="*/ 1104521 h 3579640"/>
              <a:gd name="connsiteX3" fmla="*/ 3426769 w 3426769"/>
              <a:gd name="connsiteY3" fmla="*/ 0 h 3579640"/>
              <a:gd name="connsiteX0" fmla="*/ 0 w 3825037"/>
              <a:gd name="connsiteY0" fmla="*/ 3603277 h 3643014"/>
              <a:gd name="connsiteX1" fmla="*/ 968721 w 3825037"/>
              <a:gd name="connsiteY1" fmla="*/ 1593408 h 3643014"/>
              <a:gd name="connsiteX2" fmla="*/ 2743200 w 3825037"/>
              <a:gd name="connsiteY2" fmla="*/ 1167895 h 3643014"/>
              <a:gd name="connsiteX3" fmla="*/ 3825037 w 3825037"/>
              <a:gd name="connsiteY3" fmla="*/ 0 h 3643014"/>
              <a:gd name="connsiteX0" fmla="*/ 0 w 3825037"/>
              <a:gd name="connsiteY0" fmla="*/ 3603277 h 3643014"/>
              <a:gd name="connsiteX1" fmla="*/ 968721 w 3825037"/>
              <a:gd name="connsiteY1" fmla="*/ 1593408 h 3643014"/>
              <a:gd name="connsiteX2" fmla="*/ 2743200 w 3825037"/>
              <a:gd name="connsiteY2" fmla="*/ 1167895 h 3643014"/>
              <a:gd name="connsiteX3" fmla="*/ 3825037 w 3825037"/>
              <a:gd name="connsiteY3" fmla="*/ 0 h 3643014"/>
              <a:gd name="connsiteX0" fmla="*/ 0 w 3825037"/>
              <a:gd name="connsiteY0" fmla="*/ 3603277 h 3640755"/>
              <a:gd name="connsiteX1" fmla="*/ 1159559 w 3825037"/>
              <a:gd name="connsiteY1" fmla="*/ 1475713 h 3640755"/>
              <a:gd name="connsiteX2" fmla="*/ 2743200 w 3825037"/>
              <a:gd name="connsiteY2" fmla="*/ 1167895 h 3640755"/>
              <a:gd name="connsiteX3" fmla="*/ 3825037 w 3825037"/>
              <a:gd name="connsiteY3" fmla="*/ 0 h 3640755"/>
              <a:gd name="connsiteX0" fmla="*/ 0 w 3825037"/>
              <a:gd name="connsiteY0" fmla="*/ 3603277 h 3639821"/>
              <a:gd name="connsiteX1" fmla="*/ 1159559 w 3825037"/>
              <a:gd name="connsiteY1" fmla="*/ 1475713 h 3639821"/>
              <a:gd name="connsiteX2" fmla="*/ 2743200 w 3825037"/>
              <a:gd name="connsiteY2" fmla="*/ 1167895 h 3639821"/>
              <a:gd name="connsiteX3" fmla="*/ 3825037 w 3825037"/>
              <a:gd name="connsiteY3" fmla="*/ 0 h 3639821"/>
              <a:gd name="connsiteX0" fmla="*/ 0 w 3825037"/>
              <a:gd name="connsiteY0" fmla="*/ 3603277 h 3637183"/>
              <a:gd name="connsiteX1" fmla="*/ 1159559 w 3825037"/>
              <a:gd name="connsiteY1" fmla="*/ 1475713 h 3637183"/>
              <a:gd name="connsiteX2" fmla="*/ 2809578 w 3825037"/>
              <a:gd name="connsiteY2" fmla="*/ 1149788 h 3637183"/>
              <a:gd name="connsiteX3" fmla="*/ 3825037 w 3825037"/>
              <a:gd name="connsiteY3" fmla="*/ 0 h 3637183"/>
              <a:gd name="connsiteX0" fmla="*/ 0 w 3825037"/>
              <a:gd name="connsiteY0" fmla="*/ 3603277 h 3640649"/>
              <a:gd name="connsiteX1" fmla="*/ 1159559 w 3825037"/>
              <a:gd name="connsiteY1" fmla="*/ 1475713 h 3640649"/>
              <a:gd name="connsiteX2" fmla="*/ 2809578 w 3825037"/>
              <a:gd name="connsiteY2" fmla="*/ 1149788 h 3640649"/>
              <a:gd name="connsiteX3" fmla="*/ 3825037 w 3825037"/>
              <a:gd name="connsiteY3" fmla="*/ 0 h 3640649"/>
              <a:gd name="connsiteX0" fmla="*/ 0 w 3990982"/>
              <a:gd name="connsiteY0" fmla="*/ 3458421 h 3494236"/>
              <a:gd name="connsiteX1" fmla="*/ 1325504 w 3990982"/>
              <a:gd name="connsiteY1" fmla="*/ 1475713 h 3494236"/>
              <a:gd name="connsiteX2" fmla="*/ 2975523 w 3990982"/>
              <a:gd name="connsiteY2" fmla="*/ 1149788 h 3494236"/>
              <a:gd name="connsiteX3" fmla="*/ 3990982 w 3990982"/>
              <a:gd name="connsiteY3" fmla="*/ 0 h 3494236"/>
              <a:gd name="connsiteX0" fmla="*/ 0 w 3990982"/>
              <a:gd name="connsiteY0" fmla="*/ 3458421 h 3463649"/>
              <a:gd name="connsiteX1" fmla="*/ 1325504 w 3990982"/>
              <a:gd name="connsiteY1" fmla="*/ 1475713 h 3463649"/>
              <a:gd name="connsiteX2" fmla="*/ 2975523 w 3990982"/>
              <a:gd name="connsiteY2" fmla="*/ 1149788 h 3463649"/>
              <a:gd name="connsiteX3" fmla="*/ 3990982 w 3990982"/>
              <a:gd name="connsiteY3" fmla="*/ 0 h 3463649"/>
              <a:gd name="connsiteX0" fmla="*/ 0 w 3990982"/>
              <a:gd name="connsiteY0" fmla="*/ 3458421 h 3464103"/>
              <a:gd name="connsiteX1" fmla="*/ 1325504 w 3990982"/>
              <a:gd name="connsiteY1" fmla="*/ 1475713 h 3464103"/>
              <a:gd name="connsiteX2" fmla="*/ 2975523 w 3990982"/>
              <a:gd name="connsiteY2" fmla="*/ 1149788 h 3464103"/>
              <a:gd name="connsiteX3" fmla="*/ 3990982 w 3990982"/>
              <a:gd name="connsiteY3" fmla="*/ 0 h 3464103"/>
              <a:gd name="connsiteX0" fmla="*/ 0 w 3990982"/>
              <a:gd name="connsiteY0" fmla="*/ 3458421 h 3463628"/>
              <a:gd name="connsiteX1" fmla="*/ 1325504 w 3990982"/>
              <a:gd name="connsiteY1" fmla="*/ 1475713 h 3463628"/>
              <a:gd name="connsiteX2" fmla="*/ 2776388 w 3990982"/>
              <a:gd name="connsiteY2" fmla="*/ 1195055 h 3463628"/>
              <a:gd name="connsiteX3" fmla="*/ 3990982 w 3990982"/>
              <a:gd name="connsiteY3" fmla="*/ 0 h 3463628"/>
              <a:gd name="connsiteX0" fmla="*/ 0 w 3990982"/>
              <a:gd name="connsiteY0" fmla="*/ 3458421 h 3463815"/>
              <a:gd name="connsiteX1" fmla="*/ 1325504 w 3990982"/>
              <a:gd name="connsiteY1" fmla="*/ 1475713 h 3463815"/>
              <a:gd name="connsiteX2" fmla="*/ 2776388 w 3990982"/>
              <a:gd name="connsiteY2" fmla="*/ 1195055 h 3463815"/>
              <a:gd name="connsiteX3" fmla="*/ 3990982 w 3990982"/>
              <a:gd name="connsiteY3" fmla="*/ 0 h 3463815"/>
              <a:gd name="connsiteX0" fmla="*/ 0 w 3990982"/>
              <a:gd name="connsiteY0" fmla="*/ 3458421 h 3464143"/>
              <a:gd name="connsiteX1" fmla="*/ 1433369 w 3990982"/>
              <a:gd name="connsiteY1" fmla="*/ 1575301 h 3464143"/>
              <a:gd name="connsiteX2" fmla="*/ 2776388 w 3990982"/>
              <a:gd name="connsiteY2" fmla="*/ 1195055 h 3464143"/>
              <a:gd name="connsiteX3" fmla="*/ 3990982 w 3990982"/>
              <a:gd name="connsiteY3" fmla="*/ 0 h 3464143"/>
            </a:gdLst>
            <a:ahLst/>
            <a:cxnLst>
              <a:cxn ang="0">
                <a:pos x="connsiteX0" y="connsiteY0"/>
              </a:cxn>
              <a:cxn ang="0">
                <a:pos x="connsiteX1" y="connsiteY1"/>
              </a:cxn>
              <a:cxn ang="0">
                <a:pos x="connsiteX2" y="connsiteY2"/>
              </a:cxn>
              <a:cxn ang="0">
                <a:pos x="connsiteX3" y="connsiteY3"/>
              </a:cxn>
            </a:cxnLst>
            <a:rect l="l" t="t" r="r" b="b"/>
            <a:pathLst>
              <a:path w="3990982" h="3464143">
                <a:moveTo>
                  <a:pt x="0" y="3458421"/>
                </a:moveTo>
                <a:cubicBezTo>
                  <a:pt x="1462215" y="3570080"/>
                  <a:pt x="1103394" y="2015903"/>
                  <a:pt x="1433369" y="1575301"/>
                </a:cubicBezTo>
                <a:cubicBezTo>
                  <a:pt x="1763344" y="1134699"/>
                  <a:pt x="2038531" y="1285590"/>
                  <a:pt x="2776388" y="1195055"/>
                </a:cubicBezTo>
                <a:cubicBezTo>
                  <a:pt x="3740582" y="1041146"/>
                  <a:pt x="3262234" y="195780"/>
                  <a:pt x="3990982" y="0"/>
                </a:cubicBezTo>
              </a:path>
            </a:pathLst>
          </a:custGeom>
          <a:noFill/>
          <a:ln w="19050" cap="sq">
            <a:solidFill>
              <a:schemeClr val="accent1"/>
            </a:solid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Bahnschrift" panose="020B0502040204020203" pitchFamily="34" charset="0"/>
            </a:endParaRPr>
          </a:p>
        </p:txBody>
      </p:sp>
      <p:sp>
        <p:nvSpPr>
          <p:cNvPr id="24" name="TextBox 23">
            <a:extLst>
              <a:ext uri="{FF2B5EF4-FFF2-40B4-BE49-F238E27FC236}">
                <a16:creationId xmlns:a16="http://schemas.microsoft.com/office/drawing/2014/main" id="{A2F738B5-BDF9-4847-BE81-AB1129210245}"/>
              </a:ext>
            </a:extLst>
          </p:cNvPr>
          <p:cNvSpPr txBox="1">
            <a:spLocks/>
          </p:cNvSpPr>
          <p:nvPr/>
        </p:nvSpPr>
        <p:spPr>
          <a:xfrm>
            <a:off x="7023110" y="2471296"/>
            <a:ext cx="900603" cy="33855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2200" b="1" i="0" u="none" strike="noStrike" kern="1200" cap="none" spc="0" normalizeH="0" baseline="0" noProof="0" dirty="0">
                <a:ln>
                  <a:noFill/>
                </a:ln>
                <a:solidFill>
                  <a:srgbClr val="000000"/>
                </a:solidFill>
                <a:effectLst/>
                <a:uLnTx/>
                <a:uFillTx/>
                <a:latin typeface="Bahnschrift" panose="020B0502040204020203" pitchFamily="34" charset="0"/>
              </a:rPr>
              <a:t>2040</a:t>
            </a:r>
          </a:p>
        </p:txBody>
      </p:sp>
      <p:sp>
        <p:nvSpPr>
          <p:cNvPr id="25" name="TextBox 24">
            <a:extLst>
              <a:ext uri="{FF2B5EF4-FFF2-40B4-BE49-F238E27FC236}">
                <a16:creationId xmlns:a16="http://schemas.microsoft.com/office/drawing/2014/main" id="{40B40075-2239-44B4-BEEC-CE024B05BBDC}"/>
              </a:ext>
            </a:extLst>
          </p:cNvPr>
          <p:cNvSpPr txBox="1">
            <a:spLocks/>
          </p:cNvSpPr>
          <p:nvPr/>
        </p:nvSpPr>
        <p:spPr>
          <a:xfrm>
            <a:off x="9831069" y="3064812"/>
            <a:ext cx="900603" cy="33855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2200" b="1" i="0" u="none" strike="noStrike" kern="1200" cap="none" spc="0" normalizeH="0" baseline="0" noProof="0" dirty="0">
                <a:ln>
                  <a:noFill/>
                </a:ln>
                <a:effectLst/>
                <a:uLnTx/>
                <a:uFillTx/>
                <a:latin typeface="Bahnschrift" panose="020B0502040204020203" pitchFamily="34" charset="0"/>
              </a:rPr>
              <a:t>2050</a:t>
            </a:r>
          </a:p>
        </p:txBody>
      </p:sp>
      <p:grpSp>
        <p:nvGrpSpPr>
          <p:cNvPr id="28" name="CustomIcon">
            <a:extLst>
              <a:ext uri="{FF2B5EF4-FFF2-40B4-BE49-F238E27FC236}">
                <a16:creationId xmlns:a16="http://schemas.microsoft.com/office/drawing/2014/main" id="{DFCC6558-35B1-4037-9B0F-EA1F195B4C7E}"/>
              </a:ext>
            </a:extLst>
          </p:cNvPr>
          <p:cNvGrpSpPr>
            <a:grpSpLocks noChangeAspect="1"/>
          </p:cNvGrpSpPr>
          <p:nvPr>
            <p:custDataLst>
              <p:tags r:id="rId3"/>
            </p:custDataLst>
          </p:nvPr>
        </p:nvGrpSpPr>
        <p:grpSpPr>
          <a:xfrm>
            <a:off x="3061811" y="2068444"/>
            <a:ext cx="1019810" cy="1019810"/>
            <a:chOff x="-205105" y="-205105"/>
            <a:chExt cx="1019810" cy="1019810"/>
          </a:xfrm>
          <a:effectLst>
            <a:outerShdw blurRad="50800" dist="38100" algn="l" rotWithShape="0">
              <a:prstClr val="black">
                <a:alpha val="40000"/>
              </a:prstClr>
            </a:outerShdw>
          </a:effectLst>
        </p:grpSpPr>
        <p:sp>
          <p:nvSpPr>
            <p:cNvPr id="8" name="Oval 7">
              <a:extLst>
                <a:ext uri="{FF2B5EF4-FFF2-40B4-BE49-F238E27FC236}">
                  <a16:creationId xmlns:a16="http://schemas.microsoft.com/office/drawing/2014/main" id="{1F5777C2-3805-4686-BAF3-C3C3C456581D}"/>
                </a:ext>
              </a:extLst>
            </p:cNvPr>
            <p:cNvSpPr>
              <a:spLocks noChangeAspect="1"/>
            </p:cNvSpPr>
            <p:nvPr/>
          </p:nvSpPr>
          <p:spPr>
            <a:xfrm>
              <a:off x="-205105" y="-205105"/>
              <a:ext cx="1019810" cy="1019810"/>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a:ln>
                  <a:noFill/>
                </a:ln>
                <a:solidFill>
                  <a:srgbClr val="FFFFFF"/>
                </a:solidFill>
                <a:effectLst/>
                <a:uLnTx/>
                <a:uFillTx/>
                <a:latin typeface="Bahnschrift" panose="020B0502040204020203" pitchFamily="34" charset="0"/>
              </a:endParaRPr>
            </a:p>
          </p:txBody>
        </p:sp>
        <p:pic>
          <p:nvPicPr>
            <p:cNvPr id="27" name="Graphic 26">
              <a:extLst>
                <a:ext uri="{FF2B5EF4-FFF2-40B4-BE49-F238E27FC236}">
                  <a16:creationId xmlns:a16="http://schemas.microsoft.com/office/drawing/2014/main" id="{7E309637-CAB2-4E67-B7CD-E1727EFEC5C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0" y="0"/>
              <a:ext cx="609600" cy="609600"/>
            </a:xfrm>
            <a:prstGeom prst="rect">
              <a:avLst/>
            </a:prstGeom>
            <a:effectLst>
              <a:outerShdw blurRad="50800" dist="38100" algn="l" rotWithShape="0">
                <a:prstClr val="black">
                  <a:alpha val="40000"/>
                </a:prstClr>
              </a:outerShdw>
            </a:effectLst>
          </p:spPr>
        </p:pic>
      </p:grpSp>
      <p:sp>
        <p:nvSpPr>
          <p:cNvPr id="29" name="TextBox 28">
            <a:extLst>
              <a:ext uri="{FF2B5EF4-FFF2-40B4-BE49-F238E27FC236}">
                <a16:creationId xmlns:a16="http://schemas.microsoft.com/office/drawing/2014/main" id="{37D1C780-C964-4DC8-8341-6166CF639761}"/>
              </a:ext>
            </a:extLst>
          </p:cNvPr>
          <p:cNvSpPr txBox="1">
            <a:spLocks/>
          </p:cNvSpPr>
          <p:nvPr/>
        </p:nvSpPr>
        <p:spPr>
          <a:xfrm>
            <a:off x="3538406" y="3159914"/>
            <a:ext cx="899470"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2400" b="1" i="0" u="none" strike="noStrike" kern="1200" cap="none" spc="0" normalizeH="0" baseline="0" noProof="0" dirty="0">
                <a:ln>
                  <a:noFill/>
                </a:ln>
                <a:solidFill>
                  <a:srgbClr val="000000"/>
                </a:solidFill>
                <a:effectLst/>
                <a:uLnTx/>
                <a:uFillTx/>
                <a:latin typeface="Bahnschrift" panose="020B0502040204020203" pitchFamily="34" charset="0"/>
              </a:rPr>
              <a:t>2030</a:t>
            </a:r>
          </a:p>
        </p:txBody>
      </p:sp>
      <p:sp>
        <p:nvSpPr>
          <p:cNvPr id="30" name="TextBox 29">
            <a:extLst>
              <a:ext uri="{FF2B5EF4-FFF2-40B4-BE49-F238E27FC236}">
                <a16:creationId xmlns:a16="http://schemas.microsoft.com/office/drawing/2014/main" id="{602CE72B-1C30-4D69-A081-2C67BDA43F7A}"/>
              </a:ext>
            </a:extLst>
          </p:cNvPr>
          <p:cNvSpPr txBox="1">
            <a:spLocks/>
          </p:cNvSpPr>
          <p:nvPr/>
        </p:nvSpPr>
        <p:spPr>
          <a:xfrm>
            <a:off x="3546701" y="3541288"/>
            <a:ext cx="3149451"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t>Österreich 46-50% Anteil Erneuerbare am </a:t>
            </a:r>
            <a:r>
              <a:rPr kumimoji="0" lang="de-DE" sz="1400" b="1" i="0" u="none" strike="noStrike" kern="1200" cap="none" spc="0" normalizeH="0" baseline="0" noProof="0" dirty="0">
                <a:ln>
                  <a:noFill/>
                </a:ln>
                <a:solidFill>
                  <a:srgbClr val="000000"/>
                </a:solidFill>
                <a:uLnTx/>
                <a:uFillTx/>
                <a:latin typeface="Bahnschrift" panose="020B0502040204020203" pitchFamily="34" charset="0"/>
              </a:rPr>
              <a:t>gesamten</a:t>
            </a: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t> Energieverbrauch &amp; 100% bilanzieller Stromverbrauch aus  Erneuerbaren</a:t>
            </a:r>
            <a:r>
              <a:rPr kumimoji="0" lang="de-DE" sz="1400" b="1" i="0" u="none" strike="noStrike" kern="1200" cap="none" spc="0" normalizeH="0" baseline="30000" noProof="0" dirty="0">
                <a:ln>
                  <a:noFill/>
                </a:ln>
                <a:solidFill>
                  <a:srgbClr val="000000"/>
                </a:solidFill>
                <a:effectLst/>
                <a:uLnTx/>
                <a:uFillTx/>
                <a:latin typeface="Bahnschrift" panose="020B0502040204020203" pitchFamily="34" charset="0"/>
              </a:rPr>
              <a:t>1</a:t>
            </a: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t>  </a:t>
            </a:r>
          </a:p>
        </p:txBody>
      </p:sp>
      <p:sp>
        <p:nvSpPr>
          <p:cNvPr id="49" name="TextBox 48">
            <a:extLst>
              <a:ext uri="{FF2B5EF4-FFF2-40B4-BE49-F238E27FC236}">
                <a16:creationId xmlns:a16="http://schemas.microsoft.com/office/drawing/2014/main" id="{0E31B3C5-0BF9-4773-A3B3-A0AD624A1F7E}"/>
              </a:ext>
            </a:extLst>
          </p:cNvPr>
          <p:cNvSpPr txBox="1">
            <a:spLocks/>
          </p:cNvSpPr>
          <p:nvPr/>
        </p:nvSpPr>
        <p:spPr>
          <a:xfrm>
            <a:off x="3546703" y="4438870"/>
            <a:ext cx="3076040"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mbitionierte Ausbauziele für PV (11 TWh), Wind (10 TWh), Hydro (5 TWh) &amp; Biomasse (1 TWh) bis 2030</a:t>
            </a:r>
          </a:p>
        </p:txBody>
      </p:sp>
      <p:grpSp>
        <p:nvGrpSpPr>
          <p:cNvPr id="10" name="CustomIcon">
            <a:extLst>
              <a:ext uri="{FF2B5EF4-FFF2-40B4-BE49-F238E27FC236}">
                <a16:creationId xmlns:a16="http://schemas.microsoft.com/office/drawing/2014/main" id="{54842478-CA01-4161-9056-3C694804865B}"/>
              </a:ext>
            </a:extLst>
          </p:cNvPr>
          <p:cNvGrpSpPr>
            <a:grpSpLocks noChangeAspect="1"/>
          </p:cNvGrpSpPr>
          <p:nvPr>
            <p:custDataLst>
              <p:tags r:id="rId4"/>
            </p:custDataLst>
          </p:nvPr>
        </p:nvGrpSpPr>
        <p:grpSpPr>
          <a:xfrm>
            <a:off x="6530164" y="1346607"/>
            <a:ext cx="1019810" cy="1019810"/>
            <a:chOff x="-205105" y="-205105"/>
            <a:chExt cx="1019810" cy="1019810"/>
          </a:xfrm>
          <a:solidFill>
            <a:schemeClr val="accent3"/>
          </a:solidFill>
          <a:effectLst>
            <a:outerShdw blurRad="50800" dist="38100" algn="l" rotWithShape="0">
              <a:prstClr val="black">
                <a:alpha val="40000"/>
              </a:prstClr>
            </a:outerShdw>
          </a:effectLst>
        </p:grpSpPr>
        <p:sp>
          <p:nvSpPr>
            <p:cNvPr id="7" name="Oval 6">
              <a:extLst>
                <a:ext uri="{FF2B5EF4-FFF2-40B4-BE49-F238E27FC236}">
                  <a16:creationId xmlns:a16="http://schemas.microsoft.com/office/drawing/2014/main" id="{2E309A3E-143D-4F60-996B-D3BDBE139D1A}"/>
                </a:ext>
              </a:extLst>
            </p:cNvPr>
            <p:cNvSpPr>
              <a:spLocks noChangeAspect="1"/>
            </p:cNvSpPr>
            <p:nvPr/>
          </p:nvSpPr>
          <p:spPr>
            <a:xfrm>
              <a:off x="-205105" y="-205105"/>
              <a:ext cx="1019810" cy="101981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a:ln>
                  <a:noFill/>
                </a:ln>
                <a:solidFill>
                  <a:srgbClr val="FFFFFF"/>
                </a:solidFill>
                <a:effectLst/>
                <a:uLnTx/>
                <a:uFillTx/>
                <a:latin typeface="Bahnschrift" panose="020B0502040204020203" pitchFamily="34" charset="0"/>
              </a:endParaRPr>
            </a:p>
          </p:txBody>
        </p:sp>
        <p:pic>
          <p:nvPicPr>
            <p:cNvPr id="9" name="Graphic 8">
              <a:extLst>
                <a:ext uri="{FF2B5EF4-FFF2-40B4-BE49-F238E27FC236}">
                  <a16:creationId xmlns:a16="http://schemas.microsoft.com/office/drawing/2014/main" id="{9F2785A5-19AE-4C42-92C2-984DB47608A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0" y="0"/>
              <a:ext cx="609600" cy="609600"/>
            </a:xfrm>
            <a:prstGeom prst="rect">
              <a:avLst/>
            </a:prstGeom>
            <a:effectLst>
              <a:outerShdw blurRad="50800" dist="38100" algn="l" rotWithShape="0">
                <a:prstClr val="black">
                  <a:alpha val="40000"/>
                </a:prstClr>
              </a:outerShdw>
            </a:effectLst>
          </p:spPr>
        </p:pic>
      </p:grpSp>
      <p:grpSp>
        <p:nvGrpSpPr>
          <p:cNvPr id="14" name="CustomIcon">
            <a:extLst>
              <a:ext uri="{FF2B5EF4-FFF2-40B4-BE49-F238E27FC236}">
                <a16:creationId xmlns:a16="http://schemas.microsoft.com/office/drawing/2014/main" id="{036B96DD-E795-4604-B3BC-E735C9D9563E}"/>
              </a:ext>
            </a:extLst>
          </p:cNvPr>
          <p:cNvGrpSpPr>
            <a:grpSpLocks noChangeAspect="1"/>
          </p:cNvGrpSpPr>
          <p:nvPr>
            <p:custDataLst>
              <p:tags r:id="rId5"/>
            </p:custDataLst>
          </p:nvPr>
        </p:nvGrpSpPr>
        <p:grpSpPr>
          <a:xfrm>
            <a:off x="554736" y="3631318"/>
            <a:ext cx="1019810" cy="1019810"/>
            <a:chOff x="-205105" y="-205105"/>
            <a:chExt cx="1019810" cy="1019810"/>
          </a:xfrm>
          <a:effectLst>
            <a:outerShdw blurRad="50800" dist="38100" algn="l" rotWithShape="0">
              <a:prstClr val="black">
                <a:alpha val="40000"/>
              </a:prstClr>
            </a:outerShdw>
          </a:effectLst>
        </p:grpSpPr>
        <p:sp>
          <p:nvSpPr>
            <p:cNvPr id="11" name="Oval 10">
              <a:extLst>
                <a:ext uri="{FF2B5EF4-FFF2-40B4-BE49-F238E27FC236}">
                  <a16:creationId xmlns:a16="http://schemas.microsoft.com/office/drawing/2014/main" id="{30976759-13E1-4328-9E76-207BDB61DCFD}"/>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a:ln>
                  <a:noFill/>
                </a:ln>
                <a:solidFill>
                  <a:srgbClr val="FFFFFF"/>
                </a:solidFill>
                <a:effectLst/>
                <a:uLnTx/>
                <a:uFillTx/>
                <a:latin typeface="Bahnschrift" panose="020B0502040204020203" pitchFamily="34" charset="0"/>
              </a:endParaRPr>
            </a:p>
          </p:txBody>
        </p:sp>
        <p:pic>
          <p:nvPicPr>
            <p:cNvPr id="13" name="Graphic 12">
              <a:extLst>
                <a:ext uri="{FF2B5EF4-FFF2-40B4-BE49-F238E27FC236}">
                  <a16:creationId xmlns:a16="http://schemas.microsoft.com/office/drawing/2014/main" id="{982FCD2E-642E-44BC-B34E-3BBE6B3195F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0" y="0"/>
              <a:ext cx="609600" cy="609600"/>
            </a:xfrm>
            <a:prstGeom prst="rect">
              <a:avLst/>
            </a:prstGeom>
            <a:effectLst>
              <a:outerShdw blurRad="50800" dist="38100" algn="l" rotWithShape="0">
                <a:prstClr val="black">
                  <a:alpha val="40000"/>
                </a:prstClr>
              </a:outerShdw>
            </a:effectLst>
          </p:spPr>
        </p:pic>
      </p:grpSp>
      <p:sp>
        <p:nvSpPr>
          <p:cNvPr id="31" name="TextBox 30">
            <a:extLst>
              <a:ext uri="{FF2B5EF4-FFF2-40B4-BE49-F238E27FC236}">
                <a16:creationId xmlns:a16="http://schemas.microsoft.com/office/drawing/2014/main" id="{2FEE1143-A24D-4C77-ACFF-3DD7BFDA062A}"/>
              </a:ext>
            </a:extLst>
          </p:cNvPr>
          <p:cNvSpPr txBox="1">
            <a:spLocks/>
          </p:cNvSpPr>
          <p:nvPr/>
        </p:nvSpPr>
        <p:spPr>
          <a:xfrm>
            <a:off x="657494" y="4658171"/>
            <a:ext cx="2790335" cy="143116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2400" b="1" i="0" u="none" strike="noStrike" kern="1200" cap="none" spc="0" normalizeH="0" baseline="0" noProof="0" dirty="0">
                <a:ln>
                  <a:noFill/>
                </a:ln>
                <a:solidFill>
                  <a:srgbClr val="000000"/>
                </a:solidFill>
                <a:effectLst/>
                <a:uLnTx/>
                <a:uFillTx/>
                <a:latin typeface="Bahnschrift" panose="020B0502040204020203" pitchFamily="34" charset="0"/>
              </a:rPr>
              <a:t>Heute</a:t>
            </a:r>
            <a:b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b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t>36% Anteil Erneuerbarer </a:t>
            </a:r>
            <a:r>
              <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rPr>
              <a:t>am</a:t>
            </a:r>
            <a:br>
              <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rPr>
            </a:b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t>energetischen Endverbrauch</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Derzeit &lt;80% der Stromproduktion aus Erneuerbaren, insbesondere Hydro (~39 TWh)</a:t>
            </a:r>
            <a:r>
              <a:rPr kumimoji="0" lang="de-DE" sz="1200" b="0" i="0" u="none" strike="noStrike" kern="1200" cap="none" spc="0" normalizeH="0" baseline="-25000" noProof="0" dirty="0">
                <a:ln>
                  <a:noFill/>
                </a:ln>
                <a:solidFill>
                  <a:srgbClr val="000000"/>
                </a:solidFill>
                <a:effectLst/>
                <a:uLnTx/>
                <a:uFillTx/>
                <a:latin typeface="Bahnschrift" panose="020B0502040204020203" pitchFamily="34" charset="0"/>
              </a:rPr>
              <a:t>,</a:t>
            </a: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 Wind (~7 TWh) und PV (~3 TWh)</a:t>
            </a:r>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ndParaRPr>
          </a:p>
        </p:txBody>
      </p:sp>
      <p:sp>
        <p:nvSpPr>
          <p:cNvPr id="35" name="Freeform: Shape 34">
            <a:extLst>
              <a:ext uri="{FF2B5EF4-FFF2-40B4-BE49-F238E27FC236}">
                <a16:creationId xmlns:a16="http://schemas.microsoft.com/office/drawing/2014/main" id="{1D4D5EE3-80CB-4E16-85A1-1A4BDDFD144F}"/>
              </a:ext>
            </a:extLst>
          </p:cNvPr>
          <p:cNvSpPr/>
          <p:nvPr/>
        </p:nvSpPr>
        <p:spPr>
          <a:xfrm rot="203199">
            <a:off x="10391977" y="739953"/>
            <a:ext cx="2009394" cy="1755494"/>
          </a:xfrm>
          <a:custGeom>
            <a:avLst/>
            <a:gdLst>
              <a:gd name="connsiteX0" fmla="*/ 0 w 3784348"/>
              <a:gd name="connsiteY0" fmla="*/ 3723985 h 3723985"/>
              <a:gd name="connsiteX1" fmla="*/ 805758 w 3784348"/>
              <a:gd name="connsiteY1" fmla="*/ 3624397 h 3723985"/>
              <a:gd name="connsiteX2" fmla="*/ 1249378 w 3784348"/>
              <a:gd name="connsiteY2" fmla="*/ 2682837 h 3723985"/>
              <a:gd name="connsiteX3" fmla="*/ 1186004 w 3784348"/>
              <a:gd name="connsiteY3" fmla="*/ 998892 h 3723985"/>
              <a:gd name="connsiteX4" fmla="*/ 1865014 w 3784348"/>
              <a:gd name="connsiteY4" fmla="*/ 175027 h 3723985"/>
              <a:gd name="connsiteX5" fmla="*/ 2516863 w 3784348"/>
              <a:gd name="connsiteY5" fmla="*/ 528112 h 3723985"/>
              <a:gd name="connsiteX6" fmla="*/ 2951429 w 3784348"/>
              <a:gd name="connsiteY6" fmla="*/ 1324817 h 3723985"/>
              <a:gd name="connsiteX7" fmla="*/ 3395049 w 3784348"/>
              <a:gd name="connsiteY7" fmla="*/ 790662 h 3723985"/>
              <a:gd name="connsiteX8" fmla="*/ 3385996 w 3784348"/>
              <a:gd name="connsiteY8" fmla="*/ 120706 h 3723985"/>
              <a:gd name="connsiteX9" fmla="*/ 3784348 w 3784348"/>
              <a:gd name="connsiteY9"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186004 w 3784348"/>
              <a:gd name="connsiteY3" fmla="*/ 998892 h 3723985"/>
              <a:gd name="connsiteX4" fmla="*/ 1865014 w 3784348"/>
              <a:gd name="connsiteY4" fmla="*/ 175027 h 3723985"/>
              <a:gd name="connsiteX5" fmla="*/ 2444436 w 3784348"/>
              <a:gd name="connsiteY5" fmla="*/ 446631 h 3723985"/>
              <a:gd name="connsiteX6" fmla="*/ 2951429 w 3784348"/>
              <a:gd name="connsiteY6" fmla="*/ 1324817 h 3723985"/>
              <a:gd name="connsiteX7" fmla="*/ 3395049 w 3784348"/>
              <a:gd name="connsiteY7" fmla="*/ 790662 h 3723985"/>
              <a:gd name="connsiteX8" fmla="*/ 3385996 w 3784348"/>
              <a:gd name="connsiteY8" fmla="*/ 120706 h 3723985"/>
              <a:gd name="connsiteX9" fmla="*/ 3784348 w 3784348"/>
              <a:gd name="connsiteY9"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186004 w 3784348"/>
              <a:gd name="connsiteY3" fmla="*/ 998892 h 3723985"/>
              <a:gd name="connsiteX4" fmla="*/ 1865014 w 3784348"/>
              <a:gd name="connsiteY4" fmla="*/ 175027 h 3723985"/>
              <a:gd name="connsiteX5" fmla="*/ 2444436 w 3784348"/>
              <a:gd name="connsiteY5" fmla="*/ 446631 h 3723985"/>
              <a:gd name="connsiteX6" fmla="*/ 2951429 w 3784348"/>
              <a:gd name="connsiteY6" fmla="*/ 1333870 h 3723985"/>
              <a:gd name="connsiteX7" fmla="*/ 3395049 w 3784348"/>
              <a:gd name="connsiteY7" fmla="*/ 790662 h 3723985"/>
              <a:gd name="connsiteX8" fmla="*/ 3385996 w 3784348"/>
              <a:gd name="connsiteY8" fmla="*/ 120706 h 3723985"/>
              <a:gd name="connsiteX9" fmla="*/ 3784348 w 3784348"/>
              <a:gd name="connsiteY9"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186004 w 3784348"/>
              <a:gd name="connsiteY3" fmla="*/ 998892 h 3723985"/>
              <a:gd name="connsiteX4" fmla="*/ 1865014 w 3784348"/>
              <a:gd name="connsiteY4" fmla="*/ 175027 h 3723985"/>
              <a:gd name="connsiteX5" fmla="*/ 2444436 w 3784348"/>
              <a:gd name="connsiteY5" fmla="*/ 446631 h 3723985"/>
              <a:gd name="connsiteX6" fmla="*/ 2951429 w 3784348"/>
              <a:gd name="connsiteY6" fmla="*/ 1333870 h 3723985"/>
              <a:gd name="connsiteX7" fmla="*/ 3395049 w 3784348"/>
              <a:gd name="connsiteY7" fmla="*/ 790662 h 3723985"/>
              <a:gd name="connsiteX8" fmla="*/ 3385996 w 3784348"/>
              <a:gd name="connsiteY8" fmla="*/ 120706 h 3723985"/>
              <a:gd name="connsiteX9" fmla="*/ 3784348 w 3784348"/>
              <a:gd name="connsiteY9"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186004 w 3784348"/>
              <a:gd name="connsiteY3" fmla="*/ 998892 h 3723985"/>
              <a:gd name="connsiteX4" fmla="*/ 1865014 w 3784348"/>
              <a:gd name="connsiteY4" fmla="*/ 175027 h 3723985"/>
              <a:gd name="connsiteX5" fmla="*/ 2444436 w 3784348"/>
              <a:gd name="connsiteY5" fmla="*/ 446631 h 3723985"/>
              <a:gd name="connsiteX6" fmla="*/ 2951429 w 3784348"/>
              <a:gd name="connsiteY6" fmla="*/ 1333870 h 3723985"/>
              <a:gd name="connsiteX7" fmla="*/ 3395049 w 3784348"/>
              <a:gd name="connsiteY7" fmla="*/ 790662 h 3723985"/>
              <a:gd name="connsiteX8" fmla="*/ 3385996 w 3784348"/>
              <a:gd name="connsiteY8" fmla="*/ 120706 h 3723985"/>
              <a:gd name="connsiteX9" fmla="*/ 3784348 w 3784348"/>
              <a:gd name="connsiteY9"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186004 w 3784348"/>
              <a:gd name="connsiteY3" fmla="*/ 998892 h 3723985"/>
              <a:gd name="connsiteX4" fmla="*/ 1865014 w 3784348"/>
              <a:gd name="connsiteY4" fmla="*/ 175027 h 3723985"/>
              <a:gd name="connsiteX5" fmla="*/ 2444436 w 3784348"/>
              <a:gd name="connsiteY5" fmla="*/ 446631 h 3723985"/>
              <a:gd name="connsiteX6" fmla="*/ 2951429 w 3784348"/>
              <a:gd name="connsiteY6" fmla="*/ 1333870 h 3723985"/>
              <a:gd name="connsiteX7" fmla="*/ 3385996 w 3784348"/>
              <a:gd name="connsiteY7" fmla="*/ 120706 h 3723985"/>
              <a:gd name="connsiteX8" fmla="*/ 3784348 w 3784348"/>
              <a:gd name="connsiteY8"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186004 w 3784348"/>
              <a:gd name="connsiteY3" fmla="*/ 998892 h 3723985"/>
              <a:gd name="connsiteX4" fmla="*/ 1865014 w 3784348"/>
              <a:gd name="connsiteY4" fmla="*/ 175027 h 3723985"/>
              <a:gd name="connsiteX5" fmla="*/ 2444436 w 3784348"/>
              <a:gd name="connsiteY5" fmla="*/ 446631 h 3723985"/>
              <a:gd name="connsiteX6" fmla="*/ 2951429 w 3784348"/>
              <a:gd name="connsiteY6" fmla="*/ 1333870 h 3723985"/>
              <a:gd name="connsiteX7" fmla="*/ 3385996 w 3784348"/>
              <a:gd name="connsiteY7" fmla="*/ 120706 h 3723985"/>
              <a:gd name="connsiteX8" fmla="*/ 3784348 w 3784348"/>
              <a:gd name="connsiteY8"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186004 w 3784348"/>
              <a:gd name="connsiteY3" fmla="*/ 998892 h 3723985"/>
              <a:gd name="connsiteX4" fmla="*/ 1865014 w 3784348"/>
              <a:gd name="connsiteY4" fmla="*/ 175027 h 3723985"/>
              <a:gd name="connsiteX5" fmla="*/ 2951429 w 3784348"/>
              <a:gd name="connsiteY5" fmla="*/ 1333870 h 3723985"/>
              <a:gd name="connsiteX6" fmla="*/ 3385996 w 3784348"/>
              <a:gd name="connsiteY6" fmla="*/ 120706 h 3723985"/>
              <a:gd name="connsiteX7" fmla="*/ 3784348 w 3784348"/>
              <a:gd name="connsiteY7"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186004 w 3784348"/>
              <a:gd name="connsiteY3" fmla="*/ 998892 h 3723985"/>
              <a:gd name="connsiteX4" fmla="*/ 1865014 w 3784348"/>
              <a:gd name="connsiteY4" fmla="*/ 175027 h 3723985"/>
              <a:gd name="connsiteX5" fmla="*/ 2951429 w 3784348"/>
              <a:gd name="connsiteY5" fmla="*/ 1333870 h 3723985"/>
              <a:gd name="connsiteX6" fmla="*/ 3385996 w 3784348"/>
              <a:gd name="connsiteY6" fmla="*/ 120706 h 3723985"/>
              <a:gd name="connsiteX7" fmla="*/ 3784348 w 3784348"/>
              <a:gd name="connsiteY7"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222218 w 3784348"/>
              <a:gd name="connsiteY3" fmla="*/ 754448 h 3723985"/>
              <a:gd name="connsiteX4" fmla="*/ 1865014 w 3784348"/>
              <a:gd name="connsiteY4" fmla="*/ 175027 h 3723985"/>
              <a:gd name="connsiteX5" fmla="*/ 2951429 w 3784348"/>
              <a:gd name="connsiteY5" fmla="*/ 1333870 h 3723985"/>
              <a:gd name="connsiteX6" fmla="*/ 3385996 w 3784348"/>
              <a:gd name="connsiteY6" fmla="*/ 120706 h 3723985"/>
              <a:gd name="connsiteX7" fmla="*/ 3784348 w 3784348"/>
              <a:gd name="connsiteY7"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865014 w 3784348"/>
              <a:gd name="connsiteY3" fmla="*/ 175027 h 3723985"/>
              <a:gd name="connsiteX4" fmla="*/ 2951429 w 3784348"/>
              <a:gd name="connsiteY4" fmla="*/ 1333870 h 3723985"/>
              <a:gd name="connsiteX5" fmla="*/ 3385996 w 3784348"/>
              <a:gd name="connsiteY5" fmla="*/ 120706 h 3723985"/>
              <a:gd name="connsiteX6" fmla="*/ 3784348 w 3784348"/>
              <a:gd name="connsiteY6" fmla="*/ 3011 h 3723985"/>
              <a:gd name="connsiteX0" fmla="*/ 0 w 3784348"/>
              <a:gd name="connsiteY0" fmla="*/ 3723985 h 3723985"/>
              <a:gd name="connsiteX1" fmla="*/ 805758 w 3784348"/>
              <a:gd name="connsiteY1" fmla="*/ 3624397 h 3723985"/>
              <a:gd name="connsiteX2" fmla="*/ 1249378 w 3784348"/>
              <a:gd name="connsiteY2" fmla="*/ 2682837 h 3723985"/>
              <a:gd name="connsiteX3" fmla="*/ 1865014 w 3784348"/>
              <a:gd name="connsiteY3" fmla="*/ 175027 h 3723985"/>
              <a:gd name="connsiteX4" fmla="*/ 2951429 w 3784348"/>
              <a:gd name="connsiteY4" fmla="*/ 1333870 h 3723985"/>
              <a:gd name="connsiteX5" fmla="*/ 3385996 w 3784348"/>
              <a:gd name="connsiteY5" fmla="*/ 120706 h 3723985"/>
              <a:gd name="connsiteX6" fmla="*/ 3784348 w 3784348"/>
              <a:gd name="connsiteY6" fmla="*/ 3011 h 3723985"/>
              <a:gd name="connsiteX0" fmla="*/ 0 w 3784348"/>
              <a:gd name="connsiteY0" fmla="*/ 3723985 h 3723985"/>
              <a:gd name="connsiteX1" fmla="*/ 805758 w 3784348"/>
              <a:gd name="connsiteY1" fmla="*/ 3624397 h 3723985"/>
              <a:gd name="connsiteX2" fmla="*/ 1865014 w 3784348"/>
              <a:gd name="connsiteY2" fmla="*/ 175027 h 3723985"/>
              <a:gd name="connsiteX3" fmla="*/ 2951429 w 3784348"/>
              <a:gd name="connsiteY3" fmla="*/ 1333870 h 3723985"/>
              <a:gd name="connsiteX4" fmla="*/ 3385996 w 3784348"/>
              <a:gd name="connsiteY4" fmla="*/ 120706 h 3723985"/>
              <a:gd name="connsiteX5" fmla="*/ 3784348 w 3784348"/>
              <a:gd name="connsiteY5" fmla="*/ 3011 h 3723985"/>
              <a:gd name="connsiteX0" fmla="*/ 0 w 3784348"/>
              <a:gd name="connsiteY0" fmla="*/ 3723985 h 3723985"/>
              <a:gd name="connsiteX1" fmla="*/ 1013987 w 3784348"/>
              <a:gd name="connsiteY1" fmla="*/ 3615343 h 3723985"/>
              <a:gd name="connsiteX2" fmla="*/ 1865014 w 3784348"/>
              <a:gd name="connsiteY2" fmla="*/ 175027 h 3723985"/>
              <a:gd name="connsiteX3" fmla="*/ 2951429 w 3784348"/>
              <a:gd name="connsiteY3" fmla="*/ 1333870 h 3723985"/>
              <a:gd name="connsiteX4" fmla="*/ 3385996 w 3784348"/>
              <a:gd name="connsiteY4" fmla="*/ 120706 h 3723985"/>
              <a:gd name="connsiteX5" fmla="*/ 3784348 w 3784348"/>
              <a:gd name="connsiteY5" fmla="*/ 3011 h 3723985"/>
              <a:gd name="connsiteX0" fmla="*/ 0 w 3784348"/>
              <a:gd name="connsiteY0" fmla="*/ 3723985 h 3723985"/>
              <a:gd name="connsiteX1" fmla="*/ 1013987 w 3784348"/>
              <a:gd name="connsiteY1" fmla="*/ 3615343 h 3723985"/>
              <a:gd name="connsiteX2" fmla="*/ 1865014 w 3784348"/>
              <a:gd name="connsiteY2" fmla="*/ 175027 h 3723985"/>
              <a:gd name="connsiteX3" fmla="*/ 2951429 w 3784348"/>
              <a:gd name="connsiteY3" fmla="*/ 1333870 h 3723985"/>
              <a:gd name="connsiteX4" fmla="*/ 3385996 w 3784348"/>
              <a:gd name="connsiteY4" fmla="*/ 120706 h 3723985"/>
              <a:gd name="connsiteX5" fmla="*/ 3784348 w 3784348"/>
              <a:gd name="connsiteY5" fmla="*/ 3011 h 3723985"/>
              <a:gd name="connsiteX0" fmla="*/ 0 w 3784348"/>
              <a:gd name="connsiteY0" fmla="*/ 3723985 h 3723985"/>
              <a:gd name="connsiteX1" fmla="*/ 1865014 w 3784348"/>
              <a:gd name="connsiteY1" fmla="*/ 175027 h 3723985"/>
              <a:gd name="connsiteX2" fmla="*/ 2951429 w 3784348"/>
              <a:gd name="connsiteY2" fmla="*/ 1333870 h 3723985"/>
              <a:gd name="connsiteX3" fmla="*/ 3385996 w 3784348"/>
              <a:gd name="connsiteY3" fmla="*/ 120706 h 3723985"/>
              <a:gd name="connsiteX4" fmla="*/ 3784348 w 3784348"/>
              <a:gd name="connsiteY4" fmla="*/ 3011 h 3723985"/>
              <a:gd name="connsiteX0" fmla="*/ 0 w 3784348"/>
              <a:gd name="connsiteY0" fmla="*/ 3723985 h 3750241"/>
              <a:gd name="connsiteX1" fmla="*/ 1865014 w 3784348"/>
              <a:gd name="connsiteY1" fmla="*/ 175027 h 3750241"/>
              <a:gd name="connsiteX2" fmla="*/ 2951429 w 3784348"/>
              <a:gd name="connsiteY2" fmla="*/ 1333870 h 3750241"/>
              <a:gd name="connsiteX3" fmla="*/ 3385996 w 3784348"/>
              <a:gd name="connsiteY3" fmla="*/ 120706 h 3750241"/>
              <a:gd name="connsiteX4" fmla="*/ 3784348 w 3784348"/>
              <a:gd name="connsiteY4" fmla="*/ 3011 h 3750241"/>
              <a:gd name="connsiteX0" fmla="*/ 0 w 3784348"/>
              <a:gd name="connsiteY0" fmla="*/ 3723985 h 3743671"/>
              <a:gd name="connsiteX1" fmla="*/ 1865014 w 3784348"/>
              <a:gd name="connsiteY1" fmla="*/ 175027 h 3743671"/>
              <a:gd name="connsiteX2" fmla="*/ 2951429 w 3784348"/>
              <a:gd name="connsiteY2" fmla="*/ 1333870 h 3743671"/>
              <a:gd name="connsiteX3" fmla="*/ 3385996 w 3784348"/>
              <a:gd name="connsiteY3" fmla="*/ 120706 h 3743671"/>
              <a:gd name="connsiteX4" fmla="*/ 3784348 w 3784348"/>
              <a:gd name="connsiteY4" fmla="*/ 3011 h 3743671"/>
              <a:gd name="connsiteX0" fmla="*/ 0 w 3784348"/>
              <a:gd name="connsiteY0" fmla="*/ 3723985 h 3743671"/>
              <a:gd name="connsiteX1" fmla="*/ 1865014 w 3784348"/>
              <a:gd name="connsiteY1" fmla="*/ 175027 h 3743671"/>
              <a:gd name="connsiteX2" fmla="*/ 2951429 w 3784348"/>
              <a:gd name="connsiteY2" fmla="*/ 1333870 h 3743671"/>
              <a:gd name="connsiteX3" fmla="*/ 3385996 w 3784348"/>
              <a:gd name="connsiteY3" fmla="*/ 120706 h 3743671"/>
              <a:gd name="connsiteX4" fmla="*/ 3784348 w 3784348"/>
              <a:gd name="connsiteY4" fmla="*/ 3011 h 3743671"/>
              <a:gd name="connsiteX0" fmla="*/ 0 w 3784348"/>
              <a:gd name="connsiteY0" fmla="*/ 3720974 h 3740660"/>
              <a:gd name="connsiteX1" fmla="*/ 1865014 w 3784348"/>
              <a:gd name="connsiteY1" fmla="*/ 172016 h 3740660"/>
              <a:gd name="connsiteX2" fmla="*/ 2951429 w 3784348"/>
              <a:gd name="connsiteY2" fmla="*/ 1330859 h 3740660"/>
              <a:gd name="connsiteX3" fmla="*/ 3784348 w 3784348"/>
              <a:gd name="connsiteY3" fmla="*/ 0 h 3740660"/>
              <a:gd name="connsiteX0" fmla="*/ 0 w 3784348"/>
              <a:gd name="connsiteY0" fmla="*/ 3720974 h 3740660"/>
              <a:gd name="connsiteX1" fmla="*/ 1865014 w 3784348"/>
              <a:gd name="connsiteY1" fmla="*/ 172016 h 3740660"/>
              <a:gd name="connsiteX2" fmla="*/ 2951429 w 3784348"/>
              <a:gd name="connsiteY2" fmla="*/ 1330859 h 3740660"/>
              <a:gd name="connsiteX3" fmla="*/ 3784348 w 3784348"/>
              <a:gd name="connsiteY3" fmla="*/ 0 h 3740660"/>
              <a:gd name="connsiteX0" fmla="*/ 0 w 3784348"/>
              <a:gd name="connsiteY0" fmla="*/ 3720974 h 3741794"/>
              <a:gd name="connsiteX1" fmla="*/ 1865014 w 3784348"/>
              <a:gd name="connsiteY1" fmla="*/ 172016 h 3741794"/>
              <a:gd name="connsiteX2" fmla="*/ 3132499 w 3784348"/>
              <a:gd name="connsiteY2" fmla="*/ 1303699 h 3741794"/>
              <a:gd name="connsiteX3" fmla="*/ 3784348 w 3784348"/>
              <a:gd name="connsiteY3" fmla="*/ 0 h 3741794"/>
              <a:gd name="connsiteX0" fmla="*/ 0 w 3784348"/>
              <a:gd name="connsiteY0" fmla="*/ 3720974 h 3742309"/>
              <a:gd name="connsiteX1" fmla="*/ 1865014 w 3784348"/>
              <a:gd name="connsiteY1" fmla="*/ 172016 h 3742309"/>
              <a:gd name="connsiteX2" fmla="*/ 3132499 w 3784348"/>
              <a:gd name="connsiteY2" fmla="*/ 1303699 h 3742309"/>
              <a:gd name="connsiteX3" fmla="*/ 3784348 w 3784348"/>
              <a:gd name="connsiteY3" fmla="*/ 0 h 3742309"/>
              <a:gd name="connsiteX0" fmla="*/ 0 w 3576118"/>
              <a:gd name="connsiteY0" fmla="*/ 3657599 h 3678934"/>
              <a:gd name="connsiteX1" fmla="*/ 1865014 w 3576118"/>
              <a:gd name="connsiteY1" fmla="*/ 108641 h 3678934"/>
              <a:gd name="connsiteX2" fmla="*/ 3132499 w 3576118"/>
              <a:gd name="connsiteY2" fmla="*/ 1240324 h 3678934"/>
              <a:gd name="connsiteX3" fmla="*/ 3576118 w 3576118"/>
              <a:gd name="connsiteY3" fmla="*/ 0 h 3678934"/>
              <a:gd name="connsiteX0" fmla="*/ 0 w 3576118"/>
              <a:gd name="connsiteY0" fmla="*/ 3665318 h 3686653"/>
              <a:gd name="connsiteX1" fmla="*/ 1865014 w 3576118"/>
              <a:gd name="connsiteY1" fmla="*/ 116360 h 3686653"/>
              <a:gd name="connsiteX2" fmla="*/ 3132499 w 3576118"/>
              <a:gd name="connsiteY2" fmla="*/ 1248043 h 3686653"/>
              <a:gd name="connsiteX3" fmla="*/ 3576118 w 3576118"/>
              <a:gd name="connsiteY3" fmla="*/ 7719 h 3686653"/>
              <a:gd name="connsiteX0" fmla="*/ 0 w 3576118"/>
              <a:gd name="connsiteY0" fmla="*/ 3665417 h 3686254"/>
              <a:gd name="connsiteX1" fmla="*/ 1865014 w 3576118"/>
              <a:gd name="connsiteY1" fmla="*/ 116459 h 3686254"/>
              <a:gd name="connsiteX2" fmla="*/ 2743200 w 3576118"/>
              <a:gd name="connsiteY2" fmla="*/ 1230035 h 3686254"/>
              <a:gd name="connsiteX3" fmla="*/ 3576118 w 3576118"/>
              <a:gd name="connsiteY3" fmla="*/ 7818 h 3686254"/>
              <a:gd name="connsiteX0" fmla="*/ 0 w 3576118"/>
              <a:gd name="connsiteY0" fmla="*/ 3665835 h 3686672"/>
              <a:gd name="connsiteX1" fmla="*/ 1865014 w 3576118"/>
              <a:gd name="connsiteY1" fmla="*/ 116877 h 3686672"/>
              <a:gd name="connsiteX2" fmla="*/ 2743200 w 3576118"/>
              <a:gd name="connsiteY2" fmla="*/ 1230453 h 3686672"/>
              <a:gd name="connsiteX3" fmla="*/ 3576118 w 3576118"/>
              <a:gd name="connsiteY3" fmla="*/ 8236 h 3686672"/>
              <a:gd name="connsiteX0" fmla="*/ 0 w 3576118"/>
              <a:gd name="connsiteY0" fmla="*/ 3665835 h 3686325"/>
              <a:gd name="connsiteX1" fmla="*/ 1865014 w 3576118"/>
              <a:gd name="connsiteY1" fmla="*/ 116877 h 3686325"/>
              <a:gd name="connsiteX2" fmla="*/ 2743200 w 3576118"/>
              <a:gd name="connsiteY2" fmla="*/ 1230453 h 3686325"/>
              <a:gd name="connsiteX3" fmla="*/ 3576118 w 3576118"/>
              <a:gd name="connsiteY3" fmla="*/ 8236 h 3686325"/>
              <a:gd name="connsiteX0" fmla="*/ 0 w 3576118"/>
              <a:gd name="connsiteY0" fmla="*/ 3665835 h 3698931"/>
              <a:gd name="connsiteX1" fmla="*/ 1412341 w 3576118"/>
              <a:gd name="connsiteY1" fmla="*/ 1547324 h 3698931"/>
              <a:gd name="connsiteX2" fmla="*/ 2743200 w 3576118"/>
              <a:gd name="connsiteY2" fmla="*/ 1230453 h 3698931"/>
              <a:gd name="connsiteX3" fmla="*/ 3576118 w 3576118"/>
              <a:gd name="connsiteY3" fmla="*/ 8236 h 3698931"/>
              <a:gd name="connsiteX0" fmla="*/ 0 w 3576118"/>
              <a:gd name="connsiteY0" fmla="*/ 3665835 h 3702082"/>
              <a:gd name="connsiteX1" fmla="*/ 1412341 w 3576118"/>
              <a:gd name="connsiteY1" fmla="*/ 1547324 h 3702082"/>
              <a:gd name="connsiteX2" fmla="*/ 2743200 w 3576118"/>
              <a:gd name="connsiteY2" fmla="*/ 1230453 h 3702082"/>
              <a:gd name="connsiteX3" fmla="*/ 3576118 w 3576118"/>
              <a:gd name="connsiteY3" fmla="*/ 8236 h 3702082"/>
              <a:gd name="connsiteX0" fmla="*/ 0 w 3576118"/>
              <a:gd name="connsiteY0" fmla="*/ 3665835 h 3699643"/>
              <a:gd name="connsiteX1" fmla="*/ 1276539 w 3576118"/>
              <a:gd name="connsiteY1" fmla="*/ 1393415 h 3699643"/>
              <a:gd name="connsiteX2" fmla="*/ 2743200 w 3576118"/>
              <a:gd name="connsiteY2" fmla="*/ 1230453 h 3699643"/>
              <a:gd name="connsiteX3" fmla="*/ 3576118 w 3576118"/>
              <a:gd name="connsiteY3" fmla="*/ 8236 h 3699643"/>
              <a:gd name="connsiteX0" fmla="*/ 0 w 3576118"/>
              <a:gd name="connsiteY0" fmla="*/ 3665835 h 3697673"/>
              <a:gd name="connsiteX1" fmla="*/ 1276539 w 3576118"/>
              <a:gd name="connsiteY1" fmla="*/ 1393415 h 3697673"/>
              <a:gd name="connsiteX2" fmla="*/ 2743200 w 3576118"/>
              <a:gd name="connsiteY2" fmla="*/ 1230453 h 3697673"/>
              <a:gd name="connsiteX3" fmla="*/ 3576118 w 3576118"/>
              <a:gd name="connsiteY3" fmla="*/ 8236 h 3697673"/>
              <a:gd name="connsiteX0" fmla="*/ 0 w 3576118"/>
              <a:gd name="connsiteY0" fmla="*/ 3665835 h 3701541"/>
              <a:gd name="connsiteX1" fmla="*/ 968721 w 3576118"/>
              <a:gd name="connsiteY1" fmla="*/ 1655966 h 3701541"/>
              <a:gd name="connsiteX2" fmla="*/ 2743200 w 3576118"/>
              <a:gd name="connsiteY2" fmla="*/ 1230453 h 3701541"/>
              <a:gd name="connsiteX3" fmla="*/ 3576118 w 3576118"/>
              <a:gd name="connsiteY3" fmla="*/ 8236 h 3701541"/>
              <a:gd name="connsiteX0" fmla="*/ 0 w 3576118"/>
              <a:gd name="connsiteY0" fmla="*/ 3665835 h 3700828"/>
              <a:gd name="connsiteX1" fmla="*/ 968721 w 3576118"/>
              <a:gd name="connsiteY1" fmla="*/ 1655966 h 3700828"/>
              <a:gd name="connsiteX2" fmla="*/ 2743200 w 3576118"/>
              <a:gd name="connsiteY2" fmla="*/ 1230453 h 3700828"/>
              <a:gd name="connsiteX3" fmla="*/ 3576118 w 3576118"/>
              <a:gd name="connsiteY3" fmla="*/ 8236 h 3700828"/>
              <a:gd name="connsiteX0" fmla="*/ 0 w 3576118"/>
              <a:gd name="connsiteY0" fmla="*/ 3665835 h 3704024"/>
              <a:gd name="connsiteX1" fmla="*/ 968721 w 3576118"/>
              <a:gd name="connsiteY1" fmla="*/ 1655966 h 3704024"/>
              <a:gd name="connsiteX2" fmla="*/ 2743200 w 3576118"/>
              <a:gd name="connsiteY2" fmla="*/ 1230453 h 3704024"/>
              <a:gd name="connsiteX3" fmla="*/ 3576118 w 3576118"/>
              <a:gd name="connsiteY3" fmla="*/ 8236 h 3704024"/>
              <a:gd name="connsiteX0" fmla="*/ 0 w 3576118"/>
              <a:gd name="connsiteY0" fmla="*/ 3666237 h 3704426"/>
              <a:gd name="connsiteX1" fmla="*/ 968721 w 3576118"/>
              <a:gd name="connsiteY1" fmla="*/ 1656368 h 3704426"/>
              <a:gd name="connsiteX2" fmla="*/ 2743200 w 3576118"/>
              <a:gd name="connsiteY2" fmla="*/ 1230855 h 3704426"/>
              <a:gd name="connsiteX3" fmla="*/ 3576118 w 3576118"/>
              <a:gd name="connsiteY3" fmla="*/ 8638 h 3704426"/>
              <a:gd name="connsiteX0" fmla="*/ 0 w 3576118"/>
              <a:gd name="connsiteY0" fmla="*/ 3666237 h 3702385"/>
              <a:gd name="connsiteX1" fmla="*/ 968721 w 3576118"/>
              <a:gd name="connsiteY1" fmla="*/ 1656368 h 3702385"/>
              <a:gd name="connsiteX2" fmla="*/ 2743200 w 3576118"/>
              <a:gd name="connsiteY2" fmla="*/ 1230855 h 3702385"/>
              <a:gd name="connsiteX3" fmla="*/ 3576118 w 3576118"/>
              <a:gd name="connsiteY3" fmla="*/ 8638 h 3702385"/>
              <a:gd name="connsiteX0" fmla="*/ 0 w 3576118"/>
              <a:gd name="connsiteY0" fmla="*/ 3666237 h 3705974"/>
              <a:gd name="connsiteX1" fmla="*/ 968721 w 3576118"/>
              <a:gd name="connsiteY1" fmla="*/ 1656368 h 3705974"/>
              <a:gd name="connsiteX2" fmla="*/ 2743200 w 3576118"/>
              <a:gd name="connsiteY2" fmla="*/ 1230855 h 3705974"/>
              <a:gd name="connsiteX3" fmla="*/ 3576118 w 3576118"/>
              <a:gd name="connsiteY3" fmla="*/ 8638 h 3705974"/>
              <a:gd name="connsiteX0" fmla="*/ 0 w 3576118"/>
              <a:gd name="connsiteY0" fmla="*/ 3657599 h 3697336"/>
              <a:gd name="connsiteX1" fmla="*/ 968721 w 3576118"/>
              <a:gd name="connsiteY1" fmla="*/ 1647730 h 3697336"/>
              <a:gd name="connsiteX2" fmla="*/ 2743200 w 3576118"/>
              <a:gd name="connsiteY2" fmla="*/ 1222217 h 3697336"/>
              <a:gd name="connsiteX3" fmla="*/ 3576118 w 3576118"/>
              <a:gd name="connsiteY3" fmla="*/ 0 h 3697336"/>
              <a:gd name="connsiteX0" fmla="*/ 0 w 3742064"/>
              <a:gd name="connsiteY0" fmla="*/ 3621385 h 3661122"/>
              <a:gd name="connsiteX1" fmla="*/ 968721 w 3742064"/>
              <a:gd name="connsiteY1" fmla="*/ 1611516 h 3661122"/>
              <a:gd name="connsiteX2" fmla="*/ 2743200 w 3742064"/>
              <a:gd name="connsiteY2" fmla="*/ 1186003 h 3661122"/>
              <a:gd name="connsiteX3" fmla="*/ 3742064 w 3742064"/>
              <a:gd name="connsiteY3" fmla="*/ 0 h 3661122"/>
              <a:gd name="connsiteX0" fmla="*/ 0 w 3426769"/>
              <a:gd name="connsiteY0" fmla="*/ 3539903 h 3579640"/>
              <a:gd name="connsiteX1" fmla="*/ 968721 w 3426769"/>
              <a:gd name="connsiteY1" fmla="*/ 1530034 h 3579640"/>
              <a:gd name="connsiteX2" fmla="*/ 2743200 w 3426769"/>
              <a:gd name="connsiteY2" fmla="*/ 1104521 h 3579640"/>
              <a:gd name="connsiteX3" fmla="*/ 3426769 w 3426769"/>
              <a:gd name="connsiteY3" fmla="*/ 0 h 3579640"/>
              <a:gd name="connsiteX0" fmla="*/ 0 w 3825037"/>
              <a:gd name="connsiteY0" fmla="*/ 3603277 h 3643014"/>
              <a:gd name="connsiteX1" fmla="*/ 968721 w 3825037"/>
              <a:gd name="connsiteY1" fmla="*/ 1593408 h 3643014"/>
              <a:gd name="connsiteX2" fmla="*/ 2743200 w 3825037"/>
              <a:gd name="connsiteY2" fmla="*/ 1167895 h 3643014"/>
              <a:gd name="connsiteX3" fmla="*/ 3825037 w 3825037"/>
              <a:gd name="connsiteY3" fmla="*/ 0 h 3643014"/>
              <a:gd name="connsiteX0" fmla="*/ 0 w 3825037"/>
              <a:gd name="connsiteY0" fmla="*/ 3603277 h 3643014"/>
              <a:gd name="connsiteX1" fmla="*/ 968721 w 3825037"/>
              <a:gd name="connsiteY1" fmla="*/ 1593408 h 3643014"/>
              <a:gd name="connsiteX2" fmla="*/ 2743200 w 3825037"/>
              <a:gd name="connsiteY2" fmla="*/ 1167895 h 3643014"/>
              <a:gd name="connsiteX3" fmla="*/ 3825037 w 3825037"/>
              <a:gd name="connsiteY3" fmla="*/ 0 h 3643014"/>
              <a:gd name="connsiteX0" fmla="*/ 0 w 3825037"/>
              <a:gd name="connsiteY0" fmla="*/ 3603277 h 3640755"/>
              <a:gd name="connsiteX1" fmla="*/ 1159559 w 3825037"/>
              <a:gd name="connsiteY1" fmla="*/ 1475713 h 3640755"/>
              <a:gd name="connsiteX2" fmla="*/ 2743200 w 3825037"/>
              <a:gd name="connsiteY2" fmla="*/ 1167895 h 3640755"/>
              <a:gd name="connsiteX3" fmla="*/ 3825037 w 3825037"/>
              <a:gd name="connsiteY3" fmla="*/ 0 h 3640755"/>
              <a:gd name="connsiteX0" fmla="*/ 0 w 3825037"/>
              <a:gd name="connsiteY0" fmla="*/ 3603277 h 3639821"/>
              <a:gd name="connsiteX1" fmla="*/ 1159559 w 3825037"/>
              <a:gd name="connsiteY1" fmla="*/ 1475713 h 3639821"/>
              <a:gd name="connsiteX2" fmla="*/ 2743200 w 3825037"/>
              <a:gd name="connsiteY2" fmla="*/ 1167895 h 3639821"/>
              <a:gd name="connsiteX3" fmla="*/ 3825037 w 3825037"/>
              <a:gd name="connsiteY3" fmla="*/ 0 h 3639821"/>
              <a:gd name="connsiteX0" fmla="*/ 0 w 3825037"/>
              <a:gd name="connsiteY0" fmla="*/ 3603277 h 3637183"/>
              <a:gd name="connsiteX1" fmla="*/ 1159559 w 3825037"/>
              <a:gd name="connsiteY1" fmla="*/ 1475713 h 3637183"/>
              <a:gd name="connsiteX2" fmla="*/ 2809578 w 3825037"/>
              <a:gd name="connsiteY2" fmla="*/ 1149788 h 3637183"/>
              <a:gd name="connsiteX3" fmla="*/ 3825037 w 3825037"/>
              <a:gd name="connsiteY3" fmla="*/ 0 h 3637183"/>
              <a:gd name="connsiteX0" fmla="*/ 0 w 3825037"/>
              <a:gd name="connsiteY0" fmla="*/ 3603277 h 3640649"/>
              <a:gd name="connsiteX1" fmla="*/ 1159559 w 3825037"/>
              <a:gd name="connsiteY1" fmla="*/ 1475713 h 3640649"/>
              <a:gd name="connsiteX2" fmla="*/ 2809578 w 3825037"/>
              <a:gd name="connsiteY2" fmla="*/ 1149788 h 3640649"/>
              <a:gd name="connsiteX3" fmla="*/ 3825037 w 3825037"/>
              <a:gd name="connsiteY3" fmla="*/ 0 h 3640649"/>
              <a:gd name="connsiteX0" fmla="*/ 0 w 3990982"/>
              <a:gd name="connsiteY0" fmla="*/ 3458421 h 3494236"/>
              <a:gd name="connsiteX1" fmla="*/ 1325504 w 3990982"/>
              <a:gd name="connsiteY1" fmla="*/ 1475713 h 3494236"/>
              <a:gd name="connsiteX2" fmla="*/ 2975523 w 3990982"/>
              <a:gd name="connsiteY2" fmla="*/ 1149788 h 3494236"/>
              <a:gd name="connsiteX3" fmla="*/ 3990982 w 3990982"/>
              <a:gd name="connsiteY3" fmla="*/ 0 h 3494236"/>
              <a:gd name="connsiteX0" fmla="*/ 0 w 3990982"/>
              <a:gd name="connsiteY0" fmla="*/ 3458421 h 3463649"/>
              <a:gd name="connsiteX1" fmla="*/ 1325504 w 3990982"/>
              <a:gd name="connsiteY1" fmla="*/ 1475713 h 3463649"/>
              <a:gd name="connsiteX2" fmla="*/ 2975523 w 3990982"/>
              <a:gd name="connsiteY2" fmla="*/ 1149788 h 3463649"/>
              <a:gd name="connsiteX3" fmla="*/ 3990982 w 3990982"/>
              <a:gd name="connsiteY3" fmla="*/ 0 h 3463649"/>
              <a:gd name="connsiteX0" fmla="*/ 0 w 3990982"/>
              <a:gd name="connsiteY0" fmla="*/ 3458421 h 3464103"/>
              <a:gd name="connsiteX1" fmla="*/ 1325504 w 3990982"/>
              <a:gd name="connsiteY1" fmla="*/ 1475713 h 3464103"/>
              <a:gd name="connsiteX2" fmla="*/ 2975523 w 3990982"/>
              <a:gd name="connsiteY2" fmla="*/ 1149788 h 3464103"/>
              <a:gd name="connsiteX3" fmla="*/ 3990982 w 3990982"/>
              <a:gd name="connsiteY3" fmla="*/ 0 h 3464103"/>
              <a:gd name="connsiteX0" fmla="*/ 0 w 3990982"/>
              <a:gd name="connsiteY0" fmla="*/ 3458421 h 3463628"/>
              <a:gd name="connsiteX1" fmla="*/ 1325504 w 3990982"/>
              <a:gd name="connsiteY1" fmla="*/ 1475713 h 3463628"/>
              <a:gd name="connsiteX2" fmla="*/ 2776388 w 3990982"/>
              <a:gd name="connsiteY2" fmla="*/ 1195055 h 3463628"/>
              <a:gd name="connsiteX3" fmla="*/ 3990982 w 3990982"/>
              <a:gd name="connsiteY3" fmla="*/ 0 h 3463628"/>
              <a:gd name="connsiteX0" fmla="*/ 0 w 3990982"/>
              <a:gd name="connsiteY0" fmla="*/ 3458421 h 3463815"/>
              <a:gd name="connsiteX1" fmla="*/ 1325504 w 3990982"/>
              <a:gd name="connsiteY1" fmla="*/ 1475713 h 3463815"/>
              <a:gd name="connsiteX2" fmla="*/ 2776388 w 3990982"/>
              <a:gd name="connsiteY2" fmla="*/ 1195055 h 3463815"/>
              <a:gd name="connsiteX3" fmla="*/ 3990982 w 3990982"/>
              <a:gd name="connsiteY3" fmla="*/ 0 h 3463815"/>
              <a:gd name="connsiteX0" fmla="*/ 0 w 3990982"/>
              <a:gd name="connsiteY0" fmla="*/ 3458421 h 3464143"/>
              <a:gd name="connsiteX1" fmla="*/ 1433369 w 3990982"/>
              <a:gd name="connsiteY1" fmla="*/ 1575301 h 3464143"/>
              <a:gd name="connsiteX2" fmla="*/ 2776388 w 3990982"/>
              <a:gd name="connsiteY2" fmla="*/ 1195055 h 3464143"/>
              <a:gd name="connsiteX3" fmla="*/ 3990982 w 3990982"/>
              <a:gd name="connsiteY3" fmla="*/ 0 h 3464143"/>
            </a:gdLst>
            <a:ahLst/>
            <a:cxnLst>
              <a:cxn ang="0">
                <a:pos x="connsiteX0" y="connsiteY0"/>
              </a:cxn>
              <a:cxn ang="0">
                <a:pos x="connsiteX1" y="connsiteY1"/>
              </a:cxn>
              <a:cxn ang="0">
                <a:pos x="connsiteX2" y="connsiteY2"/>
              </a:cxn>
              <a:cxn ang="0">
                <a:pos x="connsiteX3" y="connsiteY3"/>
              </a:cxn>
            </a:cxnLst>
            <a:rect l="l" t="t" r="r" b="b"/>
            <a:pathLst>
              <a:path w="3990982" h="3464143">
                <a:moveTo>
                  <a:pt x="0" y="3458421"/>
                </a:moveTo>
                <a:cubicBezTo>
                  <a:pt x="1462215" y="3570080"/>
                  <a:pt x="1103394" y="2015903"/>
                  <a:pt x="1433369" y="1575301"/>
                </a:cubicBezTo>
                <a:cubicBezTo>
                  <a:pt x="1763344" y="1134699"/>
                  <a:pt x="2038531" y="1285590"/>
                  <a:pt x="2776388" y="1195055"/>
                </a:cubicBezTo>
                <a:cubicBezTo>
                  <a:pt x="3740582" y="1041146"/>
                  <a:pt x="3262234" y="195780"/>
                  <a:pt x="3990982" y="0"/>
                </a:cubicBezTo>
              </a:path>
            </a:pathLst>
          </a:custGeom>
          <a:noFill/>
          <a:ln w="19050" cap="sq">
            <a:solidFill>
              <a:srgbClr val="004FA1"/>
            </a:solid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endParaRPr>
          </a:p>
        </p:txBody>
      </p:sp>
      <p:grpSp>
        <p:nvGrpSpPr>
          <p:cNvPr id="20" name="CustomIcon">
            <a:extLst>
              <a:ext uri="{FF2B5EF4-FFF2-40B4-BE49-F238E27FC236}">
                <a16:creationId xmlns:a16="http://schemas.microsoft.com/office/drawing/2014/main" id="{7624FC70-BEB5-4CC3-8209-4A3DC99292AF}"/>
              </a:ext>
            </a:extLst>
          </p:cNvPr>
          <p:cNvGrpSpPr>
            <a:grpSpLocks noChangeAspect="1"/>
          </p:cNvGrpSpPr>
          <p:nvPr>
            <p:custDataLst>
              <p:tags r:id="rId6"/>
            </p:custDataLst>
          </p:nvPr>
        </p:nvGrpSpPr>
        <p:grpSpPr>
          <a:xfrm>
            <a:off x="9625964" y="1769918"/>
            <a:ext cx="1019810" cy="1019810"/>
            <a:chOff x="-205105" y="-205105"/>
            <a:chExt cx="1019810" cy="1019810"/>
          </a:xfrm>
          <a:solidFill>
            <a:schemeClr val="accent4"/>
          </a:solidFill>
          <a:effectLst>
            <a:outerShdw blurRad="50800" dist="38100" algn="l" rotWithShape="0">
              <a:prstClr val="black">
                <a:alpha val="40000"/>
              </a:prstClr>
            </a:outerShdw>
          </a:effectLst>
        </p:grpSpPr>
        <p:sp>
          <p:nvSpPr>
            <p:cNvPr id="21" name="Oval 20">
              <a:extLst>
                <a:ext uri="{FF2B5EF4-FFF2-40B4-BE49-F238E27FC236}">
                  <a16:creationId xmlns:a16="http://schemas.microsoft.com/office/drawing/2014/main" id="{37BF0FD7-45AD-47D7-8E6C-81CBFA0C69D7}"/>
                </a:ext>
              </a:extLst>
            </p:cNvPr>
            <p:cNvSpPr>
              <a:spLocks noChangeAspect="1"/>
            </p:cNvSpPr>
            <p:nvPr/>
          </p:nvSpPr>
          <p:spPr>
            <a:xfrm>
              <a:off x="-205105" y="-205105"/>
              <a:ext cx="1019810" cy="101981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a:ln>
                  <a:noFill/>
                </a:ln>
                <a:solidFill>
                  <a:srgbClr val="FFFFFF"/>
                </a:solidFill>
                <a:effectLst/>
                <a:uLnTx/>
                <a:uFillTx/>
                <a:latin typeface="Bahnschrift" panose="020B0502040204020203" pitchFamily="34" charset="0"/>
              </a:endParaRPr>
            </a:p>
          </p:txBody>
        </p:sp>
        <p:pic>
          <p:nvPicPr>
            <p:cNvPr id="22" name="Graphic 21">
              <a:extLst>
                <a:ext uri="{FF2B5EF4-FFF2-40B4-BE49-F238E27FC236}">
                  <a16:creationId xmlns:a16="http://schemas.microsoft.com/office/drawing/2014/main" id="{DA1A8148-09CE-4FAC-9456-8A781B88D50B}"/>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0" y="0"/>
              <a:ext cx="609600" cy="609600"/>
            </a:xfrm>
            <a:prstGeom prst="rect">
              <a:avLst/>
            </a:prstGeom>
            <a:effectLst>
              <a:outerShdw blurRad="50800" dist="38100" algn="l" rotWithShape="0">
                <a:prstClr val="black">
                  <a:alpha val="40000"/>
                </a:prstClr>
              </a:outerShdw>
            </a:effectLst>
          </p:spPr>
        </p:pic>
      </p:grpSp>
      <p:sp>
        <p:nvSpPr>
          <p:cNvPr id="39" name="Title 1">
            <a:extLst>
              <a:ext uri="{FF2B5EF4-FFF2-40B4-BE49-F238E27FC236}">
                <a16:creationId xmlns:a16="http://schemas.microsoft.com/office/drawing/2014/main" id="{DF1ECB04-CEC6-46A2-BCBE-DE086F13E7D1}"/>
              </a:ext>
            </a:extLst>
          </p:cNvPr>
          <p:cNvSpPr>
            <a:spLocks noGrp="1"/>
          </p:cNvSpPr>
          <p:nvPr>
            <p:ph type="title"/>
          </p:nvPr>
        </p:nvSpPr>
        <p:spPr>
          <a:xfrm>
            <a:off x="838799" y="295246"/>
            <a:ext cx="10231278" cy="936625"/>
          </a:xfrm>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r>
              <a:rPr lang="de-DE" dirty="0"/>
              <a:t>Die Bundesregierung hat sich ambitionierte Ziele gesetzt: 100% Grünstrom bis 2030 und Klimaneutralität bis 2040</a:t>
            </a:r>
          </a:p>
        </p:txBody>
      </p:sp>
      <p:sp>
        <p:nvSpPr>
          <p:cNvPr id="37" name="5. Source">
            <a:extLst>
              <a:ext uri="{FF2B5EF4-FFF2-40B4-BE49-F238E27FC236}">
                <a16:creationId xmlns:a16="http://schemas.microsoft.com/office/drawing/2014/main" id="{4095515A-4473-465E-B987-8B60008698BB}"/>
              </a:ext>
            </a:extLst>
          </p:cNvPr>
          <p:cNvSpPr txBox="1"/>
          <p:nvPr>
            <p:custDataLst>
              <p:tags r:id="rId7"/>
            </p:custDataLst>
          </p:nvPr>
        </p:nvSpPr>
        <p:spPr>
          <a:xfrm>
            <a:off x="8808258" y="6531316"/>
            <a:ext cx="2286001" cy="123111"/>
          </a:xfrm>
          <a:prstGeom prst="rect">
            <a:avLst/>
          </a:prstGeom>
          <a:noFill/>
          <a:ln>
            <a:noFill/>
          </a:ln>
        </p:spPr>
        <p:txBody>
          <a:bodyPr vert="horz" wrap="square" lIns="0" tIns="0" rIns="0" bIns="0" rtlCol="0" anchor="b" anchorCtr="0">
            <a:spAutoFit/>
          </a:bodyPr>
          <a:lstStyle/>
          <a:p>
            <a:r>
              <a:rPr lang="fr-FR" sz="800" dirty="0">
                <a:solidFill>
                  <a:srgbClr val="004FA1"/>
                </a:solidFill>
                <a:latin typeface="Bahnschrift" panose="020B0502040204020203" pitchFamily="34" charset="0"/>
              </a:rPr>
              <a:t>Quelle: WKO, BMK</a:t>
            </a:r>
          </a:p>
        </p:txBody>
      </p:sp>
      <p:sp>
        <p:nvSpPr>
          <p:cNvPr id="4" name="Slide Number Placeholder 3">
            <a:extLst>
              <a:ext uri="{FF2B5EF4-FFF2-40B4-BE49-F238E27FC236}">
                <a16:creationId xmlns:a16="http://schemas.microsoft.com/office/drawing/2014/main" id="{AC3C24EE-C52A-457D-B566-3BE74FAC1C9F}"/>
              </a:ext>
            </a:extLst>
          </p:cNvPr>
          <p:cNvSpPr>
            <a:spLocks noGrp="1"/>
          </p:cNvSpPr>
          <p:nvPr>
            <p:ph type="sldNum" sz="quarter" idx="10"/>
          </p:nvPr>
        </p:nvSpPr>
        <p:spPr>
          <a:xfrm>
            <a:off x="167426" y="6245225"/>
            <a:ext cx="1202016" cy="476250"/>
          </a:xfrm>
        </p:spPr>
        <p:txBody>
          <a:bodyPr/>
          <a:lstStyle/>
          <a:p>
            <a:fld id="{01920E2B-FC99-4A38-BFFD-416A818AECB0}" type="slidenum">
              <a:rPr lang="de-AT" smtClean="0"/>
              <a:pPr/>
              <a:t>11</a:t>
            </a:fld>
            <a:endParaRPr lang="de-AT" dirty="0"/>
          </a:p>
        </p:txBody>
      </p:sp>
      <p:sp>
        <p:nvSpPr>
          <p:cNvPr id="38" name="TextBox 37">
            <a:extLst>
              <a:ext uri="{FF2B5EF4-FFF2-40B4-BE49-F238E27FC236}">
                <a16:creationId xmlns:a16="http://schemas.microsoft.com/office/drawing/2014/main" id="{5F02DB08-59CA-404F-B98C-58911B9A7BE0}"/>
              </a:ext>
            </a:extLst>
          </p:cNvPr>
          <p:cNvSpPr txBox="1">
            <a:spLocks/>
          </p:cNvSpPr>
          <p:nvPr/>
        </p:nvSpPr>
        <p:spPr>
          <a:xfrm>
            <a:off x="3546701" y="5078584"/>
            <a:ext cx="3149451"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400" b="1" i="0" u="none" strike="noStrike" kern="1200" cap="none" spc="0" normalizeH="0" baseline="0" noProof="0" dirty="0">
                <a:ln>
                  <a:noFill/>
                </a:ln>
                <a:solidFill>
                  <a:schemeClr val="accent1"/>
                </a:solidFill>
                <a:effectLst/>
                <a:uLnTx/>
                <a:uFillTx/>
                <a:latin typeface="Bahnschrift" panose="020B0502040204020203" pitchFamily="34" charset="0"/>
              </a:rPr>
              <a:t>EU-Ziele:</a:t>
            </a:r>
            <a:br>
              <a:rPr kumimoji="0" lang="de-DE" sz="1400" i="0" u="none" strike="noStrike" kern="1200" cap="none" spc="0" normalizeH="0" baseline="0" noProof="0" dirty="0">
                <a:ln>
                  <a:noFill/>
                </a:ln>
                <a:solidFill>
                  <a:schemeClr val="accent1"/>
                </a:solidFill>
                <a:effectLst/>
                <a:uLnTx/>
                <a:uFillTx/>
                <a:latin typeface="Bahnschrift" panose="020B0502040204020203" pitchFamily="34" charset="0"/>
              </a:rPr>
            </a:br>
            <a:r>
              <a:rPr kumimoji="0" lang="de-DE" sz="1400" i="0" u="none" strike="noStrike" kern="1200" cap="none" spc="0" normalizeH="0" baseline="0" noProof="0" dirty="0">
                <a:ln>
                  <a:noFill/>
                </a:ln>
                <a:solidFill>
                  <a:schemeClr val="accent1"/>
                </a:solidFill>
                <a:effectLst/>
                <a:uLnTx/>
                <a:uFillTx/>
                <a:latin typeface="Bahnschrift" panose="020B0502040204020203" pitchFamily="34" charset="0"/>
              </a:rPr>
              <a:t>55% Reduktion der THG-Emissionen</a:t>
            </a:r>
            <a:br>
              <a:rPr kumimoji="0" lang="de-DE" sz="1400" i="0" u="none" strike="noStrike" kern="1200" cap="none" spc="0" normalizeH="0" baseline="0" noProof="0" dirty="0">
                <a:ln>
                  <a:noFill/>
                </a:ln>
                <a:solidFill>
                  <a:schemeClr val="accent1"/>
                </a:solidFill>
                <a:effectLst/>
                <a:uLnTx/>
                <a:uFillTx/>
                <a:latin typeface="Bahnschrift" panose="020B0502040204020203" pitchFamily="34" charset="0"/>
              </a:rPr>
            </a:br>
            <a:r>
              <a:rPr kumimoji="0" lang="de-DE" sz="1400" i="0" u="none" strike="noStrike" kern="1200" cap="none" spc="0" normalizeH="0" baseline="0" noProof="0" dirty="0">
                <a:ln>
                  <a:noFill/>
                </a:ln>
                <a:solidFill>
                  <a:schemeClr val="accent1"/>
                </a:solidFill>
                <a:effectLst/>
                <a:uLnTx/>
                <a:uFillTx/>
                <a:latin typeface="Bahnschrift" panose="020B0502040204020203" pitchFamily="34" charset="0"/>
              </a:rPr>
              <a:t>42,5% Anteil Erneuerbare</a:t>
            </a:r>
            <a:br>
              <a:rPr kumimoji="0" lang="de-DE" sz="1400" i="0" u="none" strike="noStrike" kern="1200" cap="none" spc="0" normalizeH="0" baseline="0" noProof="0" dirty="0">
                <a:ln>
                  <a:noFill/>
                </a:ln>
                <a:solidFill>
                  <a:schemeClr val="accent1"/>
                </a:solidFill>
                <a:effectLst/>
                <a:uLnTx/>
                <a:uFillTx/>
                <a:latin typeface="Bahnschrift" panose="020B0502040204020203" pitchFamily="34" charset="0"/>
              </a:rPr>
            </a:br>
            <a:r>
              <a:rPr kumimoji="0" lang="de-DE" sz="1400" i="0" u="none" strike="noStrike" kern="1200" cap="none" spc="0" normalizeH="0" baseline="0" noProof="0" dirty="0">
                <a:ln>
                  <a:noFill/>
                </a:ln>
                <a:solidFill>
                  <a:schemeClr val="accent1"/>
                </a:solidFill>
                <a:effectLst/>
                <a:uLnTx/>
                <a:uFillTx/>
                <a:latin typeface="Bahnschrift" panose="020B0502040204020203" pitchFamily="34" charset="0"/>
              </a:rPr>
              <a:t>20 </a:t>
            </a:r>
            <a:r>
              <a:rPr kumimoji="0" lang="de-DE" sz="1400" i="0" u="none" strike="noStrike" kern="1200" cap="none" spc="0" normalizeH="0" baseline="0" noProof="0" dirty="0" err="1">
                <a:ln>
                  <a:noFill/>
                </a:ln>
                <a:solidFill>
                  <a:schemeClr val="accent1"/>
                </a:solidFill>
                <a:effectLst/>
                <a:uLnTx/>
                <a:uFillTx/>
                <a:latin typeface="Bahnschrift" panose="020B0502040204020203" pitchFamily="34" charset="0"/>
              </a:rPr>
              <a:t>Mt</a:t>
            </a:r>
            <a:r>
              <a:rPr kumimoji="0" lang="de-DE" sz="1400" i="0" u="none" strike="noStrike" kern="1200" cap="none" spc="0" normalizeH="0" baseline="0" noProof="0" dirty="0">
                <a:ln>
                  <a:noFill/>
                </a:ln>
                <a:solidFill>
                  <a:schemeClr val="accent1"/>
                </a:solidFill>
                <a:effectLst/>
                <a:uLnTx/>
                <a:uFillTx/>
                <a:latin typeface="Bahnschrift" panose="020B0502040204020203" pitchFamily="34" charset="0"/>
              </a:rPr>
              <a:t> H2 (50% aus Europa, 50% Import)</a:t>
            </a:r>
          </a:p>
        </p:txBody>
      </p:sp>
      <p:sp>
        <p:nvSpPr>
          <p:cNvPr id="41" name="TextBox 40">
            <a:extLst>
              <a:ext uri="{FF2B5EF4-FFF2-40B4-BE49-F238E27FC236}">
                <a16:creationId xmlns:a16="http://schemas.microsoft.com/office/drawing/2014/main" id="{D4123B89-C207-4A24-81B4-2058F4684D55}"/>
              </a:ext>
            </a:extLst>
          </p:cNvPr>
          <p:cNvSpPr txBox="1">
            <a:spLocks/>
          </p:cNvSpPr>
          <p:nvPr/>
        </p:nvSpPr>
        <p:spPr>
          <a:xfrm>
            <a:off x="9831069" y="3389044"/>
            <a:ext cx="1703437"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400" i="0" u="none" strike="noStrike" kern="1200" cap="none" spc="0" normalizeH="0" baseline="0" noProof="0" dirty="0">
                <a:ln>
                  <a:noFill/>
                </a:ln>
                <a:solidFill>
                  <a:schemeClr val="accent1"/>
                </a:solidFill>
                <a:effectLst/>
                <a:uLnTx/>
                <a:uFillTx/>
                <a:latin typeface="Bahnschrift" panose="020B0502040204020203" pitchFamily="34" charset="0"/>
              </a:rPr>
              <a:t>Klimaneutralität, inklusive Emissionshandels-sektor</a:t>
            </a:r>
          </a:p>
        </p:txBody>
      </p:sp>
    </p:spTree>
    <p:extLst>
      <p:ext uri="{BB962C8B-B14F-4D97-AF65-F5344CB8AC3E}">
        <p14:creationId xmlns:p14="http://schemas.microsoft.com/office/powerpoint/2010/main" val="5608618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1847EF1-EE3E-4FE4-97FA-A681E451B32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6" imgW="473" imgH="476" progId="TCLayout.ActiveDocument.1">
                  <p:embed/>
                </p:oleObj>
              </mc:Choice>
              <mc:Fallback>
                <p:oleObj name="think-cell Slide" r:id="rId66" imgW="473" imgH="476" progId="TCLayout.ActiveDocument.1">
                  <p:embed/>
                  <p:pic>
                    <p:nvPicPr>
                      <p:cNvPr id="5" name="Object 4" hidden="1">
                        <a:extLst>
                          <a:ext uri="{FF2B5EF4-FFF2-40B4-BE49-F238E27FC236}">
                            <a16:creationId xmlns:a16="http://schemas.microsoft.com/office/drawing/2014/main" id="{71847EF1-EE3E-4FE4-97FA-A681E451B322}"/>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16" name="Freeform: Shape 15">
            <a:extLst>
              <a:ext uri="{FF2B5EF4-FFF2-40B4-BE49-F238E27FC236}">
                <a16:creationId xmlns:a16="http://schemas.microsoft.com/office/drawing/2014/main" id="{116ABEBE-784F-4BFA-8928-7C23EBD7CB93}"/>
              </a:ext>
            </a:extLst>
          </p:cNvPr>
          <p:cNvSpPr/>
          <p:nvPr/>
        </p:nvSpPr>
        <p:spPr>
          <a:xfrm>
            <a:off x="6278880" y="3950970"/>
            <a:ext cx="3051810" cy="632460"/>
          </a:xfrm>
          <a:custGeom>
            <a:avLst/>
            <a:gdLst>
              <a:gd name="connsiteX0" fmla="*/ 0 w 3051810"/>
              <a:gd name="connsiteY0" fmla="*/ 632460 h 632460"/>
              <a:gd name="connsiteX1" fmla="*/ 1432560 w 3051810"/>
              <a:gd name="connsiteY1" fmla="*/ 251460 h 632460"/>
              <a:gd name="connsiteX2" fmla="*/ 3051810 w 3051810"/>
              <a:gd name="connsiteY2" fmla="*/ 0 h 632460"/>
              <a:gd name="connsiteX3" fmla="*/ 3051810 w 3051810"/>
              <a:gd name="connsiteY3" fmla="*/ 304800 h 632460"/>
              <a:gd name="connsiteX4" fmla="*/ 1386840 w 3051810"/>
              <a:gd name="connsiteY4" fmla="*/ 392430 h 632460"/>
              <a:gd name="connsiteX5" fmla="*/ 49530 w 3051810"/>
              <a:gd name="connsiteY5" fmla="*/ 617220 h 63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51810" h="632460">
                <a:moveTo>
                  <a:pt x="0" y="632460"/>
                </a:moveTo>
                <a:lnTo>
                  <a:pt x="1432560" y="251460"/>
                </a:lnTo>
                <a:lnTo>
                  <a:pt x="3051810" y="0"/>
                </a:lnTo>
                <a:lnTo>
                  <a:pt x="3051810" y="304800"/>
                </a:lnTo>
                <a:lnTo>
                  <a:pt x="1386840" y="392430"/>
                </a:lnTo>
                <a:lnTo>
                  <a:pt x="49530" y="617220"/>
                </a:lnTo>
              </a:path>
            </a:pathLst>
          </a:custGeom>
          <a:solidFill>
            <a:schemeClr val="accent2">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p>
        </p:txBody>
      </p:sp>
      <p:sp>
        <p:nvSpPr>
          <p:cNvPr id="15" name="Freeform: Shape 14">
            <a:extLst>
              <a:ext uri="{FF2B5EF4-FFF2-40B4-BE49-F238E27FC236}">
                <a16:creationId xmlns:a16="http://schemas.microsoft.com/office/drawing/2014/main" id="{D27F76F8-E911-4275-A98C-C13A07FCD0F4}"/>
              </a:ext>
            </a:extLst>
          </p:cNvPr>
          <p:cNvSpPr/>
          <p:nvPr/>
        </p:nvSpPr>
        <p:spPr>
          <a:xfrm>
            <a:off x="6206490" y="2876550"/>
            <a:ext cx="3112770" cy="1192530"/>
          </a:xfrm>
          <a:custGeom>
            <a:avLst/>
            <a:gdLst>
              <a:gd name="connsiteX0" fmla="*/ 0 w 3112770"/>
              <a:gd name="connsiteY0" fmla="*/ 0 h 1192530"/>
              <a:gd name="connsiteX1" fmla="*/ 1497330 w 3112770"/>
              <a:gd name="connsiteY1" fmla="*/ 742950 h 1192530"/>
              <a:gd name="connsiteX2" fmla="*/ 3112770 w 3112770"/>
              <a:gd name="connsiteY2" fmla="*/ 1192530 h 1192530"/>
              <a:gd name="connsiteX3" fmla="*/ 3112770 w 3112770"/>
              <a:gd name="connsiteY3" fmla="*/ 1013460 h 1192530"/>
              <a:gd name="connsiteX4" fmla="*/ 1421130 w 3112770"/>
              <a:gd name="connsiteY4" fmla="*/ 647700 h 1192530"/>
              <a:gd name="connsiteX5" fmla="*/ 0 w 3112770"/>
              <a:gd name="connsiteY5" fmla="*/ 0 h 1192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2770" h="1192530">
                <a:moveTo>
                  <a:pt x="0" y="0"/>
                </a:moveTo>
                <a:lnTo>
                  <a:pt x="1497330" y="742950"/>
                </a:lnTo>
                <a:lnTo>
                  <a:pt x="3112770" y="1192530"/>
                </a:lnTo>
                <a:lnTo>
                  <a:pt x="3112770" y="1013460"/>
                </a:lnTo>
                <a:lnTo>
                  <a:pt x="1421130" y="647700"/>
                </a:lnTo>
                <a:lnTo>
                  <a:pt x="0" y="0"/>
                </a:lnTo>
                <a:close/>
              </a:path>
            </a:pathLst>
          </a:custGeom>
          <a:solidFill>
            <a:srgbClr val="92D050">
              <a:alpha val="38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err="1">
              <a:solidFill>
                <a:schemeClr val="tx1"/>
              </a:solidFill>
              <a:latin typeface="Verdana" pitchFamily="34" charset="0"/>
              <a:ea typeface="Verdana" pitchFamily="34" charset="0"/>
              <a:cs typeface="Verdana" pitchFamily="34" charset="0"/>
            </a:endParaRPr>
          </a:p>
        </p:txBody>
      </p:sp>
      <p:sp>
        <p:nvSpPr>
          <p:cNvPr id="10" name="Freeform: Shape 9">
            <a:extLst>
              <a:ext uri="{FF2B5EF4-FFF2-40B4-BE49-F238E27FC236}">
                <a16:creationId xmlns:a16="http://schemas.microsoft.com/office/drawing/2014/main" id="{AB4F4AF6-2E1A-46A9-94D8-972ABA188AD8}"/>
              </a:ext>
            </a:extLst>
          </p:cNvPr>
          <p:cNvSpPr/>
          <p:nvPr/>
        </p:nvSpPr>
        <p:spPr>
          <a:xfrm>
            <a:off x="6305550" y="2857500"/>
            <a:ext cx="3032760" cy="361950"/>
          </a:xfrm>
          <a:custGeom>
            <a:avLst/>
            <a:gdLst>
              <a:gd name="connsiteX0" fmla="*/ 0 w 3032760"/>
              <a:gd name="connsiteY0" fmla="*/ 15240 h 361950"/>
              <a:gd name="connsiteX1" fmla="*/ 1615440 w 3032760"/>
              <a:gd name="connsiteY1" fmla="*/ 0 h 361950"/>
              <a:gd name="connsiteX2" fmla="*/ 3032760 w 3032760"/>
              <a:gd name="connsiteY2" fmla="*/ 125730 h 361950"/>
              <a:gd name="connsiteX3" fmla="*/ 3032760 w 3032760"/>
              <a:gd name="connsiteY3" fmla="*/ 361950 h 361950"/>
              <a:gd name="connsiteX4" fmla="*/ 1325880 w 3032760"/>
              <a:gd name="connsiteY4" fmla="*/ 91440 h 361950"/>
              <a:gd name="connsiteX5" fmla="*/ 0 w 3032760"/>
              <a:gd name="connsiteY5" fmla="*/ 15240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32760" h="361950">
                <a:moveTo>
                  <a:pt x="0" y="15240"/>
                </a:moveTo>
                <a:lnTo>
                  <a:pt x="1615440" y="0"/>
                </a:lnTo>
                <a:lnTo>
                  <a:pt x="3032760" y="125730"/>
                </a:lnTo>
                <a:lnTo>
                  <a:pt x="3032760" y="361950"/>
                </a:lnTo>
                <a:lnTo>
                  <a:pt x="1325880" y="91440"/>
                </a:lnTo>
                <a:lnTo>
                  <a:pt x="0" y="15240"/>
                </a:lnTo>
                <a:close/>
              </a:path>
            </a:pathLst>
          </a:cu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err="1">
              <a:solidFill>
                <a:schemeClr val="tx1"/>
              </a:solidFill>
              <a:latin typeface="Verdana" pitchFamily="34" charset="0"/>
              <a:ea typeface="Verdana" pitchFamily="34" charset="0"/>
              <a:cs typeface="Verdana" pitchFamily="34" charset="0"/>
            </a:endParaRPr>
          </a:p>
        </p:txBody>
      </p:sp>
      <p:sp>
        <p:nvSpPr>
          <p:cNvPr id="9" name="Freeform: Shape 8">
            <a:extLst>
              <a:ext uri="{FF2B5EF4-FFF2-40B4-BE49-F238E27FC236}">
                <a16:creationId xmlns:a16="http://schemas.microsoft.com/office/drawing/2014/main" id="{B2F629D2-9506-443C-90BE-E991AFEB4C92}"/>
              </a:ext>
            </a:extLst>
          </p:cNvPr>
          <p:cNvSpPr/>
          <p:nvPr/>
        </p:nvSpPr>
        <p:spPr>
          <a:xfrm>
            <a:off x="6362700" y="2674620"/>
            <a:ext cx="2979420" cy="179070"/>
          </a:xfrm>
          <a:custGeom>
            <a:avLst/>
            <a:gdLst>
              <a:gd name="connsiteX0" fmla="*/ 0 w 2979420"/>
              <a:gd name="connsiteY0" fmla="*/ 179070 h 179070"/>
              <a:gd name="connsiteX1" fmla="*/ 1405890 w 2979420"/>
              <a:gd name="connsiteY1" fmla="*/ 57150 h 179070"/>
              <a:gd name="connsiteX2" fmla="*/ 2979420 w 2979420"/>
              <a:gd name="connsiteY2" fmla="*/ 0 h 179070"/>
              <a:gd name="connsiteX3" fmla="*/ 2979420 w 2979420"/>
              <a:gd name="connsiteY3" fmla="*/ 163830 h 179070"/>
              <a:gd name="connsiteX4" fmla="*/ 1272540 w 2979420"/>
              <a:gd name="connsiteY4" fmla="*/ 179070 h 179070"/>
              <a:gd name="connsiteX5" fmla="*/ 0 w 2979420"/>
              <a:gd name="connsiteY5" fmla="*/ 179070 h 179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9420" h="179070">
                <a:moveTo>
                  <a:pt x="0" y="179070"/>
                </a:moveTo>
                <a:lnTo>
                  <a:pt x="1405890" y="57150"/>
                </a:lnTo>
                <a:lnTo>
                  <a:pt x="2979420" y="0"/>
                </a:lnTo>
                <a:lnTo>
                  <a:pt x="2979420" y="163830"/>
                </a:lnTo>
                <a:lnTo>
                  <a:pt x="1272540" y="179070"/>
                </a:lnTo>
                <a:lnTo>
                  <a:pt x="0" y="179070"/>
                </a:lnTo>
                <a:close/>
              </a:path>
            </a:pathLst>
          </a:custGeom>
          <a:solidFill>
            <a:schemeClr val="accent3">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err="1">
              <a:solidFill>
                <a:schemeClr val="tx1"/>
              </a:solidFill>
              <a:latin typeface="Verdana" pitchFamily="34" charset="0"/>
              <a:ea typeface="Verdana" pitchFamily="34" charset="0"/>
              <a:cs typeface="Verdana" pitchFamily="34" charset="0"/>
            </a:endParaRPr>
          </a:p>
        </p:txBody>
      </p:sp>
      <p:sp>
        <p:nvSpPr>
          <p:cNvPr id="8" name="Freeform: Shape 7">
            <a:extLst>
              <a:ext uri="{FF2B5EF4-FFF2-40B4-BE49-F238E27FC236}">
                <a16:creationId xmlns:a16="http://schemas.microsoft.com/office/drawing/2014/main" id="{433E468E-B4CB-453E-8E61-27B9BC9D3C74}"/>
              </a:ext>
            </a:extLst>
          </p:cNvPr>
          <p:cNvSpPr/>
          <p:nvPr/>
        </p:nvSpPr>
        <p:spPr>
          <a:xfrm>
            <a:off x="6347460" y="2110740"/>
            <a:ext cx="2987040" cy="407670"/>
          </a:xfrm>
          <a:custGeom>
            <a:avLst/>
            <a:gdLst>
              <a:gd name="connsiteX0" fmla="*/ 0 w 2987040"/>
              <a:gd name="connsiteY0" fmla="*/ 34290 h 407670"/>
              <a:gd name="connsiteX1" fmla="*/ 1299210 w 2987040"/>
              <a:gd name="connsiteY1" fmla="*/ 0 h 407670"/>
              <a:gd name="connsiteX2" fmla="*/ 2987040 w 2987040"/>
              <a:gd name="connsiteY2" fmla="*/ 148590 h 407670"/>
              <a:gd name="connsiteX3" fmla="*/ 2987040 w 2987040"/>
              <a:gd name="connsiteY3" fmla="*/ 407670 h 407670"/>
              <a:gd name="connsiteX4" fmla="*/ 1344930 w 2987040"/>
              <a:gd name="connsiteY4" fmla="*/ 133350 h 407670"/>
              <a:gd name="connsiteX5" fmla="*/ 0 w 2987040"/>
              <a:gd name="connsiteY5" fmla="*/ 34290 h 407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87040" h="407670">
                <a:moveTo>
                  <a:pt x="0" y="34290"/>
                </a:moveTo>
                <a:lnTo>
                  <a:pt x="1299210" y="0"/>
                </a:lnTo>
                <a:lnTo>
                  <a:pt x="2987040" y="148590"/>
                </a:lnTo>
                <a:lnTo>
                  <a:pt x="2987040" y="407670"/>
                </a:lnTo>
                <a:lnTo>
                  <a:pt x="1344930" y="133350"/>
                </a:lnTo>
                <a:lnTo>
                  <a:pt x="0" y="34290"/>
                </a:lnTo>
                <a:close/>
              </a:path>
            </a:pathLst>
          </a:custGeom>
          <a:solidFill>
            <a:schemeClr val="accent1">
              <a:lumMod val="20000"/>
              <a:lumOff val="80000"/>
              <a:alpha val="63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err="1">
              <a:solidFill>
                <a:schemeClr val="tx1"/>
              </a:solidFill>
              <a:latin typeface="Verdana" pitchFamily="34" charset="0"/>
              <a:ea typeface="Verdana" pitchFamily="34" charset="0"/>
              <a:cs typeface="Verdana" pitchFamily="34" charset="0"/>
            </a:endParaRPr>
          </a:p>
        </p:txBody>
      </p:sp>
      <p:sp>
        <p:nvSpPr>
          <p:cNvPr id="3" name="Freeform: Shape 2">
            <a:extLst>
              <a:ext uri="{FF2B5EF4-FFF2-40B4-BE49-F238E27FC236}">
                <a16:creationId xmlns:a16="http://schemas.microsoft.com/office/drawing/2014/main" id="{1A47BD64-EFAE-45CB-B446-BCFA35EFC2AB}"/>
              </a:ext>
            </a:extLst>
          </p:cNvPr>
          <p:cNvSpPr/>
          <p:nvPr/>
        </p:nvSpPr>
        <p:spPr>
          <a:xfrm>
            <a:off x="6545580" y="1954530"/>
            <a:ext cx="2785110" cy="194310"/>
          </a:xfrm>
          <a:custGeom>
            <a:avLst/>
            <a:gdLst>
              <a:gd name="connsiteX0" fmla="*/ 0 w 2785110"/>
              <a:gd name="connsiteY0" fmla="*/ 144780 h 194310"/>
              <a:gd name="connsiteX1" fmla="*/ 1230630 w 2785110"/>
              <a:gd name="connsiteY1" fmla="*/ 57150 h 194310"/>
              <a:gd name="connsiteX2" fmla="*/ 2785110 w 2785110"/>
              <a:gd name="connsiteY2" fmla="*/ 0 h 194310"/>
              <a:gd name="connsiteX3" fmla="*/ 2785110 w 2785110"/>
              <a:gd name="connsiteY3" fmla="*/ 194310 h 194310"/>
              <a:gd name="connsiteX4" fmla="*/ 1261110 w 2785110"/>
              <a:gd name="connsiteY4" fmla="*/ 182880 h 194310"/>
              <a:gd name="connsiteX5" fmla="*/ 1059180 w 2785110"/>
              <a:gd name="connsiteY5" fmla="*/ 171450 h 194310"/>
              <a:gd name="connsiteX6" fmla="*/ 0 w 2785110"/>
              <a:gd name="connsiteY6" fmla="*/ 144780 h 194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5110" h="194310">
                <a:moveTo>
                  <a:pt x="0" y="144780"/>
                </a:moveTo>
                <a:lnTo>
                  <a:pt x="1230630" y="57150"/>
                </a:lnTo>
                <a:lnTo>
                  <a:pt x="2785110" y="0"/>
                </a:lnTo>
                <a:lnTo>
                  <a:pt x="2785110" y="194310"/>
                </a:lnTo>
                <a:lnTo>
                  <a:pt x="1261110" y="182880"/>
                </a:lnTo>
                <a:lnTo>
                  <a:pt x="1059180" y="171450"/>
                </a:lnTo>
                <a:lnTo>
                  <a:pt x="0" y="144780"/>
                </a:lnTo>
                <a:close/>
              </a:path>
            </a:pathLst>
          </a:custGeom>
          <a:solidFill>
            <a:srgbClr val="BF95DF">
              <a:alpha val="41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err="1">
              <a:solidFill>
                <a:schemeClr val="tx1"/>
              </a:solidFill>
              <a:latin typeface="Verdana" pitchFamily="34" charset="0"/>
              <a:ea typeface="Verdana" pitchFamily="34" charset="0"/>
              <a:cs typeface="Verdana" pitchFamily="34" charset="0"/>
            </a:endParaRPr>
          </a:p>
        </p:txBody>
      </p:sp>
      <p:graphicFrame>
        <p:nvGraphicFramePr>
          <p:cNvPr id="296" name="Chart 295">
            <a:extLst>
              <a:ext uri="{FF2B5EF4-FFF2-40B4-BE49-F238E27FC236}">
                <a16:creationId xmlns:a16="http://schemas.microsoft.com/office/drawing/2014/main" id="{58468FD8-0F55-4C9F-A76F-D2279395473F}"/>
              </a:ext>
            </a:extLst>
          </p:cNvPr>
          <p:cNvGraphicFramePr/>
          <p:nvPr>
            <p:custDataLst>
              <p:tags r:id="rId2"/>
            </p:custDataLst>
          </p:nvPr>
        </p:nvGraphicFramePr>
        <p:xfrm>
          <a:off x="1017588" y="1843088"/>
          <a:ext cx="8397875" cy="3848100"/>
        </p:xfrm>
        <a:graphic>
          <a:graphicData uri="http://schemas.openxmlformats.org/drawingml/2006/chart">
            <c:chart xmlns:c="http://schemas.openxmlformats.org/drawingml/2006/chart" xmlns:r="http://schemas.openxmlformats.org/officeDocument/2006/relationships" r:id="rId68"/>
          </a:graphicData>
        </a:graphic>
      </p:graphicFrame>
      <p:sp>
        <p:nvSpPr>
          <p:cNvPr id="2" name="2. Slide Title">
            <a:extLst>
              <a:ext uri="{FF2B5EF4-FFF2-40B4-BE49-F238E27FC236}">
                <a16:creationId xmlns:a16="http://schemas.microsoft.com/office/drawing/2014/main" id="{7F91E1F0-5AF1-37BC-FCEA-FEA1A0285816}"/>
              </a:ext>
            </a:extLst>
          </p:cNvPr>
          <p:cNvSpPr>
            <a:spLocks noGrp="1"/>
          </p:cNvSpPr>
          <p:nvPr>
            <p:ph type="title"/>
            <p:custDataLst>
              <p:tags r:id="rId3"/>
            </p:custDataLst>
          </p:nvPr>
        </p:nvSpPr>
        <p:spPr>
          <a:xfrm>
            <a:off x="838799" y="416327"/>
            <a:ext cx="9540001" cy="781752"/>
          </a:xfrm>
          <a:noFill/>
          <a:ln>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r>
              <a:rPr lang="de-DE" dirty="0"/>
              <a:t>Nur durch Umsetzung zusätzlicher Maßnahmen sind die Ziele der Bundesregierung erreichbar</a:t>
            </a:r>
          </a:p>
        </p:txBody>
      </p:sp>
      <p:sp>
        <p:nvSpPr>
          <p:cNvPr id="11" name="TextBox 10">
            <a:extLst>
              <a:ext uri="{FF2B5EF4-FFF2-40B4-BE49-F238E27FC236}">
                <a16:creationId xmlns:a16="http://schemas.microsoft.com/office/drawing/2014/main" id="{2DDE5920-60EF-D0D7-8AB6-1ECC75171CD0}"/>
              </a:ext>
            </a:extLst>
          </p:cNvPr>
          <p:cNvSpPr txBox="1">
            <a:spLocks/>
          </p:cNvSpPr>
          <p:nvPr/>
        </p:nvSpPr>
        <p:spPr>
          <a:xfrm>
            <a:off x="842010" y="1371218"/>
            <a:ext cx="10984230" cy="184666"/>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200" b="1" i="0" u="none" strike="noStrike" kern="1200" cap="none" spc="0" normalizeH="0" baseline="0" noProof="0">
                <a:ln>
                  <a:noFill/>
                </a:ln>
                <a:solidFill>
                  <a:srgbClr val="000000"/>
                </a:solidFill>
                <a:effectLst/>
                <a:uLnTx/>
                <a:uFillTx/>
                <a:latin typeface="Bahnschrift" panose="020B0502040204020203" pitchFamily="34" charset="0"/>
                <a:ea typeface="+mn-ea"/>
                <a:cs typeface="Arial" panose="020B0604020202020204" pitchFamily="34" charset="0"/>
              </a:rPr>
              <a:t>Energieverbrauch und Anteil erneuerbarer Energien, </a:t>
            </a:r>
            <a:r>
              <a:rPr kumimoji="0" lang="de-DE" sz="1200" b="0" i="0" u="none" strike="noStrike" kern="1200" cap="none" spc="0" normalizeH="0" baseline="0" noProof="0">
                <a:ln>
                  <a:noFill/>
                </a:ln>
                <a:solidFill>
                  <a:srgbClr val="000000"/>
                </a:solidFill>
                <a:effectLst/>
                <a:uLnTx/>
                <a:uFillTx/>
                <a:latin typeface="Bahnschrift" panose="020B0502040204020203" pitchFamily="34" charset="0"/>
                <a:ea typeface="+mn-ea"/>
                <a:cs typeface="Arial" panose="020B0604020202020204" pitchFamily="34" charset="0"/>
              </a:rPr>
              <a:t>in TWh</a:t>
            </a:r>
          </a:p>
        </p:txBody>
      </p:sp>
      <p:cxnSp>
        <p:nvCxnSpPr>
          <p:cNvPr id="14" name="LineBasicStrong 15">
            <a:extLst>
              <a:ext uri="{FF2B5EF4-FFF2-40B4-BE49-F238E27FC236}">
                <a16:creationId xmlns:a16="http://schemas.microsoft.com/office/drawing/2014/main" id="{8358D8DB-43BD-2BC8-D9ED-685302207444}"/>
              </a:ext>
            </a:extLst>
          </p:cNvPr>
          <p:cNvCxnSpPr>
            <a:cxnSpLocks/>
          </p:cNvCxnSpPr>
          <p:nvPr>
            <p:custDataLst>
              <p:tags r:id="rId4"/>
            </p:custDataLst>
          </p:nvPr>
        </p:nvCxnSpPr>
        <p:spPr>
          <a:xfrm>
            <a:off x="842010" y="1604346"/>
            <a:ext cx="10984230" cy="0"/>
          </a:xfrm>
          <a:prstGeom prst="straightConnector1">
            <a:avLst/>
          </a:prstGeom>
          <a:ln w="6350" cap="flat">
            <a:solidFill>
              <a:srgbClr val="7F7F7F"/>
            </a:solidFill>
            <a:miter lim="800000"/>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cxnSp>
      <p:sp>
        <p:nvSpPr>
          <p:cNvPr id="98" name="5. Source">
            <a:extLst>
              <a:ext uri="{FF2B5EF4-FFF2-40B4-BE49-F238E27FC236}">
                <a16:creationId xmlns:a16="http://schemas.microsoft.com/office/drawing/2014/main" id="{80C0DBB1-7623-4A1F-B2F7-A82254B7748B}"/>
              </a:ext>
            </a:extLst>
          </p:cNvPr>
          <p:cNvSpPr txBox="1">
            <a:spLocks/>
          </p:cNvSpPr>
          <p:nvPr>
            <p:custDataLst>
              <p:tags r:id="rId5"/>
            </p:custDataLst>
          </p:nvPr>
        </p:nvSpPr>
        <p:spPr>
          <a:xfrm>
            <a:off x="838799" y="6636313"/>
            <a:ext cx="9540001" cy="123111"/>
          </a:xfrm>
          <a:prstGeom prst="rect">
            <a:avLst/>
          </a:prstGeom>
          <a:noFill/>
        </p:spPr>
        <p:txBody>
          <a:bodyPr vert="horz" wrap="square" lIns="0" tIns="0" rIns="0" bIns="0" rtlCol="0" anchor="b"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800" b="0" i="0" u="none" strike="noStrike" kern="1200" cap="none" spc="0" normalizeH="0" baseline="0" noProof="0">
                <a:ln>
                  <a:noFill/>
                </a:ln>
                <a:solidFill>
                  <a:srgbClr val="004FA1"/>
                </a:solidFill>
                <a:effectLst/>
                <a:uLnTx/>
                <a:uFillTx/>
                <a:latin typeface="Bahnschrift" panose="020B0502040204020203" pitchFamily="34" charset="0"/>
                <a:ea typeface="+mn-ea"/>
                <a:cs typeface="+mn-cs"/>
              </a:rPr>
              <a:t>Quelle: Statistik Austria, Umweltbundesamt (Kurzstudie Energieeffizienzgesetz), BMK, Energieeffizienzgesetz</a:t>
            </a:r>
          </a:p>
        </p:txBody>
      </p:sp>
      <p:sp>
        <p:nvSpPr>
          <p:cNvPr id="7" name="Slide Number Placeholder 6">
            <a:extLst>
              <a:ext uri="{FF2B5EF4-FFF2-40B4-BE49-F238E27FC236}">
                <a16:creationId xmlns:a16="http://schemas.microsoft.com/office/drawing/2014/main" id="{3ACCA704-D09C-4C01-B426-25D941DB871F}"/>
              </a:ext>
            </a:extLst>
          </p:cNvPr>
          <p:cNvSpPr>
            <a:spLocks noGrp="1"/>
          </p:cNvSpPr>
          <p:nvPr>
            <p:ph type="sldNum" sz="quarter" idx="10"/>
          </p:nvPr>
        </p:nvSpPr>
        <p:spPr>
          <a:xfrm>
            <a:off x="167425" y="6245225"/>
            <a:ext cx="2315425" cy="476250"/>
          </a:xfr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1920E2B-FC99-4A38-BFFD-416A818AECB0}" type="slidenum">
              <a:rPr kumimoji="0" lang="de-AT" sz="800" b="0" i="0" u="none" strike="noStrike" kern="1200" cap="none" spc="0" normalizeH="0" baseline="0" noProof="0" smtClean="0">
                <a:ln>
                  <a:noFill/>
                </a:ln>
                <a:solidFill>
                  <a:prstClr val="white">
                    <a:lumMod val="50000"/>
                  </a:prstClr>
                </a:solidFill>
                <a:effectLst/>
                <a:uLnTx/>
                <a:uFillTx/>
                <a:latin typeface="Bahnschrift" panose="020B0502040204020203" pitchFamily="34"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12</a:t>
            </a:fld>
            <a:endParaRPr kumimoji="0" lang="de-AT" sz="800" b="0" i="0" u="none" strike="noStrike" kern="1200" cap="none" spc="0" normalizeH="0" baseline="0" noProof="0">
              <a:ln>
                <a:noFill/>
              </a:ln>
              <a:solidFill>
                <a:prstClr val="white">
                  <a:lumMod val="50000"/>
                </a:prstClr>
              </a:solidFill>
              <a:effectLst/>
              <a:uLnTx/>
              <a:uFillTx/>
              <a:latin typeface="Bahnschrift" panose="020B0502040204020203" pitchFamily="34" charset="0"/>
              <a:ea typeface="+mn-ea"/>
              <a:cs typeface="+mn-cs"/>
            </a:endParaRPr>
          </a:p>
        </p:txBody>
      </p:sp>
      <p:sp>
        <p:nvSpPr>
          <p:cNvPr id="96" name="4. Footnote">
            <a:extLst>
              <a:ext uri="{FF2B5EF4-FFF2-40B4-BE49-F238E27FC236}">
                <a16:creationId xmlns:a16="http://schemas.microsoft.com/office/drawing/2014/main" id="{AF0515C3-5270-4CE8-B668-7E6EF68FC7B9}"/>
              </a:ext>
            </a:extLst>
          </p:cNvPr>
          <p:cNvSpPr txBox="1">
            <a:spLocks/>
          </p:cNvSpPr>
          <p:nvPr>
            <p:custDataLst>
              <p:tags r:id="rId6"/>
            </p:custDataLst>
          </p:nvPr>
        </p:nvSpPr>
        <p:spPr>
          <a:xfrm>
            <a:off x="838799" y="6064703"/>
            <a:ext cx="9540001" cy="492443"/>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noAutofit/>
          </a:body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Arial" panose="020B0604020202020204" pitchFamily="34" charset="0"/>
              </a:rPr>
              <a:t>1.	NEKP: Nationaler Energie- und Klimaplan, WAM: with additional measures, WEM: with existing measures; errechnet von: Umweltbundesamt </a:t>
            </a:r>
            <a:b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Arial" panose="020B0604020202020204" pitchFamily="34" charset="0"/>
              </a:rPr>
            </a:b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Arial" panose="020B0604020202020204" pitchFamily="34" charset="0"/>
              </a:rPr>
              <a:t>in Zusammenarbeit mit ExpertInnen aus WIFO, CESAR, e-think, AEA, TU Graz und TU Wien</a:t>
            </a:r>
          </a:p>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Arial" panose="020B0604020202020204" pitchFamily="34" charset="0"/>
              </a:rPr>
              <a:t>2.	Ermittlung von Zielwerten für österreichischen Endverbrauch zur Erreichung von Klimaneutralität 2040 </a:t>
            </a:r>
            <a:b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Arial" panose="020B0604020202020204" pitchFamily="34" charset="0"/>
              </a:rPr>
            </a:b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Arial" panose="020B0604020202020204" pitchFamily="34" charset="0"/>
              </a:rPr>
              <a:t>(Fokus Erneuerbare: 850 PJ/236 TWh in 2030, 700 PJ/194 TWh in 2040, Fokus Effizienz: 820 PJ/228 TWh in 2030, 630 PJ/175 TWh in 2040</a:t>
            </a:r>
            <a:r>
              <a:rPr kumimoji="0" lang="de-DE" sz="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a:t>
            </a:r>
          </a:p>
        </p:txBody>
      </p:sp>
      <p:pic>
        <p:nvPicPr>
          <p:cNvPr id="29699" name="Picture 3">
            <a:extLst>
              <a:ext uri="{FF2B5EF4-FFF2-40B4-BE49-F238E27FC236}">
                <a16:creationId xmlns:a16="http://schemas.microsoft.com/office/drawing/2014/main" id="{9C476AA9-7C36-4AFC-897A-1F22D6CF1183}"/>
              </a:ext>
            </a:extLst>
          </p:cNvPr>
          <p:cNvPicPr>
            <a:picLocks noChangeAspect="1" noChangeArrowheads="1"/>
          </p:cNvPicPr>
          <p:nvPr/>
        </p:nvPicPr>
        <p:blipFill>
          <a:blip r:embed="rId67">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 name="Textplatzhalter 8">
            <a:extLst>
              <a:ext uri="{FF2B5EF4-FFF2-40B4-BE49-F238E27FC236}">
                <a16:creationId xmlns:a16="http://schemas.microsoft.com/office/drawing/2014/main" id="{2056A751-B980-4971-A648-D339117CBE67}"/>
              </a:ext>
            </a:extLst>
          </p:cNvPr>
          <p:cNvSpPr>
            <a:spLocks noGrp="1"/>
          </p:cNvSpPr>
          <p:nvPr>
            <p:custDataLst>
              <p:tags r:id="rId7"/>
            </p:custDataLst>
          </p:nvPr>
        </p:nvSpPr>
        <p:spPr bwMode="gray">
          <a:xfrm>
            <a:off x="901700" y="5014914"/>
            <a:ext cx="1222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07D882C4-4544-41D7-A40E-8D652CDA29E3}" type="datetime'''''''6''''''''''''''''''''''''0'''''''''''''''''''''''">
              <a:rPr lang="en-NZ" altLang="en-US" sz="900" kern="0" smtClean="0">
                <a:effectLst/>
              </a:rPr>
              <a:pPr marL="0" indent="0" algn="r">
                <a:spcBef>
                  <a:spcPct val="0"/>
                </a:spcBef>
                <a:buNone/>
              </a:pPr>
              <a:t>60</a:t>
            </a:fld>
            <a:endParaRPr lang="en-NZ" sz="900" kern="0" dirty="0"/>
          </a:p>
        </p:txBody>
      </p:sp>
      <p:sp>
        <p:nvSpPr>
          <p:cNvPr id="298" name="Textplatzhalter 8">
            <a:extLst>
              <a:ext uri="{FF2B5EF4-FFF2-40B4-BE49-F238E27FC236}">
                <a16:creationId xmlns:a16="http://schemas.microsoft.com/office/drawing/2014/main" id="{982398D3-3BE7-4EA0-B6D8-BD3816A62D1B}"/>
              </a:ext>
            </a:extLst>
          </p:cNvPr>
          <p:cNvSpPr>
            <a:spLocks noGrp="1"/>
          </p:cNvSpPr>
          <p:nvPr>
            <p:custDataLst>
              <p:tags r:id="rId8"/>
            </p:custDataLst>
          </p:nvPr>
        </p:nvSpPr>
        <p:spPr bwMode="gray">
          <a:xfrm>
            <a:off x="863600" y="4487864"/>
            <a:ext cx="160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501476D8-F394-416B-A06F-15A74E27C980}" type="datetime'''''''1''''''''''2''0'''''''''''''">
              <a:rPr lang="en-NZ" altLang="en-US" sz="900" kern="0" smtClean="0">
                <a:effectLst/>
              </a:rPr>
              <a:pPr marL="0" indent="0" algn="r">
                <a:spcBef>
                  <a:spcPct val="0"/>
                </a:spcBef>
                <a:buNone/>
              </a:pPr>
              <a:t>120</a:t>
            </a:fld>
            <a:endParaRPr lang="en-NZ" sz="900" kern="0" dirty="0"/>
          </a:p>
        </p:txBody>
      </p:sp>
      <p:sp>
        <p:nvSpPr>
          <p:cNvPr id="299" name="Textplatzhalter 8">
            <a:extLst>
              <a:ext uri="{FF2B5EF4-FFF2-40B4-BE49-F238E27FC236}">
                <a16:creationId xmlns:a16="http://schemas.microsoft.com/office/drawing/2014/main" id="{1311B43C-83D7-4C7E-AD83-372D21864521}"/>
              </a:ext>
            </a:extLst>
          </p:cNvPr>
          <p:cNvSpPr>
            <a:spLocks noGrp="1"/>
          </p:cNvSpPr>
          <p:nvPr>
            <p:custDataLst>
              <p:tags r:id="rId9"/>
            </p:custDataLst>
          </p:nvPr>
        </p:nvSpPr>
        <p:spPr bwMode="gray">
          <a:xfrm>
            <a:off x="960438" y="5540375"/>
            <a:ext cx="63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527A2B86-3829-4379-B868-814AE4DA24F5}" type="datetime'''''''''''''''''''''0'''">
              <a:rPr lang="en-NZ" altLang="en-US" sz="900" kern="0" smtClean="0"/>
              <a:pPr/>
              <a:t>0</a:t>
            </a:fld>
            <a:endParaRPr lang="en-US" sz="900" kern="0" dirty="0"/>
          </a:p>
        </p:txBody>
      </p:sp>
      <p:sp>
        <p:nvSpPr>
          <p:cNvPr id="300" name="Textplatzhalter 8">
            <a:extLst>
              <a:ext uri="{FF2B5EF4-FFF2-40B4-BE49-F238E27FC236}">
                <a16:creationId xmlns:a16="http://schemas.microsoft.com/office/drawing/2014/main" id="{7D80CE22-9201-4891-9D1F-87B3BDDDBAFA}"/>
              </a:ext>
            </a:extLst>
          </p:cNvPr>
          <p:cNvSpPr>
            <a:spLocks noGrp="1"/>
          </p:cNvSpPr>
          <p:nvPr>
            <p:custDataLst>
              <p:tags r:id="rId10"/>
            </p:custDataLst>
          </p:nvPr>
        </p:nvSpPr>
        <p:spPr bwMode="gray">
          <a:xfrm>
            <a:off x="863600" y="4137026"/>
            <a:ext cx="1603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E8DDA4AE-9EEA-4368-BB76-AD7FFA530464}" type="datetime'''''1''''''''''6''''''''''''''''''''''0'''''''''''''">
              <a:rPr lang="en-NZ" altLang="en-US" sz="900" kern="0" smtClean="0">
                <a:effectLst/>
              </a:rPr>
              <a:pPr marL="0" indent="0" algn="r">
                <a:spcBef>
                  <a:spcPct val="0"/>
                </a:spcBef>
                <a:buNone/>
              </a:pPr>
              <a:t>160</a:t>
            </a:fld>
            <a:endParaRPr lang="en-NZ" sz="900" kern="0" dirty="0"/>
          </a:p>
        </p:txBody>
      </p:sp>
      <p:sp>
        <p:nvSpPr>
          <p:cNvPr id="301" name="Textplatzhalter 8">
            <a:extLst>
              <a:ext uri="{FF2B5EF4-FFF2-40B4-BE49-F238E27FC236}">
                <a16:creationId xmlns:a16="http://schemas.microsoft.com/office/drawing/2014/main" id="{A94A34D7-DEC8-4E3C-8169-E619866A71FD}"/>
              </a:ext>
            </a:extLst>
          </p:cNvPr>
          <p:cNvSpPr>
            <a:spLocks noGrp="1"/>
          </p:cNvSpPr>
          <p:nvPr>
            <p:custDataLst>
              <p:tags r:id="rId11"/>
            </p:custDataLst>
          </p:nvPr>
        </p:nvSpPr>
        <p:spPr bwMode="gray">
          <a:xfrm>
            <a:off x="901700" y="5365751"/>
            <a:ext cx="1222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E7B08B7D-0111-4982-ACAF-2445D674F261}" type="datetime'''''''''2''''''''0'''">
              <a:rPr lang="en-NZ" altLang="en-US" sz="900" kern="0" smtClean="0">
                <a:effectLst/>
              </a:rPr>
              <a:pPr marL="0" indent="0" algn="r">
                <a:spcBef>
                  <a:spcPct val="0"/>
                </a:spcBef>
                <a:buNone/>
              </a:pPr>
              <a:t>20</a:t>
            </a:fld>
            <a:endParaRPr lang="en-NZ" sz="900" kern="0" dirty="0"/>
          </a:p>
        </p:txBody>
      </p:sp>
      <p:sp>
        <p:nvSpPr>
          <p:cNvPr id="302" name="Textplatzhalter 8">
            <a:extLst>
              <a:ext uri="{FF2B5EF4-FFF2-40B4-BE49-F238E27FC236}">
                <a16:creationId xmlns:a16="http://schemas.microsoft.com/office/drawing/2014/main" id="{A71D0163-E02C-4032-A643-B553EADECB0D}"/>
              </a:ext>
            </a:extLst>
          </p:cNvPr>
          <p:cNvSpPr>
            <a:spLocks noGrp="1"/>
          </p:cNvSpPr>
          <p:nvPr>
            <p:custDataLst>
              <p:tags r:id="rId12"/>
            </p:custDataLst>
          </p:nvPr>
        </p:nvSpPr>
        <p:spPr bwMode="gray">
          <a:xfrm>
            <a:off x="895350" y="4838701"/>
            <a:ext cx="1285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4E2F9B32-F37A-4BA1-A63A-DCB67374A21F}" type="datetime'8''''''''''''''''0'''''''''''''''''''''''">
              <a:rPr lang="en-NZ" altLang="en-US" sz="900" kern="0" smtClean="0">
                <a:effectLst/>
              </a:rPr>
              <a:pPr marL="0" indent="0" algn="r">
                <a:spcBef>
                  <a:spcPct val="0"/>
                </a:spcBef>
                <a:buNone/>
              </a:pPr>
              <a:t>80</a:t>
            </a:fld>
            <a:endParaRPr lang="en-NZ" sz="900" kern="0" dirty="0"/>
          </a:p>
        </p:txBody>
      </p:sp>
      <p:sp>
        <p:nvSpPr>
          <p:cNvPr id="303" name="Textplatzhalter 8">
            <a:extLst>
              <a:ext uri="{FF2B5EF4-FFF2-40B4-BE49-F238E27FC236}">
                <a16:creationId xmlns:a16="http://schemas.microsoft.com/office/drawing/2014/main" id="{09C18451-4BCF-444F-A733-F00074C851CF}"/>
              </a:ext>
            </a:extLst>
          </p:cNvPr>
          <p:cNvSpPr>
            <a:spLocks noGrp="1"/>
          </p:cNvSpPr>
          <p:nvPr>
            <p:custDataLst>
              <p:tags r:id="rId13"/>
            </p:custDataLst>
          </p:nvPr>
        </p:nvSpPr>
        <p:spPr bwMode="gray">
          <a:xfrm>
            <a:off x="842963" y="3260726"/>
            <a:ext cx="180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AECBA36F-1C8C-4F89-A687-765512E75145}" type="datetime'''''''''''''''''''''''''2''''''''''6''0'''''''''''''''''''''">
              <a:rPr lang="en-NZ" altLang="en-US" sz="900" kern="0" smtClean="0">
                <a:effectLst/>
              </a:rPr>
              <a:pPr marL="0" indent="0" algn="r">
                <a:spcBef>
                  <a:spcPct val="0"/>
                </a:spcBef>
                <a:buNone/>
              </a:pPr>
              <a:t>260</a:t>
            </a:fld>
            <a:endParaRPr lang="en-NZ" sz="900" kern="0" dirty="0"/>
          </a:p>
        </p:txBody>
      </p:sp>
      <p:sp>
        <p:nvSpPr>
          <p:cNvPr id="304" name="Textplatzhalter 8">
            <a:extLst>
              <a:ext uri="{FF2B5EF4-FFF2-40B4-BE49-F238E27FC236}">
                <a16:creationId xmlns:a16="http://schemas.microsoft.com/office/drawing/2014/main" id="{113F9592-40EB-4952-8711-4FABCC8CF59F}"/>
              </a:ext>
            </a:extLst>
          </p:cNvPr>
          <p:cNvSpPr>
            <a:spLocks noGrp="1"/>
          </p:cNvSpPr>
          <p:nvPr>
            <p:custDataLst>
              <p:tags r:id="rId14"/>
            </p:custDataLst>
          </p:nvPr>
        </p:nvSpPr>
        <p:spPr bwMode="gray">
          <a:xfrm>
            <a:off x="895350" y="5189539"/>
            <a:ext cx="1285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58D779C5-4BAA-4F76-B52B-8BEF7C4D7424}" type="datetime'''''''''4''''''''0'''''">
              <a:rPr lang="en-NZ" altLang="en-US" sz="900" kern="0" smtClean="0">
                <a:effectLst/>
              </a:rPr>
              <a:pPr marL="0" indent="0" algn="r">
                <a:spcBef>
                  <a:spcPct val="0"/>
                </a:spcBef>
                <a:buNone/>
              </a:pPr>
              <a:t>40</a:t>
            </a:fld>
            <a:endParaRPr lang="en-NZ" sz="900" kern="0" dirty="0"/>
          </a:p>
        </p:txBody>
      </p:sp>
      <p:sp>
        <p:nvSpPr>
          <p:cNvPr id="305" name="Textplatzhalter 8">
            <a:extLst>
              <a:ext uri="{FF2B5EF4-FFF2-40B4-BE49-F238E27FC236}">
                <a16:creationId xmlns:a16="http://schemas.microsoft.com/office/drawing/2014/main" id="{CDB633FD-5E64-467C-B474-2AC9543DE6E7}"/>
              </a:ext>
            </a:extLst>
          </p:cNvPr>
          <p:cNvSpPr>
            <a:spLocks noGrp="1"/>
          </p:cNvSpPr>
          <p:nvPr>
            <p:custDataLst>
              <p:tags r:id="rId15"/>
            </p:custDataLst>
          </p:nvPr>
        </p:nvSpPr>
        <p:spPr bwMode="gray">
          <a:xfrm>
            <a:off x="858838" y="4664075"/>
            <a:ext cx="165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4B1594CC-0B15-4D73-A00E-1C701C26DE79}" type="datetime'''''''''''''''''1''''''''''''''''''''''''''0''''''0'''''">
              <a:rPr lang="en-NZ" altLang="en-US" sz="900" kern="0" smtClean="0"/>
              <a:pPr/>
              <a:t>100</a:t>
            </a:fld>
            <a:endParaRPr lang="en-US" sz="900" kern="0" dirty="0"/>
          </a:p>
        </p:txBody>
      </p:sp>
      <p:sp>
        <p:nvSpPr>
          <p:cNvPr id="306" name="Textplatzhalter 8">
            <a:extLst>
              <a:ext uri="{FF2B5EF4-FFF2-40B4-BE49-F238E27FC236}">
                <a16:creationId xmlns:a16="http://schemas.microsoft.com/office/drawing/2014/main" id="{71F0943C-355A-41E0-B769-9BCFBC7744A4}"/>
              </a:ext>
            </a:extLst>
          </p:cNvPr>
          <p:cNvSpPr>
            <a:spLocks noGrp="1"/>
          </p:cNvSpPr>
          <p:nvPr>
            <p:custDataLst>
              <p:tags r:id="rId16"/>
            </p:custDataLst>
          </p:nvPr>
        </p:nvSpPr>
        <p:spPr bwMode="gray">
          <a:xfrm>
            <a:off x="835025" y="2208214"/>
            <a:ext cx="188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9EC9A75B-D0E7-4237-85DF-0606E53DE075}" type="datetime'''''3''''''''''''''''''''''''''''8''''''''''''''0'''''''''''">
              <a:rPr lang="en-NZ" altLang="en-US" sz="900" kern="0" smtClean="0">
                <a:effectLst/>
              </a:rPr>
              <a:pPr marL="0" indent="0" algn="r">
                <a:spcBef>
                  <a:spcPct val="0"/>
                </a:spcBef>
                <a:buNone/>
              </a:pPr>
              <a:t>380</a:t>
            </a:fld>
            <a:endParaRPr lang="en-NZ" sz="900" kern="0" dirty="0"/>
          </a:p>
        </p:txBody>
      </p:sp>
      <p:sp>
        <p:nvSpPr>
          <p:cNvPr id="307" name="Textplatzhalter 8">
            <a:extLst>
              <a:ext uri="{FF2B5EF4-FFF2-40B4-BE49-F238E27FC236}">
                <a16:creationId xmlns:a16="http://schemas.microsoft.com/office/drawing/2014/main" id="{45247C94-04EC-4B7F-AA5A-836B604F2368}"/>
              </a:ext>
            </a:extLst>
          </p:cNvPr>
          <p:cNvSpPr>
            <a:spLocks noGrp="1"/>
          </p:cNvSpPr>
          <p:nvPr>
            <p:custDataLst>
              <p:tags r:id="rId17"/>
            </p:custDataLst>
          </p:nvPr>
        </p:nvSpPr>
        <p:spPr bwMode="gray">
          <a:xfrm>
            <a:off x="836613" y="3435351"/>
            <a:ext cx="187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2A61D989-E5E2-412A-853F-06B88763E49D}" type="datetime'''''''''''''''''''''''24''''''''''''0'''''''''">
              <a:rPr lang="en-NZ" altLang="en-US" sz="900" kern="0" smtClean="0">
                <a:effectLst/>
              </a:rPr>
              <a:pPr marL="0" indent="0" algn="r">
                <a:spcBef>
                  <a:spcPct val="0"/>
                </a:spcBef>
                <a:buNone/>
              </a:pPr>
              <a:t>240</a:t>
            </a:fld>
            <a:endParaRPr lang="en-NZ" sz="900" kern="0" dirty="0"/>
          </a:p>
        </p:txBody>
      </p:sp>
      <p:sp>
        <p:nvSpPr>
          <p:cNvPr id="308" name="Textplatzhalter 8">
            <a:extLst>
              <a:ext uri="{FF2B5EF4-FFF2-40B4-BE49-F238E27FC236}">
                <a16:creationId xmlns:a16="http://schemas.microsoft.com/office/drawing/2014/main" id="{AB39CBC7-90AF-4BD2-A1E7-3DE55051C7B9}"/>
              </a:ext>
            </a:extLst>
          </p:cNvPr>
          <p:cNvSpPr>
            <a:spLocks noGrp="1"/>
          </p:cNvSpPr>
          <p:nvPr>
            <p:custDataLst>
              <p:tags r:id="rId18"/>
            </p:custDataLst>
          </p:nvPr>
        </p:nvSpPr>
        <p:spPr bwMode="gray">
          <a:xfrm>
            <a:off x="857250" y="4313239"/>
            <a:ext cx="166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1FF2519B-41CC-48CE-8848-98AAF83AA323}" type="datetime'''''''''''1''''''4''''''''''''''''''''''0'''''''''''''''''">
              <a:rPr lang="en-NZ" altLang="en-US" sz="900" kern="0" smtClean="0">
                <a:effectLst/>
              </a:rPr>
              <a:pPr marL="0" indent="0" algn="r">
                <a:spcBef>
                  <a:spcPct val="0"/>
                </a:spcBef>
                <a:buNone/>
              </a:pPr>
              <a:t>140</a:t>
            </a:fld>
            <a:endParaRPr lang="en-NZ" sz="900" kern="0" dirty="0"/>
          </a:p>
        </p:txBody>
      </p:sp>
      <p:sp>
        <p:nvSpPr>
          <p:cNvPr id="309" name="Textplatzhalter 8">
            <a:extLst>
              <a:ext uri="{FF2B5EF4-FFF2-40B4-BE49-F238E27FC236}">
                <a16:creationId xmlns:a16="http://schemas.microsoft.com/office/drawing/2014/main" id="{3D30BCBD-EE36-4824-B869-8D48EB2F9C74}"/>
              </a:ext>
            </a:extLst>
          </p:cNvPr>
          <p:cNvSpPr>
            <a:spLocks noGrp="1"/>
          </p:cNvSpPr>
          <p:nvPr>
            <p:custDataLst>
              <p:tags r:id="rId19"/>
            </p:custDataLst>
          </p:nvPr>
        </p:nvSpPr>
        <p:spPr bwMode="gray">
          <a:xfrm>
            <a:off x="857250" y="3962401"/>
            <a:ext cx="1666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13928452-0F48-4730-9ADC-579223483271}" type="datetime'18''''''''''''''''''''''''''''''''''0'''''''''''">
              <a:rPr lang="en-NZ" altLang="en-US" sz="900" kern="0" smtClean="0">
                <a:effectLst/>
              </a:rPr>
              <a:pPr marL="0" indent="0" algn="r">
                <a:spcBef>
                  <a:spcPct val="0"/>
                </a:spcBef>
                <a:buNone/>
              </a:pPr>
              <a:t>180</a:t>
            </a:fld>
            <a:endParaRPr lang="en-NZ" sz="900" kern="0" dirty="0"/>
          </a:p>
        </p:txBody>
      </p:sp>
      <p:sp>
        <p:nvSpPr>
          <p:cNvPr id="310" name="Textplatzhalter 8">
            <a:extLst>
              <a:ext uri="{FF2B5EF4-FFF2-40B4-BE49-F238E27FC236}">
                <a16:creationId xmlns:a16="http://schemas.microsoft.com/office/drawing/2014/main" id="{7ED29AE2-9F8A-48E7-9722-324F71321432}"/>
              </a:ext>
            </a:extLst>
          </p:cNvPr>
          <p:cNvSpPr>
            <a:spLocks noGrp="1"/>
          </p:cNvSpPr>
          <p:nvPr>
            <p:custDataLst>
              <p:tags r:id="rId20"/>
            </p:custDataLst>
          </p:nvPr>
        </p:nvSpPr>
        <p:spPr bwMode="gray">
          <a:xfrm>
            <a:off x="838200" y="3786188"/>
            <a:ext cx="1857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54AD2AF4-0916-4F64-8638-CE079E3DE5B8}" type="datetime'''''''''''''''''2''''''0''''''''0'''''''''''''''''''''">
              <a:rPr lang="en-NZ" altLang="en-US" sz="900" kern="0" smtClean="0"/>
              <a:pPr/>
              <a:t>200</a:t>
            </a:fld>
            <a:endParaRPr lang="en-US" sz="900" kern="0" dirty="0"/>
          </a:p>
        </p:txBody>
      </p:sp>
      <p:sp>
        <p:nvSpPr>
          <p:cNvPr id="311" name="Textplatzhalter 8">
            <a:extLst>
              <a:ext uri="{FF2B5EF4-FFF2-40B4-BE49-F238E27FC236}">
                <a16:creationId xmlns:a16="http://schemas.microsoft.com/office/drawing/2014/main" id="{8F52C391-4F22-4006-BFDC-373A3E836BD9}"/>
              </a:ext>
            </a:extLst>
          </p:cNvPr>
          <p:cNvSpPr>
            <a:spLocks noGrp="1"/>
          </p:cNvSpPr>
          <p:nvPr>
            <p:custDataLst>
              <p:tags r:id="rId21"/>
            </p:custDataLst>
          </p:nvPr>
        </p:nvSpPr>
        <p:spPr bwMode="gray">
          <a:xfrm>
            <a:off x="842963" y="3611564"/>
            <a:ext cx="180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7F821234-0395-4164-90FD-6F778FECE53B}" type="datetime'''''''''''''''''''''''''''2''''''2''''''''''0'''''''''''">
              <a:rPr lang="en-NZ" altLang="en-US" sz="900" kern="0" smtClean="0">
                <a:effectLst/>
              </a:rPr>
              <a:pPr marL="0" indent="0" algn="r">
                <a:spcBef>
                  <a:spcPct val="0"/>
                </a:spcBef>
                <a:buNone/>
              </a:pPr>
              <a:t>220</a:t>
            </a:fld>
            <a:endParaRPr lang="en-NZ" sz="900" kern="0" dirty="0"/>
          </a:p>
        </p:txBody>
      </p:sp>
      <p:sp>
        <p:nvSpPr>
          <p:cNvPr id="312" name="Textplatzhalter 8">
            <a:extLst>
              <a:ext uri="{FF2B5EF4-FFF2-40B4-BE49-F238E27FC236}">
                <a16:creationId xmlns:a16="http://schemas.microsoft.com/office/drawing/2014/main" id="{1CD961F0-E3A8-4391-9F4C-1B69CE0F4CF1}"/>
              </a:ext>
            </a:extLst>
          </p:cNvPr>
          <p:cNvSpPr>
            <a:spLocks noGrp="1"/>
          </p:cNvSpPr>
          <p:nvPr>
            <p:custDataLst>
              <p:tags r:id="rId22"/>
            </p:custDataLst>
          </p:nvPr>
        </p:nvSpPr>
        <p:spPr bwMode="gray">
          <a:xfrm>
            <a:off x="836613" y="3084514"/>
            <a:ext cx="187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F254DAF2-C4BD-4C14-A4F5-880BE793E688}" type="datetime'''''''''2''''''''''''''''''''''8''''''''''''''0'''''''''">
              <a:rPr lang="en-NZ" altLang="en-US" sz="900" kern="0" smtClean="0">
                <a:effectLst/>
              </a:rPr>
              <a:pPr marL="0" indent="0" algn="r">
                <a:spcBef>
                  <a:spcPct val="0"/>
                </a:spcBef>
                <a:buNone/>
              </a:pPr>
              <a:t>280</a:t>
            </a:fld>
            <a:endParaRPr lang="en-NZ" sz="900" kern="0" dirty="0"/>
          </a:p>
        </p:txBody>
      </p:sp>
      <p:sp>
        <p:nvSpPr>
          <p:cNvPr id="313" name="Textplatzhalter 8">
            <a:extLst>
              <a:ext uri="{FF2B5EF4-FFF2-40B4-BE49-F238E27FC236}">
                <a16:creationId xmlns:a16="http://schemas.microsoft.com/office/drawing/2014/main" id="{DD8308D2-3455-4C46-8A76-706BF9B12D01}"/>
              </a:ext>
            </a:extLst>
          </p:cNvPr>
          <p:cNvSpPr>
            <a:spLocks noGrp="1"/>
          </p:cNvSpPr>
          <p:nvPr>
            <p:custDataLst>
              <p:tags r:id="rId23"/>
            </p:custDataLst>
          </p:nvPr>
        </p:nvSpPr>
        <p:spPr bwMode="gray">
          <a:xfrm>
            <a:off x="836613" y="2909888"/>
            <a:ext cx="187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839AD551-9002-439D-843A-6338A0AA4F5C}" type="datetime'''''''''''''''''''3''''''0''''''''''''''''0'''''''">
              <a:rPr lang="en-NZ" altLang="en-US" sz="900" kern="0" smtClean="0"/>
              <a:pPr/>
              <a:t>300</a:t>
            </a:fld>
            <a:endParaRPr lang="en-US" sz="900" kern="0" dirty="0"/>
          </a:p>
        </p:txBody>
      </p:sp>
      <p:sp>
        <p:nvSpPr>
          <p:cNvPr id="314" name="Textplatzhalter 8">
            <a:extLst>
              <a:ext uri="{FF2B5EF4-FFF2-40B4-BE49-F238E27FC236}">
                <a16:creationId xmlns:a16="http://schemas.microsoft.com/office/drawing/2014/main" id="{F2D15105-0229-445D-B2CD-CCFEEC4FAE06}"/>
              </a:ext>
            </a:extLst>
          </p:cNvPr>
          <p:cNvSpPr>
            <a:spLocks noGrp="1"/>
          </p:cNvSpPr>
          <p:nvPr>
            <p:custDataLst>
              <p:tags r:id="rId24"/>
            </p:custDataLst>
          </p:nvPr>
        </p:nvSpPr>
        <p:spPr bwMode="gray">
          <a:xfrm>
            <a:off x="841375" y="2733676"/>
            <a:ext cx="1825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BC4BAA99-969F-4ADF-AD93-AEB0E0CC85F1}" type="datetime'''''''''''''''''''''3''''''''''''''2''''''0'''''''">
              <a:rPr lang="en-NZ" altLang="en-US" sz="900" kern="0" smtClean="0">
                <a:effectLst/>
              </a:rPr>
              <a:pPr marL="0" indent="0" algn="r">
                <a:spcBef>
                  <a:spcPct val="0"/>
                </a:spcBef>
                <a:buNone/>
              </a:pPr>
              <a:t>320</a:t>
            </a:fld>
            <a:endParaRPr lang="en-NZ" sz="900" kern="0" dirty="0"/>
          </a:p>
        </p:txBody>
      </p:sp>
      <p:sp>
        <p:nvSpPr>
          <p:cNvPr id="315" name="Textplatzhalter 8">
            <a:extLst>
              <a:ext uri="{FF2B5EF4-FFF2-40B4-BE49-F238E27FC236}">
                <a16:creationId xmlns:a16="http://schemas.microsoft.com/office/drawing/2014/main" id="{08F3F45F-0BBB-4682-B11B-055014F489A8}"/>
              </a:ext>
            </a:extLst>
          </p:cNvPr>
          <p:cNvSpPr>
            <a:spLocks noGrp="1"/>
          </p:cNvSpPr>
          <p:nvPr>
            <p:custDataLst>
              <p:tags r:id="rId25"/>
            </p:custDataLst>
          </p:nvPr>
        </p:nvSpPr>
        <p:spPr bwMode="gray">
          <a:xfrm>
            <a:off x="835025" y="2559051"/>
            <a:ext cx="1889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19544062-C0B8-4EF0-BDDD-8345FCDAB7D0}" type="datetime'''''''''''''''''''''''''''''3''''4''''''''''0'''''''''">
              <a:rPr lang="en-NZ" altLang="en-US" sz="900" kern="0" smtClean="0">
                <a:effectLst/>
              </a:rPr>
              <a:pPr marL="0" indent="0" algn="r">
                <a:spcBef>
                  <a:spcPct val="0"/>
                </a:spcBef>
                <a:buNone/>
              </a:pPr>
              <a:t>340</a:t>
            </a:fld>
            <a:endParaRPr lang="en-NZ" sz="900" kern="0" dirty="0"/>
          </a:p>
        </p:txBody>
      </p:sp>
      <p:sp>
        <p:nvSpPr>
          <p:cNvPr id="316" name="Textplatzhalter 8">
            <a:extLst>
              <a:ext uri="{FF2B5EF4-FFF2-40B4-BE49-F238E27FC236}">
                <a16:creationId xmlns:a16="http://schemas.microsoft.com/office/drawing/2014/main" id="{810F51CE-9A21-47EE-B7EC-F1BBCC4B7947}"/>
              </a:ext>
            </a:extLst>
          </p:cNvPr>
          <p:cNvSpPr>
            <a:spLocks noGrp="1"/>
          </p:cNvSpPr>
          <p:nvPr>
            <p:custDataLst>
              <p:tags r:id="rId26"/>
            </p:custDataLst>
          </p:nvPr>
        </p:nvSpPr>
        <p:spPr bwMode="gray">
          <a:xfrm>
            <a:off x="841375" y="2382839"/>
            <a:ext cx="1825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53565BCF-E45B-41AB-AA94-2B649B1F89C5}" type="datetime'''''3''''''''''''''''''''''''''''6''''0'''''''''''''''''''">
              <a:rPr lang="en-NZ" altLang="en-US" sz="900" kern="0" smtClean="0">
                <a:effectLst/>
              </a:rPr>
              <a:pPr marL="0" indent="0" algn="r">
                <a:spcBef>
                  <a:spcPct val="0"/>
                </a:spcBef>
                <a:buNone/>
              </a:pPr>
              <a:t>360</a:t>
            </a:fld>
            <a:endParaRPr lang="en-NZ" sz="900" kern="0" dirty="0"/>
          </a:p>
        </p:txBody>
      </p:sp>
      <p:sp>
        <p:nvSpPr>
          <p:cNvPr id="317" name="Textplatzhalter 8">
            <a:extLst>
              <a:ext uri="{FF2B5EF4-FFF2-40B4-BE49-F238E27FC236}">
                <a16:creationId xmlns:a16="http://schemas.microsoft.com/office/drawing/2014/main" id="{22293051-2296-41FC-8B15-A524B4751833}"/>
              </a:ext>
            </a:extLst>
          </p:cNvPr>
          <p:cNvSpPr>
            <a:spLocks noGrp="1"/>
          </p:cNvSpPr>
          <p:nvPr>
            <p:custDataLst>
              <p:tags r:id="rId27"/>
            </p:custDataLst>
          </p:nvPr>
        </p:nvSpPr>
        <p:spPr bwMode="gray">
          <a:xfrm>
            <a:off x="831850" y="2032000"/>
            <a:ext cx="1920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4399BF2D-1CE1-42E1-B533-312E3AC41EA0}" type="datetime'''''4''''''0''''''''''''0'">
              <a:rPr lang="en-NZ" altLang="en-US" sz="900" kern="0" smtClean="0"/>
              <a:pPr/>
              <a:t>400</a:t>
            </a:fld>
            <a:endParaRPr lang="en-US" sz="900" kern="0" dirty="0"/>
          </a:p>
        </p:txBody>
      </p:sp>
      <p:sp>
        <p:nvSpPr>
          <p:cNvPr id="318" name="Textplatzhalter 8">
            <a:extLst>
              <a:ext uri="{FF2B5EF4-FFF2-40B4-BE49-F238E27FC236}">
                <a16:creationId xmlns:a16="http://schemas.microsoft.com/office/drawing/2014/main" id="{EE8A12C7-63E1-40CE-89F8-CD62020D0B6F}"/>
              </a:ext>
            </a:extLst>
          </p:cNvPr>
          <p:cNvSpPr>
            <a:spLocks noGrp="1"/>
          </p:cNvSpPr>
          <p:nvPr>
            <p:custDataLst>
              <p:tags r:id="rId28"/>
            </p:custDataLst>
          </p:nvPr>
        </p:nvSpPr>
        <p:spPr bwMode="gray">
          <a:xfrm>
            <a:off x="836613" y="1857376"/>
            <a:ext cx="187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963E1231-FD5E-4C20-A1CC-228A11D85CFF}" type="datetime'''''''''''''''''''4''2''''''''''''''''''''0'''''''''''''''">
              <a:rPr lang="en-NZ" altLang="en-US" sz="900" kern="0" smtClean="0">
                <a:effectLst/>
              </a:rPr>
              <a:pPr marL="0" indent="0" algn="r">
                <a:spcBef>
                  <a:spcPct val="0"/>
                </a:spcBef>
                <a:buNone/>
              </a:pPr>
              <a:t>420</a:t>
            </a:fld>
            <a:endParaRPr lang="en-NZ" sz="900" kern="0" dirty="0"/>
          </a:p>
        </p:txBody>
      </p:sp>
      <p:cxnSp>
        <p:nvCxnSpPr>
          <p:cNvPr id="319" name="Straight Connector 318">
            <a:extLst>
              <a:ext uri="{FF2B5EF4-FFF2-40B4-BE49-F238E27FC236}">
                <a16:creationId xmlns:a16="http://schemas.microsoft.com/office/drawing/2014/main" id="{EE543D23-F85A-4893-B8C4-5A05401B8A8A}"/>
              </a:ext>
            </a:extLst>
          </p:cNvPr>
          <p:cNvCxnSpPr>
            <a:cxnSpLocks/>
          </p:cNvCxnSpPr>
          <p:nvPr/>
        </p:nvCxnSpPr>
        <p:spPr>
          <a:xfrm flipV="1">
            <a:off x="6197600" y="1857676"/>
            <a:ext cx="0" cy="3704924"/>
          </a:xfrm>
          <a:prstGeom prst="line">
            <a:avLst/>
          </a:prstGeom>
          <a:ln w="6350" cap="flat">
            <a:solidFill>
              <a:srgbClr val="7F7F7F"/>
            </a:solidFill>
            <a:prstDash val="lgDash"/>
            <a:miter lim="800000"/>
            <a:tailEnd type="none"/>
          </a:ln>
        </p:spPr>
        <p:style>
          <a:lnRef idx="1">
            <a:schemeClr val="accent1"/>
          </a:lnRef>
          <a:fillRef idx="0">
            <a:schemeClr val="accent1"/>
          </a:fillRef>
          <a:effectRef idx="0">
            <a:schemeClr val="accent1"/>
          </a:effectRef>
          <a:fontRef idx="minor">
            <a:schemeClr val="tx1"/>
          </a:fontRef>
        </p:style>
      </p:cxnSp>
      <p:sp>
        <p:nvSpPr>
          <p:cNvPr id="320" name="Diamond 319">
            <a:extLst>
              <a:ext uri="{FF2B5EF4-FFF2-40B4-BE49-F238E27FC236}">
                <a16:creationId xmlns:a16="http://schemas.microsoft.com/office/drawing/2014/main" id="{B1F88FA1-6B66-4AC3-8646-54C687A5D6A5}"/>
              </a:ext>
            </a:extLst>
          </p:cNvPr>
          <p:cNvSpPr/>
          <p:nvPr/>
        </p:nvSpPr>
        <p:spPr>
          <a:xfrm>
            <a:off x="7666038" y="3254707"/>
            <a:ext cx="133350" cy="136646"/>
          </a:xfrm>
          <a:prstGeom prst="diamond">
            <a:avLst/>
          </a:prstGeom>
          <a:solidFill>
            <a:srgbClr val="3C9A3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900" b="0" i="0" u="none" strike="noStrike" kern="1200" cap="none" spc="0" normalizeH="0" baseline="0" noProof="0" err="1">
              <a:ln>
                <a:noFill/>
              </a:ln>
              <a:solidFill>
                <a:srgbClr val="FFFFFF"/>
              </a:solidFill>
              <a:effectLst/>
              <a:uLnTx/>
              <a:uFillTx/>
              <a:latin typeface="Bahnschrift" panose="020B0502040204020203" pitchFamily="34" charset="0"/>
              <a:ea typeface="+mn-ea"/>
              <a:cs typeface="+mn-cs"/>
            </a:endParaRPr>
          </a:p>
        </p:txBody>
      </p:sp>
      <p:sp>
        <p:nvSpPr>
          <p:cNvPr id="321" name="Text Placeholder 4">
            <a:extLst>
              <a:ext uri="{FF2B5EF4-FFF2-40B4-BE49-F238E27FC236}">
                <a16:creationId xmlns:a16="http://schemas.microsoft.com/office/drawing/2014/main" id="{5C45BE36-0EA5-411A-AF2B-D6A4006014DF}"/>
              </a:ext>
            </a:extLst>
          </p:cNvPr>
          <p:cNvSpPr>
            <a:spLocks noGrp="1"/>
          </p:cNvSpPr>
          <p:nvPr>
            <p:custDataLst>
              <p:tags r:id="rId29"/>
            </p:custDataLst>
          </p:nvPr>
        </p:nvSpPr>
        <p:spPr bwMode="gray">
          <a:xfrm>
            <a:off x="3341688" y="5646738"/>
            <a:ext cx="1285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AA84304-C602-41FD-A9D5-A24A363B20E4}" type="datetime'''''0''4'''''''''''''">
              <a:rPr kumimoji="0" lang="de-DE" altLang="en-US" sz="9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4</a:t>
            </a:fld>
            <a:endParaRPr kumimoji="0" lang="de-DE" sz="900" b="0" i="0" u="none" strike="noStrike" kern="1200" cap="none" spc="0" normalizeH="0" baseline="0" noProof="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322" name="Text Placeholder 4">
            <a:extLst>
              <a:ext uri="{FF2B5EF4-FFF2-40B4-BE49-F238E27FC236}">
                <a16:creationId xmlns:a16="http://schemas.microsoft.com/office/drawing/2014/main" id="{893298DA-5090-44CE-B9E9-192D5440D8B0}"/>
              </a:ext>
            </a:extLst>
          </p:cNvPr>
          <p:cNvSpPr>
            <a:spLocks noGrp="1"/>
          </p:cNvSpPr>
          <p:nvPr>
            <p:custDataLst>
              <p:tags r:id="rId30"/>
            </p:custDataLst>
          </p:nvPr>
        </p:nvSpPr>
        <p:spPr bwMode="gray">
          <a:xfrm>
            <a:off x="2624138" y="5646738"/>
            <a:ext cx="2492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0356CBC-A7F1-41B7-8691-F95C226C1863}" type="datetime'''''2''''''0''0''''0'''''''''''''''''''''''''''''''''">
              <a:rPr kumimoji="0" lang="de-DE" altLang="en-US" sz="9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00</a:t>
            </a:fld>
            <a:endParaRPr kumimoji="0" lang="de-DE" sz="900" b="0" i="0" u="none" strike="noStrike" kern="1200" cap="none" spc="0" normalizeH="0" baseline="0" noProof="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323" name="Text Placeholder 4">
            <a:extLst>
              <a:ext uri="{FF2B5EF4-FFF2-40B4-BE49-F238E27FC236}">
                <a16:creationId xmlns:a16="http://schemas.microsoft.com/office/drawing/2014/main" id="{3A4ECF22-CDC7-4F3B-9E2A-F219C241F1A4}"/>
              </a:ext>
            </a:extLst>
          </p:cNvPr>
          <p:cNvSpPr>
            <a:spLocks noGrp="1"/>
          </p:cNvSpPr>
          <p:nvPr>
            <p:custDataLst>
              <p:tags r:id="rId31"/>
            </p:custDataLst>
          </p:nvPr>
        </p:nvSpPr>
        <p:spPr bwMode="gray">
          <a:xfrm>
            <a:off x="2359025" y="5646738"/>
            <a:ext cx="1238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7AA8F55-40E2-4B7D-BEC9-5652C0C6DF47}" type="datetime'''''''''''98'''''''''''''''''''''''''''''''''''">
              <a:rPr kumimoji="0" lang="de-DE" altLang="en-US" sz="9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98</a:t>
            </a:fld>
            <a:endParaRPr kumimoji="0" lang="de-DE" sz="900" b="0" i="0" u="none" strike="noStrike" kern="1200" cap="none" spc="0" normalizeH="0" baseline="0" noProof="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324" name="Text Placeholder 4">
            <a:extLst>
              <a:ext uri="{FF2B5EF4-FFF2-40B4-BE49-F238E27FC236}">
                <a16:creationId xmlns:a16="http://schemas.microsoft.com/office/drawing/2014/main" id="{DDC86361-7C3B-412D-83A3-6C49B5F72EBD}"/>
              </a:ext>
            </a:extLst>
          </p:cNvPr>
          <p:cNvSpPr>
            <a:spLocks noGrp="1"/>
          </p:cNvSpPr>
          <p:nvPr>
            <p:custDataLst>
              <p:tags r:id="rId32"/>
            </p:custDataLst>
          </p:nvPr>
        </p:nvSpPr>
        <p:spPr bwMode="gray">
          <a:xfrm>
            <a:off x="1376364" y="5646738"/>
            <a:ext cx="1174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9B2E85C-1C50-477E-BF38-1C7BACF3BF7F}" type="datetime'''''''''''''''''''''''''''92'''''''''">
              <a:rPr kumimoji="0" lang="de-DE" altLang="en-US" sz="9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92</a:t>
            </a:fld>
            <a:endParaRPr kumimoji="0" lang="de-DE" sz="900" b="0" i="0" u="none" strike="noStrike" kern="1200" cap="none" spc="0" normalizeH="0" baseline="0" noProof="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325" name="Text Placeholder 4">
            <a:extLst>
              <a:ext uri="{FF2B5EF4-FFF2-40B4-BE49-F238E27FC236}">
                <a16:creationId xmlns:a16="http://schemas.microsoft.com/office/drawing/2014/main" id="{F12C29F4-B2A9-49CC-8D63-6F39A3BAF21D}"/>
              </a:ext>
            </a:extLst>
          </p:cNvPr>
          <p:cNvSpPr>
            <a:spLocks noGrp="1"/>
          </p:cNvSpPr>
          <p:nvPr>
            <p:custDataLst>
              <p:tags r:id="rId33"/>
            </p:custDataLst>
          </p:nvPr>
        </p:nvSpPr>
        <p:spPr bwMode="gray">
          <a:xfrm>
            <a:off x="996951" y="5646738"/>
            <a:ext cx="2190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BE00117-06E8-4BBC-A13D-3CCFF47E8A76}" type="datetime'''''''1''''''9''''''''''''''''''9''''''0'''''''''''''''''''''">
              <a:rPr kumimoji="0" lang="de-DE" altLang="en-US" sz="9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990</a:t>
            </a:fld>
            <a:endParaRPr kumimoji="0" lang="de-DE" sz="9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326" name="Text Placeholder 4">
            <a:extLst>
              <a:ext uri="{FF2B5EF4-FFF2-40B4-BE49-F238E27FC236}">
                <a16:creationId xmlns:a16="http://schemas.microsoft.com/office/drawing/2014/main" id="{DA0FA391-70BB-412C-919A-6D203E85EA64}"/>
              </a:ext>
            </a:extLst>
          </p:cNvPr>
          <p:cNvSpPr>
            <a:spLocks noGrp="1"/>
          </p:cNvSpPr>
          <p:nvPr>
            <p:custDataLst>
              <p:tags r:id="rId34"/>
            </p:custDataLst>
          </p:nvPr>
        </p:nvSpPr>
        <p:spPr bwMode="gray">
          <a:xfrm>
            <a:off x="3017838" y="5646738"/>
            <a:ext cx="1222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E27A8BA-26E0-439B-9F32-F7E4B6187052}" type="datetime'''''''''''''''''''''''''''''''''''0''''''''2'''''">
              <a:rPr kumimoji="0" lang="de-DE" altLang="en-US" sz="9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2</a:t>
            </a:fld>
            <a:endParaRPr kumimoji="0" lang="de-DE" sz="900" b="0" i="0" u="none" strike="noStrike" kern="1200" cap="none" spc="0" normalizeH="0" baseline="0" noProof="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327" name="Text Placeholder 4">
            <a:extLst>
              <a:ext uri="{FF2B5EF4-FFF2-40B4-BE49-F238E27FC236}">
                <a16:creationId xmlns:a16="http://schemas.microsoft.com/office/drawing/2014/main" id="{47D30FB9-F777-4BAE-B314-B70C137CB311}"/>
              </a:ext>
            </a:extLst>
          </p:cNvPr>
          <p:cNvSpPr>
            <a:spLocks noGrp="1"/>
          </p:cNvSpPr>
          <p:nvPr>
            <p:custDataLst>
              <p:tags r:id="rId35"/>
            </p:custDataLst>
          </p:nvPr>
        </p:nvSpPr>
        <p:spPr bwMode="gray">
          <a:xfrm>
            <a:off x="1701800" y="5646738"/>
            <a:ext cx="1238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A328CEB-5E48-4BE6-95D3-439DAAAB3D1E}" type="datetime'''''9''''''''4'''''''''''''''''''''''''''''">
              <a:rPr kumimoji="0" lang="de-DE" altLang="en-US" sz="9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94</a:t>
            </a:fld>
            <a:endParaRPr kumimoji="0" lang="de-DE" sz="900" b="0" i="0" u="none" strike="noStrike" kern="1200" cap="none" spc="0" normalizeH="0" baseline="0" noProof="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328" name="Text Placeholder 4">
            <a:extLst>
              <a:ext uri="{FF2B5EF4-FFF2-40B4-BE49-F238E27FC236}">
                <a16:creationId xmlns:a16="http://schemas.microsoft.com/office/drawing/2014/main" id="{5E6D8743-DE6E-4FFC-83C3-222A3ACEF581}"/>
              </a:ext>
            </a:extLst>
          </p:cNvPr>
          <p:cNvSpPr>
            <a:spLocks noGrp="1"/>
          </p:cNvSpPr>
          <p:nvPr>
            <p:custDataLst>
              <p:tags r:id="rId36"/>
            </p:custDataLst>
          </p:nvPr>
        </p:nvSpPr>
        <p:spPr bwMode="gray">
          <a:xfrm>
            <a:off x="2033589" y="5646738"/>
            <a:ext cx="1174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7E3D181-638D-4AA7-B8FB-D8807624AC6F}" type="datetime'''''''''''''''''''9''6'">
              <a:rPr kumimoji="0" lang="de-DE" altLang="en-US" sz="9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96</a:t>
            </a:fld>
            <a:endParaRPr kumimoji="0" lang="de-DE" sz="900" b="0" i="0" u="none" strike="noStrike" kern="1200" cap="none" spc="0" normalizeH="0" baseline="0" noProof="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329" name="Text Placeholder 4">
            <a:extLst>
              <a:ext uri="{FF2B5EF4-FFF2-40B4-BE49-F238E27FC236}">
                <a16:creationId xmlns:a16="http://schemas.microsoft.com/office/drawing/2014/main" id="{94039945-A4A4-46A9-9C49-5FF023AEDF35}"/>
              </a:ext>
            </a:extLst>
          </p:cNvPr>
          <p:cNvSpPr>
            <a:spLocks noGrp="1"/>
          </p:cNvSpPr>
          <p:nvPr>
            <p:custDataLst>
              <p:tags r:id="rId37"/>
            </p:custDataLst>
          </p:nvPr>
        </p:nvSpPr>
        <p:spPr bwMode="gray">
          <a:xfrm>
            <a:off x="3673475" y="5646738"/>
            <a:ext cx="1222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C171BEB-F5DD-4A75-B59D-2B76EBBC7415}" type="datetime'''''0''''''''''''''''''''''''''''''''''''''''''''6'''''''''">
              <a:rPr kumimoji="0" lang="de-DE" altLang="en-US" sz="9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6</a:t>
            </a:fld>
            <a:endParaRPr kumimoji="0" lang="de-DE" sz="900" b="0" i="0" u="none" strike="noStrike" kern="1200" cap="none" spc="0" normalizeH="0" baseline="0" noProof="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330" name="Text Placeholder 4">
            <a:extLst>
              <a:ext uri="{FF2B5EF4-FFF2-40B4-BE49-F238E27FC236}">
                <a16:creationId xmlns:a16="http://schemas.microsoft.com/office/drawing/2014/main" id="{F9AFA9C8-5794-4713-BCDA-84FFEBCF6E60}"/>
              </a:ext>
            </a:extLst>
          </p:cNvPr>
          <p:cNvSpPr>
            <a:spLocks noGrp="1"/>
          </p:cNvSpPr>
          <p:nvPr>
            <p:custDataLst>
              <p:tags r:id="rId38"/>
            </p:custDataLst>
          </p:nvPr>
        </p:nvSpPr>
        <p:spPr bwMode="gray">
          <a:xfrm>
            <a:off x="4340225" y="5646738"/>
            <a:ext cx="101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510D24B-BE1B-47E8-8BD5-CE30D6E32693}" type="datetime'''1''''''0'''''''''''''''''''''''''''''">
              <a:rPr kumimoji="0" lang="de-DE" altLang="en-US" sz="9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0</a:t>
            </a:fld>
            <a:endParaRPr kumimoji="0" lang="de-DE" sz="900" b="0" i="0" u="none" strike="noStrike" kern="1200" cap="none" spc="0" normalizeH="0" baseline="0" noProof="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331" name="Text Placeholder 4">
            <a:extLst>
              <a:ext uri="{FF2B5EF4-FFF2-40B4-BE49-F238E27FC236}">
                <a16:creationId xmlns:a16="http://schemas.microsoft.com/office/drawing/2014/main" id="{1C0AF3CF-DF75-4D74-808F-26BCFFC5744F}"/>
              </a:ext>
            </a:extLst>
          </p:cNvPr>
          <p:cNvSpPr>
            <a:spLocks noGrp="1"/>
          </p:cNvSpPr>
          <p:nvPr>
            <p:custDataLst>
              <p:tags r:id="rId39"/>
            </p:custDataLst>
          </p:nvPr>
        </p:nvSpPr>
        <p:spPr bwMode="gray">
          <a:xfrm>
            <a:off x="3998913" y="5646738"/>
            <a:ext cx="1285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82F1EDE-B78B-4DD8-8D02-82D0CE4DB4A6}" type="datetime'''''''0''''''''''''''8'''''''''''''">
              <a:rPr kumimoji="0" lang="de-DE" altLang="en-US" sz="9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8</a:t>
            </a:fld>
            <a:endParaRPr kumimoji="0" lang="de-DE" sz="900" b="0" i="0" u="none" strike="noStrike" kern="1200" cap="none" spc="0" normalizeH="0" baseline="0" noProof="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332" name="Text Placeholder 4">
            <a:extLst>
              <a:ext uri="{FF2B5EF4-FFF2-40B4-BE49-F238E27FC236}">
                <a16:creationId xmlns:a16="http://schemas.microsoft.com/office/drawing/2014/main" id="{080DAC51-A599-452F-8F9A-B9BBA2403327}"/>
              </a:ext>
            </a:extLst>
          </p:cNvPr>
          <p:cNvSpPr>
            <a:spLocks noGrp="1"/>
          </p:cNvSpPr>
          <p:nvPr>
            <p:custDataLst>
              <p:tags r:id="rId40"/>
            </p:custDataLst>
          </p:nvPr>
        </p:nvSpPr>
        <p:spPr bwMode="gray">
          <a:xfrm>
            <a:off x="4672013" y="5646738"/>
            <a:ext cx="968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7BB6255-4366-47D5-B609-49F59A856E96}" type="datetime'''1''''''''''''''''''''''''''''''''2'''''''''''''">
              <a:rPr kumimoji="0" lang="de-DE" altLang="en-US" sz="9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2</a:t>
            </a:fld>
            <a:endParaRPr kumimoji="0" lang="de-DE" sz="900" b="0" i="0" u="none" strike="noStrike" kern="1200" cap="none" spc="0" normalizeH="0" baseline="0" noProof="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333" name="Text Placeholder 4">
            <a:extLst>
              <a:ext uri="{FF2B5EF4-FFF2-40B4-BE49-F238E27FC236}">
                <a16:creationId xmlns:a16="http://schemas.microsoft.com/office/drawing/2014/main" id="{43CA3BF2-481F-4888-B749-8CDCC390A78A}"/>
              </a:ext>
            </a:extLst>
          </p:cNvPr>
          <p:cNvSpPr>
            <a:spLocks noGrp="1"/>
          </p:cNvSpPr>
          <p:nvPr>
            <p:custDataLst>
              <p:tags r:id="rId41"/>
            </p:custDataLst>
          </p:nvPr>
        </p:nvSpPr>
        <p:spPr bwMode="gray">
          <a:xfrm>
            <a:off x="4997450" y="5646738"/>
            <a:ext cx="103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57BBD78-B8CB-40ED-AC28-35D9061F3684}" type="datetime'''''''''''14'''''''''''''''''''''''''''''''''''''''''">
              <a:rPr kumimoji="0" lang="de-DE" altLang="en-US" sz="9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4</a:t>
            </a:fld>
            <a:endParaRPr kumimoji="0" lang="de-DE" sz="900" b="0" i="0" u="none" strike="noStrike" kern="1200" cap="none" spc="0" normalizeH="0" baseline="0" noProof="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334" name="Text Placeholder 4">
            <a:extLst>
              <a:ext uri="{FF2B5EF4-FFF2-40B4-BE49-F238E27FC236}">
                <a16:creationId xmlns:a16="http://schemas.microsoft.com/office/drawing/2014/main" id="{1F588D75-A049-4D79-A0A5-3D1EF7D6524B}"/>
              </a:ext>
            </a:extLst>
          </p:cNvPr>
          <p:cNvSpPr>
            <a:spLocks noGrp="1"/>
          </p:cNvSpPr>
          <p:nvPr>
            <p:custDataLst>
              <p:tags r:id="rId42"/>
            </p:custDataLst>
          </p:nvPr>
        </p:nvSpPr>
        <p:spPr bwMode="gray">
          <a:xfrm>
            <a:off x="5329238" y="5646738"/>
            <a:ext cx="968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4D23458-0238-4944-BD58-3603872FE178}" type="datetime'''''''''''''''''''1''''''''''''''''''6'''''''''''''">
              <a:rPr kumimoji="0" lang="de-DE" altLang="en-US" sz="9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6</a:t>
            </a:fld>
            <a:endParaRPr kumimoji="0" lang="de-DE" sz="900" b="0" i="0" u="none" strike="noStrike" kern="1200" cap="none" spc="0" normalizeH="0" baseline="0" noProof="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335" name="Text Placeholder 4">
            <a:extLst>
              <a:ext uri="{FF2B5EF4-FFF2-40B4-BE49-F238E27FC236}">
                <a16:creationId xmlns:a16="http://schemas.microsoft.com/office/drawing/2014/main" id="{EFCA0BA0-0D42-470C-A746-0C7545FF437A}"/>
              </a:ext>
            </a:extLst>
          </p:cNvPr>
          <p:cNvSpPr>
            <a:spLocks noGrp="1"/>
          </p:cNvSpPr>
          <p:nvPr>
            <p:custDataLst>
              <p:tags r:id="rId43"/>
            </p:custDataLst>
          </p:nvPr>
        </p:nvSpPr>
        <p:spPr bwMode="gray">
          <a:xfrm>
            <a:off x="5654675" y="5646738"/>
            <a:ext cx="103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0DD163A-3F36-495F-9E3B-46BC4777BD48}" type="datetime'''''''''''''''''''''''''''1''''8'''''''''''''''">
              <a:rPr kumimoji="0" lang="de-DE" altLang="en-US" sz="9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8</a:t>
            </a:fld>
            <a:endParaRPr kumimoji="0" lang="de-DE" sz="900" b="0" i="0" u="none" strike="noStrike" kern="1200" cap="none" spc="0" normalizeH="0" baseline="0" noProof="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336" name="Text Placeholder 4">
            <a:extLst>
              <a:ext uri="{FF2B5EF4-FFF2-40B4-BE49-F238E27FC236}">
                <a16:creationId xmlns:a16="http://schemas.microsoft.com/office/drawing/2014/main" id="{974387E6-3997-4981-97A0-99026349B46C}"/>
              </a:ext>
            </a:extLst>
          </p:cNvPr>
          <p:cNvSpPr>
            <a:spLocks noGrp="1"/>
          </p:cNvSpPr>
          <p:nvPr>
            <p:custDataLst>
              <p:tags r:id="rId44"/>
            </p:custDataLst>
          </p:nvPr>
        </p:nvSpPr>
        <p:spPr bwMode="gray">
          <a:xfrm>
            <a:off x="5973763" y="5646738"/>
            <a:ext cx="1222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5185C18-DED0-4311-9A46-221A44DB1AFD}" type="datetime'''''''''2''''''''''''''''''''0'">
              <a:rPr kumimoji="0" lang="de-DE" altLang="en-US" sz="9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a:t>
            </a:fld>
            <a:endParaRPr kumimoji="0" lang="de-DE" sz="9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337" name="Text Placeholder 4">
            <a:extLst>
              <a:ext uri="{FF2B5EF4-FFF2-40B4-BE49-F238E27FC236}">
                <a16:creationId xmlns:a16="http://schemas.microsoft.com/office/drawing/2014/main" id="{BE7E71A5-B855-45EC-88AF-4E5F4D5BDE6F}"/>
              </a:ext>
            </a:extLst>
          </p:cNvPr>
          <p:cNvSpPr>
            <a:spLocks noGrp="1"/>
          </p:cNvSpPr>
          <p:nvPr>
            <p:custDataLst>
              <p:tags r:id="rId45"/>
            </p:custDataLst>
          </p:nvPr>
        </p:nvSpPr>
        <p:spPr bwMode="gray">
          <a:xfrm>
            <a:off x="7615238" y="5646738"/>
            <a:ext cx="1238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5C8F9E0-B42F-42FC-9330-D60F3EA129B2}" type="datetime'''''''''''''''''''''''''''''''''''''''3''''0'''''''''">
              <a:rPr kumimoji="0" lang="de-DE" altLang="en-US" sz="9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0</a:t>
            </a:fld>
            <a:endParaRPr kumimoji="0" lang="de-DE" sz="900" b="0" i="0" u="none" strike="noStrike" kern="1200" cap="none" spc="0" normalizeH="0" baseline="0" noProof="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338" name="Text Placeholder 4">
            <a:extLst>
              <a:ext uri="{FF2B5EF4-FFF2-40B4-BE49-F238E27FC236}">
                <a16:creationId xmlns:a16="http://schemas.microsoft.com/office/drawing/2014/main" id="{00C44B63-CFD3-4E90-8F02-D387DD81E903}"/>
              </a:ext>
            </a:extLst>
          </p:cNvPr>
          <p:cNvSpPr>
            <a:spLocks noGrp="1"/>
          </p:cNvSpPr>
          <p:nvPr>
            <p:custDataLst>
              <p:tags r:id="rId46"/>
            </p:custDataLst>
          </p:nvPr>
        </p:nvSpPr>
        <p:spPr bwMode="gray">
          <a:xfrm>
            <a:off x="9193213" y="5646738"/>
            <a:ext cx="2508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E26430C-837C-4F61-B7B5-4CFA661C2D19}" type="datetime'''''2''''''''''''''''''''''''''''''''''0''''''''''40'''''''''">
              <a:rPr kumimoji="0" lang="de-DE" altLang="en-US" sz="9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40</a:t>
            </a:fld>
            <a:endParaRPr kumimoji="0" lang="de-DE" sz="900" b="0" i="0" u="none" strike="noStrike" kern="1200" cap="none" spc="0" normalizeH="0" baseline="0" noProof="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grpSp>
        <p:nvGrpSpPr>
          <p:cNvPr id="70" name="Group 69">
            <a:extLst>
              <a:ext uri="{FF2B5EF4-FFF2-40B4-BE49-F238E27FC236}">
                <a16:creationId xmlns:a16="http://schemas.microsoft.com/office/drawing/2014/main" id="{399C364D-7653-4230-ACDA-26378B214C7D}"/>
              </a:ext>
            </a:extLst>
          </p:cNvPr>
          <p:cNvGrpSpPr/>
          <p:nvPr/>
        </p:nvGrpSpPr>
        <p:grpSpPr>
          <a:xfrm>
            <a:off x="9504363" y="3692857"/>
            <a:ext cx="2084961" cy="215444"/>
            <a:chOff x="9504363" y="3510191"/>
            <a:chExt cx="2084961" cy="215444"/>
          </a:xfrm>
        </p:grpSpPr>
        <p:cxnSp>
          <p:nvCxnSpPr>
            <p:cNvPr id="72" name="Straight Connector 71">
              <a:extLst>
                <a:ext uri="{FF2B5EF4-FFF2-40B4-BE49-F238E27FC236}">
                  <a16:creationId xmlns:a16="http://schemas.microsoft.com/office/drawing/2014/main" id="{F1A146E7-DD9D-EB6A-4529-B42651539788}"/>
                </a:ext>
              </a:extLst>
            </p:cNvPr>
            <p:cNvCxnSpPr>
              <a:cxnSpLocks/>
            </p:cNvCxnSpPr>
            <p:nvPr>
              <p:custDataLst>
                <p:tags r:id="rId63"/>
              </p:custDataLst>
            </p:nvPr>
          </p:nvCxnSpPr>
          <p:spPr bwMode="gray">
            <a:xfrm>
              <a:off x="9504363" y="3617913"/>
              <a:ext cx="304800" cy="0"/>
            </a:xfrm>
            <a:prstGeom prst="line">
              <a:avLst/>
            </a:prstGeom>
            <a:ln w="28575" cap="rnd" cmpd="sng" algn="ctr">
              <a:solidFill>
                <a:srgbClr val="92D050"/>
              </a:solidFill>
              <a:prstDash val="sysDot"/>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Box 17">
              <a:extLst>
                <a:ext uri="{FF2B5EF4-FFF2-40B4-BE49-F238E27FC236}">
                  <a16:creationId xmlns:a16="http://schemas.microsoft.com/office/drawing/2014/main" id="{3AB4C49E-5FD3-4595-9711-9D4DED56CBB8}"/>
                </a:ext>
              </a:extLst>
            </p:cNvPr>
            <p:cNvSpPr txBox="1">
              <a:spLocks/>
            </p:cNvSpPr>
            <p:nvPr/>
          </p:nvSpPr>
          <p:spPr>
            <a:xfrm>
              <a:off x="9888537" y="3510191"/>
              <a:ext cx="1700787" cy="215444"/>
            </a:xfrm>
            <a:prstGeom prst="rect">
              <a:avLst/>
            </a:prstGeom>
          </p:spPr>
          <p:txBody>
            <a:bodyPr vert="horz" wrap="square" lIns="0" tIns="0" rIns="0" bIns="0" rtlCol="0" anchor="ctr" anchorCtr="0">
              <a:spAutoFit/>
            </a:bodyPr>
            <a:lstStyle>
              <a:lvl1pPr marL="469900" lvl="0" indent="-469900" eaLnBrk="1" hangingPunct="1">
                <a:spcBef>
                  <a:spcPct val="20000"/>
                </a:spcBef>
                <a:buClr>
                  <a:srgbClr val="ED1C24"/>
                </a:buClr>
                <a:buFont typeface="Arial" panose="020B0604020202020204" pitchFamily="34" charset="0"/>
                <a:buChar char="•"/>
                <a:defRPr sz="2200">
                  <a:latin typeface="Bahnschrift" panose="020B0502040204020203" pitchFamily="34" charset="0"/>
                </a:defRPr>
              </a:lvl1pPr>
              <a:lvl2pPr marL="908050" lvl="1" indent="-436563" eaLnBrk="1" hangingPunct="1">
                <a:spcBef>
                  <a:spcPct val="20000"/>
                </a:spcBef>
                <a:buClr>
                  <a:schemeClr val="tx1"/>
                </a:buClr>
                <a:buFont typeface="Symbol" panose="05050102010706020507" pitchFamily="18" charset="2"/>
                <a:buChar char="-"/>
                <a:defRPr sz="2000">
                  <a:latin typeface="Bahnschrift" panose="020B0502040204020203" pitchFamily="34" charset="0"/>
                </a:defRPr>
              </a:lvl2pPr>
              <a:lvl3pPr marL="1304925" lvl="2" indent="-395288" eaLnBrk="1" hangingPunct="1">
                <a:spcBef>
                  <a:spcPct val="20000"/>
                </a:spcBef>
                <a:buClr>
                  <a:srgbClr val="6F6F6F"/>
                </a:buClr>
                <a:buFont typeface="Symbol" pitchFamily="18" charset="2"/>
                <a:buChar char="-"/>
                <a:defRPr sz="1800">
                  <a:latin typeface="Bahnschrift" panose="020B0502040204020203" pitchFamily="34" charset="0"/>
                </a:defRPr>
              </a:lvl3pPr>
              <a:lvl4pPr marL="1693863" lvl="3" indent="-387350" eaLnBrk="1" hangingPunct="1">
                <a:spcBef>
                  <a:spcPct val="20000"/>
                </a:spcBef>
                <a:buClr>
                  <a:srgbClr val="6F6F6F"/>
                </a:buClr>
                <a:buFont typeface="Symbol" pitchFamily="18" charset="2"/>
                <a:buChar char="-"/>
                <a:defRPr sz="1800">
                  <a:latin typeface="Bahnschrift" panose="020B0502040204020203" pitchFamily="34" charset="0"/>
                </a:defRPr>
              </a:lvl4pPr>
              <a:lvl5pPr marL="2093913" lvl="4" indent="-398463" eaLnBrk="1" hangingPunct="1">
                <a:spcBef>
                  <a:spcPct val="25000"/>
                </a:spcBef>
                <a:buClr>
                  <a:srgbClr val="6F6F6F"/>
                </a:buClr>
                <a:buFont typeface="Symbol" pitchFamily="18" charset="2"/>
                <a:buChar char="-"/>
                <a:defRPr sz="1800">
                  <a:latin typeface="Bahnschrift" panose="020B0502040204020203" pitchFamily="34" charset="0"/>
                </a:defRPr>
              </a:lvl5pPr>
              <a:lvl6pPr marL="2551113" indent="-398463" fontAlgn="base">
                <a:spcBef>
                  <a:spcPct val="25000"/>
                </a:spcBef>
                <a:spcAft>
                  <a:spcPct val="0"/>
                </a:spcAft>
                <a:buClr>
                  <a:schemeClr val="accent2"/>
                </a:buClr>
                <a:buFont typeface="Wingdings" pitchFamily="2" charset="2"/>
                <a:buChar char="§"/>
                <a:defRPr sz="2000">
                  <a:latin typeface="+mn-lt"/>
                </a:defRPr>
              </a:lvl6pPr>
              <a:lvl7pPr marL="3008313" indent="-398463" fontAlgn="base">
                <a:spcBef>
                  <a:spcPct val="25000"/>
                </a:spcBef>
                <a:spcAft>
                  <a:spcPct val="0"/>
                </a:spcAft>
                <a:buClr>
                  <a:schemeClr val="accent2"/>
                </a:buClr>
                <a:buFont typeface="Wingdings" pitchFamily="2" charset="2"/>
                <a:buChar char="§"/>
                <a:defRPr sz="2000">
                  <a:latin typeface="+mn-lt"/>
                </a:defRPr>
              </a:lvl7pPr>
              <a:lvl8pPr marL="3465513" indent="-398463" fontAlgn="base">
                <a:spcBef>
                  <a:spcPct val="25000"/>
                </a:spcBef>
                <a:spcAft>
                  <a:spcPct val="0"/>
                </a:spcAft>
                <a:buClr>
                  <a:schemeClr val="accent2"/>
                </a:buClr>
                <a:buFont typeface="Wingdings" pitchFamily="2" charset="2"/>
                <a:buChar char="§"/>
                <a:defRPr sz="2000">
                  <a:latin typeface="+mn-lt"/>
                </a:defRPr>
              </a:lvl8pPr>
              <a:lvl9pPr marL="3922713" indent="-398463" fontAlgn="base">
                <a:spcBef>
                  <a:spcPct val="25000"/>
                </a:spcBef>
                <a:spcAft>
                  <a:spcPct val="0"/>
                </a:spcAft>
                <a:buClr>
                  <a:schemeClr val="accent2"/>
                </a:buClr>
                <a:buFont typeface="Wingdings" pitchFamily="2" charset="2"/>
                <a:buChar char="§"/>
                <a:defRPr sz="2000">
                  <a:latin typeface="+mn-lt"/>
                </a:defRPr>
              </a:lvl9pPr>
            </a:lstStyle>
            <a:p>
              <a:pPr marL="0" indent="0">
                <a:buNone/>
              </a:pPr>
              <a:r>
                <a:rPr lang="de-DE" sz="700" dirty="0">
                  <a:cs typeface="Arial" panose="020B0604020202020204" pitchFamily="34" charset="0"/>
                </a:rPr>
                <a:t>Klimaneutralität 2040 Umweltbundes-</a:t>
              </a:r>
              <a:br>
                <a:rPr lang="de-DE" sz="700" dirty="0">
                  <a:cs typeface="Arial" panose="020B0604020202020204" pitchFamily="34" charset="0"/>
                </a:rPr>
              </a:br>
              <a:r>
                <a:rPr lang="de-DE" sz="700" dirty="0" err="1">
                  <a:cs typeface="Arial" panose="020B0604020202020204" pitchFamily="34" charset="0"/>
                </a:rPr>
                <a:t>amt</a:t>
              </a:r>
              <a:r>
                <a:rPr lang="de-DE" sz="700" dirty="0">
                  <a:cs typeface="Arial" panose="020B0604020202020204" pitchFamily="34" charset="0"/>
                </a:rPr>
                <a:t> (Fokus Erneuerbare ET)</a:t>
              </a:r>
              <a:r>
                <a:rPr lang="de-DE" sz="700" baseline="30000" dirty="0">
                  <a:cs typeface="Arial" panose="020B0604020202020204" pitchFamily="34" charset="0"/>
                </a:rPr>
                <a:t>2</a:t>
              </a:r>
              <a:r>
                <a:rPr lang="de-DE" sz="700" dirty="0">
                  <a:cs typeface="Arial" panose="020B0604020202020204" pitchFamily="34" charset="0"/>
                </a:rPr>
                <a:t> [2021]</a:t>
              </a:r>
              <a:endParaRPr lang="en-NZ" sz="700" dirty="0">
                <a:cs typeface="Arial" panose="020B0604020202020204" pitchFamily="34" charset="0"/>
              </a:endParaRPr>
            </a:p>
          </p:txBody>
        </p:sp>
      </p:grpSp>
      <p:grpSp>
        <p:nvGrpSpPr>
          <p:cNvPr id="59" name="Group 58">
            <a:extLst>
              <a:ext uri="{FF2B5EF4-FFF2-40B4-BE49-F238E27FC236}">
                <a16:creationId xmlns:a16="http://schemas.microsoft.com/office/drawing/2014/main" id="{F152CA30-7E13-4223-9677-30D85EC6E4B4}"/>
              </a:ext>
            </a:extLst>
          </p:cNvPr>
          <p:cNvGrpSpPr/>
          <p:nvPr/>
        </p:nvGrpSpPr>
        <p:grpSpPr>
          <a:xfrm>
            <a:off x="9504363" y="2323786"/>
            <a:ext cx="2084961" cy="107722"/>
            <a:chOff x="9504363" y="2132127"/>
            <a:chExt cx="2084961" cy="107722"/>
          </a:xfrm>
        </p:grpSpPr>
        <p:cxnSp>
          <p:nvCxnSpPr>
            <p:cNvPr id="86" name="Straight Connector 85">
              <a:extLst>
                <a:ext uri="{FF2B5EF4-FFF2-40B4-BE49-F238E27FC236}">
                  <a16:creationId xmlns:a16="http://schemas.microsoft.com/office/drawing/2014/main" id="{AAA34CEA-89C1-1643-E2C8-98079E608C07}"/>
                </a:ext>
              </a:extLst>
            </p:cNvPr>
            <p:cNvCxnSpPr>
              <a:cxnSpLocks/>
            </p:cNvCxnSpPr>
            <p:nvPr>
              <p:custDataLst>
                <p:tags r:id="rId62"/>
              </p:custDataLst>
            </p:nvPr>
          </p:nvCxnSpPr>
          <p:spPr bwMode="gray">
            <a:xfrm>
              <a:off x="9504363" y="2185988"/>
              <a:ext cx="304800" cy="0"/>
            </a:xfrm>
            <a:prstGeom prst="line">
              <a:avLst/>
            </a:prstGeom>
            <a:ln w="28575" cap="rnd" cmpd="sng" algn="ctr">
              <a:solidFill>
                <a:srgbClr val="027AB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 name="TextBox 21">
              <a:extLst>
                <a:ext uri="{FF2B5EF4-FFF2-40B4-BE49-F238E27FC236}">
                  <a16:creationId xmlns:a16="http://schemas.microsoft.com/office/drawing/2014/main" id="{B5E37CA1-5ADA-4B70-A4F6-533161CC53F9}"/>
                </a:ext>
              </a:extLst>
            </p:cNvPr>
            <p:cNvSpPr txBox="1">
              <a:spLocks/>
            </p:cNvSpPr>
            <p:nvPr/>
          </p:nvSpPr>
          <p:spPr>
            <a:xfrm>
              <a:off x="9888537" y="2132127"/>
              <a:ext cx="1700787" cy="107722"/>
            </a:xfrm>
            <a:prstGeom prst="rect">
              <a:avLst/>
            </a:prstGeom>
          </p:spPr>
          <p:txBody>
            <a:bodyPr vert="horz" wrap="square" lIns="0" tIns="0" rIns="0" bIns="0" rtlCol="0" anchor="ctr" anchorCtr="0">
              <a:spAutoFit/>
            </a:bodyPr>
            <a:lstStyle>
              <a:lvl1pPr marL="469900" lvl="0" indent="-469900" eaLnBrk="1" hangingPunct="1">
                <a:spcBef>
                  <a:spcPct val="20000"/>
                </a:spcBef>
                <a:buClr>
                  <a:srgbClr val="ED1C24"/>
                </a:buClr>
                <a:buFont typeface="Arial" panose="020B0604020202020204" pitchFamily="34" charset="0"/>
                <a:buChar char="•"/>
                <a:defRPr sz="2200">
                  <a:latin typeface="Bahnschrift" panose="020B0502040204020203" pitchFamily="34" charset="0"/>
                </a:defRPr>
              </a:lvl1pPr>
              <a:lvl2pPr marL="908050" lvl="1" indent="-436563" eaLnBrk="1" hangingPunct="1">
                <a:spcBef>
                  <a:spcPct val="20000"/>
                </a:spcBef>
                <a:buClr>
                  <a:schemeClr val="tx1"/>
                </a:buClr>
                <a:buFont typeface="Symbol" panose="05050102010706020507" pitchFamily="18" charset="2"/>
                <a:buChar char="-"/>
                <a:defRPr sz="2000">
                  <a:latin typeface="Bahnschrift" panose="020B0502040204020203" pitchFamily="34" charset="0"/>
                </a:defRPr>
              </a:lvl2pPr>
              <a:lvl3pPr marL="1304925" lvl="2" indent="-395288" eaLnBrk="1" hangingPunct="1">
                <a:spcBef>
                  <a:spcPct val="20000"/>
                </a:spcBef>
                <a:buClr>
                  <a:srgbClr val="6F6F6F"/>
                </a:buClr>
                <a:buFont typeface="Symbol" pitchFamily="18" charset="2"/>
                <a:buChar char="-"/>
                <a:defRPr sz="1800">
                  <a:latin typeface="Bahnschrift" panose="020B0502040204020203" pitchFamily="34" charset="0"/>
                </a:defRPr>
              </a:lvl3pPr>
              <a:lvl4pPr marL="1693863" lvl="3" indent="-387350" eaLnBrk="1" hangingPunct="1">
                <a:spcBef>
                  <a:spcPct val="20000"/>
                </a:spcBef>
                <a:buClr>
                  <a:srgbClr val="6F6F6F"/>
                </a:buClr>
                <a:buFont typeface="Symbol" pitchFamily="18" charset="2"/>
                <a:buChar char="-"/>
                <a:defRPr sz="1800">
                  <a:latin typeface="Bahnschrift" panose="020B0502040204020203" pitchFamily="34" charset="0"/>
                </a:defRPr>
              </a:lvl4pPr>
              <a:lvl5pPr marL="2093913" lvl="4" indent="-398463" eaLnBrk="1" hangingPunct="1">
                <a:spcBef>
                  <a:spcPct val="25000"/>
                </a:spcBef>
                <a:buClr>
                  <a:srgbClr val="6F6F6F"/>
                </a:buClr>
                <a:buFont typeface="Symbol" pitchFamily="18" charset="2"/>
                <a:buChar char="-"/>
                <a:defRPr sz="1800">
                  <a:latin typeface="Bahnschrift" panose="020B0502040204020203" pitchFamily="34" charset="0"/>
                </a:defRPr>
              </a:lvl5pPr>
              <a:lvl6pPr marL="2551113" indent="-398463" fontAlgn="base">
                <a:spcBef>
                  <a:spcPct val="25000"/>
                </a:spcBef>
                <a:spcAft>
                  <a:spcPct val="0"/>
                </a:spcAft>
                <a:buClr>
                  <a:schemeClr val="accent2"/>
                </a:buClr>
                <a:buFont typeface="Wingdings" pitchFamily="2" charset="2"/>
                <a:buChar char="§"/>
                <a:defRPr sz="2000">
                  <a:latin typeface="+mn-lt"/>
                </a:defRPr>
              </a:lvl6pPr>
              <a:lvl7pPr marL="3008313" indent="-398463" fontAlgn="base">
                <a:spcBef>
                  <a:spcPct val="25000"/>
                </a:spcBef>
                <a:spcAft>
                  <a:spcPct val="0"/>
                </a:spcAft>
                <a:buClr>
                  <a:schemeClr val="accent2"/>
                </a:buClr>
                <a:buFont typeface="Wingdings" pitchFamily="2" charset="2"/>
                <a:buChar char="§"/>
                <a:defRPr sz="2000">
                  <a:latin typeface="+mn-lt"/>
                </a:defRPr>
              </a:lvl7pPr>
              <a:lvl8pPr marL="3465513" indent="-398463" fontAlgn="base">
                <a:spcBef>
                  <a:spcPct val="25000"/>
                </a:spcBef>
                <a:spcAft>
                  <a:spcPct val="0"/>
                </a:spcAft>
                <a:buClr>
                  <a:schemeClr val="accent2"/>
                </a:buClr>
                <a:buFont typeface="Wingdings" pitchFamily="2" charset="2"/>
                <a:buChar char="§"/>
                <a:defRPr sz="2000">
                  <a:latin typeface="+mn-lt"/>
                </a:defRPr>
              </a:lvl8pPr>
              <a:lvl9pPr marL="3922713" indent="-398463" fontAlgn="base">
                <a:spcBef>
                  <a:spcPct val="25000"/>
                </a:spcBef>
                <a:spcAft>
                  <a:spcPct val="0"/>
                </a:spcAft>
                <a:buClr>
                  <a:schemeClr val="accent2"/>
                </a:buClr>
                <a:buFont typeface="Wingdings" pitchFamily="2" charset="2"/>
                <a:buChar char="§"/>
                <a:defRPr sz="2000">
                  <a:latin typeface="+mn-lt"/>
                </a:defRPr>
              </a:lvl9pPr>
            </a:lstStyle>
            <a:p>
              <a:pPr marL="0" indent="0">
                <a:buNone/>
              </a:pPr>
              <a:r>
                <a:rPr lang="en-NZ" sz="700" dirty="0" err="1">
                  <a:cs typeface="Arial" panose="020B0604020202020204" pitchFamily="34" charset="0"/>
                </a:rPr>
                <a:t>Szenario</a:t>
              </a:r>
              <a:r>
                <a:rPr lang="en-NZ" sz="700" dirty="0">
                  <a:cs typeface="Arial" panose="020B0604020202020204" pitchFamily="34" charset="0"/>
                </a:rPr>
                <a:t> WAM NEKP</a:t>
              </a:r>
              <a:r>
                <a:rPr lang="en-NZ" sz="700" baseline="30000" dirty="0">
                  <a:cs typeface="Arial" panose="020B0604020202020204" pitchFamily="34" charset="0"/>
                </a:rPr>
                <a:t>1 </a:t>
              </a:r>
              <a:r>
                <a:rPr lang="en-NZ" sz="700" dirty="0">
                  <a:cs typeface="Arial" panose="020B0604020202020204" pitchFamily="34" charset="0"/>
                </a:rPr>
                <a:t>[2023]</a:t>
              </a:r>
            </a:p>
          </p:txBody>
        </p:sp>
      </p:grpSp>
      <p:grpSp>
        <p:nvGrpSpPr>
          <p:cNvPr id="56" name="Group 55">
            <a:extLst>
              <a:ext uri="{FF2B5EF4-FFF2-40B4-BE49-F238E27FC236}">
                <a16:creationId xmlns:a16="http://schemas.microsoft.com/office/drawing/2014/main" id="{9D6FDE0A-79F9-4E80-A538-DFCCB8A771E8}"/>
              </a:ext>
            </a:extLst>
          </p:cNvPr>
          <p:cNvGrpSpPr/>
          <p:nvPr/>
        </p:nvGrpSpPr>
        <p:grpSpPr>
          <a:xfrm>
            <a:off x="9504363" y="1664570"/>
            <a:ext cx="2084961" cy="107722"/>
            <a:chOff x="9504363" y="1757477"/>
            <a:chExt cx="2084961" cy="107722"/>
          </a:xfrm>
        </p:grpSpPr>
        <p:cxnSp>
          <p:nvCxnSpPr>
            <p:cNvPr id="84" name="Straight Connector 83">
              <a:extLst>
                <a:ext uri="{FF2B5EF4-FFF2-40B4-BE49-F238E27FC236}">
                  <a16:creationId xmlns:a16="http://schemas.microsoft.com/office/drawing/2014/main" id="{97747502-D4BC-3FB3-85F3-E024816DE5AD}"/>
                </a:ext>
              </a:extLst>
            </p:cNvPr>
            <p:cNvCxnSpPr>
              <a:cxnSpLocks/>
            </p:cNvCxnSpPr>
            <p:nvPr>
              <p:custDataLst>
                <p:tags r:id="rId61"/>
              </p:custDataLst>
            </p:nvPr>
          </p:nvCxnSpPr>
          <p:spPr bwMode="gray">
            <a:xfrm>
              <a:off x="9504363" y="1811338"/>
              <a:ext cx="304800" cy="0"/>
            </a:xfrm>
            <a:prstGeom prst="line">
              <a:avLst/>
            </a:prstGeom>
            <a:ln w="28575" cap="rnd"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4" name="TextBox 23">
              <a:extLst>
                <a:ext uri="{FF2B5EF4-FFF2-40B4-BE49-F238E27FC236}">
                  <a16:creationId xmlns:a16="http://schemas.microsoft.com/office/drawing/2014/main" id="{C462CF11-F766-4A66-8630-100E8BB933B9}"/>
                </a:ext>
              </a:extLst>
            </p:cNvPr>
            <p:cNvSpPr txBox="1">
              <a:spLocks/>
            </p:cNvSpPr>
            <p:nvPr/>
          </p:nvSpPr>
          <p:spPr>
            <a:xfrm>
              <a:off x="9888537" y="1757477"/>
              <a:ext cx="1700787" cy="107722"/>
            </a:xfrm>
            <a:prstGeom prst="rect">
              <a:avLst/>
            </a:prstGeom>
          </p:spPr>
          <p:txBody>
            <a:bodyPr vert="horz" wrap="square" lIns="0" tIns="0" rIns="0" bIns="0" rtlCol="0" anchor="ctr" anchorCtr="0">
              <a:spAutoFit/>
            </a:bodyPr>
            <a:lstStyle>
              <a:lvl1pPr marL="469900" lvl="0" indent="-469900" eaLnBrk="1" hangingPunct="1">
                <a:spcBef>
                  <a:spcPct val="20000"/>
                </a:spcBef>
                <a:buClr>
                  <a:srgbClr val="ED1C24"/>
                </a:buClr>
                <a:buFont typeface="Arial" panose="020B0604020202020204" pitchFamily="34" charset="0"/>
                <a:buChar char="•"/>
                <a:defRPr sz="2200">
                  <a:latin typeface="Bahnschrift" panose="020B0502040204020203" pitchFamily="34" charset="0"/>
                </a:defRPr>
              </a:lvl1pPr>
              <a:lvl2pPr marL="908050" lvl="1" indent="-436563" eaLnBrk="1" hangingPunct="1">
                <a:spcBef>
                  <a:spcPct val="20000"/>
                </a:spcBef>
                <a:buClr>
                  <a:schemeClr val="tx1"/>
                </a:buClr>
                <a:buFont typeface="Symbol" panose="05050102010706020507" pitchFamily="18" charset="2"/>
                <a:buChar char="-"/>
                <a:defRPr sz="2000">
                  <a:latin typeface="Bahnschrift" panose="020B0502040204020203" pitchFamily="34" charset="0"/>
                </a:defRPr>
              </a:lvl2pPr>
              <a:lvl3pPr marL="1304925" lvl="2" indent="-395288" eaLnBrk="1" hangingPunct="1">
                <a:spcBef>
                  <a:spcPct val="20000"/>
                </a:spcBef>
                <a:buClr>
                  <a:srgbClr val="6F6F6F"/>
                </a:buClr>
                <a:buFont typeface="Symbol" pitchFamily="18" charset="2"/>
                <a:buChar char="-"/>
                <a:defRPr sz="1800">
                  <a:latin typeface="Bahnschrift" panose="020B0502040204020203" pitchFamily="34" charset="0"/>
                </a:defRPr>
              </a:lvl3pPr>
              <a:lvl4pPr marL="1693863" lvl="3" indent="-387350" eaLnBrk="1" hangingPunct="1">
                <a:spcBef>
                  <a:spcPct val="20000"/>
                </a:spcBef>
                <a:buClr>
                  <a:srgbClr val="6F6F6F"/>
                </a:buClr>
                <a:buFont typeface="Symbol" pitchFamily="18" charset="2"/>
                <a:buChar char="-"/>
                <a:defRPr sz="1800">
                  <a:latin typeface="Bahnschrift" panose="020B0502040204020203" pitchFamily="34" charset="0"/>
                </a:defRPr>
              </a:lvl4pPr>
              <a:lvl5pPr marL="2093913" lvl="4" indent="-398463" eaLnBrk="1" hangingPunct="1">
                <a:spcBef>
                  <a:spcPct val="25000"/>
                </a:spcBef>
                <a:buClr>
                  <a:srgbClr val="6F6F6F"/>
                </a:buClr>
                <a:buFont typeface="Symbol" pitchFamily="18" charset="2"/>
                <a:buChar char="-"/>
                <a:defRPr sz="1800">
                  <a:latin typeface="Bahnschrift" panose="020B0502040204020203" pitchFamily="34" charset="0"/>
                </a:defRPr>
              </a:lvl5pPr>
              <a:lvl6pPr marL="2551113" indent="-398463" fontAlgn="base">
                <a:spcBef>
                  <a:spcPct val="25000"/>
                </a:spcBef>
                <a:spcAft>
                  <a:spcPct val="0"/>
                </a:spcAft>
                <a:buClr>
                  <a:schemeClr val="accent2"/>
                </a:buClr>
                <a:buFont typeface="Wingdings" pitchFamily="2" charset="2"/>
                <a:buChar char="§"/>
                <a:defRPr sz="2000">
                  <a:latin typeface="+mn-lt"/>
                </a:defRPr>
              </a:lvl6pPr>
              <a:lvl7pPr marL="3008313" indent="-398463" fontAlgn="base">
                <a:spcBef>
                  <a:spcPct val="25000"/>
                </a:spcBef>
                <a:spcAft>
                  <a:spcPct val="0"/>
                </a:spcAft>
                <a:buClr>
                  <a:schemeClr val="accent2"/>
                </a:buClr>
                <a:buFont typeface="Wingdings" pitchFamily="2" charset="2"/>
                <a:buChar char="§"/>
                <a:defRPr sz="2000">
                  <a:latin typeface="+mn-lt"/>
                </a:defRPr>
              </a:lvl7pPr>
              <a:lvl8pPr marL="3465513" indent="-398463" fontAlgn="base">
                <a:spcBef>
                  <a:spcPct val="25000"/>
                </a:spcBef>
                <a:spcAft>
                  <a:spcPct val="0"/>
                </a:spcAft>
                <a:buClr>
                  <a:schemeClr val="accent2"/>
                </a:buClr>
                <a:buFont typeface="Wingdings" pitchFamily="2" charset="2"/>
                <a:buChar char="§"/>
                <a:defRPr sz="2000">
                  <a:latin typeface="+mn-lt"/>
                </a:defRPr>
              </a:lvl8pPr>
              <a:lvl9pPr marL="3922713" indent="-398463" fontAlgn="base">
                <a:spcBef>
                  <a:spcPct val="25000"/>
                </a:spcBef>
                <a:spcAft>
                  <a:spcPct val="0"/>
                </a:spcAft>
                <a:buClr>
                  <a:schemeClr val="accent2"/>
                </a:buClr>
                <a:buFont typeface="Wingdings" pitchFamily="2" charset="2"/>
                <a:buChar char="§"/>
                <a:defRPr sz="2000">
                  <a:latin typeface="+mn-lt"/>
                </a:defRPr>
              </a:lvl9pPr>
            </a:lstStyle>
            <a:p>
              <a:pPr marL="0" indent="0">
                <a:buNone/>
              </a:pPr>
              <a:r>
                <a:rPr lang="en-NZ" sz="700" dirty="0" err="1">
                  <a:cs typeface="Arial" panose="020B0604020202020204" pitchFamily="34" charset="0"/>
                </a:rPr>
                <a:t>Bruttoinlandsverbrauch</a:t>
              </a:r>
              <a:endParaRPr lang="en-NZ" sz="700" dirty="0">
                <a:cs typeface="Arial" panose="020B0604020202020204" pitchFamily="34" charset="0"/>
              </a:endParaRPr>
            </a:p>
          </p:txBody>
        </p:sp>
      </p:grpSp>
      <p:grpSp>
        <p:nvGrpSpPr>
          <p:cNvPr id="71" name="Group 70">
            <a:extLst>
              <a:ext uri="{FF2B5EF4-FFF2-40B4-BE49-F238E27FC236}">
                <a16:creationId xmlns:a16="http://schemas.microsoft.com/office/drawing/2014/main" id="{95E02606-7BB5-4416-812B-56E43393F3F1}"/>
              </a:ext>
            </a:extLst>
          </p:cNvPr>
          <p:cNvGrpSpPr/>
          <p:nvPr/>
        </p:nvGrpSpPr>
        <p:grpSpPr>
          <a:xfrm>
            <a:off x="9504363" y="3965383"/>
            <a:ext cx="2084961" cy="215444"/>
            <a:chOff x="9504363" y="3834041"/>
            <a:chExt cx="2084961" cy="215444"/>
          </a:xfrm>
        </p:grpSpPr>
        <p:cxnSp>
          <p:nvCxnSpPr>
            <p:cNvPr id="75" name="Straight Connector 74">
              <a:extLst>
                <a:ext uri="{FF2B5EF4-FFF2-40B4-BE49-F238E27FC236}">
                  <a16:creationId xmlns:a16="http://schemas.microsoft.com/office/drawing/2014/main" id="{FFD5F9AA-03E4-1E5A-881C-B1B8125C2202}"/>
                </a:ext>
              </a:extLst>
            </p:cNvPr>
            <p:cNvCxnSpPr>
              <a:cxnSpLocks/>
            </p:cNvCxnSpPr>
            <p:nvPr>
              <p:custDataLst>
                <p:tags r:id="rId60"/>
              </p:custDataLst>
            </p:nvPr>
          </p:nvCxnSpPr>
          <p:spPr bwMode="gray">
            <a:xfrm>
              <a:off x="9504363" y="3941763"/>
              <a:ext cx="304800" cy="0"/>
            </a:xfrm>
            <a:prstGeom prst="line">
              <a:avLst/>
            </a:prstGeom>
            <a:ln w="28575" cap="rnd" cmpd="sng" algn="ctr">
              <a:solidFill>
                <a:srgbClr val="007800"/>
              </a:solidFill>
              <a:prstDash val="sysDot"/>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6" name="TextBox 25">
              <a:extLst>
                <a:ext uri="{FF2B5EF4-FFF2-40B4-BE49-F238E27FC236}">
                  <a16:creationId xmlns:a16="http://schemas.microsoft.com/office/drawing/2014/main" id="{0B86D87F-7A86-4582-9BBC-350EC75B9E5B}"/>
                </a:ext>
              </a:extLst>
            </p:cNvPr>
            <p:cNvSpPr txBox="1">
              <a:spLocks/>
            </p:cNvSpPr>
            <p:nvPr/>
          </p:nvSpPr>
          <p:spPr>
            <a:xfrm>
              <a:off x="9888537" y="3834041"/>
              <a:ext cx="1700787" cy="215444"/>
            </a:xfrm>
            <a:prstGeom prst="rect">
              <a:avLst/>
            </a:prstGeom>
          </p:spPr>
          <p:txBody>
            <a:bodyPr vert="horz" wrap="square" lIns="0" tIns="0" rIns="0" bIns="0" rtlCol="0" anchor="ctr" anchorCtr="0">
              <a:spAutoFit/>
            </a:bodyPr>
            <a:lstStyle>
              <a:lvl1pPr marL="469900" lvl="0" indent="-469900" eaLnBrk="1" hangingPunct="1">
                <a:spcBef>
                  <a:spcPct val="20000"/>
                </a:spcBef>
                <a:buClr>
                  <a:srgbClr val="ED1C24"/>
                </a:buClr>
                <a:buFont typeface="Arial" panose="020B0604020202020204" pitchFamily="34" charset="0"/>
                <a:buChar char="•"/>
                <a:defRPr sz="2200">
                  <a:latin typeface="Bahnschrift" panose="020B0502040204020203" pitchFamily="34" charset="0"/>
                </a:defRPr>
              </a:lvl1pPr>
              <a:lvl2pPr marL="908050" lvl="1" indent="-436563" eaLnBrk="1" hangingPunct="1">
                <a:spcBef>
                  <a:spcPct val="20000"/>
                </a:spcBef>
                <a:buClr>
                  <a:schemeClr val="tx1"/>
                </a:buClr>
                <a:buFont typeface="Symbol" panose="05050102010706020507" pitchFamily="18" charset="2"/>
                <a:buChar char="-"/>
                <a:defRPr sz="2000">
                  <a:latin typeface="Bahnschrift" panose="020B0502040204020203" pitchFamily="34" charset="0"/>
                </a:defRPr>
              </a:lvl2pPr>
              <a:lvl3pPr marL="1304925" lvl="2" indent="-395288" eaLnBrk="1" hangingPunct="1">
                <a:spcBef>
                  <a:spcPct val="20000"/>
                </a:spcBef>
                <a:buClr>
                  <a:srgbClr val="6F6F6F"/>
                </a:buClr>
                <a:buFont typeface="Symbol" pitchFamily="18" charset="2"/>
                <a:buChar char="-"/>
                <a:defRPr sz="1800">
                  <a:latin typeface="Bahnschrift" panose="020B0502040204020203" pitchFamily="34" charset="0"/>
                </a:defRPr>
              </a:lvl3pPr>
              <a:lvl4pPr marL="1693863" lvl="3" indent="-387350" eaLnBrk="1" hangingPunct="1">
                <a:spcBef>
                  <a:spcPct val="20000"/>
                </a:spcBef>
                <a:buClr>
                  <a:srgbClr val="6F6F6F"/>
                </a:buClr>
                <a:buFont typeface="Symbol" pitchFamily="18" charset="2"/>
                <a:buChar char="-"/>
                <a:defRPr sz="1800">
                  <a:latin typeface="Bahnschrift" panose="020B0502040204020203" pitchFamily="34" charset="0"/>
                </a:defRPr>
              </a:lvl4pPr>
              <a:lvl5pPr marL="2093913" lvl="4" indent="-398463" eaLnBrk="1" hangingPunct="1">
                <a:spcBef>
                  <a:spcPct val="25000"/>
                </a:spcBef>
                <a:buClr>
                  <a:srgbClr val="6F6F6F"/>
                </a:buClr>
                <a:buFont typeface="Symbol" pitchFamily="18" charset="2"/>
                <a:buChar char="-"/>
                <a:defRPr sz="1800">
                  <a:latin typeface="Bahnschrift" panose="020B0502040204020203" pitchFamily="34" charset="0"/>
                </a:defRPr>
              </a:lvl5pPr>
              <a:lvl6pPr marL="2551113" indent="-398463" fontAlgn="base">
                <a:spcBef>
                  <a:spcPct val="25000"/>
                </a:spcBef>
                <a:spcAft>
                  <a:spcPct val="0"/>
                </a:spcAft>
                <a:buClr>
                  <a:schemeClr val="accent2"/>
                </a:buClr>
                <a:buFont typeface="Wingdings" pitchFamily="2" charset="2"/>
                <a:buChar char="§"/>
                <a:defRPr sz="2000">
                  <a:latin typeface="+mn-lt"/>
                </a:defRPr>
              </a:lvl6pPr>
              <a:lvl7pPr marL="3008313" indent="-398463" fontAlgn="base">
                <a:spcBef>
                  <a:spcPct val="25000"/>
                </a:spcBef>
                <a:spcAft>
                  <a:spcPct val="0"/>
                </a:spcAft>
                <a:buClr>
                  <a:schemeClr val="accent2"/>
                </a:buClr>
                <a:buFont typeface="Wingdings" pitchFamily="2" charset="2"/>
                <a:buChar char="§"/>
                <a:defRPr sz="2000">
                  <a:latin typeface="+mn-lt"/>
                </a:defRPr>
              </a:lvl7pPr>
              <a:lvl8pPr marL="3465513" indent="-398463" fontAlgn="base">
                <a:spcBef>
                  <a:spcPct val="25000"/>
                </a:spcBef>
                <a:spcAft>
                  <a:spcPct val="0"/>
                </a:spcAft>
                <a:buClr>
                  <a:schemeClr val="accent2"/>
                </a:buClr>
                <a:buFont typeface="Wingdings" pitchFamily="2" charset="2"/>
                <a:buChar char="§"/>
                <a:defRPr sz="2000">
                  <a:latin typeface="+mn-lt"/>
                </a:defRPr>
              </a:lvl8pPr>
              <a:lvl9pPr marL="3922713" indent="-398463" fontAlgn="base">
                <a:spcBef>
                  <a:spcPct val="25000"/>
                </a:spcBef>
                <a:spcAft>
                  <a:spcPct val="0"/>
                </a:spcAft>
                <a:buClr>
                  <a:schemeClr val="accent2"/>
                </a:buClr>
                <a:buFont typeface="Wingdings" pitchFamily="2" charset="2"/>
                <a:buChar char="§"/>
                <a:defRPr sz="2000">
                  <a:latin typeface="+mn-lt"/>
                </a:defRPr>
              </a:lvl9pPr>
            </a:lstStyle>
            <a:p>
              <a:pPr marL="0" indent="0">
                <a:buNone/>
              </a:pPr>
              <a:r>
                <a:rPr lang="de-DE" sz="700" dirty="0">
                  <a:cs typeface="Arial" panose="020B0604020202020204" pitchFamily="34" charset="0"/>
                </a:rPr>
                <a:t>Klimaneutralität 2040 Umweltbundes-</a:t>
              </a:r>
              <a:br>
                <a:rPr lang="de-DE" sz="700" dirty="0">
                  <a:cs typeface="Arial" panose="020B0604020202020204" pitchFamily="34" charset="0"/>
                </a:rPr>
              </a:br>
              <a:r>
                <a:rPr lang="de-DE" sz="700" dirty="0" err="1">
                  <a:cs typeface="Arial" panose="020B0604020202020204" pitchFamily="34" charset="0"/>
                </a:rPr>
                <a:t>amt</a:t>
              </a:r>
              <a:r>
                <a:rPr lang="de-DE" sz="700" dirty="0">
                  <a:cs typeface="Arial" panose="020B0604020202020204" pitchFamily="34" charset="0"/>
                </a:rPr>
                <a:t> (Fokus Energieeffizienz)</a:t>
              </a:r>
              <a:r>
                <a:rPr lang="de-DE" sz="700" baseline="30000" dirty="0">
                  <a:cs typeface="Arial" panose="020B0604020202020204" pitchFamily="34" charset="0"/>
                </a:rPr>
                <a:t>2</a:t>
              </a:r>
              <a:r>
                <a:rPr lang="de-DE" sz="700" dirty="0">
                  <a:cs typeface="Arial" panose="020B0604020202020204" pitchFamily="34" charset="0"/>
                </a:rPr>
                <a:t> [2021]</a:t>
              </a:r>
            </a:p>
          </p:txBody>
        </p:sp>
      </p:grpSp>
      <p:grpSp>
        <p:nvGrpSpPr>
          <p:cNvPr id="64" name="Group 63">
            <a:extLst>
              <a:ext uri="{FF2B5EF4-FFF2-40B4-BE49-F238E27FC236}">
                <a16:creationId xmlns:a16="http://schemas.microsoft.com/office/drawing/2014/main" id="{8B049D53-47E1-4611-B195-95F840C21135}"/>
              </a:ext>
            </a:extLst>
          </p:cNvPr>
          <p:cNvGrpSpPr/>
          <p:nvPr/>
        </p:nvGrpSpPr>
        <p:grpSpPr>
          <a:xfrm>
            <a:off x="9504363" y="2818198"/>
            <a:ext cx="2084961" cy="107722"/>
            <a:chOff x="9504363" y="2455977"/>
            <a:chExt cx="2084961" cy="107722"/>
          </a:xfrm>
        </p:grpSpPr>
        <p:cxnSp>
          <p:nvCxnSpPr>
            <p:cNvPr id="129" name="Straight Connector 128">
              <a:extLst>
                <a:ext uri="{FF2B5EF4-FFF2-40B4-BE49-F238E27FC236}">
                  <a16:creationId xmlns:a16="http://schemas.microsoft.com/office/drawing/2014/main" id="{1FB60A84-8728-54F4-0500-FD1CF29D4F2F}"/>
                </a:ext>
              </a:extLst>
            </p:cNvPr>
            <p:cNvCxnSpPr>
              <a:cxnSpLocks/>
            </p:cNvCxnSpPr>
            <p:nvPr>
              <p:custDataLst>
                <p:tags r:id="rId59"/>
              </p:custDataLst>
            </p:nvPr>
          </p:nvCxnSpPr>
          <p:spPr bwMode="gray">
            <a:xfrm>
              <a:off x="9504363" y="2509838"/>
              <a:ext cx="304800" cy="0"/>
            </a:xfrm>
            <a:prstGeom prst="line">
              <a:avLst/>
            </a:prstGeom>
            <a:ln w="28575" cap="rnd" cmpd="sng" algn="ctr">
              <a:solidFill>
                <a:schemeClr val="accent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8" name="TextBox 27">
              <a:extLst>
                <a:ext uri="{FF2B5EF4-FFF2-40B4-BE49-F238E27FC236}">
                  <a16:creationId xmlns:a16="http://schemas.microsoft.com/office/drawing/2014/main" id="{54E8306C-A399-4074-90F8-D8406223FDF8}"/>
                </a:ext>
              </a:extLst>
            </p:cNvPr>
            <p:cNvSpPr txBox="1">
              <a:spLocks/>
            </p:cNvSpPr>
            <p:nvPr/>
          </p:nvSpPr>
          <p:spPr>
            <a:xfrm>
              <a:off x="9888537" y="2455977"/>
              <a:ext cx="1700787" cy="107722"/>
            </a:xfrm>
            <a:prstGeom prst="rect">
              <a:avLst/>
            </a:prstGeom>
          </p:spPr>
          <p:txBody>
            <a:bodyPr vert="horz" wrap="square" lIns="0" tIns="0" rIns="0" bIns="0" rtlCol="0" anchor="ctr" anchorCtr="0">
              <a:spAutoFit/>
            </a:bodyPr>
            <a:lstStyle>
              <a:lvl1pPr marL="469900" lvl="0" indent="-469900" eaLnBrk="1" hangingPunct="1">
                <a:spcBef>
                  <a:spcPct val="20000"/>
                </a:spcBef>
                <a:buClr>
                  <a:srgbClr val="ED1C24"/>
                </a:buClr>
                <a:buFont typeface="Arial" panose="020B0604020202020204" pitchFamily="34" charset="0"/>
                <a:buChar char="•"/>
                <a:defRPr sz="2200">
                  <a:latin typeface="Bahnschrift" panose="020B0502040204020203" pitchFamily="34" charset="0"/>
                </a:defRPr>
              </a:lvl1pPr>
              <a:lvl2pPr marL="908050" lvl="1" indent="-436563" eaLnBrk="1" hangingPunct="1">
                <a:spcBef>
                  <a:spcPct val="20000"/>
                </a:spcBef>
                <a:buClr>
                  <a:schemeClr val="tx1"/>
                </a:buClr>
                <a:buFont typeface="Symbol" panose="05050102010706020507" pitchFamily="18" charset="2"/>
                <a:buChar char="-"/>
                <a:defRPr sz="2000">
                  <a:latin typeface="Bahnschrift" panose="020B0502040204020203" pitchFamily="34" charset="0"/>
                </a:defRPr>
              </a:lvl2pPr>
              <a:lvl3pPr marL="1304925" lvl="2" indent="-395288" eaLnBrk="1" hangingPunct="1">
                <a:spcBef>
                  <a:spcPct val="20000"/>
                </a:spcBef>
                <a:buClr>
                  <a:srgbClr val="6F6F6F"/>
                </a:buClr>
                <a:buFont typeface="Symbol" pitchFamily="18" charset="2"/>
                <a:buChar char="-"/>
                <a:defRPr sz="1800">
                  <a:latin typeface="Bahnschrift" panose="020B0502040204020203" pitchFamily="34" charset="0"/>
                </a:defRPr>
              </a:lvl3pPr>
              <a:lvl4pPr marL="1693863" lvl="3" indent="-387350" eaLnBrk="1" hangingPunct="1">
                <a:spcBef>
                  <a:spcPct val="20000"/>
                </a:spcBef>
                <a:buClr>
                  <a:srgbClr val="6F6F6F"/>
                </a:buClr>
                <a:buFont typeface="Symbol" pitchFamily="18" charset="2"/>
                <a:buChar char="-"/>
                <a:defRPr sz="1800">
                  <a:latin typeface="Bahnschrift" panose="020B0502040204020203" pitchFamily="34" charset="0"/>
                </a:defRPr>
              </a:lvl4pPr>
              <a:lvl5pPr marL="2093913" lvl="4" indent="-398463" eaLnBrk="1" hangingPunct="1">
                <a:spcBef>
                  <a:spcPct val="25000"/>
                </a:spcBef>
                <a:buClr>
                  <a:srgbClr val="6F6F6F"/>
                </a:buClr>
                <a:buFont typeface="Symbol" pitchFamily="18" charset="2"/>
                <a:buChar char="-"/>
                <a:defRPr sz="1800">
                  <a:latin typeface="Bahnschrift" panose="020B0502040204020203" pitchFamily="34" charset="0"/>
                </a:defRPr>
              </a:lvl5pPr>
              <a:lvl6pPr marL="2551113" indent="-398463" fontAlgn="base">
                <a:spcBef>
                  <a:spcPct val="25000"/>
                </a:spcBef>
                <a:spcAft>
                  <a:spcPct val="0"/>
                </a:spcAft>
                <a:buClr>
                  <a:schemeClr val="accent2"/>
                </a:buClr>
                <a:buFont typeface="Wingdings" pitchFamily="2" charset="2"/>
                <a:buChar char="§"/>
                <a:defRPr sz="2000">
                  <a:latin typeface="+mn-lt"/>
                </a:defRPr>
              </a:lvl6pPr>
              <a:lvl7pPr marL="3008313" indent="-398463" fontAlgn="base">
                <a:spcBef>
                  <a:spcPct val="25000"/>
                </a:spcBef>
                <a:spcAft>
                  <a:spcPct val="0"/>
                </a:spcAft>
                <a:buClr>
                  <a:schemeClr val="accent2"/>
                </a:buClr>
                <a:buFont typeface="Wingdings" pitchFamily="2" charset="2"/>
                <a:buChar char="§"/>
                <a:defRPr sz="2000">
                  <a:latin typeface="+mn-lt"/>
                </a:defRPr>
              </a:lvl7pPr>
              <a:lvl8pPr marL="3465513" indent="-398463" fontAlgn="base">
                <a:spcBef>
                  <a:spcPct val="25000"/>
                </a:spcBef>
                <a:spcAft>
                  <a:spcPct val="0"/>
                </a:spcAft>
                <a:buClr>
                  <a:schemeClr val="accent2"/>
                </a:buClr>
                <a:buFont typeface="Wingdings" pitchFamily="2" charset="2"/>
                <a:buChar char="§"/>
                <a:defRPr sz="2000">
                  <a:latin typeface="+mn-lt"/>
                </a:defRPr>
              </a:lvl8pPr>
              <a:lvl9pPr marL="3922713" indent="-398463" fontAlgn="base">
                <a:spcBef>
                  <a:spcPct val="25000"/>
                </a:spcBef>
                <a:spcAft>
                  <a:spcPct val="0"/>
                </a:spcAft>
                <a:buClr>
                  <a:schemeClr val="accent2"/>
                </a:buClr>
                <a:buFont typeface="Wingdings" pitchFamily="2" charset="2"/>
                <a:buChar char="§"/>
                <a:defRPr sz="2000">
                  <a:latin typeface="+mn-lt"/>
                </a:defRPr>
              </a:lvl9pPr>
            </a:lstStyle>
            <a:p>
              <a:pPr marL="0" indent="0">
                <a:buNone/>
              </a:pPr>
              <a:r>
                <a:rPr lang="en-NZ" sz="700" dirty="0" err="1">
                  <a:cs typeface="Arial" panose="020B0604020202020204" pitchFamily="34" charset="0"/>
                </a:rPr>
                <a:t>Energetischer</a:t>
              </a:r>
              <a:r>
                <a:rPr lang="en-NZ" sz="700" dirty="0">
                  <a:cs typeface="Arial" panose="020B0604020202020204" pitchFamily="34" charset="0"/>
                </a:rPr>
                <a:t> </a:t>
              </a:r>
              <a:r>
                <a:rPr lang="en-NZ" sz="700" dirty="0" err="1">
                  <a:cs typeface="Arial" panose="020B0604020202020204" pitchFamily="34" charset="0"/>
                </a:rPr>
                <a:t>Endverbrauch</a:t>
              </a:r>
              <a:endParaRPr lang="en-NZ" sz="700" dirty="0">
                <a:cs typeface="Arial" panose="020B0604020202020204" pitchFamily="34" charset="0"/>
              </a:endParaRPr>
            </a:p>
          </p:txBody>
        </p:sp>
      </p:grpSp>
      <p:grpSp>
        <p:nvGrpSpPr>
          <p:cNvPr id="58" name="Group 57">
            <a:extLst>
              <a:ext uri="{FF2B5EF4-FFF2-40B4-BE49-F238E27FC236}">
                <a16:creationId xmlns:a16="http://schemas.microsoft.com/office/drawing/2014/main" id="{56E4E210-E850-4B24-A900-6765071DA3DE}"/>
              </a:ext>
            </a:extLst>
          </p:cNvPr>
          <p:cNvGrpSpPr/>
          <p:nvPr/>
        </p:nvGrpSpPr>
        <p:grpSpPr>
          <a:xfrm>
            <a:off x="9504363" y="2158982"/>
            <a:ext cx="2084961" cy="107722"/>
            <a:chOff x="9504363" y="1944802"/>
            <a:chExt cx="2084961" cy="107722"/>
          </a:xfrm>
        </p:grpSpPr>
        <p:cxnSp>
          <p:nvCxnSpPr>
            <p:cNvPr id="85" name="Straight Connector 84">
              <a:extLst>
                <a:ext uri="{FF2B5EF4-FFF2-40B4-BE49-F238E27FC236}">
                  <a16:creationId xmlns:a16="http://schemas.microsoft.com/office/drawing/2014/main" id="{4DC6ACA1-D291-4CA2-915E-86C5DA13325E}"/>
                </a:ext>
              </a:extLst>
            </p:cNvPr>
            <p:cNvCxnSpPr>
              <a:cxnSpLocks/>
            </p:cNvCxnSpPr>
            <p:nvPr>
              <p:custDataLst>
                <p:tags r:id="rId58"/>
              </p:custDataLst>
            </p:nvPr>
          </p:nvCxnSpPr>
          <p:spPr bwMode="gray">
            <a:xfrm>
              <a:off x="9504363" y="1998663"/>
              <a:ext cx="304800" cy="0"/>
            </a:xfrm>
            <a:prstGeom prst="line">
              <a:avLst/>
            </a:prstGeom>
            <a:ln w="28575" cap="rnd" cmpd="sng" algn="ctr">
              <a:solidFill>
                <a:schemeClr val="accent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0" name="TextBox 29">
              <a:extLst>
                <a:ext uri="{FF2B5EF4-FFF2-40B4-BE49-F238E27FC236}">
                  <a16:creationId xmlns:a16="http://schemas.microsoft.com/office/drawing/2014/main" id="{4253D04D-5791-4CF7-B7E2-584689ED855C}"/>
                </a:ext>
              </a:extLst>
            </p:cNvPr>
            <p:cNvSpPr txBox="1">
              <a:spLocks/>
            </p:cNvSpPr>
            <p:nvPr/>
          </p:nvSpPr>
          <p:spPr>
            <a:xfrm>
              <a:off x="9888537" y="1944802"/>
              <a:ext cx="1700787" cy="107722"/>
            </a:xfrm>
            <a:prstGeom prst="rect">
              <a:avLst/>
            </a:prstGeom>
          </p:spPr>
          <p:txBody>
            <a:bodyPr vert="horz" wrap="square" lIns="0" tIns="0" rIns="0" bIns="0" rtlCol="0" anchor="ctr" anchorCtr="0">
              <a:spAutoFit/>
            </a:bodyPr>
            <a:lstStyle>
              <a:lvl1pPr marL="469900" lvl="0" indent="-469900" eaLnBrk="1" hangingPunct="1">
                <a:spcBef>
                  <a:spcPct val="20000"/>
                </a:spcBef>
                <a:buClr>
                  <a:srgbClr val="ED1C24"/>
                </a:buClr>
                <a:buFont typeface="Arial" panose="020B0604020202020204" pitchFamily="34" charset="0"/>
                <a:buChar char="•"/>
                <a:defRPr sz="2200">
                  <a:latin typeface="Bahnschrift" panose="020B0502040204020203" pitchFamily="34" charset="0"/>
                </a:defRPr>
              </a:lvl1pPr>
              <a:lvl2pPr marL="908050" lvl="1" indent="-436563" eaLnBrk="1" hangingPunct="1">
                <a:spcBef>
                  <a:spcPct val="20000"/>
                </a:spcBef>
                <a:buClr>
                  <a:schemeClr val="tx1"/>
                </a:buClr>
                <a:buFont typeface="Symbol" panose="05050102010706020507" pitchFamily="18" charset="2"/>
                <a:buChar char="-"/>
                <a:defRPr sz="2000">
                  <a:latin typeface="Bahnschrift" panose="020B0502040204020203" pitchFamily="34" charset="0"/>
                </a:defRPr>
              </a:lvl2pPr>
              <a:lvl3pPr marL="1304925" lvl="2" indent="-395288" eaLnBrk="1" hangingPunct="1">
                <a:spcBef>
                  <a:spcPct val="20000"/>
                </a:spcBef>
                <a:buClr>
                  <a:srgbClr val="6F6F6F"/>
                </a:buClr>
                <a:buFont typeface="Symbol" pitchFamily="18" charset="2"/>
                <a:buChar char="-"/>
                <a:defRPr sz="1800">
                  <a:latin typeface="Bahnschrift" panose="020B0502040204020203" pitchFamily="34" charset="0"/>
                </a:defRPr>
              </a:lvl3pPr>
              <a:lvl4pPr marL="1693863" lvl="3" indent="-387350" eaLnBrk="1" hangingPunct="1">
                <a:spcBef>
                  <a:spcPct val="20000"/>
                </a:spcBef>
                <a:buClr>
                  <a:srgbClr val="6F6F6F"/>
                </a:buClr>
                <a:buFont typeface="Symbol" pitchFamily="18" charset="2"/>
                <a:buChar char="-"/>
                <a:defRPr sz="1800">
                  <a:latin typeface="Bahnschrift" panose="020B0502040204020203" pitchFamily="34" charset="0"/>
                </a:defRPr>
              </a:lvl4pPr>
              <a:lvl5pPr marL="2093913" lvl="4" indent="-398463" eaLnBrk="1" hangingPunct="1">
                <a:spcBef>
                  <a:spcPct val="25000"/>
                </a:spcBef>
                <a:buClr>
                  <a:srgbClr val="6F6F6F"/>
                </a:buClr>
                <a:buFont typeface="Symbol" pitchFamily="18" charset="2"/>
                <a:buChar char="-"/>
                <a:defRPr sz="1800">
                  <a:latin typeface="Bahnschrift" panose="020B0502040204020203" pitchFamily="34" charset="0"/>
                </a:defRPr>
              </a:lvl5pPr>
              <a:lvl6pPr marL="2551113" indent="-398463" fontAlgn="base">
                <a:spcBef>
                  <a:spcPct val="25000"/>
                </a:spcBef>
                <a:spcAft>
                  <a:spcPct val="0"/>
                </a:spcAft>
                <a:buClr>
                  <a:schemeClr val="accent2"/>
                </a:buClr>
                <a:buFont typeface="Wingdings" pitchFamily="2" charset="2"/>
                <a:buChar char="§"/>
                <a:defRPr sz="2000">
                  <a:latin typeface="+mn-lt"/>
                </a:defRPr>
              </a:lvl6pPr>
              <a:lvl7pPr marL="3008313" indent="-398463" fontAlgn="base">
                <a:spcBef>
                  <a:spcPct val="25000"/>
                </a:spcBef>
                <a:spcAft>
                  <a:spcPct val="0"/>
                </a:spcAft>
                <a:buClr>
                  <a:schemeClr val="accent2"/>
                </a:buClr>
                <a:buFont typeface="Wingdings" pitchFamily="2" charset="2"/>
                <a:buChar char="§"/>
                <a:defRPr sz="2000">
                  <a:latin typeface="+mn-lt"/>
                </a:defRPr>
              </a:lvl7pPr>
              <a:lvl8pPr marL="3465513" indent="-398463" fontAlgn="base">
                <a:spcBef>
                  <a:spcPct val="25000"/>
                </a:spcBef>
                <a:spcAft>
                  <a:spcPct val="0"/>
                </a:spcAft>
                <a:buClr>
                  <a:schemeClr val="accent2"/>
                </a:buClr>
                <a:buFont typeface="Wingdings" pitchFamily="2" charset="2"/>
                <a:buChar char="§"/>
                <a:defRPr sz="2000">
                  <a:latin typeface="+mn-lt"/>
                </a:defRPr>
              </a:lvl8pPr>
              <a:lvl9pPr marL="3922713" indent="-398463" fontAlgn="base">
                <a:spcBef>
                  <a:spcPct val="25000"/>
                </a:spcBef>
                <a:spcAft>
                  <a:spcPct val="0"/>
                </a:spcAft>
                <a:buClr>
                  <a:schemeClr val="accent2"/>
                </a:buClr>
                <a:buFont typeface="Wingdings" pitchFamily="2" charset="2"/>
                <a:buChar char="§"/>
                <a:defRPr sz="2000">
                  <a:latin typeface="+mn-lt"/>
                </a:defRPr>
              </a:lvl9pPr>
            </a:lstStyle>
            <a:p>
              <a:pPr marL="0" indent="0">
                <a:buNone/>
              </a:pPr>
              <a:r>
                <a:rPr lang="en-NZ" sz="700" dirty="0" err="1">
                  <a:cs typeface="Arial" panose="020B0604020202020204" pitchFamily="34" charset="0"/>
                </a:rPr>
                <a:t>Szenario</a:t>
              </a:r>
              <a:r>
                <a:rPr lang="en-NZ" sz="700" dirty="0">
                  <a:cs typeface="Arial" panose="020B0604020202020204" pitchFamily="34" charset="0"/>
                </a:rPr>
                <a:t> WEM NEKP</a:t>
              </a:r>
              <a:r>
                <a:rPr lang="en-NZ" sz="700" baseline="30000" dirty="0">
                  <a:cs typeface="Arial" panose="020B0604020202020204" pitchFamily="34" charset="0"/>
                </a:rPr>
                <a:t>1 </a:t>
              </a:r>
              <a:r>
                <a:rPr lang="en-NZ" sz="700" dirty="0">
                  <a:cs typeface="Arial" panose="020B0604020202020204" pitchFamily="34" charset="0"/>
                </a:rPr>
                <a:t>[2023]</a:t>
              </a:r>
            </a:p>
          </p:txBody>
        </p:sp>
      </p:grpSp>
      <p:grpSp>
        <p:nvGrpSpPr>
          <p:cNvPr id="67" name="Group 66">
            <a:extLst>
              <a:ext uri="{FF2B5EF4-FFF2-40B4-BE49-F238E27FC236}">
                <a16:creationId xmlns:a16="http://schemas.microsoft.com/office/drawing/2014/main" id="{B6AAF517-0127-4CAC-BDBB-0182EE29957F}"/>
              </a:ext>
            </a:extLst>
          </p:cNvPr>
          <p:cNvGrpSpPr/>
          <p:nvPr/>
        </p:nvGrpSpPr>
        <p:grpSpPr>
          <a:xfrm>
            <a:off x="9504363" y="2983002"/>
            <a:ext cx="2084961" cy="107722"/>
            <a:chOff x="9504363" y="2643302"/>
            <a:chExt cx="2084961" cy="107722"/>
          </a:xfrm>
        </p:grpSpPr>
        <p:cxnSp>
          <p:nvCxnSpPr>
            <p:cNvPr id="132" name="Straight Connector 131">
              <a:extLst>
                <a:ext uri="{FF2B5EF4-FFF2-40B4-BE49-F238E27FC236}">
                  <a16:creationId xmlns:a16="http://schemas.microsoft.com/office/drawing/2014/main" id="{56C526D4-F575-48CA-308E-B9592CF825BA}"/>
                </a:ext>
              </a:extLst>
            </p:cNvPr>
            <p:cNvCxnSpPr>
              <a:cxnSpLocks/>
            </p:cNvCxnSpPr>
            <p:nvPr>
              <p:custDataLst>
                <p:tags r:id="rId57"/>
              </p:custDataLst>
            </p:nvPr>
          </p:nvCxnSpPr>
          <p:spPr bwMode="gray">
            <a:xfrm>
              <a:off x="9504363" y="2697163"/>
              <a:ext cx="304800" cy="0"/>
            </a:xfrm>
            <a:prstGeom prst="line">
              <a:avLst/>
            </a:prstGeom>
            <a:ln w="28575" cap="rnd" cmpd="sng" algn="ctr">
              <a:solidFill>
                <a:schemeClr val="accent5"/>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2" name="TextBox 31">
              <a:extLst>
                <a:ext uri="{FF2B5EF4-FFF2-40B4-BE49-F238E27FC236}">
                  <a16:creationId xmlns:a16="http://schemas.microsoft.com/office/drawing/2014/main" id="{0D2C2F69-A9F4-46BD-B5B9-C4BCB96F2BBA}"/>
                </a:ext>
              </a:extLst>
            </p:cNvPr>
            <p:cNvSpPr txBox="1">
              <a:spLocks/>
            </p:cNvSpPr>
            <p:nvPr/>
          </p:nvSpPr>
          <p:spPr>
            <a:xfrm>
              <a:off x="9888537" y="2643302"/>
              <a:ext cx="1700787" cy="107722"/>
            </a:xfrm>
            <a:prstGeom prst="rect">
              <a:avLst/>
            </a:prstGeom>
          </p:spPr>
          <p:txBody>
            <a:bodyPr vert="horz" wrap="square" lIns="0" tIns="0" rIns="0" bIns="0" rtlCol="0" anchor="ctr" anchorCtr="0">
              <a:spAutoFit/>
            </a:bodyPr>
            <a:lstStyle>
              <a:lvl1pPr marL="469900" lvl="0" indent="-469900" eaLnBrk="1" hangingPunct="1">
                <a:spcBef>
                  <a:spcPct val="20000"/>
                </a:spcBef>
                <a:buClr>
                  <a:srgbClr val="ED1C24"/>
                </a:buClr>
                <a:buFont typeface="Arial" panose="020B0604020202020204" pitchFamily="34" charset="0"/>
                <a:buChar char="•"/>
                <a:defRPr sz="2200">
                  <a:latin typeface="Bahnschrift" panose="020B0502040204020203" pitchFamily="34" charset="0"/>
                </a:defRPr>
              </a:lvl1pPr>
              <a:lvl2pPr marL="908050" lvl="1" indent="-436563" eaLnBrk="1" hangingPunct="1">
                <a:spcBef>
                  <a:spcPct val="20000"/>
                </a:spcBef>
                <a:buClr>
                  <a:schemeClr val="tx1"/>
                </a:buClr>
                <a:buFont typeface="Symbol" panose="05050102010706020507" pitchFamily="18" charset="2"/>
                <a:buChar char="-"/>
                <a:defRPr sz="2000">
                  <a:latin typeface="Bahnschrift" panose="020B0502040204020203" pitchFamily="34" charset="0"/>
                </a:defRPr>
              </a:lvl2pPr>
              <a:lvl3pPr marL="1304925" lvl="2" indent="-395288" eaLnBrk="1" hangingPunct="1">
                <a:spcBef>
                  <a:spcPct val="20000"/>
                </a:spcBef>
                <a:buClr>
                  <a:srgbClr val="6F6F6F"/>
                </a:buClr>
                <a:buFont typeface="Symbol" pitchFamily="18" charset="2"/>
                <a:buChar char="-"/>
                <a:defRPr sz="1800">
                  <a:latin typeface="Bahnschrift" panose="020B0502040204020203" pitchFamily="34" charset="0"/>
                </a:defRPr>
              </a:lvl3pPr>
              <a:lvl4pPr marL="1693863" lvl="3" indent="-387350" eaLnBrk="1" hangingPunct="1">
                <a:spcBef>
                  <a:spcPct val="20000"/>
                </a:spcBef>
                <a:buClr>
                  <a:srgbClr val="6F6F6F"/>
                </a:buClr>
                <a:buFont typeface="Symbol" pitchFamily="18" charset="2"/>
                <a:buChar char="-"/>
                <a:defRPr sz="1800">
                  <a:latin typeface="Bahnschrift" panose="020B0502040204020203" pitchFamily="34" charset="0"/>
                </a:defRPr>
              </a:lvl4pPr>
              <a:lvl5pPr marL="2093913" lvl="4" indent="-398463" eaLnBrk="1" hangingPunct="1">
                <a:spcBef>
                  <a:spcPct val="25000"/>
                </a:spcBef>
                <a:buClr>
                  <a:srgbClr val="6F6F6F"/>
                </a:buClr>
                <a:buFont typeface="Symbol" pitchFamily="18" charset="2"/>
                <a:buChar char="-"/>
                <a:defRPr sz="1800">
                  <a:latin typeface="Bahnschrift" panose="020B0502040204020203" pitchFamily="34" charset="0"/>
                </a:defRPr>
              </a:lvl5pPr>
              <a:lvl6pPr marL="2551113" indent="-398463" fontAlgn="base">
                <a:spcBef>
                  <a:spcPct val="25000"/>
                </a:spcBef>
                <a:spcAft>
                  <a:spcPct val="0"/>
                </a:spcAft>
                <a:buClr>
                  <a:schemeClr val="accent2"/>
                </a:buClr>
                <a:buFont typeface="Wingdings" pitchFamily="2" charset="2"/>
                <a:buChar char="§"/>
                <a:defRPr sz="2000">
                  <a:latin typeface="+mn-lt"/>
                </a:defRPr>
              </a:lvl6pPr>
              <a:lvl7pPr marL="3008313" indent="-398463" fontAlgn="base">
                <a:spcBef>
                  <a:spcPct val="25000"/>
                </a:spcBef>
                <a:spcAft>
                  <a:spcPct val="0"/>
                </a:spcAft>
                <a:buClr>
                  <a:schemeClr val="accent2"/>
                </a:buClr>
                <a:buFont typeface="Wingdings" pitchFamily="2" charset="2"/>
                <a:buChar char="§"/>
                <a:defRPr sz="2000">
                  <a:latin typeface="+mn-lt"/>
                </a:defRPr>
              </a:lvl7pPr>
              <a:lvl8pPr marL="3465513" indent="-398463" fontAlgn="base">
                <a:spcBef>
                  <a:spcPct val="25000"/>
                </a:spcBef>
                <a:spcAft>
                  <a:spcPct val="0"/>
                </a:spcAft>
                <a:buClr>
                  <a:schemeClr val="accent2"/>
                </a:buClr>
                <a:buFont typeface="Wingdings" pitchFamily="2" charset="2"/>
                <a:buChar char="§"/>
                <a:defRPr sz="2000">
                  <a:latin typeface="+mn-lt"/>
                </a:defRPr>
              </a:lvl8pPr>
              <a:lvl9pPr marL="3922713" indent="-398463" fontAlgn="base">
                <a:spcBef>
                  <a:spcPct val="25000"/>
                </a:spcBef>
                <a:spcAft>
                  <a:spcPct val="0"/>
                </a:spcAft>
                <a:buClr>
                  <a:schemeClr val="accent2"/>
                </a:buClr>
                <a:buFont typeface="Wingdings" pitchFamily="2" charset="2"/>
                <a:buChar char="§"/>
                <a:defRPr sz="2000">
                  <a:latin typeface="+mn-lt"/>
                </a:defRPr>
              </a:lvl9pPr>
            </a:lstStyle>
            <a:p>
              <a:pPr marL="0" indent="0">
                <a:buNone/>
              </a:pPr>
              <a:r>
                <a:rPr lang="en-NZ" sz="700" dirty="0" err="1">
                  <a:cs typeface="Arial" panose="020B0604020202020204" pitchFamily="34" charset="0"/>
                </a:rPr>
                <a:t>Szenario</a:t>
              </a:r>
              <a:r>
                <a:rPr lang="en-NZ" sz="700" dirty="0">
                  <a:cs typeface="Arial" panose="020B0604020202020204" pitchFamily="34" charset="0"/>
                </a:rPr>
                <a:t> WEM NEKP</a:t>
              </a:r>
              <a:r>
                <a:rPr lang="en-NZ" sz="700" baseline="30000" dirty="0">
                  <a:cs typeface="Arial" panose="020B0604020202020204" pitchFamily="34" charset="0"/>
                </a:rPr>
                <a:t>1 </a:t>
              </a:r>
              <a:r>
                <a:rPr lang="en-NZ" sz="700" dirty="0">
                  <a:cs typeface="Arial" panose="020B0604020202020204" pitchFamily="34" charset="0"/>
                </a:rPr>
                <a:t>[2023]</a:t>
              </a:r>
            </a:p>
          </p:txBody>
        </p:sp>
      </p:grpSp>
      <p:grpSp>
        <p:nvGrpSpPr>
          <p:cNvPr id="68" name="Group 67">
            <a:extLst>
              <a:ext uri="{FF2B5EF4-FFF2-40B4-BE49-F238E27FC236}">
                <a16:creationId xmlns:a16="http://schemas.microsoft.com/office/drawing/2014/main" id="{426958D4-D2AA-4B79-A3EB-0AEFC0589007}"/>
              </a:ext>
            </a:extLst>
          </p:cNvPr>
          <p:cNvGrpSpPr/>
          <p:nvPr/>
        </p:nvGrpSpPr>
        <p:grpSpPr>
          <a:xfrm>
            <a:off x="9504363" y="3147806"/>
            <a:ext cx="2084961" cy="107722"/>
            <a:chOff x="9504363" y="2830627"/>
            <a:chExt cx="2084961" cy="107722"/>
          </a:xfrm>
        </p:grpSpPr>
        <p:cxnSp>
          <p:nvCxnSpPr>
            <p:cNvPr id="150" name="Straight Connector 149">
              <a:extLst>
                <a:ext uri="{FF2B5EF4-FFF2-40B4-BE49-F238E27FC236}">
                  <a16:creationId xmlns:a16="http://schemas.microsoft.com/office/drawing/2014/main" id="{DAB8EB3C-E9B9-6A56-870E-A5193055D899}"/>
                </a:ext>
              </a:extLst>
            </p:cNvPr>
            <p:cNvCxnSpPr>
              <a:cxnSpLocks/>
            </p:cNvCxnSpPr>
            <p:nvPr>
              <p:custDataLst>
                <p:tags r:id="rId56"/>
              </p:custDataLst>
            </p:nvPr>
          </p:nvCxnSpPr>
          <p:spPr bwMode="gray">
            <a:xfrm>
              <a:off x="9504363" y="2884488"/>
              <a:ext cx="304800" cy="0"/>
            </a:xfrm>
            <a:prstGeom prst="line">
              <a:avLst/>
            </a:prstGeom>
            <a:ln w="28575" cap="rnd" cmpd="sng" algn="ctr">
              <a:solidFill>
                <a:schemeClr val="folHlink"/>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4" name="TextBox 33">
              <a:extLst>
                <a:ext uri="{FF2B5EF4-FFF2-40B4-BE49-F238E27FC236}">
                  <a16:creationId xmlns:a16="http://schemas.microsoft.com/office/drawing/2014/main" id="{4595FD04-F436-49CE-AB92-9395CF10D2FB}"/>
                </a:ext>
              </a:extLst>
            </p:cNvPr>
            <p:cNvSpPr txBox="1">
              <a:spLocks/>
            </p:cNvSpPr>
            <p:nvPr/>
          </p:nvSpPr>
          <p:spPr>
            <a:xfrm>
              <a:off x="9888537" y="2830627"/>
              <a:ext cx="1700787" cy="107722"/>
            </a:xfrm>
            <a:prstGeom prst="rect">
              <a:avLst/>
            </a:prstGeom>
          </p:spPr>
          <p:txBody>
            <a:bodyPr vert="horz" wrap="square" lIns="0" tIns="0" rIns="0" bIns="0" rtlCol="0" anchor="ctr" anchorCtr="0">
              <a:spAutoFit/>
            </a:bodyPr>
            <a:lstStyle>
              <a:lvl1pPr marL="469900" lvl="0" indent="-469900" eaLnBrk="1" hangingPunct="1">
                <a:spcBef>
                  <a:spcPct val="20000"/>
                </a:spcBef>
                <a:buClr>
                  <a:srgbClr val="ED1C24"/>
                </a:buClr>
                <a:buFont typeface="Arial" panose="020B0604020202020204" pitchFamily="34" charset="0"/>
                <a:buChar char="•"/>
                <a:defRPr sz="2200">
                  <a:latin typeface="Bahnschrift" panose="020B0502040204020203" pitchFamily="34" charset="0"/>
                </a:defRPr>
              </a:lvl1pPr>
              <a:lvl2pPr marL="908050" lvl="1" indent="-436563" eaLnBrk="1" hangingPunct="1">
                <a:spcBef>
                  <a:spcPct val="20000"/>
                </a:spcBef>
                <a:buClr>
                  <a:schemeClr val="tx1"/>
                </a:buClr>
                <a:buFont typeface="Symbol" panose="05050102010706020507" pitchFamily="18" charset="2"/>
                <a:buChar char="-"/>
                <a:defRPr sz="2000">
                  <a:latin typeface="Bahnschrift" panose="020B0502040204020203" pitchFamily="34" charset="0"/>
                </a:defRPr>
              </a:lvl2pPr>
              <a:lvl3pPr marL="1304925" lvl="2" indent="-395288" eaLnBrk="1" hangingPunct="1">
                <a:spcBef>
                  <a:spcPct val="20000"/>
                </a:spcBef>
                <a:buClr>
                  <a:srgbClr val="6F6F6F"/>
                </a:buClr>
                <a:buFont typeface="Symbol" pitchFamily="18" charset="2"/>
                <a:buChar char="-"/>
                <a:defRPr sz="1800">
                  <a:latin typeface="Bahnschrift" panose="020B0502040204020203" pitchFamily="34" charset="0"/>
                </a:defRPr>
              </a:lvl3pPr>
              <a:lvl4pPr marL="1693863" lvl="3" indent="-387350" eaLnBrk="1" hangingPunct="1">
                <a:spcBef>
                  <a:spcPct val="20000"/>
                </a:spcBef>
                <a:buClr>
                  <a:srgbClr val="6F6F6F"/>
                </a:buClr>
                <a:buFont typeface="Symbol" pitchFamily="18" charset="2"/>
                <a:buChar char="-"/>
                <a:defRPr sz="1800">
                  <a:latin typeface="Bahnschrift" panose="020B0502040204020203" pitchFamily="34" charset="0"/>
                </a:defRPr>
              </a:lvl4pPr>
              <a:lvl5pPr marL="2093913" lvl="4" indent="-398463" eaLnBrk="1" hangingPunct="1">
                <a:spcBef>
                  <a:spcPct val="25000"/>
                </a:spcBef>
                <a:buClr>
                  <a:srgbClr val="6F6F6F"/>
                </a:buClr>
                <a:buFont typeface="Symbol" pitchFamily="18" charset="2"/>
                <a:buChar char="-"/>
                <a:defRPr sz="1800">
                  <a:latin typeface="Bahnschrift" panose="020B0502040204020203" pitchFamily="34" charset="0"/>
                </a:defRPr>
              </a:lvl5pPr>
              <a:lvl6pPr marL="2551113" indent="-398463" fontAlgn="base">
                <a:spcBef>
                  <a:spcPct val="25000"/>
                </a:spcBef>
                <a:spcAft>
                  <a:spcPct val="0"/>
                </a:spcAft>
                <a:buClr>
                  <a:schemeClr val="accent2"/>
                </a:buClr>
                <a:buFont typeface="Wingdings" pitchFamily="2" charset="2"/>
                <a:buChar char="§"/>
                <a:defRPr sz="2000">
                  <a:latin typeface="+mn-lt"/>
                </a:defRPr>
              </a:lvl6pPr>
              <a:lvl7pPr marL="3008313" indent="-398463" fontAlgn="base">
                <a:spcBef>
                  <a:spcPct val="25000"/>
                </a:spcBef>
                <a:spcAft>
                  <a:spcPct val="0"/>
                </a:spcAft>
                <a:buClr>
                  <a:schemeClr val="accent2"/>
                </a:buClr>
                <a:buFont typeface="Wingdings" pitchFamily="2" charset="2"/>
                <a:buChar char="§"/>
                <a:defRPr sz="2000">
                  <a:latin typeface="+mn-lt"/>
                </a:defRPr>
              </a:lvl7pPr>
              <a:lvl8pPr marL="3465513" indent="-398463" fontAlgn="base">
                <a:spcBef>
                  <a:spcPct val="25000"/>
                </a:spcBef>
                <a:spcAft>
                  <a:spcPct val="0"/>
                </a:spcAft>
                <a:buClr>
                  <a:schemeClr val="accent2"/>
                </a:buClr>
                <a:buFont typeface="Wingdings" pitchFamily="2" charset="2"/>
                <a:buChar char="§"/>
                <a:defRPr sz="2000">
                  <a:latin typeface="+mn-lt"/>
                </a:defRPr>
              </a:lvl8pPr>
              <a:lvl9pPr marL="3922713" indent="-398463" fontAlgn="base">
                <a:spcBef>
                  <a:spcPct val="25000"/>
                </a:spcBef>
                <a:spcAft>
                  <a:spcPct val="0"/>
                </a:spcAft>
                <a:buClr>
                  <a:schemeClr val="accent2"/>
                </a:buClr>
                <a:buFont typeface="Wingdings" pitchFamily="2" charset="2"/>
                <a:buChar char="§"/>
                <a:defRPr sz="2000">
                  <a:latin typeface="+mn-lt"/>
                </a:defRPr>
              </a:lvl9pPr>
            </a:lstStyle>
            <a:p>
              <a:pPr marL="0" indent="0">
                <a:buNone/>
              </a:pPr>
              <a:r>
                <a:rPr lang="en-NZ" sz="700" dirty="0" err="1">
                  <a:cs typeface="Arial" panose="020B0604020202020204" pitchFamily="34" charset="0"/>
                </a:rPr>
                <a:t>Szenario</a:t>
              </a:r>
              <a:r>
                <a:rPr lang="en-NZ" sz="700" dirty="0">
                  <a:cs typeface="Arial" panose="020B0604020202020204" pitchFamily="34" charset="0"/>
                </a:rPr>
                <a:t> WAM NEKP</a:t>
              </a:r>
              <a:r>
                <a:rPr lang="en-NZ" sz="700" baseline="30000" dirty="0">
                  <a:cs typeface="Arial" panose="020B0604020202020204" pitchFamily="34" charset="0"/>
                </a:rPr>
                <a:t>1 </a:t>
              </a:r>
              <a:r>
                <a:rPr lang="en-NZ" sz="700" dirty="0">
                  <a:cs typeface="Arial" panose="020B0604020202020204" pitchFamily="34" charset="0"/>
                </a:rPr>
                <a:t>[2023]</a:t>
              </a:r>
            </a:p>
          </p:txBody>
        </p:sp>
      </p:grpSp>
      <p:grpSp>
        <p:nvGrpSpPr>
          <p:cNvPr id="29696" name="Group 29695">
            <a:extLst>
              <a:ext uri="{FF2B5EF4-FFF2-40B4-BE49-F238E27FC236}">
                <a16:creationId xmlns:a16="http://schemas.microsoft.com/office/drawing/2014/main" id="{F017613F-A858-450C-980C-25F2B793C4C1}"/>
              </a:ext>
            </a:extLst>
          </p:cNvPr>
          <p:cNvGrpSpPr/>
          <p:nvPr/>
        </p:nvGrpSpPr>
        <p:grpSpPr>
          <a:xfrm>
            <a:off x="9504363" y="4675239"/>
            <a:ext cx="2084961" cy="215444"/>
            <a:chOff x="9504363" y="4957534"/>
            <a:chExt cx="2084961" cy="215444"/>
          </a:xfrm>
        </p:grpSpPr>
        <p:cxnSp>
          <p:nvCxnSpPr>
            <p:cNvPr id="144" name="Straight Connector 143">
              <a:extLst>
                <a:ext uri="{FF2B5EF4-FFF2-40B4-BE49-F238E27FC236}">
                  <a16:creationId xmlns:a16="http://schemas.microsoft.com/office/drawing/2014/main" id="{1801317A-1DA2-A507-096B-A876DA801B27}"/>
                </a:ext>
              </a:extLst>
            </p:cNvPr>
            <p:cNvCxnSpPr>
              <a:cxnSpLocks/>
            </p:cNvCxnSpPr>
            <p:nvPr>
              <p:custDataLst>
                <p:tags r:id="rId55"/>
              </p:custDataLst>
            </p:nvPr>
          </p:nvCxnSpPr>
          <p:spPr bwMode="gray">
            <a:xfrm>
              <a:off x="9504363" y="5065256"/>
              <a:ext cx="304800" cy="0"/>
            </a:xfrm>
            <a:prstGeom prst="line">
              <a:avLst/>
            </a:prstGeom>
            <a:ln w="28575" cap="rnd" cmpd="sng" algn="ctr">
              <a:solidFill>
                <a:srgbClr val="9EDECB"/>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6" name="TextBox 35">
              <a:extLst>
                <a:ext uri="{FF2B5EF4-FFF2-40B4-BE49-F238E27FC236}">
                  <a16:creationId xmlns:a16="http://schemas.microsoft.com/office/drawing/2014/main" id="{11B0F376-093C-4B7C-A12E-6BB4912D48AA}"/>
                </a:ext>
              </a:extLst>
            </p:cNvPr>
            <p:cNvSpPr txBox="1">
              <a:spLocks/>
            </p:cNvSpPr>
            <p:nvPr/>
          </p:nvSpPr>
          <p:spPr>
            <a:xfrm>
              <a:off x="9888537" y="4957534"/>
              <a:ext cx="1700787" cy="215444"/>
            </a:xfrm>
            <a:prstGeom prst="rect">
              <a:avLst/>
            </a:prstGeom>
          </p:spPr>
          <p:txBody>
            <a:bodyPr vert="horz" wrap="square" lIns="0" tIns="0" rIns="0" bIns="0" rtlCol="0" anchor="ctr" anchorCtr="0">
              <a:spAutoFit/>
            </a:bodyPr>
            <a:lstStyle>
              <a:lvl1pPr marL="469900" lvl="0" indent="-469900" eaLnBrk="1" hangingPunct="1">
                <a:spcBef>
                  <a:spcPct val="20000"/>
                </a:spcBef>
                <a:buClr>
                  <a:srgbClr val="ED1C24"/>
                </a:buClr>
                <a:buFont typeface="Arial" panose="020B0604020202020204" pitchFamily="34" charset="0"/>
                <a:buChar char="•"/>
                <a:defRPr sz="2200">
                  <a:latin typeface="Bahnschrift" panose="020B0502040204020203" pitchFamily="34" charset="0"/>
                </a:defRPr>
              </a:lvl1pPr>
              <a:lvl2pPr marL="908050" lvl="1" indent="-436563" eaLnBrk="1" hangingPunct="1">
                <a:spcBef>
                  <a:spcPct val="20000"/>
                </a:spcBef>
                <a:buClr>
                  <a:schemeClr val="tx1"/>
                </a:buClr>
                <a:buFont typeface="Symbol" panose="05050102010706020507" pitchFamily="18" charset="2"/>
                <a:buChar char="-"/>
                <a:defRPr sz="2000">
                  <a:latin typeface="Bahnschrift" panose="020B0502040204020203" pitchFamily="34" charset="0"/>
                </a:defRPr>
              </a:lvl2pPr>
              <a:lvl3pPr marL="1304925" lvl="2" indent="-395288" eaLnBrk="1" hangingPunct="1">
                <a:spcBef>
                  <a:spcPct val="20000"/>
                </a:spcBef>
                <a:buClr>
                  <a:srgbClr val="6F6F6F"/>
                </a:buClr>
                <a:buFont typeface="Symbol" pitchFamily="18" charset="2"/>
                <a:buChar char="-"/>
                <a:defRPr sz="1800">
                  <a:latin typeface="Bahnschrift" panose="020B0502040204020203" pitchFamily="34" charset="0"/>
                </a:defRPr>
              </a:lvl3pPr>
              <a:lvl4pPr marL="1693863" lvl="3" indent="-387350" eaLnBrk="1" hangingPunct="1">
                <a:spcBef>
                  <a:spcPct val="20000"/>
                </a:spcBef>
                <a:buClr>
                  <a:srgbClr val="6F6F6F"/>
                </a:buClr>
                <a:buFont typeface="Symbol" pitchFamily="18" charset="2"/>
                <a:buChar char="-"/>
                <a:defRPr sz="1800">
                  <a:latin typeface="Bahnschrift" panose="020B0502040204020203" pitchFamily="34" charset="0"/>
                </a:defRPr>
              </a:lvl4pPr>
              <a:lvl5pPr marL="2093913" lvl="4" indent="-398463" eaLnBrk="1" hangingPunct="1">
                <a:spcBef>
                  <a:spcPct val="25000"/>
                </a:spcBef>
                <a:buClr>
                  <a:srgbClr val="6F6F6F"/>
                </a:buClr>
                <a:buFont typeface="Symbol" pitchFamily="18" charset="2"/>
                <a:buChar char="-"/>
                <a:defRPr sz="1800">
                  <a:latin typeface="Bahnschrift" panose="020B0502040204020203" pitchFamily="34" charset="0"/>
                </a:defRPr>
              </a:lvl5pPr>
              <a:lvl6pPr marL="2551113" indent="-398463" fontAlgn="base">
                <a:spcBef>
                  <a:spcPct val="25000"/>
                </a:spcBef>
                <a:spcAft>
                  <a:spcPct val="0"/>
                </a:spcAft>
                <a:buClr>
                  <a:schemeClr val="accent2"/>
                </a:buClr>
                <a:buFont typeface="Wingdings" pitchFamily="2" charset="2"/>
                <a:buChar char="§"/>
                <a:defRPr sz="2000">
                  <a:latin typeface="+mn-lt"/>
                </a:defRPr>
              </a:lvl6pPr>
              <a:lvl7pPr marL="3008313" indent="-398463" fontAlgn="base">
                <a:spcBef>
                  <a:spcPct val="25000"/>
                </a:spcBef>
                <a:spcAft>
                  <a:spcPct val="0"/>
                </a:spcAft>
                <a:buClr>
                  <a:schemeClr val="accent2"/>
                </a:buClr>
                <a:buFont typeface="Wingdings" pitchFamily="2" charset="2"/>
                <a:buChar char="§"/>
                <a:defRPr sz="2000">
                  <a:latin typeface="+mn-lt"/>
                </a:defRPr>
              </a:lvl7pPr>
              <a:lvl8pPr marL="3465513" indent="-398463" fontAlgn="base">
                <a:spcBef>
                  <a:spcPct val="25000"/>
                </a:spcBef>
                <a:spcAft>
                  <a:spcPct val="0"/>
                </a:spcAft>
                <a:buClr>
                  <a:schemeClr val="accent2"/>
                </a:buClr>
                <a:buFont typeface="Wingdings" pitchFamily="2" charset="2"/>
                <a:buChar char="§"/>
                <a:defRPr sz="2000">
                  <a:latin typeface="+mn-lt"/>
                </a:defRPr>
              </a:lvl8pPr>
              <a:lvl9pPr marL="3922713" indent="-398463" fontAlgn="base">
                <a:spcBef>
                  <a:spcPct val="25000"/>
                </a:spcBef>
                <a:spcAft>
                  <a:spcPct val="0"/>
                </a:spcAft>
                <a:buClr>
                  <a:schemeClr val="accent2"/>
                </a:buClr>
                <a:buFont typeface="Wingdings" pitchFamily="2" charset="2"/>
                <a:buChar char="§"/>
                <a:defRPr sz="2000">
                  <a:latin typeface="+mn-lt"/>
                </a:defRPr>
              </a:lvl9pPr>
            </a:lstStyle>
            <a:p>
              <a:pPr marL="0" indent="0">
                <a:buNone/>
              </a:pPr>
              <a:r>
                <a:rPr lang="de-DE" sz="700" dirty="0">
                  <a:cs typeface="Arial" panose="020B0604020202020204" pitchFamily="34" charset="0"/>
                </a:rPr>
                <a:t>Szenario Erneuerbare Energien</a:t>
              </a:r>
              <a:br>
                <a:rPr lang="de-DE" sz="700" dirty="0">
                  <a:cs typeface="Arial" panose="020B0604020202020204" pitchFamily="34" charset="0"/>
                </a:rPr>
              </a:br>
              <a:r>
                <a:rPr lang="de-DE" sz="700" dirty="0"/>
                <a:t>WEM NEKP</a:t>
              </a:r>
              <a:r>
                <a:rPr lang="de-DE" sz="700" baseline="30000" dirty="0">
                  <a:cs typeface="Arial" panose="020B0604020202020204" pitchFamily="34" charset="0"/>
                </a:rPr>
                <a:t>1 </a:t>
              </a:r>
              <a:r>
                <a:rPr lang="de-DE" sz="700" dirty="0">
                  <a:cs typeface="Arial" panose="020B0604020202020204" pitchFamily="34" charset="0"/>
                </a:rPr>
                <a:t>[2023]</a:t>
              </a:r>
              <a:endParaRPr lang="en-NZ" sz="700" dirty="0">
                <a:cs typeface="Arial" panose="020B0604020202020204" pitchFamily="34" charset="0"/>
              </a:endParaRPr>
            </a:p>
          </p:txBody>
        </p:sp>
      </p:grpSp>
      <p:grpSp>
        <p:nvGrpSpPr>
          <p:cNvPr id="73" name="Group 72">
            <a:extLst>
              <a:ext uri="{FF2B5EF4-FFF2-40B4-BE49-F238E27FC236}">
                <a16:creationId xmlns:a16="http://schemas.microsoft.com/office/drawing/2014/main" id="{2D2E0406-3EE5-4373-AF34-103861726E19}"/>
              </a:ext>
            </a:extLst>
          </p:cNvPr>
          <p:cNvGrpSpPr/>
          <p:nvPr/>
        </p:nvGrpSpPr>
        <p:grpSpPr>
          <a:xfrm>
            <a:off x="9504363" y="4237909"/>
            <a:ext cx="2084961" cy="107722"/>
            <a:chOff x="9504363" y="4348277"/>
            <a:chExt cx="2084961" cy="107722"/>
          </a:xfrm>
        </p:grpSpPr>
        <p:cxnSp>
          <p:nvCxnSpPr>
            <p:cNvPr id="147" name="Straight Connector 146">
              <a:extLst>
                <a:ext uri="{FF2B5EF4-FFF2-40B4-BE49-F238E27FC236}">
                  <a16:creationId xmlns:a16="http://schemas.microsoft.com/office/drawing/2014/main" id="{8AE99BB8-8275-2118-0391-2C59CA53755B}"/>
                </a:ext>
              </a:extLst>
            </p:cNvPr>
            <p:cNvCxnSpPr>
              <a:cxnSpLocks/>
            </p:cNvCxnSpPr>
            <p:nvPr>
              <p:custDataLst>
                <p:tags r:id="rId54"/>
              </p:custDataLst>
            </p:nvPr>
          </p:nvCxnSpPr>
          <p:spPr bwMode="gray">
            <a:xfrm>
              <a:off x="9504363" y="4402138"/>
              <a:ext cx="304800" cy="0"/>
            </a:xfrm>
            <a:prstGeom prst="line">
              <a:avLst/>
            </a:prstGeom>
            <a:ln w="28575" cap="rnd"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8" name="TextBox 37">
              <a:extLst>
                <a:ext uri="{FF2B5EF4-FFF2-40B4-BE49-F238E27FC236}">
                  <a16:creationId xmlns:a16="http://schemas.microsoft.com/office/drawing/2014/main" id="{A05D779F-4ED1-45B7-9BD7-7956FF4438A3}"/>
                </a:ext>
              </a:extLst>
            </p:cNvPr>
            <p:cNvSpPr txBox="1">
              <a:spLocks/>
            </p:cNvSpPr>
            <p:nvPr/>
          </p:nvSpPr>
          <p:spPr>
            <a:xfrm>
              <a:off x="9888537" y="4348277"/>
              <a:ext cx="1700787" cy="107722"/>
            </a:xfrm>
            <a:prstGeom prst="rect">
              <a:avLst/>
            </a:prstGeom>
          </p:spPr>
          <p:txBody>
            <a:bodyPr vert="horz" wrap="square" lIns="0" tIns="0" rIns="0" bIns="0" rtlCol="0" anchor="ctr" anchorCtr="0">
              <a:spAutoFit/>
            </a:bodyPr>
            <a:lstStyle>
              <a:lvl1pPr marL="469900" lvl="0" indent="-469900" eaLnBrk="1" hangingPunct="1">
                <a:spcBef>
                  <a:spcPct val="20000"/>
                </a:spcBef>
                <a:buClr>
                  <a:srgbClr val="ED1C24"/>
                </a:buClr>
                <a:buFont typeface="Arial" panose="020B0604020202020204" pitchFamily="34" charset="0"/>
                <a:buChar char="•"/>
                <a:defRPr sz="2200">
                  <a:latin typeface="Bahnschrift" panose="020B0502040204020203" pitchFamily="34" charset="0"/>
                </a:defRPr>
              </a:lvl1pPr>
              <a:lvl2pPr marL="908050" lvl="1" indent="-436563" eaLnBrk="1" hangingPunct="1">
                <a:spcBef>
                  <a:spcPct val="20000"/>
                </a:spcBef>
                <a:buClr>
                  <a:schemeClr val="tx1"/>
                </a:buClr>
                <a:buFont typeface="Symbol" panose="05050102010706020507" pitchFamily="18" charset="2"/>
                <a:buChar char="-"/>
                <a:defRPr sz="2000">
                  <a:latin typeface="Bahnschrift" panose="020B0502040204020203" pitchFamily="34" charset="0"/>
                </a:defRPr>
              </a:lvl2pPr>
              <a:lvl3pPr marL="1304925" lvl="2" indent="-395288" eaLnBrk="1" hangingPunct="1">
                <a:spcBef>
                  <a:spcPct val="20000"/>
                </a:spcBef>
                <a:buClr>
                  <a:srgbClr val="6F6F6F"/>
                </a:buClr>
                <a:buFont typeface="Symbol" pitchFamily="18" charset="2"/>
                <a:buChar char="-"/>
                <a:defRPr sz="1800">
                  <a:latin typeface="Bahnschrift" panose="020B0502040204020203" pitchFamily="34" charset="0"/>
                </a:defRPr>
              </a:lvl3pPr>
              <a:lvl4pPr marL="1693863" lvl="3" indent="-387350" eaLnBrk="1" hangingPunct="1">
                <a:spcBef>
                  <a:spcPct val="20000"/>
                </a:spcBef>
                <a:buClr>
                  <a:srgbClr val="6F6F6F"/>
                </a:buClr>
                <a:buFont typeface="Symbol" pitchFamily="18" charset="2"/>
                <a:buChar char="-"/>
                <a:defRPr sz="1800">
                  <a:latin typeface="Bahnschrift" panose="020B0502040204020203" pitchFamily="34" charset="0"/>
                </a:defRPr>
              </a:lvl4pPr>
              <a:lvl5pPr marL="2093913" lvl="4" indent="-398463" eaLnBrk="1" hangingPunct="1">
                <a:spcBef>
                  <a:spcPct val="25000"/>
                </a:spcBef>
                <a:buClr>
                  <a:srgbClr val="6F6F6F"/>
                </a:buClr>
                <a:buFont typeface="Symbol" pitchFamily="18" charset="2"/>
                <a:buChar char="-"/>
                <a:defRPr sz="1800">
                  <a:latin typeface="Bahnschrift" panose="020B0502040204020203" pitchFamily="34" charset="0"/>
                </a:defRPr>
              </a:lvl5pPr>
              <a:lvl6pPr marL="2551113" indent="-398463" fontAlgn="base">
                <a:spcBef>
                  <a:spcPct val="25000"/>
                </a:spcBef>
                <a:spcAft>
                  <a:spcPct val="0"/>
                </a:spcAft>
                <a:buClr>
                  <a:schemeClr val="accent2"/>
                </a:buClr>
                <a:buFont typeface="Wingdings" pitchFamily="2" charset="2"/>
                <a:buChar char="§"/>
                <a:defRPr sz="2000">
                  <a:latin typeface="+mn-lt"/>
                </a:defRPr>
              </a:lvl6pPr>
              <a:lvl7pPr marL="3008313" indent="-398463" fontAlgn="base">
                <a:spcBef>
                  <a:spcPct val="25000"/>
                </a:spcBef>
                <a:spcAft>
                  <a:spcPct val="0"/>
                </a:spcAft>
                <a:buClr>
                  <a:schemeClr val="accent2"/>
                </a:buClr>
                <a:buFont typeface="Wingdings" pitchFamily="2" charset="2"/>
                <a:buChar char="§"/>
                <a:defRPr sz="2000">
                  <a:latin typeface="+mn-lt"/>
                </a:defRPr>
              </a:lvl7pPr>
              <a:lvl8pPr marL="3465513" indent="-398463" fontAlgn="base">
                <a:spcBef>
                  <a:spcPct val="25000"/>
                </a:spcBef>
                <a:spcAft>
                  <a:spcPct val="0"/>
                </a:spcAft>
                <a:buClr>
                  <a:schemeClr val="accent2"/>
                </a:buClr>
                <a:buFont typeface="Wingdings" pitchFamily="2" charset="2"/>
                <a:buChar char="§"/>
                <a:defRPr sz="2000">
                  <a:latin typeface="+mn-lt"/>
                </a:defRPr>
              </a:lvl8pPr>
              <a:lvl9pPr marL="3922713" indent="-398463" fontAlgn="base">
                <a:spcBef>
                  <a:spcPct val="25000"/>
                </a:spcBef>
                <a:spcAft>
                  <a:spcPct val="0"/>
                </a:spcAft>
                <a:buClr>
                  <a:schemeClr val="accent2"/>
                </a:buClr>
                <a:buFont typeface="Wingdings" pitchFamily="2" charset="2"/>
                <a:buChar char="§"/>
                <a:defRPr sz="2000">
                  <a:latin typeface="+mn-lt"/>
                </a:defRPr>
              </a:lvl9pPr>
            </a:lstStyle>
            <a:p>
              <a:pPr marL="0" indent="0">
                <a:buNone/>
              </a:pPr>
              <a:r>
                <a:rPr lang="en-NZ" sz="700" dirty="0" err="1">
                  <a:cs typeface="Arial" panose="020B0604020202020204" pitchFamily="34" charset="0"/>
                </a:rPr>
                <a:t>Anteil</a:t>
              </a:r>
              <a:r>
                <a:rPr lang="en-NZ" sz="700" dirty="0">
                  <a:cs typeface="Arial" panose="020B0604020202020204" pitchFamily="34" charset="0"/>
                </a:rPr>
                <a:t> </a:t>
              </a:r>
              <a:r>
                <a:rPr lang="en-NZ" sz="700" dirty="0" err="1">
                  <a:cs typeface="Arial" panose="020B0604020202020204" pitchFamily="34" charset="0"/>
                </a:rPr>
                <a:t>Erneuerbare</a:t>
              </a:r>
              <a:endParaRPr lang="en-NZ" sz="700" dirty="0">
                <a:cs typeface="Arial" panose="020B0604020202020204" pitchFamily="34" charset="0"/>
              </a:endParaRPr>
            </a:p>
          </p:txBody>
        </p:sp>
      </p:grpSp>
      <p:grpSp>
        <p:nvGrpSpPr>
          <p:cNvPr id="74" name="Group 73">
            <a:extLst>
              <a:ext uri="{FF2B5EF4-FFF2-40B4-BE49-F238E27FC236}">
                <a16:creationId xmlns:a16="http://schemas.microsoft.com/office/drawing/2014/main" id="{FAD2D085-2021-456B-94C9-8C2006245305}"/>
              </a:ext>
            </a:extLst>
          </p:cNvPr>
          <p:cNvGrpSpPr/>
          <p:nvPr/>
        </p:nvGrpSpPr>
        <p:grpSpPr>
          <a:xfrm>
            <a:off x="9504363" y="4402713"/>
            <a:ext cx="2084961" cy="215444"/>
            <a:chOff x="9504363" y="4633684"/>
            <a:chExt cx="2084961" cy="215444"/>
          </a:xfrm>
        </p:grpSpPr>
        <p:cxnSp>
          <p:nvCxnSpPr>
            <p:cNvPr id="141" name="Straight Connector 140">
              <a:extLst>
                <a:ext uri="{FF2B5EF4-FFF2-40B4-BE49-F238E27FC236}">
                  <a16:creationId xmlns:a16="http://schemas.microsoft.com/office/drawing/2014/main" id="{115C76B9-8AC1-09A7-9F83-1B699C65AB2F}"/>
                </a:ext>
              </a:extLst>
            </p:cNvPr>
            <p:cNvCxnSpPr>
              <a:cxnSpLocks/>
            </p:cNvCxnSpPr>
            <p:nvPr>
              <p:custDataLst>
                <p:tags r:id="rId53"/>
              </p:custDataLst>
            </p:nvPr>
          </p:nvCxnSpPr>
          <p:spPr bwMode="gray">
            <a:xfrm>
              <a:off x="9504363" y="4741406"/>
              <a:ext cx="304800" cy="0"/>
            </a:xfrm>
            <a:prstGeom prst="line">
              <a:avLst/>
            </a:prstGeom>
            <a:ln w="28575" cap="rnd" cmpd="sng" algn="ctr">
              <a:solidFill>
                <a:schemeClr val="accent2"/>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2" name="TextBox 41">
              <a:extLst>
                <a:ext uri="{FF2B5EF4-FFF2-40B4-BE49-F238E27FC236}">
                  <a16:creationId xmlns:a16="http://schemas.microsoft.com/office/drawing/2014/main" id="{9D03759C-5337-4B57-A953-9613BF4B602A}"/>
                </a:ext>
              </a:extLst>
            </p:cNvPr>
            <p:cNvSpPr txBox="1">
              <a:spLocks/>
            </p:cNvSpPr>
            <p:nvPr/>
          </p:nvSpPr>
          <p:spPr>
            <a:xfrm>
              <a:off x="9888537" y="4633684"/>
              <a:ext cx="1700787" cy="215444"/>
            </a:xfrm>
            <a:prstGeom prst="rect">
              <a:avLst/>
            </a:prstGeom>
          </p:spPr>
          <p:txBody>
            <a:bodyPr vert="horz" wrap="square" lIns="0" tIns="0" rIns="0" bIns="0" rtlCol="0" anchor="ctr" anchorCtr="0">
              <a:spAutoFit/>
            </a:bodyPr>
            <a:lstStyle>
              <a:lvl1pPr marL="469900" lvl="0" indent="-469900" eaLnBrk="1" hangingPunct="1">
                <a:spcBef>
                  <a:spcPct val="20000"/>
                </a:spcBef>
                <a:buClr>
                  <a:srgbClr val="ED1C24"/>
                </a:buClr>
                <a:buFont typeface="Arial" panose="020B0604020202020204" pitchFamily="34" charset="0"/>
                <a:buChar char="•"/>
                <a:defRPr sz="2200">
                  <a:latin typeface="Bahnschrift" panose="020B0502040204020203" pitchFamily="34" charset="0"/>
                </a:defRPr>
              </a:lvl1pPr>
              <a:lvl2pPr marL="908050" lvl="1" indent="-436563" eaLnBrk="1" hangingPunct="1">
                <a:spcBef>
                  <a:spcPct val="20000"/>
                </a:spcBef>
                <a:buClr>
                  <a:schemeClr val="tx1"/>
                </a:buClr>
                <a:buFont typeface="Symbol" panose="05050102010706020507" pitchFamily="18" charset="2"/>
                <a:buChar char="-"/>
                <a:defRPr sz="2000">
                  <a:latin typeface="Bahnschrift" panose="020B0502040204020203" pitchFamily="34" charset="0"/>
                </a:defRPr>
              </a:lvl2pPr>
              <a:lvl3pPr marL="1304925" lvl="2" indent="-395288" eaLnBrk="1" hangingPunct="1">
                <a:spcBef>
                  <a:spcPct val="20000"/>
                </a:spcBef>
                <a:buClr>
                  <a:srgbClr val="6F6F6F"/>
                </a:buClr>
                <a:buFont typeface="Symbol" pitchFamily="18" charset="2"/>
                <a:buChar char="-"/>
                <a:defRPr sz="1800">
                  <a:latin typeface="Bahnschrift" panose="020B0502040204020203" pitchFamily="34" charset="0"/>
                </a:defRPr>
              </a:lvl3pPr>
              <a:lvl4pPr marL="1693863" lvl="3" indent="-387350" eaLnBrk="1" hangingPunct="1">
                <a:spcBef>
                  <a:spcPct val="20000"/>
                </a:spcBef>
                <a:buClr>
                  <a:srgbClr val="6F6F6F"/>
                </a:buClr>
                <a:buFont typeface="Symbol" pitchFamily="18" charset="2"/>
                <a:buChar char="-"/>
                <a:defRPr sz="1800">
                  <a:latin typeface="Bahnschrift" panose="020B0502040204020203" pitchFamily="34" charset="0"/>
                </a:defRPr>
              </a:lvl4pPr>
              <a:lvl5pPr marL="2093913" lvl="4" indent="-398463" eaLnBrk="1" hangingPunct="1">
                <a:spcBef>
                  <a:spcPct val="25000"/>
                </a:spcBef>
                <a:buClr>
                  <a:srgbClr val="6F6F6F"/>
                </a:buClr>
                <a:buFont typeface="Symbol" pitchFamily="18" charset="2"/>
                <a:buChar char="-"/>
                <a:defRPr sz="1800">
                  <a:latin typeface="Bahnschrift" panose="020B0502040204020203" pitchFamily="34" charset="0"/>
                </a:defRPr>
              </a:lvl5pPr>
              <a:lvl6pPr marL="2551113" indent="-398463" fontAlgn="base">
                <a:spcBef>
                  <a:spcPct val="25000"/>
                </a:spcBef>
                <a:spcAft>
                  <a:spcPct val="0"/>
                </a:spcAft>
                <a:buClr>
                  <a:schemeClr val="accent2"/>
                </a:buClr>
                <a:buFont typeface="Wingdings" pitchFamily="2" charset="2"/>
                <a:buChar char="§"/>
                <a:defRPr sz="2000">
                  <a:latin typeface="+mn-lt"/>
                </a:defRPr>
              </a:lvl6pPr>
              <a:lvl7pPr marL="3008313" indent="-398463" fontAlgn="base">
                <a:spcBef>
                  <a:spcPct val="25000"/>
                </a:spcBef>
                <a:spcAft>
                  <a:spcPct val="0"/>
                </a:spcAft>
                <a:buClr>
                  <a:schemeClr val="accent2"/>
                </a:buClr>
                <a:buFont typeface="Wingdings" pitchFamily="2" charset="2"/>
                <a:buChar char="§"/>
                <a:defRPr sz="2000">
                  <a:latin typeface="+mn-lt"/>
                </a:defRPr>
              </a:lvl7pPr>
              <a:lvl8pPr marL="3465513" indent="-398463" fontAlgn="base">
                <a:spcBef>
                  <a:spcPct val="25000"/>
                </a:spcBef>
                <a:spcAft>
                  <a:spcPct val="0"/>
                </a:spcAft>
                <a:buClr>
                  <a:schemeClr val="accent2"/>
                </a:buClr>
                <a:buFont typeface="Wingdings" pitchFamily="2" charset="2"/>
                <a:buChar char="§"/>
                <a:defRPr sz="2000">
                  <a:latin typeface="+mn-lt"/>
                </a:defRPr>
              </a:lvl8pPr>
              <a:lvl9pPr marL="3922713" indent="-398463" fontAlgn="base">
                <a:spcBef>
                  <a:spcPct val="25000"/>
                </a:spcBef>
                <a:spcAft>
                  <a:spcPct val="0"/>
                </a:spcAft>
                <a:buClr>
                  <a:schemeClr val="accent2"/>
                </a:buClr>
                <a:buFont typeface="Wingdings" pitchFamily="2" charset="2"/>
                <a:buChar char="§"/>
                <a:defRPr sz="2000">
                  <a:latin typeface="+mn-lt"/>
                </a:defRPr>
              </a:lvl9pPr>
            </a:lstStyle>
            <a:p>
              <a:pPr marL="0" indent="0">
                <a:buNone/>
              </a:pPr>
              <a:r>
                <a:rPr lang="de-DE" sz="700" dirty="0">
                  <a:cs typeface="Arial" panose="020B0604020202020204" pitchFamily="34" charset="0"/>
                </a:rPr>
                <a:t>Szenario Erneuerbare </a:t>
              </a:r>
              <a:r>
                <a:rPr lang="de-DE" sz="700" dirty="0"/>
                <a:t>Energien</a:t>
              </a:r>
              <a:br>
                <a:rPr lang="de-DE" sz="700" dirty="0">
                  <a:cs typeface="Arial" panose="020B0604020202020204" pitchFamily="34" charset="0"/>
                </a:rPr>
              </a:br>
              <a:r>
                <a:rPr lang="de-DE" sz="700" dirty="0">
                  <a:cs typeface="Arial" panose="020B0604020202020204" pitchFamily="34" charset="0"/>
                </a:rPr>
                <a:t>WAM NEKP</a:t>
              </a:r>
              <a:r>
                <a:rPr lang="de-DE" sz="700" baseline="30000" dirty="0">
                  <a:cs typeface="Arial" panose="020B0604020202020204" pitchFamily="34" charset="0"/>
                </a:rPr>
                <a:t>1 </a:t>
              </a:r>
              <a:r>
                <a:rPr lang="de-DE" sz="700" dirty="0">
                  <a:cs typeface="Arial" panose="020B0604020202020204" pitchFamily="34" charset="0"/>
                </a:rPr>
                <a:t>[2023]</a:t>
              </a:r>
              <a:endParaRPr lang="en-NZ" sz="700" dirty="0">
                <a:cs typeface="Arial" panose="020B0604020202020204" pitchFamily="34" charset="0"/>
              </a:endParaRPr>
            </a:p>
          </p:txBody>
        </p:sp>
      </p:grpSp>
      <p:grpSp>
        <p:nvGrpSpPr>
          <p:cNvPr id="69" name="Group 68">
            <a:extLst>
              <a:ext uri="{FF2B5EF4-FFF2-40B4-BE49-F238E27FC236}">
                <a16:creationId xmlns:a16="http://schemas.microsoft.com/office/drawing/2014/main" id="{1EE7ED10-78A3-4268-A619-1D40794D4E3F}"/>
              </a:ext>
            </a:extLst>
          </p:cNvPr>
          <p:cNvGrpSpPr/>
          <p:nvPr/>
        </p:nvGrpSpPr>
        <p:grpSpPr>
          <a:xfrm>
            <a:off x="9703291" y="3312610"/>
            <a:ext cx="1886033" cy="323165"/>
            <a:chOff x="9703291" y="3078657"/>
            <a:chExt cx="1886033" cy="323165"/>
          </a:xfrm>
        </p:grpSpPr>
        <p:sp>
          <p:nvSpPr>
            <p:cNvPr id="12" name="Diamond 11">
              <a:extLst>
                <a:ext uri="{FF2B5EF4-FFF2-40B4-BE49-F238E27FC236}">
                  <a16:creationId xmlns:a16="http://schemas.microsoft.com/office/drawing/2014/main" id="{A88AF79A-9F66-F423-CA22-03A2ADD21022}"/>
                </a:ext>
              </a:extLst>
            </p:cNvPr>
            <p:cNvSpPr>
              <a:spLocks/>
            </p:cNvSpPr>
            <p:nvPr/>
          </p:nvSpPr>
          <p:spPr>
            <a:xfrm>
              <a:off x="9703291" y="3078657"/>
              <a:ext cx="135453" cy="143704"/>
            </a:xfrm>
            <a:prstGeom prst="diamond">
              <a:avLst/>
            </a:prstGeom>
            <a:solidFill>
              <a:srgbClr val="3C9A3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900" b="0" i="0" u="none" strike="noStrike" kern="1200" cap="none" spc="0" normalizeH="0" baseline="0" noProof="0" err="1">
                <a:ln>
                  <a:noFill/>
                </a:ln>
                <a:solidFill>
                  <a:srgbClr val="FFFFFF"/>
                </a:solidFill>
                <a:effectLst/>
                <a:uLnTx/>
                <a:uFillTx/>
                <a:latin typeface="Bahnschrift" panose="020B0502040204020203" pitchFamily="34" charset="0"/>
                <a:ea typeface="+mn-ea"/>
                <a:cs typeface="+mn-cs"/>
              </a:endParaRPr>
            </a:p>
          </p:txBody>
        </p:sp>
        <p:sp>
          <p:nvSpPr>
            <p:cNvPr id="46" name="TextBox 45">
              <a:extLst>
                <a:ext uri="{FF2B5EF4-FFF2-40B4-BE49-F238E27FC236}">
                  <a16:creationId xmlns:a16="http://schemas.microsoft.com/office/drawing/2014/main" id="{C822D792-EA42-4E54-B961-6CEE76CD2816}"/>
                </a:ext>
              </a:extLst>
            </p:cNvPr>
            <p:cNvSpPr txBox="1">
              <a:spLocks/>
            </p:cNvSpPr>
            <p:nvPr/>
          </p:nvSpPr>
          <p:spPr>
            <a:xfrm>
              <a:off x="9888537" y="3078657"/>
              <a:ext cx="1700787" cy="323165"/>
            </a:xfrm>
            <a:prstGeom prst="rect">
              <a:avLst/>
            </a:prstGeom>
          </p:spPr>
          <p:txBody>
            <a:bodyPr vert="horz" wrap="square" lIns="0" tIns="0" rIns="0" bIns="0" rtlCol="0" anchor="t" anchorCtr="0">
              <a:spAutoFit/>
            </a:bodyPr>
            <a:lstStyle>
              <a:lvl1pPr marL="469900" lvl="0" indent="-469900" eaLnBrk="1" hangingPunct="1">
                <a:spcBef>
                  <a:spcPct val="20000"/>
                </a:spcBef>
                <a:buClr>
                  <a:srgbClr val="ED1C24"/>
                </a:buClr>
                <a:buFont typeface="Arial" panose="020B0604020202020204" pitchFamily="34" charset="0"/>
                <a:buChar char="•"/>
                <a:defRPr sz="2200">
                  <a:latin typeface="Bahnschrift" panose="020B0502040204020203" pitchFamily="34" charset="0"/>
                </a:defRPr>
              </a:lvl1pPr>
              <a:lvl2pPr marL="908050" lvl="1" indent="-436563" eaLnBrk="1" hangingPunct="1">
                <a:spcBef>
                  <a:spcPct val="20000"/>
                </a:spcBef>
                <a:buClr>
                  <a:schemeClr val="tx1"/>
                </a:buClr>
                <a:buFont typeface="Symbol" panose="05050102010706020507" pitchFamily="18" charset="2"/>
                <a:buChar char="-"/>
                <a:defRPr sz="2000">
                  <a:latin typeface="Bahnschrift" panose="020B0502040204020203" pitchFamily="34" charset="0"/>
                </a:defRPr>
              </a:lvl2pPr>
              <a:lvl3pPr marL="1304925" lvl="2" indent="-395288" eaLnBrk="1" hangingPunct="1">
                <a:spcBef>
                  <a:spcPct val="20000"/>
                </a:spcBef>
                <a:buClr>
                  <a:srgbClr val="6F6F6F"/>
                </a:buClr>
                <a:buFont typeface="Symbol" pitchFamily="18" charset="2"/>
                <a:buChar char="-"/>
                <a:defRPr sz="1800">
                  <a:latin typeface="Bahnschrift" panose="020B0502040204020203" pitchFamily="34" charset="0"/>
                </a:defRPr>
              </a:lvl3pPr>
              <a:lvl4pPr marL="1693863" lvl="3" indent="-387350" eaLnBrk="1" hangingPunct="1">
                <a:spcBef>
                  <a:spcPct val="20000"/>
                </a:spcBef>
                <a:buClr>
                  <a:srgbClr val="6F6F6F"/>
                </a:buClr>
                <a:buFont typeface="Symbol" pitchFamily="18" charset="2"/>
                <a:buChar char="-"/>
                <a:defRPr sz="1800">
                  <a:latin typeface="Bahnschrift" panose="020B0502040204020203" pitchFamily="34" charset="0"/>
                </a:defRPr>
              </a:lvl4pPr>
              <a:lvl5pPr marL="2093913" lvl="4" indent="-398463" eaLnBrk="1" hangingPunct="1">
                <a:spcBef>
                  <a:spcPct val="25000"/>
                </a:spcBef>
                <a:buClr>
                  <a:srgbClr val="6F6F6F"/>
                </a:buClr>
                <a:buFont typeface="Symbol" pitchFamily="18" charset="2"/>
                <a:buChar char="-"/>
                <a:defRPr sz="1800">
                  <a:latin typeface="Bahnschrift" panose="020B0502040204020203" pitchFamily="34" charset="0"/>
                </a:defRPr>
              </a:lvl5pPr>
              <a:lvl6pPr marL="2551113" indent="-398463" fontAlgn="base">
                <a:spcBef>
                  <a:spcPct val="25000"/>
                </a:spcBef>
                <a:spcAft>
                  <a:spcPct val="0"/>
                </a:spcAft>
                <a:buClr>
                  <a:schemeClr val="accent2"/>
                </a:buClr>
                <a:buFont typeface="Wingdings" pitchFamily="2" charset="2"/>
                <a:buChar char="§"/>
                <a:defRPr sz="2000">
                  <a:latin typeface="+mn-lt"/>
                </a:defRPr>
              </a:lvl6pPr>
              <a:lvl7pPr marL="3008313" indent="-398463" fontAlgn="base">
                <a:spcBef>
                  <a:spcPct val="25000"/>
                </a:spcBef>
                <a:spcAft>
                  <a:spcPct val="0"/>
                </a:spcAft>
                <a:buClr>
                  <a:schemeClr val="accent2"/>
                </a:buClr>
                <a:buFont typeface="Wingdings" pitchFamily="2" charset="2"/>
                <a:buChar char="§"/>
                <a:defRPr sz="2000">
                  <a:latin typeface="+mn-lt"/>
                </a:defRPr>
              </a:lvl7pPr>
              <a:lvl8pPr marL="3465513" indent="-398463" fontAlgn="base">
                <a:spcBef>
                  <a:spcPct val="25000"/>
                </a:spcBef>
                <a:spcAft>
                  <a:spcPct val="0"/>
                </a:spcAft>
                <a:buClr>
                  <a:schemeClr val="accent2"/>
                </a:buClr>
                <a:buFont typeface="Wingdings" pitchFamily="2" charset="2"/>
                <a:buChar char="§"/>
                <a:defRPr sz="2000">
                  <a:latin typeface="+mn-lt"/>
                </a:defRPr>
              </a:lvl8pPr>
              <a:lvl9pPr marL="3922713" indent="-398463" fontAlgn="base">
                <a:spcBef>
                  <a:spcPct val="25000"/>
                </a:spcBef>
                <a:spcAft>
                  <a:spcPct val="0"/>
                </a:spcAft>
                <a:buClr>
                  <a:schemeClr val="accent2"/>
                </a:buClr>
                <a:buFont typeface="Wingdings" pitchFamily="2" charset="2"/>
                <a:buChar char="§"/>
                <a:defRPr sz="2000">
                  <a:latin typeface="+mn-lt"/>
                </a:defRPr>
              </a:lvl9pPr>
            </a:lstStyle>
            <a:p>
              <a:pPr marL="0" indent="0">
                <a:buNone/>
              </a:pPr>
              <a:r>
                <a:rPr lang="de-DE" sz="700" dirty="0">
                  <a:cs typeface="Arial" panose="020B0604020202020204" pitchFamily="34" charset="0"/>
                </a:rPr>
                <a:t>255 TWh-Zielbild des Energieeffizienz</a:t>
              </a:r>
              <a:r>
                <a:rPr lang="pl-PL" sz="700" dirty="0">
                  <a:cs typeface="Arial" panose="020B0604020202020204" pitchFamily="34" charset="0"/>
                </a:rPr>
                <a:t>-</a:t>
              </a:r>
              <a:r>
                <a:rPr lang="de-DE" sz="700" dirty="0" err="1">
                  <a:cs typeface="Arial" panose="020B0604020202020204" pitchFamily="34" charset="0"/>
                </a:rPr>
                <a:t>gesetzes</a:t>
              </a:r>
              <a:r>
                <a:rPr lang="de-DE" sz="700" dirty="0">
                  <a:cs typeface="Arial" panose="020B0604020202020204" pitchFamily="34" charset="0"/>
                </a:rPr>
                <a:t> (zur Erreichung der EU Ziele „Fit-for-55“)</a:t>
              </a:r>
              <a:endParaRPr lang="en-NZ" sz="700" dirty="0">
                <a:cs typeface="Arial" panose="020B0604020202020204" pitchFamily="34" charset="0"/>
              </a:endParaRPr>
            </a:p>
          </p:txBody>
        </p:sp>
      </p:grpSp>
      <p:sp>
        <p:nvSpPr>
          <p:cNvPr id="48" name="TextBox 47">
            <a:extLst>
              <a:ext uri="{FF2B5EF4-FFF2-40B4-BE49-F238E27FC236}">
                <a16:creationId xmlns:a16="http://schemas.microsoft.com/office/drawing/2014/main" id="{A83858C7-350A-4AFC-A624-604620CBEEA2}"/>
              </a:ext>
            </a:extLst>
          </p:cNvPr>
          <p:cNvSpPr txBox="1">
            <a:spLocks/>
          </p:cNvSpPr>
          <p:nvPr/>
        </p:nvSpPr>
        <p:spPr>
          <a:xfrm>
            <a:off x="9888537" y="5277378"/>
            <a:ext cx="1700787" cy="560153"/>
          </a:xfrm>
          <a:prstGeom prst="rect">
            <a:avLst/>
          </a:prstGeom>
        </p:spPr>
        <p:txBody>
          <a:bodyPr vert="horz" wrap="square" lIns="0" tIns="0" rIns="0" bIns="0" rtlCol="0" anchor="ctr" anchorCtr="0">
            <a:spAutoFit/>
          </a:bodyPr>
          <a:lstStyle>
            <a:lvl1pPr marL="469900" lvl="0" indent="-469900" eaLnBrk="1" hangingPunct="1">
              <a:spcBef>
                <a:spcPct val="20000"/>
              </a:spcBef>
              <a:buClr>
                <a:srgbClr val="ED1C24"/>
              </a:buClr>
              <a:buFont typeface="Arial" panose="020B0604020202020204" pitchFamily="34" charset="0"/>
              <a:buChar char="•"/>
              <a:defRPr sz="2200">
                <a:latin typeface="Bahnschrift" panose="020B0502040204020203" pitchFamily="34" charset="0"/>
              </a:defRPr>
            </a:lvl1pPr>
            <a:lvl2pPr marL="908050" lvl="1" indent="-436563" eaLnBrk="1" hangingPunct="1">
              <a:spcBef>
                <a:spcPct val="20000"/>
              </a:spcBef>
              <a:buClr>
                <a:schemeClr val="tx1"/>
              </a:buClr>
              <a:buFont typeface="Symbol" panose="05050102010706020507" pitchFamily="18" charset="2"/>
              <a:buChar char="-"/>
              <a:defRPr sz="2000">
                <a:latin typeface="Bahnschrift" panose="020B0502040204020203" pitchFamily="34" charset="0"/>
              </a:defRPr>
            </a:lvl2pPr>
            <a:lvl3pPr marL="1304925" lvl="2" indent="-395288" eaLnBrk="1" hangingPunct="1">
              <a:spcBef>
                <a:spcPct val="20000"/>
              </a:spcBef>
              <a:buClr>
                <a:srgbClr val="6F6F6F"/>
              </a:buClr>
              <a:buFont typeface="Symbol" pitchFamily="18" charset="2"/>
              <a:buChar char="-"/>
              <a:defRPr sz="1800">
                <a:latin typeface="Bahnschrift" panose="020B0502040204020203" pitchFamily="34" charset="0"/>
              </a:defRPr>
            </a:lvl3pPr>
            <a:lvl4pPr marL="1693863" lvl="3" indent="-387350" eaLnBrk="1" hangingPunct="1">
              <a:spcBef>
                <a:spcPct val="20000"/>
              </a:spcBef>
              <a:buClr>
                <a:srgbClr val="6F6F6F"/>
              </a:buClr>
              <a:buFont typeface="Symbol" pitchFamily="18" charset="2"/>
              <a:buChar char="-"/>
              <a:defRPr sz="1800">
                <a:latin typeface="Bahnschrift" panose="020B0502040204020203" pitchFamily="34" charset="0"/>
              </a:defRPr>
            </a:lvl4pPr>
            <a:lvl5pPr marL="2093913" lvl="4" indent="-398463" eaLnBrk="1" hangingPunct="1">
              <a:spcBef>
                <a:spcPct val="25000"/>
              </a:spcBef>
              <a:buClr>
                <a:srgbClr val="6F6F6F"/>
              </a:buClr>
              <a:buFont typeface="Symbol" pitchFamily="18" charset="2"/>
              <a:buChar char="-"/>
              <a:defRPr sz="1800">
                <a:latin typeface="Bahnschrift" panose="020B0502040204020203" pitchFamily="34" charset="0"/>
              </a:defRPr>
            </a:lvl5pPr>
            <a:lvl6pPr marL="2551113" indent="-398463" fontAlgn="base">
              <a:spcBef>
                <a:spcPct val="25000"/>
              </a:spcBef>
              <a:spcAft>
                <a:spcPct val="0"/>
              </a:spcAft>
              <a:buClr>
                <a:schemeClr val="accent2"/>
              </a:buClr>
              <a:buFont typeface="Wingdings" pitchFamily="2" charset="2"/>
              <a:buChar char="§"/>
              <a:defRPr sz="2000">
                <a:latin typeface="+mn-lt"/>
              </a:defRPr>
            </a:lvl6pPr>
            <a:lvl7pPr marL="3008313" indent="-398463" fontAlgn="base">
              <a:spcBef>
                <a:spcPct val="25000"/>
              </a:spcBef>
              <a:spcAft>
                <a:spcPct val="0"/>
              </a:spcAft>
              <a:buClr>
                <a:schemeClr val="accent2"/>
              </a:buClr>
              <a:buFont typeface="Wingdings" pitchFamily="2" charset="2"/>
              <a:buChar char="§"/>
              <a:defRPr sz="2000">
                <a:latin typeface="+mn-lt"/>
              </a:defRPr>
            </a:lvl7pPr>
            <a:lvl8pPr marL="3465513" indent="-398463" fontAlgn="base">
              <a:spcBef>
                <a:spcPct val="25000"/>
              </a:spcBef>
              <a:spcAft>
                <a:spcPct val="0"/>
              </a:spcAft>
              <a:buClr>
                <a:schemeClr val="accent2"/>
              </a:buClr>
              <a:buFont typeface="Wingdings" pitchFamily="2" charset="2"/>
              <a:buChar char="§"/>
              <a:defRPr sz="2000">
                <a:latin typeface="+mn-lt"/>
              </a:defRPr>
            </a:lvl8pPr>
            <a:lvl9pPr marL="3922713" indent="-398463" fontAlgn="base">
              <a:spcBef>
                <a:spcPct val="25000"/>
              </a:spcBef>
              <a:spcAft>
                <a:spcPct val="0"/>
              </a:spcAft>
              <a:buClr>
                <a:schemeClr val="accent2"/>
              </a:buClr>
              <a:buFont typeface="Wingdings" pitchFamily="2" charset="2"/>
              <a:buChar char="§"/>
              <a:defRPr sz="2000">
                <a:latin typeface="+mn-lt"/>
              </a:defRPr>
            </a:lvl9pPr>
          </a:lstStyle>
          <a:p>
            <a:pPr marL="0" indent="0">
              <a:buNone/>
            </a:pPr>
            <a:r>
              <a:rPr lang="en-NZ" sz="700" b="1" dirty="0"/>
              <a:t>NEKP-</a:t>
            </a:r>
            <a:r>
              <a:rPr lang="en-NZ" sz="700" b="1" dirty="0" err="1"/>
              <a:t>Ziel</a:t>
            </a:r>
            <a:r>
              <a:rPr lang="en-NZ" sz="700" b="1" dirty="0"/>
              <a:t> der </a:t>
            </a:r>
            <a:r>
              <a:rPr lang="en-NZ" sz="700" b="1" dirty="0" err="1"/>
              <a:t>Regierung</a:t>
            </a:r>
            <a:endParaRPr lang="en-NZ" sz="700" b="1" dirty="0"/>
          </a:p>
          <a:p>
            <a:pPr marL="0" indent="0">
              <a:buNone/>
            </a:pPr>
            <a:r>
              <a:rPr lang="de-DE" sz="700" dirty="0"/>
              <a:t>Bis 2030: Erhöhung des Anteils </a:t>
            </a:r>
            <a:r>
              <a:rPr lang="de-DE" sz="700" b="1" dirty="0"/>
              <a:t>erneuerbarer Energie </a:t>
            </a:r>
            <a:r>
              <a:rPr lang="de-DE" sz="700" dirty="0"/>
              <a:t>am Brutto-endenergieverbrauch auf </a:t>
            </a:r>
            <a:r>
              <a:rPr lang="de-DE" sz="700" b="1" dirty="0"/>
              <a:t>42,5% verbindlich</a:t>
            </a:r>
            <a:r>
              <a:rPr lang="de-DE" sz="700" dirty="0"/>
              <a:t> (+2,5% indikativ) </a:t>
            </a:r>
            <a:endParaRPr lang="en-NZ" sz="700" b="1" dirty="0"/>
          </a:p>
        </p:txBody>
      </p:sp>
      <p:grpSp>
        <p:nvGrpSpPr>
          <p:cNvPr id="63" name="Group 62">
            <a:extLst>
              <a:ext uri="{FF2B5EF4-FFF2-40B4-BE49-F238E27FC236}">
                <a16:creationId xmlns:a16="http://schemas.microsoft.com/office/drawing/2014/main" id="{75DF225D-1F86-452E-9456-35FE055623CE}"/>
              </a:ext>
            </a:extLst>
          </p:cNvPr>
          <p:cNvGrpSpPr/>
          <p:nvPr/>
        </p:nvGrpSpPr>
        <p:grpSpPr>
          <a:xfrm>
            <a:off x="9504363" y="1994178"/>
            <a:ext cx="2084961" cy="107722"/>
            <a:chOff x="9504363" y="2381509"/>
            <a:chExt cx="2084961" cy="107722"/>
          </a:xfrm>
        </p:grpSpPr>
        <p:cxnSp>
          <p:nvCxnSpPr>
            <p:cNvPr id="339" name="Straight Connector 338">
              <a:extLst>
                <a:ext uri="{FF2B5EF4-FFF2-40B4-BE49-F238E27FC236}">
                  <a16:creationId xmlns:a16="http://schemas.microsoft.com/office/drawing/2014/main" id="{FE67DB74-E56D-49EE-B32A-01139681BC1C}"/>
                </a:ext>
              </a:extLst>
            </p:cNvPr>
            <p:cNvCxnSpPr>
              <a:cxnSpLocks/>
            </p:cNvCxnSpPr>
            <p:nvPr>
              <p:custDataLst>
                <p:tags r:id="rId52"/>
              </p:custDataLst>
            </p:nvPr>
          </p:nvCxnSpPr>
          <p:spPr bwMode="gray">
            <a:xfrm>
              <a:off x="9504363" y="2435370"/>
              <a:ext cx="304800" cy="0"/>
            </a:xfrm>
            <a:prstGeom prst="line">
              <a:avLst/>
            </a:prstGeom>
            <a:ln w="28575" cap="rnd" cmpd="sng" algn="ctr">
              <a:solidFill>
                <a:srgbClr val="BF95DF"/>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0" name="TextBox 49">
              <a:extLst>
                <a:ext uri="{FF2B5EF4-FFF2-40B4-BE49-F238E27FC236}">
                  <a16:creationId xmlns:a16="http://schemas.microsoft.com/office/drawing/2014/main" id="{7A9307CA-6797-4C27-A8E4-7636FBDE7693}"/>
                </a:ext>
              </a:extLst>
            </p:cNvPr>
            <p:cNvSpPr txBox="1">
              <a:spLocks/>
            </p:cNvSpPr>
            <p:nvPr/>
          </p:nvSpPr>
          <p:spPr>
            <a:xfrm>
              <a:off x="9888537" y="2381509"/>
              <a:ext cx="1700787" cy="107722"/>
            </a:xfrm>
            <a:prstGeom prst="rect">
              <a:avLst/>
            </a:prstGeom>
          </p:spPr>
          <p:txBody>
            <a:bodyPr vert="horz" wrap="square" lIns="0" tIns="0" rIns="0" bIns="0" rtlCol="0" anchor="ctr" anchorCtr="0">
              <a:spAutoFit/>
            </a:bodyPr>
            <a:lstStyle>
              <a:lvl1pPr marL="469900" lvl="0" indent="-469900" eaLnBrk="1" hangingPunct="1">
                <a:spcBef>
                  <a:spcPct val="20000"/>
                </a:spcBef>
                <a:buClr>
                  <a:srgbClr val="ED1C24"/>
                </a:buClr>
                <a:buFont typeface="Arial" panose="020B0604020202020204" pitchFamily="34" charset="0"/>
                <a:buChar char="•"/>
                <a:defRPr sz="2200">
                  <a:latin typeface="Bahnschrift" panose="020B0502040204020203" pitchFamily="34" charset="0"/>
                </a:defRPr>
              </a:lvl1pPr>
              <a:lvl2pPr marL="908050" lvl="1" indent="-436563" eaLnBrk="1" hangingPunct="1">
                <a:spcBef>
                  <a:spcPct val="20000"/>
                </a:spcBef>
                <a:buClr>
                  <a:schemeClr val="tx1"/>
                </a:buClr>
                <a:buFont typeface="Symbol" panose="05050102010706020507" pitchFamily="18" charset="2"/>
                <a:buChar char="-"/>
                <a:defRPr sz="2000">
                  <a:latin typeface="Bahnschrift" panose="020B0502040204020203" pitchFamily="34" charset="0"/>
                </a:defRPr>
              </a:lvl2pPr>
              <a:lvl3pPr marL="1304925" lvl="2" indent="-395288" eaLnBrk="1" hangingPunct="1">
                <a:spcBef>
                  <a:spcPct val="20000"/>
                </a:spcBef>
                <a:buClr>
                  <a:srgbClr val="6F6F6F"/>
                </a:buClr>
                <a:buFont typeface="Symbol" pitchFamily="18" charset="2"/>
                <a:buChar char="-"/>
                <a:defRPr sz="1800">
                  <a:latin typeface="Bahnschrift" panose="020B0502040204020203" pitchFamily="34" charset="0"/>
                </a:defRPr>
              </a:lvl3pPr>
              <a:lvl4pPr marL="1693863" lvl="3" indent="-387350" eaLnBrk="1" hangingPunct="1">
                <a:spcBef>
                  <a:spcPct val="20000"/>
                </a:spcBef>
                <a:buClr>
                  <a:srgbClr val="6F6F6F"/>
                </a:buClr>
                <a:buFont typeface="Symbol" pitchFamily="18" charset="2"/>
                <a:buChar char="-"/>
                <a:defRPr sz="1800">
                  <a:latin typeface="Bahnschrift" panose="020B0502040204020203" pitchFamily="34" charset="0"/>
                </a:defRPr>
              </a:lvl4pPr>
              <a:lvl5pPr marL="2093913" lvl="4" indent="-398463" eaLnBrk="1" hangingPunct="1">
                <a:spcBef>
                  <a:spcPct val="25000"/>
                </a:spcBef>
                <a:buClr>
                  <a:srgbClr val="6F6F6F"/>
                </a:buClr>
                <a:buFont typeface="Symbol" pitchFamily="18" charset="2"/>
                <a:buChar char="-"/>
                <a:defRPr sz="1800">
                  <a:latin typeface="Bahnschrift" panose="020B0502040204020203" pitchFamily="34" charset="0"/>
                </a:defRPr>
              </a:lvl5pPr>
              <a:lvl6pPr marL="2551113" indent="-398463" fontAlgn="base">
                <a:spcBef>
                  <a:spcPct val="25000"/>
                </a:spcBef>
                <a:spcAft>
                  <a:spcPct val="0"/>
                </a:spcAft>
                <a:buClr>
                  <a:schemeClr val="accent2"/>
                </a:buClr>
                <a:buFont typeface="Wingdings" pitchFamily="2" charset="2"/>
                <a:buChar char="§"/>
                <a:defRPr sz="2000">
                  <a:latin typeface="+mn-lt"/>
                </a:defRPr>
              </a:lvl6pPr>
              <a:lvl7pPr marL="3008313" indent="-398463" fontAlgn="base">
                <a:spcBef>
                  <a:spcPct val="25000"/>
                </a:spcBef>
                <a:spcAft>
                  <a:spcPct val="0"/>
                </a:spcAft>
                <a:buClr>
                  <a:schemeClr val="accent2"/>
                </a:buClr>
                <a:buFont typeface="Wingdings" pitchFamily="2" charset="2"/>
                <a:buChar char="§"/>
                <a:defRPr sz="2000">
                  <a:latin typeface="+mn-lt"/>
                </a:defRPr>
              </a:lvl7pPr>
              <a:lvl8pPr marL="3465513" indent="-398463" fontAlgn="base">
                <a:spcBef>
                  <a:spcPct val="25000"/>
                </a:spcBef>
                <a:spcAft>
                  <a:spcPct val="0"/>
                </a:spcAft>
                <a:buClr>
                  <a:schemeClr val="accent2"/>
                </a:buClr>
                <a:buFont typeface="Wingdings" pitchFamily="2" charset="2"/>
                <a:buChar char="§"/>
                <a:defRPr sz="2000">
                  <a:latin typeface="+mn-lt"/>
                </a:defRPr>
              </a:lvl8pPr>
              <a:lvl9pPr marL="3922713" indent="-398463" fontAlgn="base">
                <a:spcBef>
                  <a:spcPct val="25000"/>
                </a:spcBef>
                <a:spcAft>
                  <a:spcPct val="0"/>
                </a:spcAft>
                <a:buClr>
                  <a:schemeClr val="accent2"/>
                </a:buClr>
                <a:buFont typeface="Wingdings" pitchFamily="2" charset="2"/>
                <a:buChar char="§"/>
                <a:defRPr sz="2000">
                  <a:latin typeface="+mn-lt"/>
                </a:defRPr>
              </a:lvl9pPr>
            </a:lstStyle>
            <a:p>
              <a:pPr marL="0" indent="0">
                <a:buNone/>
              </a:pPr>
              <a:r>
                <a:rPr lang="en-NZ" sz="700" dirty="0" err="1">
                  <a:cs typeface="Arial" panose="020B0604020202020204" pitchFamily="34" charset="0"/>
                </a:rPr>
                <a:t>Szenario</a:t>
              </a:r>
              <a:r>
                <a:rPr lang="en-NZ" sz="700" dirty="0">
                  <a:cs typeface="Arial" panose="020B0604020202020204" pitchFamily="34" charset="0"/>
                </a:rPr>
                <a:t> WAM NEKP</a:t>
              </a:r>
              <a:r>
                <a:rPr lang="en-NZ" sz="700" baseline="30000" dirty="0">
                  <a:cs typeface="Arial" panose="020B0604020202020204" pitchFamily="34" charset="0"/>
                </a:rPr>
                <a:t>1 </a:t>
              </a:r>
              <a:r>
                <a:rPr lang="en-NZ" sz="700" dirty="0">
                  <a:cs typeface="Arial" panose="020B0604020202020204" pitchFamily="34" charset="0"/>
                </a:rPr>
                <a:t>[2019/20]</a:t>
              </a:r>
            </a:p>
          </p:txBody>
        </p:sp>
      </p:grpSp>
      <p:grpSp>
        <p:nvGrpSpPr>
          <p:cNvPr id="62" name="Group 61">
            <a:extLst>
              <a:ext uri="{FF2B5EF4-FFF2-40B4-BE49-F238E27FC236}">
                <a16:creationId xmlns:a16="http://schemas.microsoft.com/office/drawing/2014/main" id="{AE0CE551-5966-4EB4-86F1-E77BD9B0C9D6}"/>
              </a:ext>
            </a:extLst>
          </p:cNvPr>
          <p:cNvGrpSpPr/>
          <p:nvPr/>
        </p:nvGrpSpPr>
        <p:grpSpPr>
          <a:xfrm>
            <a:off x="9504363" y="1829374"/>
            <a:ext cx="2084961" cy="107722"/>
            <a:chOff x="9504363" y="2194184"/>
            <a:chExt cx="2084961" cy="107722"/>
          </a:xfrm>
        </p:grpSpPr>
        <p:cxnSp>
          <p:nvCxnSpPr>
            <p:cNvPr id="340" name="Straight Connector 339">
              <a:extLst>
                <a:ext uri="{FF2B5EF4-FFF2-40B4-BE49-F238E27FC236}">
                  <a16:creationId xmlns:a16="http://schemas.microsoft.com/office/drawing/2014/main" id="{7AD479FA-F2C0-4B75-BD9C-CECF7A6C1FE0}"/>
                </a:ext>
              </a:extLst>
            </p:cNvPr>
            <p:cNvCxnSpPr>
              <a:cxnSpLocks/>
            </p:cNvCxnSpPr>
            <p:nvPr>
              <p:custDataLst>
                <p:tags r:id="rId51"/>
              </p:custDataLst>
            </p:nvPr>
          </p:nvCxnSpPr>
          <p:spPr bwMode="gray">
            <a:xfrm>
              <a:off x="9504363" y="2248045"/>
              <a:ext cx="304800" cy="0"/>
            </a:xfrm>
            <a:prstGeom prst="line">
              <a:avLst/>
            </a:prstGeom>
            <a:ln w="28575" cap="rnd" cmpd="sng" algn="ctr">
              <a:solidFill>
                <a:srgbClr val="A365D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2" name="TextBox 51">
              <a:extLst>
                <a:ext uri="{FF2B5EF4-FFF2-40B4-BE49-F238E27FC236}">
                  <a16:creationId xmlns:a16="http://schemas.microsoft.com/office/drawing/2014/main" id="{04DB6428-6B93-4BB1-A967-A383BF55F199}"/>
                </a:ext>
              </a:extLst>
            </p:cNvPr>
            <p:cNvSpPr txBox="1">
              <a:spLocks/>
            </p:cNvSpPr>
            <p:nvPr/>
          </p:nvSpPr>
          <p:spPr>
            <a:xfrm>
              <a:off x="9888537" y="2194184"/>
              <a:ext cx="1700787" cy="107722"/>
            </a:xfrm>
            <a:prstGeom prst="rect">
              <a:avLst/>
            </a:prstGeom>
          </p:spPr>
          <p:txBody>
            <a:bodyPr vert="horz" wrap="square" lIns="0" tIns="0" rIns="0" bIns="0" rtlCol="0" anchor="ctr" anchorCtr="0">
              <a:spAutoFit/>
            </a:bodyPr>
            <a:lstStyle>
              <a:lvl1pPr marL="469900" lvl="0" indent="-469900" eaLnBrk="1" hangingPunct="1">
                <a:spcBef>
                  <a:spcPct val="20000"/>
                </a:spcBef>
                <a:buClr>
                  <a:srgbClr val="ED1C24"/>
                </a:buClr>
                <a:buFont typeface="Arial" panose="020B0604020202020204" pitchFamily="34" charset="0"/>
                <a:buChar char="•"/>
                <a:defRPr sz="2200">
                  <a:latin typeface="Bahnschrift" panose="020B0502040204020203" pitchFamily="34" charset="0"/>
                </a:defRPr>
              </a:lvl1pPr>
              <a:lvl2pPr marL="908050" lvl="1" indent="-436563" eaLnBrk="1" hangingPunct="1">
                <a:spcBef>
                  <a:spcPct val="20000"/>
                </a:spcBef>
                <a:buClr>
                  <a:schemeClr val="tx1"/>
                </a:buClr>
                <a:buFont typeface="Symbol" panose="05050102010706020507" pitchFamily="18" charset="2"/>
                <a:buChar char="-"/>
                <a:defRPr sz="2000">
                  <a:latin typeface="Bahnschrift" panose="020B0502040204020203" pitchFamily="34" charset="0"/>
                </a:defRPr>
              </a:lvl2pPr>
              <a:lvl3pPr marL="1304925" lvl="2" indent="-395288" eaLnBrk="1" hangingPunct="1">
                <a:spcBef>
                  <a:spcPct val="20000"/>
                </a:spcBef>
                <a:buClr>
                  <a:srgbClr val="6F6F6F"/>
                </a:buClr>
                <a:buFont typeface="Symbol" pitchFamily="18" charset="2"/>
                <a:buChar char="-"/>
                <a:defRPr sz="1800">
                  <a:latin typeface="Bahnschrift" panose="020B0502040204020203" pitchFamily="34" charset="0"/>
                </a:defRPr>
              </a:lvl3pPr>
              <a:lvl4pPr marL="1693863" lvl="3" indent="-387350" eaLnBrk="1" hangingPunct="1">
                <a:spcBef>
                  <a:spcPct val="20000"/>
                </a:spcBef>
                <a:buClr>
                  <a:srgbClr val="6F6F6F"/>
                </a:buClr>
                <a:buFont typeface="Symbol" pitchFamily="18" charset="2"/>
                <a:buChar char="-"/>
                <a:defRPr sz="1800">
                  <a:latin typeface="Bahnschrift" panose="020B0502040204020203" pitchFamily="34" charset="0"/>
                </a:defRPr>
              </a:lvl4pPr>
              <a:lvl5pPr marL="2093913" lvl="4" indent="-398463" eaLnBrk="1" hangingPunct="1">
                <a:spcBef>
                  <a:spcPct val="25000"/>
                </a:spcBef>
                <a:buClr>
                  <a:srgbClr val="6F6F6F"/>
                </a:buClr>
                <a:buFont typeface="Symbol" pitchFamily="18" charset="2"/>
                <a:buChar char="-"/>
                <a:defRPr sz="1800">
                  <a:latin typeface="Bahnschrift" panose="020B0502040204020203" pitchFamily="34" charset="0"/>
                </a:defRPr>
              </a:lvl5pPr>
              <a:lvl6pPr marL="2551113" indent="-398463" fontAlgn="base">
                <a:spcBef>
                  <a:spcPct val="25000"/>
                </a:spcBef>
                <a:spcAft>
                  <a:spcPct val="0"/>
                </a:spcAft>
                <a:buClr>
                  <a:schemeClr val="accent2"/>
                </a:buClr>
                <a:buFont typeface="Wingdings" pitchFamily="2" charset="2"/>
                <a:buChar char="§"/>
                <a:defRPr sz="2000">
                  <a:latin typeface="+mn-lt"/>
                </a:defRPr>
              </a:lvl6pPr>
              <a:lvl7pPr marL="3008313" indent="-398463" fontAlgn="base">
                <a:spcBef>
                  <a:spcPct val="25000"/>
                </a:spcBef>
                <a:spcAft>
                  <a:spcPct val="0"/>
                </a:spcAft>
                <a:buClr>
                  <a:schemeClr val="accent2"/>
                </a:buClr>
                <a:buFont typeface="Wingdings" pitchFamily="2" charset="2"/>
                <a:buChar char="§"/>
                <a:defRPr sz="2000">
                  <a:latin typeface="+mn-lt"/>
                </a:defRPr>
              </a:lvl7pPr>
              <a:lvl8pPr marL="3465513" indent="-398463" fontAlgn="base">
                <a:spcBef>
                  <a:spcPct val="25000"/>
                </a:spcBef>
                <a:spcAft>
                  <a:spcPct val="0"/>
                </a:spcAft>
                <a:buClr>
                  <a:schemeClr val="accent2"/>
                </a:buClr>
                <a:buFont typeface="Wingdings" pitchFamily="2" charset="2"/>
                <a:buChar char="§"/>
                <a:defRPr sz="2000">
                  <a:latin typeface="+mn-lt"/>
                </a:defRPr>
              </a:lvl8pPr>
              <a:lvl9pPr marL="3922713" indent="-398463" fontAlgn="base">
                <a:spcBef>
                  <a:spcPct val="25000"/>
                </a:spcBef>
                <a:spcAft>
                  <a:spcPct val="0"/>
                </a:spcAft>
                <a:buClr>
                  <a:schemeClr val="accent2"/>
                </a:buClr>
                <a:buFont typeface="Wingdings" pitchFamily="2" charset="2"/>
                <a:buChar char="§"/>
                <a:defRPr sz="2000">
                  <a:latin typeface="+mn-lt"/>
                </a:defRPr>
              </a:lvl9pPr>
            </a:lstStyle>
            <a:p>
              <a:pPr marL="0" indent="0">
                <a:buNone/>
              </a:pPr>
              <a:r>
                <a:rPr lang="en-NZ" sz="700" dirty="0" err="1">
                  <a:cs typeface="Arial" panose="020B0604020202020204" pitchFamily="34" charset="0"/>
                </a:rPr>
                <a:t>Szenario</a:t>
              </a:r>
              <a:r>
                <a:rPr lang="en-NZ" sz="700" dirty="0">
                  <a:cs typeface="Arial" panose="020B0604020202020204" pitchFamily="34" charset="0"/>
                </a:rPr>
                <a:t> WEM NEKP</a:t>
              </a:r>
              <a:r>
                <a:rPr lang="en-NZ" sz="700" baseline="30000" dirty="0">
                  <a:cs typeface="Arial" panose="020B0604020202020204" pitchFamily="34" charset="0"/>
                </a:rPr>
                <a:t>1 </a:t>
              </a:r>
              <a:r>
                <a:rPr lang="en-NZ" sz="700" dirty="0">
                  <a:cs typeface="Arial" panose="020B0604020202020204" pitchFamily="34" charset="0"/>
                </a:rPr>
                <a:t>[2019/20]</a:t>
              </a:r>
            </a:p>
          </p:txBody>
        </p:sp>
      </p:grpSp>
      <p:grpSp>
        <p:nvGrpSpPr>
          <p:cNvPr id="348" name="Group 347">
            <a:extLst>
              <a:ext uri="{FF2B5EF4-FFF2-40B4-BE49-F238E27FC236}">
                <a16:creationId xmlns:a16="http://schemas.microsoft.com/office/drawing/2014/main" id="{98C17758-7585-4EF9-8290-C2EBBEE6D3DE}"/>
              </a:ext>
            </a:extLst>
          </p:cNvPr>
          <p:cNvGrpSpPr/>
          <p:nvPr/>
        </p:nvGrpSpPr>
        <p:grpSpPr>
          <a:xfrm>
            <a:off x="9504363" y="2653394"/>
            <a:ext cx="2084961" cy="107722"/>
            <a:chOff x="9504363" y="2381509"/>
            <a:chExt cx="2084961" cy="107722"/>
          </a:xfrm>
        </p:grpSpPr>
        <p:cxnSp>
          <p:nvCxnSpPr>
            <p:cNvPr id="349" name="Straight Connector 348">
              <a:extLst>
                <a:ext uri="{FF2B5EF4-FFF2-40B4-BE49-F238E27FC236}">
                  <a16:creationId xmlns:a16="http://schemas.microsoft.com/office/drawing/2014/main" id="{42476F88-0CE6-4BC2-B20B-20F63F6E5022}"/>
                </a:ext>
              </a:extLst>
            </p:cNvPr>
            <p:cNvCxnSpPr>
              <a:cxnSpLocks/>
            </p:cNvCxnSpPr>
            <p:nvPr>
              <p:custDataLst>
                <p:tags r:id="rId50"/>
              </p:custDataLst>
            </p:nvPr>
          </p:nvCxnSpPr>
          <p:spPr bwMode="gray">
            <a:xfrm>
              <a:off x="9504363" y="2435370"/>
              <a:ext cx="304800" cy="0"/>
            </a:xfrm>
            <a:prstGeom prst="line">
              <a:avLst/>
            </a:prstGeom>
            <a:ln w="28575" cap="rnd" cmpd="sng" algn="ctr">
              <a:solidFill>
                <a:srgbClr val="FFC00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50" name="TextBox 349">
              <a:extLst>
                <a:ext uri="{FF2B5EF4-FFF2-40B4-BE49-F238E27FC236}">
                  <a16:creationId xmlns:a16="http://schemas.microsoft.com/office/drawing/2014/main" id="{7DDEDF9E-6D7B-4FB4-BDE4-550AE33BE1C3}"/>
                </a:ext>
              </a:extLst>
            </p:cNvPr>
            <p:cNvSpPr txBox="1">
              <a:spLocks/>
            </p:cNvSpPr>
            <p:nvPr/>
          </p:nvSpPr>
          <p:spPr>
            <a:xfrm>
              <a:off x="9888537" y="2381509"/>
              <a:ext cx="1700787" cy="107722"/>
            </a:xfrm>
            <a:prstGeom prst="rect">
              <a:avLst/>
            </a:prstGeom>
          </p:spPr>
          <p:txBody>
            <a:bodyPr vert="horz" wrap="square" lIns="0" tIns="0" rIns="0" bIns="0" rtlCol="0" anchor="ctr" anchorCtr="0">
              <a:spAutoFit/>
            </a:bodyPr>
            <a:lstStyle>
              <a:lvl1pPr marL="469900" lvl="0" indent="-469900" eaLnBrk="1" hangingPunct="1">
                <a:spcBef>
                  <a:spcPct val="20000"/>
                </a:spcBef>
                <a:buClr>
                  <a:srgbClr val="ED1C24"/>
                </a:buClr>
                <a:buFont typeface="Arial" panose="020B0604020202020204" pitchFamily="34" charset="0"/>
                <a:buChar char="•"/>
                <a:defRPr sz="2200">
                  <a:latin typeface="Bahnschrift" panose="020B0502040204020203" pitchFamily="34" charset="0"/>
                </a:defRPr>
              </a:lvl1pPr>
              <a:lvl2pPr marL="908050" lvl="1" indent="-436563" eaLnBrk="1" hangingPunct="1">
                <a:spcBef>
                  <a:spcPct val="20000"/>
                </a:spcBef>
                <a:buClr>
                  <a:schemeClr val="tx1"/>
                </a:buClr>
                <a:buFont typeface="Symbol" panose="05050102010706020507" pitchFamily="18" charset="2"/>
                <a:buChar char="-"/>
                <a:defRPr sz="2000">
                  <a:latin typeface="Bahnschrift" panose="020B0502040204020203" pitchFamily="34" charset="0"/>
                </a:defRPr>
              </a:lvl2pPr>
              <a:lvl3pPr marL="1304925" lvl="2" indent="-395288" eaLnBrk="1" hangingPunct="1">
                <a:spcBef>
                  <a:spcPct val="20000"/>
                </a:spcBef>
                <a:buClr>
                  <a:srgbClr val="6F6F6F"/>
                </a:buClr>
                <a:buFont typeface="Symbol" pitchFamily="18" charset="2"/>
                <a:buChar char="-"/>
                <a:defRPr sz="1800">
                  <a:latin typeface="Bahnschrift" panose="020B0502040204020203" pitchFamily="34" charset="0"/>
                </a:defRPr>
              </a:lvl3pPr>
              <a:lvl4pPr marL="1693863" lvl="3" indent="-387350" eaLnBrk="1" hangingPunct="1">
                <a:spcBef>
                  <a:spcPct val="20000"/>
                </a:spcBef>
                <a:buClr>
                  <a:srgbClr val="6F6F6F"/>
                </a:buClr>
                <a:buFont typeface="Symbol" pitchFamily="18" charset="2"/>
                <a:buChar char="-"/>
                <a:defRPr sz="1800">
                  <a:latin typeface="Bahnschrift" panose="020B0502040204020203" pitchFamily="34" charset="0"/>
                </a:defRPr>
              </a:lvl4pPr>
              <a:lvl5pPr marL="2093913" lvl="4" indent="-398463" eaLnBrk="1" hangingPunct="1">
                <a:spcBef>
                  <a:spcPct val="25000"/>
                </a:spcBef>
                <a:buClr>
                  <a:srgbClr val="6F6F6F"/>
                </a:buClr>
                <a:buFont typeface="Symbol" pitchFamily="18" charset="2"/>
                <a:buChar char="-"/>
                <a:defRPr sz="1800">
                  <a:latin typeface="Bahnschrift" panose="020B0502040204020203" pitchFamily="34" charset="0"/>
                </a:defRPr>
              </a:lvl5pPr>
              <a:lvl6pPr marL="2551113" indent="-398463" fontAlgn="base">
                <a:spcBef>
                  <a:spcPct val="25000"/>
                </a:spcBef>
                <a:spcAft>
                  <a:spcPct val="0"/>
                </a:spcAft>
                <a:buClr>
                  <a:schemeClr val="accent2"/>
                </a:buClr>
                <a:buFont typeface="Wingdings" pitchFamily="2" charset="2"/>
                <a:buChar char="§"/>
                <a:defRPr sz="2000">
                  <a:latin typeface="+mn-lt"/>
                </a:defRPr>
              </a:lvl6pPr>
              <a:lvl7pPr marL="3008313" indent="-398463" fontAlgn="base">
                <a:spcBef>
                  <a:spcPct val="25000"/>
                </a:spcBef>
                <a:spcAft>
                  <a:spcPct val="0"/>
                </a:spcAft>
                <a:buClr>
                  <a:schemeClr val="accent2"/>
                </a:buClr>
                <a:buFont typeface="Wingdings" pitchFamily="2" charset="2"/>
                <a:buChar char="§"/>
                <a:defRPr sz="2000">
                  <a:latin typeface="+mn-lt"/>
                </a:defRPr>
              </a:lvl7pPr>
              <a:lvl8pPr marL="3465513" indent="-398463" fontAlgn="base">
                <a:spcBef>
                  <a:spcPct val="25000"/>
                </a:spcBef>
                <a:spcAft>
                  <a:spcPct val="0"/>
                </a:spcAft>
                <a:buClr>
                  <a:schemeClr val="accent2"/>
                </a:buClr>
                <a:buFont typeface="Wingdings" pitchFamily="2" charset="2"/>
                <a:buChar char="§"/>
                <a:defRPr sz="2000">
                  <a:latin typeface="+mn-lt"/>
                </a:defRPr>
              </a:lvl8pPr>
              <a:lvl9pPr marL="3922713" indent="-398463" fontAlgn="base">
                <a:spcBef>
                  <a:spcPct val="25000"/>
                </a:spcBef>
                <a:spcAft>
                  <a:spcPct val="0"/>
                </a:spcAft>
                <a:buClr>
                  <a:schemeClr val="accent2"/>
                </a:buClr>
                <a:buFont typeface="Wingdings" pitchFamily="2" charset="2"/>
                <a:buChar char="§"/>
                <a:defRPr sz="2000">
                  <a:latin typeface="+mn-lt"/>
                </a:defRPr>
              </a:lvl9pPr>
            </a:lstStyle>
            <a:p>
              <a:pPr marL="0" indent="0">
                <a:buNone/>
              </a:pPr>
              <a:r>
                <a:rPr lang="en-NZ" sz="700" dirty="0" err="1">
                  <a:cs typeface="Arial" panose="020B0604020202020204" pitchFamily="34" charset="0"/>
                </a:rPr>
                <a:t>Szenario</a:t>
              </a:r>
              <a:r>
                <a:rPr lang="en-NZ" sz="700" dirty="0">
                  <a:cs typeface="Arial" panose="020B0604020202020204" pitchFamily="34" charset="0"/>
                </a:rPr>
                <a:t> WAM NEKP</a:t>
              </a:r>
              <a:r>
                <a:rPr lang="en-NZ" sz="700" baseline="30000" dirty="0">
                  <a:cs typeface="Arial" panose="020B0604020202020204" pitchFamily="34" charset="0"/>
                </a:rPr>
                <a:t>1 </a:t>
              </a:r>
              <a:r>
                <a:rPr lang="en-NZ" sz="700" dirty="0">
                  <a:cs typeface="Arial" panose="020B0604020202020204" pitchFamily="34" charset="0"/>
                </a:rPr>
                <a:t>[2019/20]</a:t>
              </a:r>
            </a:p>
          </p:txBody>
        </p:sp>
      </p:grpSp>
      <p:grpSp>
        <p:nvGrpSpPr>
          <p:cNvPr id="351" name="Group 350">
            <a:extLst>
              <a:ext uri="{FF2B5EF4-FFF2-40B4-BE49-F238E27FC236}">
                <a16:creationId xmlns:a16="http://schemas.microsoft.com/office/drawing/2014/main" id="{891A6572-138D-4847-9FE1-21E49B69D71B}"/>
              </a:ext>
            </a:extLst>
          </p:cNvPr>
          <p:cNvGrpSpPr/>
          <p:nvPr/>
        </p:nvGrpSpPr>
        <p:grpSpPr>
          <a:xfrm>
            <a:off x="9504363" y="2488590"/>
            <a:ext cx="2084961" cy="107722"/>
            <a:chOff x="9504363" y="2194184"/>
            <a:chExt cx="2084961" cy="107722"/>
          </a:xfrm>
        </p:grpSpPr>
        <p:cxnSp>
          <p:nvCxnSpPr>
            <p:cNvPr id="352" name="Straight Connector 351">
              <a:extLst>
                <a:ext uri="{FF2B5EF4-FFF2-40B4-BE49-F238E27FC236}">
                  <a16:creationId xmlns:a16="http://schemas.microsoft.com/office/drawing/2014/main" id="{D510AD3C-EA6F-4057-83F3-BBE6A788F658}"/>
                </a:ext>
              </a:extLst>
            </p:cNvPr>
            <p:cNvCxnSpPr>
              <a:cxnSpLocks/>
            </p:cNvCxnSpPr>
            <p:nvPr>
              <p:custDataLst>
                <p:tags r:id="rId49"/>
              </p:custDataLst>
            </p:nvPr>
          </p:nvCxnSpPr>
          <p:spPr bwMode="gray">
            <a:xfrm>
              <a:off x="9504363" y="2248045"/>
              <a:ext cx="304800" cy="0"/>
            </a:xfrm>
            <a:prstGeom prst="line">
              <a:avLst/>
            </a:prstGeom>
            <a:ln w="28575" cap="rnd" cmpd="sng" algn="ctr">
              <a:solidFill>
                <a:schemeClr val="accent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53" name="TextBox 352">
              <a:extLst>
                <a:ext uri="{FF2B5EF4-FFF2-40B4-BE49-F238E27FC236}">
                  <a16:creationId xmlns:a16="http://schemas.microsoft.com/office/drawing/2014/main" id="{F348C671-93D7-465F-B34A-FC8F390012B5}"/>
                </a:ext>
              </a:extLst>
            </p:cNvPr>
            <p:cNvSpPr txBox="1">
              <a:spLocks/>
            </p:cNvSpPr>
            <p:nvPr/>
          </p:nvSpPr>
          <p:spPr>
            <a:xfrm>
              <a:off x="9888537" y="2194184"/>
              <a:ext cx="1700787" cy="107722"/>
            </a:xfrm>
            <a:prstGeom prst="rect">
              <a:avLst/>
            </a:prstGeom>
          </p:spPr>
          <p:txBody>
            <a:bodyPr vert="horz" wrap="square" lIns="0" tIns="0" rIns="0" bIns="0" rtlCol="0" anchor="ctr" anchorCtr="0">
              <a:spAutoFit/>
            </a:bodyPr>
            <a:lstStyle>
              <a:lvl1pPr marL="469900" lvl="0" indent="-469900" eaLnBrk="1" hangingPunct="1">
                <a:spcBef>
                  <a:spcPct val="20000"/>
                </a:spcBef>
                <a:buClr>
                  <a:srgbClr val="ED1C24"/>
                </a:buClr>
                <a:buFont typeface="Arial" panose="020B0604020202020204" pitchFamily="34" charset="0"/>
                <a:buChar char="•"/>
                <a:defRPr sz="2200">
                  <a:latin typeface="Bahnschrift" panose="020B0502040204020203" pitchFamily="34" charset="0"/>
                </a:defRPr>
              </a:lvl1pPr>
              <a:lvl2pPr marL="908050" lvl="1" indent="-436563" eaLnBrk="1" hangingPunct="1">
                <a:spcBef>
                  <a:spcPct val="20000"/>
                </a:spcBef>
                <a:buClr>
                  <a:schemeClr val="tx1"/>
                </a:buClr>
                <a:buFont typeface="Symbol" panose="05050102010706020507" pitchFamily="18" charset="2"/>
                <a:buChar char="-"/>
                <a:defRPr sz="2000">
                  <a:latin typeface="Bahnschrift" panose="020B0502040204020203" pitchFamily="34" charset="0"/>
                </a:defRPr>
              </a:lvl2pPr>
              <a:lvl3pPr marL="1304925" lvl="2" indent="-395288" eaLnBrk="1" hangingPunct="1">
                <a:spcBef>
                  <a:spcPct val="20000"/>
                </a:spcBef>
                <a:buClr>
                  <a:srgbClr val="6F6F6F"/>
                </a:buClr>
                <a:buFont typeface="Symbol" pitchFamily="18" charset="2"/>
                <a:buChar char="-"/>
                <a:defRPr sz="1800">
                  <a:latin typeface="Bahnschrift" panose="020B0502040204020203" pitchFamily="34" charset="0"/>
                </a:defRPr>
              </a:lvl3pPr>
              <a:lvl4pPr marL="1693863" lvl="3" indent="-387350" eaLnBrk="1" hangingPunct="1">
                <a:spcBef>
                  <a:spcPct val="20000"/>
                </a:spcBef>
                <a:buClr>
                  <a:srgbClr val="6F6F6F"/>
                </a:buClr>
                <a:buFont typeface="Symbol" pitchFamily="18" charset="2"/>
                <a:buChar char="-"/>
                <a:defRPr sz="1800">
                  <a:latin typeface="Bahnschrift" panose="020B0502040204020203" pitchFamily="34" charset="0"/>
                </a:defRPr>
              </a:lvl4pPr>
              <a:lvl5pPr marL="2093913" lvl="4" indent="-398463" eaLnBrk="1" hangingPunct="1">
                <a:spcBef>
                  <a:spcPct val="25000"/>
                </a:spcBef>
                <a:buClr>
                  <a:srgbClr val="6F6F6F"/>
                </a:buClr>
                <a:buFont typeface="Symbol" pitchFamily="18" charset="2"/>
                <a:buChar char="-"/>
                <a:defRPr sz="1800">
                  <a:latin typeface="Bahnschrift" panose="020B0502040204020203" pitchFamily="34" charset="0"/>
                </a:defRPr>
              </a:lvl5pPr>
              <a:lvl6pPr marL="2551113" indent="-398463" fontAlgn="base">
                <a:spcBef>
                  <a:spcPct val="25000"/>
                </a:spcBef>
                <a:spcAft>
                  <a:spcPct val="0"/>
                </a:spcAft>
                <a:buClr>
                  <a:schemeClr val="accent2"/>
                </a:buClr>
                <a:buFont typeface="Wingdings" pitchFamily="2" charset="2"/>
                <a:buChar char="§"/>
                <a:defRPr sz="2000">
                  <a:latin typeface="+mn-lt"/>
                </a:defRPr>
              </a:lvl6pPr>
              <a:lvl7pPr marL="3008313" indent="-398463" fontAlgn="base">
                <a:spcBef>
                  <a:spcPct val="25000"/>
                </a:spcBef>
                <a:spcAft>
                  <a:spcPct val="0"/>
                </a:spcAft>
                <a:buClr>
                  <a:schemeClr val="accent2"/>
                </a:buClr>
                <a:buFont typeface="Wingdings" pitchFamily="2" charset="2"/>
                <a:buChar char="§"/>
                <a:defRPr sz="2000">
                  <a:latin typeface="+mn-lt"/>
                </a:defRPr>
              </a:lvl7pPr>
              <a:lvl8pPr marL="3465513" indent="-398463" fontAlgn="base">
                <a:spcBef>
                  <a:spcPct val="25000"/>
                </a:spcBef>
                <a:spcAft>
                  <a:spcPct val="0"/>
                </a:spcAft>
                <a:buClr>
                  <a:schemeClr val="accent2"/>
                </a:buClr>
                <a:buFont typeface="Wingdings" pitchFamily="2" charset="2"/>
                <a:buChar char="§"/>
                <a:defRPr sz="2000">
                  <a:latin typeface="+mn-lt"/>
                </a:defRPr>
              </a:lvl8pPr>
              <a:lvl9pPr marL="3922713" indent="-398463" fontAlgn="base">
                <a:spcBef>
                  <a:spcPct val="25000"/>
                </a:spcBef>
                <a:spcAft>
                  <a:spcPct val="0"/>
                </a:spcAft>
                <a:buClr>
                  <a:schemeClr val="accent2"/>
                </a:buClr>
                <a:buFont typeface="Wingdings" pitchFamily="2" charset="2"/>
                <a:buChar char="§"/>
                <a:defRPr sz="2000">
                  <a:latin typeface="+mn-lt"/>
                </a:defRPr>
              </a:lvl9pPr>
            </a:lstStyle>
            <a:p>
              <a:pPr marL="0" indent="0">
                <a:buNone/>
              </a:pPr>
              <a:r>
                <a:rPr lang="en-NZ" sz="700" dirty="0" err="1">
                  <a:cs typeface="Arial" panose="020B0604020202020204" pitchFamily="34" charset="0"/>
                </a:rPr>
                <a:t>Szenario</a:t>
              </a:r>
              <a:r>
                <a:rPr lang="en-NZ" sz="700" dirty="0">
                  <a:cs typeface="Arial" panose="020B0604020202020204" pitchFamily="34" charset="0"/>
                </a:rPr>
                <a:t> WEM NEKP</a:t>
              </a:r>
              <a:r>
                <a:rPr lang="en-NZ" sz="700" baseline="30000" dirty="0">
                  <a:cs typeface="Arial" panose="020B0604020202020204" pitchFamily="34" charset="0"/>
                </a:rPr>
                <a:t>1 </a:t>
              </a:r>
              <a:r>
                <a:rPr lang="en-NZ" sz="700" dirty="0">
                  <a:cs typeface="Arial" panose="020B0604020202020204" pitchFamily="34" charset="0"/>
                </a:rPr>
                <a:t>[2019/20]</a:t>
              </a:r>
            </a:p>
          </p:txBody>
        </p:sp>
      </p:grpSp>
      <p:grpSp>
        <p:nvGrpSpPr>
          <p:cNvPr id="354" name="Group 353">
            <a:extLst>
              <a:ext uri="{FF2B5EF4-FFF2-40B4-BE49-F238E27FC236}">
                <a16:creationId xmlns:a16="http://schemas.microsoft.com/office/drawing/2014/main" id="{115D2C12-B88E-4527-8D4E-BA237207FF7B}"/>
              </a:ext>
            </a:extLst>
          </p:cNvPr>
          <p:cNvGrpSpPr/>
          <p:nvPr/>
        </p:nvGrpSpPr>
        <p:grpSpPr>
          <a:xfrm>
            <a:off x="9504363" y="5112569"/>
            <a:ext cx="2084961" cy="107722"/>
            <a:chOff x="9504363" y="2381509"/>
            <a:chExt cx="2084961" cy="107722"/>
          </a:xfrm>
        </p:grpSpPr>
        <p:cxnSp>
          <p:nvCxnSpPr>
            <p:cNvPr id="355" name="Straight Connector 354">
              <a:extLst>
                <a:ext uri="{FF2B5EF4-FFF2-40B4-BE49-F238E27FC236}">
                  <a16:creationId xmlns:a16="http://schemas.microsoft.com/office/drawing/2014/main" id="{15964ABC-B96B-4A4A-9C8F-9C37F5C38AE9}"/>
                </a:ext>
              </a:extLst>
            </p:cNvPr>
            <p:cNvCxnSpPr>
              <a:cxnSpLocks/>
            </p:cNvCxnSpPr>
            <p:nvPr>
              <p:custDataLst>
                <p:tags r:id="rId48"/>
              </p:custDataLst>
            </p:nvPr>
          </p:nvCxnSpPr>
          <p:spPr bwMode="gray">
            <a:xfrm>
              <a:off x="9504363" y="2435370"/>
              <a:ext cx="304800" cy="0"/>
            </a:xfrm>
            <a:prstGeom prst="line">
              <a:avLst/>
            </a:prstGeom>
            <a:ln w="28575" cap="rnd" cmpd="sng" algn="ctr">
              <a:solidFill>
                <a:srgbClr val="E6A0C8"/>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56" name="TextBox 355">
              <a:extLst>
                <a:ext uri="{FF2B5EF4-FFF2-40B4-BE49-F238E27FC236}">
                  <a16:creationId xmlns:a16="http://schemas.microsoft.com/office/drawing/2014/main" id="{70FC41C9-A507-40E5-864C-312BD3C2417F}"/>
                </a:ext>
              </a:extLst>
            </p:cNvPr>
            <p:cNvSpPr txBox="1">
              <a:spLocks/>
            </p:cNvSpPr>
            <p:nvPr/>
          </p:nvSpPr>
          <p:spPr>
            <a:xfrm>
              <a:off x="9888537" y="2381509"/>
              <a:ext cx="1700787" cy="107722"/>
            </a:xfrm>
            <a:prstGeom prst="rect">
              <a:avLst/>
            </a:prstGeom>
          </p:spPr>
          <p:txBody>
            <a:bodyPr vert="horz" wrap="square" lIns="0" tIns="0" rIns="0" bIns="0" rtlCol="0" anchor="ctr" anchorCtr="0">
              <a:spAutoFit/>
            </a:bodyPr>
            <a:lstStyle>
              <a:lvl1pPr marL="469900" lvl="0" indent="-469900" eaLnBrk="1" hangingPunct="1">
                <a:spcBef>
                  <a:spcPct val="20000"/>
                </a:spcBef>
                <a:buClr>
                  <a:srgbClr val="ED1C24"/>
                </a:buClr>
                <a:buFont typeface="Arial" panose="020B0604020202020204" pitchFamily="34" charset="0"/>
                <a:buChar char="•"/>
                <a:defRPr sz="2200">
                  <a:latin typeface="Bahnschrift" panose="020B0502040204020203" pitchFamily="34" charset="0"/>
                </a:defRPr>
              </a:lvl1pPr>
              <a:lvl2pPr marL="908050" lvl="1" indent="-436563" eaLnBrk="1" hangingPunct="1">
                <a:spcBef>
                  <a:spcPct val="20000"/>
                </a:spcBef>
                <a:buClr>
                  <a:schemeClr val="tx1"/>
                </a:buClr>
                <a:buFont typeface="Symbol" panose="05050102010706020507" pitchFamily="18" charset="2"/>
                <a:buChar char="-"/>
                <a:defRPr sz="2000">
                  <a:latin typeface="Bahnschrift" panose="020B0502040204020203" pitchFamily="34" charset="0"/>
                </a:defRPr>
              </a:lvl2pPr>
              <a:lvl3pPr marL="1304925" lvl="2" indent="-395288" eaLnBrk="1" hangingPunct="1">
                <a:spcBef>
                  <a:spcPct val="20000"/>
                </a:spcBef>
                <a:buClr>
                  <a:srgbClr val="6F6F6F"/>
                </a:buClr>
                <a:buFont typeface="Symbol" pitchFamily="18" charset="2"/>
                <a:buChar char="-"/>
                <a:defRPr sz="1800">
                  <a:latin typeface="Bahnschrift" panose="020B0502040204020203" pitchFamily="34" charset="0"/>
                </a:defRPr>
              </a:lvl3pPr>
              <a:lvl4pPr marL="1693863" lvl="3" indent="-387350" eaLnBrk="1" hangingPunct="1">
                <a:spcBef>
                  <a:spcPct val="20000"/>
                </a:spcBef>
                <a:buClr>
                  <a:srgbClr val="6F6F6F"/>
                </a:buClr>
                <a:buFont typeface="Symbol" pitchFamily="18" charset="2"/>
                <a:buChar char="-"/>
                <a:defRPr sz="1800">
                  <a:latin typeface="Bahnschrift" panose="020B0502040204020203" pitchFamily="34" charset="0"/>
                </a:defRPr>
              </a:lvl4pPr>
              <a:lvl5pPr marL="2093913" lvl="4" indent="-398463" eaLnBrk="1" hangingPunct="1">
                <a:spcBef>
                  <a:spcPct val="25000"/>
                </a:spcBef>
                <a:buClr>
                  <a:srgbClr val="6F6F6F"/>
                </a:buClr>
                <a:buFont typeface="Symbol" pitchFamily="18" charset="2"/>
                <a:buChar char="-"/>
                <a:defRPr sz="1800">
                  <a:latin typeface="Bahnschrift" panose="020B0502040204020203" pitchFamily="34" charset="0"/>
                </a:defRPr>
              </a:lvl5pPr>
              <a:lvl6pPr marL="2551113" indent="-398463" fontAlgn="base">
                <a:spcBef>
                  <a:spcPct val="25000"/>
                </a:spcBef>
                <a:spcAft>
                  <a:spcPct val="0"/>
                </a:spcAft>
                <a:buClr>
                  <a:schemeClr val="accent2"/>
                </a:buClr>
                <a:buFont typeface="Wingdings" pitchFamily="2" charset="2"/>
                <a:buChar char="§"/>
                <a:defRPr sz="2000">
                  <a:latin typeface="+mn-lt"/>
                </a:defRPr>
              </a:lvl6pPr>
              <a:lvl7pPr marL="3008313" indent="-398463" fontAlgn="base">
                <a:spcBef>
                  <a:spcPct val="25000"/>
                </a:spcBef>
                <a:spcAft>
                  <a:spcPct val="0"/>
                </a:spcAft>
                <a:buClr>
                  <a:schemeClr val="accent2"/>
                </a:buClr>
                <a:buFont typeface="Wingdings" pitchFamily="2" charset="2"/>
                <a:buChar char="§"/>
                <a:defRPr sz="2000">
                  <a:latin typeface="+mn-lt"/>
                </a:defRPr>
              </a:lvl7pPr>
              <a:lvl8pPr marL="3465513" indent="-398463" fontAlgn="base">
                <a:spcBef>
                  <a:spcPct val="25000"/>
                </a:spcBef>
                <a:spcAft>
                  <a:spcPct val="0"/>
                </a:spcAft>
                <a:buClr>
                  <a:schemeClr val="accent2"/>
                </a:buClr>
                <a:buFont typeface="Wingdings" pitchFamily="2" charset="2"/>
                <a:buChar char="§"/>
                <a:defRPr sz="2000">
                  <a:latin typeface="+mn-lt"/>
                </a:defRPr>
              </a:lvl8pPr>
              <a:lvl9pPr marL="3922713" indent="-398463" fontAlgn="base">
                <a:spcBef>
                  <a:spcPct val="25000"/>
                </a:spcBef>
                <a:spcAft>
                  <a:spcPct val="0"/>
                </a:spcAft>
                <a:buClr>
                  <a:schemeClr val="accent2"/>
                </a:buClr>
                <a:buFont typeface="Wingdings" pitchFamily="2" charset="2"/>
                <a:buChar char="§"/>
                <a:defRPr sz="2000">
                  <a:latin typeface="+mn-lt"/>
                </a:defRPr>
              </a:lvl9pPr>
            </a:lstStyle>
            <a:p>
              <a:pPr marL="0" indent="0">
                <a:buNone/>
              </a:pPr>
              <a:r>
                <a:rPr lang="en-NZ" sz="700" dirty="0" err="1">
                  <a:cs typeface="Arial" panose="020B0604020202020204" pitchFamily="34" charset="0"/>
                </a:rPr>
                <a:t>Szenario</a:t>
              </a:r>
              <a:r>
                <a:rPr lang="en-NZ" sz="700" dirty="0">
                  <a:cs typeface="Arial" panose="020B0604020202020204" pitchFamily="34" charset="0"/>
                </a:rPr>
                <a:t> WEM NEKP</a:t>
              </a:r>
              <a:r>
                <a:rPr lang="en-NZ" sz="700" baseline="30000" dirty="0">
                  <a:cs typeface="Arial" panose="020B0604020202020204" pitchFamily="34" charset="0"/>
                </a:rPr>
                <a:t>1 </a:t>
              </a:r>
              <a:r>
                <a:rPr lang="en-NZ" sz="700" dirty="0">
                  <a:cs typeface="Arial" panose="020B0604020202020204" pitchFamily="34" charset="0"/>
                </a:rPr>
                <a:t>[2019/20]</a:t>
              </a:r>
            </a:p>
          </p:txBody>
        </p:sp>
      </p:grpSp>
      <p:grpSp>
        <p:nvGrpSpPr>
          <p:cNvPr id="357" name="Group 356">
            <a:extLst>
              <a:ext uri="{FF2B5EF4-FFF2-40B4-BE49-F238E27FC236}">
                <a16:creationId xmlns:a16="http://schemas.microsoft.com/office/drawing/2014/main" id="{1FB4AEEF-2591-491B-B1C5-2089CD6F5130}"/>
              </a:ext>
            </a:extLst>
          </p:cNvPr>
          <p:cNvGrpSpPr/>
          <p:nvPr/>
        </p:nvGrpSpPr>
        <p:grpSpPr>
          <a:xfrm>
            <a:off x="9504363" y="4947765"/>
            <a:ext cx="2084961" cy="107722"/>
            <a:chOff x="9504363" y="2194184"/>
            <a:chExt cx="2084961" cy="107722"/>
          </a:xfrm>
        </p:grpSpPr>
        <p:cxnSp>
          <p:nvCxnSpPr>
            <p:cNvPr id="358" name="Straight Connector 357">
              <a:extLst>
                <a:ext uri="{FF2B5EF4-FFF2-40B4-BE49-F238E27FC236}">
                  <a16:creationId xmlns:a16="http://schemas.microsoft.com/office/drawing/2014/main" id="{6E339DE7-FA11-4613-A434-99B6697F1065}"/>
                </a:ext>
              </a:extLst>
            </p:cNvPr>
            <p:cNvCxnSpPr>
              <a:cxnSpLocks/>
            </p:cNvCxnSpPr>
            <p:nvPr>
              <p:custDataLst>
                <p:tags r:id="rId47"/>
              </p:custDataLst>
            </p:nvPr>
          </p:nvCxnSpPr>
          <p:spPr bwMode="gray">
            <a:xfrm>
              <a:off x="9504363" y="2248045"/>
              <a:ext cx="304800" cy="0"/>
            </a:xfrm>
            <a:prstGeom prst="line">
              <a:avLst/>
            </a:prstGeom>
            <a:ln w="28575" cap="rnd" cmpd="sng" algn="ctr">
              <a:solidFill>
                <a:srgbClr val="E5546C"/>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59" name="TextBox 358">
              <a:extLst>
                <a:ext uri="{FF2B5EF4-FFF2-40B4-BE49-F238E27FC236}">
                  <a16:creationId xmlns:a16="http://schemas.microsoft.com/office/drawing/2014/main" id="{6CD107AD-E6BA-4387-8C31-DB3D66BA134C}"/>
                </a:ext>
              </a:extLst>
            </p:cNvPr>
            <p:cNvSpPr txBox="1">
              <a:spLocks/>
            </p:cNvSpPr>
            <p:nvPr/>
          </p:nvSpPr>
          <p:spPr>
            <a:xfrm>
              <a:off x="9888537" y="2194184"/>
              <a:ext cx="1700787" cy="107722"/>
            </a:xfrm>
            <a:prstGeom prst="rect">
              <a:avLst/>
            </a:prstGeom>
          </p:spPr>
          <p:txBody>
            <a:bodyPr vert="horz" wrap="square" lIns="0" tIns="0" rIns="0" bIns="0" rtlCol="0" anchor="ctr" anchorCtr="0">
              <a:spAutoFit/>
            </a:bodyPr>
            <a:lstStyle>
              <a:lvl1pPr marL="469900" lvl="0" indent="-469900" eaLnBrk="1" hangingPunct="1">
                <a:spcBef>
                  <a:spcPct val="20000"/>
                </a:spcBef>
                <a:buClr>
                  <a:srgbClr val="ED1C24"/>
                </a:buClr>
                <a:buFont typeface="Arial" panose="020B0604020202020204" pitchFamily="34" charset="0"/>
                <a:buChar char="•"/>
                <a:defRPr sz="2200">
                  <a:latin typeface="Bahnschrift" panose="020B0502040204020203" pitchFamily="34" charset="0"/>
                </a:defRPr>
              </a:lvl1pPr>
              <a:lvl2pPr marL="908050" lvl="1" indent="-436563" eaLnBrk="1" hangingPunct="1">
                <a:spcBef>
                  <a:spcPct val="20000"/>
                </a:spcBef>
                <a:buClr>
                  <a:schemeClr val="tx1"/>
                </a:buClr>
                <a:buFont typeface="Symbol" panose="05050102010706020507" pitchFamily="18" charset="2"/>
                <a:buChar char="-"/>
                <a:defRPr sz="2000">
                  <a:latin typeface="Bahnschrift" panose="020B0502040204020203" pitchFamily="34" charset="0"/>
                </a:defRPr>
              </a:lvl2pPr>
              <a:lvl3pPr marL="1304925" lvl="2" indent="-395288" eaLnBrk="1" hangingPunct="1">
                <a:spcBef>
                  <a:spcPct val="20000"/>
                </a:spcBef>
                <a:buClr>
                  <a:srgbClr val="6F6F6F"/>
                </a:buClr>
                <a:buFont typeface="Symbol" pitchFamily="18" charset="2"/>
                <a:buChar char="-"/>
                <a:defRPr sz="1800">
                  <a:latin typeface="Bahnschrift" panose="020B0502040204020203" pitchFamily="34" charset="0"/>
                </a:defRPr>
              </a:lvl3pPr>
              <a:lvl4pPr marL="1693863" lvl="3" indent="-387350" eaLnBrk="1" hangingPunct="1">
                <a:spcBef>
                  <a:spcPct val="20000"/>
                </a:spcBef>
                <a:buClr>
                  <a:srgbClr val="6F6F6F"/>
                </a:buClr>
                <a:buFont typeface="Symbol" pitchFamily="18" charset="2"/>
                <a:buChar char="-"/>
                <a:defRPr sz="1800">
                  <a:latin typeface="Bahnschrift" panose="020B0502040204020203" pitchFamily="34" charset="0"/>
                </a:defRPr>
              </a:lvl4pPr>
              <a:lvl5pPr marL="2093913" lvl="4" indent="-398463" eaLnBrk="1" hangingPunct="1">
                <a:spcBef>
                  <a:spcPct val="25000"/>
                </a:spcBef>
                <a:buClr>
                  <a:srgbClr val="6F6F6F"/>
                </a:buClr>
                <a:buFont typeface="Symbol" pitchFamily="18" charset="2"/>
                <a:buChar char="-"/>
                <a:defRPr sz="1800">
                  <a:latin typeface="Bahnschrift" panose="020B0502040204020203" pitchFamily="34" charset="0"/>
                </a:defRPr>
              </a:lvl5pPr>
              <a:lvl6pPr marL="2551113" indent="-398463" fontAlgn="base">
                <a:spcBef>
                  <a:spcPct val="25000"/>
                </a:spcBef>
                <a:spcAft>
                  <a:spcPct val="0"/>
                </a:spcAft>
                <a:buClr>
                  <a:schemeClr val="accent2"/>
                </a:buClr>
                <a:buFont typeface="Wingdings" pitchFamily="2" charset="2"/>
                <a:buChar char="§"/>
                <a:defRPr sz="2000">
                  <a:latin typeface="+mn-lt"/>
                </a:defRPr>
              </a:lvl6pPr>
              <a:lvl7pPr marL="3008313" indent="-398463" fontAlgn="base">
                <a:spcBef>
                  <a:spcPct val="25000"/>
                </a:spcBef>
                <a:spcAft>
                  <a:spcPct val="0"/>
                </a:spcAft>
                <a:buClr>
                  <a:schemeClr val="accent2"/>
                </a:buClr>
                <a:buFont typeface="Wingdings" pitchFamily="2" charset="2"/>
                <a:buChar char="§"/>
                <a:defRPr sz="2000">
                  <a:latin typeface="+mn-lt"/>
                </a:defRPr>
              </a:lvl7pPr>
              <a:lvl8pPr marL="3465513" indent="-398463" fontAlgn="base">
                <a:spcBef>
                  <a:spcPct val="25000"/>
                </a:spcBef>
                <a:spcAft>
                  <a:spcPct val="0"/>
                </a:spcAft>
                <a:buClr>
                  <a:schemeClr val="accent2"/>
                </a:buClr>
                <a:buFont typeface="Wingdings" pitchFamily="2" charset="2"/>
                <a:buChar char="§"/>
                <a:defRPr sz="2000">
                  <a:latin typeface="+mn-lt"/>
                </a:defRPr>
              </a:lvl8pPr>
              <a:lvl9pPr marL="3922713" indent="-398463" fontAlgn="base">
                <a:spcBef>
                  <a:spcPct val="25000"/>
                </a:spcBef>
                <a:spcAft>
                  <a:spcPct val="0"/>
                </a:spcAft>
                <a:buClr>
                  <a:schemeClr val="accent2"/>
                </a:buClr>
                <a:buFont typeface="Wingdings" pitchFamily="2" charset="2"/>
                <a:buChar char="§"/>
                <a:defRPr sz="2000">
                  <a:latin typeface="+mn-lt"/>
                </a:defRPr>
              </a:lvl9pPr>
            </a:lstStyle>
            <a:p>
              <a:pPr marL="0" indent="0">
                <a:buNone/>
              </a:pPr>
              <a:r>
                <a:rPr lang="en-NZ" sz="700" dirty="0" err="1">
                  <a:cs typeface="Arial" panose="020B0604020202020204" pitchFamily="34" charset="0"/>
                </a:rPr>
                <a:t>Szenario</a:t>
              </a:r>
              <a:r>
                <a:rPr lang="en-NZ" sz="700" dirty="0">
                  <a:cs typeface="Arial" panose="020B0604020202020204" pitchFamily="34" charset="0"/>
                </a:rPr>
                <a:t> WAM NEKP</a:t>
              </a:r>
              <a:r>
                <a:rPr lang="en-NZ" sz="700" baseline="30000" dirty="0">
                  <a:cs typeface="Arial" panose="020B0604020202020204" pitchFamily="34" charset="0"/>
                </a:rPr>
                <a:t>1 </a:t>
              </a:r>
              <a:r>
                <a:rPr lang="en-NZ" sz="700" dirty="0">
                  <a:cs typeface="Arial" panose="020B0604020202020204" pitchFamily="34" charset="0"/>
                </a:rPr>
                <a:t>[2019/20]</a:t>
              </a:r>
            </a:p>
          </p:txBody>
        </p:sp>
      </p:grpSp>
    </p:spTree>
    <p:extLst>
      <p:ext uri="{BB962C8B-B14F-4D97-AF65-F5344CB8AC3E}">
        <p14:creationId xmlns:p14="http://schemas.microsoft.com/office/powerpoint/2010/main" val="4962489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5" hidden="1">
            <a:extLst>
              <a:ext uri="{FF2B5EF4-FFF2-40B4-BE49-F238E27FC236}">
                <a16:creationId xmlns:a16="http://schemas.microsoft.com/office/drawing/2014/main" id="{10B73A50-5183-16A8-EDC5-B43E169BF1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395" imgH="396" progId="TCLayout.ActiveDocument.1">
                  <p:embed/>
                </p:oleObj>
              </mc:Choice>
              <mc:Fallback>
                <p:oleObj name="think-cell Slide" r:id="rId43" imgW="395" imgH="396" progId="TCLayout.ActiveDocument.1">
                  <p:embed/>
                  <p:pic>
                    <p:nvPicPr>
                      <p:cNvPr id="5" name="Object 5" hidden="1">
                        <a:extLst>
                          <a:ext uri="{FF2B5EF4-FFF2-40B4-BE49-F238E27FC236}">
                            <a16:creationId xmlns:a16="http://schemas.microsoft.com/office/drawing/2014/main" id="{10B73A50-5183-16A8-EDC5-B43E169BF168}"/>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graphicFrame>
        <p:nvGraphicFramePr>
          <p:cNvPr id="17" name="Chart 16">
            <a:extLst>
              <a:ext uri="{FF2B5EF4-FFF2-40B4-BE49-F238E27FC236}">
                <a16:creationId xmlns:a16="http://schemas.microsoft.com/office/drawing/2014/main" id="{8DB20F8D-F5D1-3C06-3F97-E15ECCB97186}"/>
              </a:ext>
            </a:extLst>
          </p:cNvPr>
          <p:cNvGraphicFramePr/>
          <p:nvPr>
            <p:custDataLst>
              <p:tags r:id="rId2"/>
            </p:custDataLst>
          </p:nvPr>
        </p:nvGraphicFramePr>
        <p:xfrm>
          <a:off x="1185863" y="1898650"/>
          <a:ext cx="6529387" cy="4033838"/>
        </p:xfrm>
        <a:graphic>
          <a:graphicData uri="http://schemas.openxmlformats.org/drawingml/2006/chart">
            <c:chart xmlns:c="http://schemas.openxmlformats.org/drawingml/2006/chart" xmlns:r="http://schemas.openxmlformats.org/officeDocument/2006/relationships" r:id="rId45"/>
          </a:graphicData>
        </a:graphic>
      </p:graphicFrame>
      <p:sp>
        <p:nvSpPr>
          <p:cNvPr id="1249" name="Text Placeholder 4">
            <a:extLst>
              <a:ext uri="{FF2B5EF4-FFF2-40B4-BE49-F238E27FC236}">
                <a16:creationId xmlns:a16="http://schemas.microsoft.com/office/drawing/2014/main" id="{4C1F3293-4EFE-461D-940D-7EE66BAE31C5}"/>
              </a:ext>
            </a:extLst>
          </p:cNvPr>
          <p:cNvSpPr>
            <a:spLocks noGrp="1"/>
          </p:cNvSpPr>
          <p:nvPr>
            <p:custDataLst>
              <p:tags r:id="rId3"/>
            </p:custDataLst>
          </p:nvPr>
        </p:nvSpPr>
        <p:spPr bwMode="gray">
          <a:xfrm>
            <a:off x="2135188" y="5908675"/>
            <a:ext cx="3873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F0D1ACE-6CBE-44AC-9DAE-7597A850B898}" type="datetime'''''''''''''''''''2''''''0''''''''''''''0''''''''0'''">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00</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37" name="Text Placeholder 4">
            <a:extLst>
              <a:ext uri="{FF2B5EF4-FFF2-40B4-BE49-F238E27FC236}">
                <a16:creationId xmlns:a16="http://schemas.microsoft.com/office/drawing/2014/main" id="{4C1F3293-4EFE-461D-940D-7EE66BAE31C5}"/>
              </a:ext>
            </a:extLst>
          </p:cNvPr>
          <p:cNvSpPr>
            <a:spLocks noGrp="1"/>
          </p:cNvSpPr>
          <p:nvPr>
            <p:custDataLst>
              <p:tags r:id="rId4"/>
            </p:custDataLst>
          </p:nvPr>
        </p:nvSpPr>
        <p:spPr bwMode="gray">
          <a:xfrm>
            <a:off x="896938" y="2689225"/>
            <a:ext cx="2540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C86B21B-FB52-4B53-B687-BD2F501AC0C1}" type="datetime'''''''''''''''''''''''''''1''''''''''''5''''''''''''''0'">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50</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247" name="Text Placeholder 4">
            <a:extLst>
              <a:ext uri="{FF2B5EF4-FFF2-40B4-BE49-F238E27FC236}">
                <a16:creationId xmlns:a16="http://schemas.microsoft.com/office/drawing/2014/main" id="{4C1F3293-4EFE-461D-940D-7EE66BAE31C5}"/>
              </a:ext>
            </a:extLst>
          </p:cNvPr>
          <p:cNvSpPr>
            <a:spLocks noGrp="1"/>
          </p:cNvSpPr>
          <p:nvPr>
            <p:custDataLst>
              <p:tags r:id="rId5"/>
            </p:custDataLst>
          </p:nvPr>
        </p:nvSpPr>
        <p:spPr bwMode="gray">
          <a:xfrm>
            <a:off x="1100138" y="5908675"/>
            <a:ext cx="3381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D48F0FC-82A9-4DF6-BD32-417B5BA4323D}" type="datetime'''''''1''''''''''''9''''''''''''9''''''''''''''''''''0'''">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990</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62" name="Text Placeholder 4">
            <a:extLst>
              <a:ext uri="{FF2B5EF4-FFF2-40B4-BE49-F238E27FC236}">
                <a16:creationId xmlns:a16="http://schemas.microsoft.com/office/drawing/2014/main" id="{4C1F3293-4EFE-461D-940D-7EE66BAE31C5}"/>
              </a:ext>
            </a:extLst>
          </p:cNvPr>
          <p:cNvSpPr>
            <a:spLocks noGrp="1"/>
          </p:cNvSpPr>
          <p:nvPr>
            <p:custDataLst>
              <p:tags r:id="rId6"/>
            </p:custDataLst>
          </p:nvPr>
        </p:nvSpPr>
        <p:spPr bwMode="gray">
          <a:xfrm>
            <a:off x="963613" y="4862513"/>
            <a:ext cx="1873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1E12EFE-94B9-424F-A460-BF0A9692C086}" type="datetime'''''''''''7''''''''0'''''''''''''''''''''''''''''''''''''''">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70</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39" name="Text Placeholder 4">
            <a:extLst>
              <a:ext uri="{FF2B5EF4-FFF2-40B4-BE49-F238E27FC236}">
                <a16:creationId xmlns:a16="http://schemas.microsoft.com/office/drawing/2014/main" id="{4C1F3293-4EFE-461D-940D-7EE66BAE31C5}"/>
              </a:ext>
            </a:extLst>
          </p:cNvPr>
          <p:cNvSpPr>
            <a:spLocks noGrp="1"/>
          </p:cNvSpPr>
          <p:nvPr>
            <p:custDataLst>
              <p:tags r:id="rId7"/>
            </p:custDataLst>
          </p:nvPr>
        </p:nvSpPr>
        <p:spPr bwMode="gray">
          <a:xfrm>
            <a:off x="904875" y="2146300"/>
            <a:ext cx="2460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E4D2C33-6D41-48B5-9D71-8D013A018FE8}" type="datetime'''''''1''''''''''''''''''''''''7''''''''0'''''''''''''''''''">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70</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65"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gray">
          <a:xfrm>
            <a:off x="895350" y="4048125"/>
            <a:ext cx="2555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513E620-C2A6-44ED-874C-A789E2EA9B92}" type="datetime'''''''''''1''''''0''''''''''0'''''''''''">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00</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78" name="Text Placeholder 4">
            <a:extLst>
              <a:ext uri="{FF2B5EF4-FFF2-40B4-BE49-F238E27FC236}">
                <a16:creationId xmlns:a16="http://schemas.microsoft.com/office/drawing/2014/main" id="{4C1F3293-4EFE-461D-940D-7EE66BAE31C5}"/>
              </a:ext>
            </a:extLst>
          </p:cNvPr>
          <p:cNvSpPr>
            <a:spLocks noGrp="1"/>
          </p:cNvSpPr>
          <p:nvPr>
            <p:custDataLst>
              <p:tags r:id="rId9"/>
            </p:custDataLst>
          </p:nvPr>
        </p:nvSpPr>
        <p:spPr bwMode="gray">
          <a:xfrm>
            <a:off x="2762250" y="5908675"/>
            <a:ext cx="1952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E4B5563-4EC4-4E31-9028-42B8C12B8CB6}" type="datetime'''0''''''''''''''''''''''''''''''5'''''''''''''''">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5</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73"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893763" y="1874838"/>
            <a:ext cx="2571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8A3282B-9FBF-48B4-8A67-F6529C59C4E4}" type="datetime'''''18''''''''''''''''''''''''''''''''0'''''">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80</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255"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5416550" y="5908675"/>
            <a:ext cx="1920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3057AC0-EFBB-409B-B6DC-DEFBFB3F0280}" type="datetime'3''''''''''''''''''''''''''''''''''''''''''''''''''''0'">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0</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77"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1704975" y="5908675"/>
            <a:ext cx="1873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DEBDBA9-FCA2-471F-8F3E-4977F80E8097}" type="datetime'''''''''95'''">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95</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251"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3311525" y="5908675"/>
            <a:ext cx="1571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519164C-A58B-4A3E-8533-B995C0185461}" type="datetime'''''''''''''''''''''''''''''1''0'">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0</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79"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3841750" y="5908675"/>
            <a:ext cx="1555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06C77D8-443A-4502-AAD6-066BD4B4BFF0}" type="datetime'''''''''''''''''''''''''''''''1''5'''''''''">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5</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253"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gray">
          <a:xfrm>
            <a:off x="4354513" y="5908675"/>
            <a:ext cx="1905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7F5C2FB-1455-4A5D-83F9-B251A0F7A21D}" type="datetime'''''''''''20'''''''''''''''''''''''''''''''''''''''''''">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82"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7004050" y="5908675"/>
            <a:ext cx="1984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6D00FED-D71B-4C43-9B97-ACC2DA0563BB}" type="datetime'''''''''''''''''''''''45'">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5</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80"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gray">
          <a:xfrm>
            <a:off x="4887913" y="5908675"/>
            <a:ext cx="1889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B2E303B-C3CE-4D36-B0DC-62D0DDC50CB3}" type="datetime'''''2''''''''''''''5'''''''''''''''''''">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5</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67" name="Text Placeholder 4">
            <a:extLst>
              <a:ext uri="{FF2B5EF4-FFF2-40B4-BE49-F238E27FC236}">
                <a16:creationId xmlns:a16="http://schemas.microsoft.com/office/drawing/2014/main" id="{4C1F3293-4EFE-461D-940D-7EE66BAE31C5}"/>
              </a:ext>
            </a:extLst>
          </p:cNvPr>
          <p:cNvSpPr>
            <a:spLocks noGrp="1"/>
          </p:cNvSpPr>
          <p:nvPr>
            <p:custDataLst>
              <p:tags r:id="rId18"/>
            </p:custDataLst>
          </p:nvPr>
        </p:nvSpPr>
        <p:spPr bwMode="gray">
          <a:xfrm>
            <a:off x="901700" y="3503613"/>
            <a:ext cx="249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E641C96-E7F6-4A07-B6E3-0DF24E387BA4}" type="datetime'''''''''''1''''''''''''''2''''''0'''''''''''''''''''''''''">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20</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81" name="Text Placeholder 4">
            <a:extLst>
              <a:ext uri="{FF2B5EF4-FFF2-40B4-BE49-F238E27FC236}">
                <a16:creationId xmlns:a16="http://schemas.microsoft.com/office/drawing/2014/main" id="{4C1F3293-4EFE-461D-940D-7EE66BAE31C5}"/>
              </a:ext>
            </a:extLst>
          </p:cNvPr>
          <p:cNvSpPr>
            <a:spLocks noGrp="1"/>
          </p:cNvSpPr>
          <p:nvPr>
            <p:custDataLst>
              <p:tags r:id="rId19"/>
            </p:custDataLst>
          </p:nvPr>
        </p:nvSpPr>
        <p:spPr bwMode="gray">
          <a:xfrm>
            <a:off x="5946775" y="5908675"/>
            <a:ext cx="1905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72BB0A9-FD0F-479C-9BF4-127C1F1DEF00}" type="datetime'''''''3''''''''''''''''5'''''''">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5</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257" name="Text Placeholder 4">
            <a:extLst>
              <a:ext uri="{FF2B5EF4-FFF2-40B4-BE49-F238E27FC236}">
                <a16:creationId xmlns:a16="http://schemas.microsoft.com/office/drawing/2014/main" id="{4C1F3293-4EFE-461D-940D-7EE66BAE31C5}"/>
              </a:ext>
            </a:extLst>
          </p:cNvPr>
          <p:cNvSpPr>
            <a:spLocks noGrp="1"/>
          </p:cNvSpPr>
          <p:nvPr>
            <p:custDataLst>
              <p:tags r:id="rId20"/>
            </p:custDataLst>
          </p:nvPr>
        </p:nvSpPr>
        <p:spPr bwMode="gray">
          <a:xfrm>
            <a:off x="6472238" y="5908675"/>
            <a:ext cx="2000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BD09734-EB8C-49B5-B852-7382F6A1FB9F}" type="datetime'''''''''''''4''''''''''0'''''''''''''''''''''''''''''">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0</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259" name="Text Placeholder 4">
            <a:extLst>
              <a:ext uri="{FF2B5EF4-FFF2-40B4-BE49-F238E27FC236}">
                <a16:creationId xmlns:a16="http://schemas.microsoft.com/office/drawing/2014/main" id="{4C1F3293-4EFE-461D-940D-7EE66BAE31C5}"/>
              </a:ext>
            </a:extLst>
          </p:cNvPr>
          <p:cNvSpPr>
            <a:spLocks noGrp="1"/>
          </p:cNvSpPr>
          <p:nvPr>
            <p:custDataLst>
              <p:tags r:id="rId21"/>
            </p:custDataLst>
          </p:nvPr>
        </p:nvSpPr>
        <p:spPr bwMode="gray">
          <a:xfrm>
            <a:off x="7440613" y="5908675"/>
            <a:ext cx="3857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8B3BA35-2012-4535-9830-F0685AD5019E}" type="datetime'''''''''''''''''''2''0''''5''''''''''''''''0'">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50</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58" name="Text Placeholder 4">
            <a:extLst>
              <a:ext uri="{FF2B5EF4-FFF2-40B4-BE49-F238E27FC236}">
                <a16:creationId xmlns:a16="http://schemas.microsoft.com/office/drawing/2014/main" id="{4C1F3293-4EFE-461D-940D-7EE66BAE31C5}"/>
              </a:ext>
            </a:extLst>
          </p:cNvPr>
          <p:cNvSpPr>
            <a:spLocks noGrp="1"/>
          </p:cNvSpPr>
          <p:nvPr>
            <p:custDataLst>
              <p:tags r:id="rId22"/>
            </p:custDataLst>
          </p:nvPr>
        </p:nvSpPr>
        <p:spPr bwMode="gray">
          <a:xfrm>
            <a:off x="1052513" y="5743575"/>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CEB2767-408E-48EE-95CD-805BB38B1071}" type="datetime'''''''''''''''''''0'''''''''''''''''''">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60" name="Text Placeholder 4">
            <a:extLst>
              <a:ext uri="{FF2B5EF4-FFF2-40B4-BE49-F238E27FC236}">
                <a16:creationId xmlns:a16="http://schemas.microsoft.com/office/drawing/2014/main" id="{4C1F3293-4EFE-461D-940D-7EE66BAE31C5}"/>
              </a:ext>
            </a:extLst>
          </p:cNvPr>
          <p:cNvSpPr>
            <a:spLocks noGrp="1"/>
          </p:cNvSpPr>
          <p:nvPr>
            <p:custDataLst>
              <p:tags r:id="rId23"/>
            </p:custDataLst>
          </p:nvPr>
        </p:nvSpPr>
        <p:spPr bwMode="gray">
          <a:xfrm>
            <a:off x="955675" y="5405438"/>
            <a:ext cx="1952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62296E4-2F49-40E3-B645-C406B2661528}" type="datetime'''''''''5''''''''''''''''''''''0'''">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0</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61" name="Text Placeholder 4">
            <a:extLst>
              <a:ext uri="{FF2B5EF4-FFF2-40B4-BE49-F238E27FC236}">
                <a16:creationId xmlns:a16="http://schemas.microsoft.com/office/drawing/2014/main" id="{4C1F3293-4EFE-461D-940D-7EE66BAE31C5}"/>
              </a:ext>
            </a:extLst>
          </p:cNvPr>
          <p:cNvSpPr>
            <a:spLocks noGrp="1"/>
          </p:cNvSpPr>
          <p:nvPr>
            <p:custDataLst>
              <p:tags r:id="rId24"/>
            </p:custDataLst>
          </p:nvPr>
        </p:nvSpPr>
        <p:spPr bwMode="gray">
          <a:xfrm>
            <a:off x="962025" y="5133975"/>
            <a:ext cx="1889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8E70F73-8F10-467B-A2BC-E2C8EC0CA828}" type="datetime'''''''''''''''''''''''''''''''''''''''''''''6''''''''0'''">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60</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63" name="Text Placeholder 4">
            <a:extLst>
              <a:ext uri="{FF2B5EF4-FFF2-40B4-BE49-F238E27FC236}">
                <a16:creationId xmlns:a16="http://schemas.microsoft.com/office/drawing/2014/main" id="{4C1F3293-4EFE-461D-940D-7EE66BAE31C5}"/>
              </a:ext>
            </a:extLst>
          </p:cNvPr>
          <p:cNvSpPr>
            <a:spLocks noGrp="1"/>
          </p:cNvSpPr>
          <p:nvPr>
            <p:custDataLst>
              <p:tags r:id="rId25"/>
            </p:custDataLst>
          </p:nvPr>
        </p:nvSpPr>
        <p:spPr bwMode="gray">
          <a:xfrm>
            <a:off x="952500" y="4591050"/>
            <a:ext cx="1984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3E74079-6459-411B-9EA3-D0038023702B}" type="datetime'''''''''''''''8''''''''''''''''''''''''''0'''''''''''">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80</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64" name="Text Placeholder 4">
            <a:extLst>
              <a:ext uri="{FF2B5EF4-FFF2-40B4-BE49-F238E27FC236}">
                <a16:creationId xmlns:a16="http://schemas.microsoft.com/office/drawing/2014/main" id="{4C1F3293-4EFE-461D-940D-7EE66BAE31C5}"/>
              </a:ext>
            </a:extLst>
          </p:cNvPr>
          <p:cNvSpPr>
            <a:spLocks noGrp="1"/>
          </p:cNvSpPr>
          <p:nvPr>
            <p:custDataLst>
              <p:tags r:id="rId26"/>
            </p:custDataLst>
          </p:nvPr>
        </p:nvSpPr>
        <p:spPr bwMode="gray">
          <a:xfrm>
            <a:off x="962025" y="4319588"/>
            <a:ext cx="1889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3B4F285-C091-495A-9D17-F1594120273C}" type="datetime'9''''''''''''''''''''''''''''''''''''''''0'''''''''''''''">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90</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66" name="Text Placeholder 4">
            <a:extLst>
              <a:ext uri="{FF2B5EF4-FFF2-40B4-BE49-F238E27FC236}">
                <a16:creationId xmlns:a16="http://schemas.microsoft.com/office/drawing/2014/main" id="{4C1F3293-4EFE-461D-940D-7EE66BAE31C5}"/>
              </a:ext>
            </a:extLst>
          </p:cNvPr>
          <p:cNvSpPr>
            <a:spLocks noGrp="1"/>
          </p:cNvSpPr>
          <p:nvPr>
            <p:custDataLst>
              <p:tags r:id="rId27"/>
            </p:custDataLst>
          </p:nvPr>
        </p:nvSpPr>
        <p:spPr bwMode="gray">
          <a:xfrm>
            <a:off x="935038" y="3775075"/>
            <a:ext cx="2159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A2C9E53-7F32-4683-9AA2-3A1E3ED73621}" type="datetime'''''''''''''1''''''''''''''''''''10'''">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10</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68" name="Text Placeholder 4">
            <a:extLst>
              <a:ext uri="{FF2B5EF4-FFF2-40B4-BE49-F238E27FC236}">
                <a16:creationId xmlns:a16="http://schemas.microsoft.com/office/drawing/2014/main" id="{4C1F3293-4EFE-461D-940D-7EE66BAE31C5}"/>
              </a:ext>
            </a:extLst>
          </p:cNvPr>
          <p:cNvSpPr>
            <a:spLocks noGrp="1"/>
          </p:cNvSpPr>
          <p:nvPr>
            <p:custDataLst>
              <p:tags r:id="rId28"/>
            </p:custDataLst>
          </p:nvPr>
        </p:nvSpPr>
        <p:spPr bwMode="gray">
          <a:xfrm>
            <a:off x="900113" y="3232150"/>
            <a:ext cx="2508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BA4CC6F-FBF1-46EF-B3FE-5D0A4ABCFE14}" type="datetime'''''''''1''''3''''''''''''''''''''''0'''''''">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30</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69" name="Text Placeholder 4">
            <a:extLst>
              <a:ext uri="{FF2B5EF4-FFF2-40B4-BE49-F238E27FC236}">
                <a16:creationId xmlns:a16="http://schemas.microsoft.com/office/drawing/2014/main" id="{4C1F3293-4EFE-461D-940D-7EE66BAE31C5}"/>
              </a:ext>
            </a:extLst>
          </p:cNvPr>
          <p:cNvSpPr>
            <a:spLocks noGrp="1"/>
          </p:cNvSpPr>
          <p:nvPr>
            <p:custDataLst>
              <p:tags r:id="rId29"/>
            </p:custDataLst>
          </p:nvPr>
        </p:nvSpPr>
        <p:spPr bwMode="gray">
          <a:xfrm>
            <a:off x="892175" y="2960688"/>
            <a:ext cx="2587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243D8B6-2B3C-4EA7-8F22-BE1C0CEB16F4}" type="datetime'''''''''1''''''''''''''''''40'''''''''''''''''''''''''''''''''">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40</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38" name="Text Placeholder 4">
            <a:extLst>
              <a:ext uri="{FF2B5EF4-FFF2-40B4-BE49-F238E27FC236}">
                <a16:creationId xmlns:a16="http://schemas.microsoft.com/office/drawing/2014/main" id="{4C1F3293-4EFE-461D-940D-7EE66BAE31C5}"/>
              </a:ext>
            </a:extLst>
          </p:cNvPr>
          <p:cNvSpPr>
            <a:spLocks noGrp="1"/>
          </p:cNvSpPr>
          <p:nvPr>
            <p:custDataLst>
              <p:tags r:id="rId30"/>
            </p:custDataLst>
          </p:nvPr>
        </p:nvSpPr>
        <p:spPr bwMode="gray">
          <a:xfrm>
            <a:off x="903288" y="2417763"/>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554DB99-852E-4A14-A650-87BB96A280F6}" type="datetime'''''1''''''''''''6''''''''''''''0'''''''''">
              <a:rPr kumimoji="0" lang="de-DE"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60</a:t>
            </a:fld>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useBgFill="1">
        <p:nvSpPr>
          <p:cNvPr id="13" name="Freeform: Shape 12">
            <a:extLst>
              <a:ext uri="{FF2B5EF4-FFF2-40B4-BE49-F238E27FC236}">
                <a16:creationId xmlns:a16="http://schemas.microsoft.com/office/drawing/2014/main" id="{5EA61552-D6BC-D8AA-71AB-E6C28CCEE9B6}"/>
              </a:ext>
            </a:extLst>
          </p:cNvPr>
          <p:cNvSpPr/>
          <p:nvPr>
            <p:custDataLst>
              <p:tags r:id="rId31"/>
            </p:custDataLst>
          </p:nvPr>
        </p:nvSpPr>
        <p:spPr bwMode="auto">
          <a:xfrm>
            <a:off x="1195388" y="5737225"/>
            <a:ext cx="146051" cy="96839"/>
          </a:xfrm>
          <a:custGeom>
            <a:avLst/>
            <a:gdLst/>
            <a:ahLst/>
            <a:cxnLst/>
            <a:rect l="0" t="0" r="0" b="0"/>
            <a:pathLst>
              <a:path w="146051" h="96839">
                <a:moveTo>
                  <a:pt x="0" y="39688"/>
                </a:moveTo>
                <a:lnTo>
                  <a:pt x="146050" y="0"/>
                </a:lnTo>
                <a:lnTo>
                  <a:pt x="146050" y="57150"/>
                </a:lnTo>
                <a:lnTo>
                  <a:pt x="0" y="96838"/>
                </a:lnTo>
                <a:close/>
              </a:path>
            </a:pathLst>
          </a:custGeom>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err="1">
              <a:ln>
                <a:noFill/>
              </a:ln>
              <a:solidFill>
                <a:srgbClr val="FFFFFF"/>
              </a:solidFill>
              <a:effectLst/>
              <a:uLnTx/>
              <a:uFillTx/>
              <a:latin typeface="Bahnschrift"/>
              <a:ea typeface="+mn-ea"/>
              <a:cs typeface="+mn-cs"/>
            </a:endParaRPr>
          </a:p>
        </p:txBody>
      </p:sp>
      <p:sp>
        <p:nvSpPr>
          <p:cNvPr id="12" name="Freeform: Shape 11">
            <a:extLst>
              <a:ext uri="{FF2B5EF4-FFF2-40B4-BE49-F238E27FC236}">
                <a16:creationId xmlns:a16="http://schemas.microsoft.com/office/drawing/2014/main" id="{C9A54DEE-0E83-72FB-8A93-12921FDE8F53}"/>
              </a:ext>
            </a:extLst>
          </p:cNvPr>
          <p:cNvSpPr/>
          <p:nvPr>
            <p:custDataLst>
              <p:tags r:id="rId32"/>
            </p:custDataLst>
          </p:nvPr>
        </p:nvSpPr>
        <p:spPr bwMode="auto">
          <a:xfrm>
            <a:off x="1195388" y="5794375"/>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Bahnschrift"/>
              <a:ea typeface="+mn-ea"/>
              <a:cs typeface="+mn-cs"/>
            </a:endParaRPr>
          </a:p>
        </p:txBody>
      </p:sp>
      <p:sp>
        <p:nvSpPr>
          <p:cNvPr id="9" name="Freeform: Shape 8">
            <a:extLst>
              <a:ext uri="{FF2B5EF4-FFF2-40B4-BE49-F238E27FC236}">
                <a16:creationId xmlns:a16="http://schemas.microsoft.com/office/drawing/2014/main" id="{0C2BE075-CB10-3B78-8722-12DFBE5D18BC}"/>
              </a:ext>
            </a:extLst>
          </p:cNvPr>
          <p:cNvSpPr/>
          <p:nvPr>
            <p:custDataLst>
              <p:tags r:id="rId33"/>
            </p:custDataLst>
          </p:nvPr>
        </p:nvSpPr>
        <p:spPr bwMode="auto">
          <a:xfrm>
            <a:off x="1195388" y="5737225"/>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Bahnschrift"/>
              <a:ea typeface="+mn-ea"/>
              <a:cs typeface="+mn-cs"/>
            </a:endParaRPr>
          </a:p>
        </p:txBody>
      </p:sp>
      <p:cxnSp>
        <p:nvCxnSpPr>
          <p:cNvPr id="59" name="Straight Connector 58">
            <a:extLst>
              <a:ext uri="{FF2B5EF4-FFF2-40B4-BE49-F238E27FC236}">
                <a16:creationId xmlns:a16="http://schemas.microsoft.com/office/drawing/2014/main" id="{B8C61489-99CD-435D-8615-74214AF13E55}"/>
              </a:ext>
            </a:extLst>
          </p:cNvPr>
          <p:cNvCxnSpPr/>
          <p:nvPr>
            <p:custDataLst>
              <p:tags r:id="rId34"/>
            </p:custDataLst>
          </p:nvPr>
        </p:nvCxnSpPr>
        <p:spPr bwMode="auto">
          <a:xfrm>
            <a:off x="1268413" y="5103813"/>
            <a:ext cx="6364288" cy="0"/>
          </a:xfrm>
          <a:prstGeom prst="line">
            <a:avLst/>
          </a:prstGeom>
          <a:ln w="952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2. Slide Title">
            <a:extLst>
              <a:ext uri="{FF2B5EF4-FFF2-40B4-BE49-F238E27FC236}">
                <a16:creationId xmlns:a16="http://schemas.microsoft.com/office/drawing/2014/main" id="{5626D029-2D7E-2507-8C76-3806A1CDA741}"/>
              </a:ext>
            </a:extLst>
          </p:cNvPr>
          <p:cNvSpPr>
            <a:spLocks noGrp="1"/>
          </p:cNvSpPr>
          <p:nvPr>
            <p:ph type="title"/>
            <p:custDataLst>
              <p:tags r:id="rId35"/>
            </p:custDataLst>
          </p:nvPr>
        </p:nvSpPr>
        <p:spPr>
          <a:xfrm>
            <a:off x="838799" y="409960"/>
            <a:ext cx="9540001" cy="715581"/>
          </a:xfrm>
          <a:noFill/>
          <a:ln>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de-DE" dirty="0"/>
              <a:t>Szenarien zum Stromverbrauch 2040 divergieren –</a:t>
            </a:r>
            <a:br>
              <a:rPr lang="de-DE" dirty="0"/>
            </a:br>
            <a:r>
              <a:rPr lang="de-DE" dirty="0"/>
              <a:t>ein Anstieg um den Faktor 2-2,5 erscheint realistisch</a:t>
            </a:r>
          </a:p>
        </p:txBody>
      </p:sp>
      <p:sp>
        <p:nvSpPr>
          <p:cNvPr id="1179" name="5. Source">
            <a:extLst>
              <a:ext uri="{FF2B5EF4-FFF2-40B4-BE49-F238E27FC236}">
                <a16:creationId xmlns:a16="http://schemas.microsoft.com/office/drawing/2014/main" id="{0F57091F-C06E-B75D-D18B-85C54E9B7139}"/>
              </a:ext>
            </a:extLst>
          </p:cNvPr>
          <p:cNvSpPr txBox="1"/>
          <p:nvPr>
            <p:custDataLst>
              <p:tags r:id="rId36"/>
            </p:custDataLst>
          </p:nvPr>
        </p:nvSpPr>
        <p:spPr>
          <a:xfrm>
            <a:off x="8099512" y="6271806"/>
            <a:ext cx="2573774"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Arial" panose="020B0604020202020204" pitchFamily="34" charset="0"/>
              </a:rPr>
              <a:t>Quelle: Statistik Austria, Bundesregierung, BMAW, Umweltbundesamt, Österreichs Energie, IEA, Energy Agency, EU Kommission, Handelsblatt</a:t>
            </a:r>
          </a:p>
        </p:txBody>
      </p:sp>
      <p:sp>
        <p:nvSpPr>
          <p:cNvPr id="1162" name="TextBox 1161">
            <a:extLst>
              <a:ext uri="{FF2B5EF4-FFF2-40B4-BE49-F238E27FC236}">
                <a16:creationId xmlns:a16="http://schemas.microsoft.com/office/drawing/2014/main" id="{668EC4B5-A7FB-683B-8E7D-65A1C80A9634}"/>
              </a:ext>
            </a:extLst>
          </p:cNvPr>
          <p:cNvSpPr txBox="1">
            <a:spLocks/>
          </p:cNvSpPr>
          <p:nvPr/>
        </p:nvSpPr>
        <p:spPr>
          <a:xfrm>
            <a:off x="906463" y="1244675"/>
            <a:ext cx="7920038" cy="492443"/>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Gesamt Stromverbrauch (energetischer Endverbrauch) und Anteil erneuerbarer Energien am Strommix,</a:t>
            </a:r>
            <a:r>
              <a:rPr kumimoji="0" lang="de-DE" sz="16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 in TWh</a:t>
            </a:r>
          </a:p>
        </p:txBody>
      </p:sp>
      <p:cxnSp>
        <p:nvCxnSpPr>
          <p:cNvPr id="74" name="LineBasicStrong 15">
            <a:extLst>
              <a:ext uri="{FF2B5EF4-FFF2-40B4-BE49-F238E27FC236}">
                <a16:creationId xmlns:a16="http://schemas.microsoft.com/office/drawing/2014/main" id="{7B544D90-5E6E-FD2E-76F2-89DC4AAB8B8E}"/>
              </a:ext>
            </a:extLst>
          </p:cNvPr>
          <p:cNvCxnSpPr>
            <a:cxnSpLocks/>
          </p:cNvCxnSpPr>
          <p:nvPr>
            <p:custDataLst>
              <p:tags r:id="rId37"/>
            </p:custDataLst>
          </p:nvPr>
        </p:nvCxnSpPr>
        <p:spPr>
          <a:xfrm>
            <a:off x="906463" y="1786096"/>
            <a:ext cx="7920038" cy="0"/>
          </a:xfrm>
          <a:prstGeom prst="straightConnector1">
            <a:avLst/>
          </a:prstGeom>
          <a:ln w="12700" cap="flat">
            <a:solidFill>
              <a:srgbClr val="004FA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9" name="TextBox 188">
            <a:extLst>
              <a:ext uri="{FF2B5EF4-FFF2-40B4-BE49-F238E27FC236}">
                <a16:creationId xmlns:a16="http://schemas.microsoft.com/office/drawing/2014/main" id="{0DFDB741-897B-433E-B68E-95C38F83DC15}"/>
              </a:ext>
            </a:extLst>
          </p:cNvPr>
          <p:cNvSpPr txBox="1">
            <a:spLocks/>
          </p:cNvSpPr>
          <p:nvPr/>
        </p:nvSpPr>
        <p:spPr>
          <a:xfrm>
            <a:off x="9229628" y="1490897"/>
            <a:ext cx="2573774"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Synthese</a:t>
            </a:r>
          </a:p>
        </p:txBody>
      </p:sp>
      <p:sp>
        <p:nvSpPr>
          <p:cNvPr id="190" name="TextBox 189">
            <a:extLst>
              <a:ext uri="{FF2B5EF4-FFF2-40B4-BE49-F238E27FC236}">
                <a16:creationId xmlns:a16="http://schemas.microsoft.com/office/drawing/2014/main" id="{D00E3AE0-3AC7-4D8E-B1A8-5F2958772A89}"/>
              </a:ext>
            </a:extLst>
          </p:cNvPr>
          <p:cNvSpPr txBox="1">
            <a:spLocks/>
          </p:cNvSpPr>
          <p:nvPr>
            <p:custDataLst>
              <p:tags r:id="rId38"/>
            </p:custDataLst>
          </p:nvPr>
        </p:nvSpPr>
        <p:spPr>
          <a:xfrm>
            <a:off x="9229628" y="1862050"/>
            <a:ext cx="2573774" cy="39959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0"/>
              </a:spcBef>
              <a:spcAft>
                <a:spcPts val="300"/>
              </a:spcAft>
              <a:buClr>
                <a:srgbClr val="000000"/>
              </a:buClr>
              <a:buSzPct val="100000"/>
              <a:buFont typeface="Segoe UI" panose="020B0502040204020203" pitchFamily="34" charset="0"/>
              <a:buChar char="​"/>
              <a:tabLst/>
              <a:defRPr/>
            </a:pPr>
            <a:r>
              <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Der </a:t>
            </a: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Stromverbrauch in 2021 </a:t>
            </a:r>
            <a:r>
              <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betrug etwa </a:t>
            </a: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64 TWh </a:t>
            </a:r>
            <a:r>
              <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energetischer Endverbrauch)</a:t>
            </a:r>
          </a:p>
          <a:p>
            <a:pPr marL="0" marR="0" lvl="0" indent="0" algn="l" defTabSz="914400" rtl="0" eaLnBrk="1" fontAlgn="auto" latinLnBrk="0" hangingPunct="1">
              <a:lnSpc>
                <a:spcPct val="100000"/>
              </a:lnSpc>
              <a:spcBef>
                <a:spcPts val="1000"/>
              </a:spcBef>
              <a:spcAft>
                <a:spcPts val="300"/>
              </a:spcAft>
              <a:buClr>
                <a:srgbClr val="000000"/>
              </a:buClr>
              <a:buSzPct val="100000"/>
              <a:buFont typeface="Segoe UI" panose="020B0502040204020203" pitchFamily="34" charset="0"/>
              <a:buChar char="​"/>
              <a:tabLst/>
              <a:defRPr/>
            </a:pP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Bis 2040 </a:t>
            </a:r>
            <a:r>
              <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soll sich dieser Verbrauch deutlich erhöhen, wobei eine </a:t>
            </a: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Verdoppelung auf 130 TWh</a:t>
            </a:r>
            <a:r>
              <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 und mehr </a:t>
            </a: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im Korridor der Erwartungen </a:t>
            </a:r>
            <a:r>
              <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verschiedener Studien liegt (alleine die Dekar-bonisierung der Stahlerzeugung kann bereits &gt;30 TWh Mehrbedarf verursachen)</a:t>
            </a:r>
          </a:p>
          <a:p>
            <a:pPr marL="0" marR="0" lvl="0" indent="0" algn="l" defTabSz="914400" rtl="0" eaLnBrk="1" fontAlgn="auto" latinLnBrk="0" hangingPunct="1">
              <a:lnSpc>
                <a:spcPct val="100000"/>
              </a:lnSpc>
              <a:spcBef>
                <a:spcPts val="1000"/>
              </a:spcBef>
              <a:spcAft>
                <a:spcPts val="300"/>
              </a:spcAft>
              <a:buClr>
                <a:srgbClr val="000000"/>
              </a:buClr>
              <a:buSzPct val="100000"/>
              <a:buFont typeface="Segoe UI" panose="020B0502040204020203" pitchFamily="34" charset="0"/>
              <a:buChar char="​"/>
              <a:tabLst/>
              <a:defRPr/>
            </a:pP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Darüber hinaus </a:t>
            </a:r>
            <a:r>
              <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soll Strom, der heute zu 70-80% erneuerbar ist, bereits ab 2030 bilanziell zu </a:t>
            </a: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100% aus erneuerbaren Quellen </a:t>
            </a:r>
            <a:r>
              <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stammen</a:t>
            </a:r>
          </a:p>
        </p:txBody>
      </p:sp>
      <p:sp>
        <p:nvSpPr>
          <p:cNvPr id="79" name="TextBox 78">
            <a:extLst>
              <a:ext uri="{FF2B5EF4-FFF2-40B4-BE49-F238E27FC236}">
                <a16:creationId xmlns:a16="http://schemas.microsoft.com/office/drawing/2014/main" id="{A6D70E1B-C862-46F2-AA49-56356D4E5C7B}"/>
              </a:ext>
            </a:extLst>
          </p:cNvPr>
          <p:cNvSpPr txBox="1"/>
          <p:nvPr/>
        </p:nvSpPr>
        <p:spPr>
          <a:xfrm>
            <a:off x="7808913" y="4803775"/>
            <a:ext cx="1125538"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Verbrauch 2021 von 64 TWh</a:t>
            </a:r>
          </a:p>
        </p:txBody>
      </p:sp>
      <p:cxnSp>
        <p:nvCxnSpPr>
          <p:cNvPr id="109" name="Straight Arrow Connector 108">
            <a:extLst>
              <a:ext uri="{FF2B5EF4-FFF2-40B4-BE49-F238E27FC236}">
                <a16:creationId xmlns:a16="http://schemas.microsoft.com/office/drawing/2014/main" id="{2E73C49F-1D4F-4BB6-8168-EA2C5B43755F}"/>
              </a:ext>
            </a:extLst>
          </p:cNvPr>
          <p:cNvCxnSpPr>
            <a:cxnSpLocks/>
            <a:stCxn id="79" idx="0"/>
          </p:cNvCxnSpPr>
          <p:nvPr/>
        </p:nvCxnSpPr>
        <p:spPr>
          <a:xfrm flipH="1" flipV="1">
            <a:off x="8370889" y="3132740"/>
            <a:ext cx="793" cy="1671035"/>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02" name="TextBox 201">
            <a:extLst>
              <a:ext uri="{FF2B5EF4-FFF2-40B4-BE49-F238E27FC236}">
                <a16:creationId xmlns:a16="http://schemas.microsoft.com/office/drawing/2014/main" id="{BF044557-352A-4BEF-A976-A371E42D0D3E}"/>
              </a:ext>
            </a:extLst>
          </p:cNvPr>
          <p:cNvSpPr txBox="1"/>
          <p:nvPr/>
        </p:nvSpPr>
        <p:spPr>
          <a:xfrm>
            <a:off x="7808913" y="3637475"/>
            <a:ext cx="1125538" cy="646331"/>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Anstieg um Faktor 2-2,5 realistisch</a:t>
            </a:r>
          </a:p>
        </p:txBody>
      </p:sp>
      <p:sp>
        <p:nvSpPr>
          <p:cNvPr id="206" name="TextBox 205">
            <a:extLst>
              <a:ext uri="{FF2B5EF4-FFF2-40B4-BE49-F238E27FC236}">
                <a16:creationId xmlns:a16="http://schemas.microsoft.com/office/drawing/2014/main" id="{3FE4F07F-9E3B-4D3E-AACC-8E47F6C553BB}"/>
              </a:ext>
            </a:extLst>
          </p:cNvPr>
          <p:cNvSpPr txBox="1"/>
          <p:nvPr/>
        </p:nvSpPr>
        <p:spPr>
          <a:xfrm>
            <a:off x="2701290" y="2612367"/>
            <a:ext cx="2508250" cy="1292662"/>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Verschiedenste Prognosen von Bundesregierung (NEKP), Wirtschaftsministerium, Österreichs Energie, IEA, Umweltbundesamt, EU Kommission</a:t>
            </a:r>
          </a:p>
        </p:txBody>
      </p:sp>
      <p:cxnSp>
        <p:nvCxnSpPr>
          <p:cNvPr id="141" name="Straight Arrow Connector 140">
            <a:extLst>
              <a:ext uri="{FF2B5EF4-FFF2-40B4-BE49-F238E27FC236}">
                <a16:creationId xmlns:a16="http://schemas.microsoft.com/office/drawing/2014/main" id="{A8620E13-61C8-41FC-99F7-F7C0603EF176}"/>
              </a:ext>
            </a:extLst>
          </p:cNvPr>
          <p:cNvCxnSpPr>
            <a:cxnSpLocks/>
          </p:cNvCxnSpPr>
          <p:nvPr/>
        </p:nvCxnSpPr>
        <p:spPr>
          <a:xfrm>
            <a:off x="5019040" y="3258698"/>
            <a:ext cx="847725" cy="0"/>
          </a:xfrm>
          <a:prstGeom prst="straightConnector1">
            <a:avLst/>
          </a:prstGeom>
          <a:ln w="6350" cap="flat">
            <a:solidFill>
              <a:schemeClr val="tx1"/>
            </a:solidFill>
            <a:miter lim="800000"/>
            <a:tailEnd type="oval"/>
          </a:ln>
        </p:spPr>
        <p:style>
          <a:lnRef idx="1">
            <a:schemeClr val="accent1"/>
          </a:lnRef>
          <a:fillRef idx="0">
            <a:schemeClr val="accent1"/>
          </a:fillRef>
          <a:effectRef idx="0">
            <a:schemeClr val="accent1"/>
          </a:effectRef>
          <a:fontRef idx="minor">
            <a:schemeClr val="tx1"/>
          </a:fontRef>
        </p:style>
      </p:cxnSp>
      <p:cxnSp>
        <p:nvCxnSpPr>
          <p:cNvPr id="72" name="LineBasicStrong 15">
            <a:extLst>
              <a:ext uri="{FF2B5EF4-FFF2-40B4-BE49-F238E27FC236}">
                <a16:creationId xmlns:a16="http://schemas.microsoft.com/office/drawing/2014/main" id="{3D4F1086-C9CD-4ED9-B93F-75ABE52741DA}"/>
              </a:ext>
            </a:extLst>
          </p:cNvPr>
          <p:cNvCxnSpPr>
            <a:cxnSpLocks/>
          </p:cNvCxnSpPr>
          <p:nvPr>
            <p:custDataLst>
              <p:tags r:id="rId39"/>
            </p:custDataLst>
          </p:nvPr>
        </p:nvCxnSpPr>
        <p:spPr>
          <a:xfrm>
            <a:off x="9229628" y="1786096"/>
            <a:ext cx="2573774" cy="0"/>
          </a:xfrm>
          <a:prstGeom prst="straightConnector1">
            <a:avLst/>
          </a:prstGeom>
          <a:ln w="12700" cap="flat">
            <a:solidFill>
              <a:srgbClr val="004FA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128F2E67-B8C2-45F4-A0F4-378F7B6ABCA7}"/>
              </a:ext>
            </a:extLst>
          </p:cNvPr>
          <p:cNvCxnSpPr>
            <a:cxnSpLocks/>
          </p:cNvCxnSpPr>
          <p:nvPr/>
        </p:nvCxnSpPr>
        <p:spPr>
          <a:xfrm>
            <a:off x="9028064" y="1244675"/>
            <a:ext cx="0" cy="4891013"/>
          </a:xfrm>
          <a:prstGeom prst="line">
            <a:avLst/>
          </a:prstGeom>
          <a:ln w="19050">
            <a:solidFill>
              <a:srgbClr val="004FA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488EAA2B-6A6C-4092-817B-381443854ADC}"/>
              </a:ext>
            </a:extLst>
          </p:cNvPr>
          <p:cNvSpPr txBox="1"/>
          <p:nvPr/>
        </p:nvSpPr>
        <p:spPr>
          <a:xfrm>
            <a:off x="6589985" y="1854433"/>
            <a:ext cx="166104" cy="246221"/>
          </a:xfrm>
          <a:prstGeom prst="rect">
            <a:avLst/>
          </a:prstGeom>
        </p:spPr>
        <p:txBody>
          <a:bodyPr vert="horz" wrap="square" lIns="0" tIns="0" rIns="0" bIns="0" rtlCol="0">
            <a:spAutoFit/>
          </a:bodyPr>
          <a:lstStyle>
            <a:lvl1pPr marL="469900" lvl="0" indent="-469900" eaLnBrk="1" hangingPunct="1">
              <a:spcBef>
                <a:spcPct val="20000"/>
              </a:spcBef>
              <a:buClr>
                <a:srgbClr val="ED1C24"/>
              </a:buClr>
              <a:buFont typeface="Arial" panose="020B0604020202020204" pitchFamily="34" charset="0"/>
              <a:buChar char="•"/>
              <a:defRPr sz="2200">
                <a:latin typeface="Bahnschrift" panose="020B0502040204020203" pitchFamily="34" charset="0"/>
              </a:defRPr>
            </a:lvl1pPr>
            <a:lvl2pPr marL="908050" lvl="1" indent="-436563" eaLnBrk="1" hangingPunct="1">
              <a:spcBef>
                <a:spcPct val="20000"/>
              </a:spcBef>
              <a:buClr>
                <a:schemeClr val="tx1"/>
              </a:buClr>
              <a:buFont typeface="Symbol" panose="05050102010706020507" pitchFamily="18" charset="2"/>
              <a:buChar char="-"/>
              <a:defRPr sz="2000">
                <a:latin typeface="Bahnschrift" panose="020B0502040204020203" pitchFamily="34" charset="0"/>
              </a:defRPr>
            </a:lvl2pPr>
            <a:lvl3pPr marL="1304925" lvl="2" indent="-395288" eaLnBrk="1" hangingPunct="1">
              <a:spcBef>
                <a:spcPct val="20000"/>
              </a:spcBef>
              <a:buClr>
                <a:srgbClr val="6F6F6F"/>
              </a:buClr>
              <a:buFont typeface="Symbol" pitchFamily="18" charset="2"/>
              <a:buChar char="-"/>
              <a:defRPr sz="1800">
                <a:latin typeface="Bahnschrift" panose="020B0502040204020203" pitchFamily="34" charset="0"/>
              </a:defRPr>
            </a:lvl3pPr>
            <a:lvl4pPr marL="1693863" lvl="3" indent="-387350" eaLnBrk="1" hangingPunct="1">
              <a:spcBef>
                <a:spcPct val="20000"/>
              </a:spcBef>
              <a:buClr>
                <a:srgbClr val="6F6F6F"/>
              </a:buClr>
              <a:buFont typeface="Symbol" pitchFamily="18" charset="2"/>
              <a:buChar char="-"/>
              <a:defRPr sz="1800">
                <a:latin typeface="Bahnschrift" panose="020B0502040204020203" pitchFamily="34" charset="0"/>
              </a:defRPr>
            </a:lvl4pPr>
            <a:lvl5pPr marL="2093913" lvl="4" indent="-398463" eaLnBrk="1" hangingPunct="1">
              <a:spcBef>
                <a:spcPct val="25000"/>
              </a:spcBef>
              <a:buClr>
                <a:srgbClr val="6F6F6F"/>
              </a:buClr>
              <a:buFont typeface="Symbol" pitchFamily="18" charset="2"/>
              <a:buChar char="-"/>
              <a:defRPr sz="1800">
                <a:latin typeface="Bahnschrift" panose="020B0502040204020203" pitchFamily="34" charset="0"/>
              </a:defRPr>
            </a:lvl5pPr>
            <a:lvl6pPr marL="2551113" indent="-398463" fontAlgn="base">
              <a:spcBef>
                <a:spcPct val="25000"/>
              </a:spcBef>
              <a:spcAft>
                <a:spcPct val="0"/>
              </a:spcAft>
              <a:buClr>
                <a:schemeClr val="accent2"/>
              </a:buClr>
              <a:buFont typeface="Wingdings" pitchFamily="2" charset="2"/>
              <a:buChar char="§"/>
              <a:defRPr sz="2000">
                <a:latin typeface="+mn-lt"/>
              </a:defRPr>
            </a:lvl6pPr>
            <a:lvl7pPr marL="3008313" indent="-398463" fontAlgn="base">
              <a:spcBef>
                <a:spcPct val="25000"/>
              </a:spcBef>
              <a:spcAft>
                <a:spcPct val="0"/>
              </a:spcAft>
              <a:buClr>
                <a:schemeClr val="accent2"/>
              </a:buClr>
              <a:buFont typeface="Wingdings" pitchFamily="2" charset="2"/>
              <a:buChar char="§"/>
              <a:defRPr sz="2000">
                <a:latin typeface="+mn-lt"/>
              </a:defRPr>
            </a:lvl7pPr>
            <a:lvl8pPr marL="3465513" indent="-398463" fontAlgn="base">
              <a:spcBef>
                <a:spcPct val="25000"/>
              </a:spcBef>
              <a:spcAft>
                <a:spcPct val="0"/>
              </a:spcAft>
              <a:buClr>
                <a:schemeClr val="accent2"/>
              </a:buClr>
              <a:buFont typeface="Wingdings" pitchFamily="2" charset="2"/>
              <a:buChar char="§"/>
              <a:defRPr sz="2000">
                <a:latin typeface="+mn-lt"/>
              </a:defRPr>
            </a:lvl8pPr>
            <a:lvl9pPr marL="3922713" indent="-398463" fontAlgn="base">
              <a:spcBef>
                <a:spcPct val="25000"/>
              </a:spcBef>
              <a:spcAft>
                <a:spcPct val="0"/>
              </a:spcAft>
              <a:buClr>
                <a:schemeClr val="accent2"/>
              </a:buClr>
              <a:buFont typeface="Wingdings" pitchFamily="2" charset="2"/>
              <a:buChar char="§"/>
              <a:defRPr sz="2000">
                <a:latin typeface="+mn-lt"/>
              </a:defRPr>
            </a:lvl9pPr>
          </a:lstStyle>
          <a:p>
            <a:pPr marL="0" marR="0" lvl="0" indent="0" algn="l" defTabSz="914400" rtl="0" eaLnBrk="1" fontAlgn="auto" latinLnBrk="0" hangingPunct="1">
              <a:lnSpc>
                <a:spcPct val="100000"/>
              </a:lnSpc>
              <a:spcBef>
                <a:spcPct val="20000"/>
              </a:spcBef>
              <a:spcAft>
                <a:spcPts val="0"/>
              </a:spcAft>
              <a:buClr>
                <a:srgbClr val="ED1C24"/>
              </a:buClr>
              <a:buSzTx/>
              <a:buFont typeface="Arial" panose="020B0604020202020204" pitchFamily="34" charset="0"/>
              <a:buNone/>
              <a:tabLst/>
              <a:defRPr/>
            </a:pPr>
            <a:r>
              <a:rPr kumimoji="0" lang="de-DE" sz="1600" b="0" i="0" u="none" strike="noStrike" kern="1200" cap="none" spc="0" normalizeH="0" baseline="30000" noProof="0" dirty="0">
                <a:ln>
                  <a:noFill/>
                </a:ln>
                <a:solidFill>
                  <a:srgbClr val="000000"/>
                </a:solidFill>
                <a:effectLst/>
                <a:uLnTx/>
                <a:uFillTx/>
                <a:latin typeface="Bahnschrift" panose="020B0502040204020203" pitchFamily="34" charset="0"/>
                <a:ea typeface="+mn-ea"/>
                <a:cs typeface="+mn-cs"/>
              </a:rPr>
              <a:t>1</a:t>
            </a:r>
            <a:r>
              <a:rPr kumimoji="0" lang="de-DE" sz="16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rPr>
              <a:t> </a:t>
            </a:r>
          </a:p>
        </p:txBody>
      </p:sp>
      <p:sp>
        <p:nvSpPr>
          <p:cNvPr id="10" name="4. Footnote">
            <a:extLst>
              <a:ext uri="{FF2B5EF4-FFF2-40B4-BE49-F238E27FC236}">
                <a16:creationId xmlns:a16="http://schemas.microsoft.com/office/drawing/2014/main" id="{9F178909-45E3-4872-AC94-8CD31A07D561}"/>
              </a:ext>
            </a:extLst>
          </p:cNvPr>
          <p:cNvSpPr txBox="1"/>
          <p:nvPr>
            <p:custDataLst>
              <p:tags r:id="rId40"/>
            </p:custDataLst>
          </p:nvPr>
        </p:nvSpPr>
        <p:spPr>
          <a:xfrm>
            <a:off x="1087141" y="6353282"/>
            <a:ext cx="8004101" cy="246221"/>
          </a:xfrm>
          <a:prstGeom prst="rect">
            <a:avLst/>
          </a:prstGeom>
          <a:noFill/>
        </p:spPr>
        <p:txBody>
          <a:bodyPr vert="horz" wrap="square" lIns="0" tIns="0" rIns="0" bIns="0" rtlCol="0" anchor="b" anchorCtr="0">
            <a:spAutoFit/>
          </a:bodyPr>
          <a:lstStyle/>
          <a:p>
            <a:pPr marL="0" marR="0" lvl="0" indent="0" algn="l" defTabSz="573088"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rPr>
              <a:t>1. BMAW 2021 (</a:t>
            </a:r>
            <a:r>
              <a:rPr kumimoji="0" lang="de-DE" sz="800" b="0" i="0" u="none" strike="noStrike" kern="1200" cap="none" spc="0" normalizeH="0" baseline="0" noProof="0" dirty="0" err="1">
                <a:ln>
                  <a:noFill/>
                </a:ln>
                <a:solidFill>
                  <a:srgbClr val="004FA1"/>
                </a:solidFill>
                <a:effectLst/>
                <a:uLnTx/>
                <a:uFillTx/>
                <a:latin typeface="Bahnschrift" panose="020B0502040204020203" pitchFamily="34" charset="0"/>
                <a:ea typeface="+mn-ea"/>
                <a:cs typeface="+mn-cs"/>
              </a:rPr>
              <a:t>upper</a:t>
            </a: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rPr>
              <a:t>)		2. BMAW 2021 (</a:t>
            </a:r>
            <a:r>
              <a:rPr kumimoji="0" lang="de-DE" sz="800" b="0" i="0" u="none" strike="noStrike" kern="1200" cap="none" spc="0" normalizeH="0" baseline="0" noProof="0" dirty="0" err="1">
                <a:ln>
                  <a:noFill/>
                </a:ln>
                <a:solidFill>
                  <a:srgbClr val="004FA1"/>
                </a:solidFill>
                <a:effectLst/>
                <a:uLnTx/>
                <a:uFillTx/>
                <a:latin typeface="Bahnschrift" panose="020B0502040204020203" pitchFamily="34" charset="0"/>
                <a:ea typeface="+mn-ea"/>
                <a:cs typeface="+mn-cs"/>
              </a:rPr>
              <a:t>lower</a:t>
            </a: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rPr>
              <a:t>)	3. Österreichs Energie 2022	4. Energieagentur 2019 (min)</a:t>
            </a:r>
            <a:b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rPr>
            </a:b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rPr>
              <a:t>5. Energieagentur 2019 (</a:t>
            </a:r>
            <a:r>
              <a:rPr kumimoji="0" lang="de-DE" sz="800" b="0" i="0" u="none" strike="noStrike" kern="1200" cap="none" spc="0" normalizeH="0" baseline="0" noProof="0" dirty="0" err="1">
                <a:ln>
                  <a:noFill/>
                </a:ln>
                <a:solidFill>
                  <a:srgbClr val="004FA1"/>
                </a:solidFill>
                <a:effectLst/>
                <a:uLnTx/>
                <a:uFillTx/>
                <a:latin typeface="Bahnschrift" panose="020B0502040204020203" pitchFamily="34" charset="0"/>
                <a:ea typeface="+mn-ea"/>
                <a:cs typeface="+mn-cs"/>
              </a:rPr>
              <a:t>max</a:t>
            </a: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rPr>
              <a:t>)	6. IEA 2019		7. NEKP 2023 (WAM)</a:t>
            </a:r>
            <a:r>
              <a:rPr kumimoji="0" lang="de-DE" sz="800" b="0" i="0" u="none" strike="noStrike" kern="1200" cap="none" spc="0" normalizeH="0" baseline="0" noProof="0" dirty="0">
                <a:ln>
                  <a:noFill/>
                </a:ln>
                <a:solidFill>
                  <a:srgbClr val="000000"/>
                </a:solidFill>
                <a:effectLst/>
                <a:uLnTx/>
                <a:uFillTx/>
                <a:latin typeface="Trebuchet MS" pitchFamily="34" charset="0"/>
                <a:ea typeface="+mn-ea"/>
                <a:cs typeface="+mn-cs"/>
              </a:rPr>
              <a:t>	</a:t>
            </a: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rPr>
              <a:t>	</a:t>
            </a:r>
            <a:endParaRPr kumimoji="0" lang="de-DE" sz="800" b="0" i="0" u="none" strike="noStrike" kern="1200" cap="none" spc="0" normalizeH="0" baseline="0" noProof="0" dirty="0">
              <a:ln>
                <a:noFill/>
              </a:ln>
              <a:solidFill>
                <a:srgbClr val="000000"/>
              </a:solidFill>
              <a:effectLst/>
              <a:uLnTx/>
              <a:uFillTx/>
              <a:latin typeface="Trebuchet MS" pitchFamily="34" charset="0"/>
              <a:ea typeface="+mn-ea"/>
              <a:cs typeface="+mn-cs"/>
            </a:endParaRPr>
          </a:p>
        </p:txBody>
      </p:sp>
      <p:sp>
        <p:nvSpPr>
          <p:cNvPr id="60" name="TextBox 59">
            <a:extLst>
              <a:ext uri="{FF2B5EF4-FFF2-40B4-BE49-F238E27FC236}">
                <a16:creationId xmlns:a16="http://schemas.microsoft.com/office/drawing/2014/main" id="{CDC95D4D-0013-4705-9ADA-639AD9DC1218}"/>
              </a:ext>
            </a:extLst>
          </p:cNvPr>
          <p:cNvSpPr txBox="1"/>
          <p:nvPr/>
        </p:nvSpPr>
        <p:spPr>
          <a:xfrm>
            <a:off x="6589985" y="3531109"/>
            <a:ext cx="166104" cy="246221"/>
          </a:xfrm>
          <a:prstGeom prst="rect">
            <a:avLst/>
          </a:prstGeom>
        </p:spPr>
        <p:txBody>
          <a:bodyPr vert="horz" wrap="square" lIns="0" tIns="0" rIns="0" bIns="0" rtlCol="0">
            <a:spAutoFit/>
          </a:bodyPr>
          <a:lstStyle>
            <a:lvl1pPr marL="469900" lvl="0" indent="-469900" eaLnBrk="1" hangingPunct="1">
              <a:spcBef>
                <a:spcPct val="20000"/>
              </a:spcBef>
              <a:buClr>
                <a:srgbClr val="ED1C24"/>
              </a:buClr>
              <a:buFont typeface="Arial" panose="020B0604020202020204" pitchFamily="34" charset="0"/>
              <a:buChar char="•"/>
              <a:defRPr sz="2200">
                <a:latin typeface="Bahnschrift" panose="020B0502040204020203" pitchFamily="34" charset="0"/>
              </a:defRPr>
            </a:lvl1pPr>
            <a:lvl2pPr marL="908050" lvl="1" indent="-436563" eaLnBrk="1" hangingPunct="1">
              <a:spcBef>
                <a:spcPct val="20000"/>
              </a:spcBef>
              <a:buClr>
                <a:schemeClr val="tx1"/>
              </a:buClr>
              <a:buFont typeface="Symbol" panose="05050102010706020507" pitchFamily="18" charset="2"/>
              <a:buChar char="-"/>
              <a:defRPr sz="2000">
                <a:latin typeface="Bahnschrift" panose="020B0502040204020203" pitchFamily="34" charset="0"/>
              </a:defRPr>
            </a:lvl2pPr>
            <a:lvl3pPr marL="1304925" lvl="2" indent="-395288" eaLnBrk="1" hangingPunct="1">
              <a:spcBef>
                <a:spcPct val="20000"/>
              </a:spcBef>
              <a:buClr>
                <a:srgbClr val="6F6F6F"/>
              </a:buClr>
              <a:buFont typeface="Symbol" pitchFamily="18" charset="2"/>
              <a:buChar char="-"/>
              <a:defRPr sz="1800">
                <a:latin typeface="Bahnschrift" panose="020B0502040204020203" pitchFamily="34" charset="0"/>
              </a:defRPr>
            </a:lvl3pPr>
            <a:lvl4pPr marL="1693863" lvl="3" indent="-387350" eaLnBrk="1" hangingPunct="1">
              <a:spcBef>
                <a:spcPct val="20000"/>
              </a:spcBef>
              <a:buClr>
                <a:srgbClr val="6F6F6F"/>
              </a:buClr>
              <a:buFont typeface="Symbol" pitchFamily="18" charset="2"/>
              <a:buChar char="-"/>
              <a:defRPr sz="1800">
                <a:latin typeface="Bahnschrift" panose="020B0502040204020203" pitchFamily="34" charset="0"/>
              </a:defRPr>
            </a:lvl4pPr>
            <a:lvl5pPr marL="2093913" lvl="4" indent="-398463" eaLnBrk="1" hangingPunct="1">
              <a:spcBef>
                <a:spcPct val="25000"/>
              </a:spcBef>
              <a:buClr>
                <a:srgbClr val="6F6F6F"/>
              </a:buClr>
              <a:buFont typeface="Symbol" pitchFamily="18" charset="2"/>
              <a:buChar char="-"/>
              <a:defRPr sz="1800">
                <a:latin typeface="Bahnschrift" panose="020B0502040204020203" pitchFamily="34" charset="0"/>
              </a:defRPr>
            </a:lvl5pPr>
            <a:lvl6pPr marL="2551113" indent="-398463" fontAlgn="base">
              <a:spcBef>
                <a:spcPct val="25000"/>
              </a:spcBef>
              <a:spcAft>
                <a:spcPct val="0"/>
              </a:spcAft>
              <a:buClr>
                <a:schemeClr val="accent2"/>
              </a:buClr>
              <a:buFont typeface="Wingdings" pitchFamily="2" charset="2"/>
              <a:buChar char="§"/>
              <a:defRPr sz="2000">
                <a:latin typeface="+mn-lt"/>
              </a:defRPr>
            </a:lvl6pPr>
            <a:lvl7pPr marL="3008313" indent="-398463" fontAlgn="base">
              <a:spcBef>
                <a:spcPct val="25000"/>
              </a:spcBef>
              <a:spcAft>
                <a:spcPct val="0"/>
              </a:spcAft>
              <a:buClr>
                <a:schemeClr val="accent2"/>
              </a:buClr>
              <a:buFont typeface="Wingdings" pitchFamily="2" charset="2"/>
              <a:buChar char="§"/>
              <a:defRPr sz="2000">
                <a:latin typeface="+mn-lt"/>
              </a:defRPr>
            </a:lvl7pPr>
            <a:lvl8pPr marL="3465513" indent="-398463" fontAlgn="base">
              <a:spcBef>
                <a:spcPct val="25000"/>
              </a:spcBef>
              <a:spcAft>
                <a:spcPct val="0"/>
              </a:spcAft>
              <a:buClr>
                <a:schemeClr val="accent2"/>
              </a:buClr>
              <a:buFont typeface="Wingdings" pitchFamily="2" charset="2"/>
              <a:buChar char="§"/>
              <a:defRPr sz="2000">
                <a:latin typeface="+mn-lt"/>
              </a:defRPr>
            </a:lvl8pPr>
            <a:lvl9pPr marL="3922713" indent="-398463" fontAlgn="base">
              <a:spcBef>
                <a:spcPct val="25000"/>
              </a:spcBef>
              <a:spcAft>
                <a:spcPct val="0"/>
              </a:spcAft>
              <a:buClr>
                <a:schemeClr val="accent2"/>
              </a:buClr>
              <a:buFont typeface="Wingdings" pitchFamily="2" charset="2"/>
              <a:buChar char="§"/>
              <a:defRPr sz="2000">
                <a:latin typeface="+mn-lt"/>
              </a:defRPr>
            </a:lvl9pPr>
          </a:lstStyle>
          <a:p>
            <a:pPr marL="0" marR="0" lvl="0" indent="0" algn="l" defTabSz="914400" rtl="0" eaLnBrk="1" fontAlgn="auto" latinLnBrk="0" hangingPunct="1">
              <a:lnSpc>
                <a:spcPct val="100000"/>
              </a:lnSpc>
              <a:spcBef>
                <a:spcPct val="20000"/>
              </a:spcBef>
              <a:spcAft>
                <a:spcPts val="0"/>
              </a:spcAft>
              <a:buClr>
                <a:srgbClr val="ED1C24"/>
              </a:buClr>
              <a:buSzTx/>
              <a:buFont typeface="Arial" panose="020B0604020202020204" pitchFamily="34" charset="0"/>
              <a:buNone/>
              <a:tabLst/>
              <a:defRPr/>
            </a:pPr>
            <a:r>
              <a:rPr kumimoji="0" lang="de-DE" sz="1600" b="0" i="0" u="none" strike="noStrike" kern="1200" cap="none" spc="0" normalizeH="0" baseline="30000" noProof="0" dirty="0">
                <a:ln>
                  <a:noFill/>
                </a:ln>
                <a:solidFill>
                  <a:srgbClr val="000000"/>
                </a:solidFill>
                <a:effectLst/>
                <a:uLnTx/>
                <a:uFillTx/>
                <a:latin typeface="Bahnschrift" panose="020B0502040204020203" pitchFamily="34" charset="0"/>
                <a:ea typeface="+mn-ea"/>
                <a:cs typeface="+mn-cs"/>
              </a:rPr>
              <a:t>2</a:t>
            </a:r>
            <a:r>
              <a:rPr kumimoji="0" lang="de-DE" sz="16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rPr>
              <a:t> </a:t>
            </a:r>
          </a:p>
        </p:txBody>
      </p:sp>
      <p:sp>
        <p:nvSpPr>
          <p:cNvPr id="61" name="TextBox 60">
            <a:extLst>
              <a:ext uri="{FF2B5EF4-FFF2-40B4-BE49-F238E27FC236}">
                <a16:creationId xmlns:a16="http://schemas.microsoft.com/office/drawing/2014/main" id="{FF1DE951-591B-4030-8A6C-C20DAA078151}"/>
              </a:ext>
            </a:extLst>
          </p:cNvPr>
          <p:cNvSpPr txBox="1"/>
          <p:nvPr/>
        </p:nvSpPr>
        <p:spPr>
          <a:xfrm>
            <a:off x="6617543" y="3010282"/>
            <a:ext cx="166104" cy="246221"/>
          </a:xfrm>
          <a:prstGeom prst="rect">
            <a:avLst/>
          </a:prstGeom>
        </p:spPr>
        <p:txBody>
          <a:bodyPr vert="horz" wrap="square" lIns="0" tIns="0" rIns="0" bIns="0" rtlCol="0">
            <a:spAutoFit/>
          </a:bodyPr>
          <a:lstStyle>
            <a:lvl1pPr marL="469900" lvl="0" indent="-469900" eaLnBrk="1" hangingPunct="1">
              <a:spcBef>
                <a:spcPct val="20000"/>
              </a:spcBef>
              <a:buClr>
                <a:srgbClr val="ED1C24"/>
              </a:buClr>
              <a:buFont typeface="Arial" panose="020B0604020202020204" pitchFamily="34" charset="0"/>
              <a:buChar char="•"/>
              <a:defRPr sz="2200">
                <a:latin typeface="Bahnschrift" panose="020B0502040204020203" pitchFamily="34" charset="0"/>
              </a:defRPr>
            </a:lvl1pPr>
            <a:lvl2pPr marL="908050" lvl="1" indent="-436563" eaLnBrk="1" hangingPunct="1">
              <a:spcBef>
                <a:spcPct val="20000"/>
              </a:spcBef>
              <a:buClr>
                <a:schemeClr val="tx1"/>
              </a:buClr>
              <a:buFont typeface="Symbol" panose="05050102010706020507" pitchFamily="18" charset="2"/>
              <a:buChar char="-"/>
              <a:defRPr sz="2000">
                <a:latin typeface="Bahnschrift" panose="020B0502040204020203" pitchFamily="34" charset="0"/>
              </a:defRPr>
            </a:lvl2pPr>
            <a:lvl3pPr marL="1304925" lvl="2" indent="-395288" eaLnBrk="1" hangingPunct="1">
              <a:spcBef>
                <a:spcPct val="20000"/>
              </a:spcBef>
              <a:buClr>
                <a:srgbClr val="6F6F6F"/>
              </a:buClr>
              <a:buFont typeface="Symbol" pitchFamily="18" charset="2"/>
              <a:buChar char="-"/>
              <a:defRPr sz="1800">
                <a:latin typeface="Bahnschrift" panose="020B0502040204020203" pitchFamily="34" charset="0"/>
              </a:defRPr>
            </a:lvl3pPr>
            <a:lvl4pPr marL="1693863" lvl="3" indent="-387350" eaLnBrk="1" hangingPunct="1">
              <a:spcBef>
                <a:spcPct val="20000"/>
              </a:spcBef>
              <a:buClr>
                <a:srgbClr val="6F6F6F"/>
              </a:buClr>
              <a:buFont typeface="Symbol" pitchFamily="18" charset="2"/>
              <a:buChar char="-"/>
              <a:defRPr sz="1800">
                <a:latin typeface="Bahnschrift" panose="020B0502040204020203" pitchFamily="34" charset="0"/>
              </a:defRPr>
            </a:lvl4pPr>
            <a:lvl5pPr marL="2093913" lvl="4" indent="-398463" eaLnBrk="1" hangingPunct="1">
              <a:spcBef>
                <a:spcPct val="25000"/>
              </a:spcBef>
              <a:buClr>
                <a:srgbClr val="6F6F6F"/>
              </a:buClr>
              <a:buFont typeface="Symbol" pitchFamily="18" charset="2"/>
              <a:buChar char="-"/>
              <a:defRPr sz="1800">
                <a:latin typeface="Bahnschrift" panose="020B0502040204020203" pitchFamily="34" charset="0"/>
              </a:defRPr>
            </a:lvl5pPr>
            <a:lvl6pPr marL="2551113" indent="-398463" fontAlgn="base">
              <a:spcBef>
                <a:spcPct val="25000"/>
              </a:spcBef>
              <a:spcAft>
                <a:spcPct val="0"/>
              </a:spcAft>
              <a:buClr>
                <a:schemeClr val="accent2"/>
              </a:buClr>
              <a:buFont typeface="Wingdings" pitchFamily="2" charset="2"/>
              <a:buChar char="§"/>
              <a:defRPr sz="2000">
                <a:latin typeface="+mn-lt"/>
              </a:defRPr>
            </a:lvl6pPr>
            <a:lvl7pPr marL="3008313" indent="-398463" fontAlgn="base">
              <a:spcBef>
                <a:spcPct val="25000"/>
              </a:spcBef>
              <a:spcAft>
                <a:spcPct val="0"/>
              </a:spcAft>
              <a:buClr>
                <a:schemeClr val="accent2"/>
              </a:buClr>
              <a:buFont typeface="Wingdings" pitchFamily="2" charset="2"/>
              <a:buChar char="§"/>
              <a:defRPr sz="2000">
                <a:latin typeface="+mn-lt"/>
              </a:defRPr>
            </a:lvl7pPr>
            <a:lvl8pPr marL="3465513" indent="-398463" fontAlgn="base">
              <a:spcBef>
                <a:spcPct val="25000"/>
              </a:spcBef>
              <a:spcAft>
                <a:spcPct val="0"/>
              </a:spcAft>
              <a:buClr>
                <a:schemeClr val="accent2"/>
              </a:buClr>
              <a:buFont typeface="Wingdings" pitchFamily="2" charset="2"/>
              <a:buChar char="§"/>
              <a:defRPr sz="2000">
                <a:latin typeface="+mn-lt"/>
              </a:defRPr>
            </a:lvl8pPr>
            <a:lvl9pPr marL="3922713" indent="-398463" fontAlgn="base">
              <a:spcBef>
                <a:spcPct val="25000"/>
              </a:spcBef>
              <a:spcAft>
                <a:spcPct val="0"/>
              </a:spcAft>
              <a:buClr>
                <a:schemeClr val="accent2"/>
              </a:buClr>
              <a:buFont typeface="Wingdings" pitchFamily="2" charset="2"/>
              <a:buChar char="§"/>
              <a:defRPr sz="2000">
                <a:latin typeface="+mn-lt"/>
              </a:defRPr>
            </a:lvl9pPr>
          </a:lstStyle>
          <a:p>
            <a:pPr marL="0" marR="0" lvl="0" indent="0" algn="l" defTabSz="914400" rtl="0" eaLnBrk="1" fontAlgn="auto" latinLnBrk="0" hangingPunct="1">
              <a:lnSpc>
                <a:spcPct val="100000"/>
              </a:lnSpc>
              <a:spcBef>
                <a:spcPct val="20000"/>
              </a:spcBef>
              <a:spcAft>
                <a:spcPts val="0"/>
              </a:spcAft>
              <a:buClr>
                <a:srgbClr val="ED1C24"/>
              </a:buClr>
              <a:buSzTx/>
              <a:buFont typeface="Arial" panose="020B0604020202020204" pitchFamily="34" charset="0"/>
              <a:buNone/>
              <a:tabLst/>
              <a:defRPr/>
            </a:pPr>
            <a:r>
              <a:rPr kumimoji="0" lang="de-DE" sz="1600" b="0" i="0" u="none" strike="noStrike" kern="1200" cap="none" spc="0" normalizeH="0" baseline="30000" noProof="0" dirty="0">
                <a:ln>
                  <a:noFill/>
                </a:ln>
                <a:solidFill>
                  <a:srgbClr val="000000"/>
                </a:solidFill>
                <a:effectLst/>
                <a:uLnTx/>
                <a:uFillTx/>
                <a:latin typeface="Bahnschrift" panose="020B0502040204020203" pitchFamily="34" charset="0"/>
                <a:ea typeface="+mn-ea"/>
                <a:cs typeface="+mn-cs"/>
              </a:rPr>
              <a:t>3</a:t>
            </a:r>
            <a:r>
              <a:rPr kumimoji="0" lang="de-DE" sz="16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rPr>
              <a:t> </a:t>
            </a:r>
          </a:p>
        </p:txBody>
      </p:sp>
      <p:sp>
        <p:nvSpPr>
          <p:cNvPr id="62" name="TextBox 61">
            <a:extLst>
              <a:ext uri="{FF2B5EF4-FFF2-40B4-BE49-F238E27FC236}">
                <a16:creationId xmlns:a16="http://schemas.microsoft.com/office/drawing/2014/main" id="{243EDD25-89DC-496C-8751-71386E589668}"/>
              </a:ext>
            </a:extLst>
          </p:cNvPr>
          <p:cNvSpPr txBox="1"/>
          <p:nvPr/>
        </p:nvSpPr>
        <p:spPr>
          <a:xfrm>
            <a:off x="7667123" y="1912947"/>
            <a:ext cx="166104" cy="246221"/>
          </a:xfrm>
          <a:prstGeom prst="rect">
            <a:avLst/>
          </a:prstGeom>
        </p:spPr>
        <p:txBody>
          <a:bodyPr vert="horz" wrap="square" lIns="0" tIns="0" rIns="0" bIns="0" rtlCol="0">
            <a:spAutoFit/>
          </a:bodyPr>
          <a:lstStyle>
            <a:lvl1pPr marL="469900" lvl="0" indent="-469900" eaLnBrk="1" hangingPunct="1">
              <a:spcBef>
                <a:spcPct val="20000"/>
              </a:spcBef>
              <a:buClr>
                <a:srgbClr val="ED1C24"/>
              </a:buClr>
              <a:buFont typeface="Arial" panose="020B0604020202020204" pitchFamily="34" charset="0"/>
              <a:buChar char="•"/>
              <a:defRPr sz="2200">
                <a:latin typeface="Bahnschrift" panose="020B0502040204020203" pitchFamily="34" charset="0"/>
              </a:defRPr>
            </a:lvl1pPr>
            <a:lvl2pPr marL="908050" lvl="1" indent="-436563" eaLnBrk="1" hangingPunct="1">
              <a:spcBef>
                <a:spcPct val="20000"/>
              </a:spcBef>
              <a:buClr>
                <a:schemeClr val="tx1"/>
              </a:buClr>
              <a:buFont typeface="Symbol" panose="05050102010706020507" pitchFamily="18" charset="2"/>
              <a:buChar char="-"/>
              <a:defRPr sz="2000">
                <a:latin typeface="Bahnschrift" panose="020B0502040204020203" pitchFamily="34" charset="0"/>
              </a:defRPr>
            </a:lvl2pPr>
            <a:lvl3pPr marL="1304925" lvl="2" indent="-395288" eaLnBrk="1" hangingPunct="1">
              <a:spcBef>
                <a:spcPct val="20000"/>
              </a:spcBef>
              <a:buClr>
                <a:srgbClr val="6F6F6F"/>
              </a:buClr>
              <a:buFont typeface="Symbol" pitchFamily="18" charset="2"/>
              <a:buChar char="-"/>
              <a:defRPr sz="1800">
                <a:latin typeface="Bahnschrift" panose="020B0502040204020203" pitchFamily="34" charset="0"/>
              </a:defRPr>
            </a:lvl3pPr>
            <a:lvl4pPr marL="1693863" lvl="3" indent="-387350" eaLnBrk="1" hangingPunct="1">
              <a:spcBef>
                <a:spcPct val="20000"/>
              </a:spcBef>
              <a:buClr>
                <a:srgbClr val="6F6F6F"/>
              </a:buClr>
              <a:buFont typeface="Symbol" pitchFamily="18" charset="2"/>
              <a:buChar char="-"/>
              <a:defRPr sz="1800">
                <a:latin typeface="Bahnschrift" panose="020B0502040204020203" pitchFamily="34" charset="0"/>
              </a:defRPr>
            </a:lvl4pPr>
            <a:lvl5pPr marL="2093913" lvl="4" indent="-398463" eaLnBrk="1" hangingPunct="1">
              <a:spcBef>
                <a:spcPct val="25000"/>
              </a:spcBef>
              <a:buClr>
                <a:srgbClr val="6F6F6F"/>
              </a:buClr>
              <a:buFont typeface="Symbol" pitchFamily="18" charset="2"/>
              <a:buChar char="-"/>
              <a:defRPr sz="1800">
                <a:latin typeface="Bahnschrift" panose="020B0502040204020203" pitchFamily="34" charset="0"/>
              </a:defRPr>
            </a:lvl5pPr>
            <a:lvl6pPr marL="2551113" indent="-398463" fontAlgn="base">
              <a:spcBef>
                <a:spcPct val="25000"/>
              </a:spcBef>
              <a:spcAft>
                <a:spcPct val="0"/>
              </a:spcAft>
              <a:buClr>
                <a:schemeClr val="accent2"/>
              </a:buClr>
              <a:buFont typeface="Wingdings" pitchFamily="2" charset="2"/>
              <a:buChar char="§"/>
              <a:defRPr sz="2000">
                <a:latin typeface="+mn-lt"/>
              </a:defRPr>
            </a:lvl6pPr>
            <a:lvl7pPr marL="3008313" indent="-398463" fontAlgn="base">
              <a:spcBef>
                <a:spcPct val="25000"/>
              </a:spcBef>
              <a:spcAft>
                <a:spcPct val="0"/>
              </a:spcAft>
              <a:buClr>
                <a:schemeClr val="accent2"/>
              </a:buClr>
              <a:buFont typeface="Wingdings" pitchFamily="2" charset="2"/>
              <a:buChar char="§"/>
              <a:defRPr sz="2000">
                <a:latin typeface="+mn-lt"/>
              </a:defRPr>
            </a:lvl7pPr>
            <a:lvl8pPr marL="3465513" indent="-398463" fontAlgn="base">
              <a:spcBef>
                <a:spcPct val="25000"/>
              </a:spcBef>
              <a:spcAft>
                <a:spcPct val="0"/>
              </a:spcAft>
              <a:buClr>
                <a:schemeClr val="accent2"/>
              </a:buClr>
              <a:buFont typeface="Wingdings" pitchFamily="2" charset="2"/>
              <a:buChar char="§"/>
              <a:defRPr sz="2000">
                <a:latin typeface="+mn-lt"/>
              </a:defRPr>
            </a:lvl8pPr>
            <a:lvl9pPr marL="3922713" indent="-398463" fontAlgn="base">
              <a:spcBef>
                <a:spcPct val="25000"/>
              </a:spcBef>
              <a:spcAft>
                <a:spcPct val="0"/>
              </a:spcAft>
              <a:buClr>
                <a:schemeClr val="accent2"/>
              </a:buClr>
              <a:buFont typeface="Wingdings" pitchFamily="2" charset="2"/>
              <a:buChar char="§"/>
              <a:defRPr sz="2000">
                <a:latin typeface="+mn-lt"/>
              </a:defRPr>
            </a:lvl9pPr>
          </a:lstStyle>
          <a:p>
            <a:pPr marL="0" marR="0" lvl="0" indent="0" algn="l" defTabSz="914400" rtl="0" eaLnBrk="1" fontAlgn="auto" latinLnBrk="0" hangingPunct="1">
              <a:lnSpc>
                <a:spcPct val="100000"/>
              </a:lnSpc>
              <a:spcBef>
                <a:spcPct val="20000"/>
              </a:spcBef>
              <a:spcAft>
                <a:spcPts val="0"/>
              </a:spcAft>
              <a:buClr>
                <a:srgbClr val="ED1C24"/>
              </a:buClr>
              <a:buSzTx/>
              <a:buFont typeface="Arial" panose="020B0604020202020204" pitchFamily="34" charset="0"/>
              <a:buNone/>
              <a:tabLst/>
              <a:defRPr/>
            </a:pPr>
            <a:r>
              <a:rPr kumimoji="0" lang="de-DE" sz="1600" b="0" i="0" u="none" strike="noStrike" kern="1200" cap="none" spc="0" normalizeH="0" baseline="30000" noProof="0" dirty="0">
                <a:ln>
                  <a:noFill/>
                </a:ln>
                <a:solidFill>
                  <a:srgbClr val="000000"/>
                </a:solidFill>
                <a:effectLst/>
                <a:uLnTx/>
                <a:uFillTx/>
                <a:latin typeface="Bahnschrift" panose="020B0502040204020203" pitchFamily="34" charset="0"/>
                <a:ea typeface="+mn-ea"/>
                <a:cs typeface="+mn-cs"/>
              </a:rPr>
              <a:t>4</a:t>
            </a:r>
            <a:r>
              <a:rPr kumimoji="0" lang="de-DE" sz="16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rPr>
              <a:t> </a:t>
            </a:r>
          </a:p>
        </p:txBody>
      </p:sp>
      <p:sp>
        <p:nvSpPr>
          <p:cNvPr id="63" name="TextBox 62">
            <a:extLst>
              <a:ext uri="{FF2B5EF4-FFF2-40B4-BE49-F238E27FC236}">
                <a16:creationId xmlns:a16="http://schemas.microsoft.com/office/drawing/2014/main" id="{522E48DA-7D2E-4149-BD1B-E1BD7CA05772}"/>
              </a:ext>
            </a:extLst>
          </p:cNvPr>
          <p:cNvSpPr txBox="1"/>
          <p:nvPr/>
        </p:nvSpPr>
        <p:spPr>
          <a:xfrm>
            <a:off x="7667123" y="3253274"/>
            <a:ext cx="166104" cy="246221"/>
          </a:xfrm>
          <a:prstGeom prst="rect">
            <a:avLst/>
          </a:prstGeom>
        </p:spPr>
        <p:txBody>
          <a:bodyPr vert="horz" wrap="square" lIns="0" tIns="0" rIns="0" bIns="0" rtlCol="0">
            <a:spAutoFit/>
          </a:bodyPr>
          <a:lstStyle>
            <a:lvl1pPr marL="469900" lvl="0" indent="-469900" eaLnBrk="1" hangingPunct="1">
              <a:spcBef>
                <a:spcPct val="20000"/>
              </a:spcBef>
              <a:buClr>
                <a:srgbClr val="ED1C24"/>
              </a:buClr>
              <a:buFont typeface="Arial" panose="020B0604020202020204" pitchFamily="34" charset="0"/>
              <a:buChar char="•"/>
              <a:defRPr sz="2200">
                <a:latin typeface="Bahnschrift" panose="020B0502040204020203" pitchFamily="34" charset="0"/>
              </a:defRPr>
            </a:lvl1pPr>
            <a:lvl2pPr marL="908050" lvl="1" indent="-436563" eaLnBrk="1" hangingPunct="1">
              <a:spcBef>
                <a:spcPct val="20000"/>
              </a:spcBef>
              <a:buClr>
                <a:schemeClr val="tx1"/>
              </a:buClr>
              <a:buFont typeface="Symbol" panose="05050102010706020507" pitchFamily="18" charset="2"/>
              <a:buChar char="-"/>
              <a:defRPr sz="2000">
                <a:latin typeface="Bahnschrift" panose="020B0502040204020203" pitchFamily="34" charset="0"/>
              </a:defRPr>
            </a:lvl2pPr>
            <a:lvl3pPr marL="1304925" lvl="2" indent="-395288" eaLnBrk="1" hangingPunct="1">
              <a:spcBef>
                <a:spcPct val="20000"/>
              </a:spcBef>
              <a:buClr>
                <a:srgbClr val="6F6F6F"/>
              </a:buClr>
              <a:buFont typeface="Symbol" pitchFamily="18" charset="2"/>
              <a:buChar char="-"/>
              <a:defRPr sz="1800">
                <a:latin typeface="Bahnschrift" panose="020B0502040204020203" pitchFamily="34" charset="0"/>
              </a:defRPr>
            </a:lvl3pPr>
            <a:lvl4pPr marL="1693863" lvl="3" indent="-387350" eaLnBrk="1" hangingPunct="1">
              <a:spcBef>
                <a:spcPct val="20000"/>
              </a:spcBef>
              <a:buClr>
                <a:srgbClr val="6F6F6F"/>
              </a:buClr>
              <a:buFont typeface="Symbol" pitchFamily="18" charset="2"/>
              <a:buChar char="-"/>
              <a:defRPr sz="1800">
                <a:latin typeface="Bahnschrift" panose="020B0502040204020203" pitchFamily="34" charset="0"/>
              </a:defRPr>
            </a:lvl4pPr>
            <a:lvl5pPr marL="2093913" lvl="4" indent="-398463" eaLnBrk="1" hangingPunct="1">
              <a:spcBef>
                <a:spcPct val="25000"/>
              </a:spcBef>
              <a:buClr>
                <a:srgbClr val="6F6F6F"/>
              </a:buClr>
              <a:buFont typeface="Symbol" pitchFamily="18" charset="2"/>
              <a:buChar char="-"/>
              <a:defRPr sz="1800">
                <a:latin typeface="Bahnschrift" panose="020B0502040204020203" pitchFamily="34" charset="0"/>
              </a:defRPr>
            </a:lvl5pPr>
            <a:lvl6pPr marL="2551113" indent="-398463" fontAlgn="base">
              <a:spcBef>
                <a:spcPct val="25000"/>
              </a:spcBef>
              <a:spcAft>
                <a:spcPct val="0"/>
              </a:spcAft>
              <a:buClr>
                <a:schemeClr val="accent2"/>
              </a:buClr>
              <a:buFont typeface="Wingdings" pitchFamily="2" charset="2"/>
              <a:buChar char="§"/>
              <a:defRPr sz="2000">
                <a:latin typeface="+mn-lt"/>
              </a:defRPr>
            </a:lvl6pPr>
            <a:lvl7pPr marL="3008313" indent="-398463" fontAlgn="base">
              <a:spcBef>
                <a:spcPct val="25000"/>
              </a:spcBef>
              <a:spcAft>
                <a:spcPct val="0"/>
              </a:spcAft>
              <a:buClr>
                <a:schemeClr val="accent2"/>
              </a:buClr>
              <a:buFont typeface="Wingdings" pitchFamily="2" charset="2"/>
              <a:buChar char="§"/>
              <a:defRPr sz="2000">
                <a:latin typeface="+mn-lt"/>
              </a:defRPr>
            </a:lvl7pPr>
            <a:lvl8pPr marL="3465513" indent="-398463" fontAlgn="base">
              <a:spcBef>
                <a:spcPct val="25000"/>
              </a:spcBef>
              <a:spcAft>
                <a:spcPct val="0"/>
              </a:spcAft>
              <a:buClr>
                <a:schemeClr val="accent2"/>
              </a:buClr>
              <a:buFont typeface="Wingdings" pitchFamily="2" charset="2"/>
              <a:buChar char="§"/>
              <a:defRPr sz="2000">
                <a:latin typeface="+mn-lt"/>
              </a:defRPr>
            </a:lvl8pPr>
            <a:lvl9pPr marL="3922713" indent="-398463" fontAlgn="base">
              <a:spcBef>
                <a:spcPct val="25000"/>
              </a:spcBef>
              <a:spcAft>
                <a:spcPct val="0"/>
              </a:spcAft>
              <a:buClr>
                <a:schemeClr val="accent2"/>
              </a:buClr>
              <a:buFont typeface="Wingdings" pitchFamily="2" charset="2"/>
              <a:buChar char="§"/>
              <a:defRPr sz="2000">
                <a:latin typeface="+mn-lt"/>
              </a:defRPr>
            </a:lvl9pPr>
          </a:lstStyle>
          <a:p>
            <a:pPr marL="0" marR="0" lvl="0" indent="0" algn="l" defTabSz="914400" rtl="0" eaLnBrk="1" fontAlgn="auto" latinLnBrk="0" hangingPunct="1">
              <a:lnSpc>
                <a:spcPct val="100000"/>
              </a:lnSpc>
              <a:spcBef>
                <a:spcPct val="20000"/>
              </a:spcBef>
              <a:spcAft>
                <a:spcPts val="0"/>
              </a:spcAft>
              <a:buClr>
                <a:srgbClr val="ED1C24"/>
              </a:buClr>
              <a:buSzTx/>
              <a:buFont typeface="Arial" panose="020B0604020202020204" pitchFamily="34" charset="0"/>
              <a:buNone/>
              <a:tabLst/>
              <a:defRPr/>
            </a:pPr>
            <a:r>
              <a:rPr kumimoji="0" lang="de-DE" sz="1600" b="0" i="0" u="none" strike="noStrike" kern="1200" cap="none" spc="0" normalizeH="0" baseline="30000" noProof="0" dirty="0">
                <a:ln>
                  <a:noFill/>
                </a:ln>
                <a:solidFill>
                  <a:srgbClr val="000000"/>
                </a:solidFill>
                <a:effectLst/>
                <a:uLnTx/>
                <a:uFillTx/>
                <a:latin typeface="Bahnschrift" panose="020B0502040204020203" pitchFamily="34" charset="0"/>
                <a:ea typeface="+mn-ea"/>
                <a:cs typeface="+mn-cs"/>
              </a:rPr>
              <a:t>5</a:t>
            </a:r>
            <a:r>
              <a:rPr kumimoji="0" lang="de-DE" sz="16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rPr>
              <a:t> </a:t>
            </a:r>
          </a:p>
        </p:txBody>
      </p:sp>
      <p:sp>
        <p:nvSpPr>
          <p:cNvPr id="64" name="TextBox 63">
            <a:extLst>
              <a:ext uri="{FF2B5EF4-FFF2-40B4-BE49-F238E27FC236}">
                <a16:creationId xmlns:a16="http://schemas.microsoft.com/office/drawing/2014/main" id="{969509A0-63F2-4279-856E-EC3EC5DB82EF}"/>
              </a:ext>
            </a:extLst>
          </p:cNvPr>
          <p:cNvSpPr txBox="1"/>
          <p:nvPr/>
        </p:nvSpPr>
        <p:spPr>
          <a:xfrm>
            <a:off x="7566026" y="3864689"/>
            <a:ext cx="166104" cy="246221"/>
          </a:xfrm>
          <a:prstGeom prst="rect">
            <a:avLst/>
          </a:prstGeom>
        </p:spPr>
        <p:txBody>
          <a:bodyPr vert="horz" wrap="square" lIns="0" tIns="0" rIns="0" bIns="0" rtlCol="0">
            <a:spAutoFit/>
          </a:bodyPr>
          <a:lstStyle>
            <a:lvl1pPr marL="469900" lvl="0" indent="-469900" eaLnBrk="1" hangingPunct="1">
              <a:spcBef>
                <a:spcPct val="20000"/>
              </a:spcBef>
              <a:buClr>
                <a:srgbClr val="ED1C24"/>
              </a:buClr>
              <a:buFont typeface="Arial" panose="020B0604020202020204" pitchFamily="34" charset="0"/>
              <a:buChar char="•"/>
              <a:defRPr sz="2200">
                <a:latin typeface="Bahnschrift" panose="020B0502040204020203" pitchFamily="34" charset="0"/>
              </a:defRPr>
            </a:lvl1pPr>
            <a:lvl2pPr marL="908050" lvl="1" indent="-436563" eaLnBrk="1" hangingPunct="1">
              <a:spcBef>
                <a:spcPct val="20000"/>
              </a:spcBef>
              <a:buClr>
                <a:schemeClr val="tx1"/>
              </a:buClr>
              <a:buFont typeface="Symbol" panose="05050102010706020507" pitchFamily="18" charset="2"/>
              <a:buChar char="-"/>
              <a:defRPr sz="2000">
                <a:latin typeface="Bahnschrift" panose="020B0502040204020203" pitchFamily="34" charset="0"/>
              </a:defRPr>
            </a:lvl2pPr>
            <a:lvl3pPr marL="1304925" lvl="2" indent="-395288" eaLnBrk="1" hangingPunct="1">
              <a:spcBef>
                <a:spcPct val="20000"/>
              </a:spcBef>
              <a:buClr>
                <a:srgbClr val="6F6F6F"/>
              </a:buClr>
              <a:buFont typeface="Symbol" pitchFamily="18" charset="2"/>
              <a:buChar char="-"/>
              <a:defRPr sz="1800">
                <a:latin typeface="Bahnschrift" panose="020B0502040204020203" pitchFamily="34" charset="0"/>
              </a:defRPr>
            </a:lvl3pPr>
            <a:lvl4pPr marL="1693863" lvl="3" indent="-387350" eaLnBrk="1" hangingPunct="1">
              <a:spcBef>
                <a:spcPct val="20000"/>
              </a:spcBef>
              <a:buClr>
                <a:srgbClr val="6F6F6F"/>
              </a:buClr>
              <a:buFont typeface="Symbol" pitchFamily="18" charset="2"/>
              <a:buChar char="-"/>
              <a:defRPr sz="1800">
                <a:latin typeface="Bahnschrift" panose="020B0502040204020203" pitchFamily="34" charset="0"/>
              </a:defRPr>
            </a:lvl4pPr>
            <a:lvl5pPr marL="2093913" lvl="4" indent="-398463" eaLnBrk="1" hangingPunct="1">
              <a:spcBef>
                <a:spcPct val="25000"/>
              </a:spcBef>
              <a:buClr>
                <a:srgbClr val="6F6F6F"/>
              </a:buClr>
              <a:buFont typeface="Symbol" pitchFamily="18" charset="2"/>
              <a:buChar char="-"/>
              <a:defRPr sz="1800">
                <a:latin typeface="Bahnschrift" panose="020B0502040204020203" pitchFamily="34" charset="0"/>
              </a:defRPr>
            </a:lvl5pPr>
            <a:lvl6pPr marL="2551113" indent="-398463" fontAlgn="base">
              <a:spcBef>
                <a:spcPct val="25000"/>
              </a:spcBef>
              <a:spcAft>
                <a:spcPct val="0"/>
              </a:spcAft>
              <a:buClr>
                <a:schemeClr val="accent2"/>
              </a:buClr>
              <a:buFont typeface="Wingdings" pitchFamily="2" charset="2"/>
              <a:buChar char="§"/>
              <a:defRPr sz="2000">
                <a:latin typeface="+mn-lt"/>
              </a:defRPr>
            </a:lvl6pPr>
            <a:lvl7pPr marL="3008313" indent="-398463" fontAlgn="base">
              <a:spcBef>
                <a:spcPct val="25000"/>
              </a:spcBef>
              <a:spcAft>
                <a:spcPct val="0"/>
              </a:spcAft>
              <a:buClr>
                <a:schemeClr val="accent2"/>
              </a:buClr>
              <a:buFont typeface="Wingdings" pitchFamily="2" charset="2"/>
              <a:buChar char="§"/>
              <a:defRPr sz="2000">
                <a:latin typeface="+mn-lt"/>
              </a:defRPr>
            </a:lvl7pPr>
            <a:lvl8pPr marL="3465513" indent="-398463" fontAlgn="base">
              <a:spcBef>
                <a:spcPct val="25000"/>
              </a:spcBef>
              <a:spcAft>
                <a:spcPct val="0"/>
              </a:spcAft>
              <a:buClr>
                <a:schemeClr val="accent2"/>
              </a:buClr>
              <a:buFont typeface="Wingdings" pitchFamily="2" charset="2"/>
              <a:buChar char="§"/>
              <a:defRPr sz="2000">
                <a:latin typeface="+mn-lt"/>
              </a:defRPr>
            </a:lvl8pPr>
            <a:lvl9pPr marL="3922713" indent="-398463" fontAlgn="base">
              <a:spcBef>
                <a:spcPct val="25000"/>
              </a:spcBef>
              <a:spcAft>
                <a:spcPct val="0"/>
              </a:spcAft>
              <a:buClr>
                <a:schemeClr val="accent2"/>
              </a:buClr>
              <a:buFont typeface="Wingdings" pitchFamily="2" charset="2"/>
              <a:buChar char="§"/>
              <a:defRPr sz="2000">
                <a:latin typeface="+mn-lt"/>
              </a:defRPr>
            </a:lvl9pPr>
          </a:lstStyle>
          <a:p>
            <a:pPr marL="0" marR="0" lvl="0" indent="0" algn="l" defTabSz="914400" rtl="0" eaLnBrk="1" fontAlgn="auto" latinLnBrk="0" hangingPunct="1">
              <a:lnSpc>
                <a:spcPct val="100000"/>
              </a:lnSpc>
              <a:spcBef>
                <a:spcPct val="20000"/>
              </a:spcBef>
              <a:spcAft>
                <a:spcPts val="0"/>
              </a:spcAft>
              <a:buClr>
                <a:srgbClr val="ED1C24"/>
              </a:buClr>
              <a:buSzTx/>
              <a:buFont typeface="Arial" panose="020B0604020202020204" pitchFamily="34" charset="0"/>
              <a:buNone/>
              <a:tabLst/>
              <a:defRPr/>
            </a:pPr>
            <a:r>
              <a:rPr kumimoji="0" lang="de-DE" sz="1600" b="0" i="0" u="none" strike="noStrike" kern="1200" cap="none" spc="0" normalizeH="0" baseline="30000" noProof="0" dirty="0">
                <a:ln>
                  <a:noFill/>
                </a:ln>
                <a:solidFill>
                  <a:srgbClr val="000000"/>
                </a:solidFill>
                <a:effectLst/>
                <a:uLnTx/>
                <a:uFillTx/>
                <a:latin typeface="Bahnschrift" panose="020B0502040204020203" pitchFamily="34" charset="0"/>
                <a:ea typeface="+mn-ea"/>
                <a:cs typeface="+mn-cs"/>
              </a:rPr>
              <a:t>6</a:t>
            </a:r>
            <a:r>
              <a:rPr kumimoji="0" lang="de-DE" sz="16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rPr>
              <a:t> </a:t>
            </a:r>
          </a:p>
        </p:txBody>
      </p:sp>
      <p:sp>
        <p:nvSpPr>
          <p:cNvPr id="77" name="TextBox 76">
            <a:extLst>
              <a:ext uri="{FF2B5EF4-FFF2-40B4-BE49-F238E27FC236}">
                <a16:creationId xmlns:a16="http://schemas.microsoft.com/office/drawing/2014/main" id="{72687579-3A5E-4D9B-B9D0-318EBFC10C58}"/>
              </a:ext>
            </a:extLst>
          </p:cNvPr>
          <p:cNvSpPr txBox="1"/>
          <p:nvPr/>
        </p:nvSpPr>
        <p:spPr>
          <a:xfrm>
            <a:off x="5484285" y="4237761"/>
            <a:ext cx="166104" cy="246221"/>
          </a:xfrm>
          <a:prstGeom prst="rect">
            <a:avLst/>
          </a:prstGeom>
        </p:spPr>
        <p:txBody>
          <a:bodyPr vert="horz" wrap="square" lIns="0" tIns="0" rIns="0" bIns="0" rtlCol="0">
            <a:spAutoFit/>
          </a:bodyPr>
          <a:lstStyle>
            <a:lvl1pPr marL="469900" lvl="0" indent="-469900" eaLnBrk="1" hangingPunct="1">
              <a:spcBef>
                <a:spcPct val="20000"/>
              </a:spcBef>
              <a:buClr>
                <a:srgbClr val="ED1C24"/>
              </a:buClr>
              <a:buFont typeface="Arial" panose="020B0604020202020204" pitchFamily="34" charset="0"/>
              <a:buChar char="•"/>
              <a:defRPr sz="2200">
                <a:latin typeface="Bahnschrift" panose="020B0502040204020203" pitchFamily="34" charset="0"/>
              </a:defRPr>
            </a:lvl1pPr>
            <a:lvl2pPr marL="908050" lvl="1" indent="-436563" eaLnBrk="1" hangingPunct="1">
              <a:spcBef>
                <a:spcPct val="20000"/>
              </a:spcBef>
              <a:buClr>
                <a:schemeClr val="tx1"/>
              </a:buClr>
              <a:buFont typeface="Symbol" panose="05050102010706020507" pitchFamily="18" charset="2"/>
              <a:buChar char="-"/>
              <a:defRPr sz="2000">
                <a:latin typeface="Bahnschrift" panose="020B0502040204020203" pitchFamily="34" charset="0"/>
              </a:defRPr>
            </a:lvl2pPr>
            <a:lvl3pPr marL="1304925" lvl="2" indent="-395288" eaLnBrk="1" hangingPunct="1">
              <a:spcBef>
                <a:spcPct val="20000"/>
              </a:spcBef>
              <a:buClr>
                <a:srgbClr val="6F6F6F"/>
              </a:buClr>
              <a:buFont typeface="Symbol" pitchFamily="18" charset="2"/>
              <a:buChar char="-"/>
              <a:defRPr sz="1800">
                <a:latin typeface="Bahnschrift" panose="020B0502040204020203" pitchFamily="34" charset="0"/>
              </a:defRPr>
            </a:lvl3pPr>
            <a:lvl4pPr marL="1693863" lvl="3" indent="-387350" eaLnBrk="1" hangingPunct="1">
              <a:spcBef>
                <a:spcPct val="20000"/>
              </a:spcBef>
              <a:buClr>
                <a:srgbClr val="6F6F6F"/>
              </a:buClr>
              <a:buFont typeface="Symbol" pitchFamily="18" charset="2"/>
              <a:buChar char="-"/>
              <a:defRPr sz="1800">
                <a:latin typeface="Bahnschrift" panose="020B0502040204020203" pitchFamily="34" charset="0"/>
              </a:defRPr>
            </a:lvl4pPr>
            <a:lvl5pPr marL="2093913" lvl="4" indent="-398463" eaLnBrk="1" hangingPunct="1">
              <a:spcBef>
                <a:spcPct val="25000"/>
              </a:spcBef>
              <a:buClr>
                <a:srgbClr val="6F6F6F"/>
              </a:buClr>
              <a:buFont typeface="Symbol" pitchFamily="18" charset="2"/>
              <a:buChar char="-"/>
              <a:defRPr sz="1800">
                <a:latin typeface="Bahnschrift" panose="020B0502040204020203" pitchFamily="34" charset="0"/>
              </a:defRPr>
            </a:lvl5pPr>
            <a:lvl6pPr marL="2551113" indent="-398463" fontAlgn="base">
              <a:spcBef>
                <a:spcPct val="25000"/>
              </a:spcBef>
              <a:spcAft>
                <a:spcPct val="0"/>
              </a:spcAft>
              <a:buClr>
                <a:schemeClr val="accent2"/>
              </a:buClr>
              <a:buFont typeface="Wingdings" pitchFamily="2" charset="2"/>
              <a:buChar char="§"/>
              <a:defRPr sz="2000">
                <a:latin typeface="+mn-lt"/>
              </a:defRPr>
            </a:lvl6pPr>
            <a:lvl7pPr marL="3008313" indent="-398463" fontAlgn="base">
              <a:spcBef>
                <a:spcPct val="25000"/>
              </a:spcBef>
              <a:spcAft>
                <a:spcPct val="0"/>
              </a:spcAft>
              <a:buClr>
                <a:schemeClr val="accent2"/>
              </a:buClr>
              <a:buFont typeface="Wingdings" pitchFamily="2" charset="2"/>
              <a:buChar char="§"/>
              <a:defRPr sz="2000">
                <a:latin typeface="+mn-lt"/>
              </a:defRPr>
            </a:lvl7pPr>
            <a:lvl8pPr marL="3465513" indent="-398463" fontAlgn="base">
              <a:spcBef>
                <a:spcPct val="25000"/>
              </a:spcBef>
              <a:spcAft>
                <a:spcPct val="0"/>
              </a:spcAft>
              <a:buClr>
                <a:schemeClr val="accent2"/>
              </a:buClr>
              <a:buFont typeface="Wingdings" pitchFamily="2" charset="2"/>
              <a:buChar char="§"/>
              <a:defRPr sz="2000">
                <a:latin typeface="+mn-lt"/>
              </a:defRPr>
            </a:lvl8pPr>
            <a:lvl9pPr marL="3922713" indent="-398463" fontAlgn="base">
              <a:spcBef>
                <a:spcPct val="25000"/>
              </a:spcBef>
              <a:spcAft>
                <a:spcPct val="0"/>
              </a:spcAft>
              <a:buClr>
                <a:schemeClr val="accent2"/>
              </a:buClr>
              <a:buFont typeface="Wingdings" pitchFamily="2" charset="2"/>
              <a:buChar char="§"/>
              <a:defRPr sz="2000">
                <a:latin typeface="+mn-lt"/>
              </a:defRPr>
            </a:lvl9pPr>
          </a:lstStyle>
          <a:p>
            <a:pPr marL="0" marR="0" lvl="0" indent="0" algn="l" defTabSz="914400" rtl="0" eaLnBrk="1" fontAlgn="auto" latinLnBrk="0" hangingPunct="1">
              <a:lnSpc>
                <a:spcPct val="100000"/>
              </a:lnSpc>
              <a:spcBef>
                <a:spcPct val="20000"/>
              </a:spcBef>
              <a:spcAft>
                <a:spcPts val="0"/>
              </a:spcAft>
              <a:buClr>
                <a:srgbClr val="ED1C24"/>
              </a:buClr>
              <a:buSzTx/>
              <a:buFont typeface="Arial" panose="020B0604020202020204" pitchFamily="34" charset="0"/>
              <a:buNone/>
              <a:tabLst/>
              <a:defRPr/>
            </a:pPr>
            <a:r>
              <a:rPr kumimoji="0" lang="de-DE" sz="1600" b="0" i="0" u="none" strike="noStrike" kern="1200" cap="none" spc="0" normalizeH="0" baseline="30000" noProof="0" dirty="0">
                <a:ln>
                  <a:noFill/>
                </a:ln>
                <a:solidFill>
                  <a:srgbClr val="000000"/>
                </a:solidFill>
                <a:effectLst/>
                <a:uLnTx/>
                <a:uFillTx/>
                <a:latin typeface="Bahnschrift" panose="020B0502040204020203" pitchFamily="34" charset="0"/>
                <a:ea typeface="+mn-ea"/>
                <a:cs typeface="+mn-cs"/>
              </a:rPr>
              <a:t>7</a:t>
            </a:r>
            <a:r>
              <a:rPr kumimoji="0" lang="de-DE" sz="16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rPr>
              <a:t> </a:t>
            </a:r>
          </a:p>
        </p:txBody>
      </p:sp>
      <p:pic>
        <p:nvPicPr>
          <p:cNvPr id="4" name="Graphic 74">
            <a:extLst>
              <a:ext uri="{FF2B5EF4-FFF2-40B4-BE49-F238E27FC236}">
                <a16:creationId xmlns:a16="http://schemas.microsoft.com/office/drawing/2014/main" id="{12006370-C828-BE0D-8CA3-1F01FC5B686A}"/>
              </a:ext>
            </a:extLst>
          </p:cNvPr>
          <p:cNvPicPr>
            <a:picLocks/>
          </p:cNvPicPr>
          <p:nvPr/>
        </p:nvPicPr>
        <p:blipFill>
          <a:blip r:embed="rId46">
            <a:extLst>
              <a:ext uri="{96DAC541-7B7A-43D3-8B79-37D633B846F1}">
                <asvg:svgBlip xmlns:asvg="http://schemas.microsoft.com/office/drawing/2016/SVG/main" r:embed="rId47"/>
              </a:ext>
            </a:extLst>
          </a:blip>
          <a:stretch>
            <a:fillRect/>
          </a:stretch>
        </p:blipFill>
        <p:spPr>
          <a:xfrm>
            <a:off x="11154709" y="1187732"/>
            <a:ext cx="516165" cy="515938"/>
          </a:xfrm>
          <a:prstGeom prst="rect">
            <a:avLst/>
          </a:prstGeom>
        </p:spPr>
      </p:pic>
      <p:pic>
        <p:nvPicPr>
          <p:cNvPr id="6" name="Picture 24">
            <a:extLst>
              <a:ext uri="{FF2B5EF4-FFF2-40B4-BE49-F238E27FC236}">
                <a16:creationId xmlns:a16="http://schemas.microsoft.com/office/drawing/2014/main" id="{685D453B-34AD-B34B-D660-89F1382B955D}"/>
              </a:ext>
            </a:extLst>
          </p:cNvPr>
          <p:cNvPicPr>
            <a:picLocks noChangeAspect="1" noChangeArrowheads="1"/>
          </p:cNvPicPr>
          <p:nvPr/>
        </p:nvPicPr>
        <p:blipFill>
          <a:blip r:embed="rId48" cstate="print">
            <a:extLst>
              <a:ext uri="{28A0092B-C50C-407E-A947-70E740481C1C}">
                <a14:useLocalDpi xmlns:a14="http://schemas.microsoft.com/office/drawing/2010/main" val="0"/>
              </a:ext>
            </a:extLst>
          </a:blip>
          <a:stretch>
            <a:fillRect/>
          </a:stretch>
        </p:blipFill>
        <p:spPr bwMode="auto">
          <a:xfrm>
            <a:off x="10742580" y="6332378"/>
            <a:ext cx="1116013" cy="346688"/>
          </a:xfrm>
          <a:prstGeom prst="rect">
            <a:avLst/>
          </a:prstGeom>
          <a:noFill/>
        </p:spPr>
      </p:pic>
      <p:sp>
        <p:nvSpPr>
          <p:cNvPr id="7" name="Speech Bubble: Oval 6">
            <a:extLst>
              <a:ext uri="{FF2B5EF4-FFF2-40B4-BE49-F238E27FC236}">
                <a16:creationId xmlns:a16="http://schemas.microsoft.com/office/drawing/2014/main" id="{E118C42B-B75B-4033-B762-2BCFA66471B5}"/>
              </a:ext>
            </a:extLst>
          </p:cNvPr>
          <p:cNvSpPr/>
          <p:nvPr/>
        </p:nvSpPr>
        <p:spPr>
          <a:xfrm>
            <a:off x="3770151" y="4048125"/>
            <a:ext cx="1433146" cy="476735"/>
          </a:xfrm>
          <a:prstGeom prst="wedgeEllipseCallout">
            <a:avLst>
              <a:gd name="adj1" fmla="val 68928"/>
              <a:gd name="adj2" fmla="val 27443"/>
            </a:avLst>
          </a:prstGeom>
          <a:solidFill>
            <a:srgbClr val="5CC8A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300"/>
              </a:spcBef>
              <a:spcAft>
                <a:spcPts val="300"/>
              </a:spcAft>
              <a:buClrTx/>
              <a:buSzTx/>
              <a:buFontTx/>
              <a:buNone/>
              <a:tabLst/>
              <a:defRPr/>
            </a:pPr>
            <a:r>
              <a:rPr kumimoji="0" lang="de-DE" sz="900" b="0" i="0" u="none" strike="noStrike" kern="1200" cap="none" spc="0" normalizeH="0" baseline="0" noProof="0" dirty="0">
                <a:ln>
                  <a:noFill/>
                </a:ln>
                <a:solidFill>
                  <a:srgbClr val="FFFFFF"/>
                </a:solidFill>
                <a:effectLst/>
                <a:uLnTx/>
                <a:uFillTx/>
                <a:latin typeface="Bahnschrift"/>
                <a:ea typeface="+mn-ea"/>
                <a:cs typeface="+mn-cs"/>
              </a:rPr>
              <a:t>Wert NEKP 2023 weicht stark vom Wert 2019 ab</a:t>
            </a:r>
          </a:p>
        </p:txBody>
      </p:sp>
    </p:spTree>
    <p:extLst>
      <p:ext uri="{BB962C8B-B14F-4D97-AF65-F5344CB8AC3E}">
        <p14:creationId xmlns:p14="http://schemas.microsoft.com/office/powerpoint/2010/main" val="17561166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16674B63-D46F-3064-4D67-BEB068C01E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6" progId="TCLayout.ActiveDocument.1">
                  <p:embed/>
                </p:oleObj>
              </mc:Choice>
              <mc:Fallback>
                <p:oleObj name="think-cell Slide" r:id="rId11" imgW="395" imgH="396" progId="TCLayout.ActiveDocument.1">
                  <p:embed/>
                  <p:pic>
                    <p:nvPicPr>
                      <p:cNvPr id="6" name="Object 2" hidden="1">
                        <a:extLst>
                          <a:ext uri="{FF2B5EF4-FFF2-40B4-BE49-F238E27FC236}">
                            <a16:creationId xmlns:a16="http://schemas.microsoft.com/office/drawing/2014/main" id="{16674B63-D46F-3064-4D67-BEB068C01ED1}"/>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31" name="Picture 30">
            <a:extLst>
              <a:ext uri="{FF2B5EF4-FFF2-40B4-BE49-F238E27FC236}">
                <a16:creationId xmlns:a16="http://schemas.microsoft.com/office/drawing/2014/main" id="{A4AD1FA7-4E78-48AD-9ABB-0E844A813221}"/>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6096000" y="0"/>
            <a:ext cx="6092824" cy="6858000"/>
          </a:xfrm>
          <a:prstGeom prst="rect">
            <a:avLst/>
          </a:prstGeom>
        </p:spPr>
      </p:pic>
      <p:sp>
        <p:nvSpPr>
          <p:cNvPr id="2" name="2. Slide Title">
            <a:extLst>
              <a:ext uri="{FF2B5EF4-FFF2-40B4-BE49-F238E27FC236}">
                <a16:creationId xmlns:a16="http://schemas.microsoft.com/office/drawing/2014/main" id="{CD57589D-88F1-BAE3-2220-17DA8E45E356}"/>
              </a:ext>
            </a:extLst>
          </p:cNvPr>
          <p:cNvSpPr>
            <a:spLocks noGrp="1"/>
          </p:cNvSpPr>
          <p:nvPr>
            <p:ph type="title"/>
            <p:custDataLst>
              <p:tags r:id="rId2"/>
            </p:custDataLst>
          </p:nvPr>
        </p:nvSpPr>
        <p:spPr>
          <a:xfrm>
            <a:off x="554736" y="188151"/>
            <a:ext cx="5065776" cy="71558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de-DE" dirty="0"/>
              <a:t>27 TWh an erneuerbarem Strom sollen bis 2030 ausgebaut werden</a:t>
            </a:r>
          </a:p>
        </p:txBody>
      </p:sp>
      <p:sp>
        <p:nvSpPr>
          <p:cNvPr id="32" name="Subtitle 31">
            <a:extLst>
              <a:ext uri="{FF2B5EF4-FFF2-40B4-BE49-F238E27FC236}">
                <a16:creationId xmlns:a16="http://schemas.microsoft.com/office/drawing/2014/main" id="{1BD45670-A09E-4941-9548-4409085303E6}"/>
              </a:ext>
            </a:extLst>
          </p:cNvPr>
          <p:cNvSpPr>
            <a:spLocks noGrp="1"/>
          </p:cNvSpPr>
          <p:nvPr>
            <p:ph type="subTitle" idx="1"/>
          </p:nvPr>
        </p:nvSpPr>
        <p:spPr>
          <a:xfrm>
            <a:off x="554736" y="959517"/>
            <a:ext cx="5065776" cy="246221"/>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de-DE" dirty="0"/>
              <a:t>Ausbauziele gemäß EAG, Zuwachs 2020-2030</a:t>
            </a:r>
          </a:p>
        </p:txBody>
      </p:sp>
      <p:sp>
        <p:nvSpPr>
          <p:cNvPr id="20" name="TextBox 19">
            <a:extLst>
              <a:ext uri="{FF2B5EF4-FFF2-40B4-BE49-F238E27FC236}">
                <a16:creationId xmlns:a16="http://schemas.microsoft.com/office/drawing/2014/main" id="{CC9C82E0-E11F-4452-A514-E02FDE72C223}"/>
              </a:ext>
            </a:extLst>
          </p:cNvPr>
          <p:cNvSpPr txBox="1"/>
          <p:nvPr/>
        </p:nvSpPr>
        <p:spPr>
          <a:xfrm>
            <a:off x="2118980" y="1833347"/>
            <a:ext cx="2310146" cy="738664"/>
          </a:xfrm>
          <a:prstGeom prst="rect">
            <a:avLst/>
          </a:prstGeom>
          <a:noFill/>
          <a:ln>
            <a:noFill/>
            <a:miter lim="800000"/>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4800" b="1"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rPr>
              <a:t>+11 </a:t>
            </a:r>
            <a:r>
              <a:rPr kumimoji="0" lang="en-US" sz="4800" b="1" i="0" u="none" strike="noStrike" kern="1200" cap="none" spc="0" normalizeH="0" baseline="0" noProof="0" dirty="0" err="1">
                <a:ln>
                  <a:noFill/>
                </a:ln>
                <a:solidFill>
                  <a:srgbClr val="004FA1"/>
                </a:solidFill>
                <a:effectLst/>
                <a:uLnTx/>
                <a:uFillTx/>
                <a:latin typeface="Bahnschrift"/>
                <a:ea typeface="+mn-ea"/>
                <a:cs typeface="Arial" panose="020B0604020202020204" pitchFamily="34" charset="0"/>
              </a:rPr>
              <a:t>TWh</a:t>
            </a:r>
            <a:endParaRPr kumimoji="0" lang="en-US" sz="4800" b="1"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endParaRPr>
          </a:p>
        </p:txBody>
      </p:sp>
      <p:grpSp>
        <p:nvGrpSpPr>
          <p:cNvPr id="25" name="Group 24">
            <a:extLst>
              <a:ext uri="{FF2B5EF4-FFF2-40B4-BE49-F238E27FC236}">
                <a16:creationId xmlns:a16="http://schemas.microsoft.com/office/drawing/2014/main" id="{8649967E-FBAA-4CE4-BC59-869C69124B95}"/>
              </a:ext>
            </a:extLst>
          </p:cNvPr>
          <p:cNvGrpSpPr/>
          <p:nvPr/>
        </p:nvGrpSpPr>
        <p:grpSpPr>
          <a:xfrm>
            <a:off x="554736" y="1717489"/>
            <a:ext cx="1315357" cy="854522"/>
            <a:chOff x="554736" y="2155954"/>
            <a:chExt cx="1315357" cy="854522"/>
          </a:xfrm>
        </p:grpSpPr>
        <p:pic>
          <p:nvPicPr>
            <p:cNvPr id="10" name="CustomIcon">
              <a:extLst>
                <a:ext uri="{FF2B5EF4-FFF2-40B4-BE49-F238E27FC236}">
                  <a16:creationId xmlns:a16="http://schemas.microsoft.com/office/drawing/2014/main" id="{87ACDAE0-C73D-4D32-88C6-4B7546F83D99}"/>
                </a:ext>
              </a:extLst>
            </p:cNvPr>
            <p:cNvPicPr>
              <a:picLocks/>
            </p:cNvPicPr>
            <p:nvPr>
              <p:custDataLst>
                <p:tags r:id="rId8"/>
              </p:custDataLst>
            </p:nvPr>
          </p:nvPicPr>
          <p:blipFill>
            <a:blip r:embed="rId14">
              <a:extLst>
                <a:ext uri="{96DAC541-7B7A-43D3-8B79-37D633B846F1}">
                  <asvg:svgBlip xmlns:asvg="http://schemas.microsoft.com/office/drawing/2016/SVG/main" r:embed="rId15"/>
                </a:ext>
              </a:extLst>
            </a:blip>
            <a:stretch>
              <a:fillRect/>
            </a:stretch>
          </p:blipFill>
          <p:spPr>
            <a:xfrm>
              <a:off x="554736" y="2155954"/>
              <a:ext cx="575974" cy="575974"/>
            </a:xfrm>
            <a:prstGeom prst="rect">
              <a:avLst/>
            </a:prstGeom>
          </p:spPr>
        </p:pic>
        <p:sp>
          <p:nvSpPr>
            <p:cNvPr id="17" name="TextBox 16">
              <a:extLst>
                <a:ext uri="{FF2B5EF4-FFF2-40B4-BE49-F238E27FC236}">
                  <a16:creationId xmlns:a16="http://schemas.microsoft.com/office/drawing/2014/main" id="{0FE0DD9C-12B3-4576-8A84-73C2BA241302}"/>
                </a:ext>
              </a:extLst>
            </p:cNvPr>
            <p:cNvSpPr txBox="1"/>
            <p:nvPr/>
          </p:nvSpPr>
          <p:spPr>
            <a:xfrm>
              <a:off x="554736" y="2764255"/>
              <a:ext cx="1315357"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6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Photovoltaik</a:t>
              </a:r>
            </a:p>
          </p:txBody>
        </p:sp>
      </p:grpSp>
      <p:sp>
        <p:nvSpPr>
          <p:cNvPr id="21" name="TextBox 20">
            <a:extLst>
              <a:ext uri="{FF2B5EF4-FFF2-40B4-BE49-F238E27FC236}">
                <a16:creationId xmlns:a16="http://schemas.microsoft.com/office/drawing/2014/main" id="{76FF201C-321C-4D76-A1F6-354989D7778F}"/>
              </a:ext>
            </a:extLst>
          </p:cNvPr>
          <p:cNvSpPr txBox="1"/>
          <p:nvPr/>
        </p:nvSpPr>
        <p:spPr>
          <a:xfrm>
            <a:off x="2118980" y="2906795"/>
            <a:ext cx="2310146" cy="738664"/>
          </a:xfrm>
          <a:prstGeom prst="rect">
            <a:avLst/>
          </a:prstGeom>
          <a:noFill/>
          <a:ln>
            <a:noFill/>
            <a:miter lim="800000"/>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4800" b="1"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rPr>
              <a:t>+10 </a:t>
            </a:r>
            <a:r>
              <a:rPr kumimoji="0" lang="en-US" sz="4800" b="1" i="0" u="none" strike="noStrike" kern="1200" cap="none" spc="0" normalizeH="0" baseline="0" noProof="0" dirty="0" err="1">
                <a:ln>
                  <a:noFill/>
                </a:ln>
                <a:solidFill>
                  <a:srgbClr val="004FA1"/>
                </a:solidFill>
                <a:effectLst/>
                <a:uLnTx/>
                <a:uFillTx/>
                <a:latin typeface="Bahnschrift"/>
                <a:ea typeface="+mn-ea"/>
                <a:cs typeface="Arial" panose="020B0604020202020204" pitchFamily="34" charset="0"/>
              </a:rPr>
              <a:t>TWh</a:t>
            </a:r>
            <a:endParaRPr kumimoji="0" lang="en-US" sz="4800" b="1"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endParaRPr>
          </a:p>
        </p:txBody>
      </p:sp>
      <p:grpSp>
        <p:nvGrpSpPr>
          <p:cNvPr id="30" name="Group 29">
            <a:extLst>
              <a:ext uri="{FF2B5EF4-FFF2-40B4-BE49-F238E27FC236}">
                <a16:creationId xmlns:a16="http://schemas.microsoft.com/office/drawing/2014/main" id="{F40396E2-0CC9-4B24-AF16-B60563CF109D}"/>
              </a:ext>
            </a:extLst>
          </p:cNvPr>
          <p:cNvGrpSpPr/>
          <p:nvPr/>
        </p:nvGrpSpPr>
        <p:grpSpPr>
          <a:xfrm>
            <a:off x="554736" y="2790937"/>
            <a:ext cx="1315357" cy="859257"/>
            <a:chOff x="554736" y="4437285"/>
            <a:chExt cx="1315357" cy="859257"/>
          </a:xfrm>
        </p:grpSpPr>
        <p:pic>
          <p:nvPicPr>
            <p:cNvPr id="12" name="CustomIcon">
              <a:extLst>
                <a:ext uri="{FF2B5EF4-FFF2-40B4-BE49-F238E27FC236}">
                  <a16:creationId xmlns:a16="http://schemas.microsoft.com/office/drawing/2014/main" id="{F14C4B28-0D36-4D26-A01E-641E30378C85}"/>
                </a:ext>
              </a:extLst>
            </p:cNvPr>
            <p:cNvPicPr>
              <a:picLocks/>
            </p:cNvPicPr>
            <p:nvPr>
              <p:custDataLst>
                <p:tags r:id="rId7"/>
              </p:custDataLst>
            </p:nvPr>
          </p:nvPicPr>
          <p:blipFill>
            <a:blip r:embed="rId16">
              <a:extLst>
                <a:ext uri="{96DAC541-7B7A-43D3-8B79-37D633B846F1}">
                  <asvg:svgBlip xmlns:asvg="http://schemas.microsoft.com/office/drawing/2016/SVG/main" r:embed="rId17"/>
                </a:ext>
              </a:extLst>
            </a:blip>
            <a:stretch>
              <a:fillRect/>
            </a:stretch>
          </p:blipFill>
          <p:spPr>
            <a:xfrm>
              <a:off x="554736" y="4437285"/>
              <a:ext cx="575974" cy="575974"/>
            </a:xfrm>
            <a:prstGeom prst="rect">
              <a:avLst/>
            </a:prstGeom>
          </p:spPr>
        </p:pic>
        <p:sp>
          <p:nvSpPr>
            <p:cNvPr id="27" name="TextBox 26">
              <a:extLst>
                <a:ext uri="{FF2B5EF4-FFF2-40B4-BE49-F238E27FC236}">
                  <a16:creationId xmlns:a16="http://schemas.microsoft.com/office/drawing/2014/main" id="{33E6C775-3DA3-4582-932E-EBC54107D8A8}"/>
                </a:ext>
              </a:extLst>
            </p:cNvPr>
            <p:cNvSpPr txBox="1"/>
            <p:nvPr/>
          </p:nvSpPr>
          <p:spPr>
            <a:xfrm>
              <a:off x="554736" y="5050321"/>
              <a:ext cx="1315357"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6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Windkraft</a:t>
              </a:r>
            </a:p>
          </p:txBody>
        </p:sp>
      </p:grpSp>
      <p:sp>
        <p:nvSpPr>
          <p:cNvPr id="22" name="TextBox 21">
            <a:extLst>
              <a:ext uri="{FF2B5EF4-FFF2-40B4-BE49-F238E27FC236}">
                <a16:creationId xmlns:a16="http://schemas.microsoft.com/office/drawing/2014/main" id="{A20058CD-8BB6-4AB6-8D4F-C3D253240066}"/>
              </a:ext>
            </a:extLst>
          </p:cNvPr>
          <p:cNvSpPr txBox="1"/>
          <p:nvPr/>
        </p:nvSpPr>
        <p:spPr>
          <a:xfrm>
            <a:off x="2118980" y="3984978"/>
            <a:ext cx="2310146" cy="738664"/>
          </a:xfrm>
          <a:prstGeom prst="rect">
            <a:avLst/>
          </a:prstGeom>
          <a:noFill/>
          <a:ln>
            <a:noFill/>
            <a:miter lim="800000"/>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4800" b="1"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rPr>
              <a:t>+5 </a:t>
            </a:r>
            <a:r>
              <a:rPr kumimoji="0" lang="en-US" sz="4800" b="1" i="0" u="none" strike="noStrike" kern="1200" cap="none" spc="0" normalizeH="0" baseline="0" noProof="0" dirty="0" err="1">
                <a:ln>
                  <a:noFill/>
                </a:ln>
                <a:solidFill>
                  <a:srgbClr val="004FA1"/>
                </a:solidFill>
                <a:effectLst/>
                <a:uLnTx/>
                <a:uFillTx/>
                <a:latin typeface="Bahnschrift"/>
                <a:ea typeface="+mn-ea"/>
                <a:cs typeface="Arial" panose="020B0604020202020204" pitchFamily="34" charset="0"/>
              </a:rPr>
              <a:t>TWh</a:t>
            </a:r>
            <a:endParaRPr kumimoji="0" lang="en-US" sz="4800" b="1"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endParaRPr>
          </a:p>
        </p:txBody>
      </p:sp>
      <p:grpSp>
        <p:nvGrpSpPr>
          <p:cNvPr id="24" name="Group 23">
            <a:extLst>
              <a:ext uri="{FF2B5EF4-FFF2-40B4-BE49-F238E27FC236}">
                <a16:creationId xmlns:a16="http://schemas.microsoft.com/office/drawing/2014/main" id="{EB7E394C-F944-4844-987B-68467B9B172A}"/>
              </a:ext>
            </a:extLst>
          </p:cNvPr>
          <p:cNvGrpSpPr/>
          <p:nvPr/>
        </p:nvGrpSpPr>
        <p:grpSpPr>
          <a:xfrm>
            <a:off x="554736" y="3864385"/>
            <a:ext cx="1315357" cy="859257"/>
            <a:chOff x="554736" y="5943969"/>
            <a:chExt cx="1315357" cy="859257"/>
          </a:xfrm>
        </p:grpSpPr>
        <p:pic>
          <p:nvPicPr>
            <p:cNvPr id="14" name="CustomIcon">
              <a:extLst>
                <a:ext uri="{FF2B5EF4-FFF2-40B4-BE49-F238E27FC236}">
                  <a16:creationId xmlns:a16="http://schemas.microsoft.com/office/drawing/2014/main" id="{E942E67D-732E-425F-B812-AC2B464C0B41}"/>
                </a:ext>
              </a:extLst>
            </p:cNvPr>
            <p:cNvPicPr>
              <a:picLocks/>
            </p:cNvPicPr>
            <p:nvPr>
              <p:custDataLst>
                <p:tags r:id="rId6"/>
              </p:custDataLst>
            </p:nvPr>
          </p:nvPicPr>
          <p:blipFill>
            <a:blip r:embed="rId18">
              <a:extLst>
                <a:ext uri="{96DAC541-7B7A-43D3-8B79-37D633B846F1}">
                  <asvg:svgBlip xmlns:asvg="http://schemas.microsoft.com/office/drawing/2016/SVG/main" r:embed="rId19"/>
                </a:ext>
              </a:extLst>
            </a:blip>
            <a:stretch>
              <a:fillRect/>
            </a:stretch>
          </p:blipFill>
          <p:spPr>
            <a:xfrm>
              <a:off x="554736" y="5943969"/>
              <a:ext cx="575974" cy="575974"/>
            </a:xfrm>
            <a:prstGeom prst="rect">
              <a:avLst/>
            </a:prstGeom>
          </p:spPr>
        </p:pic>
        <p:sp>
          <p:nvSpPr>
            <p:cNvPr id="28" name="TextBox 27">
              <a:extLst>
                <a:ext uri="{FF2B5EF4-FFF2-40B4-BE49-F238E27FC236}">
                  <a16:creationId xmlns:a16="http://schemas.microsoft.com/office/drawing/2014/main" id="{8DA652C6-023B-4F6E-81A1-AD1EE3CCCF36}"/>
                </a:ext>
              </a:extLst>
            </p:cNvPr>
            <p:cNvSpPr txBox="1"/>
            <p:nvPr/>
          </p:nvSpPr>
          <p:spPr>
            <a:xfrm>
              <a:off x="554736" y="6557005"/>
              <a:ext cx="1315357"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6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Wasserkraft</a:t>
              </a:r>
            </a:p>
          </p:txBody>
        </p:sp>
      </p:grpSp>
      <p:sp>
        <p:nvSpPr>
          <p:cNvPr id="23" name="TextBox 22">
            <a:extLst>
              <a:ext uri="{FF2B5EF4-FFF2-40B4-BE49-F238E27FC236}">
                <a16:creationId xmlns:a16="http://schemas.microsoft.com/office/drawing/2014/main" id="{1D02D4C6-2D49-4CC9-9B0A-E80E9E37A5B8}"/>
              </a:ext>
            </a:extLst>
          </p:cNvPr>
          <p:cNvSpPr txBox="1"/>
          <p:nvPr/>
        </p:nvSpPr>
        <p:spPr>
          <a:xfrm>
            <a:off x="2118980" y="5063160"/>
            <a:ext cx="2310146" cy="738664"/>
          </a:xfrm>
          <a:prstGeom prst="rect">
            <a:avLst/>
          </a:prstGeom>
          <a:noFill/>
          <a:ln>
            <a:noFill/>
            <a:miter lim="800000"/>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4800" b="1" i="0" u="none" strike="noStrike" kern="1200" cap="none" spc="0" normalizeH="0" baseline="0" noProof="0">
                <a:ln>
                  <a:noFill/>
                </a:ln>
                <a:solidFill>
                  <a:srgbClr val="004FA1"/>
                </a:solidFill>
                <a:effectLst/>
                <a:uLnTx/>
                <a:uFillTx/>
                <a:latin typeface="Bahnschrift"/>
                <a:ea typeface="+mn-ea"/>
                <a:cs typeface="Arial" panose="020B0604020202020204" pitchFamily="34" charset="0"/>
              </a:rPr>
              <a:t>+1 TWh</a:t>
            </a:r>
            <a:endParaRPr kumimoji="0" lang="en-US" sz="4800" b="1"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endParaRPr>
          </a:p>
        </p:txBody>
      </p:sp>
      <p:grpSp>
        <p:nvGrpSpPr>
          <p:cNvPr id="26" name="Group 25">
            <a:extLst>
              <a:ext uri="{FF2B5EF4-FFF2-40B4-BE49-F238E27FC236}">
                <a16:creationId xmlns:a16="http://schemas.microsoft.com/office/drawing/2014/main" id="{3A280459-0F67-4F4C-B712-6488C0EC40CB}"/>
              </a:ext>
            </a:extLst>
          </p:cNvPr>
          <p:cNvGrpSpPr/>
          <p:nvPr/>
        </p:nvGrpSpPr>
        <p:grpSpPr>
          <a:xfrm>
            <a:off x="554736" y="4942567"/>
            <a:ext cx="1315357" cy="854522"/>
            <a:chOff x="554736" y="3274349"/>
            <a:chExt cx="1315357" cy="854522"/>
          </a:xfrm>
        </p:grpSpPr>
        <p:pic>
          <p:nvPicPr>
            <p:cNvPr id="16" name="CustomIcon">
              <a:extLst>
                <a:ext uri="{FF2B5EF4-FFF2-40B4-BE49-F238E27FC236}">
                  <a16:creationId xmlns:a16="http://schemas.microsoft.com/office/drawing/2014/main" id="{24135761-CA69-4446-B63D-C005936D4700}"/>
                </a:ext>
              </a:extLst>
            </p:cNvPr>
            <p:cNvPicPr>
              <a:picLocks/>
            </p:cNvPicPr>
            <p:nvPr>
              <p:custDataLst>
                <p:tags r:id="rId5"/>
              </p:custDataLst>
            </p:nvPr>
          </p:nvPicPr>
          <p:blipFill>
            <a:blip r:embed="rId20">
              <a:extLst>
                <a:ext uri="{96DAC541-7B7A-43D3-8B79-37D633B846F1}">
                  <asvg:svgBlip xmlns:asvg="http://schemas.microsoft.com/office/drawing/2016/SVG/main" r:embed="rId21"/>
                </a:ext>
              </a:extLst>
            </a:blip>
            <a:stretch>
              <a:fillRect/>
            </a:stretch>
          </p:blipFill>
          <p:spPr>
            <a:xfrm>
              <a:off x="554736" y="3274349"/>
              <a:ext cx="575974" cy="575974"/>
            </a:xfrm>
            <a:prstGeom prst="rect">
              <a:avLst/>
            </a:prstGeom>
          </p:spPr>
        </p:pic>
        <p:sp>
          <p:nvSpPr>
            <p:cNvPr id="29" name="TextBox 28">
              <a:extLst>
                <a:ext uri="{FF2B5EF4-FFF2-40B4-BE49-F238E27FC236}">
                  <a16:creationId xmlns:a16="http://schemas.microsoft.com/office/drawing/2014/main" id="{A9CF12CF-524F-43FD-AFF9-E08FCE1F802F}"/>
                </a:ext>
              </a:extLst>
            </p:cNvPr>
            <p:cNvSpPr txBox="1"/>
            <p:nvPr/>
          </p:nvSpPr>
          <p:spPr>
            <a:xfrm>
              <a:off x="554736" y="3882650"/>
              <a:ext cx="1315357"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6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Biomasse</a:t>
              </a:r>
              <a:r>
                <a:rPr kumimoji="0" lang="de-DE" sz="1600" b="0" i="0" u="none" strike="noStrike" kern="1200" cap="none" spc="0" normalizeH="0" baseline="30000" noProof="0" dirty="0">
                  <a:ln>
                    <a:noFill/>
                  </a:ln>
                  <a:solidFill>
                    <a:srgbClr val="000000"/>
                  </a:solidFill>
                  <a:effectLst/>
                  <a:uLnTx/>
                  <a:uFillTx/>
                  <a:latin typeface="Bahnschrift"/>
                  <a:ea typeface="+mn-ea"/>
                  <a:cs typeface="Arial" panose="020B0604020202020204" pitchFamily="34" charset="0"/>
                </a:rPr>
                <a:t>3</a:t>
              </a:r>
              <a:r>
                <a:rPr kumimoji="0" lang="de-DE" sz="16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 </a:t>
              </a:r>
            </a:p>
          </p:txBody>
        </p:sp>
      </p:grpSp>
      <p:sp>
        <p:nvSpPr>
          <p:cNvPr id="8" name="4. Footnote">
            <a:extLst>
              <a:ext uri="{FF2B5EF4-FFF2-40B4-BE49-F238E27FC236}">
                <a16:creationId xmlns:a16="http://schemas.microsoft.com/office/drawing/2014/main" id="{6ED56E21-591E-A26E-005F-7B54D5FA1C10}"/>
              </a:ext>
            </a:extLst>
          </p:cNvPr>
          <p:cNvSpPr txBox="1"/>
          <p:nvPr>
            <p:custDataLst>
              <p:tags r:id="rId3"/>
            </p:custDataLst>
          </p:nvPr>
        </p:nvSpPr>
        <p:spPr>
          <a:xfrm>
            <a:off x="554736" y="5975746"/>
            <a:ext cx="8587676" cy="36933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rPr>
              <a:t>1.	Illustrative Berechnung: je 10 kWp Anlagen und 1.100 Volllaststunden</a:t>
            </a:r>
          </a:p>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rPr>
              <a:t>2.	Illustrative Berechnung: Anlagen mit je 5-6 MW Leistung und 2.100 Volllaststunden</a:t>
            </a:r>
          </a:p>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rPr>
              <a:t>3.	Zusätzlich 7,5 TWh Biogas, jedoch nicht primär zur Verstromung</a:t>
            </a:r>
          </a:p>
        </p:txBody>
      </p:sp>
      <p:pic>
        <p:nvPicPr>
          <p:cNvPr id="34" name="Picture 24">
            <a:extLst>
              <a:ext uri="{FF2B5EF4-FFF2-40B4-BE49-F238E27FC236}">
                <a16:creationId xmlns:a16="http://schemas.microsoft.com/office/drawing/2014/main" id="{DF8515FB-E0EB-461F-86B7-F8E5FF0EC446}"/>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tretch>
            <a:fillRect/>
          </a:stretch>
        </p:blipFill>
        <p:spPr bwMode="auto">
          <a:xfrm>
            <a:off x="10521251" y="6345078"/>
            <a:ext cx="1116013" cy="346688"/>
          </a:xfrm>
          <a:prstGeom prst="rect">
            <a:avLst/>
          </a:prstGeom>
          <a:noFill/>
        </p:spPr>
      </p:pic>
      <p:sp>
        <p:nvSpPr>
          <p:cNvPr id="35" name="TextBox 34">
            <a:extLst>
              <a:ext uri="{FF2B5EF4-FFF2-40B4-BE49-F238E27FC236}">
                <a16:creationId xmlns:a16="http://schemas.microsoft.com/office/drawing/2014/main" id="{8B32CCEE-58D3-4E06-83B3-C7349E29F9F2}"/>
              </a:ext>
            </a:extLst>
          </p:cNvPr>
          <p:cNvSpPr txBox="1"/>
          <p:nvPr/>
        </p:nvSpPr>
        <p:spPr>
          <a:xfrm>
            <a:off x="4668197" y="1880972"/>
            <a:ext cx="1256354" cy="646331"/>
          </a:xfrm>
          <a:prstGeom prst="rect">
            <a:avLst/>
          </a:prstGeom>
          <a:noFill/>
          <a:ln>
            <a:noFill/>
            <a:miter lim="800000"/>
          </a:ln>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rPr>
              <a:t>+1 Mio. Einfamilien-häuser</a:t>
            </a:r>
            <a:r>
              <a:rPr kumimoji="0" lang="en-US" sz="1400" b="1" i="0" u="none" strike="noStrike" kern="1200" cap="none" spc="0" normalizeH="0" baseline="30000" noProof="0" dirty="0">
                <a:ln>
                  <a:noFill/>
                </a:ln>
                <a:solidFill>
                  <a:srgbClr val="004FA1"/>
                </a:solidFill>
                <a:effectLst/>
                <a:uLnTx/>
                <a:uFillTx/>
                <a:latin typeface="Bahnschrift"/>
                <a:ea typeface="+mn-ea"/>
                <a:cs typeface="Arial" panose="020B0604020202020204" pitchFamily="34" charset="0"/>
              </a:rPr>
              <a:t>1</a:t>
            </a:r>
          </a:p>
        </p:txBody>
      </p:sp>
      <p:sp>
        <p:nvSpPr>
          <p:cNvPr id="36" name="TextBox 35">
            <a:extLst>
              <a:ext uri="{FF2B5EF4-FFF2-40B4-BE49-F238E27FC236}">
                <a16:creationId xmlns:a16="http://schemas.microsoft.com/office/drawing/2014/main" id="{8153B3E8-2657-4137-A42F-F31DE45804E6}"/>
              </a:ext>
            </a:extLst>
          </p:cNvPr>
          <p:cNvSpPr txBox="1"/>
          <p:nvPr/>
        </p:nvSpPr>
        <p:spPr>
          <a:xfrm>
            <a:off x="4668197" y="2954420"/>
            <a:ext cx="1256354" cy="646331"/>
          </a:xfrm>
          <a:prstGeom prst="rect">
            <a:avLst/>
          </a:prstGeom>
          <a:noFill/>
          <a:ln>
            <a:noFill/>
            <a:miter lim="800000"/>
          </a:ln>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rPr>
              <a:t>800-1.000</a:t>
            </a:r>
            <a:r>
              <a:rPr kumimoji="0" lang="en-US" sz="1400" b="1" i="0" u="none" strike="noStrike" kern="1200" cap="none" spc="0" normalizeH="0" baseline="0" noProof="0" dirty="0">
                <a:ln>
                  <a:noFill/>
                </a:ln>
                <a:solidFill>
                  <a:srgbClr val="FF0000"/>
                </a:solidFill>
                <a:effectLst/>
                <a:uLnTx/>
                <a:uFillTx/>
                <a:latin typeface="Bahnschrift"/>
                <a:ea typeface="+mn-ea"/>
                <a:cs typeface="Arial" panose="020B0604020202020204" pitchFamily="34" charset="0"/>
              </a:rPr>
              <a:t> </a:t>
            </a:r>
            <a:r>
              <a:rPr kumimoji="0" lang="en-US" sz="1400" b="1"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rPr>
              <a:t>Windkraft-anlagen</a:t>
            </a:r>
            <a:r>
              <a:rPr kumimoji="0" lang="en-US" sz="1400" b="1" i="0" u="none" strike="noStrike" kern="1200" cap="none" spc="0" normalizeH="0" baseline="30000" noProof="0" dirty="0">
                <a:ln>
                  <a:noFill/>
                </a:ln>
                <a:solidFill>
                  <a:srgbClr val="004FA1"/>
                </a:solidFill>
                <a:effectLst/>
                <a:uLnTx/>
                <a:uFillTx/>
                <a:latin typeface="Bahnschrift"/>
                <a:ea typeface="+mn-ea"/>
                <a:cs typeface="Arial" panose="020B0604020202020204" pitchFamily="34" charset="0"/>
              </a:rPr>
              <a:t>2</a:t>
            </a:r>
          </a:p>
        </p:txBody>
      </p:sp>
      <p:sp>
        <p:nvSpPr>
          <p:cNvPr id="40" name="5. Source">
            <a:extLst>
              <a:ext uri="{FF2B5EF4-FFF2-40B4-BE49-F238E27FC236}">
                <a16:creationId xmlns:a16="http://schemas.microsoft.com/office/drawing/2014/main" id="{8DC8DCBC-03CC-4913-BFE2-D0D603CF9F91}"/>
              </a:ext>
            </a:extLst>
          </p:cNvPr>
          <p:cNvSpPr txBox="1"/>
          <p:nvPr>
            <p:custDataLst>
              <p:tags r:id="rId4"/>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03200" marR="0" lvl="0" indent="-212725" algn="l" defTabSz="914400" rtl="0" eaLnBrk="1" fontAlgn="auto" latinLnBrk="0" hangingPunct="1">
              <a:lnSpc>
                <a:spcPct val="100000"/>
              </a:lnSpc>
              <a:spcBef>
                <a:spcPts val="0"/>
              </a:spcBef>
              <a:spcAft>
                <a:spcPts val="0"/>
              </a:spcAft>
              <a:buClrTx/>
              <a:buSzTx/>
              <a:buFont typeface="Segoe UI" panose="020B0502040204020203" pitchFamily="34" charset="0"/>
              <a:buNone/>
              <a:tabLst/>
              <a:defRPr/>
            </a:pPr>
            <a:r>
              <a:rPr kumimoji="0" lang="de-DE" sz="800" b="0"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rPr>
              <a:t>Quelle: EAG, WKO (Investitionen in die Energiewende)</a:t>
            </a:r>
          </a:p>
        </p:txBody>
      </p:sp>
      <p:sp>
        <p:nvSpPr>
          <p:cNvPr id="4" name="TextBox 3">
            <a:extLst>
              <a:ext uri="{FF2B5EF4-FFF2-40B4-BE49-F238E27FC236}">
                <a16:creationId xmlns:a16="http://schemas.microsoft.com/office/drawing/2014/main" id="{AD0E4FFC-E90F-E18E-A9E1-9321D0182B01}"/>
              </a:ext>
            </a:extLst>
          </p:cNvPr>
          <p:cNvSpPr txBox="1"/>
          <p:nvPr/>
        </p:nvSpPr>
        <p:spPr>
          <a:xfrm>
            <a:off x="4476240" y="1369194"/>
            <a:ext cx="1448311"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Das entspricht zur Veranschaulichung</a:t>
            </a:r>
          </a:p>
        </p:txBody>
      </p:sp>
      <p:cxnSp>
        <p:nvCxnSpPr>
          <p:cNvPr id="7" name="Straight Connector 6">
            <a:extLst>
              <a:ext uri="{FF2B5EF4-FFF2-40B4-BE49-F238E27FC236}">
                <a16:creationId xmlns:a16="http://schemas.microsoft.com/office/drawing/2014/main" id="{47A8019F-2C54-6104-A884-73A4F001040C}"/>
              </a:ext>
            </a:extLst>
          </p:cNvPr>
          <p:cNvCxnSpPr/>
          <p:nvPr/>
        </p:nvCxnSpPr>
        <p:spPr>
          <a:xfrm>
            <a:off x="4476240" y="1791592"/>
            <a:ext cx="1329649"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14819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88D0298-761A-0EAF-BD34-020391836B3A}"/>
              </a:ext>
            </a:extLst>
          </p:cNvPr>
          <p:cNvGraphicFramePr>
            <a:graphicFrameLocks noChangeAspect="1"/>
          </p:cNvGraphicFramePr>
          <p:nvPr>
            <p:custDataLst>
              <p:tags r:id="rId1"/>
            </p:custDataLst>
            <p:extLst>
              <p:ext uri="{D42A27DB-BD31-4B8C-83A1-F6EECF244321}">
                <p14:modId xmlns:p14="http://schemas.microsoft.com/office/powerpoint/2010/main" val="3514081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8" imgW="408" imgH="408" progId="TCLayout.ActiveDocument.1">
                  <p:embed/>
                </p:oleObj>
              </mc:Choice>
              <mc:Fallback>
                <p:oleObj name="think-cell Slide" r:id="rId98" imgW="408" imgH="408" progId="TCLayout.ActiveDocument.1">
                  <p:embed/>
                  <p:pic>
                    <p:nvPicPr>
                      <p:cNvPr id="7" name="Object 6" hidden="1">
                        <a:extLst>
                          <a:ext uri="{FF2B5EF4-FFF2-40B4-BE49-F238E27FC236}">
                            <a16:creationId xmlns:a16="http://schemas.microsoft.com/office/drawing/2014/main" id="{488D0298-761A-0EAF-BD34-020391836B3A}"/>
                          </a:ext>
                        </a:extLst>
                      </p:cNvPr>
                      <p:cNvPicPr/>
                      <p:nvPr/>
                    </p:nvPicPr>
                    <p:blipFill>
                      <a:blip r:embed="rId99"/>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3E9BFC80-0B67-4596-BD91-D3E87547703B}"/>
              </a:ext>
            </a:extLst>
          </p:cNvPr>
          <p:cNvSpPr>
            <a:spLocks noGrp="1"/>
          </p:cNvSpPr>
          <p:nvPr>
            <p:ph type="title"/>
            <p:custDataLst>
              <p:tags r:id="rId2"/>
            </p:custDataLst>
          </p:nvPr>
        </p:nvSpPr>
        <p:spPr>
          <a:xfrm>
            <a:off x="554736" y="188151"/>
            <a:ext cx="11082528" cy="71558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de-DE" dirty="0"/>
              <a:t>Österreich hat bei Wind und Solar grundsätzlich solide Voraussetzungen zur Stromproduktion</a:t>
            </a:r>
          </a:p>
        </p:txBody>
      </p:sp>
      <p:graphicFrame>
        <p:nvGraphicFramePr>
          <p:cNvPr id="9" name="Chart 8">
            <a:extLst>
              <a:ext uri="{FF2B5EF4-FFF2-40B4-BE49-F238E27FC236}">
                <a16:creationId xmlns:a16="http://schemas.microsoft.com/office/drawing/2014/main" id="{FDEED2A0-0726-4136-9BFB-C1143A86E2E2}"/>
              </a:ext>
            </a:extLst>
          </p:cNvPr>
          <p:cNvGraphicFramePr/>
          <p:nvPr>
            <p:custDataLst>
              <p:tags r:id="rId3"/>
            </p:custDataLst>
            <p:extLst>
              <p:ext uri="{D42A27DB-BD31-4B8C-83A1-F6EECF244321}">
                <p14:modId xmlns:p14="http://schemas.microsoft.com/office/powerpoint/2010/main" val="47211120"/>
              </p:ext>
            </p:extLst>
          </p:nvPr>
        </p:nvGraphicFramePr>
        <p:xfrm>
          <a:off x="858838" y="2198688"/>
          <a:ext cx="7627937" cy="3333750"/>
        </p:xfrm>
        <a:graphic>
          <a:graphicData uri="http://schemas.openxmlformats.org/drawingml/2006/chart">
            <c:chart xmlns:c="http://schemas.openxmlformats.org/drawingml/2006/chart" xmlns:r="http://schemas.openxmlformats.org/officeDocument/2006/relationships" r:id="rId100"/>
          </a:graphicData>
        </a:graphic>
      </p:graphicFrame>
      <p:sp>
        <p:nvSpPr>
          <p:cNvPr id="130" name="Text Placeholder 4">
            <a:extLst>
              <a:ext uri="{FF2B5EF4-FFF2-40B4-BE49-F238E27FC236}">
                <a16:creationId xmlns:a16="http://schemas.microsoft.com/office/drawing/2014/main" id="{4C1F3293-4EFE-461D-940D-7EE66BAE31C5}"/>
              </a:ext>
            </a:extLst>
          </p:cNvPr>
          <p:cNvSpPr>
            <a:spLocks noGrp="1"/>
          </p:cNvSpPr>
          <p:nvPr>
            <p:custDataLst>
              <p:tags r:id="rId4"/>
            </p:custDataLst>
          </p:nvPr>
        </p:nvSpPr>
        <p:spPr bwMode="gray">
          <a:xfrm>
            <a:off x="906463" y="54927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fontAlgn="auto">
              <a:spcBef>
                <a:spcPct val="0"/>
              </a:spcBef>
              <a:spcAft>
                <a:spcPct val="0"/>
              </a:spcAft>
              <a:buClr>
                <a:srgbClr val="000000"/>
              </a:buClr>
              <a:defRPr/>
            </a:pPr>
            <a:fld id="{5AF99794-0110-4A60-AAD8-EBD02A8937C6}" type="datetime'0'''''''''''''''''''''''''''''''''''''''''''''">
              <a:rPr lang="de-DE" altLang="en-US" sz="1000" smtClean="0">
                <a:solidFill>
                  <a:srgbClr val="000000"/>
                </a:solidFill>
                <a:latin typeface="Bahnschrift" panose="020B0502040204020203" pitchFamily="34" charset="0"/>
                <a:cs typeface="+mn-cs"/>
              </a:rPr>
              <a:pPr lvl="0" algn="ctr" fontAlgn="auto">
                <a:spcBef>
                  <a:spcPct val="0"/>
                </a:spcBef>
                <a:spcAft>
                  <a:spcPct val="0"/>
                </a:spcAft>
                <a:buClr>
                  <a:srgbClr val="000000"/>
                </a:buClr>
                <a:defRPr/>
              </a:pPr>
              <a:t>0</a:t>
            </a:fld>
            <a:endParaRPr kumimoji="0" lang="de-DE" sz="1000" b="0" i="0" strike="noStrike" kern="1200" cap="none" spc="0" normalizeH="0" baseline="0" noProof="0" dirty="0">
              <a:ln>
                <a:noFill/>
              </a:ln>
              <a:solidFill>
                <a:srgbClr val="000000"/>
              </a:solidFill>
              <a:effectLst/>
              <a:uLnTx/>
              <a:uFillTx/>
              <a:latin typeface="Bahnschrift" panose="020B0502040204020203" pitchFamily="34" charset="0"/>
              <a:cs typeface="+mn-cs"/>
            </a:endParaRPr>
          </a:p>
        </p:txBody>
      </p:sp>
      <p:sp>
        <p:nvSpPr>
          <p:cNvPr id="203" name="Text Placeholder 4">
            <a:extLst>
              <a:ext uri="{FF2B5EF4-FFF2-40B4-BE49-F238E27FC236}">
                <a16:creationId xmlns:a16="http://schemas.microsoft.com/office/drawing/2014/main" id="{4C1F3293-4EFE-461D-940D-7EE66BAE31C5}"/>
              </a:ext>
            </a:extLst>
          </p:cNvPr>
          <p:cNvSpPr>
            <a:spLocks noGrp="1"/>
          </p:cNvSpPr>
          <p:nvPr>
            <p:custDataLst>
              <p:tags r:id="rId5"/>
            </p:custDataLst>
          </p:nvPr>
        </p:nvSpPr>
        <p:spPr bwMode="gray">
          <a:xfrm>
            <a:off x="8320088" y="5492750"/>
            <a:ext cx="1682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A1BDDEE-6C2E-4061-BF13-97B7C30F659C}" type="datetime'''5''''''.''''5'''''''''''''''''''''''''''''">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5</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200" name="Text Placeholder 4">
            <a:extLst>
              <a:ext uri="{FF2B5EF4-FFF2-40B4-BE49-F238E27FC236}">
                <a16:creationId xmlns:a16="http://schemas.microsoft.com/office/drawing/2014/main" id="{4C1F3293-4EFE-461D-940D-7EE66BAE31C5}"/>
              </a:ext>
            </a:extLst>
          </p:cNvPr>
          <p:cNvSpPr>
            <a:spLocks noGrp="1"/>
          </p:cNvSpPr>
          <p:nvPr>
            <p:custDataLst>
              <p:tags r:id="rId6"/>
            </p:custDataLst>
          </p:nvPr>
        </p:nvSpPr>
        <p:spPr bwMode="gray">
          <a:xfrm>
            <a:off x="4252913" y="5492750"/>
            <a:ext cx="163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54C6866-AD80-42BC-99F4-31D5360CC3E3}" type="datetime'''2''''''''''''''''''''''''''''''''''.5'''''''''''''''''''''''">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5</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547" name="Text Placeholder 4">
            <a:extLst>
              <a:ext uri="{FF2B5EF4-FFF2-40B4-BE49-F238E27FC236}">
                <a16:creationId xmlns:a16="http://schemas.microsoft.com/office/drawing/2014/main" id="{4C1F3293-4EFE-461D-940D-7EE66BAE31C5}"/>
              </a:ext>
            </a:extLst>
          </p:cNvPr>
          <p:cNvSpPr>
            <a:spLocks noGrp="1"/>
          </p:cNvSpPr>
          <p:nvPr>
            <p:custDataLst>
              <p:tags r:id="rId7"/>
            </p:custDataLst>
          </p:nvPr>
        </p:nvSpPr>
        <p:spPr bwMode="gray">
          <a:xfrm>
            <a:off x="7642225" y="5492750"/>
            <a:ext cx="1682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E5B9EDE-851E-4EC3-8DAB-3494D981F52B}" type="datetime'''''''''''''''''''''''''''''''5''''''''''''''.0'''">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0</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91"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gray">
          <a:xfrm>
            <a:off x="652462" y="2601913"/>
            <a:ext cx="203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013C13A-DCA2-4E57-BB91-0F848BF6AD3B}" type="datetime'''''''''''''''''''''''''''''7''''''''''''''''''''0''0'''''">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700</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198" name="Text Placeholder 4">
            <a:extLst>
              <a:ext uri="{FF2B5EF4-FFF2-40B4-BE49-F238E27FC236}">
                <a16:creationId xmlns:a16="http://schemas.microsoft.com/office/drawing/2014/main" id="{4C1F3293-4EFE-461D-940D-7EE66BAE31C5}"/>
              </a:ext>
            </a:extLst>
          </p:cNvPr>
          <p:cNvSpPr>
            <a:spLocks noGrp="1"/>
          </p:cNvSpPr>
          <p:nvPr>
            <p:custDataLst>
              <p:tags r:id="rId9"/>
            </p:custDataLst>
          </p:nvPr>
        </p:nvSpPr>
        <p:spPr bwMode="gray">
          <a:xfrm>
            <a:off x="1535113" y="5492750"/>
            <a:ext cx="1682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F6C75AC-5B5A-4399-8900-A6F62921F0CB}" type="datetime'''''''''''''0''''''''''''''.''''''''5'''''''''">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5</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18"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785812" y="53736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9B16900-EBB7-4BEE-81EF-CDB508B3BC32}" type="datetime'''''''0'''''''''''''''''''''''''''''">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86"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650874" y="4581525"/>
            <a:ext cx="2047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F84E1F2-A0B6-4975-BB23-AF4D3D62A979}" type="datetime'2''''''''''''''''0''''''''''''''''''''''''''0'''">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0</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135"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2228850" y="5492750"/>
            <a:ext cx="141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D068FE1-0BE1-4EB5-8AA5-04196CC0D865}" type="datetime'''''''''1''.''0'''''''''''''''''''''''''">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0</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261"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6283325" y="5492750"/>
            <a:ext cx="1714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6CD5811-AA19-4476-9A59-033EA4F75108}" type="datetime'4''''''''.''''''''''''''''''''''''''''''''''''''''''0'''''''">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0</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89"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646112" y="33940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F9665EC-3DB5-4564-99CD-23E347F15B01}" type="datetime'''''''''''''''''''''50''''''''''''''''''''''''''0'''''''''">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00</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199"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gray">
          <a:xfrm>
            <a:off x="2906713" y="5492750"/>
            <a:ext cx="141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501A5B3-4EA0-4A38-9298-FE9754C27544}" type="datetime'''''1''''.5'''''">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5</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140"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3573463" y="5492750"/>
            <a:ext cx="1635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D7112D8-A3E5-4A37-ADD9-27F1A73C81E6}" type="datetime'''''''''2''.''''0'''''''">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196"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gray">
          <a:xfrm>
            <a:off x="4929188" y="5492750"/>
            <a:ext cx="165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A183A07-DD09-41B0-A9CB-397150B38AE6}" type="datetime'''''3''''.''''''''''''''''''''''''''0'''''''''''''''''''''''">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0</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85" name="Text Placeholder 4">
            <a:extLst>
              <a:ext uri="{FF2B5EF4-FFF2-40B4-BE49-F238E27FC236}">
                <a16:creationId xmlns:a16="http://schemas.microsoft.com/office/drawing/2014/main" id="{4C1F3293-4EFE-461D-940D-7EE66BAE31C5}"/>
              </a:ext>
            </a:extLst>
          </p:cNvPr>
          <p:cNvSpPr>
            <a:spLocks noGrp="1"/>
          </p:cNvSpPr>
          <p:nvPr>
            <p:custDataLst>
              <p:tags r:id="rId18"/>
            </p:custDataLst>
          </p:nvPr>
        </p:nvSpPr>
        <p:spPr bwMode="gray">
          <a:xfrm>
            <a:off x="673100" y="4978400"/>
            <a:ext cx="1825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CE01245-01F6-415C-A64C-A33A62932D33}" type="datetime'1''''00'''''''''''''''''''''''''''''''''''''''''''''''">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00</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201" name="Text Placeholder 4">
            <a:extLst>
              <a:ext uri="{FF2B5EF4-FFF2-40B4-BE49-F238E27FC236}">
                <a16:creationId xmlns:a16="http://schemas.microsoft.com/office/drawing/2014/main" id="{4C1F3293-4EFE-461D-940D-7EE66BAE31C5}"/>
              </a:ext>
            </a:extLst>
          </p:cNvPr>
          <p:cNvSpPr>
            <a:spLocks noGrp="1"/>
          </p:cNvSpPr>
          <p:nvPr>
            <p:custDataLst>
              <p:tags r:id="rId19"/>
            </p:custDataLst>
          </p:nvPr>
        </p:nvSpPr>
        <p:spPr bwMode="gray">
          <a:xfrm>
            <a:off x="5608638" y="5492750"/>
            <a:ext cx="165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82EE22C-A5FF-4F25-82AE-F79BBC0494B3}" type="datetime'''3.''''''''''''''''''''''''''''''''''''''''''''''''''''''''5'">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5</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87" name="Text Placeholder 4">
            <a:extLst>
              <a:ext uri="{FF2B5EF4-FFF2-40B4-BE49-F238E27FC236}">
                <a16:creationId xmlns:a16="http://schemas.microsoft.com/office/drawing/2014/main" id="{4C1F3293-4EFE-461D-940D-7EE66BAE31C5}"/>
              </a:ext>
            </a:extLst>
          </p:cNvPr>
          <p:cNvSpPr>
            <a:spLocks noGrp="1"/>
          </p:cNvSpPr>
          <p:nvPr>
            <p:custDataLst>
              <p:tags r:id="rId20"/>
            </p:custDataLst>
          </p:nvPr>
        </p:nvSpPr>
        <p:spPr bwMode="gray">
          <a:xfrm>
            <a:off x="649288" y="4186238"/>
            <a:ext cx="2063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560B177-DC2F-4151-9F06-A98890629EFD}" type="datetime'''''''''''''3''''''00'''''''''''''''''''''''''''''''''">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00</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92" name="Text Placeholder 4">
            <a:extLst>
              <a:ext uri="{FF2B5EF4-FFF2-40B4-BE49-F238E27FC236}">
                <a16:creationId xmlns:a16="http://schemas.microsoft.com/office/drawing/2014/main" id="{4C1F3293-4EFE-461D-940D-7EE66BAE31C5}"/>
              </a:ext>
            </a:extLst>
          </p:cNvPr>
          <p:cNvSpPr>
            <a:spLocks noGrp="1"/>
          </p:cNvSpPr>
          <p:nvPr>
            <p:custDataLst>
              <p:tags r:id="rId21"/>
            </p:custDataLst>
          </p:nvPr>
        </p:nvSpPr>
        <p:spPr bwMode="gray">
          <a:xfrm>
            <a:off x="644524" y="2205038"/>
            <a:ext cx="2111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06FA176-A092-42F9-8CD5-B519D016D70D}" type="datetime'''''''''''8''''''''''''''''''''''''00'''''''''">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800</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88" name="Text Placeholder 4">
            <a:extLst>
              <a:ext uri="{FF2B5EF4-FFF2-40B4-BE49-F238E27FC236}">
                <a16:creationId xmlns:a16="http://schemas.microsoft.com/office/drawing/2014/main" id="{4C1F3293-4EFE-461D-940D-7EE66BAE31C5}"/>
              </a:ext>
            </a:extLst>
          </p:cNvPr>
          <p:cNvSpPr>
            <a:spLocks noGrp="1"/>
          </p:cNvSpPr>
          <p:nvPr>
            <p:custDataLst>
              <p:tags r:id="rId22"/>
            </p:custDataLst>
          </p:nvPr>
        </p:nvSpPr>
        <p:spPr bwMode="gray">
          <a:xfrm>
            <a:off x="642938" y="3789363"/>
            <a:ext cx="212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2995028-07AE-4963-B636-5D7C7E3123B4}" type="datetime'''''''''''''''''''''4''''0''''0'''''">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00</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202" name="Text Placeholder 4">
            <a:extLst>
              <a:ext uri="{FF2B5EF4-FFF2-40B4-BE49-F238E27FC236}">
                <a16:creationId xmlns:a16="http://schemas.microsoft.com/office/drawing/2014/main" id="{4C1F3293-4EFE-461D-940D-7EE66BAE31C5}"/>
              </a:ext>
            </a:extLst>
          </p:cNvPr>
          <p:cNvSpPr>
            <a:spLocks noGrp="1"/>
          </p:cNvSpPr>
          <p:nvPr>
            <p:custDataLst>
              <p:tags r:id="rId23"/>
            </p:custDataLst>
          </p:nvPr>
        </p:nvSpPr>
        <p:spPr bwMode="gray">
          <a:xfrm>
            <a:off x="6961188" y="5492750"/>
            <a:ext cx="1714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8323423-0908-4C68-8971-B617F23FE0E5}" type="datetime'''4''''''''''''''''''''''''''''''''''''''''.5'''''''''''''''">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5</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90" name="Text Placeholder 4">
            <a:extLst>
              <a:ext uri="{FF2B5EF4-FFF2-40B4-BE49-F238E27FC236}">
                <a16:creationId xmlns:a16="http://schemas.microsoft.com/office/drawing/2014/main" id="{4C1F3293-4EFE-461D-940D-7EE66BAE31C5}"/>
              </a:ext>
            </a:extLst>
          </p:cNvPr>
          <p:cNvSpPr>
            <a:spLocks noGrp="1"/>
          </p:cNvSpPr>
          <p:nvPr>
            <p:custDataLst>
              <p:tags r:id="rId24"/>
            </p:custDataLst>
          </p:nvPr>
        </p:nvSpPr>
        <p:spPr bwMode="gray">
          <a:xfrm>
            <a:off x="650874" y="2997200"/>
            <a:ext cx="2047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3A2FF27-8C54-4FC7-8625-D2C7A45D5EB8}" type="datetime'''''''''''''''''''''''''''''''6''''''''''00'''''''''">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600</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307" name="Text Placeholder 4">
            <a:extLst>
              <a:ext uri="{FF2B5EF4-FFF2-40B4-BE49-F238E27FC236}">
                <a16:creationId xmlns:a16="http://schemas.microsoft.com/office/drawing/2014/main" id="{4695EFB8-68EB-29F8-08F1-0533211D01BD}"/>
              </a:ext>
            </a:extLst>
          </p:cNvPr>
          <p:cNvSpPr>
            <a:spLocks noGrp="1"/>
          </p:cNvSpPr>
          <p:nvPr>
            <p:custDataLst>
              <p:tags r:id="rId25"/>
            </p:custDataLst>
          </p:nvPr>
        </p:nvSpPr>
        <p:spPr bwMode="gray">
          <a:xfrm>
            <a:off x="6149975" y="3789363"/>
            <a:ext cx="284163"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CD7F952-47D2-4914-8C00-E6B637C7635B}" type="datetime'''''C''''''''''''''''''''''''''''''''''AN'''''''''''''">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CAN</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594" name="Text Placeholder 4">
            <a:extLst>
              <a:ext uri="{FF2B5EF4-FFF2-40B4-BE49-F238E27FC236}">
                <a16:creationId xmlns:a16="http://schemas.microsoft.com/office/drawing/2014/main" id="{3F59F49E-B002-EFD6-E377-12446420080B}"/>
              </a:ext>
            </a:extLst>
          </p:cNvPr>
          <p:cNvSpPr>
            <a:spLocks noGrp="1"/>
          </p:cNvSpPr>
          <p:nvPr>
            <p:custDataLst>
              <p:tags r:id="rId26"/>
            </p:custDataLst>
          </p:nvPr>
        </p:nvSpPr>
        <p:spPr bwMode="gray">
          <a:xfrm>
            <a:off x="6421438" y="5135563"/>
            <a:ext cx="2857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900D50C-FC4D-4E64-B749-47133B662E49}" type="datetime'''''''''''''''''''''''''G''''''''''''''''''''''H''''''''A'''''">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GHA</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316" name="Text Placeholder 4">
            <a:extLst>
              <a:ext uri="{FF2B5EF4-FFF2-40B4-BE49-F238E27FC236}">
                <a16:creationId xmlns:a16="http://schemas.microsoft.com/office/drawing/2014/main" id="{565FE677-DFD5-87D6-7B74-8D4D181D6385}"/>
              </a:ext>
            </a:extLst>
          </p:cNvPr>
          <p:cNvSpPr>
            <a:spLocks noGrp="1"/>
          </p:cNvSpPr>
          <p:nvPr>
            <p:custDataLst>
              <p:tags r:id="rId27"/>
            </p:custDataLst>
          </p:nvPr>
        </p:nvSpPr>
        <p:spPr bwMode="gray">
          <a:xfrm>
            <a:off x="6827838" y="3868738"/>
            <a:ext cx="277813"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04427E7-ECA1-49F6-B710-AE4C1AF423C5}" type="datetime'''''''''''''''U''SA'''''">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USA</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219" name="Text Placeholder 4">
            <a:extLst>
              <a:ext uri="{FF2B5EF4-FFF2-40B4-BE49-F238E27FC236}">
                <a16:creationId xmlns:a16="http://schemas.microsoft.com/office/drawing/2014/main" id="{962F9A8C-2A45-BB60-EE6A-8D7ACC8FD147}"/>
              </a:ext>
            </a:extLst>
          </p:cNvPr>
          <p:cNvSpPr>
            <a:spLocks noGrp="1"/>
          </p:cNvSpPr>
          <p:nvPr>
            <p:custDataLst>
              <p:tags r:id="rId28"/>
            </p:custDataLst>
          </p:nvPr>
        </p:nvSpPr>
        <p:spPr bwMode="gray">
          <a:xfrm>
            <a:off x="5286375" y="4551363"/>
            <a:ext cx="268288"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B2F040F-1BE9-4500-9103-A064EBC200D9}" type="datetime'SV''''''K'''''''''''''">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VK</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30" name="Text Placeholder 4">
            <a:extLst>
              <a:ext uri="{FF2B5EF4-FFF2-40B4-BE49-F238E27FC236}">
                <a16:creationId xmlns:a16="http://schemas.microsoft.com/office/drawing/2014/main" id="{4C1F3293-4EFE-461D-940D-7EE66BAE31C5}"/>
              </a:ext>
            </a:extLst>
          </p:cNvPr>
          <p:cNvSpPr>
            <a:spLocks noGrp="1"/>
          </p:cNvSpPr>
          <p:nvPr>
            <p:custDataLst>
              <p:tags r:id="rId29"/>
            </p:custDataLst>
          </p:nvPr>
        </p:nvSpPr>
        <p:spPr bwMode="gray">
          <a:xfrm>
            <a:off x="4929188" y="3394075"/>
            <a:ext cx="284163"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745E98B-CCE6-4B87-B80C-03580C4CBDF8}" type="datetime'''''''''''''''''''''N''''''''''''E''''D'''''''''''''''''''">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ED</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29" name="Text Placeholder 4">
            <a:extLst>
              <a:ext uri="{FF2B5EF4-FFF2-40B4-BE49-F238E27FC236}">
                <a16:creationId xmlns:a16="http://schemas.microsoft.com/office/drawing/2014/main" id="{4C1F3293-4EFE-461D-940D-7EE66BAE31C5}"/>
              </a:ext>
            </a:extLst>
          </p:cNvPr>
          <p:cNvSpPr>
            <a:spLocks noGrp="1"/>
          </p:cNvSpPr>
          <p:nvPr>
            <p:custDataLst>
              <p:tags r:id="rId30"/>
            </p:custDataLst>
          </p:nvPr>
        </p:nvSpPr>
        <p:spPr bwMode="gray">
          <a:xfrm>
            <a:off x="4929188" y="3076575"/>
            <a:ext cx="284163"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0DF4651-7642-4FBE-A82D-2CAFC8F96AA8}" type="datetime'''''''''''D''''''E''''''''''''''''''''''''''''''''''N'">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N</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689" name="Text Placeholder 4">
            <a:extLst>
              <a:ext uri="{FF2B5EF4-FFF2-40B4-BE49-F238E27FC236}">
                <a16:creationId xmlns:a16="http://schemas.microsoft.com/office/drawing/2014/main" id="{933CE768-2C95-3776-4EFC-0FCA077FAADF}"/>
              </a:ext>
            </a:extLst>
          </p:cNvPr>
          <p:cNvSpPr>
            <a:spLocks noGrp="1"/>
          </p:cNvSpPr>
          <p:nvPr>
            <p:custDataLst>
              <p:tags r:id="rId31"/>
            </p:custDataLst>
          </p:nvPr>
        </p:nvSpPr>
        <p:spPr bwMode="gray">
          <a:xfrm>
            <a:off x="7642225" y="3394075"/>
            <a:ext cx="306388"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F1EDC2B-9441-4D96-926C-A9CD8AEDE2AA}" type="datetime'''''''''''''K''''''''''''''''''''''U''''''''''''''''''W'''">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KUW</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578" name="Text Placeholder 4">
            <a:extLst>
              <a:ext uri="{FF2B5EF4-FFF2-40B4-BE49-F238E27FC236}">
                <a16:creationId xmlns:a16="http://schemas.microsoft.com/office/drawing/2014/main" id="{A5543758-039A-C809-ECFA-B93BA42732BC}"/>
              </a:ext>
            </a:extLst>
          </p:cNvPr>
          <p:cNvSpPr>
            <a:spLocks noGrp="1"/>
          </p:cNvSpPr>
          <p:nvPr>
            <p:custDataLst>
              <p:tags r:id="rId32"/>
            </p:custDataLst>
          </p:nvPr>
        </p:nvSpPr>
        <p:spPr bwMode="gray">
          <a:xfrm>
            <a:off x="7099300" y="3195638"/>
            <a:ext cx="2825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70B1F55-1400-4E72-88EA-9D16CBCC4E7F}" type="datetime'''''A''''''''''''''''''''''''''''''''''''''R''G'''''''''''''''">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RG</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606" name="Text Placeholder 4">
            <a:extLst>
              <a:ext uri="{FF2B5EF4-FFF2-40B4-BE49-F238E27FC236}">
                <a16:creationId xmlns:a16="http://schemas.microsoft.com/office/drawing/2014/main" id="{922046B5-17E8-2EC2-E06A-7EF7EB3FDFE8}"/>
              </a:ext>
            </a:extLst>
          </p:cNvPr>
          <p:cNvSpPr>
            <a:spLocks noGrp="1"/>
          </p:cNvSpPr>
          <p:nvPr>
            <p:custDataLst>
              <p:tags r:id="rId33"/>
            </p:custDataLst>
          </p:nvPr>
        </p:nvSpPr>
        <p:spPr bwMode="gray">
          <a:xfrm>
            <a:off x="6615113" y="4948238"/>
            <a:ext cx="2413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02DF003-2D6D-43DF-851A-7E43075A4899}" type="datetime'''''''N''''''''''''''''''I''G'''''''''''''''''''">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IG</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280" name="Text Placeholder 4">
            <a:extLst>
              <a:ext uri="{FF2B5EF4-FFF2-40B4-BE49-F238E27FC236}">
                <a16:creationId xmlns:a16="http://schemas.microsoft.com/office/drawing/2014/main" id="{0D932F4B-FB53-15EA-A2A3-A06817F064EC}"/>
              </a:ext>
            </a:extLst>
          </p:cNvPr>
          <p:cNvSpPr>
            <a:spLocks noGrp="1"/>
          </p:cNvSpPr>
          <p:nvPr>
            <p:custDataLst>
              <p:tags r:id="rId34"/>
            </p:custDataLst>
          </p:nvPr>
        </p:nvSpPr>
        <p:spPr bwMode="gray">
          <a:xfrm>
            <a:off x="6713538" y="4551363"/>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281B507-EC6F-4DEC-BD13-E0C1E13C1097}" type="datetime'''''''''''''''''''''''''PO''''''''''''''R'''''''''''">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POR</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27" name="Text Placeholder 4">
            <a:extLst>
              <a:ext uri="{FF2B5EF4-FFF2-40B4-BE49-F238E27FC236}">
                <a16:creationId xmlns:a16="http://schemas.microsoft.com/office/drawing/2014/main" id="{4C1F3293-4EFE-461D-940D-7EE66BAE31C5}"/>
              </a:ext>
            </a:extLst>
          </p:cNvPr>
          <p:cNvSpPr>
            <a:spLocks noGrp="1"/>
          </p:cNvSpPr>
          <p:nvPr>
            <p:custDataLst>
              <p:tags r:id="rId35"/>
            </p:custDataLst>
          </p:nvPr>
        </p:nvSpPr>
        <p:spPr bwMode="gray">
          <a:xfrm>
            <a:off x="4219575" y="2373313"/>
            <a:ext cx="2286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ED6F100-1112-40F3-955A-957F98B0EC39}" type="datetime'''''''''''''''''''''I''''''R''''''''''''E'''''''''''''''">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IRE</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422" name="Text Placeholder 4">
            <a:extLst>
              <a:ext uri="{FF2B5EF4-FFF2-40B4-BE49-F238E27FC236}">
                <a16:creationId xmlns:a16="http://schemas.microsoft.com/office/drawing/2014/main" id="{E7200B12-3A4C-D958-9751-064B21E8A50F}"/>
              </a:ext>
            </a:extLst>
          </p:cNvPr>
          <p:cNvSpPr>
            <a:spLocks noGrp="1"/>
          </p:cNvSpPr>
          <p:nvPr>
            <p:custDataLst>
              <p:tags r:id="rId36"/>
            </p:custDataLst>
          </p:nvPr>
        </p:nvSpPr>
        <p:spPr bwMode="gray">
          <a:xfrm>
            <a:off x="5634038" y="5292725"/>
            <a:ext cx="274638"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4344678-02B2-4E7B-9096-C441058FE0DD}" type="datetime'''''''''''''''''''''''''M''Y''''''''''S'''''''''''">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YS</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28" name="Text Placeholder 4">
            <a:extLst>
              <a:ext uri="{FF2B5EF4-FFF2-40B4-BE49-F238E27FC236}">
                <a16:creationId xmlns:a16="http://schemas.microsoft.com/office/drawing/2014/main" id="{4C1F3293-4EFE-461D-940D-7EE66BAE31C5}"/>
              </a:ext>
            </a:extLst>
          </p:cNvPr>
          <p:cNvSpPr>
            <a:spLocks noGrp="1"/>
          </p:cNvSpPr>
          <p:nvPr>
            <p:custDataLst>
              <p:tags r:id="rId37"/>
            </p:custDataLst>
          </p:nvPr>
        </p:nvSpPr>
        <p:spPr bwMode="gray">
          <a:xfrm>
            <a:off x="4657725" y="2482850"/>
            <a:ext cx="198438"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1BBDF17-D34A-47E9-A278-AD06C0410464}" type="datetime'''''''U''''''''K'''''''">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UK</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270" name="Text Placeholder 4">
            <a:extLst>
              <a:ext uri="{FF2B5EF4-FFF2-40B4-BE49-F238E27FC236}">
                <a16:creationId xmlns:a16="http://schemas.microsoft.com/office/drawing/2014/main" id="{BADB3FE9-3443-5825-5BA0-D8067AE020D6}"/>
              </a:ext>
            </a:extLst>
          </p:cNvPr>
          <p:cNvSpPr>
            <a:spLocks noGrp="1"/>
          </p:cNvSpPr>
          <p:nvPr>
            <p:custDataLst>
              <p:tags r:id="rId38"/>
            </p:custDataLst>
          </p:nvPr>
        </p:nvSpPr>
        <p:spPr bwMode="gray">
          <a:xfrm>
            <a:off x="6335713" y="4214813"/>
            <a:ext cx="230188"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0FBE501-C415-460C-B27A-95DEA7A812CA}" type="datetime'''F''''''''''''''''I''''''''''''''''''''N'''''''''''''''''''">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IN</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32" name="Text Placeholder 4">
            <a:extLst>
              <a:ext uri="{FF2B5EF4-FFF2-40B4-BE49-F238E27FC236}">
                <a16:creationId xmlns:a16="http://schemas.microsoft.com/office/drawing/2014/main" id="{4C1F3293-4EFE-461D-940D-7EE66BAE31C5}"/>
              </a:ext>
            </a:extLst>
          </p:cNvPr>
          <p:cNvSpPr>
            <a:spLocks noGrp="1"/>
          </p:cNvSpPr>
          <p:nvPr>
            <p:custDataLst>
              <p:tags r:id="rId39"/>
            </p:custDataLst>
          </p:nvPr>
        </p:nvSpPr>
        <p:spPr bwMode="gray">
          <a:xfrm>
            <a:off x="4738688" y="3819525"/>
            <a:ext cx="2762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83FA7E7-CEF3-4B95-BF5C-1B80E09E0BB9}" type="datetime'''G''E''''''''R'''''''''">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GER</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236" name="Text Placeholder 4">
            <a:extLst>
              <a:ext uri="{FF2B5EF4-FFF2-40B4-BE49-F238E27FC236}">
                <a16:creationId xmlns:a16="http://schemas.microsoft.com/office/drawing/2014/main" id="{85E6EF11-2989-0760-3239-8A6292FCD1C3}"/>
              </a:ext>
            </a:extLst>
          </p:cNvPr>
          <p:cNvSpPr>
            <a:spLocks noGrp="1"/>
          </p:cNvSpPr>
          <p:nvPr>
            <p:custDataLst>
              <p:tags r:id="rId40"/>
            </p:custDataLst>
          </p:nvPr>
        </p:nvSpPr>
        <p:spPr bwMode="gray">
          <a:xfrm>
            <a:off x="6013450" y="5135563"/>
            <a:ext cx="242888"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B024CC7-77D0-4905-8108-C9BA86E95FE2}" type="datetime'''''''I''''''''''''''''D''''''''''''''N'''''''''''''''''''''">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IDN</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174" name="Text Placeholder 4">
            <a:extLst>
              <a:ext uri="{FF2B5EF4-FFF2-40B4-BE49-F238E27FC236}">
                <a16:creationId xmlns:a16="http://schemas.microsoft.com/office/drawing/2014/main" id="{D82A6BB1-75BA-C58F-1DB6-530F279538EF}"/>
              </a:ext>
            </a:extLst>
          </p:cNvPr>
          <p:cNvSpPr>
            <a:spLocks noGrp="1"/>
          </p:cNvSpPr>
          <p:nvPr>
            <p:custDataLst>
              <p:tags r:id="rId41"/>
            </p:custDataLst>
          </p:nvPr>
        </p:nvSpPr>
        <p:spPr bwMode="gray">
          <a:xfrm>
            <a:off x="4795838" y="4116388"/>
            <a:ext cx="2698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4ED8A47-9DD8-4A78-B37E-02F5ECB0BADC}" type="datetime'''''''''''''''''''''''''''''''P''''''O''''''''''''L'''''">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POL</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248" name="Text Placeholder 4">
            <a:extLst>
              <a:ext uri="{FF2B5EF4-FFF2-40B4-BE49-F238E27FC236}">
                <a16:creationId xmlns:a16="http://schemas.microsoft.com/office/drawing/2014/main" id="{2674F9AA-B868-9FBC-1A5A-CFE6A16CE33D}"/>
              </a:ext>
            </a:extLst>
          </p:cNvPr>
          <p:cNvSpPr>
            <a:spLocks noGrp="1"/>
          </p:cNvSpPr>
          <p:nvPr>
            <p:custDataLst>
              <p:tags r:id="rId42"/>
            </p:custDataLst>
          </p:nvPr>
        </p:nvSpPr>
        <p:spPr bwMode="gray">
          <a:xfrm>
            <a:off x="6013450" y="4541838"/>
            <a:ext cx="2730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1CBB062-00B5-4C71-A37E-595952B9B6CC}" type="datetime'''''''''B''''''''''''''''''''''''''U''''''''''L'''''''">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BUL</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183" name="Text Placeholder 4">
            <a:extLst>
              <a:ext uri="{FF2B5EF4-FFF2-40B4-BE49-F238E27FC236}">
                <a16:creationId xmlns:a16="http://schemas.microsoft.com/office/drawing/2014/main" id="{7181E72E-1518-4CE0-528D-888F229D1E82}"/>
              </a:ext>
            </a:extLst>
          </p:cNvPr>
          <p:cNvSpPr>
            <a:spLocks noGrp="1"/>
          </p:cNvSpPr>
          <p:nvPr>
            <p:custDataLst>
              <p:tags r:id="rId43"/>
            </p:custDataLst>
          </p:nvPr>
        </p:nvSpPr>
        <p:spPr bwMode="gray">
          <a:xfrm>
            <a:off x="4391025" y="4067175"/>
            <a:ext cx="296863"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5BCF6DE-6BF3-429F-A3F4-8E6C7969C954}" type="datetime'''''''''''''S''''''''''''''''''W''''''''''''E'''''''''''''''">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WE</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194" name="Text Placeholder 4">
            <a:extLst>
              <a:ext uri="{FF2B5EF4-FFF2-40B4-BE49-F238E27FC236}">
                <a16:creationId xmlns:a16="http://schemas.microsoft.com/office/drawing/2014/main" id="{55888BBF-8B98-B366-2CF9-781B6DBD68F7}"/>
              </a:ext>
            </a:extLst>
          </p:cNvPr>
          <p:cNvSpPr>
            <a:spLocks noGrp="1"/>
          </p:cNvSpPr>
          <p:nvPr>
            <p:custDataLst>
              <p:tags r:id="rId44"/>
            </p:custDataLst>
          </p:nvPr>
        </p:nvSpPr>
        <p:spPr bwMode="gray">
          <a:xfrm>
            <a:off x="5019675" y="3740150"/>
            <a:ext cx="258763"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32D06E4-4D08-4851-B396-C28320D7B168}" type="datetime'''''''C''''''''''''Z''''''E'''''''''''''''''''''''''''''">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CZE</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207" name="Text Placeholder 4">
            <a:extLst>
              <a:ext uri="{FF2B5EF4-FFF2-40B4-BE49-F238E27FC236}">
                <a16:creationId xmlns:a16="http://schemas.microsoft.com/office/drawing/2014/main" id="{AC936C33-31C2-1DD5-0EAF-6195AD07BD85}"/>
              </a:ext>
            </a:extLst>
          </p:cNvPr>
          <p:cNvSpPr>
            <a:spLocks noGrp="1"/>
          </p:cNvSpPr>
          <p:nvPr>
            <p:custDataLst>
              <p:tags r:id="rId45"/>
            </p:custDataLst>
          </p:nvPr>
        </p:nvSpPr>
        <p:spPr bwMode="gray">
          <a:xfrm>
            <a:off x="5472113" y="3829050"/>
            <a:ext cx="261938"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AFD5466-1E63-4026-A640-1B489D7EC2D7}" type="datetime'''''''''''''''A''''''''U''''''''''''''T'''''''''">
              <a:rPr kumimoji="0" lang="de-DE" altLang="en-US" sz="1000" b="1"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UT</a:t>
            </a:fld>
            <a:endParaRPr kumimoji="0" lang="de-DE" sz="10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374" name="Text Placeholder 4">
            <a:extLst>
              <a:ext uri="{FF2B5EF4-FFF2-40B4-BE49-F238E27FC236}">
                <a16:creationId xmlns:a16="http://schemas.microsoft.com/office/drawing/2014/main" id="{001CA785-53BB-B7F9-C596-90D8D26F1413}"/>
              </a:ext>
            </a:extLst>
          </p:cNvPr>
          <p:cNvSpPr>
            <a:spLocks noGrp="1"/>
          </p:cNvSpPr>
          <p:nvPr>
            <p:custDataLst>
              <p:tags r:id="rId46"/>
            </p:custDataLst>
          </p:nvPr>
        </p:nvSpPr>
        <p:spPr bwMode="gray">
          <a:xfrm>
            <a:off x="5945188" y="4303713"/>
            <a:ext cx="2349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6136962-8CE1-4926-A728-976FF9E5F54D}" type="datetime'P''H''''''''I'''''''''''''''''''''">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PHI</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228" name="Text Placeholder 4">
            <a:extLst>
              <a:ext uri="{FF2B5EF4-FFF2-40B4-BE49-F238E27FC236}">
                <a16:creationId xmlns:a16="http://schemas.microsoft.com/office/drawing/2014/main" id="{B670E92E-11C2-FA7D-82FE-C88352D44498}"/>
              </a:ext>
            </a:extLst>
          </p:cNvPr>
          <p:cNvSpPr>
            <a:spLocks noGrp="1"/>
          </p:cNvSpPr>
          <p:nvPr>
            <p:custDataLst>
              <p:tags r:id="rId47"/>
            </p:custDataLst>
          </p:nvPr>
        </p:nvSpPr>
        <p:spPr bwMode="gray">
          <a:xfrm>
            <a:off x="5222875" y="4232275"/>
            <a:ext cx="2921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CFBB0AD-4AAC-4367-B2CB-6CC2A0061E75}" type="datetime'''''''''''''''''''H''U''''''N'''''''''''''''''''''''''''">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HUN</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893" name="Text Placeholder 4">
            <a:extLst>
              <a:ext uri="{FF2B5EF4-FFF2-40B4-BE49-F238E27FC236}">
                <a16:creationId xmlns:a16="http://schemas.microsoft.com/office/drawing/2014/main" id="{EFCF914A-72EE-0DB5-50C3-9D86D57DD966}"/>
              </a:ext>
            </a:extLst>
          </p:cNvPr>
          <p:cNvSpPr>
            <a:spLocks noGrp="1"/>
          </p:cNvSpPr>
          <p:nvPr>
            <p:custDataLst>
              <p:tags r:id="rId48"/>
            </p:custDataLst>
          </p:nvPr>
        </p:nvSpPr>
        <p:spPr bwMode="gray">
          <a:xfrm>
            <a:off x="8153400" y="2373313"/>
            <a:ext cx="233363"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151EEB3-FC9D-4CE1-8460-B7081433AF2A}" type="datetime'''''''''''''C''''''''''H''''''''I'''''''''''''''''''''''''''''">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CHI</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147" name="Text Placeholder 4">
            <a:extLst>
              <a:ext uri="{FF2B5EF4-FFF2-40B4-BE49-F238E27FC236}">
                <a16:creationId xmlns:a16="http://schemas.microsoft.com/office/drawing/2014/main" id="{85D4211B-7FA8-4DD3-8803-B32D72B758CA}"/>
              </a:ext>
            </a:extLst>
          </p:cNvPr>
          <p:cNvSpPr>
            <a:spLocks noGrp="1"/>
          </p:cNvSpPr>
          <p:nvPr>
            <p:custDataLst>
              <p:tags r:id="rId49"/>
            </p:custDataLst>
          </p:nvPr>
        </p:nvSpPr>
        <p:spPr bwMode="gray">
          <a:xfrm>
            <a:off x="7256463" y="4843463"/>
            <a:ext cx="280988"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AA672F4-EBD0-43B7-A1CF-95665C50D62C}" type="datetime'''''''''''''''''''''M''''''''''''E''''''''''''''X'''''''''''''">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EX</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397" name="Text Placeholder 4">
            <a:extLst>
              <a:ext uri="{FF2B5EF4-FFF2-40B4-BE49-F238E27FC236}">
                <a16:creationId xmlns:a16="http://schemas.microsoft.com/office/drawing/2014/main" id="{2A231516-53DA-5CDC-2616-22573B49BD8E}"/>
              </a:ext>
            </a:extLst>
          </p:cNvPr>
          <p:cNvSpPr>
            <a:spLocks noGrp="1"/>
          </p:cNvSpPr>
          <p:nvPr>
            <p:custDataLst>
              <p:tags r:id="rId50"/>
            </p:custDataLst>
          </p:nvPr>
        </p:nvSpPr>
        <p:spPr bwMode="gray">
          <a:xfrm>
            <a:off x="5359400" y="5238750"/>
            <a:ext cx="274638"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480ECA9-E2E9-4FE2-92C0-3CEAA039BE6F}" type="datetime'''''S''''''G''''''''P'''''''''''''''''''''''''''">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GP</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238" name="Text Placeholder 4">
            <a:extLst>
              <a:ext uri="{FF2B5EF4-FFF2-40B4-BE49-F238E27FC236}">
                <a16:creationId xmlns:a16="http://schemas.microsoft.com/office/drawing/2014/main" id="{E1CA51AA-245E-FD4C-A522-479490E9D07E}"/>
              </a:ext>
            </a:extLst>
          </p:cNvPr>
          <p:cNvSpPr>
            <a:spLocks noGrp="1"/>
          </p:cNvSpPr>
          <p:nvPr>
            <p:custDataLst>
              <p:tags r:id="rId51"/>
            </p:custDataLst>
          </p:nvPr>
        </p:nvSpPr>
        <p:spPr bwMode="gray">
          <a:xfrm>
            <a:off x="5607050" y="4364038"/>
            <a:ext cx="2984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5812857-37B3-427C-AADF-B77ADBC6735F}" type="datetime'''''''''R''''''''''''''''''''''''''''''''''''''''O''''M'''''">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ROM</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617" name="Text Placeholder 4">
            <a:extLst>
              <a:ext uri="{FF2B5EF4-FFF2-40B4-BE49-F238E27FC236}">
                <a16:creationId xmlns:a16="http://schemas.microsoft.com/office/drawing/2014/main" id="{C6FBFCB1-139A-BDE4-1918-AA60190542B0}"/>
              </a:ext>
            </a:extLst>
          </p:cNvPr>
          <p:cNvSpPr>
            <a:spLocks noGrp="1"/>
          </p:cNvSpPr>
          <p:nvPr>
            <p:custDataLst>
              <p:tags r:id="rId52"/>
            </p:custDataLst>
          </p:nvPr>
        </p:nvSpPr>
        <p:spPr bwMode="gray">
          <a:xfrm>
            <a:off x="6907213" y="4398963"/>
            <a:ext cx="280988"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3764D72-ED3C-4F71-B550-0865EB7A95A1}" type="datetime'''''''''''''''''''K''''''''''''E''''N'''''''''''''''''''''''">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KEN</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259" name="Text Placeholder 4">
            <a:extLst>
              <a:ext uri="{FF2B5EF4-FFF2-40B4-BE49-F238E27FC236}">
                <a16:creationId xmlns:a16="http://schemas.microsoft.com/office/drawing/2014/main" id="{39109DE2-586C-5AFC-A345-AD5CA4F922AD}"/>
              </a:ext>
            </a:extLst>
          </p:cNvPr>
          <p:cNvSpPr>
            <a:spLocks noGrp="1"/>
          </p:cNvSpPr>
          <p:nvPr>
            <p:custDataLst>
              <p:tags r:id="rId53"/>
            </p:custDataLst>
          </p:nvPr>
        </p:nvSpPr>
        <p:spPr bwMode="gray">
          <a:xfrm>
            <a:off x="6565900" y="4292600"/>
            <a:ext cx="214313"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6F760E3-6212-41B4-9ED0-4A82F80F8718}" type="datetime'''''''''''''''''''''IT''''''''''''''''A'''''''''''''''">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ITA</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290" name="Text Placeholder 4">
            <a:extLst>
              <a:ext uri="{FF2B5EF4-FFF2-40B4-BE49-F238E27FC236}">
                <a16:creationId xmlns:a16="http://schemas.microsoft.com/office/drawing/2014/main" id="{3B1DEB20-549B-BFEF-B253-2F38B1EE2198}"/>
              </a:ext>
            </a:extLst>
          </p:cNvPr>
          <p:cNvSpPr>
            <a:spLocks noGrp="1"/>
          </p:cNvSpPr>
          <p:nvPr>
            <p:custDataLst>
              <p:tags r:id="rId54"/>
            </p:custDataLst>
          </p:nvPr>
        </p:nvSpPr>
        <p:spPr bwMode="gray">
          <a:xfrm>
            <a:off x="6827838" y="4146550"/>
            <a:ext cx="268288"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2719AEB-26C5-496E-B7CA-94EF9B6C7AFF}" type="datetime'''''''''''''''''E''''''''''''''''''S''P'''''''''''''''">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ESP</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328" name="Text Placeholder 4">
            <a:extLst>
              <a:ext uri="{FF2B5EF4-FFF2-40B4-BE49-F238E27FC236}">
                <a16:creationId xmlns:a16="http://schemas.microsoft.com/office/drawing/2014/main" id="{1D0EE753-6487-06ED-AEC0-7D65BC48A1D2}"/>
              </a:ext>
            </a:extLst>
          </p:cNvPr>
          <p:cNvSpPr>
            <a:spLocks noGrp="1"/>
          </p:cNvSpPr>
          <p:nvPr>
            <p:custDataLst>
              <p:tags r:id="rId55"/>
            </p:custDataLst>
          </p:nvPr>
        </p:nvSpPr>
        <p:spPr bwMode="gray">
          <a:xfrm>
            <a:off x="5905500" y="4114800"/>
            <a:ext cx="287338"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E923184-5430-45AA-8C2A-35FCB0287371}" type="datetime'C''''''''''''''''''''''''''''H''''''''N'''''''''''''''''">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CHN</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348" name="Text Placeholder 4">
            <a:extLst>
              <a:ext uri="{FF2B5EF4-FFF2-40B4-BE49-F238E27FC236}">
                <a16:creationId xmlns:a16="http://schemas.microsoft.com/office/drawing/2014/main" id="{67830E28-2873-BBEB-B660-F3F8EFB40048}"/>
              </a:ext>
            </a:extLst>
          </p:cNvPr>
          <p:cNvSpPr>
            <a:spLocks noGrp="1"/>
          </p:cNvSpPr>
          <p:nvPr>
            <p:custDataLst>
              <p:tags r:id="rId56"/>
            </p:custDataLst>
          </p:nvPr>
        </p:nvSpPr>
        <p:spPr bwMode="gray">
          <a:xfrm>
            <a:off x="5607050" y="4106863"/>
            <a:ext cx="2603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9752FC0-0B29-46F5-9105-F27E0D8DDC83}" type="datetime'''''''''''''''J''''''''''''A''''''''''''''''''P'''''''''''">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JAP</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358" name="Text Placeholder 4">
            <a:extLst>
              <a:ext uri="{FF2B5EF4-FFF2-40B4-BE49-F238E27FC236}">
                <a16:creationId xmlns:a16="http://schemas.microsoft.com/office/drawing/2014/main" id="{53E31048-CA97-84EB-06B9-9484056DC92A}"/>
              </a:ext>
            </a:extLst>
          </p:cNvPr>
          <p:cNvSpPr>
            <a:spLocks noGrp="1"/>
          </p:cNvSpPr>
          <p:nvPr>
            <p:custDataLst>
              <p:tags r:id="rId57"/>
            </p:custDataLst>
          </p:nvPr>
        </p:nvSpPr>
        <p:spPr bwMode="gray">
          <a:xfrm>
            <a:off x="5581650" y="4789488"/>
            <a:ext cx="220663"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9F522CC-05EF-4C9A-A040-7C8B33DBEDFD}" type="datetime'V''''''''''''''''''''''I''''''''''''''''''''E'''">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VIE</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485" name="Text Placeholder 4">
            <a:extLst>
              <a:ext uri="{FF2B5EF4-FFF2-40B4-BE49-F238E27FC236}">
                <a16:creationId xmlns:a16="http://schemas.microsoft.com/office/drawing/2014/main" id="{11686DD4-D6F5-3ED4-22F9-0B79C5459988}"/>
              </a:ext>
            </a:extLst>
          </p:cNvPr>
          <p:cNvSpPr>
            <a:spLocks noGrp="1"/>
          </p:cNvSpPr>
          <p:nvPr>
            <p:custDataLst>
              <p:tags r:id="rId58"/>
            </p:custDataLst>
          </p:nvPr>
        </p:nvSpPr>
        <p:spPr bwMode="gray">
          <a:xfrm>
            <a:off x="6367463" y="4492625"/>
            <a:ext cx="2730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FF7BA6D-6A0B-4036-8BAB-5AFC4115B3ED}" type="datetime'''''''''''C''''''''''''''''''''''''''''O''''''''''''S'''''">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COS</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31" name="Text Placeholder 4">
            <a:extLst>
              <a:ext uri="{FF2B5EF4-FFF2-40B4-BE49-F238E27FC236}">
                <a16:creationId xmlns:a16="http://schemas.microsoft.com/office/drawing/2014/main" id="{4C1F3293-4EFE-461D-940D-7EE66BAE31C5}"/>
              </a:ext>
            </a:extLst>
          </p:cNvPr>
          <p:cNvSpPr>
            <a:spLocks noGrp="1"/>
          </p:cNvSpPr>
          <p:nvPr>
            <p:custDataLst>
              <p:tags r:id="rId59"/>
            </p:custDataLst>
          </p:nvPr>
        </p:nvSpPr>
        <p:spPr bwMode="gray">
          <a:xfrm>
            <a:off x="4606925" y="3541713"/>
            <a:ext cx="2667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D912014-0836-4645-B068-B63EC0E0A194}" type="datetime'''''''''''B''''E''''''''''''''''L'''''''''''''''''''''''''''">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BEL</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459" name="Text Placeholder 4">
            <a:extLst>
              <a:ext uri="{FF2B5EF4-FFF2-40B4-BE49-F238E27FC236}">
                <a16:creationId xmlns:a16="http://schemas.microsoft.com/office/drawing/2014/main" id="{E6DB79A9-24BF-1504-A128-8CEE58F4AC06}"/>
              </a:ext>
            </a:extLst>
          </p:cNvPr>
          <p:cNvSpPr>
            <a:spLocks noGrp="1"/>
          </p:cNvSpPr>
          <p:nvPr>
            <p:custDataLst>
              <p:tags r:id="rId60"/>
            </p:custDataLst>
          </p:nvPr>
        </p:nvSpPr>
        <p:spPr bwMode="gray">
          <a:xfrm>
            <a:off x="5419725" y="4967288"/>
            <a:ext cx="271463"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AB49E95-8C0F-4310-A338-6E8B741B403F}" type="datetime'E''C''''''''''''''''''''U'''''''''''''''''''''''''">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ECU</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471" name="Text Placeholder 4">
            <a:extLst>
              <a:ext uri="{FF2B5EF4-FFF2-40B4-BE49-F238E27FC236}">
                <a16:creationId xmlns:a16="http://schemas.microsoft.com/office/drawing/2014/main" id="{D01257CC-350F-83C3-015C-64CF54545FBF}"/>
              </a:ext>
            </a:extLst>
          </p:cNvPr>
          <p:cNvSpPr>
            <a:spLocks noGrp="1"/>
          </p:cNvSpPr>
          <p:nvPr>
            <p:custDataLst>
              <p:tags r:id="rId61"/>
            </p:custDataLst>
          </p:nvPr>
        </p:nvSpPr>
        <p:spPr bwMode="gray">
          <a:xfrm>
            <a:off x="6089650" y="4948238"/>
            <a:ext cx="2857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6C0884E-370E-4833-8EFB-80B211766A1A}" type="datetime'''''''''''''''''''''''''''''''''''''''P''''''''A''''N'''">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PAN</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499" name="Text Placeholder 4">
            <a:extLst>
              <a:ext uri="{FF2B5EF4-FFF2-40B4-BE49-F238E27FC236}">
                <a16:creationId xmlns:a16="http://schemas.microsoft.com/office/drawing/2014/main" id="{D6FF594E-C3F4-7278-4CAA-984F8948017B}"/>
              </a:ext>
            </a:extLst>
          </p:cNvPr>
          <p:cNvSpPr>
            <a:spLocks noGrp="1"/>
          </p:cNvSpPr>
          <p:nvPr>
            <p:custDataLst>
              <p:tags r:id="rId62"/>
            </p:custDataLst>
          </p:nvPr>
        </p:nvSpPr>
        <p:spPr bwMode="gray">
          <a:xfrm>
            <a:off x="6430963" y="4759325"/>
            <a:ext cx="2921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C0E92FB-0AF7-4D0B-9133-7B5BCCFEF017}" type="datetime'H''''''''''''''''''''''''''''''''''''''''''''O''N'''''''">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HON</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509" name="Text Placeholder 4">
            <a:extLst>
              <a:ext uri="{FF2B5EF4-FFF2-40B4-BE49-F238E27FC236}">
                <a16:creationId xmlns:a16="http://schemas.microsoft.com/office/drawing/2014/main" id="{E94A5E61-D49F-194A-4834-CC69C8058F80}"/>
              </a:ext>
            </a:extLst>
          </p:cNvPr>
          <p:cNvSpPr>
            <a:spLocks noGrp="1"/>
          </p:cNvSpPr>
          <p:nvPr>
            <p:custDataLst>
              <p:tags r:id="rId63"/>
            </p:custDataLst>
          </p:nvPr>
        </p:nvSpPr>
        <p:spPr bwMode="gray">
          <a:xfrm>
            <a:off x="6964363" y="4948238"/>
            <a:ext cx="255588"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E05E627-3995-45A6-B7D6-2D6B6F39662D}" type="datetime'''''''''''V''''''''E''''''''''''''''''Z'''''''''''''''">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VEZ</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523" name="Text Placeholder 4">
            <a:extLst>
              <a:ext uri="{FF2B5EF4-FFF2-40B4-BE49-F238E27FC236}">
                <a16:creationId xmlns:a16="http://schemas.microsoft.com/office/drawing/2014/main" id="{9F5AC01E-173D-EF1A-B0B2-0E84C6112FDD}"/>
              </a:ext>
            </a:extLst>
          </p:cNvPr>
          <p:cNvSpPr>
            <a:spLocks noGrp="1"/>
          </p:cNvSpPr>
          <p:nvPr>
            <p:custDataLst>
              <p:tags r:id="rId64"/>
            </p:custDataLst>
          </p:nvPr>
        </p:nvSpPr>
        <p:spPr bwMode="gray">
          <a:xfrm>
            <a:off x="6770688" y="5106988"/>
            <a:ext cx="2825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14F8BCD-FCB6-4F5C-A5E4-F8CAC20F9E31}" type="datetime'''''''''''''''''''''''''''''''''''''''B''''R''A'''''''''''">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BRA</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652" name="Text Placeholder 4">
            <a:extLst>
              <a:ext uri="{FF2B5EF4-FFF2-40B4-BE49-F238E27FC236}">
                <a16:creationId xmlns:a16="http://schemas.microsoft.com/office/drawing/2014/main" id="{248D9408-8626-6079-1236-E79BE04DF829}"/>
              </a:ext>
            </a:extLst>
          </p:cNvPr>
          <p:cNvSpPr>
            <a:spLocks noGrp="1"/>
          </p:cNvSpPr>
          <p:nvPr>
            <p:custDataLst>
              <p:tags r:id="rId65"/>
            </p:custDataLst>
          </p:nvPr>
        </p:nvSpPr>
        <p:spPr bwMode="gray">
          <a:xfrm>
            <a:off x="7407275" y="4422775"/>
            <a:ext cx="2667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2961A83-E672-46B2-8C3F-FCA31D70FB9B}" type="datetime'''''''''''''''''''''''''S''''''''''AF'''''''''">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AF</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555" name="Text Placeholder 4">
            <a:extLst>
              <a:ext uri="{FF2B5EF4-FFF2-40B4-BE49-F238E27FC236}">
                <a16:creationId xmlns:a16="http://schemas.microsoft.com/office/drawing/2014/main" id="{4F534728-2463-8F00-EB6B-63EE670F7FE8}"/>
              </a:ext>
            </a:extLst>
          </p:cNvPr>
          <p:cNvSpPr>
            <a:spLocks noGrp="1"/>
          </p:cNvSpPr>
          <p:nvPr>
            <p:custDataLst>
              <p:tags r:id="rId66"/>
            </p:custDataLst>
          </p:nvPr>
        </p:nvSpPr>
        <p:spPr bwMode="gray">
          <a:xfrm>
            <a:off x="7539038" y="4948238"/>
            <a:ext cx="2730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13677BD-BDCB-4CD5-9F69-A429B18AB766}" type="datetime'''''''''''''''''''''''B''''''''''''''''O''L'''''''''''''">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BOL</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566" name="Text Placeholder 4">
            <a:extLst>
              <a:ext uri="{FF2B5EF4-FFF2-40B4-BE49-F238E27FC236}">
                <a16:creationId xmlns:a16="http://schemas.microsoft.com/office/drawing/2014/main" id="{9BDA6919-B564-53DD-F6C1-5537AC0F4487}"/>
              </a:ext>
            </a:extLst>
          </p:cNvPr>
          <p:cNvSpPr>
            <a:spLocks noGrp="1"/>
          </p:cNvSpPr>
          <p:nvPr>
            <p:custDataLst>
              <p:tags r:id="rId67"/>
            </p:custDataLst>
          </p:nvPr>
        </p:nvSpPr>
        <p:spPr bwMode="gray">
          <a:xfrm>
            <a:off x="7642225" y="5175250"/>
            <a:ext cx="2730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646DE3E-77D2-4BA5-85E5-608F4A3DF703}" type="datetime'''''''''''''''''''''''''''PE''''R'''''''''''''''''''''''">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PER</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445" name="Text Placeholder 4">
            <a:extLst>
              <a:ext uri="{FF2B5EF4-FFF2-40B4-BE49-F238E27FC236}">
                <a16:creationId xmlns:a16="http://schemas.microsoft.com/office/drawing/2014/main" id="{BA45EC17-9EE8-5BD6-400D-6BAB8CABBE34}"/>
              </a:ext>
            </a:extLst>
          </p:cNvPr>
          <p:cNvSpPr>
            <a:spLocks noGrp="1"/>
          </p:cNvSpPr>
          <p:nvPr>
            <p:custDataLst>
              <p:tags r:id="rId68"/>
            </p:custDataLst>
          </p:nvPr>
        </p:nvSpPr>
        <p:spPr bwMode="gray">
          <a:xfrm>
            <a:off x="6827838" y="4794250"/>
            <a:ext cx="242888"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F9FE957-C189-4E27-83AC-FC5D88553A7E}" type="datetime'''''''''''''I''''''''''''''''''''''''''''''''''''''''N''D'''''">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IND</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657" name="Text Placeholder 4">
            <a:extLst>
              <a:ext uri="{FF2B5EF4-FFF2-40B4-BE49-F238E27FC236}">
                <a16:creationId xmlns:a16="http://schemas.microsoft.com/office/drawing/2014/main" id="{88CE158C-D58C-E2F6-99B8-B2021EA2B06C}"/>
              </a:ext>
            </a:extLst>
          </p:cNvPr>
          <p:cNvSpPr>
            <a:spLocks noGrp="1"/>
          </p:cNvSpPr>
          <p:nvPr>
            <p:custDataLst>
              <p:tags r:id="rId69"/>
            </p:custDataLst>
          </p:nvPr>
        </p:nvSpPr>
        <p:spPr bwMode="gray">
          <a:xfrm>
            <a:off x="7718425" y="3898900"/>
            <a:ext cx="2857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6C5C565-09DF-4DDA-9701-4F49CAA58814}" type="datetime'''''M''O''''''''''''''''''''''''''''''''''''''''''''''''Z'''''">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MOZ</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683" name="Text Placeholder 4">
            <a:extLst>
              <a:ext uri="{FF2B5EF4-FFF2-40B4-BE49-F238E27FC236}">
                <a16:creationId xmlns:a16="http://schemas.microsoft.com/office/drawing/2014/main" id="{B8F8FEE9-B830-E06D-F157-9980734B450D}"/>
              </a:ext>
            </a:extLst>
          </p:cNvPr>
          <p:cNvSpPr>
            <a:spLocks noGrp="1"/>
          </p:cNvSpPr>
          <p:nvPr>
            <p:custDataLst>
              <p:tags r:id="rId70"/>
            </p:custDataLst>
          </p:nvPr>
        </p:nvSpPr>
        <p:spPr bwMode="gray">
          <a:xfrm>
            <a:off x="8108950" y="3819525"/>
            <a:ext cx="2571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4921041-5939-4E7E-A5B5-E5083A425B8A}" type="datetime'''''''''''E''''''G''''''Y'''''''''''''''''''''''''">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EGY</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696" name="Text Placeholder 4">
            <a:extLst>
              <a:ext uri="{FF2B5EF4-FFF2-40B4-BE49-F238E27FC236}">
                <a16:creationId xmlns:a16="http://schemas.microsoft.com/office/drawing/2014/main" id="{B19399F2-9EA3-4EAC-AFDE-3DFF72BE390A}"/>
              </a:ext>
            </a:extLst>
          </p:cNvPr>
          <p:cNvSpPr>
            <a:spLocks noGrp="1"/>
          </p:cNvSpPr>
          <p:nvPr>
            <p:custDataLst>
              <p:tags r:id="rId71"/>
            </p:custDataLst>
          </p:nvPr>
        </p:nvSpPr>
        <p:spPr bwMode="gray">
          <a:xfrm>
            <a:off x="7458075" y="4057650"/>
            <a:ext cx="2635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E745895-79A7-40FD-802A-DAB49F778812}" type="datetime'''''''''''''Q''''''''''''''''''''''''AT'''''''''''''''''''">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QAT</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701" name="Text Placeholder 4">
            <a:extLst>
              <a:ext uri="{FF2B5EF4-FFF2-40B4-BE49-F238E27FC236}">
                <a16:creationId xmlns:a16="http://schemas.microsoft.com/office/drawing/2014/main" id="{29F7C288-8F22-B2FB-F30E-AE0BAD8452A0}"/>
              </a:ext>
            </a:extLst>
          </p:cNvPr>
          <p:cNvSpPr>
            <a:spLocks noGrp="1"/>
          </p:cNvSpPr>
          <p:nvPr>
            <p:custDataLst>
              <p:tags r:id="rId72"/>
            </p:custDataLst>
          </p:nvPr>
        </p:nvSpPr>
        <p:spPr bwMode="gray">
          <a:xfrm>
            <a:off x="8042275" y="4081463"/>
            <a:ext cx="3048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4F46391-1AAA-4432-B11B-A09B5D973BB7}" type="datetime'''''''''O''''''''''''''''''''''''M''''''N'''''''''''''''">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OMN</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706" name="Text Placeholder 4">
            <a:extLst>
              <a:ext uri="{FF2B5EF4-FFF2-40B4-BE49-F238E27FC236}">
                <a16:creationId xmlns:a16="http://schemas.microsoft.com/office/drawing/2014/main" id="{06BA1681-E94F-898F-C32D-37FE83604FAB}"/>
              </a:ext>
            </a:extLst>
          </p:cNvPr>
          <p:cNvSpPr>
            <a:spLocks noGrp="1"/>
          </p:cNvSpPr>
          <p:nvPr>
            <p:custDataLst>
              <p:tags r:id="rId73"/>
            </p:custDataLst>
          </p:nvPr>
        </p:nvSpPr>
        <p:spPr bwMode="gray">
          <a:xfrm>
            <a:off x="7913688" y="4314825"/>
            <a:ext cx="277813"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3F9024E-9722-4CE9-85C5-50E771880C8E}" type="datetime'''''''''''''''''''''''''''''''S''''''''''A''''''''''U'">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AU</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711" name="Text Placeholder 4">
            <a:extLst>
              <a:ext uri="{FF2B5EF4-FFF2-40B4-BE49-F238E27FC236}">
                <a16:creationId xmlns:a16="http://schemas.microsoft.com/office/drawing/2014/main" id="{87258A63-7E00-4670-BB75-57EEB4C684D9}"/>
              </a:ext>
            </a:extLst>
          </p:cNvPr>
          <p:cNvSpPr>
            <a:spLocks noGrp="1"/>
          </p:cNvSpPr>
          <p:nvPr>
            <p:custDataLst>
              <p:tags r:id="rId74"/>
            </p:custDataLst>
          </p:nvPr>
        </p:nvSpPr>
        <p:spPr bwMode="gray">
          <a:xfrm>
            <a:off x="7778750" y="4470400"/>
            <a:ext cx="27622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EFACFE6-A67F-4ADD-A884-209D4568371A}" type="datetime'''U''''''''''''''''A''''''''''''''E'''''''''''''''''">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UAE</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716" name="Text Placeholder 4">
            <a:extLst>
              <a:ext uri="{FF2B5EF4-FFF2-40B4-BE49-F238E27FC236}">
                <a16:creationId xmlns:a16="http://schemas.microsoft.com/office/drawing/2014/main" id="{FAD7786D-CD55-4AF0-EDD5-6CF16C6F2F8A}"/>
              </a:ext>
            </a:extLst>
          </p:cNvPr>
          <p:cNvSpPr>
            <a:spLocks noGrp="1"/>
          </p:cNvSpPr>
          <p:nvPr>
            <p:custDataLst>
              <p:tags r:id="rId75"/>
            </p:custDataLst>
          </p:nvPr>
        </p:nvSpPr>
        <p:spPr bwMode="gray">
          <a:xfrm>
            <a:off x="7747000" y="4749800"/>
            <a:ext cx="230188"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F9B0DB7-1A1B-49A5-83EC-EE545A24309D}" type="datetime'''''I''S''''''''''''''''''R'''''''''''''''''">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ISR</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721" name="Text Placeholder 4">
            <a:extLst>
              <a:ext uri="{FF2B5EF4-FFF2-40B4-BE49-F238E27FC236}">
                <a16:creationId xmlns:a16="http://schemas.microsoft.com/office/drawing/2014/main" id="{1A1BC4FF-55C9-FFFC-C3BD-418B7051938D}"/>
              </a:ext>
            </a:extLst>
          </p:cNvPr>
          <p:cNvSpPr>
            <a:spLocks noGrp="1"/>
          </p:cNvSpPr>
          <p:nvPr>
            <p:custDataLst>
              <p:tags r:id="rId76"/>
            </p:custDataLst>
          </p:nvPr>
        </p:nvSpPr>
        <p:spPr bwMode="gray">
          <a:xfrm>
            <a:off x="7180263" y="4057650"/>
            <a:ext cx="277813"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4BC8D36-E2CD-45F8-A99E-95AABDD303AF}" type="datetime'''''''''''''''''AU''''''''''''''''''''''''S'''''''">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US</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632" name="Text Placeholder 4">
            <a:extLst>
              <a:ext uri="{FF2B5EF4-FFF2-40B4-BE49-F238E27FC236}">
                <a16:creationId xmlns:a16="http://schemas.microsoft.com/office/drawing/2014/main" id="{B7F03778-AF56-A166-9311-ED40D02BE433}"/>
              </a:ext>
            </a:extLst>
          </p:cNvPr>
          <p:cNvSpPr>
            <a:spLocks noGrp="1"/>
          </p:cNvSpPr>
          <p:nvPr>
            <p:custDataLst>
              <p:tags r:id="rId77"/>
            </p:custDataLst>
          </p:nvPr>
        </p:nvSpPr>
        <p:spPr bwMode="gray">
          <a:xfrm>
            <a:off x="7224713" y="4649788"/>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22D16D4-D78A-4554-A55C-D2A2DAC30C9D}" type="datetime'''''''''''''''''''SU''''D'''''''''''''''''''''''''''">
              <a:rPr kumimoji="0" lang="de-DE" altLang="en-US" sz="1000" b="0" i="0" u="none" strike="noStrike" kern="1200" cap="none" spc="0" normalizeH="0" baseline="0" noProof="0" smtClean="0">
                <a:ln>
                  <a:noFill/>
                </a:ln>
                <a:solidFill>
                  <a:srgbClr val="B3B3B3"/>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UD</a:t>
            </a:fld>
            <a:endParaRPr kumimoji="0" lang="de-DE" sz="1000" b="0" i="0" u="none" strike="noStrike" kern="1200" cap="none" spc="0" normalizeH="0" baseline="0" noProof="0" dirty="0">
              <a:ln>
                <a:noFill/>
              </a:ln>
              <a:solidFill>
                <a:srgbClr val="B3B3B3"/>
              </a:solidFill>
              <a:effectLst/>
              <a:uLnTx/>
              <a:uFillTx/>
              <a:latin typeface="Bahnschrift"/>
              <a:ea typeface="+mn-ea"/>
              <a:cs typeface="Arial" panose="020B0604020202020204" pitchFamily="34" charset="0"/>
            </a:endParaRPr>
          </a:p>
        </p:txBody>
      </p:sp>
      <p:sp>
        <p:nvSpPr>
          <p:cNvPr id="870" name="TextBox 869">
            <a:extLst>
              <a:ext uri="{FF2B5EF4-FFF2-40B4-BE49-F238E27FC236}">
                <a16:creationId xmlns:a16="http://schemas.microsoft.com/office/drawing/2014/main" id="{5E804E1B-D02E-5101-D441-3E3B6CDC7A01}"/>
              </a:ext>
            </a:extLst>
          </p:cNvPr>
          <p:cNvSpPr txBox="1"/>
          <p:nvPr/>
        </p:nvSpPr>
        <p:spPr>
          <a:xfrm>
            <a:off x="554736" y="1699329"/>
            <a:ext cx="5668264"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Durchschnittliche Windleistung auf 100m Höhe </a:t>
            </a: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über dem Boden), </a:t>
            </a:r>
            <a:b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br>
            <a:r>
              <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Watt pro Quadratmeter</a:t>
            </a:r>
            <a:endParaRPr kumimoji="0" lang="de-DE" sz="16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884" name="TextBox 883">
            <a:extLst>
              <a:ext uri="{FF2B5EF4-FFF2-40B4-BE49-F238E27FC236}">
                <a16:creationId xmlns:a16="http://schemas.microsoft.com/office/drawing/2014/main" id="{28B6D907-B947-4F2F-B72B-239BAA6F70C3}"/>
              </a:ext>
            </a:extLst>
          </p:cNvPr>
          <p:cNvSpPr txBox="1"/>
          <p:nvPr/>
        </p:nvSpPr>
        <p:spPr>
          <a:xfrm>
            <a:off x="4428171" y="5834063"/>
            <a:ext cx="3996057"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Solar durchschnittliches praktisches Potenzial, </a:t>
            </a:r>
            <a:b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br>
            <a:r>
              <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PVOUT</a:t>
            </a:r>
            <a:r>
              <a:rPr kumimoji="0" lang="de-DE" sz="1000" b="0" i="0" u="none" strike="noStrike" kern="1200" cap="none" spc="0" normalizeH="0" baseline="30000" noProof="0" dirty="0">
                <a:ln>
                  <a:noFill/>
                </a:ln>
                <a:solidFill>
                  <a:srgbClr val="000000"/>
                </a:solidFill>
                <a:effectLst/>
                <a:uLnTx/>
                <a:uFillTx/>
                <a:latin typeface="Bahnschrift"/>
                <a:ea typeface="+mn-ea"/>
                <a:cs typeface="Arial" panose="020B0604020202020204" pitchFamily="34" charset="0"/>
              </a:rPr>
              <a:t>1</a:t>
            </a:r>
            <a:r>
              <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 Level 1, kWh/kWp</a:t>
            </a:r>
            <a:r>
              <a:rPr kumimoji="0" lang="de-DE" sz="1000" b="0" i="0" u="none" strike="noStrike" kern="1200" cap="none" spc="0" normalizeH="0" baseline="30000" noProof="0" dirty="0">
                <a:ln>
                  <a:noFill/>
                </a:ln>
                <a:solidFill>
                  <a:srgbClr val="000000"/>
                </a:solidFill>
                <a:effectLst/>
                <a:uLnTx/>
                <a:uFillTx/>
                <a:latin typeface="Bahnschrift"/>
                <a:ea typeface="+mn-ea"/>
                <a:cs typeface="Arial" panose="020B0604020202020204" pitchFamily="34" charset="0"/>
              </a:rPr>
              <a:t>2</a:t>
            </a:r>
            <a:r>
              <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Tag, langfristig</a:t>
            </a:r>
            <a:endParaRPr kumimoji="0" lang="de-DE" sz="16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885" name="4. Footnote">
            <a:extLst>
              <a:ext uri="{FF2B5EF4-FFF2-40B4-BE49-F238E27FC236}">
                <a16:creationId xmlns:a16="http://schemas.microsoft.com/office/drawing/2014/main" id="{17B64F1F-A8EA-665C-AA11-7F4105E2188C}"/>
              </a:ext>
            </a:extLst>
          </p:cNvPr>
          <p:cNvSpPr txBox="1"/>
          <p:nvPr>
            <p:custDataLst>
              <p:tags r:id="rId78"/>
            </p:custDataLst>
          </p:nvPr>
        </p:nvSpPr>
        <p:spPr>
          <a:xfrm>
            <a:off x="858838" y="6180058"/>
            <a:ext cx="7278624"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rPr>
              <a:t>1.	</a:t>
            </a:r>
            <a:r>
              <a:rPr kumimoji="0" lang="de-DE" sz="800" b="0" i="0" u="none" strike="noStrike" kern="1200" cap="none" spc="0" normalizeH="0" baseline="0" noProof="0" dirty="0" err="1">
                <a:ln>
                  <a:noFill/>
                </a:ln>
                <a:solidFill>
                  <a:srgbClr val="004FA1"/>
                </a:solidFill>
                <a:effectLst/>
                <a:uLnTx/>
                <a:uFillTx/>
                <a:latin typeface="Bahnschrift"/>
                <a:ea typeface="+mn-ea"/>
                <a:cs typeface="Arial" panose="020B0604020202020204" pitchFamily="34" charset="0"/>
              </a:rPr>
              <a:t>Photovoltaic</a:t>
            </a:r>
            <a:r>
              <a:rPr kumimoji="0" lang="de-DE" sz="800" b="0"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rPr>
              <a:t> power </a:t>
            </a:r>
            <a:r>
              <a:rPr kumimoji="0" lang="de-DE" sz="800" b="0" i="0" u="none" strike="noStrike" kern="1200" cap="none" spc="0" normalizeH="0" baseline="0" noProof="0" dirty="0" err="1">
                <a:ln>
                  <a:noFill/>
                </a:ln>
                <a:solidFill>
                  <a:srgbClr val="004FA1"/>
                </a:solidFill>
                <a:effectLst/>
                <a:uLnTx/>
                <a:uFillTx/>
                <a:latin typeface="Bahnschrift"/>
                <a:ea typeface="+mn-ea"/>
                <a:cs typeface="Arial" panose="020B0604020202020204" pitchFamily="34" charset="0"/>
              </a:rPr>
              <a:t>output</a:t>
            </a:r>
            <a:endParaRPr kumimoji="0" lang="de-DE" sz="800" b="0"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endParaRPr>
          </a:p>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rPr>
              <a:t>2.	Kilowatt-</a:t>
            </a:r>
            <a:r>
              <a:rPr kumimoji="0" lang="de-DE" sz="800" b="0" i="0" u="none" strike="noStrike" kern="1200" cap="none" spc="0" normalizeH="0" baseline="0" noProof="0" dirty="0" err="1">
                <a:ln>
                  <a:noFill/>
                </a:ln>
                <a:solidFill>
                  <a:srgbClr val="004FA1"/>
                </a:solidFill>
                <a:effectLst/>
                <a:uLnTx/>
                <a:uFillTx/>
                <a:latin typeface="Bahnschrift"/>
                <a:ea typeface="+mn-ea"/>
                <a:cs typeface="Arial" panose="020B0604020202020204" pitchFamily="34" charset="0"/>
              </a:rPr>
              <a:t>hours</a:t>
            </a:r>
            <a:r>
              <a:rPr kumimoji="0" lang="de-DE" sz="800" b="0"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rPr>
              <a:t>/</a:t>
            </a:r>
            <a:r>
              <a:rPr kumimoji="0" lang="de-DE" sz="800" b="0" i="0" u="none" strike="noStrike" kern="1200" cap="none" spc="0" normalizeH="0" baseline="0" noProof="0" dirty="0" err="1">
                <a:ln>
                  <a:noFill/>
                </a:ln>
                <a:solidFill>
                  <a:srgbClr val="004FA1"/>
                </a:solidFill>
                <a:effectLst/>
                <a:uLnTx/>
                <a:uFillTx/>
                <a:latin typeface="Bahnschrift"/>
                <a:ea typeface="+mn-ea"/>
                <a:cs typeface="Arial" panose="020B0604020202020204" pitchFamily="34" charset="0"/>
              </a:rPr>
              <a:t>kilowatt</a:t>
            </a:r>
            <a:r>
              <a:rPr kumimoji="0" lang="de-DE" sz="800" b="0"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rPr>
              <a:t> </a:t>
            </a:r>
            <a:r>
              <a:rPr kumimoji="0" lang="de-DE" sz="800" b="0" i="0" u="none" strike="noStrike" kern="1200" cap="none" spc="0" normalizeH="0" baseline="0" noProof="0" dirty="0" err="1">
                <a:ln>
                  <a:noFill/>
                </a:ln>
                <a:solidFill>
                  <a:srgbClr val="004FA1"/>
                </a:solidFill>
                <a:effectLst/>
                <a:uLnTx/>
                <a:uFillTx/>
                <a:latin typeface="Bahnschrift"/>
                <a:ea typeface="+mn-ea"/>
                <a:cs typeface="Arial" panose="020B0604020202020204" pitchFamily="34" charset="0"/>
              </a:rPr>
              <a:t>peak</a:t>
            </a:r>
            <a:endParaRPr kumimoji="0" lang="de-DE" sz="800" b="0"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endParaRPr>
          </a:p>
        </p:txBody>
      </p:sp>
      <p:sp>
        <p:nvSpPr>
          <p:cNvPr id="886" name="5. Source">
            <a:extLst>
              <a:ext uri="{FF2B5EF4-FFF2-40B4-BE49-F238E27FC236}">
                <a16:creationId xmlns:a16="http://schemas.microsoft.com/office/drawing/2014/main" id="{92CAF5EB-D628-C163-7D40-7E3CC1A07D80}"/>
              </a:ext>
            </a:extLst>
          </p:cNvPr>
          <p:cNvSpPr txBox="1"/>
          <p:nvPr>
            <p:custDataLst>
              <p:tags r:id="rId79"/>
            </p:custDataLst>
          </p:nvPr>
        </p:nvSpPr>
        <p:spPr>
          <a:xfrm>
            <a:off x="6397625" y="6411912"/>
            <a:ext cx="2423983"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800" b="0"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rPr>
              <a:t>Quelle: Global Solar Atlas; Global Wind Atlas</a:t>
            </a:r>
          </a:p>
        </p:txBody>
      </p:sp>
      <p:sp>
        <p:nvSpPr>
          <p:cNvPr id="310" name="TextBox 309">
            <a:extLst>
              <a:ext uri="{FF2B5EF4-FFF2-40B4-BE49-F238E27FC236}">
                <a16:creationId xmlns:a16="http://schemas.microsoft.com/office/drawing/2014/main" id="{2B2134FA-B901-51E5-E56E-30C5C3192629}"/>
              </a:ext>
            </a:extLst>
          </p:cNvPr>
          <p:cNvSpPr txBox="1">
            <a:spLocks/>
          </p:cNvSpPr>
          <p:nvPr>
            <p:custDataLst>
              <p:tags r:id="rId80"/>
            </p:custDataLst>
          </p:nvPr>
        </p:nvSpPr>
        <p:spPr>
          <a:xfrm>
            <a:off x="9117711" y="2131844"/>
            <a:ext cx="2523744" cy="390876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500"/>
              </a:spcBef>
              <a:spcAft>
                <a:spcPts val="300"/>
              </a:spcAft>
              <a:buClr>
                <a:srgbClr val="000000"/>
              </a:buClr>
              <a:buSzPct val="100000"/>
              <a:buFont typeface="Segoe UI" panose="020B0502040204020203" pitchFamily="34" charset="0"/>
              <a:buChar char="​"/>
              <a:tabLst/>
              <a:defRPr/>
            </a:pPr>
            <a:r>
              <a:rPr kumimoji="0" lang="de-DE" sz="14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Österreich</a:t>
            </a: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 hat sowohl im </a:t>
            </a:r>
            <a:r>
              <a:rPr kumimoji="0" lang="de-DE" sz="14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Bereich Wind </a:t>
            </a: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als auch im </a:t>
            </a:r>
            <a:r>
              <a:rPr kumimoji="0" lang="de-DE" sz="14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Bereich Solar solide</a:t>
            </a: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 wenn auch </a:t>
            </a:r>
            <a:r>
              <a:rPr kumimoji="0" lang="de-DE" sz="14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keine exzellenten Voraussetzungen</a:t>
            </a:r>
          </a:p>
          <a:p>
            <a:pPr marL="0" marR="0" lvl="0" indent="0" algn="l" defTabSz="914400" rtl="0" eaLnBrk="1" fontAlgn="auto" latinLnBrk="0" hangingPunct="1">
              <a:lnSpc>
                <a:spcPct val="100000"/>
              </a:lnSpc>
              <a:spcBef>
                <a:spcPts val="1500"/>
              </a:spcBef>
              <a:spcAft>
                <a:spcPts val="300"/>
              </a:spcAft>
              <a:buClr>
                <a:srgbClr val="000000"/>
              </a:buClr>
              <a:buSzPct val="100000"/>
              <a:buFont typeface="Segoe UI" panose="020B0502040204020203" pitchFamily="34" charset="0"/>
              <a:buChar char="​"/>
              <a:tabLst/>
              <a:defRPr/>
            </a:pP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Bei </a:t>
            </a:r>
            <a:r>
              <a:rPr kumimoji="0" lang="de-DE" sz="14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Wind</a:t>
            </a: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 liegt Österreich </a:t>
            </a:r>
            <a:r>
              <a:rPr kumimoji="0" lang="de-DE" sz="14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besser als die meisten </a:t>
            </a: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Länder, jedoch haben </a:t>
            </a:r>
            <a:r>
              <a:rPr kumimoji="0" lang="de-DE" sz="14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führende Länder </a:t>
            </a: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an </a:t>
            </a:r>
            <a:r>
              <a:rPr kumimoji="0" lang="de-DE" sz="14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Meeresküsten</a:t>
            </a: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 etwa 50-100% höhere Windleistung</a:t>
            </a:r>
          </a:p>
          <a:p>
            <a:pPr marL="0" marR="0" lvl="0" indent="0" algn="l" defTabSz="914400" rtl="0" eaLnBrk="1" fontAlgn="auto" latinLnBrk="0" hangingPunct="1">
              <a:lnSpc>
                <a:spcPct val="100000"/>
              </a:lnSpc>
              <a:spcBef>
                <a:spcPts val="1500"/>
              </a:spcBef>
              <a:spcAft>
                <a:spcPts val="300"/>
              </a:spcAft>
              <a:buClr>
                <a:srgbClr val="000000"/>
              </a:buClr>
              <a:buSzPct val="100000"/>
              <a:buFont typeface="Segoe UI" panose="020B0502040204020203" pitchFamily="34" charset="0"/>
              <a:buChar char="​"/>
              <a:tabLst/>
              <a:defRPr/>
            </a:pP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Im Bereich </a:t>
            </a:r>
            <a:r>
              <a:rPr kumimoji="0" lang="de-DE" sz="14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Solar </a:t>
            </a: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schneidet Österreich </a:t>
            </a:r>
            <a:r>
              <a:rPr kumimoji="0" lang="de-DE" sz="14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im europäischen Vergleich gut </a:t>
            </a: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ab, wenn auch führende Regionen (z.B. Afrika) bis zu 50% mehr Potenzial aufweisen</a:t>
            </a:r>
          </a:p>
        </p:txBody>
      </p:sp>
      <p:pic>
        <p:nvPicPr>
          <p:cNvPr id="6" name="Picture 5">
            <a:extLst>
              <a:ext uri="{FF2B5EF4-FFF2-40B4-BE49-F238E27FC236}">
                <a16:creationId xmlns:a16="http://schemas.microsoft.com/office/drawing/2014/main" id="{2F0CFAF9-530D-87E0-E1C2-DA8029114981}"/>
              </a:ext>
            </a:extLst>
          </p:cNvPr>
          <p:cNvPicPr>
            <a:picLocks noChangeAspect="1"/>
          </p:cNvPicPr>
          <p:nvPr/>
        </p:nvPicPr>
        <p:blipFill>
          <a:blip r:embed="rId101" cstate="screen">
            <a:extLst>
              <a:ext uri="{28A0092B-C50C-407E-A947-70E740481C1C}">
                <a14:useLocalDpi xmlns:a14="http://schemas.microsoft.com/office/drawing/2010/main"/>
              </a:ext>
            </a:extLst>
          </a:blip>
          <a:stretch>
            <a:fillRect/>
          </a:stretch>
        </p:blipFill>
        <p:spPr>
          <a:xfrm>
            <a:off x="5470208" y="3605372"/>
            <a:ext cx="327660" cy="218440"/>
          </a:xfrm>
          <a:prstGeom prst="rect">
            <a:avLst/>
          </a:prstGeom>
          <a:ln>
            <a:solidFill>
              <a:srgbClr val="D0D0D0"/>
            </a:solidFill>
          </a:ln>
        </p:spPr>
      </p:pic>
      <p:sp>
        <p:nvSpPr>
          <p:cNvPr id="117" name="TextBox 116">
            <a:extLst>
              <a:ext uri="{FF2B5EF4-FFF2-40B4-BE49-F238E27FC236}">
                <a16:creationId xmlns:a16="http://schemas.microsoft.com/office/drawing/2014/main" id="{0C1626DB-1790-499B-8D55-87852A4906FB}"/>
              </a:ext>
            </a:extLst>
          </p:cNvPr>
          <p:cNvSpPr txBox="1">
            <a:spLocks/>
          </p:cNvSpPr>
          <p:nvPr/>
        </p:nvSpPr>
        <p:spPr>
          <a:xfrm>
            <a:off x="9117711" y="1649175"/>
            <a:ext cx="2523744" cy="215444"/>
          </a:xfrm>
          <a:prstGeom prst="rect">
            <a:avLst/>
          </a:prstGeom>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4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Synthese</a:t>
            </a:r>
            <a:endParaRPr kumimoji="0" lang="de-DE" sz="16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cxnSp>
        <p:nvCxnSpPr>
          <p:cNvPr id="118" name="LineBasicStrong 75">
            <a:extLst>
              <a:ext uri="{FF2B5EF4-FFF2-40B4-BE49-F238E27FC236}">
                <a16:creationId xmlns:a16="http://schemas.microsoft.com/office/drawing/2014/main" id="{35047E2B-E0C6-4010-9399-99B0351D81A6}"/>
              </a:ext>
            </a:extLst>
          </p:cNvPr>
          <p:cNvCxnSpPr>
            <a:cxnSpLocks/>
          </p:cNvCxnSpPr>
          <p:nvPr>
            <p:custDataLst>
              <p:tags r:id="rId81"/>
            </p:custDataLst>
          </p:nvPr>
        </p:nvCxnSpPr>
        <p:spPr>
          <a:xfrm>
            <a:off x="9117711" y="1886114"/>
            <a:ext cx="2523744" cy="0"/>
          </a:xfrm>
          <a:prstGeom prst="straightConnector1">
            <a:avLst/>
          </a:prstGeom>
          <a:ln w="12700" cap="flat">
            <a:solidFill>
              <a:srgbClr val="004FA1"/>
            </a:solidFill>
            <a:prstDash val="solid"/>
            <a:miter lim="800000"/>
            <a:tailEnd type="none"/>
          </a:ln>
        </p:spPr>
        <p:style>
          <a:lnRef idx="1">
            <a:schemeClr val="accent1"/>
          </a:lnRef>
          <a:fillRef idx="0">
            <a:schemeClr val="accent1"/>
          </a:fillRef>
          <a:effectRef idx="0">
            <a:schemeClr val="accent1"/>
          </a:effectRef>
          <a:fontRef idx="minor">
            <a:schemeClr val="tx1"/>
          </a:fontRef>
        </p:style>
      </p:cxnSp>
      <p:pic>
        <p:nvPicPr>
          <p:cNvPr id="119" name="Graphic 118">
            <a:extLst>
              <a:ext uri="{FF2B5EF4-FFF2-40B4-BE49-F238E27FC236}">
                <a16:creationId xmlns:a16="http://schemas.microsoft.com/office/drawing/2014/main" id="{4B1014CD-E51B-4BBE-B110-9C6C2EEE287F}"/>
              </a:ext>
            </a:extLst>
          </p:cNvPr>
          <p:cNvPicPr>
            <a:picLocks/>
          </p:cNvPicPr>
          <p:nvPr/>
        </p:nvPicPr>
        <p:blipFill>
          <a:blip r:embed="rId102">
            <a:extLst>
              <a:ext uri="{96DAC541-7B7A-43D3-8B79-37D633B846F1}">
                <asvg:svgBlip xmlns:asvg="http://schemas.microsoft.com/office/drawing/2016/SVG/main" r:embed="rId103"/>
              </a:ext>
            </a:extLst>
          </a:blip>
          <a:stretch>
            <a:fillRect/>
          </a:stretch>
        </p:blipFill>
        <p:spPr>
          <a:xfrm>
            <a:off x="11125290" y="1311766"/>
            <a:ext cx="516165" cy="516165"/>
          </a:xfrm>
          <a:prstGeom prst="rect">
            <a:avLst/>
          </a:prstGeom>
        </p:spPr>
      </p:pic>
      <p:sp>
        <p:nvSpPr>
          <p:cNvPr id="8" name="Oval 7">
            <a:extLst>
              <a:ext uri="{FF2B5EF4-FFF2-40B4-BE49-F238E27FC236}">
                <a16:creationId xmlns:a16="http://schemas.microsoft.com/office/drawing/2014/main" id="{0DED90C1-076C-4C80-9263-DF5E69C7DE06}"/>
              </a:ext>
            </a:extLst>
          </p:cNvPr>
          <p:cNvSpPr/>
          <p:nvPr>
            <p:custDataLst>
              <p:tags r:id="rId82"/>
            </p:custDataLst>
          </p:nvPr>
        </p:nvSpPr>
        <p:spPr bwMode="auto">
          <a:xfrm>
            <a:off x="1201738" y="2371725"/>
            <a:ext cx="63500" cy="63500"/>
          </a:xfrm>
          <a:prstGeom prst="ellipse">
            <a:avLst/>
          </a:prstGeom>
          <a:solidFill>
            <a:schemeClr val="accent1"/>
          </a:solidFill>
          <a:ln w="9525" cap="sq"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err="1">
              <a:ln>
                <a:noFill/>
              </a:ln>
              <a:solidFill>
                <a:srgbClr val="FFFFFF"/>
              </a:solidFill>
              <a:effectLst/>
              <a:uLnTx/>
              <a:uFillTx/>
              <a:latin typeface="Bahnschrift"/>
              <a:ea typeface="+mn-ea"/>
              <a:cs typeface="+mn-cs"/>
            </a:endParaRPr>
          </a:p>
        </p:txBody>
      </p:sp>
      <p:sp>
        <p:nvSpPr>
          <p:cNvPr id="12" name="Rectangle 11">
            <a:extLst>
              <a:ext uri="{FF2B5EF4-FFF2-40B4-BE49-F238E27FC236}">
                <a16:creationId xmlns:a16="http://schemas.microsoft.com/office/drawing/2014/main" id="{A425E0E7-10F9-475E-9F8E-0C3BC8C7C9A0}"/>
              </a:ext>
            </a:extLst>
          </p:cNvPr>
          <p:cNvSpPr/>
          <p:nvPr>
            <p:custDataLst>
              <p:tags r:id="rId83"/>
            </p:custDataLst>
          </p:nvPr>
        </p:nvSpPr>
        <p:spPr bwMode="auto">
          <a:xfrm>
            <a:off x="1201738" y="2981325"/>
            <a:ext cx="63500" cy="63500"/>
          </a:xfrm>
          <a:prstGeom prst="rect">
            <a:avLst/>
          </a:prstGeom>
          <a:solidFill>
            <a:schemeClr val="accent5"/>
          </a:solidFill>
          <a:ln w="9525" cap="sq" algn="ctr">
            <a:solidFill>
              <a:schemeClr val="accent5"/>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err="1">
              <a:ln>
                <a:noFill/>
              </a:ln>
              <a:solidFill>
                <a:srgbClr val="FFFFFF"/>
              </a:solidFill>
              <a:effectLst/>
              <a:uLnTx/>
              <a:uFillTx/>
              <a:latin typeface="Bahnschrift"/>
              <a:ea typeface="+mn-ea"/>
              <a:cs typeface="+mn-cs"/>
            </a:endParaRPr>
          </a:p>
        </p:txBody>
      </p:sp>
      <p:sp>
        <p:nvSpPr>
          <p:cNvPr id="10" name="Isosceles Triangle 9">
            <a:extLst>
              <a:ext uri="{FF2B5EF4-FFF2-40B4-BE49-F238E27FC236}">
                <a16:creationId xmlns:a16="http://schemas.microsoft.com/office/drawing/2014/main" id="{9E43FD42-72C1-491B-AAF8-14196211201D}"/>
              </a:ext>
            </a:extLst>
          </p:cNvPr>
          <p:cNvSpPr/>
          <p:nvPr>
            <p:custDataLst>
              <p:tags r:id="rId84"/>
            </p:custDataLst>
          </p:nvPr>
        </p:nvSpPr>
        <p:spPr bwMode="auto">
          <a:xfrm>
            <a:off x="1201738" y="2574925"/>
            <a:ext cx="63500" cy="63500"/>
          </a:xfrm>
          <a:prstGeom prst="triangle">
            <a:avLst/>
          </a:prstGeom>
          <a:solidFill>
            <a:schemeClr val="folHlink"/>
          </a:solidFill>
          <a:ln w="9525" cap="sq" algn="ctr">
            <a:solidFill>
              <a:schemeClr val="folHlink"/>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err="1">
              <a:ln>
                <a:noFill/>
              </a:ln>
              <a:solidFill>
                <a:srgbClr val="FFFFFF"/>
              </a:solidFill>
              <a:effectLst/>
              <a:uLnTx/>
              <a:uFillTx/>
              <a:latin typeface="Bahnschrift"/>
              <a:ea typeface="+mn-ea"/>
              <a:cs typeface="+mn-cs"/>
            </a:endParaRPr>
          </a:p>
        </p:txBody>
      </p:sp>
      <p:sp>
        <p:nvSpPr>
          <p:cNvPr id="25" name="Diamond 24">
            <a:extLst>
              <a:ext uri="{FF2B5EF4-FFF2-40B4-BE49-F238E27FC236}">
                <a16:creationId xmlns:a16="http://schemas.microsoft.com/office/drawing/2014/main" id="{A7D65E1E-0F70-400D-8873-E7B670771EE2}"/>
              </a:ext>
            </a:extLst>
          </p:cNvPr>
          <p:cNvSpPr/>
          <p:nvPr>
            <p:custDataLst>
              <p:tags r:id="rId85"/>
            </p:custDataLst>
          </p:nvPr>
        </p:nvSpPr>
        <p:spPr bwMode="auto">
          <a:xfrm>
            <a:off x="1201738" y="2778125"/>
            <a:ext cx="63500" cy="63500"/>
          </a:xfrm>
          <a:prstGeom prst="diamond">
            <a:avLst/>
          </a:prstGeom>
          <a:solidFill>
            <a:srgbClr val="DF0000"/>
          </a:solidFill>
          <a:ln w="9525" cap="sq" algn="ctr">
            <a:solidFill>
              <a:srgbClr val="DF0000"/>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err="1">
              <a:ln>
                <a:noFill/>
              </a:ln>
              <a:solidFill>
                <a:srgbClr val="FFFFFF"/>
              </a:solidFill>
              <a:effectLst/>
              <a:uLnTx/>
              <a:uFillTx/>
              <a:latin typeface="Bahnschrift"/>
              <a:ea typeface="+mn-ea"/>
              <a:cs typeface="+mn-cs"/>
            </a:endParaRPr>
          </a:p>
        </p:txBody>
      </p:sp>
      <p:sp>
        <p:nvSpPr>
          <p:cNvPr id="14" name="Oval 13">
            <a:extLst>
              <a:ext uri="{FF2B5EF4-FFF2-40B4-BE49-F238E27FC236}">
                <a16:creationId xmlns:a16="http://schemas.microsoft.com/office/drawing/2014/main" id="{E420921F-CE1F-438D-9006-5B165F2A327D}"/>
              </a:ext>
            </a:extLst>
          </p:cNvPr>
          <p:cNvSpPr/>
          <p:nvPr>
            <p:custDataLst>
              <p:tags r:id="rId86"/>
            </p:custDataLst>
          </p:nvPr>
        </p:nvSpPr>
        <p:spPr bwMode="auto">
          <a:xfrm>
            <a:off x="1201738" y="3184525"/>
            <a:ext cx="63500" cy="63500"/>
          </a:xfrm>
          <a:prstGeom prst="ellipse">
            <a:avLst/>
          </a:prstGeom>
          <a:solidFill>
            <a:schemeClr val="accent2"/>
          </a:solidFill>
          <a:ln w="9525" cap="sq" algn="ctr">
            <a:solidFill>
              <a:schemeClr val="accent2"/>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err="1">
              <a:ln>
                <a:noFill/>
              </a:ln>
              <a:solidFill>
                <a:srgbClr val="FFFFFF"/>
              </a:solidFill>
              <a:effectLst/>
              <a:uLnTx/>
              <a:uFillTx/>
              <a:latin typeface="Bahnschrift"/>
              <a:ea typeface="+mn-ea"/>
              <a:cs typeface="+mn-cs"/>
            </a:endParaRPr>
          </a:p>
        </p:txBody>
      </p:sp>
      <p:sp>
        <p:nvSpPr>
          <p:cNvPr id="15" name="Isosceles Triangle 14">
            <a:extLst>
              <a:ext uri="{FF2B5EF4-FFF2-40B4-BE49-F238E27FC236}">
                <a16:creationId xmlns:a16="http://schemas.microsoft.com/office/drawing/2014/main" id="{EAE8E033-5D7C-4F7D-8891-12843EA382D8}"/>
              </a:ext>
            </a:extLst>
          </p:cNvPr>
          <p:cNvSpPr/>
          <p:nvPr>
            <p:custDataLst>
              <p:tags r:id="rId87"/>
            </p:custDataLst>
          </p:nvPr>
        </p:nvSpPr>
        <p:spPr bwMode="auto">
          <a:xfrm>
            <a:off x="1201738" y="3387725"/>
            <a:ext cx="63500" cy="63500"/>
          </a:xfrm>
          <a:prstGeom prst="triangle">
            <a:avLst/>
          </a:prstGeom>
          <a:solidFill>
            <a:schemeClr val="accent3"/>
          </a:solidFill>
          <a:ln w="9525" cap="sq" algn="ctr">
            <a:solidFill>
              <a:schemeClr val="accent3"/>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err="1">
              <a:ln>
                <a:noFill/>
              </a:ln>
              <a:solidFill>
                <a:srgbClr val="FFFFFF"/>
              </a:solidFill>
              <a:effectLst/>
              <a:uLnTx/>
              <a:uFillTx/>
              <a:latin typeface="Bahnschrift"/>
              <a:ea typeface="+mn-ea"/>
              <a:cs typeface="+mn-cs"/>
            </a:endParaRPr>
          </a:p>
        </p:txBody>
      </p:sp>
      <p:sp>
        <p:nvSpPr>
          <p:cNvPr id="16" name="Diamond 15">
            <a:extLst>
              <a:ext uri="{FF2B5EF4-FFF2-40B4-BE49-F238E27FC236}">
                <a16:creationId xmlns:a16="http://schemas.microsoft.com/office/drawing/2014/main" id="{13B38188-0BF0-4E17-8032-AAC932FBBABA}"/>
              </a:ext>
            </a:extLst>
          </p:cNvPr>
          <p:cNvSpPr/>
          <p:nvPr>
            <p:custDataLst>
              <p:tags r:id="rId88"/>
            </p:custDataLst>
          </p:nvPr>
        </p:nvSpPr>
        <p:spPr bwMode="auto">
          <a:xfrm>
            <a:off x="1201738" y="3590925"/>
            <a:ext cx="63500" cy="63500"/>
          </a:xfrm>
          <a:prstGeom prst="diamond">
            <a:avLst/>
          </a:prstGeom>
          <a:solidFill>
            <a:srgbClr val="FFC000"/>
          </a:solidFill>
          <a:ln w="9525" cap="sq" algn="ctr">
            <a:solidFill>
              <a:srgbClr val="FFC000"/>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err="1">
              <a:ln>
                <a:noFill/>
              </a:ln>
              <a:solidFill>
                <a:srgbClr val="FFFFFF"/>
              </a:solidFill>
              <a:effectLst/>
              <a:uLnTx/>
              <a:uFillTx/>
              <a:latin typeface="Bahnschrift"/>
              <a:ea typeface="+mn-ea"/>
              <a:cs typeface="+mn-cs"/>
            </a:endParaRPr>
          </a:p>
        </p:txBody>
      </p:sp>
      <p:sp>
        <p:nvSpPr>
          <p:cNvPr id="121" name="Text Placeholder 4">
            <a:extLst>
              <a:ext uri="{FF2B5EF4-FFF2-40B4-BE49-F238E27FC236}">
                <a16:creationId xmlns:a16="http://schemas.microsoft.com/office/drawing/2014/main" id="{4C1F3293-4EFE-461D-940D-7EE66BAE31C5}"/>
              </a:ext>
            </a:extLst>
          </p:cNvPr>
          <p:cNvSpPr>
            <a:spLocks noGrp="1"/>
          </p:cNvSpPr>
          <p:nvPr>
            <p:custDataLst>
              <p:tags r:id="rId89"/>
            </p:custDataLst>
          </p:nvPr>
        </p:nvSpPr>
        <p:spPr bwMode="auto">
          <a:xfrm>
            <a:off x="1354138" y="2332038"/>
            <a:ext cx="4079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51B826C-88A7-4EF2-A468-CA7F9A34ED79}" type="datetime'''''''''''''''''''Euro''''p''''''''''''''''''''''''a'''''">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Europa</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125" name="Text Placeholder 4">
            <a:extLst>
              <a:ext uri="{FF2B5EF4-FFF2-40B4-BE49-F238E27FC236}">
                <a16:creationId xmlns:a16="http://schemas.microsoft.com/office/drawing/2014/main" id="{4C1F3293-4EFE-461D-940D-7EE66BAE31C5}"/>
              </a:ext>
            </a:extLst>
          </p:cNvPr>
          <p:cNvSpPr>
            <a:spLocks noGrp="1"/>
          </p:cNvSpPr>
          <p:nvPr>
            <p:custDataLst>
              <p:tags r:id="rId90"/>
            </p:custDataLst>
          </p:nvPr>
        </p:nvSpPr>
        <p:spPr bwMode="auto">
          <a:xfrm>
            <a:off x="1354138" y="3144838"/>
            <a:ext cx="3429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2E4E161-C949-4E3E-8FCA-A211D5EACF0A}" type="datetime'''A''f''''''''r''i''''''''''''''k''''''a'''''''''">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frika</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120" name="Text Placeholder 4">
            <a:extLst>
              <a:ext uri="{FF2B5EF4-FFF2-40B4-BE49-F238E27FC236}">
                <a16:creationId xmlns:a16="http://schemas.microsoft.com/office/drawing/2014/main" id="{4C1F3293-4EFE-461D-940D-7EE66BAE31C5}"/>
              </a:ext>
            </a:extLst>
          </p:cNvPr>
          <p:cNvSpPr>
            <a:spLocks noGrp="1"/>
          </p:cNvSpPr>
          <p:nvPr>
            <p:custDataLst>
              <p:tags r:id="rId91"/>
            </p:custDataLst>
          </p:nvPr>
        </p:nvSpPr>
        <p:spPr bwMode="auto">
          <a:xfrm>
            <a:off x="1354138" y="2535238"/>
            <a:ext cx="7477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EFE087F-979C-44B1-AD1C-EC3BA3468399}" type="datetime'''''''''''N''''''''o''r''''''''''damer''i''ka'">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ordamerika</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124" name="Text Placeholder 4">
            <a:extLst>
              <a:ext uri="{FF2B5EF4-FFF2-40B4-BE49-F238E27FC236}">
                <a16:creationId xmlns:a16="http://schemas.microsoft.com/office/drawing/2014/main" id="{4C1F3293-4EFE-461D-940D-7EE66BAE31C5}"/>
              </a:ext>
            </a:extLst>
          </p:cNvPr>
          <p:cNvSpPr>
            <a:spLocks noGrp="1"/>
          </p:cNvSpPr>
          <p:nvPr>
            <p:custDataLst>
              <p:tags r:id="rId92"/>
            </p:custDataLst>
          </p:nvPr>
        </p:nvSpPr>
        <p:spPr bwMode="auto">
          <a:xfrm>
            <a:off x="1354138" y="2941638"/>
            <a:ext cx="8207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7421CF1-AC15-4889-B904-F8C6A6AD2DA1}" type="datetime'''''''L''''''''a''''''''te''i''n''a''m''eri''k''''''''''''''a'">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Lateinamerika</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149" name="Text Placeholder 4">
            <a:extLst>
              <a:ext uri="{FF2B5EF4-FFF2-40B4-BE49-F238E27FC236}">
                <a16:creationId xmlns:a16="http://schemas.microsoft.com/office/drawing/2014/main" id="{483CE3D4-4199-4E80-B848-5976D8564C19}"/>
              </a:ext>
            </a:extLst>
          </p:cNvPr>
          <p:cNvSpPr>
            <a:spLocks noGrp="1"/>
          </p:cNvSpPr>
          <p:nvPr>
            <p:custDataLst>
              <p:tags r:id="rId93"/>
            </p:custDataLst>
          </p:nvPr>
        </p:nvSpPr>
        <p:spPr bwMode="auto">
          <a:xfrm>
            <a:off x="1354138" y="2738438"/>
            <a:ext cx="3190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EA9E4D0-890E-4B32-A021-6B86BA16FAA3}" type="datetime'A''s''''''i''''''''''e''''''''n'''''''''''''''''''''''''''''">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sien</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126" name="Text Placeholder 4">
            <a:extLst>
              <a:ext uri="{FF2B5EF4-FFF2-40B4-BE49-F238E27FC236}">
                <a16:creationId xmlns:a16="http://schemas.microsoft.com/office/drawing/2014/main" id="{4C1F3293-4EFE-461D-940D-7EE66BAE31C5}"/>
              </a:ext>
            </a:extLst>
          </p:cNvPr>
          <p:cNvSpPr>
            <a:spLocks noGrp="1"/>
          </p:cNvSpPr>
          <p:nvPr>
            <p:custDataLst>
              <p:tags r:id="rId94"/>
            </p:custDataLst>
          </p:nvPr>
        </p:nvSpPr>
        <p:spPr bwMode="auto">
          <a:xfrm>
            <a:off x="1354138" y="3348038"/>
            <a:ext cx="7127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76AAB1F-5616-4B3D-94B1-B8E283E61440}" type="datetime'''''''''Na''her'''''''''''''''' O''s''''t''''''en'''''''''">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aher Osten</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123" name="Text Placeholder 4">
            <a:extLst>
              <a:ext uri="{FF2B5EF4-FFF2-40B4-BE49-F238E27FC236}">
                <a16:creationId xmlns:a16="http://schemas.microsoft.com/office/drawing/2014/main" id="{4C1F3293-4EFE-461D-940D-7EE66BAE31C5}"/>
              </a:ext>
            </a:extLst>
          </p:cNvPr>
          <p:cNvSpPr>
            <a:spLocks noGrp="1"/>
          </p:cNvSpPr>
          <p:nvPr>
            <p:custDataLst>
              <p:tags r:id="rId95"/>
            </p:custDataLst>
          </p:nvPr>
        </p:nvSpPr>
        <p:spPr bwMode="auto">
          <a:xfrm>
            <a:off x="1354138" y="3551238"/>
            <a:ext cx="5889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7E1A7C8-75A1-4016-9895-9B514D4BA35D}" type="datetime'Au''''s''''''''''t''''r''''''a''''l''''''i''''''en'''''''''''">
              <a:rPr kumimoji="0" lang="de-DE" altLang="en-US" sz="10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ustralien</a:t>
            </a:fld>
            <a:endParaRPr kumimoji="0" lang="de-DE" sz="10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Tree>
    <p:extLst>
      <p:ext uri="{BB962C8B-B14F-4D97-AF65-F5344CB8AC3E}">
        <p14:creationId xmlns:p14="http://schemas.microsoft.com/office/powerpoint/2010/main" val="32438995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6" hidden="1">
            <a:extLst>
              <a:ext uri="{FF2B5EF4-FFF2-40B4-BE49-F238E27FC236}">
                <a16:creationId xmlns:a16="http://schemas.microsoft.com/office/drawing/2014/main" id="{86E50A03-B4EC-3AD0-78EC-422B6CB37FF1}"/>
              </a:ext>
            </a:extLst>
          </p:cNvPr>
          <p:cNvGraphicFramePr>
            <a:graphicFrameLocks noChangeAspect="1"/>
          </p:cNvGraphicFramePr>
          <p:nvPr>
            <p:custDataLst>
              <p:tags r:id="rId1"/>
            </p:custDataLst>
            <p:extLst>
              <p:ext uri="{D42A27DB-BD31-4B8C-83A1-F6EECF244321}">
                <p14:modId xmlns:p14="http://schemas.microsoft.com/office/powerpoint/2010/main" val="1461596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5" imgW="592" imgH="595" progId="TCLayout.ActiveDocument.1">
                  <p:embed/>
                </p:oleObj>
              </mc:Choice>
              <mc:Fallback>
                <p:oleObj name="think-cell Slide" r:id="rId65" imgW="592" imgH="595" progId="TCLayout.ActiveDocument.1">
                  <p:embed/>
                  <p:pic>
                    <p:nvPicPr>
                      <p:cNvPr id="12" name="Object 6" hidden="1">
                        <a:extLst>
                          <a:ext uri="{FF2B5EF4-FFF2-40B4-BE49-F238E27FC236}">
                            <a16:creationId xmlns:a16="http://schemas.microsoft.com/office/drawing/2014/main" id="{86E50A03-B4EC-3AD0-78EC-422B6CB37FF1}"/>
                          </a:ext>
                        </a:extLst>
                      </p:cNvPr>
                      <p:cNvPicPr/>
                      <p:nvPr/>
                    </p:nvPicPr>
                    <p:blipFill>
                      <a:blip r:embed="rId66"/>
                      <a:stretch>
                        <a:fillRect/>
                      </a:stretch>
                    </p:blipFill>
                    <p:spPr>
                      <a:xfrm>
                        <a:off x="1588" y="1588"/>
                        <a:ext cx="1588" cy="1588"/>
                      </a:xfrm>
                      <a:prstGeom prst="rect">
                        <a:avLst/>
                      </a:prstGeom>
                    </p:spPr>
                  </p:pic>
                </p:oleObj>
              </mc:Fallback>
            </mc:AlternateContent>
          </a:graphicData>
        </a:graphic>
      </p:graphicFrame>
      <p:sp>
        <p:nvSpPr>
          <p:cNvPr id="207" name="Rectangle 206">
            <a:extLst>
              <a:ext uri="{FF2B5EF4-FFF2-40B4-BE49-F238E27FC236}">
                <a16:creationId xmlns:a16="http://schemas.microsoft.com/office/drawing/2014/main" id="{4244A09C-3630-2F2B-86BC-1588C7D94353}"/>
              </a:ext>
            </a:extLst>
          </p:cNvPr>
          <p:cNvSpPr/>
          <p:nvPr/>
        </p:nvSpPr>
        <p:spPr>
          <a:xfrm>
            <a:off x="4988252" y="1574799"/>
            <a:ext cx="2695455" cy="3816351"/>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err="1">
              <a:ln>
                <a:noFill/>
              </a:ln>
              <a:solidFill>
                <a:srgbClr val="FFFFFF"/>
              </a:solidFill>
              <a:effectLst/>
              <a:uLnTx/>
              <a:uFillTx/>
              <a:latin typeface="Bahnschrift"/>
              <a:ea typeface="+mn-ea"/>
              <a:cs typeface="+mn-cs"/>
            </a:endParaRPr>
          </a:p>
        </p:txBody>
      </p:sp>
      <p:sp>
        <p:nvSpPr>
          <p:cNvPr id="271" name="Title 270">
            <a:extLst>
              <a:ext uri="{FF2B5EF4-FFF2-40B4-BE49-F238E27FC236}">
                <a16:creationId xmlns:a16="http://schemas.microsoft.com/office/drawing/2014/main" id="{5BE79A50-C576-B135-3FA6-AC9E3C50B485}"/>
              </a:ext>
            </a:extLst>
          </p:cNvPr>
          <p:cNvSpPr>
            <a:spLocks noGrp="1"/>
          </p:cNvSpPr>
          <p:nvPr>
            <p:ph type="title"/>
          </p:nvPr>
        </p:nvSpPr>
        <p:spPr>
          <a:xfrm>
            <a:off x="554736" y="188151"/>
            <a:ext cx="11082528" cy="71558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de-DE" dirty="0"/>
              <a:t>Bis 2030 ~12 GW installierte PV-Leistung nötig - mit zuletzt hoher Ausbaugeschwindigkeit kann Ziel leicht übertroffen werden</a:t>
            </a:r>
          </a:p>
        </p:txBody>
      </p:sp>
      <p:cxnSp>
        <p:nvCxnSpPr>
          <p:cNvPr id="43" name="Straight Connector 42">
            <a:extLst>
              <a:ext uri="{FF2B5EF4-FFF2-40B4-BE49-F238E27FC236}">
                <a16:creationId xmlns:a16="http://schemas.microsoft.com/office/drawing/2014/main" id="{A60CC2CA-2B53-76B6-D321-D7647F6961FC}"/>
              </a:ext>
            </a:extLst>
          </p:cNvPr>
          <p:cNvCxnSpPr/>
          <p:nvPr>
            <p:custDataLst>
              <p:tags r:id="rId2"/>
            </p:custDataLst>
          </p:nvPr>
        </p:nvCxnSpPr>
        <p:spPr bwMode="gray">
          <a:xfrm>
            <a:off x="4943475" y="4597400"/>
            <a:ext cx="9048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7E547CC2-9726-D9EE-79C5-C57F101F9811}"/>
              </a:ext>
            </a:extLst>
          </p:cNvPr>
          <p:cNvCxnSpPr/>
          <p:nvPr>
            <p:custDataLst>
              <p:tags r:id="rId3"/>
            </p:custDataLst>
          </p:nvPr>
        </p:nvCxnSpPr>
        <p:spPr bwMode="gray">
          <a:xfrm>
            <a:off x="6845300" y="3352800"/>
            <a:ext cx="88900"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D5C77FB9-8635-7451-0252-B0DA90519BB4}"/>
              </a:ext>
            </a:extLst>
          </p:cNvPr>
          <p:cNvCxnSpPr/>
          <p:nvPr>
            <p:custDataLst>
              <p:tags r:id="rId4"/>
            </p:custDataLst>
          </p:nvPr>
        </p:nvCxnSpPr>
        <p:spPr bwMode="gray">
          <a:xfrm>
            <a:off x="4627563" y="4837113"/>
            <a:ext cx="88900"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AEA6F1FD-D717-F673-5736-D44F2F0A1B1E}"/>
              </a:ext>
            </a:extLst>
          </p:cNvPr>
          <p:cNvCxnSpPr/>
          <p:nvPr>
            <p:custDataLst>
              <p:tags r:id="rId5"/>
            </p:custDataLst>
          </p:nvPr>
        </p:nvCxnSpPr>
        <p:spPr bwMode="gray">
          <a:xfrm>
            <a:off x="3994150" y="5053013"/>
            <a:ext cx="88900"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8768A396-8509-A5BB-0496-A2172BD17CE7}"/>
              </a:ext>
            </a:extLst>
          </p:cNvPr>
          <p:cNvCxnSpPr/>
          <p:nvPr>
            <p:custDataLst>
              <p:tags r:id="rId6"/>
            </p:custDataLst>
          </p:nvPr>
        </p:nvCxnSpPr>
        <p:spPr bwMode="gray">
          <a:xfrm>
            <a:off x="5894388" y="3975100"/>
            <a:ext cx="9048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384B2802-B023-D7C6-74D6-4CB4EE9B70DC}"/>
              </a:ext>
            </a:extLst>
          </p:cNvPr>
          <p:cNvCxnSpPr/>
          <p:nvPr>
            <p:custDataLst>
              <p:tags r:id="rId7"/>
            </p:custDataLst>
          </p:nvPr>
        </p:nvCxnSpPr>
        <p:spPr bwMode="gray">
          <a:xfrm>
            <a:off x="5576888" y="4183063"/>
            <a:ext cx="9048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6503D8C1-CC76-D53E-6701-9E2C60DEBAE8}"/>
              </a:ext>
            </a:extLst>
          </p:cNvPr>
          <p:cNvCxnSpPr/>
          <p:nvPr>
            <p:custDataLst>
              <p:tags r:id="rId8"/>
            </p:custDataLst>
          </p:nvPr>
        </p:nvCxnSpPr>
        <p:spPr bwMode="gray">
          <a:xfrm>
            <a:off x="2092325" y="5267325"/>
            <a:ext cx="9048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C049523D-156F-B0CC-ED82-F8F6288F8982}"/>
              </a:ext>
            </a:extLst>
          </p:cNvPr>
          <p:cNvCxnSpPr/>
          <p:nvPr>
            <p:custDataLst>
              <p:tags r:id="rId9"/>
            </p:custDataLst>
          </p:nvPr>
        </p:nvCxnSpPr>
        <p:spPr bwMode="gray">
          <a:xfrm>
            <a:off x="6527800" y="3559175"/>
            <a:ext cx="9048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48F90CBB-0408-973B-885F-B1A4185A2647}"/>
              </a:ext>
            </a:extLst>
          </p:cNvPr>
          <p:cNvCxnSpPr/>
          <p:nvPr>
            <p:custDataLst>
              <p:tags r:id="rId10"/>
            </p:custDataLst>
          </p:nvPr>
        </p:nvCxnSpPr>
        <p:spPr bwMode="gray">
          <a:xfrm>
            <a:off x="6211888" y="3767138"/>
            <a:ext cx="88900"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0254CC3F-3C63-4E80-798C-17E86ECF8397}"/>
              </a:ext>
            </a:extLst>
          </p:cNvPr>
          <p:cNvCxnSpPr/>
          <p:nvPr>
            <p:custDataLst>
              <p:tags r:id="rId11"/>
            </p:custDataLst>
          </p:nvPr>
        </p:nvCxnSpPr>
        <p:spPr bwMode="gray">
          <a:xfrm>
            <a:off x="5260975" y="4389438"/>
            <a:ext cx="88900"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01309FED-E2C2-49FC-F9EC-3F7E103CA77F}"/>
              </a:ext>
            </a:extLst>
          </p:cNvPr>
          <p:cNvCxnSpPr/>
          <p:nvPr>
            <p:custDataLst>
              <p:tags r:id="rId12"/>
            </p:custDataLst>
          </p:nvPr>
        </p:nvCxnSpPr>
        <p:spPr bwMode="gray">
          <a:xfrm>
            <a:off x="3676650" y="5102225"/>
            <a:ext cx="9048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5F5E34D6-4122-6F0F-DB73-C459CB6B72A2}"/>
              </a:ext>
            </a:extLst>
          </p:cNvPr>
          <p:cNvCxnSpPr/>
          <p:nvPr>
            <p:custDataLst>
              <p:tags r:id="rId13"/>
            </p:custDataLst>
          </p:nvPr>
        </p:nvCxnSpPr>
        <p:spPr bwMode="gray">
          <a:xfrm>
            <a:off x="2409825" y="5235575"/>
            <a:ext cx="88900"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8C68682B-31ED-7924-565B-858720EED6BB}"/>
              </a:ext>
            </a:extLst>
          </p:cNvPr>
          <p:cNvCxnSpPr/>
          <p:nvPr>
            <p:custDataLst>
              <p:tags r:id="rId14"/>
            </p:custDataLst>
          </p:nvPr>
        </p:nvCxnSpPr>
        <p:spPr bwMode="gray">
          <a:xfrm>
            <a:off x="3043238" y="5173663"/>
            <a:ext cx="88900"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CB0A94CE-52C0-F424-24BE-DFC73D374D02}"/>
              </a:ext>
            </a:extLst>
          </p:cNvPr>
          <p:cNvCxnSpPr/>
          <p:nvPr>
            <p:custDataLst>
              <p:tags r:id="rId15"/>
            </p:custDataLst>
          </p:nvPr>
        </p:nvCxnSpPr>
        <p:spPr bwMode="gray">
          <a:xfrm>
            <a:off x="2725738" y="5205413"/>
            <a:ext cx="9048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E0C5495F-CE87-3819-3C23-C83438EB60CE}"/>
              </a:ext>
            </a:extLst>
          </p:cNvPr>
          <p:cNvCxnSpPr/>
          <p:nvPr>
            <p:custDataLst>
              <p:tags r:id="rId16"/>
            </p:custDataLst>
          </p:nvPr>
        </p:nvCxnSpPr>
        <p:spPr bwMode="gray">
          <a:xfrm>
            <a:off x="3359150" y="5138738"/>
            <a:ext cx="9048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B8E26F7D-787D-EF80-8D55-359E4A62A5E6}"/>
              </a:ext>
            </a:extLst>
          </p:cNvPr>
          <p:cNvCxnSpPr/>
          <p:nvPr>
            <p:custDataLst>
              <p:tags r:id="rId17"/>
            </p:custDataLst>
          </p:nvPr>
        </p:nvCxnSpPr>
        <p:spPr bwMode="gray">
          <a:xfrm>
            <a:off x="1776413" y="5319713"/>
            <a:ext cx="88900"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5A27EB68-5567-5E95-54D7-4DF9BA77E96F}"/>
              </a:ext>
            </a:extLst>
          </p:cNvPr>
          <p:cNvCxnSpPr/>
          <p:nvPr>
            <p:custDataLst>
              <p:tags r:id="rId18"/>
            </p:custDataLst>
          </p:nvPr>
        </p:nvCxnSpPr>
        <p:spPr bwMode="gray">
          <a:xfrm>
            <a:off x="1458913" y="5354638"/>
            <a:ext cx="9048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080392AE-677A-C514-374A-84F3529A96C1}"/>
              </a:ext>
            </a:extLst>
          </p:cNvPr>
          <p:cNvCxnSpPr/>
          <p:nvPr>
            <p:custDataLst>
              <p:tags r:id="rId19"/>
            </p:custDataLst>
          </p:nvPr>
        </p:nvCxnSpPr>
        <p:spPr bwMode="gray">
          <a:xfrm>
            <a:off x="1143000" y="5373688"/>
            <a:ext cx="88900"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8B9EE893-084D-9479-DF5E-FD93E5BC73C1}"/>
              </a:ext>
            </a:extLst>
          </p:cNvPr>
          <p:cNvCxnSpPr/>
          <p:nvPr>
            <p:custDataLst>
              <p:tags r:id="rId20"/>
            </p:custDataLst>
          </p:nvPr>
        </p:nvCxnSpPr>
        <p:spPr bwMode="gray">
          <a:xfrm>
            <a:off x="825500" y="5381625"/>
            <a:ext cx="9048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BF6D623F-830A-DDC5-12A8-418DED677FEC}"/>
              </a:ext>
            </a:extLst>
          </p:cNvPr>
          <p:cNvCxnSpPr/>
          <p:nvPr>
            <p:custDataLst>
              <p:tags r:id="rId21"/>
            </p:custDataLst>
          </p:nvPr>
        </p:nvCxnSpPr>
        <p:spPr bwMode="gray">
          <a:xfrm>
            <a:off x="4310063" y="4984750"/>
            <a:ext cx="9048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2" name="Rectangle 71">
            <a:extLst>
              <a:ext uri="{FF2B5EF4-FFF2-40B4-BE49-F238E27FC236}">
                <a16:creationId xmlns:a16="http://schemas.microsoft.com/office/drawing/2014/main" id="{1A1D4698-4E6D-658D-35E3-7E76B2EE039A}"/>
              </a:ext>
            </a:extLst>
          </p:cNvPr>
          <p:cNvSpPr/>
          <p:nvPr>
            <p:custDataLst>
              <p:tags r:id="rId22"/>
            </p:custDataLst>
          </p:nvPr>
        </p:nvSpPr>
        <p:spPr bwMode="auto">
          <a:xfrm>
            <a:off x="915989" y="5373688"/>
            <a:ext cx="227013" cy="7938"/>
          </a:xfrm>
          <a:prstGeom prst="rect">
            <a:avLst/>
          </a:prstGeom>
          <a:solidFill>
            <a:schemeClr val="accent4"/>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err="1">
              <a:ln>
                <a:noFill/>
              </a:ln>
              <a:solidFill>
                <a:srgbClr val="FFFFFF"/>
              </a:solidFill>
              <a:effectLst/>
              <a:uLnTx/>
              <a:uFillTx/>
              <a:latin typeface="Bahnschrift"/>
              <a:ea typeface="+mn-ea"/>
              <a:cs typeface="+mn-cs"/>
            </a:endParaRPr>
          </a:p>
        </p:txBody>
      </p:sp>
      <p:sp>
        <p:nvSpPr>
          <p:cNvPr id="209" name="Rectangle 208">
            <a:extLst>
              <a:ext uri="{FF2B5EF4-FFF2-40B4-BE49-F238E27FC236}">
                <a16:creationId xmlns:a16="http://schemas.microsoft.com/office/drawing/2014/main" id="{082538FB-FB11-F73B-05FD-D821484B57A2}"/>
              </a:ext>
            </a:extLst>
          </p:cNvPr>
          <p:cNvSpPr/>
          <p:nvPr>
            <p:custDataLst>
              <p:tags r:id="rId23"/>
            </p:custDataLst>
          </p:nvPr>
        </p:nvSpPr>
        <p:spPr bwMode="auto">
          <a:xfrm>
            <a:off x="598489" y="5381625"/>
            <a:ext cx="227013" cy="11113"/>
          </a:xfrm>
          <a:prstGeom prst="rect">
            <a:avLst/>
          </a:prstGeom>
          <a:solidFill>
            <a:schemeClr val="accent1"/>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err="1">
              <a:ln>
                <a:noFill/>
              </a:ln>
              <a:solidFill>
                <a:srgbClr val="FFFFFF"/>
              </a:solidFill>
              <a:effectLst/>
              <a:uLnTx/>
              <a:uFillTx/>
              <a:latin typeface="Bahnschrift"/>
              <a:ea typeface="+mn-ea"/>
              <a:cs typeface="+mn-cs"/>
            </a:endParaRPr>
          </a:p>
        </p:txBody>
      </p:sp>
      <p:graphicFrame>
        <p:nvGraphicFramePr>
          <p:cNvPr id="27" name="Chart 26">
            <a:extLst>
              <a:ext uri="{FF2B5EF4-FFF2-40B4-BE49-F238E27FC236}">
                <a16:creationId xmlns:a16="http://schemas.microsoft.com/office/drawing/2014/main" id="{6E47BACE-E36F-3B47-C0DC-555C29C924BD}"/>
              </a:ext>
            </a:extLst>
          </p:cNvPr>
          <p:cNvGraphicFramePr/>
          <p:nvPr>
            <p:custDataLst>
              <p:tags r:id="rId24"/>
            </p:custDataLst>
            <p:extLst>
              <p:ext uri="{D42A27DB-BD31-4B8C-83A1-F6EECF244321}">
                <p14:modId xmlns:p14="http://schemas.microsoft.com/office/powerpoint/2010/main" val="2437339898"/>
              </p:ext>
            </p:extLst>
          </p:nvPr>
        </p:nvGraphicFramePr>
        <p:xfrm>
          <a:off x="471488" y="2090738"/>
          <a:ext cx="8085137" cy="3384550"/>
        </p:xfrm>
        <a:graphic>
          <a:graphicData uri="http://schemas.openxmlformats.org/drawingml/2006/chart">
            <c:chart xmlns:c="http://schemas.openxmlformats.org/drawingml/2006/chart" xmlns:r="http://schemas.openxmlformats.org/officeDocument/2006/relationships" r:id="rId67"/>
          </a:graphicData>
        </a:graphic>
      </p:graphicFrame>
      <p:sp useBgFill="1">
        <p:nvSpPr>
          <p:cNvPr id="26" name="Freeform: Shape 25">
            <a:extLst>
              <a:ext uri="{FF2B5EF4-FFF2-40B4-BE49-F238E27FC236}">
                <a16:creationId xmlns:a16="http://schemas.microsoft.com/office/drawing/2014/main" id="{F0C37A82-B01F-3070-3D09-D5E17329CE46}"/>
              </a:ext>
            </a:extLst>
          </p:cNvPr>
          <p:cNvSpPr/>
          <p:nvPr>
            <p:custDataLst>
              <p:tags r:id="rId25"/>
            </p:custDataLst>
          </p:nvPr>
        </p:nvSpPr>
        <p:spPr bwMode="auto">
          <a:xfrm>
            <a:off x="8150225" y="2482850"/>
            <a:ext cx="328614" cy="146051"/>
          </a:xfrm>
          <a:custGeom>
            <a:avLst/>
            <a:gdLst/>
            <a:ahLst/>
            <a:cxnLst/>
            <a:rect l="0" t="0" r="0" b="0"/>
            <a:pathLst>
              <a:path w="328614" h="146051">
                <a:moveTo>
                  <a:pt x="0" y="88900"/>
                </a:moveTo>
                <a:lnTo>
                  <a:pt x="328613" y="0"/>
                </a:lnTo>
                <a:lnTo>
                  <a:pt x="328613" y="57150"/>
                </a:lnTo>
                <a:lnTo>
                  <a:pt x="0" y="146050"/>
                </a:lnTo>
                <a:close/>
              </a:path>
            </a:pathLst>
          </a:custGeom>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4C5D6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chemeClr val="tx1"/>
              </a:solidFill>
              <a:latin typeface="Verdana" pitchFamily="34" charset="0"/>
              <a:ea typeface="Verdana" pitchFamily="34" charset="0"/>
              <a:cs typeface="Verdana" pitchFamily="34" charset="0"/>
            </a:endParaRPr>
          </a:p>
        </p:txBody>
      </p:sp>
      <p:sp>
        <p:nvSpPr>
          <p:cNvPr id="24" name="Freeform: Shape 23">
            <a:extLst>
              <a:ext uri="{FF2B5EF4-FFF2-40B4-BE49-F238E27FC236}">
                <a16:creationId xmlns:a16="http://schemas.microsoft.com/office/drawing/2014/main" id="{4A168E30-B4EB-FB47-6B4C-3CE922BC17E3}"/>
              </a:ext>
            </a:extLst>
          </p:cNvPr>
          <p:cNvSpPr/>
          <p:nvPr>
            <p:custDataLst>
              <p:tags r:id="rId26"/>
            </p:custDataLst>
          </p:nvPr>
        </p:nvSpPr>
        <p:spPr bwMode="auto">
          <a:xfrm>
            <a:off x="8150225" y="2482850"/>
            <a:ext cx="328614" cy="88901"/>
          </a:xfrm>
          <a:custGeom>
            <a:avLst/>
            <a:gdLst/>
            <a:ahLst/>
            <a:cxnLst/>
            <a:rect l="0" t="0" r="0" b="0"/>
            <a:pathLst>
              <a:path w="328614" h="88901">
                <a:moveTo>
                  <a:pt x="0" y="88900"/>
                </a:moveTo>
                <a:lnTo>
                  <a:pt x="328613"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5" name="Freeform: Shape 24">
            <a:extLst>
              <a:ext uri="{FF2B5EF4-FFF2-40B4-BE49-F238E27FC236}">
                <a16:creationId xmlns:a16="http://schemas.microsoft.com/office/drawing/2014/main" id="{B061ACA3-E3D6-5FED-3154-9E9B82D9D2C7}"/>
              </a:ext>
            </a:extLst>
          </p:cNvPr>
          <p:cNvSpPr/>
          <p:nvPr>
            <p:custDataLst>
              <p:tags r:id="rId27"/>
            </p:custDataLst>
          </p:nvPr>
        </p:nvSpPr>
        <p:spPr bwMode="auto">
          <a:xfrm>
            <a:off x="8150225" y="2540000"/>
            <a:ext cx="328614" cy="88901"/>
          </a:xfrm>
          <a:custGeom>
            <a:avLst/>
            <a:gdLst/>
            <a:ahLst/>
            <a:cxnLst/>
            <a:rect l="0" t="0" r="0" b="0"/>
            <a:pathLst>
              <a:path w="328614" h="88901">
                <a:moveTo>
                  <a:pt x="0" y="88900"/>
                </a:moveTo>
                <a:lnTo>
                  <a:pt x="328613"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5" name="Text Placeholder 4">
            <a:extLst>
              <a:ext uri="{FF2B5EF4-FFF2-40B4-BE49-F238E27FC236}">
                <a16:creationId xmlns:a16="http://schemas.microsoft.com/office/drawing/2014/main" id="{0EA0150E-C016-0B15-8A9C-4F490FFA41B9}"/>
              </a:ext>
            </a:extLst>
          </p:cNvPr>
          <p:cNvSpPr>
            <a:spLocks noGrp="1"/>
          </p:cNvSpPr>
          <p:nvPr>
            <p:custDataLst>
              <p:tags r:id="rId28"/>
            </p:custDataLst>
          </p:nvPr>
        </p:nvSpPr>
        <p:spPr bwMode="auto">
          <a:xfrm>
            <a:off x="5373688" y="5443538"/>
            <a:ext cx="1793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692D162-6997-4ECE-88A7-12046F876CF3}" type="datetime'''''''''''''''2''''''''''''4'''''''''">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4</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51" name="Text Placeholder 4">
            <a:extLst>
              <a:ext uri="{FF2B5EF4-FFF2-40B4-BE49-F238E27FC236}">
                <a16:creationId xmlns:a16="http://schemas.microsoft.com/office/drawing/2014/main" id="{7BFD6F85-BD24-9652-A3BB-664D765C26D2}"/>
              </a:ext>
            </a:extLst>
          </p:cNvPr>
          <p:cNvSpPr>
            <a:spLocks noGrp="1"/>
          </p:cNvSpPr>
          <p:nvPr>
            <p:custDataLst>
              <p:tags r:id="rId29"/>
            </p:custDataLst>
          </p:nvPr>
        </p:nvSpPr>
        <p:spPr bwMode="auto">
          <a:xfrm>
            <a:off x="7275513" y="5443538"/>
            <a:ext cx="177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FC9F114-A451-4B84-A338-D4619AE1E597}" type="datetime'''''''''''''30'''">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0</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20" name="Text Placeholder 4">
            <a:extLst>
              <a:ext uri="{FF2B5EF4-FFF2-40B4-BE49-F238E27FC236}">
                <a16:creationId xmlns:a16="http://schemas.microsoft.com/office/drawing/2014/main" id="{2E17EB43-F868-1A50-E43F-AD86553E1708}"/>
              </a:ext>
            </a:extLst>
          </p:cNvPr>
          <p:cNvSpPr>
            <a:spLocks noGrp="1"/>
          </p:cNvSpPr>
          <p:nvPr>
            <p:custDataLst>
              <p:tags r:id="rId30"/>
            </p:custDataLst>
          </p:nvPr>
        </p:nvSpPr>
        <p:spPr bwMode="auto">
          <a:xfrm>
            <a:off x="4441825" y="5443538"/>
            <a:ext cx="1428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EA09C0B-4CC3-4202-B539-A5FCB707AEA3}" type="datetime'''''''''''''''''''''''2''''''''''''''''1'''">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1</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18" name="Text Placeholder 4">
            <a:extLst>
              <a:ext uri="{FF2B5EF4-FFF2-40B4-BE49-F238E27FC236}">
                <a16:creationId xmlns:a16="http://schemas.microsoft.com/office/drawing/2014/main" id="{ED8B2F10-B1E1-CAE1-3B83-9ECCF094B55F}"/>
              </a:ext>
            </a:extLst>
          </p:cNvPr>
          <p:cNvSpPr>
            <a:spLocks noGrp="1"/>
          </p:cNvSpPr>
          <p:nvPr>
            <p:custDataLst>
              <p:tags r:id="rId31"/>
            </p:custDataLst>
          </p:nvPr>
        </p:nvSpPr>
        <p:spPr bwMode="auto">
          <a:xfrm>
            <a:off x="3810000" y="5443538"/>
            <a:ext cx="141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CBF4D15-AF2B-493C-ACDC-6A918B760AC4}" type="datetime'''''''''''''''''''1''''''''''''''''''''9'''">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9</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21" name="Text Placeholder 4">
            <a:extLst>
              <a:ext uri="{FF2B5EF4-FFF2-40B4-BE49-F238E27FC236}">
                <a16:creationId xmlns:a16="http://schemas.microsoft.com/office/drawing/2014/main" id="{D6D3DC8C-420C-6022-1624-26D3857F1D67}"/>
              </a:ext>
            </a:extLst>
          </p:cNvPr>
          <p:cNvSpPr>
            <a:spLocks noGrp="1"/>
          </p:cNvSpPr>
          <p:nvPr>
            <p:custDataLst>
              <p:tags r:id="rId32"/>
            </p:custDataLst>
          </p:nvPr>
        </p:nvSpPr>
        <p:spPr bwMode="auto">
          <a:xfrm>
            <a:off x="4743450" y="5443538"/>
            <a:ext cx="171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3C875A1-5B3A-4AE0-BE39-1935F994BEA3}" type="datetime'''''''''''''''''''''''''''''''2''''2'''''">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2</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15" name="Text Placeholder 4">
            <a:extLst>
              <a:ext uri="{FF2B5EF4-FFF2-40B4-BE49-F238E27FC236}">
                <a16:creationId xmlns:a16="http://schemas.microsoft.com/office/drawing/2014/main" id="{C783CBD5-8070-E48E-C276-6141A4DAADF6}"/>
              </a:ext>
            </a:extLst>
          </p:cNvPr>
          <p:cNvSpPr>
            <a:spLocks noGrp="1"/>
          </p:cNvSpPr>
          <p:nvPr>
            <p:custDataLst>
              <p:tags r:id="rId33"/>
            </p:custDataLst>
          </p:nvPr>
        </p:nvSpPr>
        <p:spPr bwMode="auto">
          <a:xfrm>
            <a:off x="2859088" y="5443538"/>
            <a:ext cx="141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48D0310-4EF9-45BB-8ABC-209C5224438C}" type="datetime'''''''''''''''''''''''''''''''1''''''''''''''6'''''''''''''">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6</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22" name="Text Placeholder 4">
            <a:extLst>
              <a:ext uri="{FF2B5EF4-FFF2-40B4-BE49-F238E27FC236}">
                <a16:creationId xmlns:a16="http://schemas.microsoft.com/office/drawing/2014/main" id="{BB510185-3F42-A32D-CAE0-640EAD66F627}"/>
              </a:ext>
            </a:extLst>
          </p:cNvPr>
          <p:cNvSpPr>
            <a:spLocks noGrp="1"/>
          </p:cNvSpPr>
          <p:nvPr>
            <p:custDataLst>
              <p:tags r:id="rId34"/>
            </p:custDataLst>
          </p:nvPr>
        </p:nvSpPr>
        <p:spPr bwMode="auto">
          <a:xfrm>
            <a:off x="5060950" y="5443538"/>
            <a:ext cx="173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BD36907-8488-4D8C-A9B2-A99CB5CFC046}" type="datetime'''2''''''''''''''''''''''''''''''3'''''''''''''''''''''''''''">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3</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46" name="Text Placeholder 4">
            <a:extLst>
              <a:ext uri="{FF2B5EF4-FFF2-40B4-BE49-F238E27FC236}">
                <a16:creationId xmlns:a16="http://schemas.microsoft.com/office/drawing/2014/main" id="{A47766D1-9F93-004E-B0E5-21FD1DB6A2D5}"/>
              </a:ext>
            </a:extLst>
          </p:cNvPr>
          <p:cNvSpPr>
            <a:spLocks noGrp="1"/>
          </p:cNvSpPr>
          <p:nvPr>
            <p:custDataLst>
              <p:tags r:id="rId35"/>
            </p:custDataLst>
          </p:nvPr>
        </p:nvSpPr>
        <p:spPr bwMode="auto">
          <a:xfrm>
            <a:off x="5692775" y="5443538"/>
            <a:ext cx="1746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3BC9B35-6BAE-4B21-8657-CE9944F7DFC5}" type="datetime'2''''''''''''''''''''''''''''''''''''''''''''''''''5'''">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5</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47" name="Text Placeholder 4">
            <a:extLst>
              <a:ext uri="{FF2B5EF4-FFF2-40B4-BE49-F238E27FC236}">
                <a16:creationId xmlns:a16="http://schemas.microsoft.com/office/drawing/2014/main" id="{24878888-8A3C-514D-DE07-2BC34EFE6C9E}"/>
              </a:ext>
            </a:extLst>
          </p:cNvPr>
          <p:cNvSpPr>
            <a:spLocks noGrp="1"/>
          </p:cNvSpPr>
          <p:nvPr>
            <p:custDataLst>
              <p:tags r:id="rId36"/>
            </p:custDataLst>
          </p:nvPr>
        </p:nvSpPr>
        <p:spPr bwMode="auto">
          <a:xfrm>
            <a:off x="6013450" y="5443538"/>
            <a:ext cx="169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2DC360D-FA6C-470E-A2B7-E2BD4D8C4CA4}" type="datetime'''''''2''''''''''''''''''''''''''6'''''''''''''">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6</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49" name="Text Placeholder 4">
            <a:extLst>
              <a:ext uri="{FF2B5EF4-FFF2-40B4-BE49-F238E27FC236}">
                <a16:creationId xmlns:a16="http://schemas.microsoft.com/office/drawing/2014/main" id="{BCFBC345-C160-9CC9-2114-BD9BB763F446}"/>
              </a:ext>
            </a:extLst>
          </p:cNvPr>
          <p:cNvSpPr>
            <a:spLocks noGrp="1"/>
          </p:cNvSpPr>
          <p:nvPr>
            <p:custDataLst>
              <p:tags r:id="rId37"/>
            </p:custDataLst>
          </p:nvPr>
        </p:nvSpPr>
        <p:spPr bwMode="auto">
          <a:xfrm>
            <a:off x="6642100" y="5443538"/>
            <a:ext cx="177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F5F304D-EE1A-4772-B9B9-B7E942661F40}" type="datetime'''''''''''''''''''''''''''2''''''8'''''''''''''''''''''''''''">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8</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50" name="Text Placeholder 4">
            <a:extLst>
              <a:ext uri="{FF2B5EF4-FFF2-40B4-BE49-F238E27FC236}">
                <a16:creationId xmlns:a16="http://schemas.microsoft.com/office/drawing/2014/main" id="{3AD4F584-E31F-0F03-F24E-F750A87AE258}"/>
              </a:ext>
            </a:extLst>
          </p:cNvPr>
          <p:cNvSpPr>
            <a:spLocks noGrp="1"/>
          </p:cNvSpPr>
          <p:nvPr>
            <p:custDataLst>
              <p:tags r:id="rId38"/>
            </p:custDataLst>
          </p:nvPr>
        </p:nvSpPr>
        <p:spPr bwMode="auto">
          <a:xfrm>
            <a:off x="6962775" y="5443538"/>
            <a:ext cx="169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BFFCC38-B1AB-48C1-84DF-B75C9EB14767}" type="datetime'''''''''29'''''''''''''''''">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9</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74" name="Text Placeholder 4">
            <a:extLst>
              <a:ext uri="{FF2B5EF4-FFF2-40B4-BE49-F238E27FC236}">
                <a16:creationId xmlns:a16="http://schemas.microsoft.com/office/drawing/2014/main" id="{2DBEDFE7-C682-4C6C-BBB9-327E5E34D74F}"/>
              </a:ext>
            </a:extLst>
          </p:cNvPr>
          <p:cNvSpPr>
            <a:spLocks noGrp="1"/>
          </p:cNvSpPr>
          <p:nvPr>
            <p:custDataLst>
              <p:tags r:id="rId39"/>
            </p:custDataLst>
          </p:nvPr>
        </p:nvSpPr>
        <p:spPr bwMode="auto">
          <a:xfrm>
            <a:off x="7761287" y="5443538"/>
            <a:ext cx="1106488" cy="5476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de-DE" altLang="en-US"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Technisch-wirtschaftliches Potenzial</a:t>
            </a:r>
            <a:r>
              <a:rPr kumimoji="0" lang="de-DE" altLang="en-US" sz="1200" b="0" i="0" u="none" strike="noStrike" kern="1200" cap="none" spc="0" normalizeH="0" baseline="30000" noProof="0" dirty="0">
                <a:ln>
                  <a:noFill/>
                </a:ln>
                <a:solidFill>
                  <a:srgbClr val="000000"/>
                </a:solidFill>
                <a:effectLst/>
                <a:uLnTx/>
                <a:uFillTx/>
                <a:latin typeface="Bahnschrift"/>
                <a:ea typeface="+mn-ea"/>
                <a:cs typeface="Arial" panose="020B0604020202020204" pitchFamily="34" charset="0"/>
              </a:rPr>
              <a:t>3</a:t>
            </a:r>
            <a:endParaRPr kumimoji="0" lang="de-DE" sz="1200" b="0" i="0" u="none" strike="noStrike" kern="1200" cap="none" spc="0" normalizeH="0" baseline="30000" noProof="0" dirty="0">
              <a:ln>
                <a:noFill/>
              </a:ln>
              <a:solidFill>
                <a:srgbClr val="000000"/>
              </a:solidFill>
              <a:effectLst/>
              <a:uLnTx/>
              <a:uFillTx/>
              <a:latin typeface="Bahnschrift"/>
              <a:ea typeface="+mn-ea"/>
              <a:cs typeface="Arial" panose="020B0604020202020204" pitchFamily="34" charset="0"/>
            </a:endParaRPr>
          </a:p>
        </p:txBody>
      </p:sp>
      <p:sp>
        <p:nvSpPr>
          <p:cNvPr id="14" name="Text Placeholder 4">
            <a:extLst>
              <a:ext uri="{FF2B5EF4-FFF2-40B4-BE49-F238E27FC236}">
                <a16:creationId xmlns:a16="http://schemas.microsoft.com/office/drawing/2014/main" id="{D6DB2C7B-C70D-7299-5140-11165444AA17}"/>
              </a:ext>
            </a:extLst>
          </p:cNvPr>
          <p:cNvSpPr>
            <a:spLocks noGrp="1"/>
          </p:cNvSpPr>
          <p:nvPr>
            <p:custDataLst>
              <p:tags r:id="rId40"/>
            </p:custDataLst>
          </p:nvPr>
        </p:nvSpPr>
        <p:spPr bwMode="auto">
          <a:xfrm>
            <a:off x="2538413" y="5443538"/>
            <a:ext cx="1460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11D2EFF-5502-4BB6-BBA7-6D78708362DF}" type="datetime'1''''''''5'">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5</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16" name="Text Placeholder 4">
            <a:extLst>
              <a:ext uri="{FF2B5EF4-FFF2-40B4-BE49-F238E27FC236}">
                <a16:creationId xmlns:a16="http://schemas.microsoft.com/office/drawing/2014/main" id="{6E89114A-9C69-2FF4-F2D0-E9BEBD56F272}"/>
              </a:ext>
            </a:extLst>
          </p:cNvPr>
          <p:cNvSpPr>
            <a:spLocks noGrp="1"/>
          </p:cNvSpPr>
          <p:nvPr>
            <p:custDataLst>
              <p:tags r:id="rId41"/>
            </p:custDataLst>
          </p:nvPr>
        </p:nvSpPr>
        <p:spPr bwMode="auto">
          <a:xfrm>
            <a:off x="3175000" y="5443538"/>
            <a:ext cx="1397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8014145-8A2B-4A92-83B1-41BA80A6DE2D}" type="datetime'''''''''''''''''''''''''''''1''''''''''''''''''''''7'''''">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7</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19" name="Text Placeholder 4">
            <a:extLst>
              <a:ext uri="{FF2B5EF4-FFF2-40B4-BE49-F238E27FC236}">
                <a16:creationId xmlns:a16="http://schemas.microsoft.com/office/drawing/2014/main" id="{5E3126E7-BE73-5EF0-67BA-40EFB729F416}"/>
              </a:ext>
            </a:extLst>
          </p:cNvPr>
          <p:cNvSpPr>
            <a:spLocks noGrp="1"/>
          </p:cNvSpPr>
          <p:nvPr>
            <p:custDataLst>
              <p:tags r:id="rId42"/>
            </p:custDataLst>
          </p:nvPr>
        </p:nvSpPr>
        <p:spPr bwMode="auto">
          <a:xfrm>
            <a:off x="4108450" y="5443538"/>
            <a:ext cx="176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3389316-AA0C-468C-BE2C-EFF0EC573D20}" type="datetime'''''''''''''''''''''''''2''''''0'''''''''''">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48" name="Text Placeholder 4">
            <a:extLst>
              <a:ext uri="{FF2B5EF4-FFF2-40B4-BE49-F238E27FC236}">
                <a16:creationId xmlns:a16="http://schemas.microsoft.com/office/drawing/2014/main" id="{1B4EE7F9-B400-7347-D644-4AB7051A3C2A}"/>
              </a:ext>
            </a:extLst>
          </p:cNvPr>
          <p:cNvSpPr>
            <a:spLocks noGrp="1"/>
          </p:cNvSpPr>
          <p:nvPr>
            <p:custDataLst>
              <p:tags r:id="rId43"/>
            </p:custDataLst>
          </p:nvPr>
        </p:nvSpPr>
        <p:spPr bwMode="auto">
          <a:xfrm>
            <a:off x="6329363" y="5443538"/>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388AE72-64AD-4C18-ADD9-98571290477B}" type="datetime'''''''''27'''''''''''''''''''''''''''''''''''''''''''''''">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7</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8" name="Text Placeholder 4">
            <a:extLst>
              <a:ext uri="{FF2B5EF4-FFF2-40B4-BE49-F238E27FC236}">
                <a16:creationId xmlns:a16="http://schemas.microsoft.com/office/drawing/2014/main" id="{4C1F3293-4EFE-461D-940D-7EE66BAE31C5}"/>
              </a:ext>
            </a:extLst>
          </p:cNvPr>
          <p:cNvSpPr>
            <a:spLocks noGrp="1"/>
          </p:cNvSpPr>
          <p:nvPr>
            <p:custDataLst>
              <p:tags r:id="rId44"/>
            </p:custDataLst>
          </p:nvPr>
        </p:nvSpPr>
        <p:spPr bwMode="auto">
          <a:xfrm>
            <a:off x="1906588" y="5443538"/>
            <a:ext cx="144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8096E06-6BBD-43F0-83B7-CF534A67107B}" type="datetime'''''''''''''''''''1''''''''''''''''''3'''''''''''">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3</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7" name="Text Placeholder 4">
            <a:extLst>
              <a:ext uri="{FF2B5EF4-FFF2-40B4-BE49-F238E27FC236}">
                <a16:creationId xmlns:a16="http://schemas.microsoft.com/office/drawing/2014/main" id="{4C1F3293-4EFE-461D-940D-7EE66BAE31C5}"/>
              </a:ext>
            </a:extLst>
          </p:cNvPr>
          <p:cNvSpPr>
            <a:spLocks noGrp="1"/>
          </p:cNvSpPr>
          <p:nvPr>
            <p:custDataLst>
              <p:tags r:id="rId45"/>
            </p:custDataLst>
          </p:nvPr>
        </p:nvSpPr>
        <p:spPr bwMode="auto">
          <a:xfrm>
            <a:off x="1590675" y="5443538"/>
            <a:ext cx="1428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83437EE-6AC6-468E-9866-C3EF001E9DD7}" type="datetime'''''1''''2'''''''''''''''''''''''''''''''''''''">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2</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5" name="Text Placeholder 4">
            <a:extLst>
              <a:ext uri="{FF2B5EF4-FFF2-40B4-BE49-F238E27FC236}">
                <a16:creationId xmlns:a16="http://schemas.microsoft.com/office/drawing/2014/main" id="{4C1F3293-4EFE-461D-940D-7EE66BAE31C5}"/>
              </a:ext>
            </a:extLst>
          </p:cNvPr>
          <p:cNvSpPr>
            <a:spLocks noGrp="1"/>
          </p:cNvSpPr>
          <p:nvPr>
            <p:custDataLst>
              <p:tags r:id="rId46"/>
            </p:custDataLst>
          </p:nvPr>
        </p:nvSpPr>
        <p:spPr bwMode="auto">
          <a:xfrm>
            <a:off x="1287463" y="5443538"/>
            <a:ext cx="114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838B2C6-9D1D-435D-87D1-E39C3B9FB502}" type="datetime'''''''''1''''''''''''''1'''''''''''''''''">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1</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31" name="Text Placeholder 4">
            <a:extLst>
              <a:ext uri="{FF2B5EF4-FFF2-40B4-BE49-F238E27FC236}">
                <a16:creationId xmlns:a16="http://schemas.microsoft.com/office/drawing/2014/main" id="{DB3CD874-A488-D08A-ABCC-62B21651FEED}"/>
              </a:ext>
            </a:extLst>
          </p:cNvPr>
          <p:cNvSpPr>
            <a:spLocks noGrp="1"/>
          </p:cNvSpPr>
          <p:nvPr>
            <p:custDataLst>
              <p:tags r:id="rId47"/>
            </p:custDataLst>
          </p:nvPr>
        </p:nvSpPr>
        <p:spPr bwMode="auto">
          <a:xfrm>
            <a:off x="542925" y="5443538"/>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980471F-01AA-45F7-87BD-F92C724E4C79}" type="datetime'''''''''''''2''''''''''0''0''''''''''''''''''''''''''''''9'">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09</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193" name="Text Placeholder 4">
            <a:extLst>
              <a:ext uri="{FF2B5EF4-FFF2-40B4-BE49-F238E27FC236}">
                <a16:creationId xmlns:a16="http://schemas.microsoft.com/office/drawing/2014/main" id="{FBB591B4-C2E6-3219-257A-81C8CEEBFFD0}"/>
              </a:ext>
            </a:extLst>
          </p:cNvPr>
          <p:cNvSpPr>
            <a:spLocks noGrp="1"/>
          </p:cNvSpPr>
          <p:nvPr>
            <p:custDataLst>
              <p:tags r:id="rId48"/>
            </p:custDataLst>
          </p:nvPr>
        </p:nvSpPr>
        <p:spPr bwMode="gray">
          <a:xfrm>
            <a:off x="4075113" y="4776788"/>
            <a:ext cx="2428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FA4D60B-ECB0-4ECB-82A1-5A5E3037D51E}" type="datetime'''''''''''''''''''''''''''''2'''''''',''''''''0'''''''">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83" name="Text Placeholder 4">
            <a:extLst>
              <a:ext uri="{FF2B5EF4-FFF2-40B4-BE49-F238E27FC236}">
                <a16:creationId xmlns:a16="http://schemas.microsoft.com/office/drawing/2014/main" id="{0B16D8BC-0B5C-475B-A6F2-4899F7AE677B}"/>
              </a:ext>
            </a:extLst>
          </p:cNvPr>
          <p:cNvSpPr>
            <a:spLocks noGrp="1"/>
          </p:cNvSpPr>
          <p:nvPr>
            <p:custDataLst>
              <p:tags r:id="rId49"/>
            </p:custDataLst>
          </p:nvPr>
        </p:nvSpPr>
        <p:spPr bwMode="gray">
          <a:xfrm>
            <a:off x="8091488" y="1965325"/>
            <a:ext cx="4460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20-30</a:t>
            </a:r>
          </a:p>
        </p:txBody>
      </p:sp>
      <p:sp>
        <p:nvSpPr>
          <p:cNvPr id="17" name="Text Placeholder 4">
            <a:extLst>
              <a:ext uri="{FF2B5EF4-FFF2-40B4-BE49-F238E27FC236}">
                <a16:creationId xmlns:a16="http://schemas.microsoft.com/office/drawing/2014/main" id="{5E621FA9-36B3-2C96-CA4E-9BCE9838DC21}"/>
              </a:ext>
            </a:extLst>
          </p:cNvPr>
          <p:cNvSpPr>
            <a:spLocks noGrp="1"/>
          </p:cNvSpPr>
          <p:nvPr>
            <p:custDataLst>
              <p:tags r:id="rId50"/>
            </p:custDataLst>
          </p:nvPr>
        </p:nvSpPr>
        <p:spPr bwMode="auto">
          <a:xfrm>
            <a:off x="3487738" y="5443538"/>
            <a:ext cx="1492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ABAD8E4-3037-4FB3-85CF-AFDDC4557843}" type="datetime'''''''''''''''''18'''">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8</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32" name="Text Placeholder 4">
            <a:extLst>
              <a:ext uri="{FF2B5EF4-FFF2-40B4-BE49-F238E27FC236}">
                <a16:creationId xmlns:a16="http://schemas.microsoft.com/office/drawing/2014/main" id="{A6126E56-6BF9-8847-CE7A-3FBFFB6730C0}"/>
              </a:ext>
            </a:extLst>
          </p:cNvPr>
          <p:cNvSpPr>
            <a:spLocks noGrp="1"/>
          </p:cNvSpPr>
          <p:nvPr>
            <p:custDataLst>
              <p:tags r:id="rId51"/>
            </p:custDataLst>
          </p:nvPr>
        </p:nvSpPr>
        <p:spPr bwMode="auto">
          <a:xfrm>
            <a:off x="955675" y="5443538"/>
            <a:ext cx="1476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9144B16-85A5-4EE4-A3F2-12BDE475B0FA}" type="datetime'''''''''''''''''1''''''''''''0'">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0</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13" name="Text Placeholder 4">
            <a:extLst>
              <a:ext uri="{FF2B5EF4-FFF2-40B4-BE49-F238E27FC236}">
                <a16:creationId xmlns:a16="http://schemas.microsoft.com/office/drawing/2014/main" id="{F3168898-4E03-FC83-BBD3-DDB4B341CE32}"/>
              </a:ext>
            </a:extLst>
          </p:cNvPr>
          <p:cNvSpPr>
            <a:spLocks noGrp="1"/>
          </p:cNvSpPr>
          <p:nvPr>
            <p:custDataLst>
              <p:tags r:id="rId52"/>
            </p:custDataLst>
          </p:nvPr>
        </p:nvSpPr>
        <p:spPr bwMode="auto">
          <a:xfrm>
            <a:off x="2220913" y="5443538"/>
            <a:ext cx="150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5698BFA-401F-4661-87B2-1A50D267EF0A}" type="datetime'''''''''''''''''''''1''''''''''''''''''''''''''4'''''''''''''">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4</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52" name="Text Placeholder 4">
            <a:extLst>
              <a:ext uri="{FF2B5EF4-FFF2-40B4-BE49-F238E27FC236}">
                <a16:creationId xmlns:a16="http://schemas.microsoft.com/office/drawing/2014/main" id="{56C55ABA-22B9-E36C-6156-ACF191E99774}"/>
              </a:ext>
            </a:extLst>
          </p:cNvPr>
          <p:cNvSpPr>
            <a:spLocks noGrp="1"/>
          </p:cNvSpPr>
          <p:nvPr>
            <p:custDataLst>
              <p:tags r:id="rId53"/>
            </p:custDataLst>
          </p:nvPr>
        </p:nvSpPr>
        <p:spPr bwMode="gray">
          <a:xfrm>
            <a:off x="604838" y="5173663"/>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9C4F596-A7DB-4B95-936D-95B62AECCDC6}" type="datetime'0,''''1'''''''''''''''''''''''''''">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1</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102" name="Text Placeholder 4">
            <a:extLst>
              <a:ext uri="{FF2B5EF4-FFF2-40B4-BE49-F238E27FC236}">
                <a16:creationId xmlns:a16="http://schemas.microsoft.com/office/drawing/2014/main" id="{93CF4E64-8D35-6A6A-D774-B9FD816112A1}"/>
              </a:ext>
            </a:extLst>
          </p:cNvPr>
          <p:cNvSpPr>
            <a:spLocks noGrp="1"/>
          </p:cNvSpPr>
          <p:nvPr>
            <p:custDataLst>
              <p:tags r:id="rId54"/>
            </p:custDataLst>
          </p:nvPr>
        </p:nvSpPr>
        <p:spPr bwMode="gray">
          <a:xfrm>
            <a:off x="7219950" y="2728913"/>
            <a:ext cx="2905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A5AB88F-2DAF-494E-8F08-F07BE2093D99}" type="datetime'''''''''''''''''''''''''''''''''''''''''''''''1''2'',''''3'">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2,3</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196" name="Rectangle 195">
            <a:extLst>
              <a:ext uri="{FF2B5EF4-FFF2-40B4-BE49-F238E27FC236}">
                <a16:creationId xmlns:a16="http://schemas.microsoft.com/office/drawing/2014/main" id="{9BC11ECD-6D48-0C42-77B8-6ECF52C01A51}"/>
              </a:ext>
            </a:extLst>
          </p:cNvPr>
          <p:cNvSpPr/>
          <p:nvPr>
            <p:custDataLst>
              <p:tags r:id="rId55"/>
            </p:custDataLst>
          </p:nvPr>
        </p:nvSpPr>
        <p:spPr bwMode="auto">
          <a:xfrm>
            <a:off x="614363" y="1700213"/>
            <a:ext cx="165100" cy="165100"/>
          </a:xfrm>
          <a:prstGeom prst="rect">
            <a:avLst/>
          </a:prstGeom>
          <a:solidFill>
            <a:schemeClr val="accent4"/>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err="1">
              <a:ln>
                <a:noFill/>
              </a:ln>
              <a:solidFill>
                <a:srgbClr val="FFFFFF"/>
              </a:solidFill>
              <a:effectLst/>
              <a:uLnTx/>
              <a:uFillTx/>
              <a:latin typeface="Bahnschrift"/>
              <a:ea typeface="+mn-ea"/>
              <a:cs typeface="+mn-cs"/>
            </a:endParaRPr>
          </a:p>
        </p:txBody>
      </p:sp>
      <p:sp>
        <p:nvSpPr>
          <p:cNvPr id="192" name="Text Placeholder 4">
            <a:extLst>
              <a:ext uri="{FF2B5EF4-FFF2-40B4-BE49-F238E27FC236}">
                <a16:creationId xmlns:a16="http://schemas.microsoft.com/office/drawing/2014/main" id="{4C1F3293-4EFE-461D-940D-7EE66BAE31C5}"/>
              </a:ext>
            </a:extLst>
          </p:cNvPr>
          <p:cNvSpPr>
            <a:spLocks noGrp="1"/>
          </p:cNvSpPr>
          <p:nvPr>
            <p:custDataLst>
              <p:tags r:id="rId56"/>
            </p:custDataLst>
          </p:nvPr>
        </p:nvSpPr>
        <p:spPr bwMode="auto">
          <a:xfrm>
            <a:off x="830263" y="1698625"/>
            <a:ext cx="1860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de-DE" altLang="en-US"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Jährlicher Netto-</a:t>
            </a:r>
            <a:r>
              <a:rPr kumimoji="0" lang="de-DE" altLang="en-US" sz="1200" b="0" i="0" u="none" strike="noStrike" kern="1200" cap="none" spc="0" normalizeH="0" baseline="0" noProof="0" dirty="0" err="1">
                <a:ln>
                  <a:noFill/>
                </a:ln>
                <a:solidFill>
                  <a:srgbClr val="000000"/>
                </a:solidFill>
                <a:effectLst/>
                <a:uLnTx/>
                <a:uFillTx/>
                <a:latin typeface="Bahnschrift"/>
                <a:ea typeface="+mn-ea"/>
                <a:cs typeface="Arial" panose="020B0604020202020204" pitchFamily="34" charset="0"/>
              </a:rPr>
              <a:t>Neuzubau</a:t>
            </a:r>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202" name="TextBox 201">
            <a:extLst>
              <a:ext uri="{FF2B5EF4-FFF2-40B4-BE49-F238E27FC236}">
                <a16:creationId xmlns:a16="http://schemas.microsoft.com/office/drawing/2014/main" id="{D9394F7D-F270-0323-F252-A65426BC277C}"/>
              </a:ext>
            </a:extLst>
          </p:cNvPr>
          <p:cNvSpPr txBox="1">
            <a:spLocks/>
          </p:cNvSpPr>
          <p:nvPr/>
        </p:nvSpPr>
        <p:spPr>
          <a:xfrm>
            <a:off x="554736" y="1262063"/>
            <a:ext cx="8313038" cy="246063"/>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Installierte Kapazität an PV, </a:t>
            </a:r>
            <a:r>
              <a:rPr kumimoji="0" lang="de-DE" sz="16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GW</a:t>
            </a:r>
          </a:p>
        </p:txBody>
      </p:sp>
      <p:cxnSp>
        <p:nvCxnSpPr>
          <p:cNvPr id="203" name="LineBasicDefault 455">
            <a:extLst>
              <a:ext uri="{FF2B5EF4-FFF2-40B4-BE49-F238E27FC236}">
                <a16:creationId xmlns:a16="http://schemas.microsoft.com/office/drawing/2014/main" id="{E7CECD9D-8E9D-EB5D-EB1D-FDC7B97A79C7}"/>
              </a:ext>
            </a:extLst>
          </p:cNvPr>
          <p:cNvCxnSpPr>
            <a:cxnSpLocks/>
          </p:cNvCxnSpPr>
          <p:nvPr>
            <p:custDataLst>
              <p:tags r:id="rId57"/>
            </p:custDataLst>
          </p:nvPr>
        </p:nvCxnSpPr>
        <p:spPr>
          <a:xfrm>
            <a:off x="554736" y="1563688"/>
            <a:ext cx="8313038" cy="0"/>
          </a:xfrm>
          <a:prstGeom prst="straightConnector1">
            <a:avLst/>
          </a:prstGeom>
          <a:ln w="12700" cap="flat">
            <a:solidFill>
              <a:srgbClr val="004FA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68" name="5. Source">
            <a:extLst>
              <a:ext uri="{FF2B5EF4-FFF2-40B4-BE49-F238E27FC236}">
                <a16:creationId xmlns:a16="http://schemas.microsoft.com/office/drawing/2014/main" id="{5855F6CB-EBD3-B059-6175-C9559EC9DACE}"/>
              </a:ext>
            </a:extLst>
          </p:cNvPr>
          <p:cNvSpPr txBox="1"/>
          <p:nvPr>
            <p:custDataLst>
              <p:tags r:id="rId58"/>
            </p:custDataLst>
          </p:nvPr>
        </p:nvSpPr>
        <p:spPr>
          <a:xfrm>
            <a:off x="9145153" y="6278979"/>
            <a:ext cx="93839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800" b="0"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rPr>
              <a:t>Quelle: PV Austria, E-Control, BMAW</a:t>
            </a:r>
          </a:p>
        </p:txBody>
      </p:sp>
      <p:sp>
        <p:nvSpPr>
          <p:cNvPr id="298" name="TextBox 297">
            <a:extLst>
              <a:ext uri="{FF2B5EF4-FFF2-40B4-BE49-F238E27FC236}">
                <a16:creationId xmlns:a16="http://schemas.microsoft.com/office/drawing/2014/main" id="{D6721E1F-3F63-8A84-6FC5-0B7FAC3030FF}"/>
              </a:ext>
            </a:extLst>
          </p:cNvPr>
          <p:cNvSpPr txBox="1">
            <a:spLocks/>
          </p:cNvSpPr>
          <p:nvPr>
            <p:custDataLst>
              <p:tags r:id="rId59"/>
            </p:custDataLst>
          </p:nvPr>
        </p:nvSpPr>
        <p:spPr>
          <a:xfrm>
            <a:off x="9119860" y="1768475"/>
            <a:ext cx="2520451" cy="33655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300"/>
              </a:spcBef>
              <a:spcAft>
                <a:spcPts val="300"/>
              </a:spcAft>
              <a:buClr>
                <a:srgbClr val="000000"/>
              </a:buClr>
              <a:buSzPct val="100000"/>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Im EAG ist ein </a:t>
            </a: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PV-Ausbau um 11 TWh bis 2030 </a:t>
            </a: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geplant – wofür insgesamt Anlagen mit gut 12 GW nötig sind (Zubau von etwa 8 GW)</a:t>
            </a:r>
          </a:p>
          <a:p>
            <a:pPr marL="0" marR="0" lvl="0" indent="0" algn="l" defTabSz="914400" rtl="0" eaLnBrk="1" fontAlgn="auto" latinLnBrk="0" hangingPunct="1">
              <a:lnSpc>
                <a:spcPct val="100000"/>
              </a:lnSpc>
              <a:spcBef>
                <a:spcPts val="1300"/>
              </a:spcBef>
              <a:spcAft>
                <a:spcPts val="300"/>
              </a:spcAft>
              <a:buClr>
                <a:srgbClr val="000000"/>
              </a:buClr>
              <a:buSzPct val="100000"/>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Die </a:t>
            </a: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Ausbaugeschwindigkeit </a:t>
            </a: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hat sich in den letzten Jahren </a:t>
            </a: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deutlich beschleunigt</a:t>
            </a: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 für 2022 belaufen sich die Schätzungen auf 1,0-1,4 </a:t>
            </a:r>
            <a:r>
              <a:rPr kumimoji="0" lang="de-DE" sz="1200" b="0" i="0" u="none" strike="noStrike" kern="1200" cap="none" spc="0" normalizeH="0" baseline="0" noProof="0" dirty="0" err="1">
                <a:ln>
                  <a:noFill/>
                </a:ln>
                <a:solidFill>
                  <a:srgbClr val="000000"/>
                </a:solidFill>
                <a:effectLst/>
                <a:uLnTx/>
                <a:uFillTx/>
                <a:latin typeface="Bahnschrift"/>
                <a:ea typeface="+mn-ea"/>
                <a:cs typeface="Arial" panose="020B0604020202020204" pitchFamily="34" charset="0"/>
                <a:sym typeface=""/>
              </a:rPr>
              <a:t>GWp</a:t>
            </a: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 Zubau</a:t>
            </a:r>
          </a:p>
          <a:p>
            <a:pPr marL="0" marR="0" lvl="0" indent="0" algn="l" defTabSz="914400" rtl="0" eaLnBrk="1" fontAlgn="auto" latinLnBrk="0" hangingPunct="1">
              <a:lnSpc>
                <a:spcPct val="100000"/>
              </a:lnSpc>
              <a:spcBef>
                <a:spcPts val="1300"/>
              </a:spcBef>
              <a:spcAft>
                <a:spcPts val="300"/>
              </a:spcAft>
              <a:buClr>
                <a:srgbClr val="000000"/>
              </a:buClr>
              <a:buSzPct val="100000"/>
              <a:buFont typeface="Segoe UI" panose="020B0502040204020203" pitchFamily="34" charset="0"/>
              <a:buChar char="​"/>
              <a:tabLst/>
              <a:defRPr/>
            </a:pP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In diesem Tempo </a:t>
            </a: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kann der </a:t>
            </a: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geplante Ausbau laut EAG bis 2030 erfolgen </a:t>
            </a: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knapp über 1 </a:t>
            </a:r>
            <a:r>
              <a:rPr kumimoji="0" lang="de-DE" sz="1200" b="0" i="0" u="none" strike="noStrike" kern="1200" cap="none" spc="0" normalizeH="0" baseline="0" noProof="0" dirty="0" err="1">
                <a:ln>
                  <a:noFill/>
                </a:ln>
                <a:solidFill>
                  <a:srgbClr val="000000"/>
                </a:solidFill>
                <a:effectLst/>
                <a:uLnTx/>
                <a:uFillTx/>
                <a:latin typeface="Bahnschrift"/>
                <a:ea typeface="+mn-ea"/>
                <a:cs typeface="Arial" panose="020B0604020202020204" pitchFamily="34" charset="0"/>
                <a:sym typeface=""/>
              </a:rPr>
              <a:t>GWp</a:t>
            </a: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 p.a. nötig) – es besteht </a:t>
            </a: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sogar die Möglichkeit, dass das Ziel übererfüllt wird </a:t>
            </a: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Schätzung Fechner 2023: Ausbau von 1,2-1,5 </a:t>
            </a:r>
            <a:r>
              <a:rPr kumimoji="0" lang="de-DE" sz="1200" b="0" i="0" u="none" strike="noStrike" kern="1200" cap="none" spc="0" normalizeH="0" baseline="0" noProof="0" dirty="0" err="1">
                <a:ln>
                  <a:noFill/>
                </a:ln>
                <a:solidFill>
                  <a:srgbClr val="000000"/>
                </a:solidFill>
                <a:effectLst/>
                <a:uLnTx/>
                <a:uFillTx/>
                <a:latin typeface="Bahnschrift"/>
                <a:ea typeface="+mn-ea"/>
                <a:cs typeface="Arial" panose="020B0604020202020204" pitchFamily="34" charset="0"/>
                <a:sym typeface=""/>
              </a:rPr>
              <a:t>GWp</a:t>
            </a: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 p.a. zwischen 2023 und 2030)</a:t>
            </a:r>
          </a:p>
        </p:txBody>
      </p:sp>
      <p:sp>
        <p:nvSpPr>
          <p:cNvPr id="92" name="Oval 91">
            <a:extLst>
              <a:ext uri="{FF2B5EF4-FFF2-40B4-BE49-F238E27FC236}">
                <a16:creationId xmlns:a16="http://schemas.microsoft.com/office/drawing/2014/main" id="{0972522C-ADCB-80CF-C708-95DDEE5D1A5D}"/>
              </a:ext>
            </a:extLst>
          </p:cNvPr>
          <p:cNvSpPr/>
          <p:nvPr/>
        </p:nvSpPr>
        <p:spPr>
          <a:xfrm>
            <a:off x="3956582" y="4337050"/>
            <a:ext cx="485243" cy="2921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e-DE" sz="1200" b="0" i="0" u="none" strike="noStrike" kern="1200" cap="none" spc="0" normalizeH="0" baseline="0" noProof="0" dirty="0">
                <a:ln>
                  <a:noFill/>
                </a:ln>
                <a:solidFill>
                  <a:srgbClr val="FFFFFF"/>
                </a:solidFill>
                <a:effectLst/>
                <a:uLnTx/>
                <a:uFillTx/>
                <a:latin typeface="Bahnschrift"/>
                <a:ea typeface="+mn-ea"/>
                <a:cs typeface="+mn-cs"/>
              </a:rPr>
              <a:t>1,9</a:t>
            </a:r>
          </a:p>
        </p:txBody>
      </p:sp>
      <p:sp>
        <p:nvSpPr>
          <p:cNvPr id="93" name="Oval 92">
            <a:extLst>
              <a:ext uri="{FF2B5EF4-FFF2-40B4-BE49-F238E27FC236}">
                <a16:creationId xmlns:a16="http://schemas.microsoft.com/office/drawing/2014/main" id="{D20848F9-0264-FDBA-FB98-6325CF6FFD66}"/>
              </a:ext>
            </a:extLst>
          </p:cNvPr>
          <p:cNvSpPr/>
          <p:nvPr/>
        </p:nvSpPr>
        <p:spPr>
          <a:xfrm>
            <a:off x="561975" y="2041525"/>
            <a:ext cx="347937" cy="20955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e-DE" sz="1050" b="0" i="0" u="none" strike="noStrike" kern="1200" cap="none" spc="0" normalizeH="0" baseline="0" noProof="0" dirty="0">
                <a:ln>
                  <a:noFill/>
                </a:ln>
                <a:solidFill>
                  <a:srgbClr val="FFFFFF"/>
                </a:solidFill>
                <a:effectLst/>
                <a:uLnTx/>
                <a:uFillTx/>
                <a:latin typeface="Bahnschrift"/>
                <a:ea typeface="+mn-ea"/>
                <a:cs typeface="+mn-cs"/>
              </a:rPr>
              <a:t>.</a:t>
            </a:r>
          </a:p>
        </p:txBody>
      </p:sp>
      <p:sp>
        <p:nvSpPr>
          <p:cNvPr id="94" name="TextBox 93">
            <a:extLst>
              <a:ext uri="{FF2B5EF4-FFF2-40B4-BE49-F238E27FC236}">
                <a16:creationId xmlns:a16="http://schemas.microsoft.com/office/drawing/2014/main" id="{3CBBC89B-B083-E07D-7E1C-22BEDF7900F8}"/>
              </a:ext>
            </a:extLst>
          </p:cNvPr>
          <p:cNvSpPr txBox="1"/>
          <p:nvPr/>
        </p:nvSpPr>
        <p:spPr>
          <a:xfrm>
            <a:off x="1002992" y="2051050"/>
            <a:ext cx="1891602" cy="18415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Produzierter Strom</a:t>
            </a:r>
            <a:r>
              <a:rPr kumimoji="0" lang="de-DE" sz="1200" b="1" i="0" u="none" strike="noStrike" kern="1200" cap="none" spc="0" normalizeH="0" baseline="30000" noProof="0" dirty="0">
                <a:ln>
                  <a:noFill/>
                </a:ln>
                <a:solidFill>
                  <a:srgbClr val="000000"/>
                </a:solidFill>
                <a:effectLst/>
                <a:uLnTx/>
                <a:uFillTx/>
                <a:latin typeface="Bahnschrift"/>
                <a:ea typeface="+mn-ea"/>
                <a:cs typeface="Arial" panose="020B0604020202020204" pitchFamily="34" charset="0"/>
              </a:rPr>
              <a:t>1</a:t>
            </a: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 </a:t>
            </a: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TWh  </a:t>
            </a:r>
          </a:p>
        </p:txBody>
      </p:sp>
      <p:sp>
        <p:nvSpPr>
          <p:cNvPr id="95" name="Oval 94">
            <a:extLst>
              <a:ext uri="{FF2B5EF4-FFF2-40B4-BE49-F238E27FC236}">
                <a16:creationId xmlns:a16="http://schemas.microsoft.com/office/drawing/2014/main" id="{E4C497FC-C120-7D01-32B9-9E44F1F5410B}"/>
              </a:ext>
            </a:extLst>
          </p:cNvPr>
          <p:cNvSpPr/>
          <p:nvPr/>
        </p:nvSpPr>
        <p:spPr>
          <a:xfrm>
            <a:off x="7121791" y="2284413"/>
            <a:ext cx="485243" cy="2921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e-DE" sz="1200" b="0" i="0" u="none" strike="noStrike" kern="1200" cap="none" spc="0" normalizeH="0" baseline="0" noProof="0" dirty="0">
                <a:ln>
                  <a:noFill/>
                </a:ln>
                <a:solidFill>
                  <a:srgbClr val="FFFFFF"/>
                </a:solidFill>
                <a:effectLst/>
                <a:uLnTx/>
                <a:uFillTx/>
                <a:latin typeface="Bahnschrift"/>
                <a:ea typeface="+mn-ea"/>
                <a:cs typeface="+mn-cs"/>
              </a:rPr>
              <a:t>12-13</a:t>
            </a:r>
          </a:p>
        </p:txBody>
      </p:sp>
      <p:sp>
        <p:nvSpPr>
          <p:cNvPr id="97" name="4. Footnote">
            <a:extLst>
              <a:ext uri="{FF2B5EF4-FFF2-40B4-BE49-F238E27FC236}">
                <a16:creationId xmlns:a16="http://schemas.microsoft.com/office/drawing/2014/main" id="{FBDA95EA-BB0A-3F05-50F7-7A773E4D3626}"/>
              </a:ext>
            </a:extLst>
          </p:cNvPr>
          <p:cNvSpPr txBox="1"/>
          <p:nvPr>
            <p:custDataLst>
              <p:tags r:id="rId60"/>
            </p:custDataLst>
          </p:nvPr>
        </p:nvSpPr>
        <p:spPr>
          <a:xfrm>
            <a:off x="831350" y="6105528"/>
            <a:ext cx="8313803" cy="36933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rPr>
              <a:t>1.	Annahme: ca. 1.050 Volllaststunden nötig, um 11 TWh Mehrproduktion mit 12,3 GW zu erreichen (Durchschnitt 2017-2021 laut E-Control: 990 Volllaststunden)</a:t>
            </a:r>
          </a:p>
          <a:p>
            <a:pPr marL="219075" marR="0" lvl="0" indent="-228600" algn="l" defTabSz="914400" rtl="0" eaLnBrk="1" fontAlgn="auto" latinLnBrk="0" hangingPunct="1">
              <a:lnSpc>
                <a:spcPct val="100000"/>
              </a:lnSpc>
              <a:spcBef>
                <a:spcPts val="0"/>
              </a:spcBef>
              <a:spcAft>
                <a:spcPts val="0"/>
              </a:spcAft>
              <a:buClrTx/>
              <a:buSzTx/>
              <a:buFontTx/>
              <a:buAutoNum type="arabicPeriod" startAt="2"/>
              <a:tabLst/>
              <a:defRPr/>
            </a:pPr>
            <a:r>
              <a:rPr kumimoji="0" lang="de-DE" sz="800" b="0"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rPr>
              <a:t>Schätzungen von PV Austria, Hubert Fechner, Branchenradar (endgültige Zahlen frühestens Mitte 2023 zu erwarten)</a:t>
            </a:r>
          </a:p>
          <a:p>
            <a:pPr marL="219075" marR="0" lvl="0" indent="-228600" algn="l" defTabSz="914400" rtl="0" eaLnBrk="1" fontAlgn="auto" latinLnBrk="0" hangingPunct="1">
              <a:lnSpc>
                <a:spcPct val="100000"/>
              </a:lnSpc>
              <a:spcBef>
                <a:spcPts val="0"/>
              </a:spcBef>
              <a:spcAft>
                <a:spcPts val="0"/>
              </a:spcAft>
              <a:buClrTx/>
              <a:buSzTx/>
              <a:buFontTx/>
              <a:buAutoNum type="arabicPeriod" startAt="2"/>
              <a:tabLst/>
              <a:defRPr/>
            </a:pPr>
            <a:r>
              <a:rPr kumimoji="0" lang="de-DE" sz="800" b="0"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rPr>
              <a:t>Entsprechend BMAW Studie zu Energiewende (2021) mit Gesamtpotenzial von 20-30 TWh (zusätzlich zu den 2 TWh in 2020) und unter der Annahme von 1.000 Volllaststunden</a:t>
            </a:r>
          </a:p>
        </p:txBody>
      </p:sp>
      <p:sp>
        <p:nvSpPr>
          <p:cNvPr id="101" name="TextBox 100">
            <a:extLst>
              <a:ext uri="{FF2B5EF4-FFF2-40B4-BE49-F238E27FC236}">
                <a16:creationId xmlns:a16="http://schemas.microsoft.com/office/drawing/2014/main" id="{D0D5B78F-068E-5756-857C-0EE1E2C197D2}"/>
              </a:ext>
            </a:extLst>
          </p:cNvPr>
          <p:cNvSpPr txBox="1"/>
          <p:nvPr/>
        </p:nvSpPr>
        <p:spPr>
          <a:xfrm>
            <a:off x="5193470" y="1636713"/>
            <a:ext cx="2271785" cy="368300"/>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200" b="1" i="1"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Illustrativ: </a:t>
            </a: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Ø benötigter jährlicher Zubau 2023-2030: ~</a:t>
            </a: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1 GW</a:t>
            </a:r>
          </a:p>
        </p:txBody>
      </p:sp>
      <p:sp>
        <p:nvSpPr>
          <p:cNvPr id="103" name="TextBox 102">
            <a:extLst>
              <a:ext uri="{FF2B5EF4-FFF2-40B4-BE49-F238E27FC236}">
                <a16:creationId xmlns:a16="http://schemas.microsoft.com/office/drawing/2014/main" id="{284CD1BD-1805-242B-5161-4AAC43893311}"/>
              </a:ext>
            </a:extLst>
          </p:cNvPr>
          <p:cNvSpPr txBox="1">
            <a:spLocks/>
          </p:cNvSpPr>
          <p:nvPr/>
        </p:nvSpPr>
        <p:spPr>
          <a:xfrm>
            <a:off x="3349556" y="2727325"/>
            <a:ext cx="1479878" cy="369888"/>
          </a:xfrm>
          <a:prstGeom prst="rect">
            <a:avLst/>
          </a:prstGeom>
          <a:solidFill>
            <a:schemeClr val="bg1"/>
          </a:solidFill>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Rekordausbau in 2022 von </a:t>
            </a: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1,0-1,4 GW</a:t>
            </a:r>
            <a:r>
              <a:rPr kumimoji="0" lang="de-DE" sz="1200" b="1" i="0" u="none" strike="noStrike" kern="1200" cap="none" spc="0" normalizeH="0" baseline="30000" noProof="0" dirty="0">
                <a:ln>
                  <a:noFill/>
                </a:ln>
                <a:solidFill>
                  <a:srgbClr val="000000"/>
                </a:solidFill>
                <a:effectLst/>
                <a:uLnTx/>
                <a:uFillTx/>
                <a:latin typeface="Bahnschrift"/>
                <a:ea typeface="+mn-ea"/>
                <a:cs typeface="Arial" panose="020B0604020202020204" pitchFamily="34" charset="0"/>
              </a:rPr>
              <a:t>2</a:t>
            </a: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 </a:t>
            </a:r>
          </a:p>
        </p:txBody>
      </p:sp>
      <p:grpSp>
        <p:nvGrpSpPr>
          <p:cNvPr id="213" name="Group 212">
            <a:extLst>
              <a:ext uri="{FF2B5EF4-FFF2-40B4-BE49-F238E27FC236}">
                <a16:creationId xmlns:a16="http://schemas.microsoft.com/office/drawing/2014/main" id="{01201FF7-A54A-F057-5604-56E46909ED97}"/>
              </a:ext>
            </a:extLst>
          </p:cNvPr>
          <p:cNvGrpSpPr/>
          <p:nvPr/>
        </p:nvGrpSpPr>
        <p:grpSpPr>
          <a:xfrm>
            <a:off x="4826397" y="3148013"/>
            <a:ext cx="171450" cy="1312863"/>
            <a:chOff x="4772025" y="4101069"/>
            <a:chExt cx="0" cy="720169"/>
          </a:xfrm>
        </p:grpSpPr>
        <p:cxnSp>
          <p:nvCxnSpPr>
            <p:cNvPr id="214" name="Straight Connector 213">
              <a:extLst>
                <a:ext uri="{FF2B5EF4-FFF2-40B4-BE49-F238E27FC236}">
                  <a16:creationId xmlns:a16="http://schemas.microsoft.com/office/drawing/2014/main" id="{C11ABA59-1004-32BA-BC11-CDC87190170C}"/>
                </a:ext>
              </a:extLst>
            </p:cNvPr>
            <p:cNvCxnSpPr>
              <a:cxnSpLocks/>
            </p:cNvCxnSpPr>
            <p:nvPr/>
          </p:nvCxnSpPr>
          <p:spPr>
            <a:xfrm>
              <a:off x="4772025" y="4101069"/>
              <a:ext cx="0" cy="720169"/>
            </a:xfrm>
            <a:prstGeom prst="line">
              <a:avLst/>
            </a:prstGeom>
            <a:ln w="50800" cap="flat">
              <a:solidFill>
                <a:schemeClr val="bg1"/>
              </a:solidFill>
              <a:miter lim="800000"/>
              <a:tailEnd type="oval"/>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5F75137E-7010-05A6-F541-8BA57DFAEE46}"/>
                </a:ext>
              </a:extLst>
            </p:cNvPr>
            <p:cNvCxnSpPr>
              <a:cxnSpLocks/>
            </p:cNvCxnSpPr>
            <p:nvPr/>
          </p:nvCxnSpPr>
          <p:spPr>
            <a:xfrm>
              <a:off x="4772025" y="4101069"/>
              <a:ext cx="0" cy="720169"/>
            </a:xfrm>
            <a:prstGeom prst="line">
              <a:avLst/>
            </a:prstGeom>
            <a:ln w="6350" cap="flat">
              <a:solidFill>
                <a:schemeClr val="tx1"/>
              </a:solidFill>
              <a:miter lim="800000"/>
              <a:tailEnd type="oval"/>
            </a:ln>
          </p:spPr>
          <p:style>
            <a:lnRef idx="1">
              <a:schemeClr val="accent1"/>
            </a:lnRef>
            <a:fillRef idx="0">
              <a:schemeClr val="accent1"/>
            </a:fillRef>
            <a:effectRef idx="0">
              <a:schemeClr val="accent1"/>
            </a:effectRef>
            <a:fontRef idx="minor">
              <a:schemeClr val="tx1"/>
            </a:fontRef>
          </p:style>
        </p:cxnSp>
      </p:grpSp>
      <p:cxnSp>
        <p:nvCxnSpPr>
          <p:cNvPr id="217" name="Straight Connector 216">
            <a:extLst>
              <a:ext uri="{FF2B5EF4-FFF2-40B4-BE49-F238E27FC236}">
                <a16:creationId xmlns:a16="http://schemas.microsoft.com/office/drawing/2014/main" id="{70BF47D7-9E6F-7D32-6179-A32F7EEC364D}"/>
              </a:ext>
            </a:extLst>
          </p:cNvPr>
          <p:cNvCxnSpPr>
            <a:cxnSpLocks/>
          </p:cNvCxnSpPr>
          <p:nvPr/>
        </p:nvCxnSpPr>
        <p:spPr>
          <a:xfrm flipH="1">
            <a:off x="3349556" y="3146425"/>
            <a:ext cx="147987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7CADB517-1933-4B33-BA1C-90732C941F20}"/>
              </a:ext>
            </a:extLst>
          </p:cNvPr>
          <p:cNvSpPr txBox="1">
            <a:spLocks/>
          </p:cNvSpPr>
          <p:nvPr/>
        </p:nvSpPr>
        <p:spPr>
          <a:xfrm>
            <a:off x="9100457" y="1258888"/>
            <a:ext cx="2551793" cy="249238"/>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6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Synthese</a:t>
            </a:r>
            <a:endParaRPr kumimoji="0" lang="de-DE" sz="16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cxnSp>
        <p:nvCxnSpPr>
          <p:cNvPr id="80" name="LineBasicDefault 455">
            <a:extLst>
              <a:ext uri="{FF2B5EF4-FFF2-40B4-BE49-F238E27FC236}">
                <a16:creationId xmlns:a16="http://schemas.microsoft.com/office/drawing/2014/main" id="{7CB79B3F-D78F-4C2B-A03B-FE5B4D709485}"/>
              </a:ext>
            </a:extLst>
          </p:cNvPr>
          <p:cNvCxnSpPr>
            <a:cxnSpLocks/>
          </p:cNvCxnSpPr>
          <p:nvPr>
            <p:custDataLst>
              <p:tags r:id="rId61"/>
            </p:custDataLst>
          </p:nvPr>
        </p:nvCxnSpPr>
        <p:spPr>
          <a:xfrm>
            <a:off x="9100457" y="1563688"/>
            <a:ext cx="2551793" cy="0"/>
          </a:xfrm>
          <a:prstGeom prst="straightConnector1">
            <a:avLst/>
          </a:prstGeom>
          <a:ln w="12700" cap="flat">
            <a:solidFill>
              <a:srgbClr val="004FA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680B4661-50FB-4804-B576-C02529B406E4}"/>
              </a:ext>
            </a:extLst>
          </p:cNvPr>
          <p:cNvSpPr txBox="1"/>
          <p:nvPr/>
        </p:nvSpPr>
        <p:spPr>
          <a:xfrm>
            <a:off x="9142759" y="5347591"/>
            <a:ext cx="2520451" cy="523220"/>
          </a:xfrm>
          <a:prstGeom prst="rect">
            <a:avLst/>
          </a:prstGeom>
          <a:solidFill>
            <a:schemeClr val="accent1">
              <a:lumMod val="20000"/>
              <a:lumOff val="80000"/>
            </a:schemeClr>
          </a:solidFill>
        </p:spPr>
        <p:txBody>
          <a:bodyPr vert="horz" wrap="square" lIns="76200" tIns="76200" rIns="76200" bIns="7620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Solar-</a:t>
            </a:r>
            <a:r>
              <a:rPr kumimoji="0" lang="de-DE" sz="1200" b="0" i="0" u="none" strike="noStrike" kern="1200" cap="none" spc="0" normalizeH="0" baseline="0" noProof="0" dirty="0" err="1">
                <a:ln>
                  <a:noFill/>
                </a:ln>
                <a:solidFill>
                  <a:srgbClr val="000000"/>
                </a:solidFill>
                <a:effectLst/>
                <a:uLnTx/>
                <a:uFillTx/>
                <a:latin typeface="Bahnschrift"/>
                <a:ea typeface="+mn-ea"/>
                <a:cs typeface="Arial" panose="020B0604020202020204" pitchFamily="34" charset="0"/>
              </a:rPr>
              <a:t>as</a:t>
            </a: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a-Service als möglicher Treiber für Ausbau bei Privaten</a:t>
            </a:r>
          </a:p>
        </p:txBody>
      </p:sp>
      <p:pic>
        <p:nvPicPr>
          <p:cNvPr id="4" name="CustomIcon">
            <a:extLst>
              <a:ext uri="{FF2B5EF4-FFF2-40B4-BE49-F238E27FC236}">
                <a16:creationId xmlns:a16="http://schemas.microsoft.com/office/drawing/2014/main" id="{2CA77F91-126E-7E11-375A-784C665E6077}"/>
              </a:ext>
            </a:extLst>
          </p:cNvPr>
          <p:cNvPicPr>
            <a:picLocks/>
          </p:cNvPicPr>
          <p:nvPr>
            <p:custDataLst>
              <p:tags r:id="rId62"/>
            </p:custDataLst>
          </p:nvPr>
        </p:nvPicPr>
        <p:blipFill>
          <a:blip r:embed="rId68">
            <a:extLst>
              <a:ext uri="{96DAC541-7B7A-43D3-8B79-37D633B846F1}">
                <asvg:svgBlip xmlns:asvg="http://schemas.microsoft.com/office/drawing/2016/SVG/main" r:embed="rId69"/>
              </a:ext>
            </a:extLst>
          </a:blip>
          <a:stretch>
            <a:fillRect/>
          </a:stretch>
        </p:blipFill>
        <p:spPr>
          <a:xfrm>
            <a:off x="11013680" y="327758"/>
            <a:ext cx="575974" cy="575974"/>
          </a:xfrm>
          <a:prstGeom prst="rect">
            <a:avLst/>
          </a:prstGeom>
        </p:spPr>
      </p:pic>
    </p:spTree>
    <p:extLst>
      <p:ext uri="{BB962C8B-B14F-4D97-AF65-F5344CB8AC3E}">
        <p14:creationId xmlns:p14="http://schemas.microsoft.com/office/powerpoint/2010/main" val="6165153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86E50A03-B4EC-3AD0-78EC-422B6CB37FF1}"/>
              </a:ext>
            </a:extLst>
          </p:cNvPr>
          <p:cNvGraphicFramePr>
            <a:graphicFrameLocks noChangeAspect="1"/>
          </p:cNvGraphicFramePr>
          <p:nvPr>
            <p:custDataLst>
              <p:tags r:id="rId1"/>
            </p:custDataLst>
            <p:extLst>
              <p:ext uri="{D42A27DB-BD31-4B8C-83A1-F6EECF244321}">
                <p14:modId xmlns:p14="http://schemas.microsoft.com/office/powerpoint/2010/main" val="3204429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592" imgH="595" progId="TCLayout.ActiveDocument.1">
                  <p:embed/>
                </p:oleObj>
              </mc:Choice>
              <mc:Fallback>
                <p:oleObj name="think-cell Slide" r:id="rId59" imgW="592" imgH="595" progId="TCLayout.ActiveDocument.1">
                  <p:embed/>
                  <p:pic>
                    <p:nvPicPr>
                      <p:cNvPr id="12" name="Object 11" hidden="1">
                        <a:extLst>
                          <a:ext uri="{FF2B5EF4-FFF2-40B4-BE49-F238E27FC236}">
                            <a16:creationId xmlns:a16="http://schemas.microsoft.com/office/drawing/2014/main" id="{86E50A03-B4EC-3AD0-78EC-422B6CB37FF1}"/>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cxnSp>
        <p:nvCxnSpPr>
          <p:cNvPr id="355" name="Straight Connector 354">
            <a:extLst>
              <a:ext uri="{FF2B5EF4-FFF2-40B4-BE49-F238E27FC236}">
                <a16:creationId xmlns:a16="http://schemas.microsoft.com/office/drawing/2014/main" id="{7084AFD9-5F1E-0364-B132-A70A99184704}"/>
              </a:ext>
            </a:extLst>
          </p:cNvPr>
          <p:cNvCxnSpPr>
            <a:cxnSpLocks/>
          </p:cNvCxnSpPr>
          <p:nvPr/>
        </p:nvCxnSpPr>
        <p:spPr>
          <a:xfrm>
            <a:off x="588963" y="2932113"/>
            <a:ext cx="4183062"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1" name="Rectangle 350">
            <a:extLst>
              <a:ext uri="{FF2B5EF4-FFF2-40B4-BE49-F238E27FC236}">
                <a16:creationId xmlns:a16="http://schemas.microsoft.com/office/drawing/2014/main" id="{6CF41C82-41CE-A2F2-78F5-E87F13963593}"/>
              </a:ext>
            </a:extLst>
          </p:cNvPr>
          <p:cNvSpPr/>
          <p:nvPr/>
        </p:nvSpPr>
        <p:spPr>
          <a:xfrm>
            <a:off x="4808538" y="1466850"/>
            <a:ext cx="2509599" cy="3811588"/>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err="1">
              <a:ln>
                <a:noFill/>
              </a:ln>
              <a:solidFill>
                <a:srgbClr val="FFFFFF"/>
              </a:solidFill>
              <a:effectLst/>
              <a:uLnTx/>
              <a:uFillTx/>
              <a:latin typeface="Bahnschrift"/>
              <a:ea typeface="+mn-ea"/>
              <a:cs typeface="+mn-cs"/>
            </a:endParaRPr>
          </a:p>
        </p:txBody>
      </p:sp>
      <p:sp>
        <p:nvSpPr>
          <p:cNvPr id="352" name="TextBox 351">
            <a:extLst>
              <a:ext uri="{FF2B5EF4-FFF2-40B4-BE49-F238E27FC236}">
                <a16:creationId xmlns:a16="http://schemas.microsoft.com/office/drawing/2014/main" id="{192B608D-47B5-21E4-57FF-BF8BBFDB7036}"/>
              </a:ext>
            </a:extLst>
          </p:cNvPr>
          <p:cNvSpPr txBox="1"/>
          <p:nvPr/>
        </p:nvSpPr>
        <p:spPr>
          <a:xfrm>
            <a:off x="4874578" y="1530350"/>
            <a:ext cx="2408754" cy="368300"/>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200" b="1" i="1"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Illustrativ: </a:t>
            </a: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Ø benötigter jährlicher Zubau 2024-2030: </a:t>
            </a: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gt;500 MW</a:t>
            </a:r>
          </a:p>
        </p:txBody>
      </p:sp>
      <p:sp>
        <p:nvSpPr>
          <p:cNvPr id="271" name="Title 270">
            <a:extLst>
              <a:ext uri="{FF2B5EF4-FFF2-40B4-BE49-F238E27FC236}">
                <a16:creationId xmlns:a16="http://schemas.microsoft.com/office/drawing/2014/main" id="{5BE79A50-C576-B135-3FA6-AC9E3C50B485}"/>
              </a:ext>
            </a:extLst>
          </p:cNvPr>
          <p:cNvSpPr>
            <a:spLocks noGrp="1"/>
          </p:cNvSpPr>
          <p:nvPr>
            <p:ph type="title"/>
          </p:nvPr>
        </p:nvSpPr>
        <p:spPr>
          <a:xfrm>
            <a:off x="554736" y="188151"/>
            <a:ext cx="11082528" cy="71558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de-DE" dirty="0"/>
              <a:t>Bis 2030 Windkraft mit ~7,5 GW installierter Leistung nötig, dafür muss Ausbaugeschwindigkeit verdoppelt werden</a:t>
            </a:r>
          </a:p>
        </p:txBody>
      </p:sp>
      <p:cxnSp>
        <p:nvCxnSpPr>
          <p:cNvPr id="35" name="Straight Connector 34">
            <a:extLst>
              <a:ext uri="{FF2B5EF4-FFF2-40B4-BE49-F238E27FC236}">
                <a16:creationId xmlns:a16="http://schemas.microsoft.com/office/drawing/2014/main" id="{5F5E34D6-4122-6F0F-DB73-C459CB6B72A2}"/>
              </a:ext>
            </a:extLst>
          </p:cNvPr>
          <p:cNvCxnSpPr/>
          <p:nvPr>
            <p:custDataLst>
              <p:tags r:id="rId2"/>
            </p:custDataLst>
          </p:nvPr>
        </p:nvCxnSpPr>
        <p:spPr bwMode="gray">
          <a:xfrm>
            <a:off x="1820863" y="4613275"/>
            <a:ext cx="93663"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0254CC3F-3C63-4E80-798C-17E86ECF8397}"/>
              </a:ext>
            </a:extLst>
          </p:cNvPr>
          <p:cNvCxnSpPr/>
          <p:nvPr>
            <p:custDataLst>
              <p:tags r:id="rId3"/>
            </p:custDataLst>
          </p:nvPr>
        </p:nvCxnSpPr>
        <p:spPr bwMode="gray">
          <a:xfrm>
            <a:off x="4776788" y="4049713"/>
            <a:ext cx="93663"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6503D8C1-CC76-D53E-6701-9E2C60DEBAE8}"/>
              </a:ext>
            </a:extLst>
          </p:cNvPr>
          <p:cNvCxnSpPr/>
          <p:nvPr>
            <p:custDataLst>
              <p:tags r:id="rId4"/>
            </p:custDataLst>
          </p:nvPr>
        </p:nvCxnSpPr>
        <p:spPr bwMode="gray">
          <a:xfrm>
            <a:off x="1492250" y="4743450"/>
            <a:ext cx="93663"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48F90CBB-0408-973B-885F-B1A4185A2647}"/>
              </a:ext>
            </a:extLst>
          </p:cNvPr>
          <p:cNvCxnSpPr/>
          <p:nvPr>
            <p:custDataLst>
              <p:tags r:id="rId5"/>
            </p:custDataLst>
          </p:nvPr>
        </p:nvCxnSpPr>
        <p:spPr bwMode="gray">
          <a:xfrm>
            <a:off x="5762625" y="3546475"/>
            <a:ext cx="93663"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C049523D-156F-B0CC-ED82-F8F6288F8982}"/>
              </a:ext>
            </a:extLst>
          </p:cNvPr>
          <p:cNvCxnSpPr/>
          <p:nvPr>
            <p:custDataLst>
              <p:tags r:id="rId6"/>
            </p:custDataLst>
          </p:nvPr>
        </p:nvCxnSpPr>
        <p:spPr bwMode="gray">
          <a:xfrm>
            <a:off x="6091238" y="3378200"/>
            <a:ext cx="93663"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384B2802-B023-D7C6-74D6-4CB4EE9B70DC}"/>
              </a:ext>
            </a:extLst>
          </p:cNvPr>
          <p:cNvCxnSpPr/>
          <p:nvPr>
            <p:custDataLst>
              <p:tags r:id="rId7"/>
            </p:custDataLst>
          </p:nvPr>
        </p:nvCxnSpPr>
        <p:spPr bwMode="gray">
          <a:xfrm>
            <a:off x="5105400" y="3881438"/>
            <a:ext cx="93663"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7E547CC2-9726-D9EE-79C5-C57F101F9811}"/>
              </a:ext>
            </a:extLst>
          </p:cNvPr>
          <p:cNvCxnSpPr/>
          <p:nvPr>
            <p:custDataLst>
              <p:tags r:id="rId8"/>
            </p:custDataLst>
          </p:nvPr>
        </p:nvCxnSpPr>
        <p:spPr bwMode="gray">
          <a:xfrm>
            <a:off x="6419850" y="3211513"/>
            <a:ext cx="92075"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5A27EB68-5567-5E95-54D7-4DF9BA77E96F}"/>
              </a:ext>
            </a:extLst>
          </p:cNvPr>
          <p:cNvCxnSpPr/>
          <p:nvPr>
            <p:custDataLst>
              <p:tags r:id="rId9"/>
            </p:custDataLst>
          </p:nvPr>
        </p:nvCxnSpPr>
        <p:spPr bwMode="gray">
          <a:xfrm>
            <a:off x="835025" y="4932363"/>
            <a:ext cx="93663"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B8E26F7D-787D-EF80-8D55-359E4A62A5E6}"/>
              </a:ext>
            </a:extLst>
          </p:cNvPr>
          <p:cNvCxnSpPr/>
          <p:nvPr>
            <p:custDataLst>
              <p:tags r:id="rId10"/>
            </p:custDataLst>
          </p:nvPr>
        </p:nvCxnSpPr>
        <p:spPr bwMode="gray">
          <a:xfrm>
            <a:off x="1163638" y="4843463"/>
            <a:ext cx="93663"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CB0A94CE-52C0-F424-24BE-DFC73D374D02}"/>
              </a:ext>
            </a:extLst>
          </p:cNvPr>
          <p:cNvCxnSpPr/>
          <p:nvPr>
            <p:custDataLst>
              <p:tags r:id="rId11"/>
            </p:custDataLst>
          </p:nvPr>
        </p:nvCxnSpPr>
        <p:spPr bwMode="gray">
          <a:xfrm>
            <a:off x="2149475" y="4510088"/>
            <a:ext cx="93663"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8C68682B-31ED-7924-565B-858720EED6BB}"/>
              </a:ext>
            </a:extLst>
          </p:cNvPr>
          <p:cNvCxnSpPr/>
          <p:nvPr>
            <p:custDataLst>
              <p:tags r:id="rId12"/>
            </p:custDataLst>
          </p:nvPr>
        </p:nvCxnSpPr>
        <p:spPr bwMode="gray">
          <a:xfrm>
            <a:off x="2478088" y="4437063"/>
            <a:ext cx="92075"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E0C5495F-CE87-3819-3C23-C83438EB60CE}"/>
              </a:ext>
            </a:extLst>
          </p:cNvPr>
          <p:cNvCxnSpPr/>
          <p:nvPr>
            <p:custDataLst>
              <p:tags r:id="rId13"/>
            </p:custDataLst>
          </p:nvPr>
        </p:nvCxnSpPr>
        <p:spPr bwMode="gray">
          <a:xfrm>
            <a:off x="2805113" y="4375150"/>
            <a:ext cx="93663"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01309FED-E2C2-49FC-F9EC-3F7E103CA77F}"/>
              </a:ext>
            </a:extLst>
          </p:cNvPr>
          <p:cNvCxnSpPr/>
          <p:nvPr>
            <p:custDataLst>
              <p:tags r:id="rId14"/>
            </p:custDataLst>
          </p:nvPr>
        </p:nvCxnSpPr>
        <p:spPr bwMode="gray">
          <a:xfrm>
            <a:off x="3133725" y="4318000"/>
            <a:ext cx="93663"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8768A396-8509-A5BB-0496-A2172BD17CE7}"/>
              </a:ext>
            </a:extLst>
          </p:cNvPr>
          <p:cNvCxnSpPr/>
          <p:nvPr>
            <p:custDataLst>
              <p:tags r:id="rId15"/>
            </p:custDataLst>
          </p:nvPr>
        </p:nvCxnSpPr>
        <p:spPr bwMode="gray">
          <a:xfrm>
            <a:off x="5434013" y="3714750"/>
            <a:ext cx="93663"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AEA6F1FD-D717-F673-5736-D44F2F0A1B1E}"/>
              </a:ext>
            </a:extLst>
          </p:cNvPr>
          <p:cNvCxnSpPr/>
          <p:nvPr>
            <p:custDataLst>
              <p:tags r:id="rId16"/>
            </p:custDataLst>
          </p:nvPr>
        </p:nvCxnSpPr>
        <p:spPr bwMode="gray">
          <a:xfrm>
            <a:off x="3462338" y="4279900"/>
            <a:ext cx="93663"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BF6D623F-830A-DDC5-12A8-418DED677FEC}"/>
              </a:ext>
            </a:extLst>
          </p:cNvPr>
          <p:cNvCxnSpPr/>
          <p:nvPr>
            <p:custDataLst>
              <p:tags r:id="rId17"/>
            </p:custDataLst>
          </p:nvPr>
        </p:nvCxnSpPr>
        <p:spPr bwMode="gray">
          <a:xfrm>
            <a:off x="3790950" y="4279900"/>
            <a:ext cx="93663"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A60CC2CA-2B53-76B6-D321-D7647F6961FC}"/>
              </a:ext>
            </a:extLst>
          </p:cNvPr>
          <p:cNvCxnSpPr/>
          <p:nvPr>
            <p:custDataLst>
              <p:tags r:id="rId18"/>
            </p:custDataLst>
          </p:nvPr>
        </p:nvCxnSpPr>
        <p:spPr bwMode="gray">
          <a:xfrm>
            <a:off x="4448175" y="4125913"/>
            <a:ext cx="93663"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D5C77FB9-8635-7451-0252-B0DA90519BB4}"/>
              </a:ext>
            </a:extLst>
          </p:cNvPr>
          <p:cNvCxnSpPr/>
          <p:nvPr>
            <p:custDataLst>
              <p:tags r:id="rId19"/>
            </p:custDataLst>
          </p:nvPr>
        </p:nvCxnSpPr>
        <p:spPr bwMode="gray">
          <a:xfrm>
            <a:off x="4119563" y="4217988"/>
            <a:ext cx="93663"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6" name="Chart 25">
            <a:extLst>
              <a:ext uri="{FF2B5EF4-FFF2-40B4-BE49-F238E27FC236}">
                <a16:creationId xmlns:a16="http://schemas.microsoft.com/office/drawing/2014/main" id="{E971CC60-E711-54E1-6BA3-EF9B88E080AA}"/>
              </a:ext>
            </a:extLst>
          </p:cNvPr>
          <p:cNvGraphicFramePr/>
          <p:nvPr>
            <p:custDataLst>
              <p:tags r:id="rId20"/>
            </p:custDataLst>
            <p:extLst>
              <p:ext uri="{D42A27DB-BD31-4B8C-83A1-F6EECF244321}">
                <p14:modId xmlns:p14="http://schemas.microsoft.com/office/powerpoint/2010/main" val="2173177193"/>
              </p:ext>
            </p:extLst>
          </p:nvPr>
        </p:nvGraphicFramePr>
        <p:xfrm>
          <a:off x="471488" y="1944688"/>
          <a:ext cx="7720012" cy="3422650"/>
        </p:xfrm>
        <a:graphic>
          <a:graphicData uri="http://schemas.openxmlformats.org/drawingml/2006/chart">
            <c:chart xmlns:c="http://schemas.openxmlformats.org/drawingml/2006/chart" xmlns:r="http://schemas.openxmlformats.org/officeDocument/2006/relationships" r:id="rId61"/>
          </a:graphicData>
        </a:graphic>
      </p:graphicFrame>
      <p:sp useBgFill="1">
        <p:nvSpPr>
          <p:cNvPr id="11" name="Freeform: Shape 10">
            <a:extLst>
              <a:ext uri="{FF2B5EF4-FFF2-40B4-BE49-F238E27FC236}">
                <a16:creationId xmlns:a16="http://schemas.microsoft.com/office/drawing/2014/main" id="{04ACC164-0254-9CA8-4C2C-1449B5846896}"/>
              </a:ext>
            </a:extLst>
          </p:cNvPr>
          <p:cNvSpPr/>
          <p:nvPr>
            <p:custDataLst>
              <p:tags r:id="rId21"/>
            </p:custDataLst>
          </p:nvPr>
        </p:nvSpPr>
        <p:spPr bwMode="auto">
          <a:xfrm>
            <a:off x="7775575" y="2386013"/>
            <a:ext cx="336551" cy="147638"/>
          </a:xfrm>
          <a:custGeom>
            <a:avLst/>
            <a:gdLst/>
            <a:ahLst/>
            <a:cxnLst/>
            <a:rect l="0" t="0" r="0" b="0"/>
            <a:pathLst>
              <a:path w="336551" h="147638">
                <a:moveTo>
                  <a:pt x="0" y="90487"/>
                </a:moveTo>
                <a:lnTo>
                  <a:pt x="336550" y="0"/>
                </a:lnTo>
                <a:lnTo>
                  <a:pt x="336550" y="57150"/>
                </a:lnTo>
                <a:lnTo>
                  <a:pt x="0" y="147637"/>
                </a:lnTo>
                <a:close/>
              </a:path>
            </a:pathLst>
          </a:custGeom>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4C5D6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chemeClr val="tx1"/>
              </a:solidFill>
              <a:latin typeface="Verdana" pitchFamily="34" charset="0"/>
              <a:ea typeface="Verdana" pitchFamily="34" charset="0"/>
              <a:cs typeface="Verdana" pitchFamily="34" charset="0"/>
            </a:endParaRPr>
          </a:p>
        </p:txBody>
      </p:sp>
      <p:sp>
        <p:nvSpPr>
          <p:cNvPr id="4" name="Freeform: Shape 3">
            <a:extLst>
              <a:ext uri="{FF2B5EF4-FFF2-40B4-BE49-F238E27FC236}">
                <a16:creationId xmlns:a16="http://schemas.microsoft.com/office/drawing/2014/main" id="{BD8F0552-970B-D05C-ECB4-2DCC63AA5168}"/>
              </a:ext>
            </a:extLst>
          </p:cNvPr>
          <p:cNvSpPr/>
          <p:nvPr>
            <p:custDataLst>
              <p:tags r:id="rId22"/>
            </p:custDataLst>
          </p:nvPr>
        </p:nvSpPr>
        <p:spPr bwMode="auto">
          <a:xfrm>
            <a:off x="7775575" y="2386013"/>
            <a:ext cx="336551" cy="90488"/>
          </a:xfrm>
          <a:custGeom>
            <a:avLst/>
            <a:gdLst/>
            <a:ahLst/>
            <a:cxnLst/>
            <a:rect l="0" t="0" r="0" b="0"/>
            <a:pathLst>
              <a:path w="336551" h="90488">
                <a:moveTo>
                  <a:pt x="0" y="90487"/>
                </a:moveTo>
                <a:lnTo>
                  <a:pt x="3365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6" name="Freeform: Shape 5">
            <a:extLst>
              <a:ext uri="{FF2B5EF4-FFF2-40B4-BE49-F238E27FC236}">
                <a16:creationId xmlns:a16="http://schemas.microsoft.com/office/drawing/2014/main" id="{A6EA3F3C-ECAD-99E4-C17F-C3F9BA85C36C}"/>
              </a:ext>
            </a:extLst>
          </p:cNvPr>
          <p:cNvSpPr/>
          <p:nvPr>
            <p:custDataLst>
              <p:tags r:id="rId23"/>
            </p:custDataLst>
          </p:nvPr>
        </p:nvSpPr>
        <p:spPr bwMode="auto">
          <a:xfrm>
            <a:off x="7775575" y="2443163"/>
            <a:ext cx="336551" cy="90488"/>
          </a:xfrm>
          <a:custGeom>
            <a:avLst/>
            <a:gdLst/>
            <a:ahLst/>
            <a:cxnLst/>
            <a:rect l="0" t="0" r="0" b="0"/>
            <a:pathLst>
              <a:path w="336551" h="90488">
                <a:moveTo>
                  <a:pt x="0" y="90487"/>
                </a:moveTo>
                <a:lnTo>
                  <a:pt x="3365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1" name="Text Placeholder 4">
            <a:extLst>
              <a:ext uri="{FF2B5EF4-FFF2-40B4-BE49-F238E27FC236}">
                <a16:creationId xmlns:a16="http://schemas.microsoft.com/office/drawing/2014/main" id="{D6D3DC8C-420C-6022-1624-26D3857F1D67}"/>
              </a:ext>
            </a:extLst>
          </p:cNvPr>
          <p:cNvSpPr>
            <a:spLocks noGrp="1"/>
          </p:cNvSpPr>
          <p:nvPr>
            <p:custDataLst>
              <p:tags r:id="rId24"/>
            </p:custDataLst>
          </p:nvPr>
        </p:nvSpPr>
        <p:spPr bwMode="auto">
          <a:xfrm>
            <a:off x="4244975" y="5335588"/>
            <a:ext cx="171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3C875A1-5B3A-4AE0-BE39-1935F994BEA3}" type="datetime'''''''''''''''''''''''''''''''2''''2'''''">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2</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47" name="Text Placeholder 4">
            <a:extLst>
              <a:ext uri="{FF2B5EF4-FFF2-40B4-BE49-F238E27FC236}">
                <a16:creationId xmlns:a16="http://schemas.microsoft.com/office/drawing/2014/main" id="{24878888-8A3C-514D-DE07-2BC34EFE6C9E}"/>
              </a:ext>
            </a:extLst>
          </p:cNvPr>
          <p:cNvSpPr>
            <a:spLocks noGrp="1"/>
          </p:cNvSpPr>
          <p:nvPr>
            <p:custDataLst>
              <p:tags r:id="rId25"/>
            </p:custDataLst>
          </p:nvPr>
        </p:nvSpPr>
        <p:spPr bwMode="auto">
          <a:xfrm>
            <a:off x="5561014" y="5335588"/>
            <a:ext cx="169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2DC360D-FA6C-470E-A2B7-E2BD4D8C4CA4}" type="datetime'''''''2''''''''''''''''''''''''''6'''''''''''''">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6</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45" name="Text Placeholder 4">
            <a:extLst>
              <a:ext uri="{FF2B5EF4-FFF2-40B4-BE49-F238E27FC236}">
                <a16:creationId xmlns:a16="http://schemas.microsoft.com/office/drawing/2014/main" id="{0EA0150E-C016-0B15-8A9C-4F490FFA41B9}"/>
              </a:ext>
            </a:extLst>
          </p:cNvPr>
          <p:cNvSpPr>
            <a:spLocks noGrp="1"/>
          </p:cNvSpPr>
          <p:nvPr>
            <p:custDataLst>
              <p:tags r:id="rId26"/>
            </p:custDataLst>
          </p:nvPr>
        </p:nvSpPr>
        <p:spPr bwMode="auto">
          <a:xfrm>
            <a:off x="4899025" y="5335588"/>
            <a:ext cx="1793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692D162-6997-4ECE-88A7-12046F876CF3}" type="datetime'''''''''''''''2''''''''''''4'''''''''">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4</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46" name="Text Placeholder 4">
            <a:extLst>
              <a:ext uri="{FF2B5EF4-FFF2-40B4-BE49-F238E27FC236}">
                <a16:creationId xmlns:a16="http://schemas.microsoft.com/office/drawing/2014/main" id="{A47766D1-9F93-004E-B0E5-21FD1DB6A2D5}"/>
              </a:ext>
            </a:extLst>
          </p:cNvPr>
          <p:cNvSpPr>
            <a:spLocks noGrp="1"/>
          </p:cNvSpPr>
          <p:nvPr>
            <p:custDataLst>
              <p:tags r:id="rId27"/>
            </p:custDataLst>
          </p:nvPr>
        </p:nvSpPr>
        <p:spPr bwMode="auto">
          <a:xfrm>
            <a:off x="5229225" y="5335588"/>
            <a:ext cx="1746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3BC9B35-6BAE-4B21-8657-CE9944F7DFC5}" type="datetime'2''''''''''''''''''''''''''''''''''''''''''''''''''5'''">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5</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50" name="Text Placeholder 4">
            <a:extLst>
              <a:ext uri="{FF2B5EF4-FFF2-40B4-BE49-F238E27FC236}">
                <a16:creationId xmlns:a16="http://schemas.microsoft.com/office/drawing/2014/main" id="{3AD4F584-E31F-0F03-F24E-F750A87AE258}"/>
              </a:ext>
            </a:extLst>
          </p:cNvPr>
          <p:cNvSpPr>
            <a:spLocks noGrp="1"/>
          </p:cNvSpPr>
          <p:nvPr>
            <p:custDataLst>
              <p:tags r:id="rId28"/>
            </p:custDataLst>
          </p:nvPr>
        </p:nvSpPr>
        <p:spPr bwMode="auto">
          <a:xfrm>
            <a:off x="6545264" y="5335588"/>
            <a:ext cx="169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BFFCC38-B1AB-48C1-84DF-B75C9EB14767}" type="datetime'''''''''29'''''''''''''''''">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9</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245" name="Text Placeholder 4">
            <a:extLst>
              <a:ext uri="{FF2B5EF4-FFF2-40B4-BE49-F238E27FC236}">
                <a16:creationId xmlns:a16="http://schemas.microsoft.com/office/drawing/2014/main" id="{8B1F717C-49A2-68F4-7E71-24305C08969D}"/>
              </a:ext>
            </a:extLst>
          </p:cNvPr>
          <p:cNvSpPr>
            <a:spLocks noGrp="1"/>
          </p:cNvSpPr>
          <p:nvPr>
            <p:custDataLst>
              <p:tags r:id="rId29"/>
            </p:custDataLst>
          </p:nvPr>
        </p:nvSpPr>
        <p:spPr bwMode="gray">
          <a:xfrm>
            <a:off x="7735888" y="1819275"/>
            <a:ext cx="4159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de-DE" altLang="en-US"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10-20</a:t>
            </a:r>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238" name="Text Placeholder 4">
            <a:extLst>
              <a:ext uri="{FF2B5EF4-FFF2-40B4-BE49-F238E27FC236}">
                <a16:creationId xmlns:a16="http://schemas.microsoft.com/office/drawing/2014/main" id="{35B8D8F9-83D7-5A57-241B-13F6B2D3E35D}"/>
              </a:ext>
            </a:extLst>
          </p:cNvPr>
          <p:cNvSpPr>
            <a:spLocks noGrp="1"/>
          </p:cNvSpPr>
          <p:nvPr>
            <p:custDataLst>
              <p:tags r:id="rId30"/>
            </p:custDataLst>
          </p:nvPr>
        </p:nvSpPr>
        <p:spPr bwMode="auto">
          <a:xfrm>
            <a:off x="7391400" y="5335588"/>
            <a:ext cx="1106488" cy="5476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de-DE" altLang="en-US"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Technisch-wirtschaftliches Potential</a:t>
            </a:r>
            <a:r>
              <a:rPr kumimoji="0" lang="de-DE" altLang="en-US" sz="1200" b="0" i="0" u="none" strike="noStrike" kern="1200" cap="none" spc="0" normalizeH="0" baseline="30000" noProof="0" dirty="0">
                <a:ln>
                  <a:noFill/>
                </a:ln>
                <a:solidFill>
                  <a:srgbClr val="000000"/>
                </a:solidFill>
                <a:effectLst/>
                <a:uLnTx/>
                <a:uFillTx/>
                <a:latin typeface="Bahnschrift"/>
                <a:ea typeface="+mn-ea"/>
                <a:cs typeface="Arial" panose="020B0604020202020204" pitchFamily="34" charset="0"/>
              </a:rPr>
              <a:t>4</a:t>
            </a:r>
            <a:endParaRPr kumimoji="0" lang="de-DE" sz="1200" b="0" i="0" u="none" strike="noStrike" kern="1200" cap="none" spc="0" normalizeH="0" baseline="30000" noProof="0" dirty="0">
              <a:ln>
                <a:noFill/>
              </a:ln>
              <a:solidFill>
                <a:srgbClr val="000000"/>
              </a:solidFill>
              <a:effectLst/>
              <a:uLnTx/>
              <a:uFillTx/>
              <a:latin typeface="Bahnschrift"/>
              <a:ea typeface="+mn-ea"/>
              <a:cs typeface="Arial" panose="020B0604020202020204" pitchFamily="34" charset="0"/>
            </a:endParaRPr>
          </a:p>
        </p:txBody>
      </p:sp>
      <p:sp>
        <p:nvSpPr>
          <p:cNvPr id="5" name="Text Placeholder 4">
            <a:extLst>
              <a:ext uri="{FF2B5EF4-FFF2-40B4-BE49-F238E27FC236}">
                <a16:creationId xmlns:a16="http://schemas.microsoft.com/office/drawing/2014/main" id="{4C1F3293-4EFE-461D-940D-7EE66BAE31C5}"/>
              </a:ext>
            </a:extLst>
          </p:cNvPr>
          <p:cNvSpPr>
            <a:spLocks noGrp="1"/>
          </p:cNvSpPr>
          <p:nvPr>
            <p:custDataLst>
              <p:tags r:id="rId31"/>
            </p:custDataLst>
          </p:nvPr>
        </p:nvSpPr>
        <p:spPr bwMode="auto">
          <a:xfrm>
            <a:off x="579439" y="5335588"/>
            <a:ext cx="277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24FEBB4-3583-4DC3-8813-9C48931666DA}" type="datetime'''2''''''''0''''''11'''''''''''''''''''''''''''''''''''''">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11</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49" name="Text Placeholder 4">
            <a:extLst>
              <a:ext uri="{FF2B5EF4-FFF2-40B4-BE49-F238E27FC236}">
                <a16:creationId xmlns:a16="http://schemas.microsoft.com/office/drawing/2014/main" id="{BCFBC345-C160-9CC9-2114-BD9BB763F446}"/>
              </a:ext>
            </a:extLst>
          </p:cNvPr>
          <p:cNvSpPr>
            <a:spLocks noGrp="1"/>
          </p:cNvSpPr>
          <p:nvPr>
            <p:custDataLst>
              <p:tags r:id="rId32"/>
            </p:custDataLst>
          </p:nvPr>
        </p:nvSpPr>
        <p:spPr bwMode="auto">
          <a:xfrm>
            <a:off x="6213475" y="5335588"/>
            <a:ext cx="177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F5F304D-EE1A-4772-B9B9-B7E942661F40}" type="datetime'''''''''''''''''''''''''''2''''''8'''''''''''''''''''''''''''">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8</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14" name="Text Placeholder 4">
            <a:extLst>
              <a:ext uri="{FF2B5EF4-FFF2-40B4-BE49-F238E27FC236}">
                <a16:creationId xmlns:a16="http://schemas.microsoft.com/office/drawing/2014/main" id="{D6DB2C7B-C70D-7299-5140-11165444AA17}"/>
              </a:ext>
            </a:extLst>
          </p:cNvPr>
          <p:cNvSpPr>
            <a:spLocks noGrp="1"/>
          </p:cNvSpPr>
          <p:nvPr>
            <p:custDataLst>
              <p:tags r:id="rId33"/>
            </p:custDataLst>
          </p:nvPr>
        </p:nvSpPr>
        <p:spPr bwMode="auto">
          <a:xfrm>
            <a:off x="1958975" y="5335588"/>
            <a:ext cx="1460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11D2EFF-5502-4BB6-BBA7-6D78708362DF}" type="datetime'1''''''''5'">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5</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48" name="Text Placeholder 4">
            <a:extLst>
              <a:ext uri="{FF2B5EF4-FFF2-40B4-BE49-F238E27FC236}">
                <a16:creationId xmlns:a16="http://schemas.microsoft.com/office/drawing/2014/main" id="{1B4EE7F9-B400-7347-D644-4AB7051A3C2A}"/>
              </a:ext>
            </a:extLst>
          </p:cNvPr>
          <p:cNvSpPr>
            <a:spLocks noGrp="1"/>
          </p:cNvSpPr>
          <p:nvPr>
            <p:custDataLst>
              <p:tags r:id="rId34"/>
            </p:custDataLst>
          </p:nvPr>
        </p:nvSpPr>
        <p:spPr bwMode="auto">
          <a:xfrm>
            <a:off x="5889626" y="5335588"/>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388AE72-64AD-4C18-ADD9-98571290477B}" type="datetime'''''''''27'''''''''''''''''''''''''''''''''''''''''''''''">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7</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102" name="Text Placeholder 4">
            <a:extLst>
              <a:ext uri="{FF2B5EF4-FFF2-40B4-BE49-F238E27FC236}">
                <a16:creationId xmlns:a16="http://schemas.microsoft.com/office/drawing/2014/main" id="{93CF4E64-8D35-6A6A-D774-B9FD816112A1}"/>
              </a:ext>
            </a:extLst>
          </p:cNvPr>
          <p:cNvSpPr>
            <a:spLocks noGrp="1"/>
          </p:cNvSpPr>
          <p:nvPr>
            <p:custDataLst>
              <p:tags r:id="rId35"/>
            </p:custDataLst>
          </p:nvPr>
        </p:nvSpPr>
        <p:spPr bwMode="gray">
          <a:xfrm>
            <a:off x="6838950" y="2681288"/>
            <a:ext cx="238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6C08A9B-974C-45C9-A04C-4C943FF2CDFC}" type="datetime'''''''''''7'''',''''5'''''''''''''''''''''''''''''''''''''">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7,5</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13" name="Text Placeholder 4">
            <a:extLst>
              <a:ext uri="{FF2B5EF4-FFF2-40B4-BE49-F238E27FC236}">
                <a16:creationId xmlns:a16="http://schemas.microsoft.com/office/drawing/2014/main" id="{F3168898-4E03-FC83-BBD3-DDB4B341CE32}"/>
              </a:ext>
            </a:extLst>
          </p:cNvPr>
          <p:cNvSpPr>
            <a:spLocks noGrp="1"/>
          </p:cNvSpPr>
          <p:nvPr>
            <p:custDataLst>
              <p:tags r:id="rId36"/>
            </p:custDataLst>
          </p:nvPr>
        </p:nvSpPr>
        <p:spPr bwMode="auto">
          <a:xfrm>
            <a:off x="1628776" y="5335588"/>
            <a:ext cx="150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5698BFA-401F-4661-87B2-1A50D267EF0A}" type="datetime'''''''''''''''''''''1''''''''''''''''''''''''''4'''''''''''''">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4</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51" name="Text Placeholder 4">
            <a:extLst>
              <a:ext uri="{FF2B5EF4-FFF2-40B4-BE49-F238E27FC236}">
                <a16:creationId xmlns:a16="http://schemas.microsoft.com/office/drawing/2014/main" id="{7BFD6F85-BD24-9652-A3BB-664D765C26D2}"/>
              </a:ext>
            </a:extLst>
          </p:cNvPr>
          <p:cNvSpPr>
            <a:spLocks noGrp="1"/>
          </p:cNvSpPr>
          <p:nvPr>
            <p:custDataLst>
              <p:tags r:id="rId37"/>
            </p:custDataLst>
          </p:nvPr>
        </p:nvSpPr>
        <p:spPr bwMode="auto">
          <a:xfrm>
            <a:off x="6869113" y="5335588"/>
            <a:ext cx="177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E1D993B-4541-464A-BC5E-D806792DB323}" type="datetime'''''''3''''''''''''''''''''''''''''''''''0'''''''''">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0</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8" name="Text Placeholder 4">
            <a:extLst>
              <a:ext uri="{FF2B5EF4-FFF2-40B4-BE49-F238E27FC236}">
                <a16:creationId xmlns:a16="http://schemas.microsoft.com/office/drawing/2014/main" id="{4C1F3293-4EFE-461D-940D-7EE66BAE31C5}"/>
              </a:ext>
            </a:extLst>
          </p:cNvPr>
          <p:cNvSpPr>
            <a:spLocks noGrp="1"/>
          </p:cNvSpPr>
          <p:nvPr>
            <p:custDataLst>
              <p:tags r:id="rId38"/>
            </p:custDataLst>
          </p:nvPr>
        </p:nvSpPr>
        <p:spPr bwMode="auto">
          <a:xfrm>
            <a:off x="1303339" y="5335588"/>
            <a:ext cx="1444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8096E06-6BBD-43F0-83B7-CF534A67107B}" type="datetime'''''''''''''''''''1''''''''''''''''''3'''''''''''">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3</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7" name="Text Placeholder 4">
            <a:extLst>
              <a:ext uri="{FF2B5EF4-FFF2-40B4-BE49-F238E27FC236}">
                <a16:creationId xmlns:a16="http://schemas.microsoft.com/office/drawing/2014/main" id="{4C1F3293-4EFE-461D-940D-7EE66BAE31C5}"/>
              </a:ext>
            </a:extLst>
          </p:cNvPr>
          <p:cNvSpPr>
            <a:spLocks noGrp="1"/>
          </p:cNvSpPr>
          <p:nvPr>
            <p:custDataLst>
              <p:tags r:id="rId39"/>
            </p:custDataLst>
          </p:nvPr>
        </p:nvSpPr>
        <p:spPr bwMode="auto">
          <a:xfrm>
            <a:off x="974726" y="5335588"/>
            <a:ext cx="1428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83437EE-6AC6-468E-9866-C3EF001E9DD7}" type="datetime'''''1''''2'''''''''''''''''''''''''''''''''''''">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2</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15" name="Text Placeholder 4">
            <a:extLst>
              <a:ext uri="{FF2B5EF4-FFF2-40B4-BE49-F238E27FC236}">
                <a16:creationId xmlns:a16="http://schemas.microsoft.com/office/drawing/2014/main" id="{C783CBD5-8070-E48E-C276-6141A4DAADF6}"/>
              </a:ext>
            </a:extLst>
          </p:cNvPr>
          <p:cNvSpPr>
            <a:spLocks noGrp="1"/>
          </p:cNvSpPr>
          <p:nvPr>
            <p:custDataLst>
              <p:tags r:id="rId40"/>
            </p:custDataLst>
          </p:nvPr>
        </p:nvSpPr>
        <p:spPr bwMode="auto">
          <a:xfrm>
            <a:off x="2290763" y="5335588"/>
            <a:ext cx="141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48D0310-4EF9-45BB-8ABC-209C5224438C}" type="datetime'''''''''''''''''''''''''''''''1''''''''''''''6'''''''''''''">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6</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16" name="Text Placeholder 4">
            <a:extLst>
              <a:ext uri="{FF2B5EF4-FFF2-40B4-BE49-F238E27FC236}">
                <a16:creationId xmlns:a16="http://schemas.microsoft.com/office/drawing/2014/main" id="{6E89114A-9C69-2FF4-F2D0-E9BEBD56F272}"/>
              </a:ext>
            </a:extLst>
          </p:cNvPr>
          <p:cNvSpPr>
            <a:spLocks noGrp="1"/>
          </p:cNvSpPr>
          <p:nvPr>
            <p:custDataLst>
              <p:tags r:id="rId41"/>
            </p:custDataLst>
          </p:nvPr>
        </p:nvSpPr>
        <p:spPr bwMode="auto">
          <a:xfrm>
            <a:off x="2617788" y="5335588"/>
            <a:ext cx="1397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8014145-8A2B-4A92-83B1-41BA80A6DE2D}" type="datetime'''''''''''''''''''''''''''''1''''''''''''''''''''''7'''''">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7</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17" name="Text Placeholder 4">
            <a:extLst>
              <a:ext uri="{FF2B5EF4-FFF2-40B4-BE49-F238E27FC236}">
                <a16:creationId xmlns:a16="http://schemas.microsoft.com/office/drawing/2014/main" id="{5E621FA9-36B3-2C96-CA4E-9BCE9838DC21}"/>
              </a:ext>
            </a:extLst>
          </p:cNvPr>
          <p:cNvSpPr>
            <a:spLocks noGrp="1"/>
          </p:cNvSpPr>
          <p:nvPr>
            <p:custDataLst>
              <p:tags r:id="rId42"/>
            </p:custDataLst>
          </p:nvPr>
        </p:nvSpPr>
        <p:spPr bwMode="auto">
          <a:xfrm>
            <a:off x="2941639" y="5335588"/>
            <a:ext cx="1492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ABAD8E4-3037-4FB3-85CF-AFDDC4557843}" type="datetime'''''''''''''''''18'''">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8</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22" name="Text Placeholder 4">
            <a:extLst>
              <a:ext uri="{FF2B5EF4-FFF2-40B4-BE49-F238E27FC236}">
                <a16:creationId xmlns:a16="http://schemas.microsoft.com/office/drawing/2014/main" id="{BB510185-3F42-A32D-CAE0-640EAD66F627}"/>
              </a:ext>
            </a:extLst>
          </p:cNvPr>
          <p:cNvSpPr>
            <a:spLocks noGrp="1"/>
          </p:cNvSpPr>
          <p:nvPr>
            <p:custDataLst>
              <p:tags r:id="rId43"/>
            </p:custDataLst>
          </p:nvPr>
        </p:nvSpPr>
        <p:spPr bwMode="auto">
          <a:xfrm>
            <a:off x="4556125" y="5335588"/>
            <a:ext cx="206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BD36907-8488-4D8C-A9B2-A99CB5CFC046}" type="datetime'''2''''''''''''''''''''''''''''''3'''''''''''''''''''''''''''">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3</a:t>
            </a:fld>
            <a:r>
              <a:rPr kumimoji="0" lang="de-DE" altLang="en-US" sz="1200" b="0" i="0" u="none" strike="noStrike" kern="1200" cap="none" spc="0" normalizeH="0" baseline="30000" noProof="0" dirty="0">
                <a:ln>
                  <a:noFill/>
                </a:ln>
                <a:solidFill>
                  <a:srgbClr val="000000"/>
                </a:solidFill>
                <a:effectLst/>
                <a:uLnTx/>
                <a:uFillTx/>
                <a:latin typeface="Bahnschrift"/>
                <a:ea typeface="+mn-ea"/>
                <a:cs typeface="Arial" panose="020B0604020202020204" pitchFamily="34" charset="0"/>
              </a:rPr>
              <a:t>1</a:t>
            </a:r>
            <a:endParaRPr kumimoji="0" lang="de-DE" sz="1200" b="0" i="0" u="none" strike="noStrike" kern="1200" cap="none" spc="0" normalizeH="0" baseline="30000" noProof="0" dirty="0">
              <a:ln>
                <a:noFill/>
              </a:ln>
              <a:solidFill>
                <a:srgbClr val="000000"/>
              </a:solidFill>
              <a:effectLst/>
              <a:uLnTx/>
              <a:uFillTx/>
              <a:latin typeface="Bahnschrift"/>
              <a:ea typeface="+mn-ea"/>
              <a:cs typeface="Arial" panose="020B0604020202020204" pitchFamily="34" charset="0"/>
            </a:endParaRPr>
          </a:p>
        </p:txBody>
      </p:sp>
      <p:sp>
        <p:nvSpPr>
          <p:cNvPr id="71" name="Text Placeholder 4">
            <a:extLst>
              <a:ext uri="{FF2B5EF4-FFF2-40B4-BE49-F238E27FC236}">
                <a16:creationId xmlns:a16="http://schemas.microsoft.com/office/drawing/2014/main" id="{4C1F3293-4EFE-461D-940D-7EE66BAE31C5}"/>
              </a:ext>
            </a:extLst>
          </p:cNvPr>
          <p:cNvSpPr>
            <a:spLocks noGrp="1"/>
          </p:cNvSpPr>
          <p:nvPr>
            <p:custDataLst>
              <p:tags r:id="rId44"/>
            </p:custDataLst>
          </p:nvPr>
        </p:nvSpPr>
        <p:spPr bwMode="gray">
          <a:xfrm>
            <a:off x="627063" y="4724400"/>
            <a:ext cx="180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954AACD-7B43-4684-AA7A-DF9E7C1270E0}" type="datetime'''1,''''''''''''''''''''''''''''''''''''''''''''''1'''">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1</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332" name="Text Placeholder 4">
            <a:extLst>
              <a:ext uri="{FF2B5EF4-FFF2-40B4-BE49-F238E27FC236}">
                <a16:creationId xmlns:a16="http://schemas.microsoft.com/office/drawing/2014/main" id="{8E850ED6-5C38-190F-3B59-84B9B36E34C4}"/>
              </a:ext>
            </a:extLst>
          </p:cNvPr>
          <p:cNvSpPr>
            <a:spLocks noGrp="1"/>
          </p:cNvSpPr>
          <p:nvPr>
            <p:custDataLst>
              <p:tags r:id="rId45"/>
            </p:custDataLst>
          </p:nvPr>
        </p:nvSpPr>
        <p:spPr bwMode="gray">
          <a:xfrm>
            <a:off x="3521075" y="4059238"/>
            <a:ext cx="3063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2977590-C84E-42BD-882A-089E67139CB5}" type="datetime'''''''''3'''''''',''''''''''''''''1'''''''''''">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1</a:t>
            </a:fld>
            <a:r>
              <a:rPr kumimoji="0" lang="de-DE" altLang="en-US" sz="1200" b="0" i="0" u="none" strike="noStrike" kern="1200" cap="none" spc="0" normalizeH="0" baseline="30000" noProof="0" dirty="0">
                <a:ln>
                  <a:noFill/>
                </a:ln>
                <a:solidFill>
                  <a:srgbClr val="000000"/>
                </a:solidFill>
                <a:effectLst/>
                <a:uLnTx/>
                <a:uFillTx/>
                <a:latin typeface="Bahnschrift"/>
                <a:ea typeface="+mn-ea"/>
                <a:cs typeface="Arial" panose="020B0604020202020204" pitchFamily="34" charset="0"/>
              </a:rPr>
              <a:t>3</a:t>
            </a:r>
            <a:r>
              <a:rPr kumimoji="0" lang="de-DE" altLang="en-US"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 </a:t>
            </a:r>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18" name="Text Placeholder 4">
            <a:extLst>
              <a:ext uri="{FF2B5EF4-FFF2-40B4-BE49-F238E27FC236}">
                <a16:creationId xmlns:a16="http://schemas.microsoft.com/office/drawing/2014/main" id="{ED8B2F10-B1E1-CAE1-3B83-9ECCF094B55F}"/>
              </a:ext>
            </a:extLst>
          </p:cNvPr>
          <p:cNvSpPr>
            <a:spLocks noGrp="1"/>
          </p:cNvSpPr>
          <p:nvPr>
            <p:custDataLst>
              <p:tags r:id="rId46"/>
            </p:custDataLst>
          </p:nvPr>
        </p:nvSpPr>
        <p:spPr bwMode="auto">
          <a:xfrm>
            <a:off x="3275013" y="5335588"/>
            <a:ext cx="141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CBF4D15-AF2B-493C-ACDC-6A918B760AC4}" type="datetime'''''''''''''''''''1''''''''''''''''''''9'''">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9</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19" name="Text Placeholder 4">
            <a:extLst>
              <a:ext uri="{FF2B5EF4-FFF2-40B4-BE49-F238E27FC236}">
                <a16:creationId xmlns:a16="http://schemas.microsoft.com/office/drawing/2014/main" id="{5E3126E7-BE73-5EF0-67BA-40EFB729F416}"/>
              </a:ext>
            </a:extLst>
          </p:cNvPr>
          <p:cNvSpPr>
            <a:spLocks noGrp="1"/>
          </p:cNvSpPr>
          <p:nvPr>
            <p:custDataLst>
              <p:tags r:id="rId47"/>
            </p:custDataLst>
          </p:nvPr>
        </p:nvSpPr>
        <p:spPr bwMode="auto">
          <a:xfrm>
            <a:off x="3586163" y="5335588"/>
            <a:ext cx="176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3389316-AA0C-468C-BE2C-EFF0EC573D20}" type="datetime'''''''''''''''''''''''''2''''''0'''''''''''">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20" name="Text Placeholder 4">
            <a:extLst>
              <a:ext uri="{FF2B5EF4-FFF2-40B4-BE49-F238E27FC236}">
                <a16:creationId xmlns:a16="http://schemas.microsoft.com/office/drawing/2014/main" id="{2E17EB43-F868-1A50-E43F-AD86553E1708}"/>
              </a:ext>
            </a:extLst>
          </p:cNvPr>
          <p:cNvSpPr>
            <a:spLocks noGrp="1"/>
          </p:cNvSpPr>
          <p:nvPr>
            <p:custDataLst>
              <p:tags r:id="rId48"/>
            </p:custDataLst>
          </p:nvPr>
        </p:nvSpPr>
        <p:spPr bwMode="auto">
          <a:xfrm>
            <a:off x="3930651" y="5335588"/>
            <a:ext cx="1428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EA09C0B-4CC3-4202-B539-A5FCB707AEA3}" type="datetime'''''''''''''''''''''''2''''''''''''''''1'''">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1</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196" name="Rectangle 195">
            <a:extLst>
              <a:ext uri="{FF2B5EF4-FFF2-40B4-BE49-F238E27FC236}">
                <a16:creationId xmlns:a16="http://schemas.microsoft.com/office/drawing/2014/main" id="{9BC11ECD-6D48-0C42-77B8-6ECF52C01A51}"/>
              </a:ext>
            </a:extLst>
          </p:cNvPr>
          <p:cNvSpPr/>
          <p:nvPr>
            <p:custDataLst>
              <p:tags r:id="rId49"/>
            </p:custDataLst>
          </p:nvPr>
        </p:nvSpPr>
        <p:spPr bwMode="auto">
          <a:xfrm>
            <a:off x="614363" y="1593850"/>
            <a:ext cx="165100" cy="165100"/>
          </a:xfrm>
          <a:prstGeom prst="rect">
            <a:avLst/>
          </a:prstGeom>
          <a:solidFill>
            <a:schemeClr val="accent4"/>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err="1">
              <a:ln>
                <a:noFill/>
              </a:ln>
              <a:solidFill>
                <a:srgbClr val="FFFFFF"/>
              </a:solidFill>
              <a:effectLst/>
              <a:uLnTx/>
              <a:uFillTx/>
              <a:latin typeface="Bahnschrift"/>
              <a:ea typeface="+mn-ea"/>
              <a:cs typeface="+mn-cs"/>
            </a:endParaRPr>
          </a:p>
        </p:txBody>
      </p:sp>
      <p:sp>
        <p:nvSpPr>
          <p:cNvPr id="192" name="Text Placeholder 4">
            <a:extLst>
              <a:ext uri="{FF2B5EF4-FFF2-40B4-BE49-F238E27FC236}">
                <a16:creationId xmlns:a16="http://schemas.microsoft.com/office/drawing/2014/main" id="{4C1F3293-4EFE-461D-940D-7EE66BAE31C5}"/>
              </a:ext>
            </a:extLst>
          </p:cNvPr>
          <p:cNvSpPr>
            <a:spLocks noGrp="1"/>
          </p:cNvSpPr>
          <p:nvPr>
            <p:custDataLst>
              <p:tags r:id="rId50"/>
            </p:custDataLst>
          </p:nvPr>
        </p:nvSpPr>
        <p:spPr bwMode="auto">
          <a:xfrm>
            <a:off x="830263" y="1592263"/>
            <a:ext cx="1860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de-DE" altLang="en-US"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Jährlicher Netto-</a:t>
            </a:r>
            <a:r>
              <a:rPr kumimoji="0" lang="de-DE" altLang="en-US" sz="1200" b="0" i="0" u="none" strike="noStrike" kern="1200" cap="none" spc="0" normalizeH="0" baseline="0" noProof="0" dirty="0" err="1">
                <a:ln>
                  <a:noFill/>
                </a:ln>
                <a:solidFill>
                  <a:srgbClr val="000000"/>
                </a:solidFill>
                <a:effectLst/>
                <a:uLnTx/>
                <a:uFillTx/>
                <a:latin typeface="Bahnschrift"/>
                <a:ea typeface="+mn-ea"/>
                <a:cs typeface="Arial" panose="020B0604020202020204" pitchFamily="34" charset="0"/>
              </a:rPr>
              <a:t>Neuzubau</a:t>
            </a:r>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202" name="TextBox 201">
            <a:extLst>
              <a:ext uri="{FF2B5EF4-FFF2-40B4-BE49-F238E27FC236}">
                <a16:creationId xmlns:a16="http://schemas.microsoft.com/office/drawing/2014/main" id="{D9394F7D-F270-0323-F252-A65426BC277C}"/>
              </a:ext>
            </a:extLst>
          </p:cNvPr>
          <p:cNvSpPr txBox="1">
            <a:spLocks/>
          </p:cNvSpPr>
          <p:nvPr/>
        </p:nvSpPr>
        <p:spPr>
          <a:xfrm>
            <a:off x="554736" y="1155700"/>
            <a:ext cx="7918704" cy="246063"/>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Installierte Kapazität an Windkraft, </a:t>
            </a:r>
            <a:r>
              <a:rPr kumimoji="0" lang="de-DE" sz="16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GW</a:t>
            </a:r>
          </a:p>
        </p:txBody>
      </p:sp>
      <p:cxnSp>
        <p:nvCxnSpPr>
          <p:cNvPr id="203" name="LineBasicDefault 455">
            <a:extLst>
              <a:ext uri="{FF2B5EF4-FFF2-40B4-BE49-F238E27FC236}">
                <a16:creationId xmlns:a16="http://schemas.microsoft.com/office/drawing/2014/main" id="{E7CECD9D-8E9D-EB5D-EB1D-FDC7B97A79C7}"/>
              </a:ext>
            </a:extLst>
          </p:cNvPr>
          <p:cNvCxnSpPr>
            <a:cxnSpLocks/>
          </p:cNvCxnSpPr>
          <p:nvPr>
            <p:custDataLst>
              <p:tags r:id="rId51"/>
            </p:custDataLst>
          </p:nvPr>
        </p:nvCxnSpPr>
        <p:spPr>
          <a:xfrm>
            <a:off x="554736" y="1457325"/>
            <a:ext cx="7918704" cy="0"/>
          </a:xfrm>
          <a:prstGeom prst="straightConnector1">
            <a:avLst/>
          </a:prstGeom>
          <a:ln w="12700" cap="flat">
            <a:solidFill>
              <a:srgbClr val="004FA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2" name="4. Footnote">
            <a:extLst>
              <a:ext uri="{FF2B5EF4-FFF2-40B4-BE49-F238E27FC236}">
                <a16:creationId xmlns:a16="http://schemas.microsoft.com/office/drawing/2014/main" id="{97200889-0379-1B3E-A0AE-B6009093DABE}"/>
              </a:ext>
            </a:extLst>
          </p:cNvPr>
          <p:cNvSpPr txBox="1"/>
          <p:nvPr>
            <p:custDataLst>
              <p:tags r:id="rId52"/>
            </p:custDataLst>
          </p:nvPr>
        </p:nvSpPr>
        <p:spPr>
          <a:xfrm>
            <a:off x="837310" y="5964873"/>
            <a:ext cx="8761478" cy="492443"/>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rPr>
              <a:t>1.	Wert 2023: Prognose der IG Wind (Januar 2023)</a:t>
            </a:r>
          </a:p>
          <a:p>
            <a:pPr marL="219075" marR="0" lvl="0" indent="-228600" algn="l" defTabSz="914400" rtl="0" eaLnBrk="1" fontAlgn="auto" latinLnBrk="0" hangingPunct="1">
              <a:lnSpc>
                <a:spcPct val="100000"/>
              </a:lnSpc>
              <a:spcBef>
                <a:spcPts val="0"/>
              </a:spcBef>
              <a:spcAft>
                <a:spcPts val="0"/>
              </a:spcAft>
              <a:buClrTx/>
              <a:buSzTx/>
              <a:buFontTx/>
              <a:buAutoNum type="arabicPeriod" startAt="2"/>
              <a:tabLst/>
              <a:defRPr/>
            </a:pPr>
            <a:r>
              <a:rPr kumimoji="0" lang="de-DE" sz="800" b="0"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rPr>
              <a:t>Annahme: ca. 2.250 Volllaststunden nötig, um 10 TWh Mehrproduktion mit 7,5 GW Leistung zu erreichen (Durchschnitt 2017-2021 laut E-Control: 2.128 Volllaststunden)</a:t>
            </a:r>
            <a:endParaRPr kumimoji="0" lang="it-IT" sz="800" b="0"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endParaRPr>
          </a:p>
          <a:p>
            <a:pPr marL="219075" marR="0" lvl="0" indent="-228600" algn="l" defTabSz="914400" rtl="0" eaLnBrk="1" fontAlgn="auto" latinLnBrk="0" hangingPunct="1">
              <a:lnSpc>
                <a:spcPct val="100000"/>
              </a:lnSpc>
              <a:spcBef>
                <a:spcPts val="0"/>
              </a:spcBef>
              <a:spcAft>
                <a:spcPts val="0"/>
              </a:spcAft>
              <a:buClrTx/>
              <a:buSzTx/>
              <a:buFontTx/>
              <a:buAutoNum type="arabicPeriod" startAt="2"/>
              <a:tabLst/>
              <a:defRPr/>
            </a:pPr>
            <a:r>
              <a:rPr kumimoji="0" lang="it-IT" sz="800" b="0" i="0" u="none" strike="noStrike" kern="1200" cap="none" spc="0" normalizeH="0" baseline="0" noProof="0" dirty="0" err="1">
                <a:ln>
                  <a:noFill/>
                </a:ln>
                <a:solidFill>
                  <a:srgbClr val="004FA1"/>
                </a:solidFill>
                <a:effectLst/>
                <a:uLnTx/>
                <a:uFillTx/>
                <a:latin typeface="Bahnschrift"/>
                <a:ea typeface="+mn-ea"/>
                <a:cs typeface="Arial" panose="020B0604020202020204" pitchFamily="34" charset="0"/>
              </a:rPr>
              <a:t>Negativer</a:t>
            </a:r>
            <a:r>
              <a:rPr kumimoji="0" lang="it-IT" sz="800" b="0"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rPr>
              <a:t> Netto-</a:t>
            </a:r>
            <a:r>
              <a:rPr kumimoji="0" lang="it-IT" sz="800" b="0" i="0" u="none" strike="noStrike" kern="1200" cap="none" spc="0" normalizeH="0" baseline="0" noProof="0" dirty="0" err="1">
                <a:ln>
                  <a:noFill/>
                </a:ln>
                <a:solidFill>
                  <a:srgbClr val="004FA1"/>
                </a:solidFill>
                <a:effectLst/>
                <a:uLnTx/>
                <a:uFillTx/>
                <a:latin typeface="Bahnschrift"/>
                <a:ea typeface="+mn-ea"/>
                <a:cs typeface="Arial" panose="020B0604020202020204" pitchFamily="34" charset="0"/>
              </a:rPr>
              <a:t>Neuzubau</a:t>
            </a:r>
            <a:r>
              <a:rPr kumimoji="0" lang="it-IT" sz="800" b="0"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rPr>
              <a:t> in 2020</a:t>
            </a:r>
          </a:p>
          <a:p>
            <a:pPr marL="219075" marR="0" lvl="0" indent="-228600" algn="l" defTabSz="914400" rtl="0" eaLnBrk="1" fontAlgn="auto" latinLnBrk="0" hangingPunct="1">
              <a:lnSpc>
                <a:spcPct val="100000"/>
              </a:lnSpc>
              <a:spcBef>
                <a:spcPts val="0"/>
              </a:spcBef>
              <a:spcAft>
                <a:spcPts val="0"/>
              </a:spcAft>
              <a:buClrTx/>
              <a:buSzTx/>
              <a:buFontTx/>
              <a:buAutoNum type="arabicPeriod" startAt="2"/>
              <a:tabLst/>
              <a:defRPr/>
            </a:pPr>
            <a:r>
              <a:rPr kumimoji="0" lang="de-DE" sz="800" b="0"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rPr>
              <a:t>Entsprechend BMAW Studie zu Energiewende (2021) mit Gesamtpotenzial von 20-30 TWh (zusätzlich zu den 7 TWh in 2020) und unter der Annahme von 2.200 Volllaststunden</a:t>
            </a:r>
          </a:p>
        </p:txBody>
      </p:sp>
      <p:sp>
        <p:nvSpPr>
          <p:cNvPr id="268" name="5. Source">
            <a:extLst>
              <a:ext uri="{FF2B5EF4-FFF2-40B4-BE49-F238E27FC236}">
                <a16:creationId xmlns:a16="http://schemas.microsoft.com/office/drawing/2014/main" id="{5855F6CB-EBD3-B059-6175-C9559EC9DACE}"/>
              </a:ext>
            </a:extLst>
          </p:cNvPr>
          <p:cNvSpPr txBox="1"/>
          <p:nvPr>
            <p:custDataLst>
              <p:tags r:id="rId53"/>
            </p:custDataLst>
          </p:nvPr>
        </p:nvSpPr>
        <p:spPr>
          <a:xfrm>
            <a:off x="9144999" y="6027857"/>
            <a:ext cx="1340784"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800" b="0"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rPr>
              <a:t>Quelle: IG Wind, </a:t>
            </a:r>
            <a:r>
              <a:rPr kumimoji="0" lang="de-DE" sz="800" b="0" i="0" u="none" strike="noStrike" kern="1200" cap="none" spc="0" normalizeH="0" baseline="0" noProof="0" dirty="0" err="1">
                <a:ln>
                  <a:noFill/>
                </a:ln>
                <a:solidFill>
                  <a:srgbClr val="004FA1"/>
                </a:solidFill>
                <a:effectLst/>
                <a:uLnTx/>
                <a:uFillTx/>
                <a:latin typeface="Bahnschrift"/>
                <a:ea typeface="+mn-ea"/>
                <a:cs typeface="Arial" panose="020B0604020202020204" pitchFamily="34" charset="0"/>
              </a:rPr>
              <a:t>Moidl</a:t>
            </a:r>
            <a:r>
              <a:rPr kumimoji="0" lang="de-DE" sz="800" b="0"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rPr>
              <a:t> 2019, E-Control</a:t>
            </a:r>
          </a:p>
        </p:txBody>
      </p:sp>
      <p:sp>
        <p:nvSpPr>
          <p:cNvPr id="269" name="TextBox 268">
            <a:extLst>
              <a:ext uri="{FF2B5EF4-FFF2-40B4-BE49-F238E27FC236}">
                <a16:creationId xmlns:a16="http://schemas.microsoft.com/office/drawing/2014/main" id="{EAEA04C8-38E5-FF5A-7EE5-88680C4A1EE3}"/>
              </a:ext>
            </a:extLst>
          </p:cNvPr>
          <p:cNvSpPr txBox="1"/>
          <p:nvPr/>
        </p:nvSpPr>
        <p:spPr>
          <a:xfrm>
            <a:off x="1976438" y="2747963"/>
            <a:ext cx="1439330" cy="368300"/>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Ø Jährlicher Zubau 2011-2023: </a:t>
            </a: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216 MW</a:t>
            </a:r>
          </a:p>
        </p:txBody>
      </p:sp>
      <p:sp>
        <p:nvSpPr>
          <p:cNvPr id="298" name="TextBox 297">
            <a:extLst>
              <a:ext uri="{FF2B5EF4-FFF2-40B4-BE49-F238E27FC236}">
                <a16:creationId xmlns:a16="http://schemas.microsoft.com/office/drawing/2014/main" id="{D6721E1F-3F63-8A84-6FC5-0B7FAC3030FF}"/>
              </a:ext>
            </a:extLst>
          </p:cNvPr>
          <p:cNvSpPr txBox="1">
            <a:spLocks/>
          </p:cNvSpPr>
          <p:nvPr>
            <p:custDataLst>
              <p:tags r:id="rId54"/>
            </p:custDataLst>
          </p:nvPr>
        </p:nvSpPr>
        <p:spPr>
          <a:xfrm>
            <a:off x="9119860" y="1662113"/>
            <a:ext cx="2520451" cy="391902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300"/>
              </a:spcBef>
              <a:spcAft>
                <a:spcPts val="300"/>
              </a:spcAft>
              <a:buClr>
                <a:srgbClr val="000000"/>
              </a:buClr>
              <a:buSzPct val="100000"/>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Im EAG ist ein </a:t>
            </a: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Windkraft-Ausbau um 10 TWh bis 2030 </a:t>
            </a: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geplant – wofür insgesamt Anlagen mit etwa 7,5 GW nötig sind (Zubau von etwa 4 GW)</a:t>
            </a:r>
          </a:p>
          <a:p>
            <a:pPr marL="0" marR="0" lvl="0" indent="0" algn="l" defTabSz="914400" rtl="0" eaLnBrk="1" fontAlgn="auto" latinLnBrk="0" hangingPunct="1">
              <a:lnSpc>
                <a:spcPct val="100000"/>
              </a:lnSpc>
              <a:spcBef>
                <a:spcPts val="1300"/>
              </a:spcBef>
              <a:spcAft>
                <a:spcPts val="300"/>
              </a:spcAft>
              <a:buClr>
                <a:srgbClr val="000000"/>
              </a:buClr>
              <a:buSzPct val="100000"/>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Die </a:t>
            </a: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Ausbaugeschwindigkeit seit 2011 </a:t>
            </a: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inkl. Prognose 2023) betrug lediglich etwas über </a:t>
            </a: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200 MW p.a. </a:t>
            </a: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netto), dies muss sich im Zeitraum 2024-30 </a:t>
            </a: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auf über 500 MW steigern</a:t>
            </a: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 also </a:t>
            </a: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mehr als verdoppeln</a:t>
            </a:r>
          </a:p>
          <a:p>
            <a:pPr marL="0" marR="0" lvl="0" indent="0" algn="l" defTabSz="914400" rtl="0" eaLnBrk="1" fontAlgn="auto" latinLnBrk="0" hangingPunct="1">
              <a:lnSpc>
                <a:spcPct val="100000"/>
              </a:lnSpc>
              <a:spcBef>
                <a:spcPts val="1300"/>
              </a:spcBef>
              <a:spcAft>
                <a:spcPts val="300"/>
              </a:spcAft>
              <a:buClr>
                <a:srgbClr val="000000"/>
              </a:buClr>
              <a:buSzPct val="100000"/>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Beim </a:t>
            </a: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Windkraftausbau</a:t>
            </a: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 gibt es einige Herausforderungen: lange </a:t>
            </a: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Genehmigungsverfahren</a:t>
            </a: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 (z.B. UVP knapp 2 Jahre), unterschiedliche Verfahren je </a:t>
            </a: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Bundesland</a:t>
            </a: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 </a:t>
            </a: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Raumordnungspläne</a:t>
            </a: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 der Bedarf an </a:t>
            </a: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Fachkräften, </a:t>
            </a: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sowie ausreichend Netzkapazität und </a:t>
            </a: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
              </a:rPr>
              <a:t>Ausgleichs-energie</a:t>
            </a:r>
          </a:p>
        </p:txBody>
      </p:sp>
      <p:sp>
        <p:nvSpPr>
          <p:cNvPr id="328" name="Oval 327">
            <a:extLst>
              <a:ext uri="{FF2B5EF4-FFF2-40B4-BE49-F238E27FC236}">
                <a16:creationId xmlns:a16="http://schemas.microsoft.com/office/drawing/2014/main" id="{4A333691-5D83-7D1D-2DF9-9798EB5B04C6}"/>
              </a:ext>
            </a:extLst>
          </p:cNvPr>
          <p:cNvSpPr/>
          <p:nvPr/>
        </p:nvSpPr>
        <p:spPr>
          <a:xfrm>
            <a:off x="3430588" y="3698875"/>
            <a:ext cx="485243" cy="2921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e-DE" sz="1200" b="0" i="0" u="none" strike="noStrike" kern="1200" cap="none" spc="0" normalizeH="0" baseline="0" noProof="0" dirty="0">
                <a:ln>
                  <a:noFill/>
                </a:ln>
                <a:solidFill>
                  <a:srgbClr val="FFFFFF"/>
                </a:solidFill>
                <a:effectLst/>
                <a:uLnTx/>
                <a:uFillTx/>
                <a:latin typeface="Bahnschrift"/>
                <a:ea typeface="+mn-ea"/>
                <a:cs typeface="+mn-cs"/>
              </a:rPr>
              <a:t>6,8</a:t>
            </a:r>
          </a:p>
        </p:txBody>
      </p:sp>
      <p:sp>
        <p:nvSpPr>
          <p:cNvPr id="329" name="Oval 328">
            <a:extLst>
              <a:ext uri="{FF2B5EF4-FFF2-40B4-BE49-F238E27FC236}">
                <a16:creationId xmlns:a16="http://schemas.microsoft.com/office/drawing/2014/main" id="{AFBF9714-C265-79C8-D6C0-C1EB499E787B}"/>
              </a:ext>
            </a:extLst>
          </p:cNvPr>
          <p:cNvSpPr/>
          <p:nvPr/>
        </p:nvSpPr>
        <p:spPr>
          <a:xfrm>
            <a:off x="6722351" y="2352675"/>
            <a:ext cx="485243" cy="2921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e-DE" sz="1200" b="0" i="0" u="none" strike="noStrike" kern="1200" cap="none" spc="0" normalizeH="0" baseline="0" noProof="0" dirty="0">
                <a:ln>
                  <a:noFill/>
                </a:ln>
                <a:solidFill>
                  <a:srgbClr val="FFFFFF"/>
                </a:solidFill>
                <a:effectLst/>
                <a:uLnTx/>
                <a:uFillTx/>
                <a:latin typeface="Bahnschrift"/>
                <a:ea typeface="+mn-ea"/>
                <a:cs typeface="+mn-cs"/>
              </a:rPr>
              <a:t>16-17</a:t>
            </a:r>
          </a:p>
        </p:txBody>
      </p:sp>
      <p:sp>
        <p:nvSpPr>
          <p:cNvPr id="330" name="Oval 329">
            <a:extLst>
              <a:ext uri="{FF2B5EF4-FFF2-40B4-BE49-F238E27FC236}">
                <a16:creationId xmlns:a16="http://schemas.microsoft.com/office/drawing/2014/main" id="{6614AE8D-407A-955D-0872-A614F9A60B12}"/>
              </a:ext>
            </a:extLst>
          </p:cNvPr>
          <p:cNvSpPr/>
          <p:nvPr/>
        </p:nvSpPr>
        <p:spPr>
          <a:xfrm>
            <a:off x="549768" y="1912938"/>
            <a:ext cx="347937" cy="20955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e-DE" sz="1050" b="0" i="0" u="none" strike="noStrike" kern="1200" cap="none" spc="0" normalizeH="0" baseline="0" noProof="0" dirty="0">
                <a:ln>
                  <a:noFill/>
                </a:ln>
                <a:solidFill>
                  <a:srgbClr val="FFFFFF"/>
                </a:solidFill>
                <a:effectLst/>
                <a:uLnTx/>
                <a:uFillTx/>
                <a:latin typeface="Bahnschrift"/>
                <a:ea typeface="+mn-ea"/>
                <a:cs typeface="+mn-cs"/>
              </a:rPr>
              <a:t>.</a:t>
            </a:r>
          </a:p>
        </p:txBody>
      </p:sp>
      <p:sp>
        <p:nvSpPr>
          <p:cNvPr id="331" name="TextBox 330">
            <a:extLst>
              <a:ext uri="{FF2B5EF4-FFF2-40B4-BE49-F238E27FC236}">
                <a16:creationId xmlns:a16="http://schemas.microsoft.com/office/drawing/2014/main" id="{3FF1EFBD-38D7-28C4-95BF-D35BA96F17A9}"/>
              </a:ext>
            </a:extLst>
          </p:cNvPr>
          <p:cNvSpPr txBox="1"/>
          <p:nvPr/>
        </p:nvSpPr>
        <p:spPr>
          <a:xfrm>
            <a:off x="990785" y="1922463"/>
            <a:ext cx="1891602" cy="18415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Produzierter Strom</a:t>
            </a:r>
            <a:r>
              <a:rPr kumimoji="0" lang="de-DE" sz="1200" b="1" i="0" u="none" strike="noStrike" kern="1200" cap="none" spc="0" normalizeH="0" baseline="30000" noProof="0" dirty="0">
                <a:ln>
                  <a:noFill/>
                </a:ln>
                <a:solidFill>
                  <a:srgbClr val="000000"/>
                </a:solidFill>
                <a:effectLst/>
                <a:uLnTx/>
                <a:uFillTx/>
                <a:latin typeface="Bahnschrift"/>
                <a:ea typeface="+mn-ea"/>
                <a:cs typeface="Arial" panose="020B0604020202020204" pitchFamily="34" charset="0"/>
              </a:rPr>
              <a:t>2</a:t>
            </a: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 </a:t>
            </a: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TWh </a:t>
            </a:r>
          </a:p>
        </p:txBody>
      </p:sp>
      <p:sp>
        <p:nvSpPr>
          <p:cNvPr id="73" name="TextBox 72">
            <a:extLst>
              <a:ext uri="{FF2B5EF4-FFF2-40B4-BE49-F238E27FC236}">
                <a16:creationId xmlns:a16="http://schemas.microsoft.com/office/drawing/2014/main" id="{A6F26A82-2738-42AE-BA55-FC503E483275}"/>
              </a:ext>
            </a:extLst>
          </p:cNvPr>
          <p:cNvSpPr txBox="1">
            <a:spLocks/>
          </p:cNvSpPr>
          <p:nvPr/>
        </p:nvSpPr>
        <p:spPr>
          <a:xfrm>
            <a:off x="9100457" y="1169988"/>
            <a:ext cx="2551793" cy="249238"/>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6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Synthese</a:t>
            </a:r>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cxnSp>
        <p:nvCxnSpPr>
          <p:cNvPr id="74" name="LineBasicDefault 455">
            <a:extLst>
              <a:ext uri="{FF2B5EF4-FFF2-40B4-BE49-F238E27FC236}">
                <a16:creationId xmlns:a16="http://schemas.microsoft.com/office/drawing/2014/main" id="{5BEACFE4-750C-4B14-8415-C4B3ADC0FB4B}"/>
              </a:ext>
            </a:extLst>
          </p:cNvPr>
          <p:cNvCxnSpPr>
            <a:cxnSpLocks/>
          </p:cNvCxnSpPr>
          <p:nvPr>
            <p:custDataLst>
              <p:tags r:id="rId55"/>
            </p:custDataLst>
          </p:nvPr>
        </p:nvCxnSpPr>
        <p:spPr>
          <a:xfrm>
            <a:off x="9100457" y="1457325"/>
            <a:ext cx="2551793" cy="0"/>
          </a:xfrm>
          <a:prstGeom prst="straightConnector1">
            <a:avLst/>
          </a:prstGeom>
          <a:ln w="12700" cap="flat">
            <a:solidFill>
              <a:srgbClr val="004FA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2" name="CustomIcon">
            <a:extLst>
              <a:ext uri="{FF2B5EF4-FFF2-40B4-BE49-F238E27FC236}">
                <a16:creationId xmlns:a16="http://schemas.microsoft.com/office/drawing/2014/main" id="{2B3CB772-9832-848B-A0CD-B849E2358917}"/>
              </a:ext>
            </a:extLst>
          </p:cNvPr>
          <p:cNvPicPr>
            <a:picLocks/>
          </p:cNvPicPr>
          <p:nvPr>
            <p:custDataLst>
              <p:tags r:id="rId56"/>
            </p:custDataLst>
          </p:nvPr>
        </p:nvPicPr>
        <p:blipFill>
          <a:blip r:embed="rId62">
            <a:extLst>
              <a:ext uri="{96DAC541-7B7A-43D3-8B79-37D633B846F1}">
                <asvg:svgBlip xmlns:asvg="http://schemas.microsoft.com/office/drawing/2016/SVG/main" r:embed="rId63"/>
              </a:ext>
            </a:extLst>
          </a:blip>
          <a:stretch>
            <a:fillRect/>
          </a:stretch>
        </p:blipFill>
        <p:spPr>
          <a:xfrm>
            <a:off x="11064337" y="231640"/>
            <a:ext cx="575974" cy="575974"/>
          </a:xfrm>
          <a:prstGeom prst="rect">
            <a:avLst/>
          </a:prstGeom>
        </p:spPr>
      </p:pic>
    </p:spTree>
    <p:extLst>
      <p:ext uri="{BB962C8B-B14F-4D97-AF65-F5344CB8AC3E}">
        <p14:creationId xmlns:p14="http://schemas.microsoft.com/office/powerpoint/2010/main" val="9740514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think-cell data - do not delete" hidden="1">
            <a:extLst>
              <a:ext uri="{FF2B5EF4-FFF2-40B4-BE49-F238E27FC236}">
                <a16:creationId xmlns:a16="http://schemas.microsoft.com/office/drawing/2014/main" id="{6AA97076-71CD-101A-8442-E045A454EC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404" imgH="405" progId="TCLayout.ActiveDocument.1">
                  <p:embed/>
                </p:oleObj>
              </mc:Choice>
              <mc:Fallback>
                <p:oleObj name="think-cell Slide" r:id="rId47" imgW="404" imgH="405" progId="TCLayout.ActiveDocument.1">
                  <p:embed/>
                  <p:pic>
                    <p:nvPicPr>
                      <p:cNvPr id="46" name="think-cell data - do not delete" hidden="1">
                        <a:extLst>
                          <a:ext uri="{FF2B5EF4-FFF2-40B4-BE49-F238E27FC236}">
                            <a16:creationId xmlns:a16="http://schemas.microsoft.com/office/drawing/2014/main" id="{6AA97076-71CD-101A-8442-E045A454EC90}"/>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graphicFrame>
        <p:nvGraphicFramePr>
          <p:cNvPr id="5" name="Chart 4">
            <a:extLst>
              <a:ext uri="{FF2B5EF4-FFF2-40B4-BE49-F238E27FC236}">
                <a16:creationId xmlns:a16="http://schemas.microsoft.com/office/drawing/2014/main" id="{14E4218D-28F2-2625-3FCA-6C7C37B28E73}"/>
              </a:ext>
            </a:extLst>
          </p:cNvPr>
          <p:cNvGraphicFramePr/>
          <p:nvPr>
            <p:custDataLst>
              <p:tags r:id="rId2"/>
            </p:custDataLst>
          </p:nvPr>
        </p:nvGraphicFramePr>
        <p:xfrm>
          <a:off x="3716548" y="1457843"/>
          <a:ext cx="3305175" cy="4146550"/>
        </p:xfrm>
        <a:graphic>
          <a:graphicData uri="http://schemas.openxmlformats.org/drawingml/2006/chart">
            <c:chart xmlns:c="http://schemas.openxmlformats.org/drawingml/2006/chart" xmlns:r="http://schemas.openxmlformats.org/officeDocument/2006/relationships" r:id="rId49"/>
          </a:graphicData>
        </a:graphic>
      </p:graphicFrame>
      <p:cxnSp>
        <p:nvCxnSpPr>
          <p:cNvPr id="7" name="Straight Connector 6">
            <a:extLst>
              <a:ext uri="{FF2B5EF4-FFF2-40B4-BE49-F238E27FC236}">
                <a16:creationId xmlns:a16="http://schemas.microsoft.com/office/drawing/2014/main" id="{532AE86B-E9F8-5365-FA08-2D1D142EA945}"/>
              </a:ext>
            </a:extLst>
          </p:cNvPr>
          <p:cNvCxnSpPr/>
          <p:nvPr>
            <p:custDataLst>
              <p:tags r:id="rId3"/>
            </p:custDataLst>
          </p:nvPr>
        </p:nvCxnSpPr>
        <p:spPr bwMode="gray">
          <a:xfrm>
            <a:off x="5191537" y="4388368"/>
            <a:ext cx="0" cy="103188"/>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2485F783-1020-235D-2FA3-122F8AEB264E}"/>
              </a:ext>
            </a:extLst>
          </p:cNvPr>
          <p:cNvCxnSpPr/>
          <p:nvPr>
            <p:custDataLst>
              <p:tags r:id="rId4"/>
            </p:custDataLst>
          </p:nvPr>
        </p:nvCxnSpPr>
        <p:spPr bwMode="gray">
          <a:xfrm>
            <a:off x="4731757" y="4035943"/>
            <a:ext cx="0" cy="103188"/>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63B1E899-34D1-8CC1-1E87-B2AF08E4E4D7}"/>
              </a:ext>
            </a:extLst>
          </p:cNvPr>
          <p:cNvCxnSpPr/>
          <p:nvPr>
            <p:custDataLst>
              <p:tags r:id="rId5"/>
            </p:custDataLst>
          </p:nvPr>
        </p:nvCxnSpPr>
        <p:spPr bwMode="gray">
          <a:xfrm>
            <a:off x="5409466" y="2589866"/>
            <a:ext cx="0" cy="103188"/>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79081B62-89C6-BE1E-0F92-50F126EAE707}"/>
              </a:ext>
            </a:extLst>
          </p:cNvPr>
          <p:cNvCxnSpPr/>
          <p:nvPr>
            <p:custDataLst>
              <p:tags r:id="rId6"/>
            </p:custDataLst>
          </p:nvPr>
        </p:nvCxnSpPr>
        <p:spPr bwMode="gray">
          <a:xfrm>
            <a:off x="4969863" y="2221431"/>
            <a:ext cx="0" cy="103188"/>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47740928-2501-0D0E-A9E4-2A51CDBBA74D}"/>
              </a:ext>
            </a:extLst>
          </p:cNvPr>
          <p:cNvCxnSpPr/>
          <p:nvPr>
            <p:custDataLst>
              <p:tags r:id="rId7"/>
            </p:custDataLst>
          </p:nvPr>
        </p:nvCxnSpPr>
        <p:spPr bwMode="gray">
          <a:xfrm>
            <a:off x="4964275" y="3680882"/>
            <a:ext cx="0" cy="103188"/>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D54F80C4-9FE8-B13B-833D-2FF77361C2F7}"/>
              </a:ext>
            </a:extLst>
          </p:cNvPr>
          <p:cNvCxnSpPr/>
          <p:nvPr>
            <p:custDataLst>
              <p:tags r:id="rId8"/>
            </p:custDataLst>
          </p:nvPr>
        </p:nvCxnSpPr>
        <p:spPr bwMode="gray">
          <a:xfrm>
            <a:off x="4721962" y="1859481"/>
            <a:ext cx="0" cy="103188"/>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B65B237F-74B5-C0EA-56A1-CA9EF02BAC40}"/>
              </a:ext>
            </a:extLst>
          </p:cNvPr>
          <p:cNvCxnSpPr/>
          <p:nvPr>
            <p:custDataLst>
              <p:tags r:id="rId9"/>
            </p:custDataLst>
          </p:nvPr>
        </p:nvCxnSpPr>
        <p:spPr bwMode="gray">
          <a:xfrm>
            <a:off x="6939173" y="5121794"/>
            <a:ext cx="0" cy="103188"/>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D948B564-F9F2-5D85-FF2D-F774B0F7F2E3}"/>
              </a:ext>
            </a:extLst>
          </p:cNvPr>
          <p:cNvCxnSpPr>
            <a:cxnSpLocks/>
          </p:cNvCxnSpPr>
          <p:nvPr>
            <p:custDataLst>
              <p:tags r:id="rId10"/>
            </p:custDataLst>
          </p:nvPr>
        </p:nvCxnSpPr>
        <p:spPr bwMode="gray">
          <a:xfrm>
            <a:off x="5931737" y="4745555"/>
            <a:ext cx="0" cy="103188"/>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F2B95712-4B02-C0F9-1665-F7842CC2C52A}"/>
              </a:ext>
            </a:extLst>
          </p:cNvPr>
          <p:cNvCxnSpPr/>
          <p:nvPr>
            <p:custDataLst>
              <p:tags r:id="rId11"/>
            </p:custDataLst>
          </p:nvPr>
        </p:nvCxnSpPr>
        <p:spPr bwMode="gray">
          <a:xfrm>
            <a:off x="5084973" y="3310725"/>
            <a:ext cx="0" cy="103188"/>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8E1EB50A-DC79-617D-9E2B-B779F2874A67}"/>
              </a:ext>
            </a:extLst>
          </p:cNvPr>
          <p:cNvCxnSpPr/>
          <p:nvPr>
            <p:custDataLst>
              <p:tags r:id="rId12"/>
            </p:custDataLst>
          </p:nvPr>
        </p:nvCxnSpPr>
        <p:spPr bwMode="gray">
          <a:xfrm>
            <a:off x="5087675" y="2955260"/>
            <a:ext cx="0" cy="103188"/>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 name="Rectangle 16">
            <a:extLst>
              <a:ext uri="{FF2B5EF4-FFF2-40B4-BE49-F238E27FC236}">
                <a16:creationId xmlns:a16="http://schemas.microsoft.com/office/drawing/2014/main" id="{97838480-D715-5CE5-DFC1-E2F97CEFC3D1}"/>
              </a:ext>
            </a:extLst>
          </p:cNvPr>
          <p:cNvSpPr/>
          <p:nvPr>
            <p:custDataLst>
              <p:tags r:id="rId13"/>
            </p:custDataLst>
          </p:nvPr>
        </p:nvSpPr>
        <p:spPr bwMode="auto">
          <a:xfrm>
            <a:off x="5936822" y="4848743"/>
            <a:ext cx="1002352" cy="258763"/>
          </a:xfrm>
          <a:prstGeom prst="rect">
            <a:avLst/>
          </a:prstGeom>
          <a:noFill/>
          <a:ln w="9525" cap="sq" algn="ctr">
            <a:solidFill>
              <a:srgbClr val="7F7F7F"/>
            </a:solidFill>
            <a:prstDash val="lgDash"/>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a:ln>
                <a:noFill/>
              </a:ln>
              <a:solidFill>
                <a:srgbClr val="051C2C"/>
              </a:solidFill>
              <a:effectLst/>
              <a:uLnTx/>
              <a:uFillTx/>
              <a:latin typeface="Bahnschrift"/>
              <a:ea typeface="+mn-ea"/>
              <a:cs typeface="+mn-cs"/>
            </a:endParaRPr>
          </a:p>
        </p:txBody>
      </p:sp>
      <p:cxnSp>
        <p:nvCxnSpPr>
          <p:cNvPr id="18" name="Straight Connector 17">
            <a:extLst>
              <a:ext uri="{FF2B5EF4-FFF2-40B4-BE49-F238E27FC236}">
                <a16:creationId xmlns:a16="http://schemas.microsoft.com/office/drawing/2014/main" id="{E362FAC6-8669-9B57-0D33-B44B42ADB24E}"/>
              </a:ext>
            </a:extLst>
          </p:cNvPr>
          <p:cNvCxnSpPr>
            <a:cxnSpLocks/>
          </p:cNvCxnSpPr>
          <p:nvPr>
            <p:custDataLst>
              <p:tags r:id="rId14"/>
            </p:custDataLst>
          </p:nvPr>
        </p:nvCxnSpPr>
        <p:spPr bwMode="gray">
          <a:xfrm>
            <a:off x="5250678" y="3168374"/>
            <a:ext cx="2553683" cy="2170906"/>
          </a:xfrm>
          <a:prstGeom prst="line">
            <a:avLst/>
          </a:prstGeom>
          <a:ln w="19050" cap="flat" cmpd="sng" algn="ctr">
            <a:solidFill>
              <a:schemeClr val="accent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9" name="Text Placeholder 2">
            <a:extLst>
              <a:ext uri="{FF2B5EF4-FFF2-40B4-BE49-F238E27FC236}">
                <a16:creationId xmlns:a16="http://schemas.microsoft.com/office/drawing/2014/main" id="{46153BE5-4B15-4482-85FE-3F076DB72CA9}"/>
              </a:ext>
            </a:extLst>
          </p:cNvPr>
          <p:cNvSpPr>
            <a:spLocks noGrp="1"/>
          </p:cNvSpPr>
          <p:nvPr>
            <p:custDataLst>
              <p:tags r:id="rId15"/>
            </p:custDataLst>
          </p:nvPr>
        </p:nvSpPr>
        <p:spPr bwMode="auto">
          <a:xfrm>
            <a:off x="771648" y="2002355"/>
            <a:ext cx="2829013"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de-DE" altLang="en-US"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Fossile Energien</a:t>
            </a:r>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20" name="Text Placeholder 2">
            <a:extLst>
              <a:ext uri="{FF2B5EF4-FFF2-40B4-BE49-F238E27FC236}">
                <a16:creationId xmlns:a16="http://schemas.microsoft.com/office/drawing/2014/main" id="{1AD495DF-1E9E-E891-62C3-60AB2D9DC512}"/>
              </a:ext>
            </a:extLst>
          </p:cNvPr>
          <p:cNvSpPr>
            <a:spLocks noGrp="1"/>
          </p:cNvSpPr>
          <p:nvPr>
            <p:custDataLst>
              <p:tags r:id="rId16"/>
            </p:custDataLst>
          </p:nvPr>
        </p:nvSpPr>
        <p:spPr bwMode="auto">
          <a:xfrm>
            <a:off x="771648" y="3088205"/>
            <a:ext cx="2829013"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de-DE" altLang="en-US"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Gesamtstromverbrauch heute</a:t>
            </a:r>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21" name="Text Placeholder 2">
            <a:extLst>
              <a:ext uri="{FF2B5EF4-FFF2-40B4-BE49-F238E27FC236}">
                <a16:creationId xmlns:a16="http://schemas.microsoft.com/office/drawing/2014/main" id="{4C7DCA30-553A-230F-CA9D-7C0AAC5741E6}"/>
              </a:ext>
            </a:extLst>
          </p:cNvPr>
          <p:cNvSpPr>
            <a:spLocks noGrp="1"/>
          </p:cNvSpPr>
          <p:nvPr>
            <p:custDataLst>
              <p:tags r:id="rId17"/>
            </p:custDataLst>
          </p:nvPr>
        </p:nvSpPr>
        <p:spPr bwMode="auto">
          <a:xfrm>
            <a:off x="771648" y="1640405"/>
            <a:ext cx="2829013"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None/>
              <a:tabLst/>
              <a:defRPr/>
            </a:pP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Erneuerbare Energien (EE)</a:t>
            </a:r>
          </a:p>
        </p:txBody>
      </p:sp>
      <p:sp>
        <p:nvSpPr>
          <p:cNvPr id="22" name="Text Placeholder 2">
            <a:extLst>
              <a:ext uri="{FF2B5EF4-FFF2-40B4-BE49-F238E27FC236}">
                <a16:creationId xmlns:a16="http://schemas.microsoft.com/office/drawing/2014/main" id="{FBE3F7E1-D368-26C3-4039-5C6647DBB9EA}"/>
              </a:ext>
            </a:extLst>
          </p:cNvPr>
          <p:cNvSpPr>
            <a:spLocks noGrp="1"/>
          </p:cNvSpPr>
          <p:nvPr>
            <p:custDataLst>
              <p:tags r:id="rId18"/>
            </p:custDataLst>
          </p:nvPr>
        </p:nvSpPr>
        <p:spPr bwMode="auto">
          <a:xfrm>
            <a:off x="771648" y="3369193"/>
            <a:ext cx="2829013" cy="3206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de-DE" altLang="en-US"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Rückgang Stromimportüberschuss </a:t>
            </a:r>
            <a:br>
              <a:rPr kumimoji="0" lang="de-DE" altLang="en-US"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br>
            <a:r>
              <a:rPr kumimoji="0" lang="de-DE" altLang="en-US"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v.a. Deutschland und Tschechien)</a:t>
            </a:r>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23" name="Text Placeholder 2">
            <a:extLst>
              <a:ext uri="{FF2B5EF4-FFF2-40B4-BE49-F238E27FC236}">
                <a16:creationId xmlns:a16="http://schemas.microsoft.com/office/drawing/2014/main" id="{7F101E52-1E2B-6EE0-D1E3-E986516D9887}"/>
              </a:ext>
            </a:extLst>
          </p:cNvPr>
          <p:cNvSpPr>
            <a:spLocks noGrp="1"/>
          </p:cNvSpPr>
          <p:nvPr>
            <p:custDataLst>
              <p:tags r:id="rId19"/>
            </p:custDataLst>
          </p:nvPr>
        </p:nvSpPr>
        <p:spPr bwMode="gray">
          <a:xfrm>
            <a:off x="5408138" y="4509018"/>
            <a:ext cx="358184"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de-DE" altLang="en-US" sz="1200" b="0" i="0" u="none" strike="noStrike" kern="1200" cap="none" spc="0" normalizeH="0" baseline="0" noProof="0" dirty="0">
                <a:ln>
                  <a:noFill/>
                </a:ln>
                <a:solidFill>
                  <a:srgbClr val="012D44"/>
                </a:solidFill>
                <a:effectLst/>
                <a:uLnTx/>
                <a:uFillTx/>
                <a:latin typeface="Bahnschrift"/>
                <a:ea typeface="+mn-ea"/>
                <a:cs typeface="Arial" panose="020B0604020202020204" pitchFamily="34" charset="0"/>
              </a:rPr>
              <a:t>~30-50</a:t>
            </a:r>
            <a:endParaRPr kumimoji="0" lang="de-DE" sz="1200" b="0" i="0" u="none" strike="noStrike" kern="1200" cap="none" spc="0" normalizeH="0" baseline="0" noProof="0" dirty="0">
              <a:ln>
                <a:noFill/>
              </a:ln>
              <a:solidFill>
                <a:srgbClr val="012D44"/>
              </a:solidFill>
              <a:effectLst/>
              <a:uLnTx/>
              <a:uFillTx/>
              <a:latin typeface="Bahnschrift"/>
              <a:ea typeface="+mn-ea"/>
              <a:cs typeface="Arial" panose="020B0604020202020204" pitchFamily="34" charset="0"/>
            </a:endParaRPr>
          </a:p>
        </p:txBody>
      </p:sp>
      <p:sp>
        <p:nvSpPr>
          <p:cNvPr id="24" name="Text Placeholder 2">
            <a:extLst>
              <a:ext uri="{FF2B5EF4-FFF2-40B4-BE49-F238E27FC236}">
                <a16:creationId xmlns:a16="http://schemas.microsoft.com/office/drawing/2014/main" id="{C0639AE8-9C6C-6024-27DF-A786AA29524F}"/>
              </a:ext>
            </a:extLst>
          </p:cNvPr>
          <p:cNvSpPr>
            <a:spLocks noGrp="1"/>
          </p:cNvSpPr>
          <p:nvPr>
            <p:custDataLst>
              <p:tags r:id="rId20"/>
            </p:custDataLst>
          </p:nvPr>
        </p:nvSpPr>
        <p:spPr bwMode="auto">
          <a:xfrm>
            <a:off x="771648" y="4454592"/>
            <a:ext cx="2829013" cy="32316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de-DE" altLang="en-US"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Weiterer möglicher techn. </a:t>
            </a:r>
            <a:r>
              <a:rPr kumimoji="0" lang="de-DE" altLang="en-US" sz="1200" b="0" i="0" u="none" strike="noStrike" kern="1200" cap="none" spc="0" normalizeH="0" baseline="0" noProof="0" dirty="0" err="1">
                <a:ln>
                  <a:noFill/>
                </a:ln>
                <a:solidFill>
                  <a:srgbClr val="000000"/>
                </a:solidFill>
                <a:effectLst/>
                <a:uLnTx/>
                <a:uFillTx/>
                <a:latin typeface="Bahnschrift"/>
                <a:ea typeface="+mn-ea"/>
                <a:cs typeface="Arial" panose="020B0604020202020204" pitchFamily="34" charset="0"/>
              </a:rPr>
              <a:t>wirtschaftl</a:t>
            </a:r>
            <a:r>
              <a:rPr kumimoji="0" lang="de-DE" altLang="en-US"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 </a:t>
            </a:r>
            <a:br>
              <a:rPr kumimoji="0" lang="de-DE" altLang="en-US"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br>
            <a:r>
              <a:rPr kumimoji="0" lang="de-DE" altLang="en-US"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EE-Ausbau</a:t>
            </a:r>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25" name="Text Placeholder 2">
            <a:extLst>
              <a:ext uri="{FF2B5EF4-FFF2-40B4-BE49-F238E27FC236}">
                <a16:creationId xmlns:a16="http://schemas.microsoft.com/office/drawing/2014/main" id="{609C584B-7F70-8FC4-B097-2441D4D1791D}"/>
              </a:ext>
            </a:extLst>
          </p:cNvPr>
          <p:cNvSpPr>
            <a:spLocks noGrp="1"/>
          </p:cNvSpPr>
          <p:nvPr>
            <p:custDataLst>
              <p:tags r:id="rId21"/>
            </p:custDataLst>
          </p:nvPr>
        </p:nvSpPr>
        <p:spPr bwMode="auto">
          <a:xfrm>
            <a:off x="771648" y="4174055"/>
            <a:ext cx="2829013"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18B59718-AE7F-48DE-87B4-8290E760BEB8}" type="datetime'Ge''pla''''nt''e''r'' ''''''A''usbau E''E'''' b''i''s 2''030'">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Geplanter Ausbau EE bis 2030</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26" name="Text Placeholder 2">
            <a:extLst>
              <a:ext uri="{FF2B5EF4-FFF2-40B4-BE49-F238E27FC236}">
                <a16:creationId xmlns:a16="http://schemas.microsoft.com/office/drawing/2014/main" id="{3D8C93F6-AA92-167D-13BD-9C4874811718}"/>
              </a:ext>
            </a:extLst>
          </p:cNvPr>
          <p:cNvSpPr>
            <a:spLocks noGrp="1"/>
          </p:cNvSpPr>
          <p:nvPr>
            <p:custDataLst>
              <p:tags r:id="rId22"/>
            </p:custDataLst>
          </p:nvPr>
        </p:nvSpPr>
        <p:spPr bwMode="gray">
          <a:xfrm>
            <a:off x="6052235" y="4870968"/>
            <a:ext cx="7715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FFFFFF"/>
              </a:buClr>
              <a:buSzTx/>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bis zu ~80</a:t>
            </a:r>
          </a:p>
        </p:txBody>
      </p:sp>
      <p:sp>
        <p:nvSpPr>
          <p:cNvPr id="27" name="Text Placeholder 2">
            <a:extLst>
              <a:ext uri="{FF2B5EF4-FFF2-40B4-BE49-F238E27FC236}">
                <a16:creationId xmlns:a16="http://schemas.microsoft.com/office/drawing/2014/main" id="{C93F8445-131D-FD57-E70F-5D46C2BF2425}"/>
              </a:ext>
            </a:extLst>
          </p:cNvPr>
          <p:cNvSpPr>
            <a:spLocks noGrp="1"/>
          </p:cNvSpPr>
          <p:nvPr>
            <p:custDataLst>
              <p:tags r:id="rId23"/>
            </p:custDataLst>
          </p:nvPr>
        </p:nvSpPr>
        <p:spPr bwMode="auto">
          <a:xfrm>
            <a:off x="756332" y="4924099"/>
            <a:ext cx="2829013"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de-DE" altLang="en-US"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Lücke nach Realisierung gesamten inländ. </a:t>
            </a:r>
            <a:br>
              <a:rPr kumimoji="0" lang="de-DE" altLang="en-US"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br>
            <a:r>
              <a:rPr kumimoji="0" lang="de-DE" altLang="en-US"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Ausbaupotenzials</a:t>
            </a:r>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28" name="Text Placeholder 4">
            <a:extLst>
              <a:ext uri="{FF2B5EF4-FFF2-40B4-BE49-F238E27FC236}">
                <a16:creationId xmlns:a16="http://schemas.microsoft.com/office/drawing/2014/main" id="{D7EE1305-2C6B-C9DC-17FC-1408FA71F690}"/>
              </a:ext>
            </a:extLst>
          </p:cNvPr>
          <p:cNvSpPr>
            <a:spLocks noGrp="1"/>
          </p:cNvSpPr>
          <p:nvPr>
            <p:custDataLst>
              <p:tags r:id="rId24"/>
            </p:custDataLst>
          </p:nvPr>
        </p:nvSpPr>
        <p:spPr bwMode="gray">
          <a:xfrm>
            <a:off x="6343861" y="5232918"/>
            <a:ext cx="4667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tx1"/>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Trebuchet MS" panose="020B0603020202020204" pitchFamily="34" charset="0"/>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chemeClr val="tx1"/>
              </a:buClr>
              <a:buSzPct val="100000"/>
              <a:buFont typeface="Trebuchet MS" panose="020B0603020202020204" pitchFamily="34" charset="0"/>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chemeClr val="tx1"/>
              </a:buClr>
              <a:buSzPct val="100000"/>
              <a:buFont typeface="Trebuchet MS" panose="020B0603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12D44"/>
              </a:buClr>
              <a:buSzPct val="100000"/>
              <a:buFont typeface="Segoe UI" panose="020B0502040204020203" pitchFamily="34" charset="0"/>
              <a:buChar char="​"/>
              <a:tabLst/>
              <a:defRPr/>
            </a:pPr>
            <a:r>
              <a:rPr kumimoji="0" lang="de-DE" altLang="en-US" sz="1000" b="0" i="0" u="none" strike="noStrike" kern="1200" cap="none" spc="0" normalizeH="0" baseline="0" noProof="0" dirty="0">
                <a:ln>
                  <a:noFill/>
                </a:ln>
                <a:solidFill>
                  <a:srgbClr val="FFFFFF"/>
                </a:solidFill>
                <a:effectLst/>
                <a:uLnTx/>
                <a:uFillTx/>
                <a:latin typeface="Bahnschrift"/>
                <a:ea typeface="+mn-ea"/>
                <a:cs typeface="Arial" panose="020B0604020202020204" pitchFamily="34" charset="0"/>
              </a:rPr>
              <a:t>20-40</a:t>
            </a:r>
            <a:endParaRPr kumimoji="0" lang="de-DE" sz="1000" b="0" i="0" u="none" strike="noStrike" kern="1200" cap="none" spc="0" normalizeH="0" baseline="0" noProof="0" dirty="0">
              <a:ln>
                <a:noFill/>
              </a:ln>
              <a:solidFill>
                <a:srgbClr val="FFFFFF"/>
              </a:solidFill>
              <a:effectLst/>
              <a:uLnTx/>
              <a:uFillTx/>
              <a:latin typeface="Bahnschrift"/>
              <a:ea typeface="+mn-ea"/>
              <a:cs typeface="Arial" panose="020B0604020202020204" pitchFamily="34" charset="0"/>
            </a:endParaRPr>
          </a:p>
        </p:txBody>
      </p:sp>
      <p:sp>
        <p:nvSpPr>
          <p:cNvPr id="29" name="Text Placeholder 2">
            <a:extLst>
              <a:ext uri="{FF2B5EF4-FFF2-40B4-BE49-F238E27FC236}">
                <a16:creationId xmlns:a16="http://schemas.microsoft.com/office/drawing/2014/main" id="{146A2CDC-0830-9E78-7246-D4BAAF34BC3F}"/>
              </a:ext>
            </a:extLst>
          </p:cNvPr>
          <p:cNvSpPr>
            <a:spLocks noGrp="1"/>
          </p:cNvSpPr>
          <p:nvPr>
            <p:custDataLst>
              <p:tags r:id="rId25"/>
            </p:custDataLst>
          </p:nvPr>
        </p:nvSpPr>
        <p:spPr bwMode="auto">
          <a:xfrm>
            <a:off x="771648" y="5259905"/>
            <a:ext cx="2829013"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de-DE" altLang="en-US"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Gesamtstromverbrauch 2040</a:t>
            </a:r>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30" name="Text Placeholder 2">
            <a:extLst>
              <a:ext uri="{FF2B5EF4-FFF2-40B4-BE49-F238E27FC236}">
                <a16:creationId xmlns:a16="http://schemas.microsoft.com/office/drawing/2014/main" id="{25525E59-F2EB-72F7-5FE6-245CE3CE9E49}"/>
              </a:ext>
            </a:extLst>
          </p:cNvPr>
          <p:cNvSpPr>
            <a:spLocks noGrp="1"/>
          </p:cNvSpPr>
          <p:nvPr>
            <p:custDataLst>
              <p:tags r:id="rId26"/>
            </p:custDataLst>
          </p:nvPr>
        </p:nvSpPr>
        <p:spPr bwMode="auto">
          <a:xfrm>
            <a:off x="771648" y="3812105"/>
            <a:ext cx="2829013"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de-DE" altLang="en-US"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Fossiler Phase-out zwischen 2030-2040</a:t>
            </a:r>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31" name="Text Placeholder 2">
            <a:extLst>
              <a:ext uri="{FF2B5EF4-FFF2-40B4-BE49-F238E27FC236}">
                <a16:creationId xmlns:a16="http://schemas.microsoft.com/office/drawing/2014/main" id="{B4954518-08FE-EC5B-8E51-FE88B94945FA}"/>
              </a:ext>
            </a:extLst>
          </p:cNvPr>
          <p:cNvSpPr>
            <a:spLocks noGrp="1"/>
          </p:cNvSpPr>
          <p:nvPr>
            <p:custDataLst>
              <p:tags r:id="rId27"/>
            </p:custDataLst>
          </p:nvPr>
        </p:nvSpPr>
        <p:spPr bwMode="auto">
          <a:xfrm>
            <a:off x="771648" y="2726255"/>
            <a:ext cx="2829013"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51EAE296-C8DE-4856-99EC-412085E0AAC5}" type="datetime'S''''''t''r''''''o''m''''e''x''''''''''p''''or''''''te'''''''">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Stromexporte</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32" name="Text Placeholder 2">
            <a:extLst>
              <a:ext uri="{FF2B5EF4-FFF2-40B4-BE49-F238E27FC236}">
                <a16:creationId xmlns:a16="http://schemas.microsoft.com/office/drawing/2014/main" id="{E7AD153E-4953-BAA8-C00D-479DF74F4CF6}"/>
              </a:ext>
            </a:extLst>
          </p:cNvPr>
          <p:cNvSpPr>
            <a:spLocks noGrp="1"/>
          </p:cNvSpPr>
          <p:nvPr>
            <p:custDataLst>
              <p:tags r:id="rId28"/>
            </p:custDataLst>
          </p:nvPr>
        </p:nvSpPr>
        <p:spPr bwMode="auto">
          <a:xfrm>
            <a:off x="771648" y="2364305"/>
            <a:ext cx="2829013"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9E11F6A4-7F78-4A7A-A015-C7026E55D77A}" type="datetime'''''''S''''t''''''''''''''r''o''mi''mp''or''''te'''''">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Stromimporte</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33" name="Text Placeholder 2">
            <a:extLst>
              <a:ext uri="{FF2B5EF4-FFF2-40B4-BE49-F238E27FC236}">
                <a16:creationId xmlns:a16="http://schemas.microsoft.com/office/drawing/2014/main" id="{ADE8AAB1-03E5-07FE-53D2-475497F0A864}"/>
              </a:ext>
            </a:extLst>
          </p:cNvPr>
          <p:cNvSpPr>
            <a:spLocks noGrp="1"/>
          </p:cNvSpPr>
          <p:nvPr>
            <p:custDataLst>
              <p:tags r:id="rId29"/>
            </p:custDataLst>
          </p:nvPr>
        </p:nvSpPr>
        <p:spPr bwMode="gray">
          <a:xfrm>
            <a:off x="6964573" y="5232918"/>
            <a:ext cx="6477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None/>
              <a:tabLst/>
              <a:defRPr/>
            </a:pPr>
            <a:r>
              <a:rPr kumimoji="0" lang="de-DE" sz="1200" b="0" i="0" u="none" strike="noStrike" kern="1200" cap="none" spc="0" normalizeH="0" baseline="0" noProof="0" dirty="0">
                <a:ln>
                  <a:noFill/>
                </a:ln>
                <a:solidFill>
                  <a:srgbClr val="012D44"/>
                </a:solidFill>
                <a:effectLst/>
                <a:uLnTx/>
                <a:uFillTx/>
                <a:latin typeface="Bahnschrift"/>
                <a:ea typeface="+mn-ea"/>
                <a:cs typeface="Arial" panose="020B0604020202020204" pitchFamily="34" charset="0"/>
              </a:rPr>
              <a:t>~120-180</a:t>
            </a:r>
          </a:p>
        </p:txBody>
      </p:sp>
      <p:sp>
        <p:nvSpPr>
          <p:cNvPr id="34" name="Text Placeholder 2">
            <a:extLst>
              <a:ext uri="{FF2B5EF4-FFF2-40B4-BE49-F238E27FC236}">
                <a16:creationId xmlns:a16="http://schemas.microsoft.com/office/drawing/2014/main" id="{20D84887-BEFA-4A48-08B5-DBB93EC8EA95}"/>
              </a:ext>
            </a:extLst>
          </p:cNvPr>
          <p:cNvSpPr>
            <a:spLocks noGrp="1"/>
          </p:cNvSpPr>
          <p:nvPr>
            <p:custDataLst>
              <p:tags r:id="rId30"/>
            </p:custDataLst>
          </p:nvPr>
        </p:nvSpPr>
        <p:spPr bwMode="gray">
          <a:xfrm>
            <a:off x="4948621" y="3437860"/>
            <a:ext cx="14726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de-DE" altLang="en-US" sz="1000" b="0" i="0" u="none" strike="noStrike" kern="1200" cap="none" spc="0" normalizeH="0" baseline="0" noProof="0" dirty="0">
                <a:ln>
                  <a:noFill/>
                </a:ln>
                <a:solidFill>
                  <a:srgbClr val="FFFFFF"/>
                </a:solidFill>
                <a:effectLst/>
                <a:uLnTx/>
                <a:uFillTx/>
                <a:latin typeface="Bahnschrift"/>
                <a:ea typeface="+mn-ea"/>
                <a:cs typeface="Arial" panose="020B0604020202020204" pitchFamily="34" charset="0"/>
              </a:rPr>
              <a:t>7</a:t>
            </a:r>
            <a:endParaRPr kumimoji="0" lang="de-DE" sz="1000" b="0" i="0" u="none" strike="noStrike" kern="1200" cap="none" spc="0" normalizeH="0" baseline="0" noProof="0" dirty="0">
              <a:ln>
                <a:noFill/>
              </a:ln>
              <a:solidFill>
                <a:srgbClr val="FFFFFF"/>
              </a:solidFill>
              <a:effectLst/>
              <a:uLnTx/>
              <a:uFillTx/>
              <a:latin typeface="Bahnschrift"/>
              <a:ea typeface="+mn-ea"/>
              <a:cs typeface="Arial" panose="020B0604020202020204" pitchFamily="34" charset="0"/>
            </a:endParaRPr>
          </a:p>
        </p:txBody>
      </p:sp>
      <p:sp>
        <p:nvSpPr>
          <p:cNvPr id="35" name="Text Placeholder 2">
            <a:extLst>
              <a:ext uri="{FF2B5EF4-FFF2-40B4-BE49-F238E27FC236}">
                <a16:creationId xmlns:a16="http://schemas.microsoft.com/office/drawing/2014/main" id="{2891AB38-6A14-4D8C-6DD6-CA3B0E8CC0A6}"/>
              </a:ext>
            </a:extLst>
          </p:cNvPr>
          <p:cNvSpPr>
            <a:spLocks noGrp="1"/>
          </p:cNvSpPr>
          <p:nvPr>
            <p:custDataLst>
              <p:tags r:id="rId31"/>
            </p:custDataLst>
          </p:nvPr>
        </p:nvSpPr>
        <p:spPr bwMode="auto">
          <a:xfrm>
            <a:off x="5631254" y="3707881"/>
            <a:ext cx="1025942" cy="301625"/>
          </a:xfrm>
          <a:prstGeom prst="ellipse">
            <a:avLst/>
          </a:prstGeom>
          <a:solidFill>
            <a:schemeClr val="bg1"/>
          </a:solidFill>
          <a:ln>
            <a:solidFill>
              <a:schemeClr val="accent1"/>
            </a:solidFill>
          </a:ln>
          <a:effec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FFFFFF"/>
              </a:buClr>
              <a:buSzTx/>
              <a:buFont typeface="Segoe UI" panose="020B0502040204020203" pitchFamily="34" charset="0"/>
              <a:buChar char="​"/>
              <a:tabLst/>
              <a:defRPr/>
            </a:pPr>
            <a:r>
              <a:rPr kumimoji="0" lang="de-DE" sz="1200" b="0" i="0" u="none" strike="noStrike" kern="1200" cap="none" spc="0" normalizeH="0" baseline="0" noProof="0" dirty="0">
                <a:ln>
                  <a:noFill/>
                </a:ln>
                <a:solidFill>
                  <a:prstClr val="black"/>
                </a:solidFill>
                <a:effectLst/>
                <a:uLnTx/>
                <a:uFillTx/>
                <a:latin typeface="Bahnschrift"/>
                <a:ea typeface="+mn-ea"/>
                <a:cs typeface="Arial" panose="020B0604020202020204" pitchFamily="34" charset="0"/>
              </a:rPr>
              <a:t>Ca. 2x - 3x</a:t>
            </a:r>
          </a:p>
        </p:txBody>
      </p:sp>
      <p:sp>
        <p:nvSpPr>
          <p:cNvPr id="36" name="TextBox 35">
            <a:extLst>
              <a:ext uri="{FF2B5EF4-FFF2-40B4-BE49-F238E27FC236}">
                <a16:creationId xmlns:a16="http://schemas.microsoft.com/office/drawing/2014/main" id="{8A9802A1-A030-16C0-3032-7F501A215312}"/>
              </a:ext>
            </a:extLst>
          </p:cNvPr>
          <p:cNvSpPr txBox="1">
            <a:spLocks/>
          </p:cNvSpPr>
          <p:nvPr/>
        </p:nvSpPr>
        <p:spPr>
          <a:xfrm>
            <a:off x="759281" y="1172595"/>
            <a:ext cx="6967728" cy="246063"/>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de-DE" sz="16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Prognose Entwicklung Stromverbrauch Österreich bis 2040, </a:t>
            </a:r>
            <a:r>
              <a:rPr kumimoji="0" lang="de-DE" sz="16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in</a:t>
            </a:r>
            <a:r>
              <a:rPr kumimoji="0" lang="de-DE" sz="16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 </a:t>
            </a:r>
            <a:r>
              <a:rPr kumimoji="0" lang="de-DE" sz="16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TWh</a:t>
            </a:r>
          </a:p>
        </p:txBody>
      </p:sp>
      <p:sp>
        <p:nvSpPr>
          <p:cNvPr id="37" name="TextBox 36">
            <a:extLst>
              <a:ext uri="{FF2B5EF4-FFF2-40B4-BE49-F238E27FC236}">
                <a16:creationId xmlns:a16="http://schemas.microsoft.com/office/drawing/2014/main" id="{D593A711-44E4-0DF4-AB91-83BFF23E19D7}"/>
              </a:ext>
            </a:extLst>
          </p:cNvPr>
          <p:cNvSpPr txBox="1">
            <a:spLocks/>
          </p:cNvSpPr>
          <p:nvPr/>
        </p:nvSpPr>
        <p:spPr>
          <a:xfrm>
            <a:off x="8174170" y="1172595"/>
            <a:ext cx="3667639" cy="246221"/>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de-DE" sz="16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Wichtige Erkenntnisse</a:t>
            </a:r>
          </a:p>
        </p:txBody>
      </p:sp>
      <p:sp>
        <p:nvSpPr>
          <p:cNvPr id="39" name="TextBox 38">
            <a:extLst>
              <a:ext uri="{FF2B5EF4-FFF2-40B4-BE49-F238E27FC236}">
                <a16:creationId xmlns:a16="http://schemas.microsoft.com/office/drawing/2014/main" id="{A612A671-DB44-F4A2-1BC1-0457A6DEB1B3}"/>
              </a:ext>
            </a:extLst>
          </p:cNvPr>
          <p:cNvSpPr txBox="1"/>
          <p:nvPr/>
        </p:nvSpPr>
        <p:spPr>
          <a:xfrm>
            <a:off x="5819997" y="5570869"/>
            <a:ext cx="2115314"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tx1"/>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3pPr>
            <a:lvl4pPr marL="548640" lvl="3"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4pPr>
            <a:lvl5pPr marL="731520" lvl="4"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12D44"/>
              </a:buClr>
              <a:buSzPct val="100000"/>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Strombedarf für H</a:t>
            </a:r>
            <a:r>
              <a:rPr kumimoji="0" lang="de-DE" sz="1200" b="0" i="0" u="none" strike="noStrike" kern="1200" cap="none" spc="0" normalizeH="0" baseline="-25000" noProof="0" dirty="0">
                <a:ln>
                  <a:noFill/>
                </a:ln>
                <a:solidFill>
                  <a:srgbClr val="000000"/>
                </a:solidFill>
                <a:effectLst/>
                <a:uLnTx/>
                <a:uFillTx/>
                <a:latin typeface="Bahnschrift"/>
                <a:ea typeface="+mn-ea"/>
                <a:cs typeface="Arial" panose="020B0604020202020204" pitchFamily="34" charset="0"/>
              </a:rPr>
              <a:t>2</a:t>
            </a: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 Produktion (im Extremfall bei lokaler Produktion)</a:t>
            </a:r>
          </a:p>
        </p:txBody>
      </p:sp>
      <p:sp>
        <p:nvSpPr>
          <p:cNvPr id="40" name="5. Source">
            <a:extLst>
              <a:ext uri="{FF2B5EF4-FFF2-40B4-BE49-F238E27FC236}">
                <a16:creationId xmlns:a16="http://schemas.microsoft.com/office/drawing/2014/main" id="{957DD234-B621-B778-FB9D-CC8F6B400278}"/>
              </a:ext>
            </a:extLst>
          </p:cNvPr>
          <p:cNvSpPr txBox="1">
            <a:spLocks/>
          </p:cNvSpPr>
          <p:nvPr>
            <p:custDataLst>
              <p:tags r:id="rId32"/>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800" b="0"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rPr>
              <a:t>Quelle: Bundesministerium für Digitalisierung und Wirtschaftsstandort, Statisitk Austria</a:t>
            </a:r>
          </a:p>
        </p:txBody>
      </p:sp>
      <p:sp>
        <p:nvSpPr>
          <p:cNvPr id="41" name="TrackerNumWhite 8">
            <a:extLst>
              <a:ext uri="{FF2B5EF4-FFF2-40B4-BE49-F238E27FC236}">
                <a16:creationId xmlns:a16="http://schemas.microsoft.com/office/drawing/2014/main" id="{976FD716-3863-A1FD-F008-526F38905809}"/>
              </a:ext>
            </a:extLst>
          </p:cNvPr>
          <p:cNvSpPr/>
          <p:nvPr>
            <p:custDataLst>
              <p:tags r:id="rId33"/>
            </p:custDataLst>
          </p:nvPr>
        </p:nvSpPr>
        <p:spPr>
          <a:xfrm>
            <a:off x="5195414" y="3424755"/>
            <a:ext cx="212724" cy="21272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300"/>
              </a:spcBef>
              <a:spcAft>
                <a:spcPts val="3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rPr>
              <a:t>A</a:t>
            </a:r>
          </a:p>
        </p:txBody>
      </p:sp>
      <p:sp>
        <p:nvSpPr>
          <p:cNvPr id="42" name="TrackerNumWhite 8">
            <a:extLst>
              <a:ext uri="{FF2B5EF4-FFF2-40B4-BE49-F238E27FC236}">
                <a16:creationId xmlns:a16="http://schemas.microsoft.com/office/drawing/2014/main" id="{F2283866-6172-5DCA-DFAD-935E3ECDFEC1}"/>
              </a:ext>
            </a:extLst>
          </p:cNvPr>
          <p:cNvSpPr/>
          <p:nvPr>
            <p:custDataLst>
              <p:tags r:id="rId34"/>
            </p:custDataLst>
          </p:nvPr>
        </p:nvSpPr>
        <p:spPr>
          <a:xfrm>
            <a:off x="5190121" y="3766102"/>
            <a:ext cx="212724" cy="21272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300"/>
              </a:spcBef>
              <a:spcAft>
                <a:spcPts val="3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rPr>
              <a:t>B</a:t>
            </a:r>
          </a:p>
        </p:txBody>
      </p:sp>
      <p:sp>
        <p:nvSpPr>
          <p:cNvPr id="43" name="TrackerNumWhite 8">
            <a:extLst>
              <a:ext uri="{FF2B5EF4-FFF2-40B4-BE49-F238E27FC236}">
                <a16:creationId xmlns:a16="http://schemas.microsoft.com/office/drawing/2014/main" id="{E9746A20-17C2-A774-C524-2F0C160AB7F5}"/>
              </a:ext>
            </a:extLst>
          </p:cNvPr>
          <p:cNvSpPr/>
          <p:nvPr>
            <p:custDataLst>
              <p:tags r:id="rId35"/>
            </p:custDataLst>
          </p:nvPr>
        </p:nvSpPr>
        <p:spPr>
          <a:xfrm>
            <a:off x="6078252" y="4484106"/>
            <a:ext cx="212724" cy="21272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300"/>
              </a:spcBef>
              <a:spcAft>
                <a:spcPts val="3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rPr>
              <a:t>C</a:t>
            </a:r>
          </a:p>
        </p:txBody>
      </p:sp>
      <p:sp>
        <p:nvSpPr>
          <p:cNvPr id="44" name="TrackerNumWhite 8">
            <a:extLst>
              <a:ext uri="{FF2B5EF4-FFF2-40B4-BE49-F238E27FC236}">
                <a16:creationId xmlns:a16="http://schemas.microsoft.com/office/drawing/2014/main" id="{6999D132-EDE3-E31D-8424-9283C6C16B27}"/>
              </a:ext>
            </a:extLst>
          </p:cNvPr>
          <p:cNvSpPr/>
          <p:nvPr>
            <p:custDataLst>
              <p:tags r:id="rId36"/>
            </p:custDataLst>
          </p:nvPr>
        </p:nvSpPr>
        <p:spPr>
          <a:xfrm>
            <a:off x="6981379" y="5036646"/>
            <a:ext cx="212724" cy="21272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300"/>
              </a:spcBef>
              <a:spcAft>
                <a:spcPts val="3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rPr>
              <a:t>D</a:t>
            </a:r>
          </a:p>
        </p:txBody>
      </p:sp>
      <p:cxnSp>
        <p:nvCxnSpPr>
          <p:cNvPr id="54" name="Straight Connector 53">
            <a:extLst>
              <a:ext uri="{FF2B5EF4-FFF2-40B4-BE49-F238E27FC236}">
                <a16:creationId xmlns:a16="http://schemas.microsoft.com/office/drawing/2014/main" id="{A7ED250D-70BD-DCE0-8FA3-9E13BBDD7175}"/>
              </a:ext>
            </a:extLst>
          </p:cNvPr>
          <p:cNvCxnSpPr>
            <a:cxnSpLocks/>
          </p:cNvCxnSpPr>
          <p:nvPr/>
        </p:nvCxnSpPr>
        <p:spPr>
          <a:xfrm>
            <a:off x="6013022" y="4124843"/>
            <a:ext cx="0" cy="620712"/>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A6ED44DD-03E7-C818-C13D-5DEDE109C145}"/>
              </a:ext>
            </a:extLst>
          </p:cNvPr>
          <p:cNvSpPr/>
          <p:nvPr>
            <p:custDataLst>
              <p:tags r:id="rId37"/>
            </p:custDataLst>
          </p:nvPr>
        </p:nvSpPr>
        <p:spPr bwMode="auto">
          <a:xfrm>
            <a:off x="5188871" y="4491042"/>
            <a:ext cx="738102" cy="258763"/>
          </a:xfrm>
          <a:prstGeom prst="rect">
            <a:avLst/>
          </a:prstGeom>
          <a:noFill/>
          <a:ln w="9525" cap="sq" algn="ctr">
            <a:solidFill>
              <a:srgbClr val="7F7F7F"/>
            </a:solidFill>
            <a:prstDash val="lgDash"/>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a:ln>
                <a:noFill/>
              </a:ln>
              <a:solidFill>
                <a:srgbClr val="051C2C"/>
              </a:solidFill>
              <a:effectLst/>
              <a:uLnTx/>
              <a:uFillTx/>
              <a:latin typeface="Bahnschrift"/>
              <a:ea typeface="+mn-ea"/>
              <a:cs typeface="+mn-cs"/>
            </a:endParaRPr>
          </a:p>
        </p:txBody>
      </p:sp>
      <p:sp>
        <p:nvSpPr>
          <p:cNvPr id="57" name="2. Slide Title">
            <a:extLst>
              <a:ext uri="{FF2B5EF4-FFF2-40B4-BE49-F238E27FC236}">
                <a16:creationId xmlns:a16="http://schemas.microsoft.com/office/drawing/2014/main" id="{2385833F-0062-EC65-2960-B694F7F3367B}"/>
              </a:ext>
            </a:extLst>
          </p:cNvPr>
          <p:cNvSpPr>
            <a:spLocks noGrp="1"/>
          </p:cNvSpPr>
          <p:nvPr>
            <p:ph type="title"/>
            <p:custDataLst>
              <p:tags r:id="rId38"/>
            </p:custDataLst>
          </p:nvPr>
        </p:nvSpPr>
        <p:spPr>
          <a:xfrm>
            <a:off x="650538" y="343789"/>
            <a:ext cx="9540001" cy="781752"/>
          </a:xfrm>
          <a:noFill/>
          <a:ln>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de-DE" dirty="0"/>
              <a:t>Durch Mehrverbrauch kann sich trotz Ausbau der Erneuerbaren Energien bis 2040 eine Stromlücke ergeben</a:t>
            </a:r>
          </a:p>
        </p:txBody>
      </p:sp>
      <p:sp>
        <p:nvSpPr>
          <p:cNvPr id="6" name="TextBox 5">
            <a:extLst>
              <a:ext uri="{FF2B5EF4-FFF2-40B4-BE49-F238E27FC236}">
                <a16:creationId xmlns:a16="http://schemas.microsoft.com/office/drawing/2014/main" id="{ECCCAFCF-C611-5E4A-3450-05AB4D156F15}"/>
              </a:ext>
            </a:extLst>
          </p:cNvPr>
          <p:cNvSpPr txBox="1">
            <a:spLocks/>
          </p:cNvSpPr>
          <p:nvPr>
            <p:custDataLst>
              <p:tags r:id="rId39"/>
            </p:custDataLst>
          </p:nvPr>
        </p:nvSpPr>
        <p:spPr>
          <a:xfrm>
            <a:off x="8475453" y="4698584"/>
            <a:ext cx="3366356"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de-DE" sz="1200" b="1"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rPr>
              <a:t>Ausbau</a:t>
            </a:r>
            <a:r>
              <a:rPr kumimoji="0" lang="de-DE" sz="1200" b="0"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rPr>
              <a:t> der Erneuerbaren </a:t>
            </a:r>
            <a:r>
              <a:rPr kumimoji="0" lang="de-DE" sz="1200" b="1"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rPr>
              <a:t>senkt Gasbedarf</a:t>
            </a:r>
            <a:r>
              <a:rPr kumimoji="0" lang="de-DE" sz="1200" b="0"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rPr>
              <a:t>:</a:t>
            </a:r>
          </a:p>
          <a:p>
            <a:pPr marL="228600" marR="0" lvl="1" indent="-225425"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err="1">
                <a:ln>
                  <a:noFill/>
                </a:ln>
                <a:solidFill>
                  <a:prstClr val="black"/>
                </a:solidFill>
                <a:effectLst/>
                <a:uLnTx/>
                <a:uFillTx/>
                <a:latin typeface="Bahnschrift" panose="020B0502040204020203" pitchFamily="34" charset="0"/>
                <a:ea typeface="+mn-ea"/>
                <a:cs typeface="Arial" panose="020B0604020202020204" pitchFamily="34" charset="0"/>
              </a:rPr>
              <a:t>Weniger</a:t>
            </a:r>
            <a:r>
              <a:rPr kumimoji="0" lang="en-US" sz="1200" b="0"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rPr>
              <a:t> Gas für </a:t>
            </a:r>
            <a:r>
              <a:rPr kumimoji="0" lang="en-US" sz="1200" b="0" i="0" u="none" strike="noStrike" kern="1200" cap="none" spc="0" normalizeH="0" baseline="0" noProof="0" dirty="0" err="1">
                <a:ln>
                  <a:noFill/>
                </a:ln>
                <a:solidFill>
                  <a:prstClr val="black"/>
                </a:solidFill>
                <a:effectLst/>
                <a:uLnTx/>
                <a:uFillTx/>
                <a:latin typeface="Bahnschrift" panose="020B0502040204020203" pitchFamily="34" charset="0"/>
                <a:ea typeface="+mn-ea"/>
                <a:cs typeface="Arial" panose="020B0604020202020204" pitchFamily="34" charset="0"/>
              </a:rPr>
              <a:t>Stromerzeugung</a:t>
            </a:r>
            <a:endParaRPr kumimoji="0" lang="en-US" sz="1200" b="0"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endParaRPr>
          </a:p>
          <a:p>
            <a:pPr marL="228600" marR="0" lvl="1" indent="-225425"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de-DE" sz="1200" b="0"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rPr>
              <a:t>Substitution von Gas mit Strom, v.a. im Wärmebereich über Wärmepumpen</a:t>
            </a:r>
            <a:endParaRPr kumimoji="0" lang="en-US" sz="1200" b="0"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EB3972C0-DA11-08E4-A0DA-4F0AC40CFAE9}"/>
              </a:ext>
            </a:extLst>
          </p:cNvPr>
          <p:cNvSpPr txBox="1">
            <a:spLocks/>
          </p:cNvSpPr>
          <p:nvPr/>
        </p:nvSpPr>
        <p:spPr>
          <a:xfrm>
            <a:off x="8475453" y="1560839"/>
            <a:ext cx="3366356"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0"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rPr>
              <a:t>AT wird wohl in Zukunft </a:t>
            </a:r>
            <a:r>
              <a:rPr kumimoji="0" lang="de-DE" sz="1200" b="1"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rPr>
              <a:t>weniger Strom </a:t>
            </a:r>
            <a:r>
              <a:rPr kumimoji="0" lang="de-DE" sz="1200" b="0"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rPr>
              <a:t>aus DE und anderen Ländern </a:t>
            </a:r>
            <a:r>
              <a:rPr kumimoji="0" lang="de-DE" sz="1200" b="1"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rPr>
              <a:t>importieren</a:t>
            </a:r>
            <a:r>
              <a:rPr kumimoji="0" lang="de-DE" sz="1200" b="0"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rPr>
              <a:t> können, muss sich gleichzeitig von grauem Strom aus Osteuropa lossagen</a:t>
            </a:r>
            <a:endParaRPr kumimoji="0" lang="en-US" sz="1200" b="0"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endParaRPr>
          </a:p>
        </p:txBody>
      </p:sp>
      <p:sp>
        <p:nvSpPr>
          <p:cNvPr id="58" name="TrackerNumWhite 8">
            <a:extLst>
              <a:ext uri="{FF2B5EF4-FFF2-40B4-BE49-F238E27FC236}">
                <a16:creationId xmlns:a16="http://schemas.microsoft.com/office/drawing/2014/main" id="{7B393AF6-7963-8364-440A-1B49B3CD4221}"/>
              </a:ext>
            </a:extLst>
          </p:cNvPr>
          <p:cNvSpPr>
            <a:spLocks/>
          </p:cNvSpPr>
          <p:nvPr>
            <p:custDataLst>
              <p:tags r:id="rId40"/>
            </p:custDataLst>
          </p:nvPr>
        </p:nvSpPr>
        <p:spPr>
          <a:xfrm>
            <a:off x="8174170" y="1560839"/>
            <a:ext cx="212724" cy="21272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300"/>
              </a:spcBef>
              <a:spcAft>
                <a:spcPts val="3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rPr>
              <a:t>A</a:t>
            </a:r>
          </a:p>
        </p:txBody>
      </p:sp>
      <p:sp>
        <p:nvSpPr>
          <p:cNvPr id="3" name="TextBox 2">
            <a:extLst>
              <a:ext uri="{FF2B5EF4-FFF2-40B4-BE49-F238E27FC236}">
                <a16:creationId xmlns:a16="http://schemas.microsoft.com/office/drawing/2014/main" id="{536DDE85-0630-2EE3-DA98-62CC17CCCD1A}"/>
              </a:ext>
            </a:extLst>
          </p:cNvPr>
          <p:cNvSpPr txBox="1">
            <a:spLocks/>
          </p:cNvSpPr>
          <p:nvPr>
            <p:custDataLst>
              <p:tags r:id="rId41"/>
            </p:custDataLst>
          </p:nvPr>
        </p:nvSpPr>
        <p:spPr>
          <a:xfrm>
            <a:off x="8475453" y="3283337"/>
            <a:ext cx="3366356" cy="129266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de-DE" sz="1200" b="1"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rPr>
              <a:t>Lokales, wirtschaftlich erschließbares Potenzial </a:t>
            </a:r>
            <a:r>
              <a:rPr kumimoji="0" lang="de-DE" sz="1200" b="0"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rPr>
              <a:t>bei erneuerbaren Energien in AT umfasst </a:t>
            </a:r>
            <a:r>
              <a:rPr kumimoji="0" lang="de-DE" sz="1200" b="1"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rPr>
              <a:t>bis zu ca. 60-80 TWh</a:t>
            </a:r>
            <a:r>
              <a:rPr kumimoji="0" lang="de-DE" sz="1200" b="0"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rPr>
              <a:t>, v.a. jenseits der dominierenden Wasserkraft</a:t>
            </a:r>
          </a:p>
          <a:p>
            <a:pPr marL="228600" marR="0" lvl="1" indent="-225425"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rPr>
              <a:t>Wind</a:t>
            </a:r>
          </a:p>
          <a:p>
            <a:pPr marL="228600" marR="0" lvl="1" indent="-225425"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rPr>
              <a:t>Solar</a:t>
            </a:r>
          </a:p>
          <a:p>
            <a:pPr marL="228600" marR="0" lvl="1" indent="-225425"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err="1">
                <a:ln>
                  <a:noFill/>
                </a:ln>
                <a:solidFill>
                  <a:prstClr val="black"/>
                </a:solidFill>
                <a:effectLst/>
                <a:uLnTx/>
                <a:uFillTx/>
                <a:latin typeface="Bahnschrift" panose="020B0502040204020203" pitchFamily="34" charset="0"/>
                <a:ea typeface="+mn-ea"/>
                <a:cs typeface="Arial" panose="020B0604020202020204" pitchFamily="34" charset="0"/>
              </a:rPr>
              <a:t>Geothermie</a:t>
            </a:r>
            <a:endParaRPr kumimoji="0" lang="en-US" sz="1200" b="0"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endParaRPr>
          </a:p>
        </p:txBody>
      </p:sp>
      <p:sp>
        <p:nvSpPr>
          <p:cNvPr id="60" name="TrackerNumWhite 8">
            <a:extLst>
              <a:ext uri="{FF2B5EF4-FFF2-40B4-BE49-F238E27FC236}">
                <a16:creationId xmlns:a16="http://schemas.microsoft.com/office/drawing/2014/main" id="{FCCFC0D1-9116-A13B-175F-80020ED39268}"/>
              </a:ext>
            </a:extLst>
          </p:cNvPr>
          <p:cNvSpPr>
            <a:spLocks/>
          </p:cNvSpPr>
          <p:nvPr>
            <p:custDataLst>
              <p:tags r:id="rId42"/>
            </p:custDataLst>
          </p:nvPr>
        </p:nvSpPr>
        <p:spPr>
          <a:xfrm>
            <a:off x="8174170" y="3283337"/>
            <a:ext cx="212724" cy="21272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300"/>
              </a:spcBef>
              <a:spcAft>
                <a:spcPts val="3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rPr>
              <a:t>C</a:t>
            </a:r>
          </a:p>
        </p:txBody>
      </p:sp>
      <p:sp>
        <p:nvSpPr>
          <p:cNvPr id="38" name="TextBox 37">
            <a:extLst>
              <a:ext uri="{FF2B5EF4-FFF2-40B4-BE49-F238E27FC236}">
                <a16:creationId xmlns:a16="http://schemas.microsoft.com/office/drawing/2014/main" id="{59FB1019-69B5-5C6B-B58A-9CED16A977F5}"/>
              </a:ext>
            </a:extLst>
          </p:cNvPr>
          <p:cNvSpPr txBox="1">
            <a:spLocks/>
          </p:cNvSpPr>
          <p:nvPr/>
        </p:nvSpPr>
        <p:spPr>
          <a:xfrm>
            <a:off x="8475453" y="5559833"/>
            <a:ext cx="3366356" cy="55399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de-DE" sz="1200" b="1"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rPr>
              <a:t>Versorgungslücke</a:t>
            </a:r>
            <a:r>
              <a:rPr kumimoji="0" lang="de-DE" sz="1200" b="0"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rPr>
              <a:t> </a:t>
            </a:r>
            <a:r>
              <a:rPr kumimoji="0" lang="de-DE" sz="1200" b="1"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rPr>
              <a:t>bis zu ~80 TWh </a:t>
            </a:r>
            <a:r>
              <a:rPr kumimoji="0" lang="de-DE" sz="1200" b="0"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rPr>
              <a:t>in 2040 bei H2 Produktion iHv 40 TWh in Österreich, auch bei voller Realisieriung der erneuerbaren Potenziale</a:t>
            </a:r>
          </a:p>
        </p:txBody>
      </p:sp>
      <p:sp>
        <p:nvSpPr>
          <p:cNvPr id="61" name="TrackerNumWhite 8">
            <a:extLst>
              <a:ext uri="{FF2B5EF4-FFF2-40B4-BE49-F238E27FC236}">
                <a16:creationId xmlns:a16="http://schemas.microsoft.com/office/drawing/2014/main" id="{005160CF-224D-8D0E-9B69-4AA25FCF6EF3}"/>
              </a:ext>
            </a:extLst>
          </p:cNvPr>
          <p:cNvSpPr>
            <a:spLocks/>
          </p:cNvSpPr>
          <p:nvPr>
            <p:custDataLst>
              <p:tags r:id="rId43"/>
            </p:custDataLst>
          </p:nvPr>
        </p:nvSpPr>
        <p:spPr>
          <a:xfrm>
            <a:off x="8174170" y="5559833"/>
            <a:ext cx="212724" cy="21272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300"/>
              </a:spcBef>
              <a:spcAft>
                <a:spcPts val="3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rPr>
              <a:t>D</a:t>
            </a:r>
          </a:p>
        </p:txBody>
      </p:sp>
      <p:sp>
        <p:nvSpPr>
          <p:cNvPr id="59" name="TrackerNumWhite 8">
            <a:extLst>
              <a:ext uri="{FF2B5EF4-FFF2-40B4-BE49-F238E27FC236}">
                <a16:creationId xmlns:a16="http://schemas.microsoft.com/office/drawing/2014/main" id="{45505CBE-74E7-E622-A68E-82FAB06132EF}"/>
              </a:ext>
            </a:extLst>
          </p:cNvPr>
          <p:cNvSpPr>
            <a:spLocks/>
          </p:cNvSpPr>
          <p:nvPr>
            <p:custDataLst>
              <p:tags r:id="rId44"/>
            </p:custDataLst>
          </p:nvPr>
        </p:nvSpPr>
        <p:spPr>
          <a:xfrm>
            <a:off x="8174170" y="2422088"/>
            <a:ext cx="212724" cy="212725"/>
          </a:xfrm>
          <a:prstGeom prst="ellipse">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300"/>
              </a:spcBef>
              <a:spcAft>
                <a:spcPts val="300"/>
              </a:spcAft>
              <a:buClr>
                <a:srgbClr val="000000"/>
              </a:buClr>
              <a:buSzTx/>
              <a:buFontTx/>
              <a:buNone/>
              <a:tabLst/>
              <a:defRPr/>
            </a:pPr>
            <a:r>
              <a:rPr kumimoji="0" lang="en-US" sz="1200" b="1"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rPr>
              <a:t>B</a:t>
            </a:r>
          </a:p>
        </p:txBody>
      </p:sp>
      <p:sp>
        <p:nvSpPr>
          <p:cNvPr id="62" name="TextBox 61">
            <a:extLst>
              <a:ext uri="{FF2B5EF4-FFF2-40B4-BE49-F238E27FC236}">
                <a16:creationId xmlns:a16="http://schemas.microsoft.com/office/drawing/2014/main" id="{7DDF35F1-F79F-3D80-DAB3-C050385B1D2D}"/>
              </a:ext>
            </a:extLst>
          </p:cNvPr>
          <p:cNvSpPr txBox="1">
            <a:spLocks/>
          </p:cNvSpPr>
          <p:nvPr/>
        </p:nvSpPr>
        <p:spPr>
          <a:xfrm>
            <a:off x="8475453" y="2422088"/>
            <a:ext cx="3366356"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0"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rPr>
              <a:t>Zusätzlich soll der </a:t>
            </a:r>
            <a:r>
              <a:rPr kumimoji="0" lang="de-DE" sz="1200" b="1"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rPr>
              <a:t>Strom ab 2030 </a:t>
            </a:r>
            <a:r>
              <a:rPr kumimoji="0" lang="de-DE" sz="1200" b="0"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rPr>
              <a:t>gänzlich aus </a:t>
            </a:r>
            <a:r>
              <a:rPr kumimoji="0" lang="de-DE" sz="1200" b="1"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rPr>
              <a:t>erneuerbaren Quellen </a:t>
            </a:r>
            <a:r>
              <a:rPr kumimoji="0" lang="de-DE" sz="1200" b="0"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rPr>
              <a:t>kommen, wodurch Strom, der heute fossil produziert wird, bilanziell durch Grünstrom ersetzt wird</a:t>
            </a:r>
            <a:endParaRPr kumimoji="0" lang="en-US" sz="1200" b="0"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endParaRPr>
          </a:p>
        </p:txBody>
      </p:sp>
      <p:sp>
        <p:nvSpPr>
          <p:cNvPr id="63" name="Slide Number Placeholder 33">
            <a:extLst>
              <a:ext uri="{FF2B5EF4-FFF2-40B4-BE49-F238E27FC236}">
                <a16:creationId xmlns:a16="http://schemas.microsoft.com/office/drawing/2014/main" id="{8A0E99B5-BD48-489F-BDF5-65AEC8A0BE67}"/>
              </a:ext>
            </a:extLst>
          </p:cNvPr>
          <p:cNvSpPr>
            <a:spLocks noGrp="1"/>
          </p:cNvSpPr>
          <p:nvPr>
            <p:ph type="sldNum" sz="quarter" idx="10"/>
          </p:nvPr>
        </p:nvSpPr>
        <p:spPr>
          <a:xfrm>
            <a:off x="167425" y="6506031"/>
            <a:ext cx="251992" cy="215444"/>
          </a:xfr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1920E2B-FC99-4A38-BFFD-416A818AECB0}" type="slidenum">
              <a:rPr kumimoji="0" lang="de-AT" sz="800" b="0" i="0" u="none" strike="noStrike" kern="1200" cap="none" spc="0" normalizeH="0" baseline="0" noProof="0" smtClean="0">
                <a:ln>
                  <a:noFill/>
                </a:ln>
                <a:solidFill>
                  <a:prstClr val="white">
                    <a:lumMod val="50000"/>
                  </a:prstClr>
                </a:solidFill>
                <a:effectLst/>
                <a:uLnTx/>
                <a:uFillTx/>
                <a:latin typeface="Bahnschrift" panose="020B0502040204020203" pitchFamily="34"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18</a:t>
            </a:fld>
            <a:endParaRPr kumimoji="0" lang="de-AT" sz="800" b="0" i="0" u="none" strike="noStrike" kern="1200" cap="none" spc="0" normalizeH="0" baseline="0" noProof="0">
              <a:ln>
                <a:noFill/>
              </a:ln>
              <a:solidFill>
                <a:prstClr val="white">
                  <a:lumMod val="50000"/>
                </a:prstClr>
              </a:solidFill>
              <a:effectLst/>
              <a:uLnTx/>
              <a:uFillTx/>
              <a:latin typeface="Bahnschrift" panose="020B0502040204020203" pitchFamily="34" charset="0"/>
              <a:ea typeface="+mn-ea"/>
              <a:cs typeface="+mn-cs"/>
            </a:endParaRPr>
          </a:p>
        </p:txBody>
      </p:sp>
      <p:cxnSp>
        <p:nvCxnSpPr>
          <p:cNvPr id="64" name="LineBasicDefault 406">
            <a:extLst>
              <a:ext uri="{FF2B5EF4-FFF2-40B4-BE49-F238E27FC236}">
                <a16:creationId xmlns:a16="http://schemas.microsoft.com/office/drawing/2014/main" id="{446B1835-A647-4E06-B2FA-B0B9A5393B0E}"/>
              </a:ext>
            </a:extLst>
          </p:cNvPr>
          <p:cNvCxnSpPr>
            <a:cxnSpLocks/>
          </p:cNvCxnSpPr>
          <p:nvPr>
            <p:custDataLst>
              <p:tags r:id="rId45"/>
            </p:custDataLst>
          </p:nvPr>
        </p:nvCxnSpPr>
        <p:spPr>
          <a:xfrm>
            <a:off x="759281" y="1472538"/>
            <a:ext cx="696772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A8B7A62-B826-4D73-BF84-59A8E53C8E91}"/>
              </a:ext>
            </a:extLst>
          </p:cNvPr>
          <p:cNvCxnSpPr>
            <a:cxnSpLocks/>
          </p:cNvCxnSpPr>
          <p:nvPr/>
        </p:nvCxnSpPr>
        <p:spPr>
          <a:xfrm>
            <a:off x="7950589" y="1172595"/>
            <a:ext cx="0" cy="494123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4476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6" hidden="1">
            <a:extLst>
              <a:ext uri="{FF2B5EF4-FFF2-40B4-BE49-F238E27FC236}">
                <a16:creationId xmlns:a16="http://schemas.microsoft.com/office/drawing/2014/main" id="{48D1C87D-0462-552F-E6D1-6089F27264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10" name="Object 6" hidden="1">
                        <a:extLst>
                          <a:ext uri="{FF2B5EF4-FFF2-40B4-BE49-F238E27FC236}">
                            <a16:creationId xmlns:a16="http://schemas.microsoft.com/office/drawing/2014/main" id="{48D1C87D-0462-552F-E6D1-6089F27264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094F60B2-FB66-977D-0AAC-B9492DCB03D8}"/>
              </a:ext>
            </a:extLst>
          </p:cNvPr>
          <p:cNvSpPr>
            <a:spLocks noGrp="1"/>
          </p:cNvSpPr>
          <p:nvPr>
            <p:ph type="title"/>
            <p:custDataLst>
              <p:tags r:id="rId2"/>
            </p:custDataLst>
          </p:nvPr>
        </p:nvSpPr>
        <p:spPr>
          <a:xfrm>
            <a:off x="554736" y="931836"/>
            <a:ext cx="11082528" cy="357790"/>
          </a:xfrm>
        </p:spPr>
        <p:txBody>
          <a:bodyPr vert="horz">
            <a:noAutofit/>
          </a:bodyPr>
          <a:lstStyle/>
          <a:p>
            <a:r>
              <a:rPr lang="de-DE" dirty="0"/>
              <a:t>Für erneuerbaren Strom braucht es kurz-, mittel- und langfristige Speicher, um Schwankungen in Produktion sowie Verbrauch auszugleichen</a:t>
            </a:r>
          </a:p>
        </p:txBody>
      </p:sp>
      <p:grpSp>
        <p:nvGrpSpPr>
          <p:cNvPr id="17" name="Group 16">
            <a:extLst>
              <a:ext uri="{FF2B5EF4-FFF2-40B4-BE49-F238E27FC236}">
                <a16:creationId xmlns:a16="http://schemas.microsoft.com/office/drawing/2014/main" id="{F22E1234-456F-46A9-9E89-53E9A10AFE7A}"/>
              </a:ext>
            </a:extLst>
          </p:cNvPr>
          <p:cNvGrpSpPr/>
          <p:nvPr/>
        </p:nvGrpSpPr>
        <p:grpSpPr>
          <a:xfrm>
            <a:off x="554735" y="1465887"/>
            <a:ext cx="4692757" cy="4511500"/>
            <a:chOff x="554736" y="1250443"/>
            <a:chExt cx="3406498" cy="4511500"/>
          </a:xfrm>
        </p:grpSpPr>
        <p:grpSp>
          <p:nvGrpSpPr>
            <p:cNvPr id="22" name="Group 21">
              <a:extLst>
                <a:ext uri="{FF2B5EF4-FFF2-40B4-BE49-F238E27FC236}">
                  <a16:creationId xmlns:a16="http://schemas.microsoft.com/office/drawing/2014/main" id="{F5B76606-1DB4-0202-BC43-30394F25681A}"/>
                </a:ext>
              </a:extLst>
            </p:cNvPr>
            <p:cNvGrpSpPr>
              <a:grpSpLocks/>
            </p:cNvGrpSpPr>
            <p:nvPr/>
          </p:nvGrpSpPr>
          <p:grpSpPr>
            <a:xfrm>
              <a:off x="554737" y="2066395"/>
              <a:ext cx="3406497" cy="2625877"/>
              <a:chOff x="554736" y="2383884"/>
              <a:chExt cx="7918704" cy="2625877"/>
            </a:xfrm>
          </p:grpSpPr>
          <p:cxnSp>
            <p:nvCxnSpPr>
              <p:cNvPr id="14" name="Straight Connector 13">
                <a:extLst>
                  <a:ext uri="{FF2B5EF4-FFF2-40B4-BE49-F238E27FC236}">
                    <a16:creationId xmlns:a16="http://schemas.microsoft.com/office/drawing/2014/main" id="{73C3CBE1-8409-71FB-15CB-493A1E325630}"/>
                  </a:ext>
                </a:extLst>
              </p:cNvPr>
              <p:cNvCxnSpPr>
                <a:cxnSpLocks/>
              </p:cNvCxnSpPr>
              <p:nvPr/>
            </p:nvCxnSpPr>
            <p:spPr>
              <a:xfrm>
                <a:off x="554736" y="2383884"/>
                <a:ext cx="791870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0B5F536-519C-D6E2-0E26-19ADACC10BCE}"/>
                  </a:ext>
                </a:extLst>
              </p:cNvPr>
              <p:cNvCxnSpPr>
                <a:cxnSpLocks/>
              </p:cNvCxnSpPr>
              <p:nvPr/>
            </p:nvCxnSpPr>
            <p:spPr>
              <a:xfrm>
                <a:off x="554736" y="3779350"/>
                <a:ext cx="7918704"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9E89485-8983-D9A7-D01C-7FDFE0568D64}"/>
                  </a:ext>
                </a:extLst>
              </p:cNvPr>
              <p:cNvCxnSpPr>
                <a:cxnSpLocks/>
              </p:cNvCxnSpPr>
              <p:nvPr/>
            </p:nvCxnSpPr>
            <p:spPr>
              <a:xfrm>
                <a:off x="554736" y="5009761"/>
                <a:ext cx="7918704"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FCB7AE54-BDDE-ACCB-9C6D-90E5B34B7C43}"/>
                </a:ext>
              </a:extLst>
            </p:cNvPr>
            <p:cNvSpPr txBox="1"/>
            <p:nvPr/>
          </p:nvSpPr>
          <p:spPr>
            <a:xfrm>
              <a:off x="554736" y="1806657"/>
              <a:ext cx="1075944" cy="215444"/>
            </a:xfrm>
            <a:prstGeom prst="rect">
              <a:avLst/>
            </a:prstGeom>
            <a:noFill/>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14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Use Case</a:t>
              </a:r>
            </a:p>
          </p:txBody>
        </p:sp>
        <p:sp>
          <p:nvSpPr>
            <p:cNvPr id="25" name="TextBox 24">
              <a:extLst>
                <a:ext uri="{FF2B5EF4-FFF2-40B4-BE49-F238E27FC236}">
                  <a16:creationId xmlns:a16="http://schemas.microsoft.com/office/drawing/2014/main" id="{53901EC8-97C9-4E14-1C05-E6A1A7827054}"/>
                </a:ext>
              </a:extLst>
            </p:cNvPr>
            <p:cNvSpPr txBox="1">
              <a:spLocks/>
            </p:cNvSpPr>
            <p:nvPr/>
          </p:nvSpPr>
          <p:spPr>
            <a:xfrm>
              <a:off x="554736" y="2164900"/>
              <a:ext cx="1515802" cy="1154162"/>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14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Kurzfristig</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Abfangen von Erzeugungs- und Lastgradienten über einige Stunden</a:t>
              </a:r>
            </a:p>
          </p:txBody>
        </p:sp>
        <p:sp>
          <p:nvSpPr>
            <p:cNvPr id="26" name="TextBox 25">
              <a:extLst>
                <a:ext uri="{FF2B5EF4-FFF2-40B4-BE49-F238E27FC236}">
                  <a16:creationId xmlns:a16="http://schemas.microsoft.com/office/drawing/2014/main" id="{27D0A9CC-9C3F-1AFD-9F59-F3DC5A269F17}"/>
                </a:ext>
              </a:extLst>
            </p:cNvPr>
            <p:cNvSpPr txBox="1">
              <a:spLocks/>
            </p:cNvSpPr>
            <p:nvPr/>
          </p:nvSpPr>
          <p:spPr>
            <a:xfrm>
              <a:off x="554736" y="3562043"/>
              <a:ext cx="1515802" cy="938719"/>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14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Mittelfristig</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Ausgleich volatiler Erzeugung über mehrere Wochen</a:t>
              </a:r>
            </a:p>
          </p:txBody>
        </p:sp>
        <p:sp>
          <p:nvSpPr>
            <p:cNvPr id="27" name="TextBox 26">
              <a:extLst>
                <a:ext uri="{FF2B5EF4-FFF2-40B4-BE49-F238E27FC236}">
                  <a16:creationId xmlns:a16="http://schemas.microsoft.com/office/drawing/2014/main" id="{71350F1A-B9CF-E1D5-F272-EF3EDAA4DD1A}"/>
                </a:ext>
              </a:extLst>
            </p:cNvPr>
            <p:cNvSpPr txBox="1">
              <a:spLocks/>
            </p:cNvSpPr>
            <p:nvPr/>
          </p:nvSpPr>
          <p:spPr>
            <a:xfrm>
              <a:off x="554736" y="4823224"/>
              <a:ext cx="1515802" cy="938719"/>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14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Langfristig</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Saisonale Verlagerung zur Lastdeckung in den Wintermonaten</a:t>
              </a:r>
            </a:p>
          </p:txBody>
        </p:sp>
        <p:sp>
          <p:nvSpPr>
            <p:cNvPr id="5" name="TextBox 4">
              <a:extLst>
                <a:ext uri="{FF2B5EF4-FFF2-40B4-BE49-F238E27FC236}">
                  <a16:creationId xmlns:a16="http://schemas.microsoft.com/office/drawing/2014/main" id="{220D6AA1-4529-7657-80B1-649FAD1AFAA6}"/>
                </a:ext>
              </a:extLst>
            </p:cNvPr>
            <p:cNvSpPr txBox="1">
              <a:spLocks/>
            </p:cNvSpPr>
            <p:nvPr/>
          </p:nvSpPr>
          <p:spPr>
            <a:xfrm>
              <a:off x="2400157" y="1652769"/>
              <a:ext cx="637333" cy="369332"/>
            </a:xfrm>
            <a:prstGeom prst="rect">
              <a:avLst/>
            </a:prstGeom>
            <a:noFill/>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4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Energie, </a:t>
              </a: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TWh</a:t>
              </a:r>
            </a:p>
          </p:txBody>
        </p:sp>
        <p:sp>
          <p:nvSpPr>
            <p:cNvPr id="6" name="TextBox 5">
              <a:extLst>
                <a:ext uri="{FF2B5EF4-FFF2-40B4-BE49-F238E27FC236}">
                  <a16:creationId xmlns:a16="http://schemas.microsoft.com/office/drawing/2014/main" id="{B4509C91-0605-AE30-7A7F-8BD4FD4D35A8}"/>
                </a:ext>
              </a:extLst>
            </p:cNvPr>
            <p:cNvSpPr txBox="1">
              <a:spLocks/>
            </p:cNvSpPr>
            <p:nvPr/>
          </p:nvSpPr>
          <p:spPr>
            <a:xfrm>
              <a:off x="3226950" y="1652769"/>
              <a:ext cx="734284" cy="369332"/>
            </a:xfrm>
            <a:prstGeom prst="rect">
              <a:avLst/>
            </a:prstGeom>
            <a:noFill/>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4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Leistung, </a:t>
              </a: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GW</a:t>
              </a:r>
            </a:p>
          </p:txBody>
        </p:sp>
        <p:sp>
          <p:nvSpPr>
            <p:cNvPr id="32" name="TextBox 31">
              <a:extLst>
                <a:ext uri="{FF2B5EF4-FFF2-40B4-BE49-F238E27FC236}">
                  <a16:creationId xmlns:a16="http://schemas.microsoft.com/office/drawing/2014/main" id="{D706528A-F645-0059-A5B1-97111726DCAE}"/>
                </a:ext>
              </a:extLst>
            </p:cNvPr>
            <p:cNvSpPr txBox="1">
              <a:spLocks/>
            </p:cNvSpPr>
            <p:nvPr/>
          </p:nvSpPr>
          <p:spPr>
            <a:xfrm>
              <a:off x="2393673" y="2164900"/>
              <a:ext cx="637333" cy="184666"/>
            </a:xfrm>
            <a:prstGeom prst="rect">
              <a:avLst/>
            </a:prstGeom>
            <a:noFill/>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0,04 - 0,08</a:t>
              </a:r>
            </a:p>
          </p:txBody>
        </p:sp>
        <p:sp>
          <p:nvSpPr>
            <p:cNvPr id="36" name="TextBox 35">
              <a:extLst>
                <a:ext uri="{FF2B5EF4-FFF2-40B4-BE49-F238E27FC236}">
                  <a16:creationId xmlns:a16="http://schemas.microsoft.com/office/drawing/2014/main" id="{4F530DB2-3207-31EB-033E-C141CEC0319B}"/>
                </a:ext>
              </a:extLst>
            </p:cNvPr>
            <p:cNvSpPr txBox="1">
              <a:spLocks/>
            </p:cNvSpPr>
            <p:nvPr/>
          </p:nvSpPr>
          <p:spPr>
            <a:xfrm>
              <a:off x="3220466" y="2164900"/>
              <a:ext cx="734284" cy="184666"/>
            </a:xfrm>
            <a:prstGeom prst="rect">
              <a:avLst/>
            </a:prstGeom>
            <a:noFill/>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10 - 20</a:t>
              </a:r>
            </a:p>
          </p:txBody>
        </p:sp>
        <p:sp>
          <p:nvSpPr>
            <p:cNvPr id="33" name="TextBox 32">
              <a:extLst>
                <a:ext uri="{FF2B5EF4-FFF2-40B4-BE49-F238E27FC236}">
                  <a16:creationId xmlns:a16="http://schemas.microsoft.com/office/drawing/2014/main" id="{D036B587-67D5-0186-D193-C9CED0357569}"/>
                </a:ext>
              </a:extLst>
            </p:cNvPr>
            <p:cNvSpPr txBox="1">
              <a:spLocks/>
            </p:cNvSpPr>
            <p:nvPr/>
          </p:nvSpPr>
          <p:spPr>
            <a:xfrm>
              <a:off x="2393673" y="3562043"/>
              <a:ext cx="637333" cy="184666"/>
            </a:xfrm>
            <a:prstGeom prst="rect">
              <a:avLst/>
            </a:prstGeom>
            <a:noFill/>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2 - 3</a:t>
              </a:r>
            </a:p>
          </p:txBody>
        </p:sp>
        <p:sp>
          <p:nvSpPr>
            <p:cNvPr id="37" name="TextBox 36">
              <a:extLst>
                <a:ext uri="{FF2B5EF4-FFF2-40B4-BE49-F238E27FC236}">
                  <a16:creationId xmlns:a16="http://schemas.microsoft.com/office/drawing/2014/main" id="{7E8E0983-B4C5-DD81-097C-C4B0EB273F09}"/>
                </a:ext>
              </a:extLst>
            </p:cNvPr>
            <p:cNvSpPr txBox="1">
              <a:spLocks/>
            </p:cNvSpPr>
            <p:nvPr/>
          </p:nvSpPr>
          <p:spPr>
            <a:xfrm>
              <a:off x="3220466" y="3562043"/>
              <a:ext cx="734284" cy="184666"/>
            </a:xfrm>
            <a:prstGeom prst="rect">
              <a:avLst/>
            </a:prstGeom>
            <a:noFill/>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3</a:t>
              </a:r>
            </a:p>
          </p:txBody>
        </p:sp>
        <p:sp>
          <p:nvSpPr>
            <p:cNvPr id="34" name="TextBox 33">
              <a:extLst>
                <a:ext uri="{FF2B5EF4-FFF2-40B4-BE49-F238E27FC236}">
                  <a16:creationId xmlns:a16="http://schemas.microsoft.com/office/drawing/2014/main" id="{C673D2C2-064B-2963-DC06-8CF598ED031C}"/>
                </a:ext>
              </a:extLst>
            </p:cNvPr>
            <p:cNvSpPr txBox="1">
              <a:spLocks/>
            </p:cNvSpPr>
            <p:nvPr/>
          </p:nvSpPr>
          <p:spPr>
            <a:xfrm>
              <a:off x="2393673" y="4823224"/>
              <a:ext cx="637333" cy="553998"/>
            </a:xfrm>
            <a:prstGeom prst="rect">
              <a:avLst/>
            </a:prstGeom>
            <a:noFill/>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4 - 5 (als Wasser-stoff)</a:t>
              </a:r>
            </a:p>
          </p:txBody>
        </p:sp>
        <p:sp>
          <p:nvSpPr>
            <p:cNvPr id="38" name="TextBox 37">
              <a:extLst>
                <a:ext uri="{FF2B5EF4-FFF2-40B4-BE49-F238E27FC236}">
                  <a16:creationId xmlns:a16="http://schemas.microsoft.com/office/drawing/2014/main" id="{90820DFA-BDF5-2E0D-0933-E33E5BB6EA56}"/>
                </a:ext>
              </a:extLst>
            </p:cNvPr>
            <p:cNvSpPr txBox="1">
              <a:spLocks/>
            </p:cNvSpPr>
            <p:nvPr/>
          </p:nvSpPr>
          <p:spPr>
            <a:xfrm>
              <a:off x="3220467" y="4823224"/>
              <a:ext cx="734284" cy="553998"/>
            </a:xfrm>
            <a:prstGeom prst="rect">
              <a:avLst/>
            </a:prstGeom>
            <a:noFill/>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gt;1 </a:t>
              </a:r>
              <a:r>
                <a:rPr kumimoji="0" lang="de-DE" sz="1400" b="0" i="0" u="none" strike="noStrike" kern="1200" cap="none" spc="0" normalizeH="0" baseline="0" noProof="0">
                  <a:ln>
                    <a:noFill/>
                  </a:ln>
                  <a:solidFill>
                    <a:srgbClr val="000000"/>
                  </a:solidFill>
                  <a:effectLst/>
                  <a:uLnTx/>
                  <a:uFillTx/>
                  <a:latin typeface="Bahnschrift"/>
                  <a:ea typeface="+mn-ea"/>
                  <a:cs typeface="Arial" panose="020B0604020202020204" pitchFamily="34" charset="0"/>
                </a:rPr>
                <a:t>(Rück-verstrom-</a:t>
              </a:r>
              <a:r>
                <a:rPr kumimoji="0" lang="de-DE" sz="1400" b="0" i="0" u="none" strike="noStrike" kern="1200" cap="none" spc="0" normalizeH="0" baseline="0" noProof="0" dirty="0" err="1">
                  <a:ln>
                    <a:noFill/>
                  </a:ln>
                  <a:solidFill>
                    <a:srgbClr val="000000"/>
                  </a:solidFill>
                  <a:effectLst/>
                  <a:uLnTx/>
                  <a:uFillTx/>
                  <a:latin typeface="Bahnschrift"/>
                  <a:ea typeface="+mn-ea"/>
                  <a:cs typeface="Arial" panose="020B0604020202020204" pitchFamily="34" charset="0"/>
                </a:rPr>
                <a:t>ung</a:t>
              </a: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a:t>
              </a:r>
            </a:p>
          </p:txBody>
        </p:sp>
        <p:cxnSp>
          <p:nvCxnSpPr>
            <p:cNvPr id="24" name="Straight Connector 23">
              <a:extLst>
                <a:ext uri="{FF2B5EF4-FFF2-40B4-BE49-F238E27FC236}">
                  <a16:creationId xmlns:a16="http://schemas.microsoft.com/office/drawing/2014/main" id="{87172F4E-C6EC-597F-C1C4-6F2363B13A26}"/>
                </a:ext>
              </a:extLst>
            </p:cNvPr>
            <p:cNvCxnSpPr>
              <a:cxnSpLocks/>
            </p:cNvCxnSpPr>
            <p:nvPr/>
          </p:nvCxnSpPr>
          <p:spPr>
            <a:xfrm>
              <a:off x="554736" y="1530448"/>
              <a:ext cx="340649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4192BF87-8808-29C8-1396-0544F1C12B18}"/>
                </a:ext>
              </a:extLst>
            </p:cNvPr>
            <p:cNvSpPr txBox="1">
              <a:spLocks/>
            </p:cNvSpPr>
            <p:nvPr/>
          </p:nvSpPr>
          <p:spPr>
            <a:xfrm>
              <a:off x="554736" y="1250443"/>
              <a:ext cx="3406497" cy="215444"/>
            </a:xfrm>
            <a:prstGeom prst="rect">
              <a:avLst/>
            </a:prstGeom>
            <a:noFill/>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16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Speicherbedarf (Größenordnung 2040)</a:t>
              </a:r>
            </a:p>
          </p:txBody>
        </p:sp>
      </p:grpSp>
      <p:grpSp>
        <p:nvGrpSpPr>
          <p:cNvPr id="49" name="DoubleArrowBlue 50">
            <a:extLst>
              <a:ext uri="{FF2B5EF4-FFF2-40B4-BE49-F238E27FC236}">
                <a16:creationId xmlns:a16="http://schemas.microsoft.com/office/drawing/2014/main" id="{18D39B58-3BBE-94CA-5DD5-1E78D06F65C1}"/>
              </a:ext>
            </a:extLst>
          </p:cNvPr>
          <p:cNvGrpSpPr>
            <a:grpSpLocks noChangeAspect="1"/>
          </p:cNvGrpSpPr>
          <p:nvPr>
            <p:custDataLst>
              <p:tags r:id="rId3"/>
            </p:custDataLst>
          </p:nvPr>
        </p:nvGrpSpPr>
        <p:grpSpPr>
          <a:xfrm>
            <a:off x="5459430" y="1568211"/>
            <a:ext cx="346266" cy="346266"/>
            <a:chOff x="1016000" y="1016000"/>
            <a:chExt cx="396228" cy="396228"/>
          </a:xfrm>
        </p:grpSpPr>
        <p:sp>
          <p:nvSpPr>
            <p:cNvPr id="46" name="Oval 45">
              <a:extLst>
                <a:ext uri="{FF2B5EF4-FFF2-40B4-BE49-F238E27FC236}">
                  <a16:creationId xmlns:a16="http://schemas.microsoft.com/office/drawing/2014/main" id="{2A22C8EE-5406-CB7E-41B8-041A48A48A61}"/>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Bahnschrift"/>
                <a:ea typeface="+mn-ea"/>
                <a:cs typeface="+mn-cs"/>
              </a:endParaRPr>
            </a:p>
          </p:txBody>
        </p:sp>
        <p:pic>
          <p:nvPicPr>
            <p:cNvPr id="48" name="Graphic 47">
              <a:extLst>
                <a:ext uri="{FF2B5EF4-FFF2-40B4-BE49-F238E27FC236}">
                  <a16:creationId xmlns:a16="http://schemas.microsoft.com/office/drawing/2014/main" id="{A8F204DB-F082-5AF4-FACA-16865F375E6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23614" y="1023614"/>
              <a:ext cx="381000" cy="381000"/>
            </a:xfrm>
            <a:prstGeom prst="rect">
              <a:avLst/>
            </a:prstGeom>
          </p:spPr>
        </p:pic>
      </p:grpSp>
      <p:cxnSp>
        <p:nvCxnSpPr>
          <p:cNvPr id="52" name="Straight Connector 51">
            <a:extLst>
              <a:ext uri="{FF2B5EF4-FFF2-40B4-BE49-F238E27FC236}">
                <a16:creationId xmlns:a16="http://schemas.microsoft.com/office/drawing/2014/main" id="{6C67F0D8-ED88-8C1B-15D7-A8D74A8B2B64}"/>
              </a:ext>
            </a:extLst>
          </p:cNvPr>
          <p:cNvCxnSpPr>
            <a:cxnSpLocks/>
          </p:cNvCxnSpPr>
          <p:nvPr/>
        </p:nvCxnSpPr>
        <p:spPr>
          <a:xfrm flipV="1">
            <a:off x="5632563" y="1927714"/>
            <a:ext cx="0" cy="4139287"/>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EA88CBA6-B98C-45A1-86E3-F3840D0221FC}"/>
              </a:ext>
            </a:extLst>
          </p:cNvPr>
          <p:cNvGrpSpPr/>
          <p:nvPr/>
        </p:nvGrpSpPr>
        <p:grpSpPr>
          <a:xfrm>
            <a:off x="6017627" y="1465887"/>
            <a:ext cx="5619637" cy="4510477"/>
            <a:chOff x="4511277" y="1250443"/>
            <a:chExt cx="7125987" cy="4510477"/>
          </a:xfrm>
        </p:grpSpPr>
        <p:cxnSp>
          <p:nvCxnSpPr>
            <p:cNvPr id="43" name="Straight Connector 42">
              <a:extLst>
                <a:ext uri="{FF2B5EF4-FFF2-40B4-BE49-F238E27FC236}">
                  <a16:creationId xmlns:a16="http://schemas.microsoft.com/office/drawing/2014/main" id="{3A050570-808B-6984-1DE9-9CD8EE0C5AD5}"/>
                </a:ext>
              </a:extLst>
            </p:cNvPr>
            <p:cNvCxnSpPr>
              <a:cxnSpLocks/>
            </p:cNvCxnSpPr>
            <p:nvPr/>
          </p:nvCxnSpPr>
          <p:spPr>
            <a:xfrm>
              <a:off x="4511277" y="1530448"/>
              <a:ext cx="7125986"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85AB0B0E-4BB8-66D6-4AEE-9A90D4811E68}"/>
                </a:ext>
              </a:extLst>
            </p:cNvPr>
            <p:cNvSpPr txBox="1">
              <a:spLocks/>
            </p:cNvSpPr>
            <p:nvPr/>
          </p:nvSpPr>
          <p:spPr>
            <a:xfrm>
              <a:off x="4511277" y="1250443"/>
              <a:ext cx="7125986" cy="215444"/>
            </a:xfrm>
            <a:prstGeom prst="rect">
              <a:avLst/>
            </a:prstGeom>
            <a:noFill/>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16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Speicher- und Lastausgleichsmöglichkeiten</a:t>
              </a:r>
            </a:p>
          </p:txBody>
        </p:sp>
        <p:sp>
          <p:nvSpPr>
            <p:cNvPr id="55" name="TextBox 54">
              <a:extLst>
                <a:ext uri="{FF2B5EF4-FFF2-40B4-BE49-F238E27FC236}">
                  <a16:creationId xmlns:a16="http://schemas.microsoft.com/office/drawing/2014/main" id="{85F1D1FC-4F80-6D13-7478-48F094657027}"/>
                </a:ext>
              </a:extLst>
            </p:cNvPr>
            <p:cNvSpPr txBox="1">
              <a:spLocks/>
            </p:cNvSpPr>
            <p:nvPr/>
          </p:nvSpPr>
          <p:spPr>
            <a:xfrm>
              <a:off x="4511277" y="4032465"/>
              <a:ext cx="4240472" cy="723275"/>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14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Speicher-/Pumpspeicherkraftwerke</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Kurz- und mittelfristige Speicher-möglichkeit durch Wasser in Stauseen</a:t>
              </a:r>
            </a:p>
          </p:txBody>
        </p:sp>
        <p:sp>
          <p:nvSpPr>
            <p:cNvPr id="60" name="TextBox 59">
              <a:extLst>
                <a:ext uri="{FF2B5EF4-FFF2-40B4-BE49-F238E27FC236}">
                  <a16:creationId xmlns:a16="http://schemas.microsoft.com/office/drawing/2014/main" id="{346E6314-38E5-B820-E4D3-5C615896F49A}"/>
                </a:ext>
              </a:extLst>
            </p:cNvPr>
            <p:cNvSpPr txBox="1">
              <a:spLocks/>
            </p:cNvSpPr>
            <p:nvPr/>
          </p:nvSpPr>
          <p:spPr>
            <a:xfrm>
              <a:off x="4511277" y="2842617"/>
              <a:ext cx="4240472" cy="938719"/>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14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Batterien</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Kurzfristige Speichermöglichkeit, typischerweise hohe Leistung, aber geringe Energiemenge</a:t>
              </a:r>
            </a:p>
          </p:txBody>
        </p:sp>
        <p:cxnSp>
          <p:nvCxnSpPr>
            <p:cNvPr id="63" name="Straight Connector 62">
              <a:extLst>
                <a:ext uri="{FF2B5EF4-FFF2-40B4-BE49-F238E27FC236}">
                  <a16:creationId xmlns:a16="http://schemas.microsoft.com/office/drawing/2014/main" id="{2BAE5C7B-F1BA-4C70-3A01-C22554460CF7}"/>
                </a:ext>
              </a:extLst>
            </p:cNvPr>
            <p:cNvCxnSpPr>
              <a:cxnSpLocks/>
            </p:cNvCxnSpPr>
            <p:nvPr/>
          </p:nvCxnSpPr>
          <p:spPr>
            <a:xfrm>
              <a:off x="4511278" y="2747830"/>
              <a:ext cx="7125986"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21A0EA7D-4EE8-871A-FD7A-CDE7DCE9EB02}"/>
                </a:ext>
              </a:extLst>
            </p:cNvPr>
            <p:cNvCxnSpPr>
              <a:cxnSpLocks/>
            </p:cNvCxnSpPr>
            <p:nvPr/>
          </p:nvCxnSpPr>
          <p:spPr>
            <a:xfrm>
              <a:off x="4511278" y="3937678"/>
              <a:ext cx="7125986"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8CD75DD-B97E-AE2B-006B-F96C2A36BE20}"/>
                </a:ext>
              </a:extLst>
            </p:cNvPr>
            <p:cNvCxnSpPr>
              <a:cxnSpLocks/>
            </p:cNvCxnSpPr>
            <p:nvPr/>
          </p:nvCxnSpPr>
          <p:spPr>
            <a:xfrm>
              <a:off x="4511278" y="4942860"/>
              <a:ext cx="7125986"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7265D278-5FEF-FEDE-526A-A4EFF849C0FA}"/>
                </a:ext>
              </a:extLst>
            </p:cNvPr>
            <p:cNvSpPr txBox="1">
              <a:spLocks/>
            </p:cNvSpPr>
            <p:nvPr/>
          </p:nvSpPr>
          <p:spPr>
            <a:xfrm>
              <a:off x="4511277" y="5037645"/>
              <a:ext cx="4240472" cy="723275"/>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14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Wasserstoff und klimaneutrale Gase </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Langfristige Speichermöglichkeit durch Herstellung von Wasserstoff</a:t>
              </a:r>
            </a:p>
          </p:txBody>
        </p:sp>
        <p:sp>
          <p:nvSpPr>
            <p:cNvPr id="66" name="TextBox 65">
              <a:extLst>
                <a:ext uri="{FF2B5EF4-FFF2-40B4-BE49-F238E27FC236}">
                  <a16:creationId xmlns:a16="http://schemas.microsoft.com/office/drawing/2014/main" id="{3FCBD7AA-3B30-2950-9F75-AF462176D075}"/>
                </a:ext>
              </a:extLst>
            </p:cNvPr>
            <p:cNvSpPr txBox="1">
              <a:spLocks/>
            </p:cNvSpPr>
            <p:nvPr/>
          </p:nvSpPr>
          <p:spPr>
            <a:xfrm>
              <a:off x="4511277" y="1652769"/>
              <a:ext cx="4240472" cy="938719"/>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14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Lastausgleich</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Kurzfristige Möglichkeit, Verbrauchsspitzen zu drosseln/ verlagern</a:t>
              </a:r>
            </a:p>
          </p:txBody>
        </p:sp>
      </p:grpSp>
      <p:pic>
        <p:nvPicPr>
          <p:cNvPr id="108548" name="Picture 4" descr="Solax | 3-Phasen-Energiezähler| DTSU666 | D CHINT">
            <a:extLst>
              <a:ext uri="{FF2B5EF4-FFF2-40B4-BE49-F238E27FC236}">
                <a16:creationId xmlns:a16="http://schemas.microsoft.com/office/drawing/2014/main" id="{14F375F8-72F7-4FA2-B53C-470507D95BBC}"/>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0210" t="28521" r="33993" b="28813"/>
          <a:stretch/>
        </p:blipFill>
        <p:spPr bwMode="auto">
          <a:xfrm>
            <a:off x="9759877" y="1875564"/>
            <a:ext cx="731339" cy="871687"/>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20807099-E68D-4A3F-8C8E-82E492A1B073}"/>
              </a:ext>
            </a:extLst>
          </p:cNvPr>
          <p:cNvSpPr txBox="1"/>
          <p:nvPr/>
        </p:nvSpPr>
        <p:spPr>
          <a:xfrm>
            <a:off x="10671773" y="2039329"/>
            <a:ext cx="1035171"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Enabler: Smart Meter (Grundlage)</a:t>
            </a:r>
          </a:p>
        </p:txBody>
      </p:sp>
      <p:pic>
        <p:nvPicPr>
          <p:cNvPr id="108550" name="Picture 6" descr="BYD Premium HVS 10.2 Battery Box 10,24kWh Solarspeicher">
            <a:extLst>
              <a:ext uri="{FF2B5EF4-FFF2-40B4-BE49-F238E27FC236}">
                <a16:creationId xmlns:a16="http://schemas.microsoft.com/office/drawing/2014/main" id="{E461D277-7743-4362-B299-C634AB6EDB2B}"/>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4687" r="24476"/>
          <a:stretch/>
        </p:blipFill>
        <p:spPr bwMode="auto">
          <a:xfrm>
            <a:off x="9885388" y="3085791"/>
            <a:ext cx="480316" cy="944814"/>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a:extLst>
              <a:ext uri="{FF2B5EF4-FFF2-40B4-BE49-F238E27FC236}">
                <a16:creationId xmlns:a16="http://schemas.microsoft.com/office/drawing/2014/main" id="{ECDAF1A1-7992-4479-8706-02568E61074B}"/>
              </a:ext>
            </a:extLst>
          </p:cNvPr>
          <p:cNvSpPr txBox="1"/>
          <p:nvPr/>
        </p:nvSpPr>
        <p:spPr>
          <a:xfrm>
            <a:off x="10671774" y="3248430"/>
            <a:ext cx="847344"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PV-Speicher</a:t>
            </a:r>
          </a:p>
        </p:txBody>
      </p:sp>
      <p:pic>
        <p:nvPicPr>
          <p:cNvPr id="108552" name="Picture 8" descr="Pumpspeicher – was ist das? – Schluchseewerk AG">
            <a:extLst>
              <a:ext uri="{FF2B5EF4-FFF2-40B4-BE49-F238E27FC236}">
                <a16:creationId xmlns:a16="http://schemas.microsoft.com/office/drawing/2014/main" id="{4814ED41-E57B-47B6-B546-419432149CB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686555" y="4367260"/>
            <a:ext cx="877981" cy="632146"/>
          </a:xfrm>
          <a:prstGeom prst="rect">
            <a:avLst/>
          </a:prstGeom>
          <a:noFill/>
          <a:extLst>
            <a:ext uri="{909E8E84-426E-40DD-AFC4-6F175D3DCCD1}">
              <a14:hiddenFill xmlns:a14="http://schemas.microsoft.com/office/drawing/2010/main">
                <a:solidFill>
                  <a:srgbClr val="FFFFFF"/>
                </a:solidFill>
              </a14:hiddenFill>
            </a:ext>
          </a:extLst>
        </p:spPr>
      </p:pic>
      <p:sp>
        <p:nvSpPr>
          <p:cNvPr id="53" name="TextBox 52">
            <a:extLst>
              <a:ext uri="{FF2B5EF4-FFF2-40B4-BE49-F238E27FC236}">
                <a16:creationId xmlns:a16="http://schemas.microsoft.com/office/drawing/2014/main" id="{1A1BB9AA-653E-4719-8E56-105D13D7CBDE}"/>
              </a:ext>
            </a:extLst>
          </p:cNvPr>
          <p:cNvSpPr txBox="1"/>
          <p:nvPr/>
        </p:nvSpPr>
        <p:spPr>
          <a:xfrm>
            <a:off x="10671774" y="4443956"/>
            <a:ext cx="847344"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Pump-speicher</a:t>
            </a:r>
          </a:p>
        </p:txBody>
      </p:sp>
      <p:pic>
        <p:nvPicPr>
          <p:cNvPr id="108554" name="Picture 10" descr="Hydrogen Storage - DE">
            <a:extLst>
              <a:ext uri="{FF2B5EF4-FFF2-40B4-BE49-F238E27FC236}">
                <a16:creationId xmlns:a16="http://schemas.microsoft.com/office/drawing/2014/main" id="{BC83146E-BE7C-4785-9D68-DBA76B273F6B}"/>
              </a:ext>
            </a:extLst>
          </p:cNvPr>
          <p:cNvPicPr>
            <a:picLocks noChangeAspect="1" noChangeArrowheads="1"/>
          </p:cNvPicPr>
          <p:nvPr/>
        </p:nvPicPr>
        <p:blipFill rotWithShape="1">
          <a:blip r:embed="rId12">
            <a:extLst>
              <a:ext uri="{BEBA8EAE-BF5A-486C-A8C5-ECC9F3942E4B}">
                <a14:imgProps xmlns:a14="http://schemas.microsoft.com/office/drawing/2010/main">
                  <a14:imgLayer r:embed="rId13">
                    <a14:imgEffect>
                      <a14:backgroundRemoval t="10000" b="90000" l="10000" r="90000">
                        <a14:foregroundMark x1="42969" y1="81765" x2="43620" y2="83922"/>
                        <a14:foregroundMark x1="65625" y1="82549" x2="66016" y2="82549"/>
                        <a14:backgroundMark x1="14063" y1="58431" x2="18620" y2="67059"/>
                        <a14:backgroundMark x1="18620" y1="67059" x2="31901" y2="75098"/>
                        <a14:backgroundMark x1="31901" y1="75098" x2="31510" y2="62745"/>
                        <a14:backgroundMark x1="31510" y1="62745" x2="33203" y2="57059"/>
                        <a14:backgroundMark x1="34115" y1="72941" x2="40365" y2="80980"/>
                        <a14:backgroundMark x1="40365" y1="80980" x2="40365" y2="80980"/>
                        <a14:backgroundMark x1="41797" y1="81176" x2="41797" y2="81176"/>
                        <a14:backgroundMark x1="65269" y1="84314" x2="73828" y2="84314"/>
                        <a14:backgroundMark x1="62240" y1="84314" x2="64879" y2="84314"/>
                        <a14:backgroundMark x1="82682" y1="79412" x2="91146" y2="80392"/>
                        <a14:backgroundMark x1="45833" y1="85098" x2="58333" y2="85686"/>
                        <a14:backgroundMark x1="81641" y1="78431" x2="83724" y2="78627"/>
                        <a14:backgroundMark x1="42708" y1="45098" x2="49089" y2="37647"/>
                        <a14:backgroundMark x1="36458" y1="66863" x2="36849" y2="70000"/>
                      </a14:backgroundRemoval>
                    </a14:imgEffect>
                  </a14:imgLayer>
                </a14:imgProps>
              </a:ext>
              <a:ext uri="{28A0092B-C50C-407E-A947-70E740481C1C}">
                <a14:useLocalDpi xmlns:a14="http://schemas.microsoft.com/office/drawing/2010/main" val="0"/>
              </a:ext>
            </a:extLst>
          </a:blip>
          <a:srcRect l="35374" t="39835" r="14524" b="13902"/>
          <a:stretch/>
        </p:blipFill>
        <p:spPr bwMode="auto">
          <a:xfrm>
            <a:off x="9612232" y="5390742"/>
            <a:ext cx="952304" cy="583926"/>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a:extLst>
              <a:ext uri="{FF2B5EF4-FFF2-40B4-BE49-F238E27FC236}">
                <a16:creationId xmlns:a16="http://schemas.microsoft.com/office/drawing/2014/main" id="{0FDBBB4B-4917-46BE-B9BA-473575763CB1}"/>
              </a:ext>
            </a:extLst>
          </p:cNvPr>
          <p:cNvSpPr txBox="1"/>
          <p:nvPr/>
        </p:nvSpPr>
        <p:spPr>
          <a:xfrm>
            <a:off x="10671774" y="5420670"/>
            <a:ext cx="847344"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Klima-neutrale Gase</a:t>
            </a:r>
          </a:p>
        </p:txBody>
      </p:sp>
      <p:sp>
        <p:nvSpPr>
          <p:cNvPr id="8" name="Rectangle 27">
            <a:extLst>
              <a:ext uri="{FF2B5EF4-FFF2-40B4-BE49-F238E27FC236}">
                <a16:creationId xmlns:a16="http://schemas.microsoft.com/office/drawing/2014/main" id="{C674F396-C1E3-79EC-121B-494EF9460989}"/>
              </a:ext>
            </a:extLst>
          </p:cNvPr>
          <p:cNvSpPr/>
          <p:nvPr/>
        </p:nvSpPr>
        <p:spPr>
          <a:xfrm>
            <a:off x="10176688" y="922784"/>
            <a:ext cx="1460576" cy="36933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e-DE" sz="900" b="0" i="0" u="none" strike="noStrike" kern="1200" cap="none" spc="0" normalizeH="0" baseline="0" noProof="0" dirty="0">
                <a:ln>
                  <a:noFill/>
                </a:ln>
                <a:solidFill>
                  <a:srgbClr val="FFFFFF"/>
                </a:solidFill>
                <a:effectLst/>
                <a:uLnTx/>
                <a:uFillTx/>
                <a:latin typeface="Bahnschrift"/>
                <a:ea typeface="+mn-ea"/>
                <a:cs typeface="+mn-cs"/>
              </a:rPr>
              <a:t>ILLUSTRATIVES SZENARIO</a:t>
            </a:r>
          </a:p>
        </p:txBody>
      </p:sp>
    </p:spTree>
    <p:extLst>
      <p:ext uri="{BB962C8B-B14F-4D97-AF65-F5344CB8AC3E}">
        <p14:creationId xmlns:p14="http://schemas.microsoft.com/office/powerpoint/2010/main" val="1229534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27474483-CC1D-7CB4-8863-37F37525231B}"/>
              </a:ext>
            </a:extLst>
          </p:cNvPr>
          <p:cNvGraphicFramePr>
            <a:graphicFrameLocks noChangeAspect="1"/>
          </p:cNvGraphicFramePr>
          <p:nvPr>
            <p:custDataLst>
              <p:tags r:id="rId1"/>
            </p:custDataLst>
            <p:extLst>
              <p:ext uri="{D42A27DB-BD31-4B8C-83A1-F6EECF244321}">
                <p14:modId xmlns:p14="http://schemas.microsoft.com/office/powerpoint/2010/main" val="3785859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95" imgH="396" progId="TCLayout.ActiveDocument.1">
                  <p:embed/>
                </p:oleObj>
              </mc:Choice>
              <mc:Fallback>
                <p:oleObj name="think-cell Slide" r:id="rId28" imgW="395" imgH="396" progId="TCLayout.ActiveDocument.1">
                  <p:embed/>
                  <p:pic>
                    <p:nvPicPr>
                      <p:cNvPr id="6" name="Object 2" hidden="1">
                        <a:extLst>
                          <a:ext uri="{FF2B5EF4-FFF2-40B4-BE49-F238E27FC236}">
                            <a16:creationId xmlns:a16="http://schemas.microsoft.com/office/drawing/2014/main" id="{27474483-CC1D-7CB4-8863-37F37525231B}"/>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CB208DC9-F0F7-6CD1-CEE1-ABEE1A56CE1E}"/>
              </a:ext>
            </a:extLst>
          </p:cNvPr>
          <p:cNvSpPr>
            <a:spLocks noGrp="1"/>
          </p:cNvSpPr>
          <p:nvPr>
            <p:ph type="title"/>
            <p:custDataLst>
              <p:tags r:id="rId2"/>
            </p:custDataLst>
          </p:nvPr>
        </p:nvSpPr>
        <p:spPr>
          <a:xfrm>
            <a:off x="838799" y="343790"/>
            <a:ext cx="9922541" cy="781752"/>
          </a:xfr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b" anchorCtr="0" compatLnSpc="1">
            <a:prstTxWarp prst="textNoShape">
              <a:avLst/>
            </a:prstTxWarp>
            <a:spAutoFit/>
          </a:bodyPr>
          <a:lstStyle/>
          <a:p>
            <a:r>
              <a:rPr lang="de-DE" dirty="0"/>
              <a:t>Energie in Österreich kommt zu fast 60% aus Öl und Gas, dadurch Abhängigkeit von einigen wenigen Ländern</a:t>
            </a:r>
          </a:p>
        </p:txBody>
      </p:sp>
      <p:graphicFrame>
        <p:nvGraphicFramePr>
          <p:cNvPr id="5" name="Chart 4">
            <a:extLst>
              <a:ext uri="{FF2B5EF4-FFF2-40B4-BE49-F238E27FC236}">
                <a16:creationId xmlns:a16="http://schemas.microsoft.com/office/drawing/2014/main" id="{9B73697C-41B9-C98E-573F-BF889D4F79D7}"/>
              </a:ext>
            </a:extLst>
          </p:cNvPr>
          <p:cNvGraphicFramePr/>
          <p:nvPr>
            <p:custDataLst>
              <p:tags r:id="rId3"/>
            </p:custDataLst>
            <p:extLst>
              <p:ext uri="{D42A27DB-BD31-4B8C-83A1-F6EECF244321}">
                <p14:modId xmlns:p14="http://schemas.microsoft.com/office/powerpoint/2010/main" val="908073681"/>
              </p:ext>
            </p:extLst>
          </p:nvPr>
        </p:nvGraphicFramePr>
        <p:xfrm>
          <a:off x="3530600" y="1890713"/>
          <a:ext cx="1662113" cy="4211637"/>
        </p:xfrm>
        <a:graphic>
          <a:graphicData uri="http://schemas.openxmlformats.org/drawingml/2006/chart">
            <c:chart xmlns:c="http://schemas.openxmlformats.org/drawingml/2006/chart" xmlns:r="http://schemas.openxmlformats.org/officeDocument/2006/relationships" r:id="rId30"/>
          </a:graphicData>
        </a:graphic>
      </p:graphicFrame>
      <p:sp>
        <p:nvSpPr>
          <p:cNvPr id="201" name="Text Placeholder 4">
            <a:extLst>
              <a:ext uri="{FF2B5EF4-FFF2-40B4-BE49-F238E27FC236}">
                <a16:creationId xmlns:a16="http://schemas.microsoft.com/office/drawing/2014/main" id="{4C1F3293-4EFE-461D-940D-7EE66BAE31C5}"/>
              </a:ext>
            </a:extLst>
          </p:cNvPr>
          <p:cNvSpPr>
            <a:spLocks noGrp="1"/>
          </p:cNvSpPr>
          <p:nvPr>
            <p:custDataLst>
              <p:tags r:id="rId4"/>
            </p:custDataLst>
          </p:nvPr>
        </p:nvSpPr>
        <p:spPr bwMode="gray">
          <a:xfrm>
            <a:off x="4049712" y="5046663"/>
            <a:ext cx="6223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fontAlgn="auto">
              <a:spcBef>
                <a:spcPct val="0"/>
              </a:spcBef>
              <a:spcAft>
                <a:spcPct val="0"/>
              </a:spcAft>
              <a:buClr>
                <a:srgbClr val="000000"/>
              </a:buClr>
              <a:defRPr/>
            </a:pPr>
            <a:fld id="{E4C049BB-8FB2-4A5E-99CE-5CB673316378}" type="datetime'''''''''''''''''''''''''''''''''''''''''7''4'''''''">
              <a:rPr lang="de-DE" altLang="en-US" sz="1200" smtClean="0">
                <a:solidFill>
                  <a:srgbClr val="000000"/>
                </a:solidFill>
                <a:latin typeface="Bahnschrift" panose="020B0502040204020203" pitchFamily="34" charset="0"/>
                <a:cs typeface="+mn-cs"/>
              </a:rPr>
              <a:pPr/>
              <a:t>74</a:t>
            </a:fld>
            <a:r>
              <a:rPr kumimoji="0" lang="de-DE" altLang="en-US" sz="1200" b="0" i="0" u="none" strike="noStrike" kern="1200" cap="none" spc="0" normalizeH="0" baseline="0" noProof="0">
                <a:ln>
                  <a:noFill/>
                </a:ln>
                <a:solidFill>
                  <a:srgbClr val="000000"/>
                </a:solidFill>
                <a:effectLst/>
                <a:uLnTx/>
                <a:uFillTx/>
                <a:latin typeface="Bahnschrift" panose="020B0502040204020203" pitchFamily="34" charset="0"/>
                <a:sym typeface="Bahnschrift" panose="020B0502040204020203" pitchFamily="34" charset="0"/>
              </a:rPr>
              <a:t> (</a:t>
            </a:r>
            <a:fld id="{1CAE977F-98EE-457E-96AB-4733B6C3CEE1}" type="datetime'2''''''0''%'''''''''''''''''''''''''''''''''''''''''''''">
              <a:rPr lang="de-DE" altLang="en-US" sz="1200" smtClean="0">
                <a:solidFill>
                  <a:srgbClr val="000000"/>
                </a:solidFill>
                <a:latin typeface="Bahnschrift" panose="020B0502040204020203" pitchFamily="34" charset="0"/>
                <a:cs typeface="+mn-cs"/>
              </a:rPr>
              <a:pPr/>
              <a:t>20%</a:t>
            </a:fld>
            <a:r>
              <a:rPr kumimoji="0" lang="de-DE" sz="1200" b="0" i="0" u="none" strike="noStrike" kern="1200" cap="none" spc="0" normalizeH="0" baseline="0" noProof="0">
                <a:ln>
                  <a:noFill/>
                </a:ln>
                <a:solidFill>
                  <a:srgbClr val="000000"/>
                </a:solidFill>
                <a:effectLst/>
                <a:uLnTx/>
                <a:uFillTx/>
                <a:latin typeface="Bahnschrift" panose="020B0502040204020203" pitchFamily="34" charset="0"/>
                <a:sym typeface="Bahnschrift" panose="020B0502040204020203" pitchFamily="34" charset="0"/>
              </a:rPr>
              <a:t>)</a:t>
            </a:r>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154" name="Text Placeholder 4">
            <a:extLst>
              <a:ext uri="{FF2B5EF4-FFF2-40B4-BE49-F238E27FC236}">
                <a16:creationId xmlns:a16="http://schemas.microsoft.com/office/drawing/2014/main" id="{6BD26FEC-3AF5-4D64-9B65-16F81296AD84}"/>
              </a:ext>
            </a:extLst>
          </p:cNvPr>
          <p:cNvSpPr>
            <a:spLocks noGrp="1"/>
          </p:cNvSpPr>
          <p:nvPr>
            <p:custDataLst>
              <p:tags r:id="rId5"/>
            </p:custDataLst>
          </p:nvPr>
        </p:nvSpPr>
        <p:spPr bwMode="auto">
          <a:xfrm>
            <a:off x="2597150" y="4864099"/>
            <a:ext cx="862013" cy="5476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de-DE" altLang="en-US" sz="12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a:p>
            <a:pPr lvl="0" fontAlgn="auto">
              <a:spcBef>
                <a:spcPct val="0"/>
              </a:spcBef>
              <a:spcAft>
                <a:spcPct val="0"/>
              </a:spcAft>
              <a:buClr>
                <a:srgbClr val="000000"/>
              </a:buClr>
              <a:defRPr/>
            </a:pPr>
            <a:fld id="{28BC7890-C0C8-4898-A5B3-E80966D3D8AB}" type="datetime'''S''ons''''''''t''ige&#10;E''rn''e''''''u''''e''''rb''''a''r''e'">
              <a:rPr lang="de-DE" altLang="en-US" sz="1200" smtClean="0">
                <a:solidFill>
                  <a:srgbClr val="000000"/>
                </a:solidFill>
                <a:latin typeface="Bahnschrift" panose="020B0502040204020203" pitchFamily="34" charset="0"/>
                <a:cs typeface="+mn-cs"/>
              </a:rPr>
              <a:pPr lvl="0" fontAlgn="auto">
                <a:spcBef>
                  <a:spcPct val="0"/>
                </a:spcBef>
                <a:spcAft>
                  <a:spcPct val="0"/>
                </a:spcAft>
                <a:buClr>
                  <a:srgbClr val="000000"/>
                </a:buClr>
                <a:defRPr/>
              </a:pPr>
              <a:t>Sonstige
Erneuerbare</a:t>
            </a:fld>
            <a:endParaRPr kumimoji="0" lang="de-DE" sz="1200" b="0" i="0" strike="noStrike" kern="1200" cap="none" spc="0" normalizeH="0" baseline="0" noProof="0" dirty="0">
              <a:ln>
                <a:noFill/>
              </a:ln>
              <a:solidFill>
                <a:srgbClr val="000000"/>
              </a:solidFill>
              <a:effectLst/>
              <a:uLnTx/>
              <a:uFillTx/>
              <a:latin typeface="Bahnschrift" panose="020B0502040204020203" pitchFamily="34" charset="0"/>
              <a:cs typeface="+mn-cs"/>
              <a:sym typeface="Bahnschrift" panose="020B0502040204020203" pitchFamily="34" charset="0"/>
            </a:endParaRPr>
          </a:p>
        </p:txBody>
      </p:sp>
      <p:sp>
        <p:nvSpPr>
          <p:cNvPr id="146" name="Text Placeholder 4">
            <a:extLst>
              <a:ext uri="{FF2B5EF4-FFF2-40B4-BE49-F238E27FC236}">
                <a16:creationId xmlns:a16="http://schemas.microsoft.com/office/drawing/2014/main" id="{4C1F3293-4EFE-461D-940D-7EE66BAE31C5}"/>
              </a:ext>
            </a:extLst>
          </p:cNvPr>
          <p:cNvSpPr>
            <a:spLocks noGrp="1"/>
          </p:cNvSpPr>
          <p:nvPr>
            <p:custDataLst>
              <p:tags r:id="rId6"/>
            </p:custDataLst>
          </p:nvPr>
        </p:nvSpPr>
        <p:spPr bwMode="auto">
          <a:xfrm>
            <a:off x="2597150" y="3389313"/>
            <a:ext cx="2365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6235AF0-2EC8-493A-91AB-91214BDF3264}" type="datetime'''''''''''''''''''''''Öl'''''''">
              <a:rPr kumimoji="0" lang="de-DE" altLang="en-US" sz="2000" b="1" i="0" u="none" strike="noStrike" kern="1200" cap="none" spc="0" normalizeH="0" baseline="0" noProof="0" smtClean="0">
                <a:ln>
                  <a:noFill/>
                </a:ln>
                <a:solidFill>
                  <a:srgbClr val="000000"/>
                </a:solidFill>
                <a:effectLst/>
                <a:uLnTx/>
                <a:uFillTx/>
                <a:latin typeface="Bahnschrift" panose="020B0502040204020203" pitchFamily="34" charset="0"/>
                <a:sym typeface="Bahnschrift" panose="020B0502040204020203"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Öl</a:t>
            </a:fld>
            <a:endPar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196" name="Text Placeholder 4">
            <a:extLst>
              <a:ext uri="{FF2B5EF4-FFF2-40B4-BE49-F238E27FC236}">
                <a16:creationId xmlns:a16="http://schemas.microsoft.com/office/drawing/2014/main" id="{4C1F3293-4EFE-461D-940D-7EE66BAE31C5}"/>
              </a:ext>
            </a:extLst>
          </p:cNvPr>
          <p:cNvSpPr>
            <a:spLocks noGrp="1"/>
          </p:cNvSpPr>
          <p:nvPr>
            <p:custDataLst>
              <p:tags r:id="rId7"/>
            </p:custDataLst>
          </p:nvPr>
        </p:nvSpPr>
        <p:spPr bwMode="gray">
          <a:xfrm>
            <a:off x="4043363" y="2098675"/>
            <a:ext cx="635000" cy="609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6513" tIns="0" rIns="365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fontAlgn="auto">
              <a:spcBef>
                <a:spcPct val="0"/>
              </a:spcBef>
              <a:spcAft>
                <a:spcPct val="0"/>
              </a:spcAft>
              <a:buClr>
                <a:srgbClr val="000000"/>
              </a:buClr>
              <a:defRPr/>
            </a:pPr>
            <a:fld id="{4437AC0A-2A45-471A-9BB0-57F0F20C536A}" type="datetime'''''''''''''''''''''''''''''''''''''''''''8''''''''''''0'''''">
              <a:rPr lang="de-DE" altLang="en-US" sz="2000" b="1" smtClean="0">
                <a:solidFill>
                  <a:srgbClr val="FFFFFF"/>
                </a:solidFill>
                <a:latin typeface="Bahnschrift" panose="020B0502040204020203" pitchFamily="34" charset="0"/>
                <a:cs typeface="+mn-cs"/>
              </a:rPr>
              <a:pPr lvl="0" algn="ctr" fontAlgn="auto">
                <a:spcBef>
                  <a:spcPct val="0"/>
                </a:spcBef>
                <a:spcAft>
                  <a:spcPct val="0"/>
                </a:spcAft>
                <a:buClr>
                  <a:srgbClr val="000000"/>
                </a:buClr>
                <a:defRPr/>
              </a:pPr>
              <a:t>80</a:t>
            </a:fld>
            <a:br>
              <a:rPr kumimoji="0" lang="de-DE" altLang="en-US" sz="2000" b="1" i="0" u="none" strike="noStrike" kern="1200" cap="none" spc="0" normalizeH="0" baseline="0" noProof="0">
                <a:ln>
                  <a:noFill/>
                </a:ln>
                <a:solidFill>
                  <a:srgbClr val="FFFFFF"/>
                </a:solidFill>
                <a:effectLst/>
                <a:uLnTx/>
                <a:uFillTx/>
                <a:latin typeface="Bahnschrift" panose="020B0502040204020203" pitchFamily="34" charset="0"/>
                <a:sym typeface="Bahnschrift" panose="020B0502040204020203" pitchFamily="34" charset="0"/>
              </a:rPr>
            </a:br>
            <a:r>
              <a:rPr kumimoji="0" lang="de-DE" altLang="en-US" sz="2000" b="1" i="0" u="none" strike="noStrike" kern="1200" cap="none" spc="0" normalizeH="0" baseline="0" noProof="0">
                <a:ln>
                  <a:noFill/>
                </a:ln>
                <a:solidFill>
                  <a:srgbClr val="FFFFFF"/>
                </a:solidFill>
                <a:effectLst/>
                <a:uLnTx/>
                <a:uFillTx/>
                <a:latin typeface="Bahnschrift" panose="020B0502040204020203" pitchFamily="34" charset="0"/>
                <a:sym typeface="Bahnschrift" panose="020B0502040204020203" pitchFamily="34" charset="0"/>
              </a:rPr>
              <a:t>(</a:t>
            </a:r>
            <a:fld id="{8955C39A-CBA5-4A97-96F8-1D85918223A9}" type="datetime'''2''''1''''''''''''%'''''''''''''''''''''''''''">
              <a:rPr lang="de-DE" altLang="en-US" sz="2000" b="1" smtClean="0">
                <a:solidFill>
                  <a:srgbClr val="FFFFFF"/>
                </a:solidFill>
                <a:latin typeface="Bahnschrift" panose="020B0502040204020203" pitchFamily="34" charset="0"/>
                <a:cs typeface="+mn-cs"/>
              </a:rPr>
              <a:pPr/>
              <a:t>21%</a:t>
            </a:fld>
            <a:r>
              <a:rPr kumimoji="0" lang="de-DE" sz="2000" b="1" i="0" u="none" strike="noStrike" kern="1200" cap="none" spc="0" normalizeH="0" baseline="0" noProof="0">
                <a:ln>
                  <a:noFill/>
                </a:ln>
                <a:solidFill>
                  <a:srgbClr val="FFFFFF"/>
                </a:solidFill>
                <a:effectLst/>
                <a:uLnTx/>
                <a:uFillTx/>
                <a:latin typeface="Bahnschrift" panose="020B0502040204020203" pitchFamily="34" charset="0"/>
                <a:sym typeface="Bahnschrift" panose="020B0502040204020203" pitchFamily="34" charset="0"/>
              </a:rPr>
              <a:t>)</a:t>
            </a:r>
            <a:endParaRPr kumimoji="0" lang="de-DE" sz="2000" b="1" i="0" u="none" strike="noStrike" kern="1200" cap="none" spc="0" normalizeH="0" baseline="0" noProof="0" dirty="0">
              <a:ln>
                <a:noFill/>
              </a:ln>
              <a:solidFill>
                <a:srgbClr val="FFFFFF"/>
              </a:solidFill>
              <a:effectLst/>
              <a:uLnTx/>
              <a:uFillTx/>
              <a:latin typeface="Bahnschrift" panose="020B0502040204020203" pitchFamily="34" charset="0"/>
              <a:sym typeface="Bahnschrift" panose="020B0502040204020203" pitchFamily="34" charset="0"/>
            </a:endParaRPr>
          </a:p>
        </p:txBody>
      </p:sp>
      <p:sp>
        <p:nvSpPr>
          <p:cNvPr id="198"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gray">
          <a:xfrm>
            <a:off x="4014787" y="3236913"/>
            <a:ext cx="692150" cy="609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6513" tIns="0" rIns="36513"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fontAlgn="auto">
              <a:spcBef>
                <a:spcPct val="0"/>
              </a:spcBef>
              <a:spcAft>
                <a:spcPct val="0"/>
              </a:spcAft>
              <a:buClr>
                <a:srgbClr val="000000"/>
              </a:buClr>
              <a:defRPr/>
            </a:pPr>
            <a:fld id="{4C677BF1-5021-4E86-9919-18A1AFDB1702}" type="datetime'''''''''''''''''''''''''''''''''1''32'''''''''''''''''''''">
              <a:rPr lang="de-DE" altLang="en-US" sz="2000" b="1" smtClean="0">
                <a:solidFill>
                  <a:srgbClr val="FFFFFF"/>
                </a:solidFill>
                <a:latin typeface="Bahnschrift" panose="020B0502040204020203" pitchFamily="34" charset="0"/>
                <a:cs typeface="+mn-cs"/>
              </a:rPr>
              <a:pPr lvl="0" algn="ctr" fontAlgn="auto">
                <a:spcBef>
                  <a:spcPct val="0"/>
                </a:spcBef>
                <a:spcAft>
                  <a:spcPct val="0"/>
                </a:spcAft>
                <a:buClr>
                  <a:srgbClr val="000000"/>
                </a:buClr>
                <a:defRPr/>
              </a:pPr>
              <a:t>132</a:t>
            </a:fld>
            <a:br>
              <a:rPr kumimoji="0" lang="de-DE" altLang="en-US" sz="2000" b="1" i="0" u="none" strike="noStrike" kern="1200" cap="none" spc="0" normalizeH="0" baseline="0" noProof="0">
                <a:ln>
                  <a:noFill/>
                </a:ln>
                <a:solidFill>
                  <a:srgbClr val="FFFFFF"/>
                </a:solidFill>
                <a:effectLst/>
                <a:uLnTx/>
                <a:uFillTx/>
                <a:latin typeface="Bahnschrift" panose="020B0502040204020203" pitchFamily="34" charset="0"/>
                <a:sym typeface="Bahnschrift" panose="020B0502040204020203" pitchFamily="34" charset="0"/>
              </a:rPr>
            </a:br>
            <a:r>
              <a:rPr kumimoji="0" lang="de-DE" altLang="en-US" sz="2000" b="1" i="0" u="none" strike="noStrike" kern="1200" cap="none" spc="0" normalizeH="0" baseline="0" noProof="0">
                <a:ln>
                  <a:noFill/>
                </a:ln>
                <a:solidFill>
                  <a:srgbClr val="FFFFFF"/>
                </a:solidFill>
                <a:effectLst/>
                <a:uLnTx/>
                <a:uFillTx/>
                <a:latin typeface="Bahnschrift" panose="020B0502040204020203" pitchFamily="34" charset="0"/>
                <a:sym typeface="Bahnschrift" panose="020B0502040204020203" pitchFamily="34" charset="0"/>
              </a:rPr>
              <a:t>(</a:t>
            </a:r>
            <a:fld id="{61A5787F-688B-4BE4-84F2-B592D31C1631}" type="datetime'''''3''''''''5''%'''''''''''''''''''''">
              <a:rPr lang="de-DE" altLang="en-US" sz="2000" b="1" smtClean="0">
                <a:solidFill>
                  <a:srgbClr val="FFFFFF"/>
                </a:solidFill>
                <a:latin typeface="Bahnschrift" panose="020B0502040204020203" pitchFamily="34" charset="0"/>
                <a:cs typeface="+mn-cs"/>
              </a:rPr>
              <a:pPr/>
              <a:t>35%</a:t>
            </a:fld>
            <a:r>
              <a:rPr kumimoji="0" lang="de-DE" sz="2000" b="1" i="0" u="none" strike="noStrike" kern="1200" cap="none" spc="0" normalizeH="0" baseline="0" noProof="0">
                <a:ln>
                  <a:noFill/>
                </a:ln>
                <a:solidFill>
                  <a:srgbClr val="FFFFFF"/>
                </a:solidFill>
                <a:effectLst/>
                <a:uLnTx/>
                <a:uFillTx/>
                <a:latin typeface="Bahnschrift" panose="020B0502040204020203" pitchFamily="34" charset="0"/>
                <a:sym typeface="Bahnschrift" panose="020B0502040204020203" pitchFamily="34" charset="0"/>
              </a:rPr>
              <a:t>)</a:t>
            </a:r>
            <a:endParaRPr kumimoji="0" lang="de-DE" sz="2000" b="1" i="0" u="none" strike="noStrike" kern="1200" cap="none" spc="0" normalizeH="0" baseline="0" noProof="0" dirty="0">
              <a:ln>
                <a:noFill/>
              </a:ln>
              <a:solidFill>
                <a:srgbClr val="FFFFFF"/>
              </a:solidFill>
              <a:effectLst/>
              <a:uLnTx/>
              <a:uFillTx/>
              <a:latin typeface="Bahnschrift" panose="020B0502040204020203" pitchFamily="34" charset="0"/>
              <a:sym typeface="Bahnschrift" panose="020B0502040204020203" pitchFamily="34" charset="0"/>
            </a:endParaRPr>
          </a:p>
        </p:txBody>
      </p:sp>
      <p:sp>
        <p:nvSpPr>
          <p:cNvPr id="193" name="Text Placeholder 4">
            <a:extLst>
              <a:ext uri="{FF2B5EF4-FFF2-40B4-BE49-F238E27FC236}">
                <a16:creationId xmlns:a16="http://schemas.microsoft.com/office/drawing/2014/main" id="{4C1F3293-4EFE-461D-940D-7EE66BAE31C5}"/>
              </a:ext>
            </a:extLst>
          </p:cNvPr>
          <p:cNvSpPr>
            <a:spLocks noGrp="1"/>
          </p:cNvSpPr>
          <p:nvPr>
            <p:custDataLst>
              <p:tags r:id="rId9"/>
            </p:custDataLst>
          </p:nvPr>
        </p:nvSpPr>
        <p:spPr bwMode="gray">
          <a:xfrm>
            <a:off x="4092575" y="4464050"/>
            <a:ext cx="536575" cy="182563"/>
          </a:xfrm>
          <a:prstGeom prst="rect">
            <a:avLst/>
          </a:prstGeom>
          <a:noFill/>
          <a:ln>
            <a:noFill/>
          </a:ln>
          <a:effectLst/>
          <a:extLst>
            <a:ext uri="{909E8E84-426E-40DD-AFC4-6F175D3DCCD1}">
              <a14:hiddenFill xmlns:a14="http://schemas.microsoft.com/office/drawing/2010/main">
                <a:solidFill>
                  <a:srgbClr val="D0D0D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fontAlgn="auto">
              <a:spcBef>
                <a:spcPct val="0"/>
              </a:spcBef>
              <a:spcAft>
                <a:spcPct val="0"/>
              </a:spcAft>
              <a:buClr>
                <a:srgbClr val="000000"/>
              </a:buClr>
              <a:defRPr/>
            </a:pPr>
            <a:fld id="{841085D5-7EB3-4B51-8FA4-8331453F023C}" type="datetime'''''''''''''''''''3''''''''''''5'''''''''''''''''''''''''''''">
              <a:rPr lang="de-DE" altLang="en-US" sz="1200" smtClean="0">
                <a:solidFill>
                  <a:srgbClr val="000000"/>
                </a:solidFill>
                <a:effectLst/>
                <a:latin typeface="Bahnschrift" panose="020B0502040204020203" pitchFamily="34" charset="0"/>
                <a:cs typeface="+mn-cs"/>
              </a:rPr>
              <a:pPr lvl="0" algn="ctr" fontAlgn="auto">
                <a:spcBef>
                  <a:spcPct val="0"/>
                </a:spcBef>
                <a:spcAft>
                  <a:spcPct val="0"/>
                </a:spcAft>
                <a:buClr>
                  <a:srgbClr val="000000"/>
                </a:buClr>
                <a:defRPr/>
              </a:pPr>
              <a:t>35</a:t>
            </a:fld>
            <a:r>
              <a:rPr kumimoji="0" lang="de-DE" altLang="en-US" sz="1200" b="0" i="0" u="none" strike="noStrike" kern="1200" cap="none" spc="0" normalizeH="0" baseline="0" noProof="0">
                <a:ln>
                  <a:noFill/>
                </a:ln>
                <a:solidFill>
                  <a:srgbClr val="000000"/>
                </a:solidFill>
                <a:effectLst/>
                <a:uLnTx/>
                <a:uFillTx/>
                <a:latin typeface="Bahnschrift" panose="020B0502040204020203" pitchFamily="34" charset="0"/>
                <a:sym typeface="Bahnschrift" panose="020B0502040204020203" pitchFamily="34" charset="0"/>
              </a:rPr>
              <a:t> (</a:t>
            </a:r>
            <a:fld id="{EB846B57-A593-4E7C-BAF3-F85DDC6DBA81}" type="datetime'''''''''''''9''''''''''''''''''%'''''''''''''''''">
              <a:rPr lang="de-DE" altLang="en-US" sz="1200" smtClean="0">
                <a:solidFill>
                  <a:srgbClr val="000000"/>
                </a:solidFill>
                <a:latin typeface="Bahnschrift" panose="020B0502040204020203" pitchFamily="34" charset="0"/>
                <a:cs typeface="+mn-cs"/>
              </a:rPr>
              <a:pPr/>
              <a:t>9%</a:t>
            </a:fld>
            <a:r>
              <a:rPr kumimoji="0" lang="de-DE" altLang="en-US" sz="1200" b="0" i="0" u="none" strike="noStrike" kern="1200" cap="none" spc="0" normalizeH="0" baseline="0" noProof="0">
                <a:ln>
                  <a:noFill/>
                </a:ln>
                <a:solidFill>
                  <a:srgbClr val="000000"/>
                </a:solidFill>
                <a:effectLst/>
                <a:uLnTx/>
                <a:uFillTx/>
                <a:latin typeface="Bahnschrift" panose="020B0502040204020203" pitchFamily="34" charset="0"/>
                <a:sym typeface="Bahnschrift" panose="020B0502040204020203" pitchFamily="34" charset="0"/>
              </a:rPr>
              <a:t>)</a:t>
            </a:r>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145"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auto">
          <a:xfrm>
            <a:off x="2597150" y="2251075"/>
            <a:ext cx="43021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EBC60C0-C9F8-4841-B12F-C3430CD0A6BC}" type="datetime'''''''''''''''''G''''''''a''''s'''''''''''''''''''">
              <a:rPr kumimoji="0" lang="de-DE" altLang="en-US" sz="2000" b="1" i="0" u="none" strike="noStrike" kern="1200" cap="none" spc="0" normalizeH="0" baseline="0" noProof="0" smtClean="0">
                <a:ln>
                  <a:noFill/>
                </a:ln>
                <a:solidFill>
                  <a:srgbClr val="000000"/>
                </a:solidFill>
                <a:effectLst/>
                <a:uLnTx/>
                <a:uFillTx/>
                <a:latin typeface="Bahnschrift" panose="020B0502040204020203" pitchFamily="34" charset="0"/>
                <a:sym typeface="Bahnschrift" panose="020B0502040204020203"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Gas</a:t>
            </a:fld>
            <a:endPar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322" name="Text Placeholder 4">
            <a:extLst>
              <a:ext uri="{FF2B5EF4-FFF2-40B4-BE49-F238E27FC236}">
                <a16:creationId xmlns:a16="http://schemas.microsoft.com/office/drawing/2014/main" id="{D0790A30-9B89-4774-A8DD-14C6BA1C3484}"/>
              </a:ext>
            </a:extLst>
          </p:cNvPr>
          <p:cNvSpPr>
            <a:spLocks noGrp="1"/>
          </p:cNvSpPr>
          <p:nvPr>
            <p:custDataLst>
              <p:tags r:id="rId11"/>
            </p:custDataLst>
          </p:nvPr>
        </p:nvSpPr>
        <p:spPr bwMode="gray">
          <a:xfrm>
            <a:off x="4122738" y="4217988"/>
            <a:ext cx="477838" cy="182563"/>
          </a:xfrm>
          <a:prstGeom prst="rect">
            <a:avLst/>
          </a:prstGeom>
          <a:solidFill>
            <a:srgbClr val="D0D0D0"/>
          </a:solidFill>
          <a:ln>
            <a:noFill/>
          </a:ln>
          <a:effec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fontAlgn="auto">
              <a:spcBef>
                <a:spcPct val="0"/>
              </a:spcBef>
              <a:spcAft>
                <a:spcPct val="0"/>
              </a:spcAft>
              <a:buClr>
                <a:srgbClr val="000000"/>
              </a:buClr>
              <a:defRPr/>
            </a:pPr>
            <a:fld id="{109AA2FC-EA00-4990-818E-EEA484A900BF}" type="datetime'''''''''''''''1''''''''''1'''''''''">
              <a:rPr lang="de-DE" altLang="en-US" sz="1200" smtClean="0">
                <a:latin typeface="Bahnschrift" panose="020B0502040204020203" pitchFamily="34" charset="0"/>
                <a:cs typeface="+mn-cs"/>
              </a:rPr>
              <a:pPr lvl="0" algn="ctr" fontAlgn="auto">
                <a:spcBef>
                  <a:spcPct val="0"/>
                </a:spcBef>
                <a:spcAft>
                  <a:spcPct val="0"/>
                </a:spcAft>
                <a:buClr>
                  <a:srgbClr val="000000"/>
                </a:buClr>
                <a:defRPr/>
              </a:pPr>
              <a:t>11</a:t>
            </a:fld>
            <a:r>
              <a:rPr kumimoji="0" lang="de-DE" altLang="en-US" sz="1200" b="0" i="0" u="none" strike="noStrike" kern="1200" cap="none" spc="0" normalizeH="0" baseline="0" noProof="0">
                <a:ln>
                  <a:noFill/>
                </a:ln>
                <a:effectLst/>
                <a:uLnTx/>
                <a:uFillTx/>
                <a:latin typeface="Bahnschrift" panose="020B0502040204020203" pitchFamily="34" charset="0"/>
                <a:sym typeface="Bahnschrift" panose="020B0502040204020203" pitchFamily="34" charset="0"/>
              </a:rPr>
              <a:t> (</a:t>
            </a:r>
            <a:fld id="{1E1FDFB8-ED94-4B53-A48A-04CA920B64E2}" type="datetime'''''''''''''''''''3''''''''''''''''''''''''''%'''''''''''''''">
              <a:rPr lang="de-DE" altLang="en-US" sz="1200" smtClean="0">
                <a:effectLst/>
                <a:latin typeface="Bahnschrift" panose="020B0502040204020203" pitchFamily="34" charset="0"/>
                <a:cs typeface="+mn-cs"/>
              </a:rPr>
              <a:pPr/>
              <a:t>3%</a:t>
            </a:fld>
            <a:r>
              <a:rPr kumimoji="0" lang="de-DE" sz="1200" b="0" i="0" u="none" strike="noStrike" kern="1200" cap="none" spc="0" normalizeH="0" baseline="0" noProof="0">
                <a:ln>
                  <a:noFill/>
                </a:ln>
                <a:effectLst/>
                <a:uLnTx/>
                <a:uFillTx/>
                <a:latin typeface="Bahnschrift" panose="020B0502040204020203" pitchFamily="34" charset="0"/>
                <a:sym typeface="Bahnschrift" panose="020B0502040204020203" pitchFamily="34" charset="0"/>
              </a:rPr>
              <a:t>)</a:t>
            </a:r>
            <a:endParaRPr kumimoji="0" lang="de-DE" sz="1200" b="0" i="0" u="none" strike="noStrike" kern="1200" cap="none" spc="0" normalizeH="0" baseline="0" noProof="0" dirty="0">
              <a:ln>
                <a:noFill/>
              </a:ln>
              <a:effectLst/>
              <a:uLnTx/>
              <a:uFillTx/>
              <a:latin typeface="Bahnschrift" panose="020B0502040204020203" pitchFamily="34" charset="0"/>
              <a:sym typeface="Bahnschrift" panose="020B0502040204020203" pitchFamily="34" charset="0"/>
            </a:endParaRPr>
          </a:p>
        </p:txBody>
      </p:sp>
      <p:sp>
        <p:nvSpPr>
          <p:cNvPr id="52" name="Text Placeholder 4">
            <a:extLst>
              <a:ext uri="{FF2B5EF4-FFF2-40B4-BE49-F238E27FC236}">
                <a16:creationId xmlns:a16="http://schemas.microsoft.com/office/drawing/2014/main" id="{787F5D00-6594-4C84-89A8-1FE7684F917E}"/>
              </a:ext>
            </a:extLst>
          </p:cNvPr>
          <p:cNvSpPr>
            <a:spLocks noGrp="1"/>
          </p:cNvSpPr>
          <p:nvPr>
            <p:custDataLst>
              <p:tags r:id="rId12"/>
            </p:custDataLst>
          </p:nvPr>
        </p:nvSpPr>
        <p:spPr bwMode="gray">
          <a:xfrm>
            <a:off x="4064000" y="5686425"/>
            <a:ext cx="595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fontAlgn="auto">
              <a:spcBef>
                <a:spcPct val="0"/>
              </a:spcBef>
              <a:spcAft>
                <a:spcPct val="0"/>
              </a:spcAft>
              <a:buClr>
                <a:srgbClr val="000000"/>
              </a:buClr>
              <a:defRPr/>
            </a:pPr>
            <a:fld id="{8789B15C-322E-4764-AFE7-85E5179CF8B4}" type="datetime'''''''''''''''''''''''''''45'''''''''''''''''''''''''''">
              <a:rPr lang="de-DE" altLang="en-US" sz="1200" smtClean="0">
                <a:solidFill>
                  <a:srgbClr val="000000"/>
                </a:solidFill>
                <a:latin typeface="Bahnschrift" panose="020B0502040204020203" pitchFamily="34" charset="0"/>
                <a:cs typeface="+mn-cs"/>
              </a:rPr>
              <a:pPr/>
              <a:t>45</a:t>
            </a:fld>
            <a:r>
              <a:rPr lang="de-DE" altLang="en-US" sz="1200">
                <a:solidFill>
                  <a:srgbClr val="000000"/>
                </a:solidFill>
                <a:latin typeface="Bahnschrift" panose="020B0502040204020203" pitchFamily="34" charset="0"/>
                <a:cs typeface="+mn-cs"/>
                <a:sym typeface="Bahnschrift" panose="020B0502040204020203" pitchFamily="34" charset="0"/>
              </a:rPr>
              <a:t> (</a:t>
            </a:r>
            <a:fld id="{7B5E37CE-E000-4947-B23C-0B854E78F09E}" type="datetime'''''''''''''''''''''''1''''''2''''''''%'''''''''">
              <a:rPr lang="de-DE" altLang="en-US" sz="1200" smtClean="0">
                <a:solidFill>
                  <a:srgbClr val="000000"/>
                </a:solidFill>
                <a:latin typeface="Bahnschrift" panose="020B0502040204020203" pitchFamily="34" charset="0"/>
                <a:cs typeface="+mn-cs"/>
              </a:rPr>
              <a:pPr/>
              <a:t>12%</a:t>
            </a:fld>
            <a:r>
              <a:rPr lang="de-DE" sz="1200" u="none" strike="noStrike" normalizeH="0" noProof="0">
                <a:ln>
                  <a:noFill/>
                </a:ln>
                <a:solidFill>
                  <a:srgbClr val="000000"/>
                </a:solidFill>
                <a:effectLst/>
                <a:uLnTx/>
                <a:uFillTx/>
                <a:latin typeface="Bahnschrift" panose="020B0502040204020203" pitchFamily="34" charset="0"/>
                <a:cs typeface="+mn-cs"/>
                <a:sym typeface="Bahnschrift" panose="020B0502040204020203" pitchFamily="34" charset="0"/>
              </a:rPr>
              <a:t>)</a:t>
            </a:r>
            <a:endParaRPr lang="de-DE" sz="1200" u="none" strike="noStrike" normalizeH="0" noProof="0" dirty="0">
              <a:ln>
                <a:noFill/>
              </a:ln>
              <a:solidFill>
                <a:srgbClr val="000000"/>
              </a:solidFill>
              <a:effectLst/>
              <a:uLnTx/>
              <a:uFillTx/>
              <a:latin typeface="Bahnschrift" panose="020B0502040204020203" pitchFamily="34" charset="0"/>
              <a:cs typeface="+mn-cs"/>
              <a:sym typeface="Bahnschrift" panose="020B0502040204020203" pitchFamily="34" charset="0"/>
            </a:endParaRPr>
          </a:p>
        </p:txBody>
      </p:sp>
      <p:sp>
        <p:nvSpPr>
          <p:cNvPr id="321" name="Text Placeholder 4">
            <a:extLst>
              <a:ext uri="{FF2B5EF4-FFF2-40B4-BE49-F238E27FC236}">
                <a16:creationId xmlns:a16="http://schemas.microsoft.com/office/drawing/2014/main" id="{A4536CD7-D842-47C6-80D5-C0F9526E556D}"/>
              </a:ext>
            </a:extLst>
          </p:cNvPr>
          <p:cNvSpPr>
            <a:spLocks noGrp="1"/>
          </p:cNvSpPr>
          <p:nvPr>
            <p:custDataLst>
              <p:tags r:id="rId13"/>
            </p:custDataLst>
          </p:nvPr>
        </p:nvSpPr>
        <p:spPr bwMode="auto">
          <a:xfrm>
            <a:off x="2597150" y="4087813"/>
            <a:ext cx="8540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de-DE" altLang="en-US" sz="12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rPr>
              <a:t>Wind und PV</a:t>
            </a:r>
          </a:p>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153" name="Text Placeholder 4">
            <a:extLst>
              <a:ext uri="{FF2B5EF4-FFF2-40B4-BE49-F238E27FC236}">
                <a16:creationId xmlns:a16="http://schemas.microsoft.com/office/drawing/2014/main" id="{D1B6ED9E-8B0A-4955-8260-D1CB8054C2F8}"/>
              </a:ext>
            </a:extLst>
          </p:cNvPr>
          <p:cNvSpPr>
            <a:spLocks noGrp="1"/>
          </p:cNvSpPr>
          <p:nvPr>
            <p:custDataLst>
              <p:tags r:id="rId14"/>
            </p:custDataLst>
          </p:nvPr>
        </p:nvSpPr>
        <p:spPr bwMode="auto">
          <a:xfrm>
            <a:off x="2597151" y="4503738"/>
            <a:ext cx="1127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fontAlgn="auto">
              <a:spcBef>
                <a:spcPct val="0"/>
              </a:spcBef>
              <a:spcAft>
                <a:spcPct val="0"/>
              </a:spcAft>
              <a:buClr>
                <a:srgbClr val="000000"/>
              </a:buClr>
              <a:defRPr/>
            </a:pPr>
            <a:fld id="{71C6D0DE-872E-4122-8545-695E7403584E}" type="datetime'''Was''se''''''''''''''rk''''''''''''''''''ra''f''t'">
              <a:rPr lang="de-DE" altLang="en-US" sz="1200" smtClean="0">
                <a:solidFill>
                  <a:srgbClr val="000000"/>
                </a:solidFill>
                <a:latin typeface="Bahnschrift" panose="020B0502040204020203" pitchFamily="34" charset="0"/>
                <a:cs typeface="+mn-cs"/>
              </a:rPr>
              <a:pPr lvl="0" fontAlgn="auto">
                <a:spcBef>
                  <a:spcPct val="0"/>
                </a:spcBef>
                <a:spcAft>
                  <a:spcPct val="0"/>
                </a:spcAft>
                <a:buClr>
                  <a:srgbClr val="000000"/>
                </a:buClr>
                <a:defRPr/>
              </a:pPr>
              <a:t>Wasserkraft</a:t>
            </a:fld>
            <a:r>
              <a:rPr kumimoji="0" lang="de-DE" altLang="en-US" sz="1200" b="0" i="0" u="none" strike="noStrike" kern="1200" cap="none" spc="0" normalizeH="0" baseline="0" noProof="0">
                <a:ln>
                  <a:noFill/>
                </a:ln>
                <a:solidFill>
                  <a:srgbClr val="000000"/>
                </a:solidFill>
                <a:effectLst/>
                <a:uLnTx/>
                <a:uFillTx/>
                <a:latin typeface="Bahnschrift" panose="020B0502040204020203" pitchFamily="34" charset="0"/>
                <a:sym typeface="Bahnschrift" panose="020B0502040204020203" pitchFamily="34" charset="0"/>
              </a:rPr>
              <a:t>       </a:t>
            </a:r>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45" name="Text Placeholder 4">
            <a:extLst>
              <a:ext uri="{FF2B5EF4-FFF2-40B4-BE49-F238E27FC236}">
                <a16:creationId xmlns:a16="http://schemas.microsoft.com/office/drawing/2014/main" id="{984C35E5-676C-49B0-8B0B-A8F94BD76376}"/>
              </a:ext>
            </a:extLst>
          </p:cNvPr>
          <p:cNvSpPr>
            <a:spLocks noGrp="1"/>
          </p:cNvSpPr>
          <p:nvPr>
            <p:custDataLst>
              <p:tags r:id="rId15"/>
            </p:custDataLst>
          </p:nvPr>
        </p:nvSpPr>
        <p:spPr bwMode="auto">
          <a:xfrm>
            <a:off x="2597149" y="5686425"/>
            <a:ext cx="592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fontAlgn="auto">
              <a:spcBef>
                <a:spcPct val="0"/>
              </a:spcBef>
              <a:spcAft>
                <a:spcPct val="0"/>
              </a:spcAft>
              <a:buClr>
                <a:srgbClr val="000000"/>
              </a:buClr>
              <a:defRPr/>
            </a:pPr>
            <a:fld id="{1F228076-308E-4C97-AC85-F86449A5F188}" type="datetime'''''''S''''''''o''nst''''''''i''g''''''''''''e'''''">
              <a:rPr lang="de-DE" altLang="en-US" sz="1200" smtClean="0">
                <a:solidFill>
                  <a:srgbClr val="000000"/>
                </a:solidFill>
                <a:latin typeface="Bahnschrift" panose="020B0502040204020203" pitchFamily="34" charset="0"/>
                <a:cs typeface="+mn-cs"/>
              </a:rPr>
              <a:pPr/>
              <a:t>Sonstige</a:t>
            </a:fld>
            <a:endParaRPr kumimoji="0" lang="de-DE" sz="1200" b="0" i="0" strike="noStrike" kern="1200" cap="none" spc="0" normalizeH="0" baseline="0" noProof="0" dirty="0">
              <a:ln>
                <a:noFill/>
              </a:ln>
              <a:solidFill>
                <a:srgbClr val="000000"/>
              </a:solidFill>
              <a:effectLst/>
              <a:uLnTx/>
              <a:uFillTx/>
              <a:latin typeface="Bahnschrift" panose="020B0502040204020203" pitchFamily="34" charset="0"/>
              <a:cs typeface="+mn-cs"/>
              <a:sym typeface="Bahnschrift" panose="020B0502040204020203" pitchFamily="34" charset="0"/>
            </a:endParaRPr>
          </a:p>
        </p:txBody>
      </p:sp>
      <p:sp>
        <p:nvSpPr>
          <p:cNvPr id="156" name="Text Placeholder 4">
            <a:extLst>
              <a:ext uri="{FF2B5EF4-FFF2-40B4-BE49-F238E27FC236}">
                <a16:creationId xmlns:a16="http://schemas.microsoft.com/office/drawing/2014/main" id="{449D243C-33CE-4C53-B1EF-50D280243360}"/>
              </a:ext>
            </a:extLst>
          </p:cNvPr>
          <p:cNvSpPr>
            <a:spLocks noGrp="1"/>
          </p:cNvSpPr>
          <p:nvPr>
            <p:custDataLst>
              <p:tags r:id="rId16"/>
            </p:custDataLst>
          </p:nvPr>
        </p:nvSpPr>
        <p:spPr bwMode="gray">
          <a:xfrm>
            <a:off x="4198938" y="1735638"/>
            <a:ext cx="323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fontAlgn="auto">
              <a:spcBef>
                <a:spcPct val="0"/>
              </a:spcBef>
              <a:spcAft>
                <a:spcPct val="0"/>
              </a:spcAft>
              <a:buClr>
                <a:srgbClr val="000000"/>
              </a:buClr>
              <a:defRPr/>
            </a:pPr>
            <a:fld id="{750ABEB7-BC86-4569-A59C-D43E69AADBD9}" type="datetime'''''''''3''''''7''''''''''''''''''''''''''''''6'''''''''">
              <a:rPr lang="de-DE" altLang="en-US" sz="1400" smtClean="0">
                <a:solidFill>
                  <a:srgbClr val="000000"/>
                </a:solidFill>
                <a:latin typeface="Bahnschrift" panose="020B0502040204020203" pitchFamily="34" charset="0"/>
                <a:cs typeface="+mn-cs"/>
              </a:rPr>
              <a:pPr/>
              <a:t>376</a:t>
            </a:fld>
            <a:endParaRPr kumimoji="0" lang="de-DE" sz="1400" b="0" i="0" strike="noStrike" kern="1200" cap="none" spc="0" normalizeH="0" baseline="0" noProof="0" dirty="0">
              <a:ln>
                <a:noFill/>
              </a:ln>
              <a:solidFill>
                <a:srgbClr val="000000"/>
              </a:solidFill>
              <a:effectLst/>
              <a:uLnTx/>
              <a:uFillTx/>
              <a:latin typeface="Bahnschrift" panose="020B0502040204020203" pitchFamily="34" charset="0"/>
              <a:cs typeface="+mn-cs"/>
              <a:sym typeface="Bahnschrift" panose="020B0502040204020203" pitchFamily="34" charset="0"/>
            </a:endParaRPr>
          </a:p>
        </p:txBody>
      </p:sp>
      <p:pic>
        <p:nvPicPr>
          <p:cNvPr id="349" name="CustomIcon">
            <a:extLst>
              <a:ext uri="{FF2B5EF4-FFF2-40B4-BE49-F238E27FC236}">
                <a16:creationId xmlns:a16="http://schemas.microsoft.com/office/drawing/2014/main" id="{1253AA66-C9A3-8E1F-5608-079679886A6E}"/>
              </a:ext>
            </a:extLst>
          </p:cNvPr>
          <p:cNvPicPr>
            <a:picLocks/>
          </p:cNvPicPr>
          <p:nvPr>
            <p:custDataLst>
              <p:tags r:id="rId17"/>
            </p:custDataLst>
          </p:nvPr>
        </p:nvPicPr>
        <p:blipFill>
          <a:blip r:embed="rId31">
            <a:extLst>
              <a:ext uri="{96DAC541-7B7A-43D3-8B79-37D633B846F1}">
                <asvg:svgBlip xmlns:asvg="http://schemas.microsoft.com/office/drawing/2016/SVG/main" r:embed="rId32"/>
              </a:ext>
            </a:extLst>
          </a:blip>
          <a:stretch>
            <a:fillRect/>
          </a:stretch>
        </p:blipFill>
        <p:spPr>
          <a:xfrm>
            <a:off x="2003123" y="3375954"/>
            <a:ext cx="387350" cy="387350"/>
          </a:xfrm>
          <a:prstGeom prst="rect">
            <a:avLst/>
          </a:prstGeom>
        </p:spPr>
      </p:pic>
      <p:cxnSp>
        <p:nvCxnSpPr>
          <p:cNvPr id="481" name="Straight Connector 480">
            <a:extLst>
              <a:ext uri="{FF2B5EF4-FFF2-40B4-BE49-F238E27FC236}">
                <a16:creationId xmlns:a16="http://schemas.microsoft.com/office/drawing/2014/main" id="{82ABCA8B-050C-EB28-11E6-8361BC07B5C5}"/>
              </a:ext>
            </a:extLst>
          </p:cNvPr>
          <p:cNvCxnSpPr>
            <a:cxnSpLocks/>
          </p:cNvCxnSpPr>
          <p:nvPr/>
        </p:nvCxnSpPr>
        <p:spPr>
          <a:xfrm>
            <a:off x="5311913" y="3657286"/>
            <a:ext cx="0" cy="142840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83" name="Straight Connector 482">
            <a:extLst>
              <a:ext uri="{FF2B5EF4-FFF2-40B4-BE49-F238E27FC236}">
                <a16:creationId xmlns:a16="http://schemas.microsoft.com/office/drawing/2014/main" id="{F8882BE5-FDEA-8BFD-D0F9-3CDE74CE3C1B}"/>
              </a:ext>
            </a:extLst>
          </p:cNvPr>
          <p:cNvCxnSpPr/>
          <p:nvPr/>
        </p:nvCxnSpPr>
        <p:spPr>
          <a:xfrm>
            <a:off x="4900613" y="2583363"/>
            <a:ext cx="404950"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84" name="Straight Connector 483">
            <a:extLst>
              <a:ext uri="{FF2B5EF4-FFF2-40B4-BE49-F238E27FC236}">
                <a16:creationId xmlns:a16="http://schemas.microsoft.com/office/drawing/2014/main" id="{C231A0E8-174D-B535-AC05-07814F856FC8}"/>
              </a:ext>
            </a:extLst>
          </p:cNvPr>
          <p:cNvCxnSpPr/>
          <p:nvPr/>
        </p:nvCxnSpPr>
        <p:spPr>
          <a:xfrm>
            <a:off x="4900613" y="3887201"/>
            <a:ext cx="404950"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CFF28BE-CCCC-1A99-6DF1-470CD0547159}"/>
              </a:ext>
            </a:extLst>
          </p:cNvPr>
          <p:cNvSpPr txBox="1">
            <a:spLocks/>
          </p:cNvSpPr>
          <p:nvPr/>
        </p:nvSpPr>
        <p:spPr>
          <a:xfrm>
            <a:off x="5471573" y="3565799"/>
            <a:ext cx="4281658" cy="124649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3400" b="1" i="0" u="none" strike="noStrike" kern="1200" cap="none" spc="0" normalizeH="0" baseline="0" noProof="0" dirty="0">
                <a:ln>
                  <a:noFill/>
                </a:ln>
                <a:effectLst/>
                <a:uLnTx/>
                <a:uFillTx/>
                <a:latin typeface="Bahnschrift" panose="020B0502040204020203" pitchFamily="34" charset="0"/>
              </a:rPr>
              <a:t>Nur 5% </a:t>
            </a:r>
            <a:br>
              <a:rPr kumimoji="0" lang="pl-PL" sz="3400" b="1" i="0" u="none" strike="noStrike" kern="1200" cap="none" spc="0" normalizeH="0" baseline="0" noProof="0" dirty="0">
                <a:ln>
                  <a:noFill/>
                </a:ln>
                <a:effectLst/>
                <a:uLnTx/>
                <a:uFillTx/>
                <a:latin typeface="Bahnschrift" panose="020B0502040204020203" pitchFamily="34" charset="0"/>
              </a:rPr>
            </a:br>
            <a:r>
              <a:rPr kumimoji="0" lang="de-DE" sz="1400" b="1" i="0" u="none" strike="noStrike" kern="1200" cap="none" spc="0" normalizeH="0" baseline="0" noProof="0" dirty="0">
                <a:ln>
                  <a:noFill/>
                </a:ln>
                <a:effectLst/>
                <a:uLnTx/>
                <a:uFillTx/>
                <a:latin typeface="Bahnschrift" panose="020B0502040204020203" pitchFamily="34" charset="0"/>
              </a:rPr>
              <a:t>aus Eigenproduktion</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400" b="0" i="0" u="none" strike="noStrike" kern="1200" cap="none" spc="0" normalizeH="0" baseline="0" noProof="0" dirty="0">
                <a:ln>
                  <a:noFill/>
                </a:ln>
                <a:effectLst/>
                <a:uLnTx/>
                <a:uFillTx/>
                <a:latin typeface="Bahnschrift" panose="020B0502040204020203" pitchFamily="34" charset="0"/>
              </a:rPr>
              <a:t>Nur 4 Länder für 90% der Ölimporte verantwortlich: Kasachstan, Libyen und Irak werden dies auch in Zukunft sein; es gibt keine Importe mehr aus Russland seit Februar 2022</a:t>
            </a:r>
          </a:p>
        </p:txBody>
      </p:sp>
      <p:pic>
        <p:nvPicPr>
          <p:cNvPr id="347" name="CustomIcon">
            <a:extLst>
              <a:ext uri="{FF2B5EF4-FFF2-40B4-BE49-F238E27FC236}">
                <a16:creationId xmlns:a16="http://schemas.microsoft.com/office/drawing/2014/main" id="{5F05A4E0-9E38-4AC7-2E60-2FA993ACCE74}"/>
              </a:ext>
            </a:extLst>
          </p:cNvPr>
          <p:cNvPicPr>
            <a:picLocks/>
          </p:cNvPicPr>
          <p:nvPr>
            <p:custDataLst>
              <p:tags r:id="rId18"/>
            </p:custDataLst>
          </p:nvPr>
        </p:nvPicPr>
        <p:blipFill>
          <a:blip r:embed="rId33">
            <a:extLst>
              <a:ext uri="{96DAC541-7B7A-43D3-8B79-37D633B846F1}">
                <asvg:svgBlip xmlns:asvg="http://schemas.microsoft.com/office/drawing/2016/SVG/main" r:embed="rId34"/>
              </a:ext>
            </a:extLst>
          </a:blip>
          <a:stretch>
            <a:fillRect/>
          </a:stretch>
        </p:blipFill>
        <p:spPr>
          <a:xfrm>
            <a:off x="2003123" y="2221667"/>
            <a:ext cx="387350" cy="388938"/>
          </a:xfrm>
          <a:prstGeom prst="rect">
            <a:avLst/>
          </a:prstGeom>
        </p:spPr>
      </p:pic>
      <p:cxnSp>
        <p:nvCxnSpPr>
          <p:cNvPr id="480" name="Straight Connector 479">
            <a:extLst>
              <a:ext uri="{FF2B5EF4-FFF2-40B4-BE49-F238E27FC236}">
                <a16:creationId xmlns:a16="http://schemas.microsoft.com/office/drawing/2014/main" id="{4DB834D4-9050-B191-8864-7127FA83EE69}"/>
              </a:ext>
            </a:extLst>
          </p:cNvPr>
          <p:cNvCxnSpPr>
            <a:cxnSpLocks/>
          </p:cNvCxnSpPr>
          <p:nvPr/>
        </p:nvCxnSpPr>
        <p:spPr>
          <a:xfrm>
            <a:off x="5311913" y="2431258"/>
            <a:ext cx="0" cy="914832"/>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02EB057D-D609-4951-B016-0FFA23DF88EF}"/>
              </a:ext>
            </a:extLst>
          </p:cNvPr>
          <p:cNvSpPr txBox="1">
            <a:spLocks/>
          </p:cNvSpPr>
          <p:nvPr/>
        </p:nvSpPr>
        <p:spPr>
          <a:xfrm>
            <a:off x="5471573" y="2046697"/>
            <a:ext cx="4281658" cy="215403"/>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t>Vertiefung: Herkunft von Öl und Gas</a:t>
            </a:r>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ndParaRPr>
          </a:p>
        </p:txBody>
      </p:sp>
      <p:sp>
        <p:nvSpPr>
          <p:cNvPr id="13" name="TextBox 12">
            <a:extLst>
              <a:ext uri="{FF2B5EF4-FFF2-40B4-BE49-F238E27FC236}">
                <a16:creationId xmlns:a16="http://schemas.microsoft.com/office/drawing/2014/main" id="{D2973609-EF22-CE6B-FC5B-DA82B15F0F24}"/>
              </a:ext>
            </a:extLst>
          </p:cNvPr>
          <p:cNvSpPr txBox="1">
            <a:spLocks/>
          </p:cNvSpPr>
          <p:nvPr/>
        </p:nvSpPr>
        <p:spPr>
          <a:xfrm>
            <a:off x="5471573" y="2344672"/>
            <a:ext cx="4281658" cy="103085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3400" b="1" i="0" u="none" strike="noStrike" kern="1200" cap="none" spc="0" normalizeH="0" baseline="0" noProof="0" dirty="0">
                <a:ln>
                  <a:noFill/>
                </a:ln>
                <a:effectLst/>
                <a:uLnTx/>
                <a:uFillTx/>
                <a:latin typeface="Bahnschrift" panose="020B0502040204020203" pitchFamily="34" charset="0"/>
              </a:rPr>
              <a:t>Nur 8% </a:t>
            </a:r>
            <a:br>
              <a:rPr kumimoji="0" lang="pl-PL" sz="3400" b="1" i="0" u="none" strike="noStrike" kern="1200" cap="none" spc="0" normalizeH="0" baseline="0" noProof="0" dirty="0">
                <a:ln>
                  <a:noFill/>
                </a:ln>
                <a:effectLst/>
                <a:uLnTx/>
                <a:uFillTx/>
                <a:latin typeface="Bahnschrift" panose="020B0502040204020203" pitchFamily="34" charset="0"/>
              </a:rPr>
            </a:br>
            <a:r>
              <a:rPr kumimoji="0" lang="de-DE" sz="1400" b="1" i="0" u="none" strike="noStrike" kern="1200" cap="none" spc="0" normalizeH="0" baseline="0" noProof="0" dirty="0">
                <a:ln>
                  <a:noFill/>
                </a:ln>
                <a:effectLst/>
                <a:uLnTx/>
                <a:uFillTx/>
                <a:latin typeface="Bahnschrift" panose="020B0502040204020203" pitchFamily="34" charset="0"/>
              </a:rPr>
              <a:t>aus Eigenproduktion</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400" b="0" i="0" u="none" strike="noStrike" kern="1200" cap="none" spc="0" normalizeH="0" baseline="0" noProof="0" dirty="0">
                <a:ln>
                  <a:noFill/>
                </a:ln>
                <a:effectLst/>
                <a:uLnTx/>
                <a:uFillTx/>
                <a:latin typeface="Bahnschrift" panose="020B0502040204020203" pitchFamily="34" charset="0"/>
              </a:rPr>
              <a:t>Russland auch in 2022 noch wichtigster Gaslieferant</a:t>
            </a:r>
            <a:r>
              <a:rPr kumimoji="0" lang="de-DE" sz="1400" b="0" i="0" u="none" strike="noStrike" kern="1200" cap="none" spc="0" normalizeH="0" baseline="30000" noProof="0" dirty="0">
                <a:ln>
                  <a:noFill/>
                </a:ln>
                <a:effectLst/>
                <a:uLnTx/>
                <a:uFillTx/>
                <a:latin typeface="Bahnschrift" panose="020B0502040204020203" pitchFamily="34" charset="0"/>
              </a:rPr>
              <a:t>2</a:t>
            </a:r>
          </a:p>
        </p:txBody>
      </p:sp>
      <p:pic>
        <p:nvPicPr>
          <p:cNvPr id="16" name="CustomIcon">
            <a:extLst>
              <a:ext uri="{FF2B5EF4-FFF2-40B4-BE49-F238E27FC236}">
                <a16:creationId xmlns:a16="http://schemas.microsoft.com/office/drawing/2014/main" id="{2FF9750A-2EF9-0631-0DB4-65768204AD3D}"/>
              </a:ext>
            </a:extLst>
          </p:cNvPr>
          <p:cNvPicPr>
            <a:picLocks/>
          </p:cNvPicPr>
          <p:nvPr>
            <p:custDataLst>
              <p:tags r:id="rId19"/>
            </p:custDataLst>
          </p:nvPr>
        </p:nvPicPr>
        <p:blipFill>
          <a:blip r:embed="rId35">
            <a:extLst>
              <a:ext uri="{96DAC541-7B7A-43D3-8B79-37D633B846F1}">
                <asvg:svgBlip xmlns:asvg="http://schemas.microsoft.com/office/drawing/2016/SVG/main" r:embed="rId36"/>
              </a:ext>
            </a:extLst>
          </a:blip>
          <a:stretch>
            <a:fillRect/>
          </a:stretch>
        </p:blipFill>
        <p:spPr>
          <a:xfrm>
            <a:off x="2003123" y="3949002"/>
            <a:ext cx="387350" cy="388938"/>
          </a:xfrm>
          <a:prstGeom prst="rect">
            <a:avLst/>
          </a:prstGeom>
        </p:spPr>
      </p:pic>
      <p:pic>
        <p:nvPicPr>
          <p:cNvPr id="18" name="CustomIcon">
            <a:extLst>
              <a:ext uri="{FF2B5EF4-FFF2-40B4-BE49-F238E27FC236}">
                <a16:creationId xmlns:a16="http://schemas.microsoft.com/office/drawing/2014/main" id="{4BBB921D-516B-3317-2D33-250EA66315DC}"/>
              </a:ext>
            </a:extLst>
          </p:cNvPr>
          <p:cNvPicPr>
            <a:picLocks/>
          </p:cNvPicPr>
          <p:nvPr>
            <p:custDataLst>
              <p:tags r:id="rId20"/>
            </p:custDataLst>
          </p:nvPr>
        </p:nvPicPr>
        <p:blipFill>
          <a:blip r:embed="rId37">
            <a:extLst>
              <a:ext uri="{96DAC541-7B7A-43D3-8B79-37D633B846F1}">
                <asvg:svgBlip xmlns:asvg="http://schemas.microsoft.com/office/drawing/2016/SVG/main" r:embed="rId38"/>
              </a:ext>
            </a:extLst>
          </a:blip>
          <a:stretch>
            <a:fillRect/>
          </a:stretch>
        </p:blipFill>
        <p:spPr>
          <a:xfrm>
            <a:off x="2003123" y="4400551"/>
            <a:ext cx="387350" cy="388938"/>
          </a:xfrm>
          <a:prstGeom prst="rect">
            <a:avLst/>
          </a:prstGeom>
        </p:spPr>
      </p:pic>
      <p:pic>
        <p:nvPicPr>
          <p:cNvPr id="25" name="CustomIcon">
            <a:extLst>
              <a:ext uri="{FF2B5EF4-FFF2-40B4-BE49-F238E27FC236}">
                <a16:creationId xmlns:a16="http://schemas.microsoft.com/office/drawing/2014/main" id="{601C3F8D-42A2-CFE9-732C-98A42F12B3CE}"/>
              </a:ext>
            </a:extLst>
          </p:cNvPr>
          <p:cNvPicPr>
            <a:picLocks/>
          </p:cNvPicPr>
          <p:nvPr>
            <p:custDataLst>
              <p:tags r:id="rId21"/>
            </p:custDataLst>
          </p:nvPr>
        </p:nvPicPr>
        <p:blipFill>
          <a:blip r:embed="rId39">
            <a:extLst>
              <a:ext uri="{96DAC541-7B7A-43D3-8B79-37D633B846F1}">
                <asvg:svgBlip xmlns:asvg="http://schemas.microsoft.com/office/drawing/2016/SVG/main" r:embed="rId40"/>
              </a:ext>
            </a:extLst>
          </a:blip>
          <a:stretch>
            <a:fillRect/>
          </a:stretch>
        </p:blipFill>
        <p:spPr>
          <a:xfrm>
            <a:off x="2003123" y="5583237"/>
            <a:ext cx="387350" cy="388938"/>
          </a:xfrm>
          <a:prstGeom prst="rect">
            <a:avLst/>
          </a:prstGeom>
        </p:spPr>
      </p:pic>
      <p:sp>
        <p:nvSpPr>
          <p:cNvPr id="14" name="4. Footnote">
            <a:extLst>
              <a:ext uri="{FF2B5EF4-FFF2-40B4-BE49-F238E27FC236}">
                <a16:creationId xmlns:a16="http://schemas.microsoft.com/office/drawing/2014/main" id="{2C5CB435-CF07-4056-AAE1-ECA127E6F941}"/>
              </a:ext>
            </a:extLst>
          </p:cNvPr>
          <p:cNvSpPr txBox="1"/>
          <p:nvPr>
            <p:custDataLst>
              <p:tags r:id="rId22"/>
            </p:custDataLst>
          </p:nvPr>
        </p:nvSpPr>
        <p:spPr>
          <a:xfrm>
            <a:off x="1986048" y="6429850"/>
            <a:ext cx="5310100" cy="246221"/>
          </a:xfrm>
          <a:prstGeom prst="rect">
            <a:avLst/>
          </a:prstGeom>
          <a:noFill/>
        </p:spPr>
        <p:txBody>
          <a:bodyPr vert="horz" wrap="square" lIns="0" tIns="0" rIns="0" bIns="0" rtlCol="0" anchor="b" anchorCtr="0">
            <a:spAutoFit/>
          </a:bodyPr>
          <a:lstStyle>
            <a:defPPr>
              <a:defRPr lang="de-AT"/>
            </a:defPPr>
            <a:lvl1pPr marL="203200" indent="-212725">
              <a:defRPr sz="800">
                <a:latin typeface="Trebuchet MS" pitchFamily="34" charset="0"/>
              </a:defRPr>
            </a:lvl1pPr>
          </a:lstStyle>
          <a:p>
            <a:r>
              <a:rPr lang="de-DE" dirty="0">
                <a:solidFill>
                  <a:srgbClr val="004FA1"/>
                </a:solidFill>
                <a:latin typeface="Bahnschrift" panose="020B0502040204020203" pitchFamily="34" charset="0"/>
              </a:rPr>
              <a:t>1.	Netto-Stromimporte, Abfälle (nicht erneuerbar), Umgebungswärme, Geothermie, Solarwärme, Reaktionswärme</a:t>
            </a:r>
          </a:p>
          <a:p>
            <a:r>
              <a:rPr lang="de-DE" dirty="0">
                <a:solidFill>
                  <a:srgbClr val="004FA1"/>
                </a:solidFill>
                <a:latin typeface="Bahnschrift" panose="020B0502040204020203" pitchFamily="34" charset="0"/>
              </a:rPr>
              <a:t>2.	In 2022 Anteil Russland an Pipeline Gas &gt;70%</a:t>
            </a:r>
          </a:p>
        </p:txBody>
      </p:sp>
      <p:sp>
        <p:nvSpPr>
          <p:cNvPr id="15" name="5. Source">
            <a:extLst>
              <a:ext uri="{FF2B5EF4-FFF2-40B4-BE49-F238E27FC236}">
                <a16:creationId xmlns:a16="http://schemas.microsoft.com/office/drawing/2014/main" id="{6766E534-3FD4-4DAC-B063-A9996C023B49}"/>
              </a:ext>
            </a:extLst>
          </p:cNvPr>
          <p:cNvSpPr txBox="1"/>
          <p:nvPr>
            <p:custDataLst>
              <p:tags r:id="rId23"/>
            </p:custDataLst>
          </p:nvPr>
        </p:nvSpPr>
        <p:spPr>
          <a:xfrm>
            <a:off x="7865360" y="6555427"/>
            <a:ext cx="3865722" cy="122508"/>
          </a:xfrm>
          <a:prstGeom prst="rect">
            <a:avLst/>
          </a:prstGeom>
          <a:noFill/>
        </p:spPr>
        <p:txBody>
          <a:bodyPr vert="horz" wrap="square" lIns="0" tIns="0" rIns="0" bIns="0" rtlCol="0" anchor="b" anchorCtr="0">
            <a:spAutoFit/>
          </a:bodyPr>
          <a:lstStyle/>
          <a:p>
            <a:r>
              <a:rPr lang="it-IT" sz="800" dirty="0">
                <a:solidFill>
                  <a:srgbClr val="004FA1"/>
                </a:solidFill>
                <a:latin typeface="Bahnschrift" panose="020B0502040204020203" pitchFamily="34" charset="0"/>
              </a:rPr>
              <a:t>Quelle: BMK, Statistik Austria, FGW</a:t>
            </a:r>
            <a:endParaRPr lang="de-DE" sz="800" dirty="0">
              <a:solidFill>
                <a:srgbClr val="004FA1"/>
              </a:solidFill>
              <a:latin typeface="Bahnschrift" panose="020B0502040204020203" pitchFamily="34" charset="0"/>
            </a:endParaRPr>
          </a:p>
        </p:txBody>
      </p:sp>
      <p:sp>
        <p:nvSpPr>
          <p:cNvPr id="51" name="3. Subtitle">
            <a:extLst>
              <a:ext uri="{FF2B5EF4-FFF2-40B4-BE49-F238E27FC236}">
                <a16:creationId xmlns:a16="http://schemas.microsoft.com/office/drawing/2014/main" id="{938B05CC-0E7E-4732-8966-1887E23ADF10}"/>
              </a:ext>
            </a:extLst>
          </p:cNvPr>
          <p:cNvSpPr txBox="1">
            <a:spLocks/>
          </p:cNvSpPr>
          <p:nvPr>
            <p:custDataLst>
              <p:tags r:id="rId24"/>
            </p:custDataLst>
          </p:nvPr>
        </p:nvSpPr>
        <p:spPr>
          <a:xfrm>
            <a:off x="2003123" y="1343458"/>
            <a:ext cx="7750108"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marL="469900" indent="-469900" algn="l" rtl="0" eaLnBrk="1" fontAlgn="base" hangingPunct="1">
              <a:spcBef>
                <a:spcPct val="20000"/>
              </a:spcBef>
              <a:spcAft>
                <a:spcPct val="0"/>
              </a:spcAft>
              <a:buClr>
                <a:srgbClr val="004FA1"/>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buNone/>
            </a:pPr>
            <a:r>
              <a:rPr lang="de-DE" sz="1800" b="1" kern="0" dirty="0"/>
              <a:t>Gesamtenergiebedarf (Brutto-Inlandsverbrauch) 2022, </a:t>
            </a:r>
            <a:r>
              <a:rPr lang="de-DE" sz="1800" kern="0" dirty="0"/>
              <a:t>in TWh</a:t>
            </a:r>
          </a:p>
        </p:txBody>
      </p:sp>
      <p:cxnSp>
        <p:nvCxnSpPr>
          <p:cNvPr id="27" name="Straight Connector 26">
            <a:extLst>
              <a:ext uri="{FF2B5EF4-FFF2-40B4-BE49-F238E27FC236}">
                <a16:creationId xmlns:a16="http://schemas.microsoft.com/office/drawing/2014/main" id="{634E7F0A-02FE-4599-9009-B51044B430AA}"/>
              </a:ext>
            </a:extLst>
          </p:cNvPr>
          <p:cNvCxnSpPr>
            <a:cxnSpLocks/>
          </p:cNvCxnSpPr>
          <p:nvPr/>
        </p:nvCxnSpPr>
        <p:spPr>
          <a:xfrm>
            <a:off x="2003123" y="1678822"/>
            <a:ext cx="7750108"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99295606-98AE-451C-8840-55A6A525B6BA}"/>
              </a:ext>
            </a:extLst>
          </p:cNvPr>
          <p:cNvSpPr>
            <a:spLocks noGrp="1"/>
          </p:cNvSpPr>
          <p:nvPr>
            <p:ph type="sldNum" sz="quarter" idx="10"/>
          </p:nvPr>
        </p:nvSpPr>
        <p:spPr>
          <a:xfrm>
            <a:off x="167425" y="6494471"/>
            <a:ext cx="293493" cy="59093"/>
          </a:xfrm>
        </p:spPr>
        <p:txBody>
          <a:bodyPr/>
          <a:lstStyle/>
          <a:p>
            <a:fld id="{01920E2B-FC99-4A38-BFFD-416A818AECB0}" type="slidenum">
              <a:rPr lang="de-AT" smtClean="0"/>
              <a:pPr/>
              <a:t>2</a:t>
            </a:fld>
            <a:endParaRPr lang="de-AT" dirty="0"/>
          </a:p>
        </p:txBody>
      </p:sp>
      <p:sp>
        <p:nvSpPr>
          <p:cNvPr id="34" name="Rectangle 33">
            <a:extLst>
              <a:ext uri="{FF2B5EF4-FFF2-40B4-BE49-F238E27FC236}">
                <a16:creationId xmlns:a16="http://schemas.microsoft.com/office/drawing/2014/main" id="{F3383957-E763-4EFF-A1B1-1544786D71B3}"/>
              </a:ext>
            </a:extLst>
          </p:cNvPr>
          <p:cNvSpPr/>
          <p:nvPr/>
        </p:nvSpPr>
        <p:spPr>
          <a:xfrm>
            <a:off x="9075910" y="1771251"/>
            <a:ext cx="123825" cy="123825"/>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chemeClr val="tx1"/>
              </a:solidFill>
              <a:latin typeface="Verdana" pitchFamily="34" charset="0"/>
              <a:ea typeface="Verdana" pitchFamily="34" charset="0"/>
              <a:cs typeface="Verdana" pitchFamily="34" charset="0"/>
            </a:endParaRPr>
          </a:p>
        </p:txBody>
      </p:sp>
      <p:sp>
        <p:nvSpPr>
          <p:cNvPr id="35" name="TextBox 34">
            <a:extLst>
              <a:ext uri="{FF2B5EF4-FFF2-40B4-BE49-F238E27FC236}">
                <a16:creationId xmlns:a16="http://schemas.microsoft.com/office/drawing/2014/main" id="{83FE893F-1B5D-4505-9704-AA9D97FE70E2}"/>
              </a:ext>
            </a:extLst>
          </p:cNvPr>
          <p:cNvSpPr txBox="1"/>
          <p:nvPr/>
        </p:nvSpPr>
        <p:spPr>
          <a:xfrm>
            <a:off x="9276536" y="1749473"/>
            <a:ext cx="521685" cy="461665"/>
          </a:xfrm>
          <a:prstGeom prst="rect">
            <a:avLst/>
          </a:prstGeom>
        </p:spPr>
        <p:txBody>
          <a:bodyPr vert="horz" wrap="square" lIns="0" tIns="0" rIns="0" bIns="0" rtlCol="0">
            <a:spAutoFit/>
          </a:bodyPr>
          <a:lstStyle>
            <a:lvl1pPr marL="469900" lvl="0" indent="-469900" eaLnBrk="1" hangingPunct="1">
              <a:spcBef>
                <a:spcPct val="20000"/>
              </a:spcBef>
              <a:buClr>
                <a:srgbClr val="ED1C24"/>
              </a:buClr>
              <a:buFont typeface="Arial" panose="020B0604020202020204" pitchFamily="34" charset="0"/>
              <a:buChar char="•"/>
              <a:defRPr sz="2200">
                <a:latin typeface="Bahnschrift" panose="020B0502040204020203" pitchFamily="34" charset="0"/>
              </a:defRPr>
            </a:lvl1pPr>
            <a:lvl2pPr marL="908050" lvl="1" indent="-436563" eaLnBrk="1" hangingPunct="1">
              <a:spcBef>
                <a:spcPct val="20000"/>
              </a:spcBef>
              <a:buClr>
                <a:schemeClr val="tx1"/>
              </a:buClr>
              <a:buFont typeface="Symbol" panose="05050102010706020507" pitchFamily="18" charset="2"/>
              <a:buChar char="-"/>
              <a:defRPr sz="2000">
                <a:latin typeface="Bahnschrift" panose="020B0502040204020203" pitchFamily="34" charset="0"/>
              </a:defRPr>
            </a:lvl2pPr>
            <a:lvl3pPr marL="1304925" lvl="2" indent="-395288" eaLnBrk="1" hangingPunct="1">
              <a:spcBef>
                <a:spcPct val="20000"/>
              </a:spcBef>
              <a:buClr>
                <a:srgbClr val="6F6F6F"/>
              </a:buClr>
              <a:buFont typeface="Symbol" pitchFamily="18" charset="2"/>
              <a:buChar char="-"/>
              <a:defRPr sz="1800">
                <a:latin typeface="Bahnschrift" panose="020B0502040204020203" pitchFamily="34" charset="0"/>
              </a:defRPr>
            </a:lvl3pPr>
            <a:lvl4pPr marL="1693863" lvl="3" indent="-387350" eaLnBrk="1" hangingPunct="1">
              <a:spcBef>
                <a:spcPct val="20000"/>
              </a:spcBef>
              <a:buClr>
                <a:srgbClr val="6F6F6F"/>
              </a:buClr>
              <a:buFont typeface="Symbol" pitchFamily="18" charset="2"/>
              <a:buChar char="-"/>
              <a:defRPr sz="1800">
                <a:latin typeface="Bahnschrift" panose="020B0502040204020203" pitchFamily="34" charset="0"/>
              </a:defRPr>
            </a:lvl4pPr>
            <a:lvl5pPr marL="2093913" lvl="4" indent="-398463" eaLnBrk="1" hangingPunct="1">
              <a:spcBef>
                <a:spcPct val="25000"/>
              </a:spcBef>
              <a:buClr>
                <a:srgbClr val="6F6F6F"/>
              </a:buClr>
              <a:buFont typeface="Symbol" pitchFamily="18" charset="2"/>
              <a:buChar char="-"/>
              <a:defRPr sz="1800">
                <a:latin typeface="Bahnschrift" panose="020B0502040204020203" pitchFamily="34" charset="0"/>
              </a:defRPr>
            </a:lvl5pPr>
            <a:lvl6pPr marL="2551113" indent="-398463" fontAlgn="base">
              <a:spcBef>
                <a:spcPct val="25000"/>
              </a:spcBef>
              <a:spcAft>
                <a:spcPct val="0"/>
              </a:spcAft>
              <a:buClr>
                <a:schemeClr val="accent2"/>
              </a:buClr>
              <a:buFont typeface="Wingdings" pitchFamily="2" charset="2"/>
              <a:buChar char="§"/>
              <a:defRPr sz="2000">
                <a:latin typeface="+mn-lt"/>
              </a:defRPr>
            </a:lvl6pPr>
            <a:lvl7pPr marL="3008313" indent="-398463" fontAlgn="base">
              <a:spcBef>
                <a:spcPct val="25000"/>
              </a:spcBef>
              <a:spcAft>
                <a:spcPct val="0"/>
              </a:spcAft>
              <a:buClr>
                <a:schemeClr val="accent2"/>
              </a:buClr>
              <a:buFont typeface="Wingdings" pitchFamily="2" charset="2"/>
              <a:buChar char="§"/>
              <a:defRPr sz="2000">
                <a:latin typeface="+mn-lt"/>
              </a:defRPr>
            </a:lvl7pPr>
            <a:lvl8pPr marL="3465513" indent="-398463" fontAlgn="base">
              <a:spcBef>
                <a:spcPct val="25000"/>
              </a:spcBef>
              <a:spcAft>
                <a:spcPct val="0"/>
              </a:spcAft>
              <a:buClr>
                <a:schemeClr val="accent2"/>
              </a:buClr>
              <a:buFont typeface="Wingdings" pitchFamily="2" charset="2"/>
              <a:buChar char="§"/>
              <a:defRPr sz="2000">
                <a:latin typeface="+mn-lt"/>
              </a:defRPr>
            </a:lvl8pPr>
            <a:lvl9pPr marL="3922713" indent="-398463" fontAlgn="base">
              <a:spcBef>
                <a:spcPct val="25000"/>
              </a:spcBef>
              <a:spcAft>
                <a:spcPct val="0"/>
              </a:spcAft>
              <a:buClr>
                <a:schemeClr val="accent2"/>
              </a:buClr>
              <a:buFont typeface="Wingdings" pitchFamily="2" charset="2"/>
              <a:buChar char="§"/>
              <a:defRPr sz="2000">
                <a:latin typeface="+mn-lt"/>
              </a:defRPr>
            </a:lvl9pPr>
          </a:lstStyle>
          <a:p>
            <a:pPr marL="0" indent="0">
              <a:buNone/>
            </a:pPr>
            <a:r>
              <a:rPr lang="de-DE" sz="1000" dirty="0"/>
              <a:t>Fossile Energie-</a:t>
            </a:r>
            <a:br>
              <a:rPr lang="de-DE" sz="1000" dirty="0"/>
            </a:br>
            <a:r>
              <a:rPr lang="de-DE" sz="1000" dirty="0"/>
              <a:t>träger</a:t>
            </a:r>
          </a:p>
        </p:txBody>
      </p:sp>
      <p:pic>
        <p:nvPicPr>
          <p:cNvPr id="41" name="CustomIcon">
            <a:extLst>
              <a:ext uri="{FF2B5EF4-FFF2-40B4-BE49-F238E27FC236}">
                <a16:creationId xmlns:a16="http://schemas.microsoft.com/office/drawing/2014/main" id="{90831573-C39D-4C83-AEDD-C06222833F84}"/>
              </a:ext>
            </a:extLst>
          </p:cNvPr>
          <p:cNvPicPr>
            <a:picLocks/>
          </p:cNvPicPr>
          <p:nvPr>
            <p:custDataLst>
              <p:tags r:id="rId25"/>
            </p:custDataLst>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1986048" y="5006315"/>
            <a:ext cx="387350" cy="388938"/>
          </a:xfrm>
          <a:prstGeom prst="rect">
            <a:avLst/>
          </a:prstGeom>
        </p:spPr>
      </p:pic>
      <p:cxnSp>
        <p:nvCxnSpPr>
          <p:cNvPr id="448" name="Straight Connector 447">
            <a:extLst>
              <a:ext uri="{FF2B5EF4-FFF2-40B4-BE49-F238E27FC236}">
                <a16:creationId xmlns:a16="http://schemas.microsoft.com/office/drawing/2014/main" id="{AF4EAFEE-AF40-4B09-8E02-F627A21B7372}"/>
              </a:ext>
            </a:extLst>
          </p:cNvPr>
          <p:cNvCxnSpPr>
            <a:cxnSpLocks/>
          </p:cNvCxnSpPr>
          <p:nvPr/>
        </p:nvCxnSpPr>
        <p:spPr>
          <a:xfrm>
            <a:off x="3011488" y="4259564"/>
            <a:ext cx="579392" cy="0"/>
          </a:xfrm>
          <a:prstGeom prst="line">
            <a:avLst/>
          </a:prstGeom>
          <a:ln cap="rnd">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689EBBD4-D58A-40E1-87D5-603C6C594928}"/>
              </a:ext>
            </a:extLst>
          </p:cNvPr>
          <p:cNvCxnSpPr>
            <a:cxnSpLocks/>
          </p:cNvCxnSpPr>
          <p:nvPr/>
        </p:nvCxnSpPr>
        <p:spPr>
          <a:xfrm>
            <a:off x="3467100" y="5085686"/>
            <a:ext cx="111919" cy="0"/>
          </a:xfrm>
          <a:prstGeom prst="line">
            <a:avLst/>
          </a:prstGeom>
          <a:ln cap="rnd">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4A8D0F36-D35E-4976-97D7-D89C70939E2A}"/>
              </a:ext>
            </a:extLst>
          </p:cNvPr>
          <p:cNvCxnSpPr>
            <a:cxnSpLocks/>
          </p:cNvCxnSpPr>
          <p:nvPr/>
        </p:nvCxnSpPr>
        <p:spPr>
          <a:xfrm>
            <a:off x="3467100" y="4664869"/>
            <a:ext cx="358775" cy="0"/>
          </a:xfrm>
          <a:prstGeom prst="line">
            <a:avLst/>
          </a:prstGeom>
          <a:ln cap="rnd">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079EEF96-B7D9-4C5B-A0D3-1E8D9B83FB1F}"/>
              </a:ext>
            </a:extLst>
          </p:cNvPr>
          <p:cNvCxnSpPr>
            <a:cxnSpLocks/>
          </p:cNvCxnSpPr>
          <p:nvPr/>
        </p:nvCxnSpPr>
        <p:spPr>
          <a:xfrm flipH="1">
            <a:off x="3642265" y="4889207"/>
            <a:ext cx="183610" cy="0"/>
          </a:xfrm>
          <a:prstGeom prst="line">
            <a:avLst/>
          </a:prstGeom>
          <a:ln cap="rnd">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BE6A74F0-AC5B-4806-9E62-CE2D3141143E}"/>
              </a:ext>
            </a:extLst>
          </p:cNvPr>
          <p:cNvCxnSpPr>
            <a:cxnSpLocks/>
          </p:cNvCxnSpPr>
          <p:nvPr/>
        </p:nvCxnSpPr>
        <p:spPr>
          <a:xfrm flipH="1">
            <a:off x="3645694" y="4443119"/>
            <a:ext cx="180181" cy="0"/>
          </a:xfrm>
          <a:prstGeom prst="line">
            <a:avLst/>
          </a:prstGeom>
          <a:ln cap="rnd">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61054DE-4C37-4855-9EA5-D5E8964F9E51}"/>
              </a:ext>
            </a:extLst>
          </p:cNvPr>
          <p:cNvCxnSpPr>
            <a:cxnSpLocks/>
          </p:cNvCxnSpPr>
          <p:nvPr/>
        </p:nvCxnSpPr>
        <p:spPr>
          <a:xfrm flipH="1" flipV="1">
            <a:off x="3590880" y="4259564"/>
            <a:ext cx="54080" cy="183849"/>
          </a:xfrm>
          <a:prstGeom prst="line">
            <a:avLst/>
          </a:prstGeom>
          <a:ln cap="rnd">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72912489-A048-4B90-A6AA-05FD0AF17288}"/>
              </a:ext>
            </a:extLst>
          </p:cNvPr>
          <p:cNvCxnSpPr>
            <a:cxnSpLocks/>
          </p:cNvCxnSpPr>
          <p:nvPr/>
        </p:nvCxnSpPr>
        <p:spPr>
          <a:xfrm flipH="1">
            <a:off x="3584828" y="4891088"/>
            <a:ext cx="57437" cy="195262"/>
          </a:xfrm>
          <a:prstGeom prst="line">
            <a:avLst/>
          </a:prstGeom>
          <a:ln cap="rnd">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83525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ct 6" hidden="1">
            <a:extLst>
              <a:ext uri="{FF2B5EF4-FFF2-40B4-BE49-F238E27FC236}">
                <a16:creationId xmlns:a16="http://schemas.microsoft.com/office/drawing/2014/main" id="{6A7D5A96-443B-40E7-8E5B-7D1CE008DE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592" imgH="595" progId="TCLayout.ActiveDocument.1">
                  <p:embed/>
                </p:oleObj>
              </mc:Choice>
              <mc:Fallback>
                <p:oleObj name="think-cell Slide" r:id="rId16" imgW="592" imgH="595" progId="TCLayout.ActiveDocument.1">
                  <p:embed/>
                  <p:pic>
                    <p:nvPicPr>
                      <p:cNvPr id="53" name="Object 6" hidden="1">
                        <a:extLst>
                          <a:ext uri="{FF2B5EF4-FFF2-40B4-BE49-F238E27FC236}">
                            <a16:creationId xmlns:a16="http://schemas.microsoft.com/office/drawing/2014/main" id="{6A7D5A96-443B-40E7-8E5B-7D1CE008DEAD}"/>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73241087-F7F3-4008-B88B-7957319E71C9}"/>
              </a:ext>
            </a:extLst>
          </p:cNvPr>
          <p:cNvSpPr>
            <a:spLocks noGrp="1"/>
          </p:cNvSpPr>
          <p:nvPr>
            <p:ph type="title"/>
            <p:custDataLst>
              <p:tags r:id="rId2"/>
            </p:custDataLst>
          </p:nvPr>
        </p:nvSpPr>
        <p:spPr>
          <a:xfrm>
            <a:off x="554736" y="188151"/>
            <a:ext cx="11082528" cy="715581"/>
          </a:xfrm>
        </p:spPr>
        <p:txBody>
          <a:bodyPr vert="horz"/>
          <a:lstStyle/>
          <a:p>
            <a:r>
              <a:rPr lang="de-DE" dirty="0"/>
              <a:t>Die Energiewende ist mit Investitionen verbunden, die sich bis 2030 auf 70 Mrd. EUR belaufen können</a:t>
            </a:r>
          </a:p>
        </p:txBody>
      </p:sp>
      <p:sp>
        <p:nvSpPr>
          <p:cNvPr id="8" name="TextBox 7">
            <a:extLst>
              <a:ext uri="{FF2B5EF4-FFF2-40B4-BE49-F238E27FC236}">
                <a16:creationId xmlns:a16="http://schemas.microsoft.com/office/drawing/2014/main" id="{79CFECB1-A2E0-4D91-BC9B-F5BF97B76F7F}"/>
              </a:ext>
            </a:extLst>
          </p:cNvPr>
          <p:cNvSpPr txBox="1"/>
          <p:nvPr/>
        </p:nvSpPr>
        <p:spPr>
          <a:xfrm>
            <a:off x="2281472" y="1288093"/>
            <a:ext cx="6799153"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Investitionsbedarf bis 2030, </a:t>
            </a:r>
            <a:r>
              <a:rPr kumimoji="0" lang="de-DE" sz="16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Mrd. EUR</a:t>
            </a:r>
          </a:p>
        </p:txBody>
      </p:sp>
      <p:sp>
        <p:nvSpPr>
          <p:cNvPr id="9" name="TextBox 8">
            <a:extLst>
              <a:ext uri="{FF2B5EF4-FFF2-40B4-BE49-F238E27FC236}">
                <a16:creationId xmlns:a16="http://schemas.microsoft.com/office/drawing/2014/main" id="{2FB649A4-A669-4657-A271-020117932DE4}"/>
              </a:ext>
            </a:extLst>
          </p:cNvPr>
          <p:cNvSpPr txBox="1"/>
          <p:nvPr/>
        </p:nvSpPr>
        <p:spPr>
          <a:xfrm>
            <a:off x="554736" y="1702830"/>
            <a:ext cx="1355545"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Erneuerbare Energien</a:t>
            </a:r>
          </a:p>
        </p:txBody>
      </p:sp>
      <p:sp>
        <p:nvSpPr>
          <p:cNvPr id="10" name="TextBox 9">
            <a:extLst>
              <a:ext uri="{FF2B5EF4-FFF2-40B4-BE49-F238E27FC236}">
                <a16:creationId xmlns:a16="http://schemas.microsoft.com/office/drawing/2014/main" id="{276CE03C-9C61-480A-AFCE-60E1070E1338}"/>
              </a:ext>
            </a:extLst>
          </p:cNvPr>
          <p:cNvSpPr txBox="1">
            <a:spLocks/>
          </p:cNvSpPr>
          <p:nvPr/>
        </p:nvSpPr>
        <p:spPr>
          <a:xfrm>
            <a:off x="9370337" y="1288093"/>
            <a:ext cx="2266927"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Synthese</a:t>
            </a:r>
            <a:endParaRPr kumimoji="0" lang="de-DE" sz="16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27" name="TextBox 26">
            <a:extLst>
              <a:ext uri="{FF2B5EF4-FFF2-40B4-BE49-F238E27FC236}">
                <a16:creationId xmlns:a16="http://schemas.microsoft.com/office/drawing/2014/main" id="{B35A6BA5-69B2-42C9-A236-8615FBD9A079}"/>
              </a:ext>
            </a:extLst>
          </p:cNvPr>
          <p:cNvSpPr txBox="1"/>
          <p:nvPr/>
        </p:nvSpPr>
        <p:spPr>
          <a:xfrm>
            <a:off x="554736" y="3505291"/>
            <a:ext cx="1355545"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Öffentliche Energie-infrastruktur</a:t>
            </a:r>
          </a:p>
        </p:txBody>
      </p:sp>
      <p:cxnSp>
        <p:nvCxnSpPr>
          <p:cNvPr id="29" name="Straight Connector 28">
            <a:extLst>
              <a:ext uri="{FF2B5EF4-FFF2-40B4-BE49-F238E27FC236}">
                <a16:creationId xmlns:a16="http://schemas.microsoft.com/office/drawing/2014/main" id="{376FB751-BAF8-4DE7-87C5-4CA7292D0F07}"/>
              </a:ext>
            </a:extLst>
          </p:cNvPr>
          <p:cNvCxnSpPr>
            <a:cxnSpLocks/>
          </p:cNvCxnSpPr>
          <p:nvPr/>
        </p:nvCxnSpPr>
        <p:spPr>
          <a:xfrm>
            <a:off x="2281473" y="1583178"/>
            <a:ext cx="6799153"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54AB8A5-F641-4DEF-AE0E-50E554C9262A}"/>
              </a:ext>
            </a:extLst>
          </p:cNvPr>
          <p:cNvCxnSpPr>
            <a:cxnSpLocks/>
          </p:cNvCxnSpPr>
          <p:nvPr/>
        </p:nvCxnSpPr>
        <p:spPr>
          <a:xfrm>
            <a:off x="9370337" y="1583178"/>
            <a:ext cx="2266927"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D9304ACC-E0E1-446E-A268-BDD62A709AC0}"/>
              </a:ext>
            </a:extLst>
          </p:cNvPr>
          <p:cNvGrpSpPr/>
          <p:nvPr/>
        </p:nvGrpSpPr>
        <p:grpSpPr>
          <a:xfrm>
            <a:off x="2281472" y="1702830"/>
            <a:ext cx="6708619" cy="264312"/>
            <a:chOff x="2281472" y="1869484"/>
            <a:chExt cx="6708619" cy="264312"/>
          </a:xfrm>
        </p:grpSpPr>
        <p:sp>
          <p:nvSpPr>
            <p:cNvPr id="11" name="TextBox 10">
              <a:extLst>
                <a:ext uri="{FF2B5EF4-FFF2-40B4-BE49-F238E27FC236}">
                  <a16:creationId xmlns:a16="http://schemas.microsoft.com/office/drawing/2014/main" id="{6251879E-C9D7-4FD6-8AE4-47858B8EB6EC}"/>
                </a:ext>
              </a:extLst>
            </p:cNvPr>
            <p:cNvSpPr txBox="1"/>
            <p:nvPr/>
          </p:nvSpPr>
          <p:spPr>
            <a:xfrm>
              <a:off x="2978590" y="1869484"/>
              <a:ext cx="4354717"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Strom aus erneuerbaren Energien (27 TWh)</a:t>
              </a:r>
            </a:p>
          </p:txBody>
        </p:sp>
        <p:sp>
          <p:nvSpPr>
            <p:cNvPr id="19" name="TextBox 18">
              <a:extLst>
                <a:ext uri="{FF2B5EF4-FFF2-40B4-BE49-F238E27FC236}">
                  <a16:creationId xmlns:a16="http://schemas.microsoft.com/office/drawing/2014/main" id="{F7D515C7-03B9-4766-AFBC-7D0497A6A6B8}"/>
                </a:ext>
              </a:extLst>
            </p:cNvPr>
            <p:cNvSpPr txBox="1"/>
            <p:nvPr/>
          </p:nvSpPr>
          <p:spPr>
            <a:xfrm>
              <a:off x="7496268" y="1869484"/>
              <a:ext cx="1493823"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25</a:t>
              </a:r>
            </a:p>
          </p:txBody>
        </p:sp>
        <p:pic>
          <p:nvPicPr>
            <p:cNvPr id="34" name="CustomIcon">
              <a:extLst>
                <a:ext uri="{FF2B5EF4-FFF2-40B4-BE49-F238E27FC236}">
                  <a16:creationId xmlns:a16="http://schemas.microsoft.com/office/drawing/2014/main" id="{9B2EC7EE-25E9-4810-AFBC-4C72E1D344E9}"/>
                </a:ext>
              </a:extLst>
            </p:cNvPr>
            <p:cNvPicPr>
              <a:picLocks/>
            </p:cNvPicPr>
            <p:nvPr>
              <p:custDataLst>
                <p:tags r:id="rId13"/>
              </p:custDataLst>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2281472" y="1869484"/>
              <a:ext cx="264312" cy="264312"/>
            </a:xfrm>
            <a:prstGeom prst="rect">
              <a:avLst/>
            </a:prstGeom>
          </p:spPr>
        </p:pic>
      </p:grpSp>
      <p:grpSp>
        <p:nvGrpSpPr>
          <p:cNvPr id="37" name="Group 36">
            <a:extLst>
              <a:ext uri="{FF2B5EF4-FFF2-40B4-BE49-F238E27FC236}">
                <a16:creationId xmlns:a16="http://schemas.microsoft.com/office/drawing/2014/main" id="{4C526832-1BA0-44CC-BB90-4539C5FB14D4}"/>
              </a:ext>
            </a:extLst>
          </p:cNvPr>
          <p:cNvGrpSpPr/>
          <p:nvPr/>
        </p:nvGrpSpPr>
        <p:grpSpPr>
          <a:xfrm>
            <a:off x="2281472" y="2157716"/>
            <a:ext cx="6708619" cy="264312"/>
            <a:chOff x="2281472" y="2381278"/>
            <a:chExt cx="6708619" cy="264312"/>
          </a:xfrm>
        </p:grpSpPr>
        <p:sp>
          <p:nvSpPr>
            <p:cNvPr id="12" name="TextBox 11">
              <a:extLst>
                <a:ext uri="{FF2B5EF4-FFF2-40B4-BE49-F238E27FC236}">
                  <a16:creationId xmlns:a16="http://schemas.microsoft.com/office/drawing/2014/main" id="{15E426FA-D89B-4F65-A73C-F0C67EB9038A}"/>
                </a:ext>
              </a:extLst>
            </p:cNvPr>
            <p:cNvSpPr txBox="1"/>
            <p:nvPr/>
          </p:nvSpPr>
          <p:spPr>
            <a:xfrm>
              <a:off x="2978590" y="2381278"/>
              <a:ext cx="4354717"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Biomethananlagen (7,5 TWh)</a:t>
              </a:r>
            </a:p>
          </p:txBody>
        </p:sp>
        <p:sp>
          <p:nvSpPr>
            <p:cNvPr id="20" name="TextBox 19">
              <a:extLst>
                <a:ext uri="{FF2B5EF4-FFF2-40B4-BE49-F238E27FC236}">
                  <a16:creationId xmlns:a16="http://schemas.microsoft.com/office/drawing/2014/main" id="{09376338-1D85-4C70-8DA2-3AC18E8605F3}"/>
                </a:ext>
              </a:extLst>
            </p:cNvPr>
            <p:cNvSpPr txBox="1"/>
            <p:nvPr/>
          </p:nvSpPr>
          <p:spPr>
            <a:xfrm>
              <a:off x="7496268" y="2381278"/>
              <a:ext cx="1493823"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2</a:t>
              </a:r>
            </a:p>
          </p:txBody>
        </p:sp>
        <p:pic>
          <p:nvPicPr>
            <p:cNvPr id="36" name="CustomIcon">
              <a:extLst>
                <a:ext uri="{FF2B5EF4-FFF2-40B4-BE49-F238E27FC236}">
                  <a16:creationId xmlns:a16="http://schemas.microsoft.com/office/drawing/2014/main" id="{4184697C-87B4-428B-B9DD-CF2425BA8F96}"/>
                </a:ext>
              </a:extLst>
            </p:cNvPr>
            <p:cNvPicPr>
              <a:picLocks/>
            </p:cNvPicPr>
            <p:nvPr>
              <p:custDataLst>
                <p:tags r:id="rId12"/>
              </p:custDataLst>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2281472" y="2381278"/>
              <a:ext cx="264312" cy="264312"/>
            </a:xfrm>
            <a:prstGeom prst="rect">
              <a:avLst/>
            </a:prstGeom>
          </p:spPr>
        </p:pic>
      </p:grpSp>
      <p:grpSp>
        <p:nvGrpSpPr>
          <p:cNvPr id="28" name="Group 27">
            <a:extLst>
              <a:ext uri="{FF2B5EF4-FFF2-40B4-BE49-F238E27FC236}">
                <a16:creationId xmlns:a16="http://schemas.microsoft.com/office/drawing/2014/main" id="{7F9A0045-10A5-4AD0-B2C9-0072560C22E6}"/>
              </a:ext>
            </a:extLst>
          </p:cNvPr>
          <p:cNvGrpSpPr/>
          <p:nvPr/>
        </p:nvGrpSpPr>
        <p:grpSpPr>
          <a:xfrm>
            <a:off x="2281472" y="4432146"/>
            <a:ext cx="6708619" cy="264312"/>
            <a:chOff x="2281472" y="4940248"/>
            <a:chExt cx="6708619" cy="264312"/>
          </a:xfrm>
        </p:grpSpPr>
        <p:sp>
          <p:nvSpPr>
            <p:cNvPr id="17" name="TextBox 16">
              <a:extLst>
                <a:ext uri="{FF2B5EF4-FFF2-40B4-BE49-F238E27FC236}">
                  <a16:creationId xmlns:a16="http://schemas.microsoft.com/office/drawing/2014/main" id="{C6E40987-8A7F-4067-BB37-E8F3F35101F9}"/>
                </a:ext>
              </a:extLst>
            </p:cNvPr>
            <p:cNvSpPr txBox="1"/>
            <p:nvPr/>
          </p:nvSpPr>
          <p:spPr>
            <a:xfrm>
              <a:off x="2978590" y="4940248"/>
              <a:ext cx="4354717"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Wasserstoffinfrastruktur</a:t>
              </a:r>
            </a:p>
          </p:txBody>
        </p:sp>
        <p:sp>
          <p:nvSpPr>
            <p:cNvPr id="25" name="TextBox 24">
              <a:extLst>
                <a:ext uri="{FF2B5EF4-FFF2-40B4-BE49-F238E27FC236}">
                  <a16:creationId xmlns:a16="http://schemas.microsoft.com/office/drawing/2014/main" id="{23BEE248-5250-40F1-93ED-27366CA128BB}"/>
                </a:ext>
              </a:extLst>
            </p:cNvPr>
            <p:cNvSpPr txBox="1"/>
            <p:nvPr/>
          </p:nvSpPr>
          <p:spPr>
            <a:xfrm>
              <a:off x="7496268" y="4940248"/>
              <a:ext cx="1493823"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2</a:t>
              </a:r>
            </a:p>
          </p:txBody>
        </p:sp>
        <p:pic>
          <p:nvPicPr>
            <p:cNvPr id="38" name="CustomIcon">
              <a:extLst>
                <a:ext uri="{FF2B5EF4-FFF2-40B4-BE49-F238E27FC236}">
                  <a16:creationId xmlns:a16="http://schemas.microsoft.com/office/drawing/2014/main" id="{D55302AA-8A47-4452-A8A4-AC28042DB880}"/>
                </a:ext>
              </a:extLst>
            </p:cNvPr>
            <p:cNvPicPr>
              <a:picLocks/>
            </p:cNvPicPr>
            <p:nvPr>
              <p:custDataLst>
                <p:tags r:id="rId11"/>
              </p:custDataLst>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2281472" y="4940248"/>
              <a:ext cx="264312" cy="264312"/>
            </a:xfrm>
            <a:prstGeom prst="rect">
              <a:avLst/>
            </a:prstGeom>
          </p:spPr>
        </p:pic>
      </p:grpSp>
      <p:grpSp>
        <p:nvGrpSpPr>
          <p:cNvPr id="35" name="Group 34">
            <a:extLst>
              <a:ext uri="{FF2B5EF4-FFF2-40B4-BE49-F238E27FC236}">
                <a16:creationId xmlns:a16="http://schemas.microsoft.com/office/drawing/2014/main" id="{2CD0D33D-3877-46FF-9BDE-07CAD32F7CBF}"/>
              </a:ext>
            </a:extLst>
          </p:cNvPr>
          <p:cNvGrpSpPr/>
          <p:nvPr/>
        </p:nvGrpSpPr>
        <p:grpSpPr>
          <a:xfrm>
            <a:off x="2281472" y="2612602"/>
            <a:ext cx="6708619" cy="264312"/>
            <a:chOff x="2281472" y="2893072"/>
            <a:chExt cx="6708619" cy="264312"/>
          </a:xfrm>
        </p:grpSpPr>
        <p:sp>
          <p:nvSpPr>
            <p:cNvPr id="13" name="TextBox 12">
              <a:extLst>
                <a:ext uri="{FF2B5EF4-FFF2-40B4-BE49-F238E27FC236}">
                  <a16:creationId xmlns:a16="http://schemas.microsoft.com/office/drawing/2014/main" id="{8304D461-126A-4AFF-BA07-0DC6CBF0779C}"/>
                </a:ext>
              </a:extLst>
            </p:cNvPr>
            <p:cNvSpPr txBox="1"/>
            <p:nvPr/>
          </p:nvSpPr>
          <p:spPr>
            <a:xfrm>
              <a:off x="2978590" y="2893072"/>
              <a:ext cx="4354717"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Wasserstofferzeugung (4,2 TWh)</a:t>
              </a:r>
            </a:p>
          </p:txBody>
        </p:sp>
        <p:sp>
          <p:nvSpPr>
            <p:cNvPr id="21" name="TextBox 20">
              <a:extLst>
                <a:ext uri="{FF2B5EF4-FFF2-40B4-BE49-F238E27FC236}">
                  <a16:creationId xmlns:a16="http://schemas.microsoft.com/office/drawing/2014/main" id="{EA7667DD-D0FB-4A5B-A9AB-FD3FB2F1CF6F}"/>
                </a:ext>
              </a:extLst>
            </p:cNvPr>
            <p:cNvSpPr txBox="1"/>
            <p:nvPr/>
          </p:nvSpPr>
          <p:spPr>
            <a:xfrm>
              <a:off x="7496268" y="2893072"/>
              <a:ext cx="1493823"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2</a:t>
              </a:r>
            </a:p>
          </p:txBody>
        </p:sp>
        <p:pic>
          <p:nvPicPr>
            <p:cNvPr id="40" name="CustomIcon">
              <a:extLst>
                <a:ext uri="{FF2B5EF4-FFF2-40B4-BE49-F238E27FC236}">
                  <a16:creationId xmlns:a16="http://schemas.microsoft.com/office/drawing/2014/main" id="{60726F91-749F-4165-B734-5E583595C3DD}"/>
                </a:ext>
              </a:extLst>
            </p:cNvPr>
            <p:cNvPicPr>
              <a:picLocks/>
            </p:cNvPicPr>
            <p:nvPr>
              <p:custDataLst>
                <p:tags r:id="rId10"/>
              </p:custDataLst>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2281472" y="2893072"/>
              <a:ext cx="264312" cy="264312"/>
            </a:xfrm>
            <a:prstGeom prst="rect">
              <a:avLst/>
            </a:prstGeom>
          </p:spPr>
        </p:pic>
      </p:grpSp>
      <p:grpSp>
        <p:nvGrpSpPr>
          <p:cNvPr id="33" name="Group 32">
            <a:extLst>
              <a:ext uri="{FF2B5EF4-FFF2-40B4-BE49-F238E27FC236}">
                <a16:creationId xmlns:a16="http://schemas.microsoft.com/office/drawing/2014/main" id="{3356BA01-9BC4-4BE5-BAA3-63209B4D6927}"/>
              </a:ext>
            </a:extLst>
          </p:cNvPr>
          <p:cNvGrpSpPr/>
          <p:nvPr/>
        </p:nvGrpSpPr>
        <p:grpSpPr>
          <a:xfrm>
            <a:off x="2281472" y="3067488"/>
            <a:ext cx="6708619" cy="264312"/>
            <a:chOff x="2281472" y="3404866"/>
            <a:chExt cx="6708619" cy="264312"/>
          </a:xfrm>
        </p:grpSpPr>
        <p:sp>
          <p:nvSpPr>
            <p:cNvPr id="14" name="TextBox 13">
              <a:extLst>
                <a:ext uri="{FF2B5EF4-FFF2-40B4-BE49-F238E27FC236}">
                  <a16:creationId xmlns:a16="http://schemas.microsoft.com/office/drawing/2014/main" id="{768806CF-3378-44C7-806A-C8B38EE45209}"/>
                </a:ext>
              </a:extLst>
            </p:cNvPr>
            <p:cNvSpPr txBox="1"/>
            <p:nvPr/>
          </p:nvSpPr>
          <p:spPr>
            <a:xfrm>
              <a:off x="2978590" y="3404866"/>
              <a:ext cx="4354717"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Erneuerbare Wärme (6,5 TWh)</a:t>
              </a:r>
            </a:p>
          </p:txBody>
        </p:sp>
        <p:sp>
          <p:nvSpPr>
            <p:cNvPr id="22" name="TextBox 21">
              <a:extLst>
                <a:ext uri="{FF2B5EF4-FFF2-40B4-BE49-F238E27FC236}">
                  <a16:creationId xmlns:a16="http://schemas.microsoft.com/office/drawing/2014/main" id="{F248D210-364F-4967-BF01-3BDF9D6E2378}"/>
                </a:ext>
              </a:extLst>
            </p:cNvPr>
            <p:cNvSpPr txBox="1"/>
            <p:nvPr/>
          </p:nvSpPr>
          <p:spPr>
            <a:xfrm>
              <a:off x="7496268" y="3404866"/>
              <a:ext cx="1493823"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12</a:t>
              </a:r>
            </a:p>
          </p:txBody>
        </p:sp>
        <p:pic>
          <p:nvPicPr>
            <p:cNvPr id="42" name="CustomIcon">
              <a:extLst>
                <a:ext uri="{FF2B5EF4-FFF2-40B4-BE49-F238E27FC236}">
                  <a16:creationId xmlns:a16="http://schemas.microsoft.com/office/drawing/2014/main" id="{D405CE86-A04F-4835-87E1-60403EE6522A}"/>
                </a:ext>
              </a:extLst>
            </p:cNvPr>
            <p:cNvPicPr>
              <a:picLocks/>
            </p:cNvPicPr>
            <p:nvPr>
              <p:custDataLst>
                <p:tags r:id="rId9"/>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2281472" y="3404866"/>
              <a:ext cx="264312" cy="264312"/>
            </a:xfrm>
            <a:prstGeom prst="rect">
              <a:avLst/>
            </a:prstGeom>
          </p:spPr>
        </p:pic>
      </p:grpSp>
      <p:grpSp>
        <p:nvGrpSpPr>
          <p:cNvPr id="32" name="Group 31">
            <a:extLst>
              <a:ext uri="{FF2B5EF4-FFF2-40B4-BE49-F238E27FC236}">
                <a16:creationId xmlns:a16="http://schemas.microsoft.com/office/drawing/2014/main" id="{462289CC-4960-40C8-BEEE-AB8507C36814}"/>
              </a:ext>
            </a:extLst>
          </p:cNvPr>
          <p:cNvGrpSpPr/>
          <p:nvPr/>
        </p:nvGrpSpPr>
        <p:grpSpPr>
          <a:xfrm>
            <a:off x="2281472" y="3522374"/>
            <a:ext cx="6708619" cy="264312"/>
            <a:chOff x="2281472" y="3916660"/>
            <a:chExt cx="6708619" cy="264312"/>
          </a:xfrm>
        </p:grpSpPr>
        <p:sp>
          <p:nvSpPr>
            <p:cNvPr id="15" name="TextBox 14">
              <a:extLst>
                <a:ext uri="{FF2B5EF4-FFF2-40B4-BE49-F238E27FC236}">
                  <a16:creationId xmlns:a16="http://schemas.microsoft.com/office/drawing/2014/main" id="{2491AB58-E9DB-450C-94C0-C08480802B10}"/>
                </a:ext>
              </a:extLst>
            </p:cNvPr>
            <p:cNvSpPr txBox="1"/>
            <p:nvPr/>
          </p:nvSpPr>
          <p:spPr>
            <a:xfrm>
              <a:off x="2978590" y="3916660"/>
              <a:ext cx="4354717"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Stromnetz</a:t>
              </a:r>
            </a:p>
          </p:txBody>
        </p:sp>
        <p:sp>
          <p:nvSpPr>
            <p:cNvPr id="23" name="TextBox 22">
              <a:extLst>
                <a:ext uri="{FF2B5EF4-FFF2-40B4-BE49-F238E27FC236}">
                  <a16:creationId xmlns:a16="http://schemas.microsoft.com/office/drawing/2014/main" id="{2126302A-F47F-42A7-954C-15B170C26A93}"/>
                </a:ext>
              </a:extLst>
            </p:cNvPr>
            <p:cNvSpPr txBox="1"/>
            <p:nvPr/>
          </p:nvSpPr>
          <p:spPr>
            <a:xfrm>
              <a:off x="7496268" y="3916660"/>
              <a:ext cx="1493823"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18</a:t>
              </a:r>
            </a:p>
          </p:txBody>
        </p:sp>
        <p:pic>
          <p:nvPicPr>
            <p:cNvPr id="44" name="CustomIcon">
              <a:extLst>
                <a:ext uri="{FF2B5EF4-FFF2-40B4-BE49-F238E27FC236}">
                  <a16:creationId xmlns:a16="http://schemas.microsoft.com/office/drawing/2014/main" id="{EAD91C87-C85F-40D3-8AE1-AE00C398AF5E}"/>
                </a:ext>
              </a:extLst>
            </p:cNvPr>
            <p:cNvPicPr>
              <a:picLocks/>
            </p:cNvPicPr>
            <p:nvPr>
              <p:custDataLst>
                <p:tags r:id="rId8"/>
              </p:custDataLst>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2281472" y="3916660"/>
              <a:ext cx="264312" cy="264312"/>
            </a:xfrm>
            <a:prstGeom prst="rect">
              <a:avLst/>
            </a:prstGeom>
          </p:spPr>
        </p:pic>
      </p:grpSp>
      <p:grpSp>
        <p:nvGrpSpPr>
          <p:cNvPr id="30" name="Group 29">
            <a:extLst>
              <a:ext uri="{FF2B5EF4-FFF2-40B4-BE49-F238E27FC236}">
                <a16:creationId xmlns:a16="http://schemas.microsoft.com/office/drawing/2014/main" id="{3FE6FB6C-00E5-40EE-AE38-6D29DB5527C5}"/>
              </a:ext>
            </a:extLst>
          </p:cNvPr>
          <p:cNvGrpSpPr/>
          <p:nvPr/>
        </p:nvGrpSpPr>
        <p:grpSpPr>
          <a:xfrm>
            <a:off x="2281472" y="3977260"/>
            <a:ext cx="6708619" cy="264312"/>
            <a:chOff x="2281472" y="4428454"/>
            <a:chExt cx="6708619" cy="264312"/>
          </a:xfrm>
        </p:grpSpPr>
        <p:sp>
          <p:nvSpPr>
            <p:cNvPr id="16" name="TextBox 15">
              <a:extLst>
                <a:ext uri="{FF2B5EF4-FFF2-40B4-BE49-F238E27FC236}">
                  <a16:creationId xmlns:a16="http://schemas.microsoft.com/office/drawing/2014/main" id="{3E998BD8-CE77-43B3-B27A-35811AC42487}"/>
                </a:ext>
              </a:extLst>
            </p:cNvPr>
            <p:cNvSpPr txBox="1"/>
            <p:nvPr/>
          </p:nvSpPr>
          <p:spPr>
            <a:xfrm>
              <a:off x="2978590" y="4428454"/>
              <a:ext cx="4354717"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Stromspeicher</a:t>
              </a:r>
            </a:p>
          </p:txBody>
        </p:sp>
        <p:sp>
          <p:nvSpPr>
            <p:cNvPr id="24" name="TextBox 23">
              <a:extLst>
                <a:ext uri="{FF2B5EF4-FFF2-40B4-BE49-F238E27FC236}">
                  <a16:creationId xmlns:a16="http://schemas.microsoft.com/office/drawing/2014/main" id="{95CE71BD-3E73-4765-8424-EC5A430EE1A1}"/>
                </a:ext>
              </a:extLst>
            </p:cNvPr>
            <p:cNvSpPr txBox="1"/>
            <p:nvPr/>
          </p:nvSpPr>
          <p:spPr>
            <a:xfrm>
              <a:off x="7496268" y="4428454"/>
              <a:ext cx="1493823"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7</a:t>
              </a:r>
            </a:p>
          </p:txBody>
        </p:sp>
        <p:pic>
          <p:nvPicPr>
            <p:cNvPr id="46" name="CustomIcon">
              <a:extLst>
                <a:ext uri="{FF2B5EF4-FFF2-40B4-BE49-F238E27FC236}">
                  <a16:creationId xmlns:a16="http://schemas.microsoft.com/office/drawing/2014/main" id="{34F3FD9E-B09D-4ADD-8190-1CA5C9B66D61}"/>
                </a:ext>
              </a:extLst>
            </p:cNvPr>
            <p:cNvPicPr>
              <a:picLocks/>
            </p:cNvPicPr>
            <p:nvPr>
              <p:custDataLst>
                <p:tags r:id="rId7"/>
              </p:custDataLst>
            </p:nvPr>
          </p:nvPicPr>
          <p:blipFill>
            <a:blip r:embed="rId30" cstate="screen">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2281472" y="4428454"/>
              <a:ext cx="264312" cy="264312"/>
            </a:xfrm>
            <a:prstGeom prst="rect">
              <a:avLst/>
            </a:prstGeom>
          </p:spPr>
        </p:pic>
      </p:grpSp>
      <p:grpSp>
        <p:nvGrpSpPr>
          <p:cNvPr id="5" name="Group 4">
            <a:extLst>
              <a:ext uri="{FF2B5EF4-FFF2-40B4-BE49-F238E27FC236}">
                <a16:creationId xmlns:a16="http://schemas.microsoft.com/office/drawing/2014/main" id="{5C5768E8-78CF-41AA-B022-D5C3998A73A1}"/>
              </a:ext>
            </a:extLst>
          </p:cNvPr>
          <p:cNvGrpSpPr/>
          <p:nvPr/>
        </p:nvGrpSpPr>
        <p:grpSpPr>
          <a:xfrm>
            <a:off x="2281472" y="4887033"/>
            <a:ext cx="6708619" cy="264312"/>
            <a:chOff x="2281472" y="5452044"/>
            <a:chExt cx="6708619" cy="264312"/>
          </a:xfrm>
        </p:grpSpPr>
        <p:sp>
          <p:nvSpPr>
            <p:cNvPr id="18" name="TextBox 17">
              <a:extLst>
                <a:ext uri="{FF2B5EF4-FFF2-40B4-BE49-F238E27FC236}">
                  <a16:creationId xmlns:a16="http://schemas.microsoft.com/office/drawing/2014/main" id="{7F1F1C77-992F-42AA-A8D8-BEF76888E065}"/>
                </a:ext>
              </a:extLst>
            </p:cNvPr>
            <p:cNvSpPr txBox="1"/>
            <p:nvPr/>
          </p:nvSpPr>
          <p:spPr>
            <a:xfrm>
              <a:off x="2978590" y="5452044"/>
              <a:ext cx="4354717"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Fernwärmenetz</a:t>
              </a:r>
            </a:p>
          </p:txBody>
        </p:sp>
        <p:sp>
          <p:nvSpPr>
            <p:cNvPr id="26" name="TextBox 25">
              <a:extLst>
                <a:ext uri="{FF2B5EF4-FFF2-40B4-BE49-F238E27FC236}">
                  <a16:creationId xmlns:a16="http://schemas.microsoft.com/office/drawing/2014/main" id="{049AD1DC-D8A9-44F8-B20C-E6CE726109D1}"/>
                </a:ext>
              </a:extLst>
            </p:cNvPr>
            <p:cNvSpPr txBox="1"/>
            <p:nvPr/>
          </p:nvSpPr>
          <p:spPr>
            <a:xfrm>
              <a:off x="7496268" y="5452044"/>
              <a:ext cx="1493823"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1,6</a:t>
              </a:r>
            </a:p>
          </p:txBody>
        </p:sp>
        <p:pic>
          <p:nvPicPr>
            <p:cNvPr id="48" name="CustomIcon">
              <a:extLst>
                <a:ext uri="{FF2B5EF4-FFF2-40B4-BE49-F238E27FC236}">
                  <a16:creationId xmlns:a16="http://schemas.microsoft.com/office/drawing/2014/main" id="{4F3FB130-7169-4194-BDFB-8720C9DFC15C}"/>
                </a:ext>
              </a:extLst>
            </p:cNvPr>
            <p:cNvPicPr>
              <a:picLocks/>
            </p:cNvPicPr>
            <p:nvPr>
              <p:custDataLst>
                <p:tags r:id="rId6"/>
              </p:custDataLst>
            </p:nvPr>
          </p:nvPicPr>
          <p:blipFill>
            <a:blip r:embed="rId32" cstate="screen">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2281472" y="5452044"/>
              <a:ext cx="264312" cy="264312"/>
            </a:xfrm>
            <a:prstGeom prst="rect">
              <a:avLst/>
            </a:prstGeom>
          </p:spPr>
        </p:pic>
      </p:grpSp>
      <p:cxnSp>
        <p:nvCxnSpPr>
          <p:cNvPr id="49" name="Straight Connector 48">
            <a:extLst>
              <a:ext uri="{FF2B5EF4-FFF2-40B4-BE49-F238E27FC236}">
                <a16:creationId xmlns:a16="http://schemas.microsoft.com/office/drawing/2014/main" id="{273D4578-5FD4-42C9-9F06-4D48FD73DE21}"/>
              </a:ext>
            </a:extLst>
          </p:cNvPr>
          <p:cNvCxnSpPr>
            <a:cxnSpLocks/>
          </p:cNvCxnSpPr>
          <p:nvPr/>
        </p:nvCxnSpPr>
        <p:spPr>
          <a:xfrm>
            <a:off x="554736" y="3431122"/>
            <a:ext cx="8525890" cy="0"/>
          </a:xfrm>
          <a:prstGeom prst="line">
            <a:avLst/>
          </a:prstGeom>
          <a:ln w="6350" cap="flat">
            <a:solidFill>
              <a:schemeClr val="bg1">
                <a:lumMod val="8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4ED4B4D9-44D2-4DAE-ABE1-9246053CC4DE}"/>
              </a:ext>
            </a:extLst>
          </p:cNvPr>
          <p:cNvSpPr txBox="1">
            <a:spLocks/>
          </p:cNvSpPr>
          <p:nvPr>
            <p:custDataLst>
              <p:tags r:id="rId3"/>
            </p:custDataLst>
          </p:nvPr>
        </p:nvSpPr>
        <p:spPr>
          <a:xfrm>
            <a:off x="9370337" y="1702830"/>
            <a:ext cx="2266927" cy="397544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800"/>
              </a:spcBef>
              <a:spcAft>
                <a:spcPts val="300"/>
              </a:spcAft>
              <a:buClr>
                <a:srgbClr val="000000"/>
              </a:buClr>
              <a:buSzPct val="100000"/>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Für die Energiewende sind </a:t>
            </a: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bis 2030 Investitionen von etwa 70 Mrd. EUR </a:t>
            </a: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nötig, wobei Teile noch nicht beziffert sind (E-Lade-infrastruktur) – dies entspricht etwa </a:t>
            </a: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17.000 EUR pro Haushalt</a:t>
            </a:r>
          </a:p>
          <a:p>
            <a:pPr marL="0" marR="0" lvl="0" indent="0" algn="l" defTabSz="914400" rtl="0" eaLnBrk="1" fontAlgn="auto" latinLnBrk="0" hangingPunct="1">
              <a:lnSpc>
                <a:spcPct val="100000"/>
              </a:lnSpc>
              <a:spcBef>
                <a:spcPts val="800"/>
              </a:spcBef>
              <a:spcAft>
                <a:spcPts val="300"/>
              </a:spcAft>
              <a:buClr>
                <a:srgbClr val="000000"/>
              </a:buClr>
              <a:buSzPct val="100000"/>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Das Umweltbundesamt beziffert den </a:t>
            </a: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Mehrinvestitionsbedarf 2022-2030 mit 78,6 Mrd. EUR </a:t>
            </a: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Gebäude, Industrie, Energie, excl. Verkehr)</a:t>
            </a:r>
          </a:p>
          <a:p>
            <a:pPr marL="0" marR="0" lvl="0" indent="0" algn="l" defTabSz="914400" rtl="0" eaLnBrk="1" fontAlgn="auto" latinLnBrk="0" hangingPunct="1">
              <a:lnSpc>
                <a:spcPct val="100000"/>
              </a:lnSpc>
              <a:spcBef>
                <a:spcPts val="800"/>
              </a:spcBef>
              <a:spcAft>
                <a:spcPts val="300"/>
              </a:spcAft>
              <a:buClr>
                <a:srgbClr val="000000"/>
              </a:buClr>
              <a:buSzPct val="100000"/>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Dieser Ausbau geht jedoch auch mit </a:t>
            </a: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Wertschöpfung</a:t>
            </a: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 einher, wobei die </a:t>
            </a:r>
            <a:r>
              <a:rPr kumimoji="0" lang="de-DE" sz="1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Schätzungen divergieren </a:t>
            </a:r>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von 4,39 Mrd. EUR pro Jahr (Energie, Gebäude, Industrie; Q: Umwelt-bundesamt) bis 9,8 Mrd. EUR pro Jahr (für den Ausbau Erneuerbarer Energien und Pumpspeicher, Q: JKU Linz)</a:t>
            </a:r>
          </a:p>
        </p:txBody>
      </p:sp>
      <p:sp>
        <p:nvSpPr>
          <p:cNvPr id="52" name="5. Source">
            <a:extLst>
              <a:ext uri="{FF2B5EF4-FFF2-40B4-BE49-F238E27FC236}">
                <a16:creationId xmlns:a16="http://schemas.microsoft.com/office/drawing/2014/main" id="{9EA5E326-2201-4ADA-A811-FFD890D26473}"/>
              </a:ext>
            </a:extLst>
          </p:cNvPr>
          <p:cNvSpPr txBox="1"/>
          <p:nvPr>
            <p:custDataLst>
              <p:tags r:id="rId4"/>
            </p:custDataLst>
          </p:nvPr>
        </p:nvSpPr>
        <p:spPr>
          <a:xfrm>
            <a:off x="837310" y="649120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800" b="0" i="0" u="none" strike="noStrike" kern="1200" cap="none" spc="0" normalizeH="0" baseline="0" noProof="0" dirty="0">
                <a:ln>
                  <a:noFill/>
                </a:ln>
                <a:solidFill>
                  <a:srgbClr val="004FA1"/>
                </a:solidFill>
                <a:effectLst/>
                <a:uLnTx/>
                <a:uFillTx/>
                <a:latin typeface="Bahnschrift"/>
                <a:ea typeface="+mn-ea"/>
                <a:cs typeface="Arial" panose="020B0604020202020204" pitchFamily="34" charset="0"/>
              </a:rPr>
              <a:t>Quelle: WKO (Energieinstitut der Wirtschaft), JKU Linz, Umweltbundesamt</a:t>
            </a:r>
          </a:p>
        </p:txBody>
      </p:sp>
      <p:cxnSp>
        <p:nvCxnSpPr>
          <p:cNvPr id="4" name="Straight Connector 3">
            <a:extLst>
              <a:ext uri="{FF2B5EF4-FFF2-40B4-BE49-F238E27FC236}">
                <a16:creationId xmlns:a16="http://schemas.microsoft.com/office/drawing/2014/main" id="{C6380024-172D-484B-9BCB-2D8B6957B7B4}"/>
              </a:ext>
            </a:extLst>
          </p:cNvPr>
          <p:cNvCxnSpPr>
            <a:cxnSpLocks/>
          </p:cNvCxnSpPr>
          <p:nvPr/>
        </p:nvCxnSpPr>
        <p:spPr>
          <a:xfrm>
            <a:off x="8243179" y="5251304"/>
            <a:ext cx="837447"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BE929D3-66CC-75D9-8EA2-B44823C4D144}"/>
              </a:ext>
            </a:extLst>
          </p:cNvPr>
          <p:cNvSpPr txBox="1"/>
          <p:nvPr/>
        </p:nvSpPr>
        <p:spPr>
          <a:xfrm>
            <a:off x="7496268" y="5339723"/>
            <a:ext cx="1493823"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22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70 </a:t>
            </a:r>
          </a:p>
        </p:txBody>
      </p:sp>
      <p:pic>
        <p:nvPicPr>
          <p:cNvPr id="3" name="Graphic 74">
            <a:extLst>
              <a:ext uri="{FF2B5EF4-FFF2-40B4-BE49-F238E27FC236}">
                <a16:creationId xmlns:a16="http://schemas.microsoft.com/office/drawing/2014/main" id="{1AA911F1-62DF-181A-2307-336D398C4FFF}"/>
              </a:ext>
            </a:extLst>
          </p:cNvPr>
          <p:cNvPicPr>
            <a:picLocks/>
          </p:cNvPicPr>
          <p:nvPr/>
        </p:nvPicPr>
        <p:blipFill>
          <a:blip r:embed="rId34">
            <a:extLst>
              <a:ext uri="{96DAC541-7B7A-43D3-8B79-37D633B846F1}">
                <asvg:svgBlip xmlns:asvg="http://schemas.microsoft.com/office/drawing/2016/SVG/main" r:embed="rId35"/>
              </a:ext>
            </a:extLst>
          </a:blip>
          <a:stretch>
            <a:fillRect/>
          </a:stretch>
        </p:blipFill>
        <p:spPr>
          <a:xfrm>
            <a:off x="11135229" y="1004990"/>
            <a:ext cx="516165" cy="515938"/>
          </a:xfrm>
          <a:prstGeom prst="rect">
            <a:avLst/>
          </a:prstGeom>
        </p:spPr>
      </p:pic>
      <p:sp>
        <p:nvSpPr>
          <p:cNvPr id="54" name="TextBox 53">
            <a:extLst>
              <a:ext uri="{FF2B5EF4-FFF2-40B4-BE49-F238E27FC236}">
                <a16:creationId xmlns:a16="http://schemas.microsoft.com/office/drawing/2014/main" id="{09FD709F-DC4F-474C-BE92-EBFF11910EC5}"/>
              </a:ext>
            </a:extLst>
          </p:cNvPr>
          <p:cNvSpPr txBox="1"/>
          <p:nvPr/>
        </p:nvSpPr>
        <p:spPr>
          <a:xfrm>
            <a:off x="2978590" y="5824242"/>
            <a:ext cx="4354717"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0" i="1"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Weitere Zusatzinvestitionen, z.B. im Bereich Mobilität (Ladeinfrastruktur)</a:t>
            </a:r>
          </a:p>
        </p:txBody>
      </p:sp>
      <p:sp>
        <p:nvSpPr>
          <p:cNvPr id="55" name="TextBox 54">
            <a:extLst>
              <a:ext uri="{FF2B5EF4-FFF2-40B4-BE49-F238E27FC236}">
                <a16:creationId xmlns:a16="http://schemas.microsoft.com/office/drawing/2014/main" id="{159E188A-9357-4877-A4A5-A0D520D1DDE4}"/>
              </a:ext>
            </a:extLst>
          </p:cNvPr>
          <p:cNvSpPr txBox="1"/>
          <p:nvPr/>
        </p:nvSpPr>
        <p:spPr>
          <a:xfrm>
            <a:off x="7496268" y="5824242"/>
            <a:ext cx="1493823"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X</a:t>
            </a:r>
          </a:p>
        </p:txBody>
      </p:sp>
      <p:pic>
        <p:nvPicPr>
          <p:cNvPr id="58" name="CustomIcon">
            <a:extLst>
              <a:ext uri="{FF2B5EF4-FFF2-40B4-BE49-F238E27FC236}">
                <a16:creationId xmlns:a16="http://schemas.microsoft.com/office/drawing/2014/main" id="{48D0EC72-86EF-40AE-B30C-FB7E453FECFD}"/>
              </a:ext>
            </a:extLst>
          </p:cNvPr>
          <p:cNvPicPr>
            <a:picLocks/>
          </p:cNvPicPr>
          <p:nvPr>
            <p:custDataLst>
              <p:tags r:id="rId5"/>
            </p:custDataLst>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2281472" y="5824242"/>
            <a:ext cx="264312" cy="264312"/>
          </a:xfrm>
          <a:prstGeom prst="rect">
            <a:avLst/>
          </a:prstGeom>
        </p:spPr>
      </p:pic>
    </p:spTree>
    <p:extLst>
      <p:ext uri="{BB962C8B-B14F-4D97-AF65-F5344CB8AC3E}">
        <p14:creationId xmlns:p14="http://schemas.microsoft.com/office/powerpoint/2010/main" val="28953312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6" hidden="1">
            <a:extLst>
              <a:ext uri="{FF2B5EF4-FFF2-40B4-BE49-F238E27FC236}">
                <a16:creationId xmlns:a16="http://schemas.microsoft.com/office/drawing/2014/main" id="{684D13B0-AC89-4DB3-7104-5DEF217A1A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592" imgH="595" progId="TCLayout.ActiveDocument.1">
                  <p:embed/>
                </p:oleObj>
              </mc:Choice>
              <mc:Fallback>
                <p:oleObj name="think-cell Slide" r:id="rId38" imgW="592" imgH="595" progId="TCLayout.ActiveDocument.1">
                  <p:embed/>
                  <p:pic>
                    <p:nvPicPr>
                      <p:cNvPr id="12" name="Object 6" hidden="1">
                        <a:extLst>
                          <a:ext uri="{FF2B5EF4-FFF2-40B4-BE49-F238E27FC236}">
                            <a16:creationId xmlns:a16="http://schemas.microsoft.com/office/drawing/2014/main" id="{684D13B0-AC89-4DB3-7104-5DEF217A1A0C}"/>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94" name="Title 93">
            <a:extLst>
              <a:ext uri="{FF2B5EF4-FFF2-40B4-BE49-F238E27FC236}">
                <a16:creationId xmlns:a16="http://schemas.microsoft.com/office/drawing/2014/main" id="{B31C665C-C852-3A67-5CC4-58108A474960}"/>
              </a:ext>
            </a:extLst>
          </p:cNvPr>
          <p:cNvSpPr>
            <a:spLocks noGrp="1"/>
          </p:cNvSpPr>
          <p:nvPr>
            <p:ph type="title"/>
          </p:nvPr>
        </p:nvSpPr>
        <p:spPr>
          <a:xfrm>
            <a:off x="838799" y="343789"/>
            <a:ext cx="9540001" cy="1126462"/>
          </a:xfrm>
          <a:noFill/>
          <a:ln>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de-DE" dirty="0">
                <a:sym typeface="Bahnschrift" panose="020B0502040204020203" pitchFamily="34" charset="0"/>
              </a:rPr>
              <a:t>Fossile machen in Haushalten nach wie vor einen wichtigen Teil des Energieverbrauchs aus – hauptsächlich für Raumwärme</a:t>
            </a:r>
          </a:p>
        </p:txBody>
      </p:sp>
      <p:cxnSp>
        <p:nvCxnSpPr>
          <p:cNvPr id="14" name="Straight Connector 13">
            <a:extLst>
              <a:ext uri="{FF2B5EF4-FFF2-40B4-BE49-F238E27FC236}">
                <a16:creationId xmlns:a16="http://schemas.microsoft.com/office/drawing/2014/main" id="{6200804C-EE4D-4E0D-8F67-BB63A9D41435}"/>
              </a:ext>
            </a:extLst>
          </p:cNvPr>
          <p:cNvCxnSpPr/>
          <p:nvPr>
            <p:custDataLst>
              <p:tags r:id="rId2"/>
            </p:custDataLst>
          </p:nvPr>
        </p:nvCxnSpPr>
        <p:spPr bwMode="gray">
          <a:xfrm>
            <a:off x="1873250" y="2955925"/>
            <a:ext cx="31273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FEC68A35-0739-4584-959A-58140DC06A4C}"/>
              </a:ext>
            </a:extLst>
          </p:cNvPr>
          <p:cNvCxnSpPr/>
          <p:nvPr>
            <p:custDataLst>
              <p:tags r:id="rId3"/>
            </p:custDataLst>
          </p:nvPr>
        </p:nvCxnSpPr>
        <p:spPr bwMode="gray">
          <a:xfrm>
            <a:off x="2971800" y="3654425"/>
            <a:ext cx="31273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B55531D9-63AF-4365-AD22-66407953AC76}"/>
              </a:ext>
            </a:extLst>
          </p:cNvPr>
          <p:cNvCxnSpPr/>
          <p:nvPr>
            <p:custDataLst>
              <p:tags r:id="rId4"/>
            </p:custDataLst>
          </p:nvPr>
        </p:nvCxnSpPr>
        <p:spPr bwMode="gray">
          <a:xfrm>
            <a:off x="4068763" y="4219575"/>
            <a:ext cx="31273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14CC3683-2F5A-4F1F-9213-F2D31B06C92E}"/>
              </a:ext>
            </a:extLst>
          </p:cNvPr>
          <p:cNvCxnSpPr/>
          <p:nvPr>
            <p:custDataLst>
              <p:tags r:id="rId5"/>
            </p:custDataLst>
          </p:nvPr>
        </p:nvCxnSpPr>
        <p:spPr bwMode="gray">
          <a:xfrm>
            <a:off x="5165725" y="4518025"/>
            <a:ext cx="31273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6F1B5948-884B-4AEF-B733-FF44C3526EF4}"/>
              </a:ext>
            </a:extLst>
          </p:cNvPr>
          <p:cNvCxnSpPr/>
          <p:nvPr>
            <p:custDataLst>
              <p:tags r:id="rId6"/>
            </p:custDataLst>
          </p:nvPr>
        </p:nvCxnSpPr>
        <p:spPr bwMode="gray">
          <a:xfrm>
            <a:off x="6264275" y="4552950"/>
            <a:ext cx="31273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6" name="Chart 25">
            <a:extLst>
              <a:ext uri="{FF2B5EF4-FFF2-40B4-BE49-F238E27FC236}">
                <a16:creationId xmlns:a16="http://schemas.microsoft.com/office/drawing/2014/main" id="{FF20A663-C0CF-F3E0-6E77-34A824E13F49}"/>
              </a:ext>
            </a:extLst>
          </p:cNvPr>
          <p:cNvGraphicFramePr/>
          <p:nvPr>
            <p:custDataLst>
              <p:tags r:id="rId7"/>
            </p:custDataLst>
          </p:nvPr>
        </p:nvGraphicFramePr>
        <p:xfrm>
          <a:off x="850900" y="2873375"/>
          <a:ext cx="6750050" cy="2378075"/>
        </p:xfrm>
        <a:graphic>
          <a:graphicData uri="http://schemas.openxmlformats.org/drawingml/2006/chart">
            <c:chart xmlns:c="http://schemas.openxmlformats.org/drawingml/2006/chart" xmlns:r="http://schemas.openxmlformats.org/officeDocument/2006/relationships" r:id="rId40"/>
          </a:graphicData>
        </a:graphic>
      </p:graphicFrame>
      <p:sp>
        <p:nvSpPr>
          <p:cNvPr id="8"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auto">
          <a:xfrm>
            <a:off x="3395663" y="5219700"/>
            <a:ext cx="561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4ACCEDC-470B-4677-88F9-6E606875AA54}" type="datetime'''''''''''''''''''''''Bi''''''o''''''''''ge''''''n''e'''''''''">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Biogene</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9" name="Text Placeholder 4">
            <a:extLst>
              <a:ext uri="{FF2B5EF4-FFF2-40B4-BE49-F238E27FC236}">
                <a16:creationId xmlns:a16="http://schemas.microsoft.com/office/drawing/2014/main" id="{237C0091-12D6-900D-0174-6B0ACBE59425}"/>
              </a:ext>
            </a:extLst>
          </p:cNvPr>
          <p:cNvSpPr>
            <a:spLocks noGrp="1"/>
          </p:cNvSpPr>
          <p:nvPr>
            <p:custDataLst>
              <p:tags r:id="rId9"/>
            </p:custDataLst>
          </p:nvPr>
        </p:nvSpPr>
        <p:spPr bwMode="auto">
          <a:xfrm>
            <a:off x="4371975" y="5219700"/>
            <a:ext cx="804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de-DE" altLang="en-US"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Fernwärme</a:t>
            </a:r>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50"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3597275" y="3563938"/>
            <a:ext cx="160338" cy="182563"/>
          </a:xfrm>
          <a:prstGeom prst="rect">
            <a:avLst/>
          </a:prstGeom>
          <a:solidFill>
            <a:schemeClr val="accent4"/>
          </a:solidFill>
          <a:ln>
            <a:noFill/>
          </a:ln>
          <a:effec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Bahnschrift" panose="020B0502040204020203" pitchFamily="34" charset="0"/>
                <a:ea typeface="+mn-ea"/>
                <a:cs typeface="Arial" panose="020B0604020202020204" pitchFamily="34" charset="0"/>
                <a:sym typeface="Bahnschrift" panose="020B0502040204020203"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de-DE" altLang="en-US"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lt;1</a:t>
            </a:r>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7"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auto">
          <a:xfrm>
            <a:off x="2327275" y="5219700"/>
            <a:ext cx="5032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678CB2F-6A46-40E2-8C3A-6F96ED31ACEF}" type="datetime'''''F''''''''''o''''''''''''''''''ss''''''''ile'''">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ossile</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5"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auto">
          <a:xfrm>
            <a:off x="1216025" y="5219700"/>
            <a:ext cx="531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34A186E-6401-475F-8FE7-5C7745126D6F}" type="datetime'''''''''''''''G''''''''''''''''''e''s''''am''''''''t'">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Gesamt</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34"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2498725" y="2865438"/>
            <a:ext cx="160338" cy="182563"/>
          </a:xfrm>
          <a:prstGeom prst="rect">
            <a:avLst/>
          </a:prstGeom>
          <a:solidFill>
            <a:schemeClr val="accent4"/>
          </a:solidFill>
          <a:ln>
            <a:noFill/>
          </a:ln>
          <a:effec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Bahnschrift" panose="020B0502040204020203" pitchFamily="34" charset="0"/>
                <a:ea typeface="+mn-ea"/>
                <a:cs typeface="Arial" panose="020B0604020202020204" pitchFamily="34" charset="0"/>
                <a:sym typeface="Bahnschrift" panose="020B0502040204020203"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de-DE" altLang="en-US"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Bahnschrift" panose="020B0502040204020203" pitchFamily="34" charset="0"/>
              </a:rPr>
              <a:t>&lt;1</a:t>
            </a:r>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Bahnschrift" panose="020B0502040204020203" pitchFamily="34" charset="0"/>
            </a:endParaRPr>
          </a:p>
        </p:txBody>
      </p:sp>
      <p:sp>
        <p:nvSpPr>
          <p:cNvPr id="141" name="Text Placeholder 4">
            <a:extLst>
              <a:ext uri="{FF2B5EF4-FFF2-40B4-BE49-F238E27FC236}">
                <a16:creationId xmlns:a16="http://schemas.microsoft.com/office/drawing/2014/main" id="{14F8DD3C-0059-A797-CA75-0F3CC5C5A172}"/>
              </a:ext>
            </a:extLst>
          </p:cNvPr>
          <p:cNvSpPr>
            <a:spLocks noGrp="1"/>
          </p:cNvSpPr>
          <p:nvPr>
            <p:custDataLst>
              <p:tags r:id="rId14"/>
            </p:custDataLst>
          </p:nvPr>
        </p:nvSpPr>
        <p:spPr bwMode="gray">
          <a:xfrm>
            <a:off x="1147763" y="2682875"/>
            <a:ext cx="6683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840A7F2-74E9-4810-AC97-607C89BC4B61}" type="datetime'''''''''7''''''''''''''''''9'''''''''''">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79</a:t>
            </a:fld>
            <a:r>
              <a:rPr kumimoji="0" lang="de-DE" altLang="en-US"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 (</a:t>
            </a:r>
            <a:fld id="{A6506057-20F2-4533-9F93-42BD4E730CF5}" type="datetime'''''''1''''''''0''''''''''''''''''''''''''''''0%'''''''''">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00%</a:t>
            </a:fld>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a:t>
            </a:r>
          </a:p>
        </p:txBody>
      </p:sp>
      <p:sp>
        <p:nvSpPr>
          <p:cNvPr id="77" name="Text Placeholder 4">
            <a:extLst>
              <a:ext uri="{FF2B5EF4-FFF2-40B4-BE49-F238E27FC236}">
                <a16:creationId xmlns:a16="http://schemas.microsoft.com/office/drawing/2014/main" id="{A25630D0-7D21-4A1F-835A-473A4E34D8F0}"/>
              </a:ext>
            </a:extLst>
          </p:cNvPr>
          <p:cNvSpPr>
            <a:spLocks noGrp="1"/>
          </p:cNvSpPr>
          <p:nvPr>
            <p:custDataLst>
              <p:tags r:id="rId15"/>
            </p:custDataLst>
          </p:nvPr>
        </p:nvSpPr>
        <p:spPr bwMode="gray">
          <a:xfrm>
            <a:off x="4906963" y="4129088"/>
            <a:ext cx="128588" cy="182563"/>
          </a:xfrm>
          <a:prstGeom prst="rect">
            <a:avLst/>
          </a:prstGeom>
          <a:solidFill>
            <a:schemeClr val="accent4"/>
          </a:solidFill>
          <a:ln>
            <a:noFill/>
          </a:ln>
          <a:effec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Bahnschrift" panose="020B0502040204020203" pitchFamily="34" charset="0"/>
                <a:ea typeface="+mn-ea"/>
                <a:cs typeface="Arial" panose="020B0604020202020204" pitchFamily="34" charset="0"/>
                <a:sym typeface="Bahnschrift" panose="020B0502040204020203"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None/>
              <a:tabLst/>
              <a:defRPr/>
            </a:pPr>
            <a:fld id="{C72778C7-1C84-47D0-8E08-F7A665B0873B}" type="datetime'''''''''''''''''''''''''''''''0'''''''''''''''''">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None/>
                <a:tabLst/>
                <a:defRPr/>
              </a:pPr>
              <a:t>0</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Bahnschrift" panose="020B0502040204020203" pitchFamily="34" charset="0"/>
            </a:endParaRPr>
          </a:p>
        </p:txBody>
      </p:sp>
      <p:sp>
        <p:nvSpPr>
          <p:cNvPr id="17"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5822950" y="4445000"/>
            <a:ext cx="95250" cy="182563"/>
          </a:xfrm>
          <a:prstGeom prst="rect">
            <a:avLst/>
          </a:prstGeom>
          <a:solidFill>
            <a:schemeClr val="accent3"/>
          </a:solidFill>
          <a:ln>
            <a:noFill/>
          </a:ln>
          <a:effec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Bahnschrift" panose="020B0502040204020203" pitchFamily="34" charset="0"/>
                <a:ea typeface="+mn-ea"/>
                <a:cs typeface="Arial" panose="020B0604020202020204" pitchFamily="34" charset="0"/>
                <a:sym typeface="Bahnschrift" panose="020B0502040204020203"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EB42444-ABE4-48E7-9F9C-4C8B61F7E42D}" type="datetime'''''''''''''''1'''''''''''''''''''''''''''''''''''''">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64" name="Text Placeholder 4">
            <a:extLst>
              <a:ext uri="{FF2B5EF4-FFF2-40B4-BE49-F238E27FC236}">
                <a16:creationId xmlns:a16="http://schemas.microsoft.com/office/drawing/2014/main" id="{5E593D97-F017-4A81-B5AC-A7750C41B50C}"/>
              </a:ext>
            </a:extLst>
          </p:cNvPr>
          <p:cNvSpPr>
            <a:spLocks noGrp="1"/>
          </p:cNvSpPr>
          <p:nvPr>
            <p:custDataLst>
              <p:tags r:id="rId17"/>
            </p:custDataLst>
          </p:nvPr>
        </p:nvSpPr>
        <p:spPr bwMode="auto">
          <a:xfrm>
            <a:off x="5443538" y="5219700"/>
            <a:ext cx="8540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38D340E-EEED-4CB5-B244-C7BFE40504E5}" type="datetime'''S''''''''''o''''''''''la''r''w''''''''''är''m''''e'''">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olarwärme</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Bahnschrift" panose="020B0502040204020203" pitchFamily="34" charset="0"/>
            </a:endParaRPr>
          </a:p>
        </p:txBody>
      </p:sp>
      <p:sp>
        <p:nvSpPr>
          <p:cNvPr id="25" name="Text Placeholder 4">
            <a:extLst>
              <a:ext uri="{FF2B5EF4-FFF2-40B4-BE49-F238E27FC236}">
                <a16:creationId xmlns:a16="http://schemas.microsoft.com/office/drawing/2014/main" id="{4C1F3293-4EFE-461D-940D-7EE66BAE31C5}"/>
              </a:ext>
            </a:extLst>
          </p:cNvPr>
          <p:cNvSpPr>
            <a:spLocks noGrp="1"/>
          </p:cNvSpPr>
          <p:nvPr>
            <p:custDataLst>
              <p:tags r:id="rId18"/>
            </p:custDataLst>
          </p:nvPr>
        </p:nvSpPr>
        <p:spPr bwMode="gray">
          <a:xfrm>
            <a:off x="7104063" y="4789488"/>
            <a:ext cx="123825" cy="182563"/>
          </a:xfrm>
          <a:prstGeom prst="rect">
            <a:avLst/>
          </a:prstGeom>
          <a:solidFill>
            <a:schemeClr val="accent4"/>
          </a:solidFill>
          <a:ln>
            <a:noFill/>
          </a:ln>
          <a:effec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Bahnschrift" panose="020B0502040204020203" pitchFamily="34" charset="0"/>
                <a:ea typeface="+mn-ea"/>
                <a:cs typeface="Arial" panose="020B0604020202020204" pitchFamily="34" charset="0"/>
                <a:sym typeface="Bahnschrift" panose="020B0502040204020203"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EF45B8D-A10A-457A-A525-5CE8C55CABAC}" type="datetime'''2'''''''''''''''''''''''''">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22" name="Text Placeholder 4">
            <a:extLst>
              <a:ext uri="{FF2B5EF4-FFF2-40B4-BE49-F238E27FC236}">
                <a16:creationId xmlns:a16="http://schemas.microsoft.com/office/drawing/2014/main" id="{A90857F2-5FAA-463B-4517-709125BB5900}"/>
              </a:ext>
            </a:extLst>
          </p:cNvPr>
          <p:cNvSpPr>
            <a:spLocks noGrp="1"/>
          </p:cNvSpPr>
          <p:nvPr>
            <p:custDataLst>
              <p:tags r:id="rId19"/>
            </p:custDataLst>
          </p:nvPr>
        </p:nvSpPr>
        <p:spPr bwMode="auto">
          <a:xfrm>
            <a:off x="6464300" y="5219700"/>
            <a:ext cx="101123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549144A-BBC7-4489-8796-1916B47F27C4}" type="datetime'S''tr''''o''''m (''''ink''l''. ''''Wär''''me''pum''pe)'''''''">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trom (inkl. Wärmepumpe)</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Bahnschrift" panose="020B0502040204020203" pitchFamily="34" charset="0"/>
            </a:endParaRPr>
          </a:p>
        </p:txBody>
      </p:sp>
      <p:sp>
        <p:nvSpPr>
          <p:cNvPr id="107" name="Text Placeholder 4">
            <a:extLst>
              <a:ext uri="{FF2B5EF4-FFF2-40B4-BE49-F238E27FC236}">
                <a16:creationId xmlns:a16="http://schemas.microsoft.com/office/drawing/2014/main" id="{8FBA09B0-7150-0841-3B6A-4C149E151519}"/>
              </a:ext>
            </a:extLst>
          </p:cNvPr>
          <p:cNvSpPr>
            <a:spLocks noGrp="1"/>
          </p:cNvSpPr>
          <p:nvPr>
            <p:custDataLst>
              <p:tags r:id="rId20"/>
            </p:custDataLst>
          </p:nvPr>
        </p:nvSpPr>
        <p:spPr bwMode="gray">
          <a:xfrm>
            <a:off x="2270125" y="2682875"/>
            <a:ext cx="6175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4BBA971-56C8-44E7-9B31-043B12C442B5}" type="datetime'''2''''''''''''5'''''''''''''''''''''''''">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5</a:t>
            </a:fld>
            <a:r>
              <a:rPr kumimoji="0" lang="de-DE" altLang="en-US"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 (</a:t>
            </a:r>
            <a:fld id="{EEF3002F-F805-44F2-8855-26C2CB9A7C3C}" type="datetime'''3''''''''''''''''''2%'''''''''''''''''">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2%</a:t>
            </a:fld>
            <a:r>
              <a:rPr kumimoji="0" lang="de-DE" altLang="en-US"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a:t>
            </a:r>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06" name="Text Placeholder 4">
            <a:extLst>
              <a:ext uri="{FF2B5EF4-FFF2-40B4-BE49-F238E27FC236}">
                <a16:creationId xmlns:a16="http://schemas.microsoft.com/office/drawing/2014/main" id="{956088B9-6261-A6E1-B5C1-B3F32F33816A}"/>
              </a:ext>
            </a:extLst>
          </p:cNvPr>
          <p:cNvSpPr>
            <a:spLocks noGrp="1"/>
          </p:cNvSpPr>
          <p:nvPr>
            <p:custDataLst>
              <p:tags r:id="rId21"/>
            </p:custDataLst>
          </p:nvPr>
        </p:nvSpPr>
        <p:spPr bwMode="gray">
          <a:xfrm>
            <a:off x="3368675" y="3381375"/>
            <a:ext cx="6159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7F62C1F-2035-4A80-ACA3-678B39C35F6B}" type="datetime'''2''0'''''''''''''''''''''''''''''''''''''''''''''">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a:t>
            </a:fld>
            <a:r>
              <a:rPr kumimoji="0" lang="de-DE" altLang="en-US"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 (</a:t>
            </a:r>
            <a:fld id="{C8A2CCC1-E69D-46D4-8CEE-12A7B4DF33C8}" type="datetime'''''''''''''''''''''''''2''''6%'''''">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6%</a:t>
            </a:fld>
            <a:r>
              <a:rPr kumimoji="0" lang="de-DE" altLang="en-US"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a:t>
            </a:r>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76" name="Text Placeholder 4">
            <a:extLst>
              <a:ext uri="{FF2B5EF4-FFF2-40B4-BE49-F238E27FC236}">
                <a16:creationId xmlns:a16="http://schemas.microsoft.com/office/drawing/2014/main" id="{C8AFE2DD-F5E7-4F79-8738-42298D256841}"/>
              </a:ext>
            </a:extLst>
          </p:cNvPr>
          <p:cNvSpPr>
            <a:spLocks noGrp="1"/>
          </p:cNvSpPr>
          <p:nvPr>
            <p:custDataLst>
              <p:tags r:id="rId22"/>
            </p:custDataLst>
          </p:nvPr>
        </p:nvSpPr>
        <p:spPr bwMode="gray">
          <a:xfrm>
            <a:off x="4578350" y="3763963"/>
            <a:ext cx="39211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0C12A4D-45DC-4F13-BE9A-052974A9D02E}" type="datetime'1''''''''''''''''''1'''''''''''''''''''''''''''''''''''''">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1</a:t>
            </a:fld>
            <a:br>
              <a:rPr kumimoji="0" lang="de-DE" altLang="en-US"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Bahnschrift" panose="020B0502040204020203" pitchFamily="34" charset="0"/>
              </a:rPr>
            </a:br>
            <a:r>
              <a:rPr kumimoji="0" lang="de-DE" altLang="en-US"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Bahnschrift" panose="020B0502040204020203" pitchFamily="34" charset="0"/>
              </a:rPr>
              <a:t>(</a:t>
            </a:r>
            <a:fld id="{B6F4FB1E-C20D-4481-9F3F-85DC0D024D5E}" type="datetime'''''''''''''1''''''''''''4''''%'''''''''">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4%</a:t>
            </a:fld>
            <a:r>
              <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Bahnschrift" panose="020B0502040204020203" pitchFamily="34" charset="0"/>
              </a:rPr>
              <a:t>)</a:t>
            </a:r>
          </a:p>
        </p:txBody>
      </p:sp>
      <p:sp>
        <p:nvSpPr>
          <p:cNvPr id="104" name="Text Placeholder 4">
            <a:extLst>
              <a:ext uri="{FF2B5EF4-FFF2-40B4-BE49-F238E27FC236}">
                <a16:creationId xmlns:a16="http://schemas.microsoft.com/office/drawing/2014/main" id="{D008DCD3-9F76-4B26-6FFD-243809CB12B0}"/>
              </a:ext>
            </a:extLst>
          </p:cNvPr>
          <p:cNvSpPr>
            <a:spLocks noGrp="1"/>
          </p:cNvSpPr>
          <p:nvPr>
            <p:custDataLst>
              <p:tags r:id="rId23"/>
            </p:custDataLst>
          </p:nvPr>
        </p:nvSpPr>
        <p:spPr bwMode="gray">
          <a:xfrm>
            <a:off x="6659563" y="4344988"/>
            <a:ext cx="619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097EF79-01C6-45A6-9401-207262BDD9C5}" type="datetime'2''''''''''''''''''''''''''''2'">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2</a:t>
            </a:fld>
            <a:r>
              <a:rPr kumimoji="0" lang="de-DE" altLang="en-US"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 (</a:t>
            </a:r>
            <a:fld id="{15B18445-1C1D-4DD1-A024-15861C4E23C8}" type="datetime'2''''''''''''8''''''''''''''''%'''''''''''''''''''''''''''''''">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8%</a:t>
            </a:fld>
            <a:r>
              <a:rPr kumimoji="0" lang="de-DE" altLang="en-US"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a:t>
            </a:r>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57" name="Oval 56">
            <a:extLst>
              <a:ext uri="{FF2B5EF4-FFF2-40B4-BE49-F238E27FC236}">
                <a16:creationId xmlns:a16="http://schemas.microsoft.com/office/drawing/2014/main" id="{BC06AE41-7886-4A5A-D821-6C6890281F86}"/>
              </a:ext>
            </a:extLst>
          </p:cNvPr>
          <p:cNvSpPr/>
          <p:nvPr/>
        </p:nvSpPr>
        <p:spPr>
          <a:xfrm>
            <a:off x="5476875" y="2330450"/>
            <a:ext cx="347663" cy="20955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FFFFFF"/>
              </a:buClr>
              <a:buSzTx/>
              <a:buFontTx/>
              <a:buNone/>
              <a:tabLst/>
              <a:defRPr/>
            </a:pPr>
            <a:r>
              <a:rPr kumimoji="0" lang="de-DE" sz="105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rPr>
              <a:t>x</a:t>
            </a:r>
          </a:p>
        </p:txBody>
      </p:sp>
      <p:sp>
        <p:nvSpPr>
          <p:cNvPr id="58" name="TextBox 57">
            <a:extLst>
              <a:ext uri="{FF2B5EF4-FFF2-40B4-BE49-F238E27FC236}">
                <a16:creationId xmlns:a16="http://schemas.microsoft.com/office/drawing/2014/main" id="{AA99CDE9-BEAF-EF5B-4B1B-F93F88C878B8}"/>
              </a:ext>
            </a:extLst>
          </p:cNvPr>
          <p:cNvSpPr txBox="1"/>
          <p:nvPr/>
        </p:nvSpPr>
        <p:spPr>
          <a:xfrm>
            <a:off x="5902325" y="2330450"/>
            <a:ext cx="1616075" cy="369888"/>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Anteil Raumwärme und</a:t>
            </a:r>
            <a:b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b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Warmwasser</a:t>
            </a:r>
            <a:r>
              <a:rPr kumimoji="0" lang="de-DE" sz="1200" b="0" i="0" u="none" strike="noStrike" kern="1200" cap="none" spc="0" normalizeH="0" baseline="3000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1</a:t>
            </a: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 </a:t>
            </a:r>
          </a:p>
        </p:txBody>
      </p:sp>
      <p:sp>
        <p:nvSpPr>
          <p:cNvPr id="59" name="Oval 58">
            <a:extLst>
              <a:ext uri="{FF2B5EF4-FFF2-40B4-BE49-F238E27FC236}">
                <a16:creationId xmlns:a16="http://schemas.microsoft.com/office/drawing/2014/main" id="{349EE24B-5C5D-E433-B489-F1213DAB071F}"/>
              </a:ext>
            </a:extLst>
          </p:cNvPr>
          <p:cNvSpPr/>
          <p:nvPr/>
        </p:nvSpPr>
        <p:spPr>
          <a:xfrm>
            <a:off x="2336800" y="5717416"/>
            <a:ext cx="485775" cy="2921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FFFFFF"/>
              </a:buClr>
              <a:buSzTx/>
              <a:buFontTx/>
              <a:buNone/>
              <a:tabLst/>
              <a:defRPr/>
            </a:pPr>
            <a:r>
              <a:rPr kumimoji="0" lang="de-DE" sz="12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rPr>
              <a:t>&gt;99%</a:t>
            </a:r>
          </a:p>
        </p:txBody>
      </p:sp>
      <p:sp>
        <p:nvSpPr>
          <p:cNvPr id="60" name="Oval 59">
            <a:extLst>
              <a:ext uri="{FF2B5EF4-FFF2-40B4-BE49-F238E27FC236}">
                <a16:creationId xmlns:a16="http://schemas.microsoft.com/office/drawing/2014/main" id="{61E02395-D4A6-B7E9-5902-9E58264D5E54}"/>
              </a:ext>
            </a:extLst>
          </p:cNvPr>
          <p:cNvSpPr/>
          <p:nvPr/>
        </p:nvSpPr>
        <p:spPr>
          <a:xfrm>
            <a:off x="3435350" y="5717416"/>
            <a:ext cx="484188" cy="2921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FFFFFF"/>
              </a:buClr>
              <a:buSzTx/>
              <a:buFontTx/>
              <a:buNone/>
              <a:tabLst/>
              <a:defRPr/>
            </a:pPr>
            <a:r>
              <a:rPr kumimoji="0" lang="de-DE" sz="12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rPr>
              <a:t>&gt;99%</a:t>
            </a:r>
          </a:p>
        </p:txBody>
      </p:sp>
      <p:sp>
        <p:nvSpPr>
          <p:cNvPr id="61" name="Oval 60">
            <a:extLst>
              <a:ext uri="{FF2B5EF4-FFF2-40B4-BE49-F238E27FC236}">
                <a16:creationId xmlns:a16="http://schemas.microsoft.com/office/drawing/2014/main" id="{FAAD6D20-DE08-BBBA-3CC9-1C96AC9A79C4}"/>
              </a:ext>
            </a:extLst>
          </p:cNvPr>
          <p:cNvSpPr/>
          <p:nvPr/>
        </p:nvSpPr>
        <p:spPr>
          <a:xfrm>
            <a:off x="5629275" y="5717416"/>
            <a:ext cx="485775" cy="2921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FFFFFF"/>
              </a:buClr>
              <a:buSzTx/>
              <a:buFontTx/>
              <a:buNone/>
              <a:tabLst/>
              <a:defRPr/>
            </a:pPr>
            <a:r>
              <a:rPr kumimoji="0" lang="de-DE" sz="12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rPr>
              <a:t>100%</a:t>
            </a:r>
          </a:p>
        </p:txBody>
      </p:sp>
      <p:sp>
        <p:nvSpPr>
          <p:cNvPr id="62" name="Oval 61">
            <a:extLst>
              <a:ext uri="{FF2B5EF4-FFF2-40B4-BE49-F238E27FC236}">
                <a16:creationId xmlns:a16="http://schemas.microsoft.com/office/drawing/2014/main" id="{CA1C3039-FD29-EEDC-23E7-C89CDBFE95E6}"/>
              </a:ext>
            </a:extLst>
          </p:cNvPr>
          <p:cNvSpPr/>
          <p:nvPr/>
        </p:nvSpPr>
        <p:spPr>
          <a:xfrm>
            <a:off x="6727825" y="5717416"/>
            <a:ext cx="484188" cy="2921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FFFFFF"/>
              </a:buClr>
              <a:buSzTx/>
              <a:buFontTx/>
              <a:buNone/>
              <a:tabLst/>
              <a:defRPr/>
            </a:pPr>
            <a:r>
              <a:rPr kumimoji="0" lang="de-DE" sz="12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rPr>
              <a:t>43%</a:t>
            </a:r>
          </a:p>
        </p:txBody>
      </p:sp>
      <p:sp>
        <p:nvSpPr>
          <p:cNvPr id="156" name="Rectangle 155">
            <a:extLst>
              <a:ext uri="{FF2B5EF4-FFF2-40B4-BE49-F238E27FC236}">
                <a16:creationId xmlns:a16="http://schemas.microsoft.com/office/drawing/2014/main" id="{8A7E40E5-7224-AD1F-F977-CC37A3A09DA5}"/>
              </a:ext>
            </a:extLst>
          </p:cNvPr>
          <p:cNvSpPr/>
          <p:nvPr>
            <p:custDataLst>
              <p:tags r:id="rId24"/>
            </p:custDataLst>
          </p:nvPr>
        </p:nvSpPr>
        <p:spPr bwMode="auto">
          <a:xfrm>
            <a:off x="993775" y="2330450"/>
            <a:ext cx="165100" cy="165100"/>
          </a:xfrm>
          <a:prstGeom prst="rect">
            <a:avLst/>
          </a:prstGeom>
          <a:solidFill>
            <a:schemeClr val="accent2"/>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a:ln>
                <a:noFill/>
              </a:ln>
              <a:solidFill>
                <a:srgbClr val="FFFFFF"/>
              </a:solidFill>
              <a:effectLst/>
              <a:uLnTx/>
              <a:uFillTx/>
              <a:latin typeface="Bahnschrift"/>
              <a:ea typeface="+mn-ea"/>
              <a:cs typeface="+mn-cs"/>
            </a:endParaRPr>
          </a:p>
        </p:txBody>
      </p:sp>
      <p:sp>
        <p:nvSpPr>
          <p:cNvPr id="157" name="Rectangle 156">
            <a:extLst>
              <a:ext uri="{FF2B5EF4-FFF2-40B4-BE49-F238E27FC236}">
                <a16:creationId xmlns:a16="http://schemas.microsoft.com/office/drawing/2014/main" id="{C8029D6C-4BA4-A12E-4B5C-931981532E3E}"/>
              </a:ext>
            </a:extLst>
          </p:cNvPr>
          <p:cNvSpPr/>
          <p:nvPr>
            <p:custDataLst>
              <p:tags r:id="rId25"/>
            </p:custDataLst>
          </p:nvPr>
        </p:nvSpPr>
        <p:spPr bwMode="auto">
          <a:xfrm>
            <a:off x="1982788" y="2330450"/>
            <a:ext cx="165100" cy="165100"/>
          </a:xfrm>
          <a:prstGeom prst="rect">
            <a:avLst/>
          </a:prstGeom>
          <a:solidFill>
            <a:schemeClr val="accent4"/>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a:ln>
                <a:noFill/>
              </a:ln>
              <a:solidFill>
                <a:srgbClr val="FFFFFF"/>
              </a:solidFill>
              <a:effectLst/>
              <a:uLnTx/>
              <a:uFillTx/>
              <a:latin typeface="Bahnschrift"/>
              <a:ea typeface="+mn-ea"/>
              <a:cs typeface="+mn-cs"/>
            </a:endParaRPr>
          </a:p>
        </p:txBody>
      </p:sp>
      <p:sp>
        <p:nvSpPr>
          <p:cNvPr id="158" name="Rectangle 157">
            <a:extLst>
              <a:ext uri="{FF2B5EF4-FFF2-40B4-BE49-F238E27FC236}">
                <a16:creationId xmlns:a16="http://schemas.microsoft.com/office/drawing/2014/main" id="{052B783D-632A-2BDE-0A6B-849D55DBCEDC}"/>
              </a:ext>
            </a:extLst>
          </p:cNvPr>
          <p:cNvSpPr/>
          <p:nvPr>
            <p:custDataLst>
              <p:tags r:id="rId26"/>
            </p:custDataLst>
          </p:nvPr>
        </p:nvSpPr>
        <p:spPr bwMode="auto">
          <a:xfrm>
            <a:off x="2809875" y="2330450"/>
            <a:ext cx="165100" cy="165100"/>
          </a:xfrm>
          <a:prstGeom prst="rect">
            <a:avLst/>
          </a:prstGeom>
          <a:solidFill>
            <a:schemeClr val="accent3"/>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a:ln>
                <a:noFill/>
              </a:ln>
              <a:solidFill>
                <a:srgbClr val="FFFFFF"/>
              </a:solidFill>
              <a:effectLst/>
              <a:uLnTx/>
              <a:uFillTx/>
              <a:latin typeface="Bahnschrift"/>
              <a:ea typeface="+mn-ea"/>
              <a:cs typeface="+mn-cs"/>
            </a:endParaRPr>
          </a:p>
        </p:txBody>
      </p:sp>
      <p:sp>
        <p:nvSpPr>
          <p:cNvPr id="151" name="Text Placeholder 4">
            <a:extLst>
              <a:ext uri="{FF2B5EF4-FFF2-40B4-BE49-F238E27FC236}">
                <a16:creationId xmlns:a16="http://schemas.microsoft.com/office/drawing/2014/main" id="{4C1F3293-4EFE-461D-940D-7EE66BAE31C5}"/>
              </a:ext>
            </a:extLst>
          </p:cNvPr>
          <p:cNvSpPr>
            <a:spLocks noGrp="1"/>
          </p:cNvSpPr>
          <p:nvPr>
            <p:custDataLst>
              <p:tags r:id="rId27"/>
            </p:custDataLst>
          </p:nvPr>
        </p:nvSpPr>
        <p:spPr bwMode="auto">
          <a:xfrm>
            <a:off x="1209675" y="2328863"/>
            <a:ext cx="6715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E728BAB-65D9-46F0-8E00-92750B7600A9}" type="datetime'S''''''''''''o''''n''s''t''''''''''''''i''''''g''e''''''s'''">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onstiges</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53" name="Text Placeholder 4">
            <a:extLst>
              <a:ext uri="{FF2B5EF4-FFF2-40B4-BE49-F238E27FC236}">
                <a16:creationId xmlns:a16="http://schemas.microsoft.com/office/drawing/2014/main" id="{4C1F3293-4EFE-461D-940D-7EE66BAE31C5}"/>
              </a:ext>
            </a:extLst>
          </p:cNvPr>
          <p:cNvSpPr>
            <a:spLocks noGrp="1"/>
          </p:cNvSpPr>
          <p:nvPr>
            <p:custDataLst>
              <p:tags r:id="rId28"/>
            </p:custDataLst>
          </p:nvPr>
        </p:nvSpPr>
        <p:spPr bwMode="auto">
          <a:xfrm>
            <a:off x="2198688" y="2328863"/>
            <a:ext cx="5095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C7D1A9F-2C49-4B50-A65D-ADAE4BC2A437}" type="datetime'''''''''''''''''''K''''''''''''''o''''c''''''''he''n'''">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Kochen</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54" name="Text Placeholder 4">
            <a:extLst>
              <a:ext uri="{FF2B5EF4-FFF2-40B4-BE49-F238E27FC236}">
                <a16:creationId xmlns:a16="http://schemas.microsoft.com/office/drawing/2014/main" id="{4C1F3293-4EFE-461D-940D-7EE66BAE31C5}"/>
              </a:ext>
            </a:extLst>
          </p:cNvPr>
          <p:cNvSpPr>
            <a:spLocks noGrp="1"/>
          </p:cNvSpPr>
          <p:nvPr>
            <p:custDataLst>
              <p:tags r:id="rId29"/>
            </p:custDataLst>
          </p:nvPr>
        </p:nvSpPr>
        <p:spPr bwMode="auto">
          <a:xfrm>
            <a:off x="3025775" y="2328863"/>
            <a:ext cx="19605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FB2E785-6A48-4F6B-95D7-2BA3520578B6}" type="datetime'R''aumw''''är''''''m''e &amp;'''' War''m''''''w''as''''''s''er'''">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Raumwärme &amp; Warmwasser</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25" name="Oval 124">
            <a:extLst>
              <a:ext uri="{FF2B5EF4-FFF2-40B4-BE49-F238E27FC236}">
                <a16:creationId xmlns:a16="http://schemas.microsoft.com/office/drawing/2014/main" id="{A254901B-4286-4648-B9F7-22579D4A4729}"/>
              </a:ext>
            </a:extLst>
          </p:cNvPr>
          <p:cNvSpPr/>
          <p:nvPr/>
        </p:nvSpPr>
        <p:spPr>
          <a:xfrm>
            <a:off x="4532313" y="5717416"/>
            <a:ext cx="485775" cy="29210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FFFFFF"/>
              </a:buClr>
              <a:buSzTx/>
              <a:buFontTx/>
              <a:buNone/>
              <a:tabLst/>
              <a:defRPr/>
            </a:pPr>
            <a:r>
              <a:rPr kumimoji="0" lang="de-DE" sz="12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rPr>
              <a:t>100%</a:t>
            </a:r>
          </a:p>
        </p:txBody>
      </p:sp>
      <p:sp>
        <p:nvSpPr>
          <p:cNvPr id="11" name="4. Footnote">
            <a:extLst>
              <a:ext uri="{FF2B5EF4-FFF2-40B4-BE49-F238E27FC236}">
                <a16:creationId xmlns:a16="http://schemas.microsoft.com/office/drawing/2014/main" id="{08514FA6-D98A-26E7-E533-0C7342EFFB0A}"/>
              </a:ext>
            </a:extLst>
          </p:cNvPr>
          <p:cNvSpPr txBox="1">
            <a:spLocks/>
          </p:cNvSpPr>
          <p:nvPr>
            <p:custDataLst>
              <p:tags r:id="rId30"/>
            </p:custDataLst>
          </p:nvPr>
        </p:nvSpPr>
        <p:spPr>
          <a:xfrm>
            <a:off x="922020" y="6371361"/>
            <a:ext cx="9456780" cy="123111"/>
          </a:xfrm>
          <a:prstGeom prst="rect">
            <a:avLst/>
          </a:prstGeom>
          <a:noFill/>
        </p:spPr>
        <p:txBody>
          <a:bodyPr vert="horz" wrap="square" lIns="0" tIns="0" rIns="0" bIns="0" rtlCol="0" anchor="b" anchorCtr="0">
            <a:noAutofit/>
          </a:bodyPr>
          <a:lstStyle/>
          <a:p>
            <a:pPr marL="203200" marR="0" lvl="0" indent="-212725" algn="l" defTabSz="914400" rtl="0" eaLnBrk="1" fontAlgn="base" latinLnBrk="0" hangingPunct="1">
              <a:lnSpc>
                <a:spcPct val="100000"/>
              </a:lnSpc>
              <a:spcBef>
                <a:spcPct val="0"/>
              </a:spcBef>
              <a:spcAft>
                <a:spcPct val="0"/>
              </a:spcAft>
              <a:buClrTx/>
              <a:buSzTx/>
              <a:buFontTx/>
              <a:buNone/>
              <a:tabLst/>
              <a:defRPr/>
            </a:pP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Arial" panose="020B0604020202020204" pitchFamily="34" charset="0"/>
              </a:rPr>
              <a:t>1. Rest auf 100%: Kochen und sonstiger Verbrauch</a:t>
            </a:r>
          </a:p>
        </p:txBody>
      </p:sp>
      <p:sp>
        <p:nvSpPr>
          <p:cNvPr id="20" name="5. Source">
            <a:extLst>
              <a:ext uri="{FF2B5EF4-FFF2-40B4-BE49-F238E27FC236}">
                <a16:creationId xmlns:a16="http://schemas.microsoft.com/office/drawing/2014/main" id="{0F79786B-D619-99BC-BC77-C6BBD3AE85B4}"/>
              </a:ext>
            </a:extLst>
          </p:cNvPr>
          <p:cNvSpPr txBox="1">
            <a:spLocks/>
          </p:cNvSpPr>
          <p:nvPr>
            <p:custDataLst>
              <p:tags r:id="rId31"/>
            </p:custDataLst>
          </p:nvPr>
        </p:nvSpPr>
        <p:spPr>
          <a:xfrm>
            <a:off x="922020" y="6553357"/>
            <a:ext cx="9456780" cy="123111"/>
          </a:xfrm>
          <a:prstGeom prst="rect">
            <a:avLst/>
          </a:prstGeom>
          <a:noFill/>
        </p:spPr>
        <p:txBody>
          <a:bodyPr vert="horz" wrap="square" lIns="0" tIns="0" rIns="0" bIns="0" rtlCol="0" anchor="b" anchorCtr="0">
            <a:noAutofit/>
          </a:bodyPr>
          <a:lstStyle/>
          <a:p>
            <a:pPr marL="203200" marR="0" lvl="0" indent="-212725" algn="r" defTabSz="914400" rtl="0" eaLnBrk="1" fontAlgn="base" latinLnBrk="0" hangingPunct="1">
              <a:lnSpc>
                <a:spcPct val="100000"/>
              </a:lnSpc>
              <a:spcBef>
                <a:spcPct val="0"/>
              </a:spcBef>
              <a:spcAft>
                <a:spcPct val="0"/>
              </a:spcAft>
              <a:buClrTx/>
              <a:buSzTx/>
              <a:buFont typeface="Segoe UI" panose="020B0502040204020203" pitchFamily="34" charset="0"/>
              <a:buChar char="​"/>
              <a:tabLst/>
              <a:defRPr/>
            </a:pP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Quelle: Statistik Austria</a:t>
            </a:r>
          </a:p>
        </p:txBody>
      </p:sp>
      <p:sp>
        <p:nvSpPr>
          <p:cNvPr id="27" name="TextBox 26">
            <a:extLst>
              <a:ext uri="{FF2B5EF4-FFF2-40B4-BE49-F238E27FC236}">
                <a16:creationId xmlns:a16="http://schemas.microsoft.com/office/drawing/2014/main" id="{8B91DB53-5283-46AD-C9DE-3232C1965075}"/>
              </a:ext>
            </a:extLst>
          </p:cNvPr>
          <p:cNvSpPr txBox="1">
            <a:spLocks/>
          </p:cNvSpPr>
          <p:nvPr/>
        </p:nvSpPr>
        <p:spPr>
          <a:xfrm>
            <a:off x="933450" y="1925991"/>
            <a:ext cx="6584950"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Energieeinsatz der Haushalte 2019/2020 nach Energieträger, </a:t>
            </a:r>
            <a:r>
              <a:rPr kumimoji="0" lang="de-DE" sz="16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TWh</a:t>
            </a:r>
          </a:p>
        </p:txBody>
      </p:sp>
      <p:cxnSp>
        <p:nvCxnSpPr>
          <p:cNvPr id="28" name="LineBasicDefault 13">
            <a:extLst>
              <a:ext uri="{FF2B5EF4-FFF2-40B4-BE49-F238E27FC236}">
                <a16:creationId xmlns:a16="http://schemas.microsoft.com/office/drawing/2014/main" id="{63462765-B59C-F961-F3EC-A3CCA75E9067}"/>
              </a:ext>
            </a:extLst>
          </p:cNvPr>
          <p:cNvCxnSpPr>
            <a:cxnSpLocks/>
          </p:cNvCxnSpPr>
          <p:nvPr>
            <p:custDataLst>
              <p:tags r:id="rId32"/>
            </p:custDataLst>
          </p:nvPr>
        </p:nvCxnSpPr>
        <p:spPr>
          <a:xfrm>
            <a:off x="933450" y="2239183"/>
            <a:ext cx="6584950"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672C39DC-4816-39AD-D5E0-DAFBA5090092}"/>
              </a:ext>
            </a:extLst>
          </p:cNvPr>
          <p:cNvSpPr txBox="1">
            <a:spLocks/>
          </p:cNvSpPr>
          <p:nvPr/>
        </p:nvSpPr>
        <p:spPr>
          <a:xfrm>
            <a:off x="7966075" y="1925991"/>
            <a:ext cx="2508250" cy="246221"/>
          </a:xfrm>
          <a:prstGeom prst="rect">
            <a:avLst/>
          </a:prstGeom>
        </p:spPr>
        <p:txBody>
          <a:bodyPr vert="horz" wrap="square" lIns="0" tIns="0" rIns="0" bIns="0" rtlCol="0" anchor="b">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600" b="1">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sz="160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sz="160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sz="160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Synthese</a:t>
            </a:r>
          </a:p>
        </p:txBody>
      </p:sp>
      <p:cxnSp>
        <p:nvCxnSpPr>
          <p:cNvPr id="30" name="LineBasicStrong 75">
            <a:extLst>
              <a:ext uri="{FF2B5EF4-FFF2-40B4-BE49-F238E27FC236}">
                <a16:creationId xmlns:a16="http://schemas.microsoft.com/office/drawing/2014/main" id="{A6074FB3-3058-C794-E753-0F5BB9889FDB}"/>
              </a:ext>
            </a:extLst>
          </p:cNvPr>
          <p:cNvCxnSpPr>
            <a:cxnSpLocks/>
          </p:cNvCxnSpPr>
          <p:nvPr>
            <p:custDataLst>
              <p:tags r:id="rId33"/>
            </p:custDataLst>
          </p:nvPr>
        </p:nvCxnSpPr>
        <p:spPr>
          <a:xfrm>
            <a:off x="7966075" y="2239183"/>
            <a:ext cx="2508250" cy="0"/>
          </a:xfrm>
          <a:prstGeom prst="straightConnector1">
            <a:avLst/>
          </a:prstGeom>
          <a:ln w="1270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518847A9-935E-3CE0-288B-B7A9F4F8BDAC}"/>
              </a:ext>
            </a:extLst>
          </p:cNvPr>
          <p:cNvSpPr txBox="1">
            <a:spLocks/>
          </p:cNvSpPr>
          <p:nvPr>
            <p:custDataLst>
              <p:tags r:id="rId34"/>
            </p:custDataLst>
          </p:nvPr>
        </p:nvSpPr>
        <p:spPr>
          <a:xfrm>
            <a:off x="7966075" y="2330450"/>
            <a:ext cx="2508250" cy="262123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2000"/>
              </a:spcBef>
              <a:spcAft>
                <a:spcPts val="300"/>
              </a:spcAft>
              <a:buClrTx/>
              <a:buSzPct val="100000"/>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Die </a:t>
            </a: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österreichischen Haushalte </a:t>
            </a: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setzen etwa </a:t>
            </a: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80 TWh Energie </a:t>
            </a:r>
            <a:r>
              <a:rPr kumimoji="0" lang="en-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pro Jahr </a:t>
            </a: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ein</a:t>
            </a:r>
          </a:p>
          <a:p>
            <a:pPr marL="0" marR="0" lvl="0" indent="0" algn="l" defTabSz="914400" rtl="0" eaLnBrk="1" fontAlgn="auto" latinLnBrk="0" hangingPunct="1">
              <a:lnSpc>
                <a:spcPct val="100000"/>
              </a:lnSpc>
              <a:spcBef>
                <a:spcPts val="2000"/>
              </a:spcBef>
              <a:spcAft>
                <a:spcPts val="300"/>
              </a:spcAft>
              <a:buClrTx/>
              <a:buSzPct val="100000"/>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Der </a:t>
            </a: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Energieeinsatz verteilt sich recht gleichmäßig</a:t>
            </a: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 auf verschiedene Energieträger: Fossile, Biogene, Fernwärme/Solar/Wärmepumpe, sowie Strom</a:t>
            </a:r>
          </a:p>
          <a:p>
            <a:pPr marL="0" marR="0" lvl="0" indent="0" algn="l" defTabSz="914400" rtl="0" eaLnBrk="1" fontAlgn="auto" latinLnBrk="0" hangingPunct="1">
              <a:lnSpc>
                <a:spcPct val="100000"/>
              </a:lnSpc>
              <a:spcBef>
                <a:spcPts val="2000"/>
              </a:spcBef>
              <a:spcAft>
                <a:spcPts val="300"/>
              </a:spcAft>
              <a:buClrTx/>
              <a:buSzPct val="100000"/>
              <a:buFont typeface="Segoe UI" panose="020B0502040204020203" pitchFamily="34" charset="0"/>
              <a:buChar char="​"/>
              <a:tabLst/>
              <a:defRPr/>
            </a:pP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Raumwärme und Warmwasser </a:t>
            </a: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sind die </a:t>
            </a: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größten Treiber </a:t>
            </a: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des Energieverbrauchs</a:t>
            </a:r>
          </a:p>
        </p:txBody>
      </p:sp>
      <p:grpSp>
        <p:nvGrpSpPr>
          <p:cNvPr id="33" name="CustomIcon">
            <a:extLst>
              <a:ext uri="{FF2B5EF4-FFF2-40B4-BE49-F238E27FC236}">
                <a16:creationId xmlns:a16="http://schemas.microsoft.com/office/drawing/2014/main" id="{DA9A39BD-8631-469C-25B4-C769FABC3C11}"/>
              </a:ext>
            </a:extLst>
          </p:cNvPr>
          <p:cNvGrpSpPr>
            <a:grpSpLocks/>
          </p:cNvGrpSpPr>
          <p:nvPr>
            <p:custDataLst>
              <p:tags r:id="rId35"/>
            </p:custDataLst>
          </p:nvPr>
        </p:nvGrpSpPr>
        <p:grpSpPr>
          <a:xfrm>
            <a:off x="9958388" y="1647738"/>
            <a:ext cx="515938" cy="516165"/>
            <a:chOff x="-205105" y="-205105"/>
            <a:chExt cx="1019810" cy="1019810"/>
          </a:xfrm>
        </p:grpSpPr>
        <p:sp>
          <p:nvSpPr>
            <p:cNvPr id="35" name="Oval 34">
              <a:extLst>
                <a:ext uri="{FF2B5EF4-FFF2-40B4-BE49-F238E27FC236}">
                  <a16:creationId xmlns:a16="http://schemas.microsoft.com/office/drawing/2014/main" id="{4C9E6B4F-1CEF-1766-5ACF-C93617BE9A77}"/>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pic>
          <p:nvPicPr>
            <p:cNvPr id="36" name="Graphic 35">
              <a:extLst>
                <a:ext uri="{FF2B5EF4-FFF2-40B4-BE49-F238E27FC236}">
                  <a16:creationId xmlns:a16="http://schemas.microsoft.com/office/drawing/2014/main" id="{4C822155-DD90-5A28-EE06-4ED19766657A}"/>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0" y="0"/>
              <a:ext cx="609600" cy="609600"/>
            </a:xfrm>
            <a:prstGeom prst="rect">
              <a:avLst/>
            </a:prstGeom>
          </p:spPr>
        </p:pic>
      </p:grpSp>
      <p:sp>
        <p:nvSpPr>
          <p:cNvPr id="70" name="Slide Number Placeholder 3">
            <a:extLst>
              <a:ext uri="{FF2B5EF4-FFF2-40B4-BE49-F238E27FC236}">
                <a16:creationId xmlns:a16="http://schemas.microsoft.com/office/drawing/2014/main" id="{313BCB87-8754-5EC4-CAEE-381C141D039B}"/>
              </a:ext>
            </a:extLst>
          </p:cNvPr>
          <p:cNvSpPr>
            <a:spLocks noGrp="1"/>
          </p:cNvSpPr>
          <p:nvPr>
            <p:ph type="sldNum" sz="quarter" idx="10"/>
          </p:nvPr>
        </p:nvSpPr>
        <p:spPr>
          <a:xfrm>
            <a:off x="838801" y="6245225"/>
            <a:ext cx="4692569" cy="476250"/>
          </a:xfr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1920E2B-FC99-4A38-BFFD-416A818AECB0}" type="slidenum">
              <a:rPr kumimoji="0" lang="de-AT" sz="800" b="0" i="0" u="none" strike="noStrike" kern="1200" cap="none" spc="0" normalizeH="0" baseline="0" noProof="0" smtClean="0">
                <a:ln>
                  <a:noFill/>
                </a:ln>
                <a:solidFill>
                  <a:prstClr val="white">
                    <a:lumMod val="50000"/>
                  </a:prstClr>
                </a:solidFill>
                <a:effectLst/>
                <a:uLnTx/>
                <a:uFillTx/>
                <a:latin typeface="Bahnschrift" panose="020B0502040204020203" pitchFamily="34"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21</a:t>
            </a:fld>
            <a:endParaRPr kumimoji="0" lang="de-AT" sz="800" b="0" i="0" u="none" strike="noStrike" kern="1200" cap="none" spc="0" normalizeH="0" baseline="0" noProof="0" dirty="0">
              <a:ln>
                <a:noFill/>
              </a:ln>
              <a:solidFill>
                <a:prstClr val="white">
                  <a:lumMod val="50000"/>
                </a:prstClr>
              </a:solidFill>
              <a:effectLst/>
              <a:uLnTx/>
              <a:uFillTx/>
              <a:latin typeface="Bahnschrift" panose="020B0502040204020203" pitchFamily="34" charset="0"/>
              <a:ea typeface="+mn-ea"/>
              <a:cs typeface="+mn-cs"/>
            </a:endParaRPr>
          </a:p>
        </p:txBody>
      </p:sp>
      <p:sp>
        <p:nvSpPr>
          <p:cNvPr id="73" name="Text Placeholder 2">
            <a:extLst>
              <a:ext uri="{FF2B5EF4-FFF2-40B4-BE49-F238E27FC236}">
                <a16:creationId xmlns:a16="http://schemas.microsoft.com/office/drawing/2014/main" id="{E072C926-4CD6-6987-09F0-8B1F396C3CE4}"/>
              </a:ext>
            </a:extLst>
          </p:cNvPr>
          <p:cNvSpPr txBox="1">
            <a:spLocks/>
          </p:cNvSpPr>
          <p:nvPr/>
        </p:nvSpPr>
        <p:spPr bwMode="auto">
          <a:xfrm>
            <a:off x="838799" y="130497"/>
            <a:ext cx="3843338" cy="123111"/>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de-AT"/>
            </a:defPPr>
            <a:lvl1pPr algn="l" rtl="0" fontAlgn="base">
              <a:spcBef>
                <a:spcPct val="0"/>
              </a:spcBef>
              <a:spcAft>
                <a:spcPct val="0"/>
              </a:spcAft>
              <a:defRPr sz="800" kern="1200">
                <a:solidFill>
                  <a:schemeClr val="bg1">
                    <a:lumMod val="50000"/>
                  </a:schemeClr>
                </a:solidFill>
                <a:latin typeface="+mn-lt"/>
                <a:ea typeface="+mn-ea"/>
                <a:cs typeface="+mn-cs"/>
              </a:defRPr>
            </a:lvl1pPr>
            <a:lvl2pPr marL="457200" algn="l" rtl="0" fontAlgn="base">
              <a:spcBef>
                <a:spcPct val="0"/>
              </a:spcBef>
              <a:spcAft>
                <a:spcPct val="0"/>
              </a:spcAft>
              <a:defRPr kern="1200">
                <a:solidFill>
                  <a:schemeClr val="tx1"/>
                </a:solidFill>
                <a:latin typeface="Verdana" pitchFamily="34" charset="0"/>
                <a:ea typeface="+mn-ea"/>
                <a:cs typeface="+mn-cs"/>
              </a:defRPr>
            </a:lvl2pPr>
            <a:lvl3pPr marL="914400" algn="l" rtl="0" fontAlgn="base">
              <a:spcBef>
                <a:spcPct val="0"/>
              </a:spcBef>
              <a:spcAft>
                <a:spcPct val="0"/>
              </a:spcAft>
              <a:defRPr kern="1200">
                <a:solidFill>
                  <a:schemeClr val="tx1"/>
                </a:solidFill>
                <a:latin typeface="Verdana" pitchFamily="34" charset="0"/>
                <a:ea typeface="+mn-ea"/>
                <a:cs typeface="+mn-cs"/>
              </a:defRPr>
            </a:lvl3pPr>
            <a:lvl4pPr marL="1371600" algn="l" rtl="0" fontAlgn="base">
              <a:spcBef>
                <a:spcPct val="0"/>
              </a:spcBef>
              <a:spcAft>
                <a:spcPct val="0"/>
              </a:spcAft>
              <a:defRPr kern="1200">
                <a:solidFill>
                  <a:schemeClr val="tx1"/>
                </a:solidFill>
                <a:latin typeface="Verdana" pitchFamily="34" charset="0"/>
                <a:ea typeface="+mn-ea"/>
                <a:cs typeface="+mn-cs"/>
              </a:defRPr>
            </a:lvl4pPr>
            <a:lvl5pPr marL="1828800" algn="l" rtl="0" fontAlgn="base">
              <a:spcBef>
                <a:spcPct val="0"/>
              </a:spcBef>
              <a:spcAft>
                <a:spcPct val="0"/>
              </a:spcAft>
              <a:defRPr kern="1200">
                <a:solidFill>
                  <a:schemeClr val="tx1"/>
                </a:solidFill>
                <a:latin typeface="Verdana" pitchFamily="34" charset="0"/>
                <a:ea typeface="+mn-ea"/>
                <a:cs typeface="+mn-cs"/>
              </a:defRPr>
            </a:lvl5pPr>
            <a:lvl6pPr marL="2286000" algn="l" defTabSz="914400" rtl="0" eaLnBrk="1" latinLnBrk="0" hangingPunct="1">
              <a:defRPr kern="1200">
                <a:solidFill>
                  <a:schemeClr val="tx1"/>
                </a:solidFill>
                <a:latin typeface="Verdana" pitchFamily="34" charset="0"/>
                <a:ea typeface="+mn-ea"/>
                <a:cs typeface="+mn-cs"/>
              </a:defRPr>
            </a:lvl6pPr>
            <a:lvl7pPr marL="2743200" algn="l" defTabSz="914400" rtl="0" eaLnBrk="1" latinLnBrk="0" hangingPunct="1">
              <a:defRPr kern="1200">
                <a:solidFill>
                  <a:schemeClr val="tx1"/>
                </a:solidFill>
                <a:latin typeface="Verdana" pitchFamily="34" charset="0"/>
                <a:ea typeface="+mn-ea"/>
                <a:cs typeface="+mn-cs"/>
              </a:defRPr>
            </a:lvl7pPr>
            <a:lvl8pPr marL="3200400" algn="l" defTabSz="914400" rtl="0" eaLnBrk="1" latinLnBrk="0" hangingPunct="1">
              <a:defRPr kern="1200">
                <a:solidFill>
                  <a:schemeClr val="tx1"/>
                </a:solidFill>
                <a:latin typeface="Verdana" pitchFamily="34" charset="0"/>
                <a:ea typeface="+mn-ea"/>
                <a:cs typeface="+mn-cs"/>
              </a:defRPr>
            </a:lvl8pPr>
            <a:lvl9pPr marL="3657600" algn="l" defTabSz="914400" rtl="0" eaLnBrk="1" latinLnBrk="0" hangingPunct="1">
              <a:defRPr kern="1200">
                <a:solidFill>
                  <a:schemeClr val="tx1"/>
                </a:solidFill>
                <a:latin typeface="Verdana"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Trebuchet MS"/>
                <a:ea typeface="+mn-ea"/>
                <a:cs typeface="+mn-cs"/>
              </a:rPr>
              <a:t>Deep-Dive: Gebäude</a:t>
            </a:r>
          </a:p>
        </p:txBody>
      </p:sp>
    </p:spTree>
    <p:extLst>
      <p:ext uri="{BB962C8B-B14F-4D97-AF65-F5344CB8AC3E}">
        <p14:creationId xmlns:p14="http://schemas.microsoft.com/office/powerpoint/2010/main" val="5571279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0E65DADB-0871-4153-B37D-2D584FA22B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592" imgH="595" progId="TCLayout.ActiveDocument.1">
                  <p:embed/>
                </p:oleObj>
              </mc:Choice>
              <mc:Fallback>
                <p:oleObj name="think-cell Slide" r:id="rId32" imgW="592" imgH="595" progId="TCLayout.ActiveDocument.1">
                  <p:embed/>
                  <p:pic>
                    <p:nvPicPr>
                      <p:cNvPr id="6" name="Object 6" hidden="1">
                        <a:extLst>
                          <a:ext uri="{FF2B5EF4-FFF2-40B4-BE49-F238E27FC236}">
                            <a16:creationId xmlns:a16="http://schemas.microsoft.com/office/drawing/2014/main" id="{0E65DADB-0871-4153-B37D-2D584FA22B1E}"/>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cxnSp>
        <p:nvCxnSpPr>
          <p:cNvPr id="22" name="Straight Connector 21">
            <a:extLst>
              <a:ext uri="{FF2B5EF4-FFF2-40B4-BE49-F238E27FC236}">
                <a16:creationId xmlns:a16="http://schemas.microsoft.com/office/drawing/2014/main" id="{F01F9F53-ED26-42D0-B5F0-FDB8CFCF8604}"/>
              </a:ext>
            </a:extLst>
          </p:cNvPr>
          <p:cNvCxnSpPr/>
          <p:nvPr>
            <p:custDataLst>
              <p:tags r:id="rId2"/>
            </p:custDataLst>
          </p:nvPr>
        </p:nvCxnSpPr>
        <p:spPr bwMode="gray">
          <a:xfrm flipV="1">
            <a:off x="7037388" y="3025775"/>
            <a:ext cx="341313" cy="99060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1E329784-DC5B-44E3-A2E5-88BDFACC6B7A}"/>
              </a:ext>
            </a:extLst>
          </p:cNvPr>
          <p:cNvCxnSpPr/>
          <p:nvPr>
            <p:custDataLst>
              <p:tags r:id="rId3"/>
            </p:custDataLst>
          </p:nvPr>
        </p:nvCxnSpPr>
        <p:spPr bwMode="gray">
          <a:xfrm flipV="1">
            <a:off x="6965950" y="4198938"/>
            <a:ext cx="9525" cy="2540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0D79CDD6-E0E0-A62E-19CF-6A9182680CB9}"/>
              </a:ext>
            </a:extLst>
          </p:cNvPr>
          <p:cNvCxnSpPr/>
          <p:nvPr>
            <p:custDataLst>
              <p:tags r:id="rId4"/>
            </p:custDataLst>
          </p:nvPr>
        </p:nvCxnSpPr>
        <p:spPr bwMode="gray">
          <a:xfrm flipV="1">
            <a:off x="6605588" y="4132263"/>
            <a:ext cx="50800" cy="322263"/>
          </a:xfrm>
          <a:prstGeom prst="line">
            <a:avLst/>
          </a:prstGeom>
          <a:ln w="9525" cap="flat" cmpd="sng" algn="ctr">
            <a:solidFill>
              <a:schemeClr val="accent5"/>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40F6E573-1904-43DA-8ED4-9B5026DA0DE3}"/>
              </a:ext>
            </a:extLst>
          </p:cNvPr>
          <p:cNvCxnSpPr/>
          <p:nvPr>
            <p:custDataLst>
              <p:tags r:id="rId5"/>
            </p:custDataLst>
          </p:nvPr>
        </p:nvCxnSpPr>
        <p:spPr bwMode="gray">
          <a:xfrm>
            <a:off x="6821488" y="4198938"/>
            <a:ext cx="14288" cy="2540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3" name="Chart 42">
            <a:extLst>
              <a:ext uri="{FF2B5EF4-FFF2-40B4-BE49-F238E27FC236}">
                <a16:creationId xmlns:a16="http://schemas.microsoft.com/office/drawing/2014/main" id="{86A683B9-5C57-94E1-40B6-E59649FC10B2}"/>
              </a:ext>
            </a:extLst>
          </p:cNvPr>
          <p:cNvGraphicFramePr/>
          <p:nvPr>
            <p:custDataLst>
              <p:tags r:id="rId6"/>
            </p:custDataLst>
          </p:nvPr>
        </p:nvGraphicFramePr>
        <p:xfrm>
          <a:off x="942975" y="2943225"/>
          <a:ext cx="6673850" cy="2930525"/>
        </p:xfrm>
        <a:graphic>
          <a:graphicData uri="http://schemas.openxmlformats.org/drawingml/2006/chart">
            <c:chart xmlns:c="http://schemas.openxmlformats.org/drawingml/2006/chart" xmlns:r="http://schemas.openxmlformats.org/officeDocument/2006/relationships" r:id="rId34"/>
          </a:graphicData>
        </a:graphic>
      </p:graphicFrame>
      <p:sp>
        <p:nvSpPr>
          <p:cNvPr id="8" name="Text Placeholder 4">
            <a:extLst>
              <a:ext uri="{FF2B5EF4-FFF2-40B4-BE49-F238E27FC236}">
                <a16:creationId xmlns:a16="http://schemas.microsoft.com/office/drawing/2014/main" id="{4C1F3293-4EFE-461D-940D-7EE66BAE31C5}"/>
              </a:ext>
            </a:extLst>
          </p:cNvPr>
          <p:cNvSpPr>
            <a:spLocks noGrp="1"/>
          </p:cNvSpPr>
          <p:nvPr>
            <p:custDataLst>
              <p:tags r:id="rId7"/>
            </p:custDataLst>
          </p:nvPr>
        </p:nvSpPr>
        <p:spPr bwMode="auto">
          <a:xfrm>
            <a:off x="965200" y="584200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Bahnschrift" panose="020B0502040204020203" pitchFamily="34" charset="0"/>
                <a:ea typeface="+mn-ea"/>
                <a:cs typeface="Arial" panose="020B0604020202020204" pitchFamily="34" charset="0"/>
                <a:sym typeface="Bahnschrift" panose="020B0502040204020203"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A2BF13A-3267-4D5E-A2A2-87C08BC0DCDF}" type="datetime'''''''''''''19''''''''''''9''''''''''''''0'''''">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990</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27" name="Text Placeholder 4">
            <a:extLst>
              <a:ext uri="{FF2B5EF4-FFF2-40B4-BE49-F238E27FC236}">
                <a16:creationId xmlns:a16="http://schemas.microsoft.com/office/drawing/2014/main" id="{26FFA4C0-BD2E-4E25-B385-40F82808A8A7}"/>
              </a:ext>
            </a:extLst>
          </p:cNvPr>
          <p:cNvSpPr>
            <a:spLocks noGrp="1"/>
          </p:cNvSpPr>
          <p:nvPr>
            <p:custDataLst>
              <p:tags r:id="rId8"/>
            </p:custDataLst>
          </p:nvPr>
        </p:nvSpPr>
        <p:spPr bwMode="auto">
          <a:xfrm>
            <a:off x="2752725" y="5842000"/>
            <a:ext cx="3444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Bahnschrift" panose="020B0502040204020203" pitchFamily="34" charset="0"/>
                <a:ea typeface="+mn-ea"/>
                <a:cs typeface="Arial" panose="020B0604020202020204" pitchFamily="34" charset="0"/>
                <a:sym typeface="Bahnschrift" panose="020B0502040204020203"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DE2DF8F-6A68-40B5-B313-752875711B0F}" type="datetime'2''''''''''0''''0''''''''''''''''''''0'''''''''">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00</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455" name="Text Placeholder 4">
            <a:extLst>
              <a:ext uri="{FF2B5EF4-FFF2-40B4-BE49-F238E27FC236}">
                <a16:creationId xmlns:a16="http://schemas.microsoft.com/office/drawing/2014/main" id="{D57FCEC7-DBA3-4D0A-BAFE-0D7AA0C95DA6}"/>
              </a:ext>
            </a:extLst>
          </p:cNvPr>
          <p:cNvSpPr>
            <a:spLocks noGrp="1"/>
          </p:cNvSpPr>
          <p:nvPr>
            <p:custDataLst>
              <p:tags r:id="rId9"/>
            </p:custDataLst>
          </p:nvPr>
        </p:nvSpPr>
        <p:spPr bwMode="auto">
          <a:xfrm>
            <a:off x="7275513" y="584200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Bahnschrift" panose="020B0502040204020203" pitchFamily="34" charset="0"/>
                <a:ea typeface="+mn-ea"/>
                <a:cs typeface="Arial" panose="020B0604020202020204" pitchFamily="34" charset="0"/>
                <a:sym typeface="Bahnschrift" panose="020B0502040204020203"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0B188F2-94B1-4CDC-BF65-72C98A380547}" type="datetime'''''''''''''2''''''0''''''''''''''''''''''2''''5'''''''''">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25</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39" name="Text Placeholder 4">
            <a:extLst>
              <a:ext uri="{FF2B5EF4-FFF2-40B4-BE49-F238E27FC236}">
                <a16:creationId xmlns:a16="http://schemas.microsoft.com/office/drawing/2014/main" id="{737064FC-DC20-491C-BB94-43D807906373}"/>
              </a:ext>
            </a:extLst>
          </p:cNvPr>
          <p:cNvSpPr>
            <a:spLocks noGrp="1"/>
          </p:cNvSpPr>
          <p:nvPr>
            <p:custDataLst>
              <p:tags r:id="rId10"/>
            </p:custDataLst>
          </p:nvPr>
        </p:nvSpPr>
        <p:spPr bwMode="auto">
          <a:xfrm>
            <a:off x="4576763" y="5842000"/>
            <a:ext cx="311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Bahnschrift" panose="020B0502040204020203" pitchFamily="34" charset="0"/>
                <a:ea typeface="+mn-ea"/>
                <a:cs typeface="Arial" panose="020B0604020202020204" pitchFamily="34" charset="0"/>
                <a:sym typeface="Bahnschrift" panose="020B0502040204020203"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3EE736B-EBEA-4A2D-BE08-2A2C9C318A2E}" type="datetime'''''''''''''''''''20''''1''''''''''''''''''''''0'''''''">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10</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51" name="Text Placeholder 4">
            <a:extLst>
              <a:ext uri="{FF2B5EF4-FFF2-40B4-BE49-F238E27FC236}">
                <a16:creationId xmlns:a16="http://schemas.microsoft.com/office/drawing/2014/main" id="{E179E1AF-293D-44A7-94E4-287EA3457629}"/>
              </a:ext>
            </a:extLst>
          </p:cNvPr>
          <p:cNvSpPr>
            <a:spLocks noGrp="1"/>
          </p:cNvSpPr>
          <p:nvPr>
            <p:custDataLst>
              <p:tags r:id="rId11"/>
            </p:custDataLst>
          </p:nvPr>
        </p:nvSpPr>
        <p:spPr bwMode="auto">
          <a:xfrm>
            <a:off x="6370638" y="5842000"/>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Bahnschrift" panose="020B0502040204020203" pitchFamily="34" charset="0"/>
                <a:ea typeface="+mn-ea"/>
                <a:cs typeface="Arial" panose="020B0604020202020204" pitchFamily="34" charset="0"/>
                <a:sym typeface="Bahnschrift" panose="020B0502040204020203"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B0FA945-DDA6-45C3-9E95-8D6DCF0DC987}" type="datetime'2''''''0''''''''2''''''''''''''''''0'''''''''''''''''''">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20</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4"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942975" y="4725988"/>
            <a:ext cx="3460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Bahnschrift" panose="020B0502040204020203" pitchFamily="34" charset="0"/>
                <a:ea typeface="+mn-ea"/>
                <a:cs typeface="Arial" panose="020B0604020202020204" pitchFamily="34" charset="0"/>
                <a:sym typeface="Bahnschrift" panose="020B0502040204020203"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52720A9-F1FF-424A-8D2E-0E9FAA0A2332}" type="datetime'''''0'''''''''''''''''',9''%'''''''''">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9%</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97"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2682875" y="4818063"/>
            <a:ext cx="3540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Bahnschrift" panose="020B0502040204020203" pitchFamily="34" charset="0"/>
                <a:ea typeface="+mn-ea"/>
                <a:cs typeface="Arial" panose="020B0604020202020204" pitchFamily="34" charset="0"/>
                <a:sym typeface="Bahnschrift" panose="020B0502040204020203"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C825A71-9E93-42E8-9DBE-A18635B76D6A}" type="datetime'''0'',''8''''%'''''''''''''''''''''''''''''">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8%</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289"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4575175" y="3638550"/>
            <a:ext cx="3143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Bahnschrift" panose="020B0502040204020203" pitchFamily="34" charset="0"/>
                <a:ea typeface="+mn-ea"/>
                <a:cs typeface="Arial" panose="020B0604020202020204" pitchFamily="34" charset="0"/>
                <a:sym typeface="Bahnschrift" panose="020B0502040204020203"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FE197F4-D372-4D5C-AE41-A4A6573A4C6F}" type="datetime'''''2'''''''',1''''''''''%'''''''">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1%</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useBgFill="1">
        <p:nvSpPr>
          <p:cNvPr id="373"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gray">
          <a:xfrm>
            <a:off x="6450013" y="4246563"/>
            <a:ext cx="317500" cy="182563"/>
          </a:xfrm>
          <a:prstGeom prst="rect">
            <a:avLst/>
          </a:prstGeom>
          <a:ln>
            <a:noFill/>
          </a:ln>
          <a:effec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Bahnschrift" panose="020B0502040204020203" pitchFamily="34" charset="0"/>
                <a:ea typeface="+mn-ea"/>
                <a:cs typeface="Arial" panose="020B0604020202020204" pitchFamily="34" charset="0"/>
                <a:sym typeface="Bahnschrift" panose="020B0502040204020203"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A2A909A-7986-4190-B29E-9C9A5D80FD4B}" type="datetime'''''''''''''''''''''''''''''''1,''''''5''%'''''''''''''''">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5%</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4" name="Textplatzhalter 8">
            <a:extLst>
              <a:ext uri="{FF2B5EF4-FFF2-40B4-BE49-F238E27FC236}">
                <a16:creationId xmlns:a16="http://schemas.microsoft.com/office/drawing/2014/main" id="{F4B2927E-61D4-C8FC-9C3B-243210EBB761}"/>
              </a:ext>
            </a:extLst>
          </p:cNvPr>
          <p:cNvSpPr>
            <a:spLocks noGrp="1"/>
          </p:cNvSpPr>
          <p:nvPr>
            <p:custDataLst>
              <p:tags r:id="rId16"/>
            </p:custDataLst>
          </p:nvPr>
        </p:nvSpPr>
        <p:spPr bwMode="gray">
          <a:xfrm>
            <a:off x="6437313" y="3924301"/>
            <a:ext cx="3508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658D4D26-E02E-46D2-B014-58AB4892B800}" type="datetime'''''''''1'''''''',''''8''%'''''''''''">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mn-cs"/>
              </a:rPr>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1,8%</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endParaRPr>
          </a:p>
        </p:txBody>
      </p:sp>
      <p:sp>
        <p:nvSpPr>
          <p:cNvPr id="5" name="Textplatzhalter 8">
            <a:extLst>
              <a:ext uri="{FF2B5EF4-FFF2-40B4-BE49-F238E27FC236}">
                <a16:creationId xmlns:a16="http://schemas.microsoft.com/office/drawing/2014/main" id="{F9D74B6C-3818-417F-049E-B38EBF592382}"/>
              </a:ext>
            </a:extLst>
          </p:cNvPr>
          <p:cNvSpPr>
            <a:spLocks noGrp="1"/>
          </p:cNvSpPr>
          <p:nvPr>
            <p:custDataLst>
              <p:tags r:id="rId17"/>
            </p:custDataLst>
          </p:nvPr>
        </p:nvSpPr>
        <p:spPr bwMode="gray">
          <a:xfrm>
            <a:off x="6788150" y="4016376"/>
            <a:ext cx="3508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C93E0837-145A-4F1E-8B98-4ACC50D6968D}" type="datetime'''''''1'''''''''''''''''''',''''''''7''''''''%'''''''''">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mn-cs"/>
              </a:rPr>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1,7%</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endParaRPr>
          </a:p>
        </p:txBody>
      </p:sp>
      <p:sp>
        <p:nvSpPr>
          <p:cNvPr id="7" name="Textplatzhalter 8">
            <a:extLst>
              <a:ext uri="{FF2B5EF4-FFF2-40B4-BE49-F238E27FC236}">
                <a16:creationId xmlns:a16="http://schemas.microsoft.com/office/drawing/2014/main" id="{64D112AF-7E3C-3D98-095F-83CA96E92996}"/>
              </a:ext>
            </a:extLst>
          </p:cNvPr>
          <p:cNvSpPr>
            <a:spLocks noGrp="1"/>
          </p:cNvSpPr>
          <p:nvPr>
            <p:custDataLst>
              <p:tags r:id="rId18"/>
            </p:custDataLst>
          </p:nvPr>
        </p:nvSpPr>
        <p:spPr bwMode="gray">
          <a:xfrm>
            <a:off x="7269163" y="2817814"/>
            <a:ext cx="3508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764B2D65-1C50-4E7D-90A8-EDF7B6BB9784}" type="datetime'''''''''''''''''''''3'''''''''',0''''''''''''%'''''''">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mn-cs"/>
              </a:rPr>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3,0%</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endParaRPr>
          </a:p>
        </p:txBody>
      </p:sp>
      <p:sp>
        <p:nvSpPr>
          <p:cNvPr id="2" name="2. Slide Title">
            <a:extLst>
              <a:ext uri="{FF2B5EF4-FFF2-40B4-BE49-F238E27FC236}">
                <a16:creationId xmlns:a16="http://schemas.microsoft.com/office/drawing/2014/main" id="{420EAA6F-CF9F-4B49-9C21-94CE844413ED}"/>
              </a:ext>
            </a:extLst>
          </p:cNvPr>
          <p:cNvSpPr>
            <a:spLocks noGrp="1"/>
          </p:cNvSpPr>
          <p:nvPr>
            <p:ph type="title"/>
            <p:custDataLst>
              <p:tags r:id="rId19"/>
            </p:custDataLst>
          </p:nvPr>
        </p:nvSpPr>
        <p:spPr>
          <a:xfrm>
            <a:off x="838799" y="343789"/>
            <a:ext cx="9540001" cy="1126462"/>
          </a:xfrm>
          <a:noFill/>
          <a:ln>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de-DE" dirty="0"/>
              <a:t>Nachhaltige Steigerung der thermisch-energetischen Sanierungsrate von ~3% senkt Heizwärmebedarf und ermöglicht CO</a:t>
            </a:r>
            <a:r>
              <a:rPr lang="de-DE" baseline="-25000" dirty="0"/>
              <a:t>2</a:t>
            </a:r>
            <a:r>
              <a:rPr lang="de-DE" dirty="0"/>
              <a:t> Emissionsreduktion</a:t>
            </a:r>
          </a:p>
        </p:txBody>
      </p:sp>
      <p:sp>
        <p:nvSpPr>
          <p:cNvPr id="472" name="Rectangle 471">
            <a:extLst>
              <a:ext uri="{FF2B5EF4-FFF2-40B4-BE49-F238E27FC236}">
                <a16:creationId xmlns:a16="http://schemas.microsoft.com/office/drawing/2014/main" id="{92A6206B-DBA9-430B-8506-0393B03EC8CA}"/>
              </a:ext>
            </a:extLst>
          </p:cNvPr>
          <p:cNvSpPr/>
          <p:nvPr>
            <p:custDataLst>
              <p:tags r:id="rId20"/>
            </p:custDataLst>
          </p:nvPr>
        </p:nvSpPr>
        <p:spPr bwMode="auto">
          <a:xfrm>
            <a:off x="5672138" y="2392363"/>
            <a:ext cx="165100" cy="165100"/>
          </a:xfrm>
          <a:prstGeom prst="rect">
            <a:avLst/>
          </a:prstGeom>
          <a:solidFill>
            <a:schemeClr val="accent1"/>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endParaRPr>
          </a:p>
        </p:txBody>
      </p:sp>
      <p:sp>
        <p:nvSpPr>
          <p:cNvPr id="471" name="Rectangle 470">
            <a:extLst>
              <a:ext uri="{FF2B5EF4-FFF2-40B4-BE49-F238E27FC236}">
                <a16:creationId xmlns:a16="http://schemas.microsoft.com/office/drawing/2014/main" id="{206C1AB5-AF41-4354-917C-6768A3690C56}"/>
              </a:ext>
            </a:extLst>
          </p:cNvPr>
          <p:cNvSpPr/>
          <p:nvPr>
            <p:custDataLst>
              <p:tags r:id="rId21"/>
            </p:custDataLst>
          </p:nvPr>
        </p:nvSpPr>
        <p:spPr bwMode="auto">
          <a:xfrm>
            <a:off x="4095750" y="2392363"/>
            <a:ext cx="165100" cy="165100"/>
          </a:xfrm>
          <a:prstGeom prst="rect">
            <a:avLst/>
          </a:prstGeom>
          <a:solidFill>
            <a:srgbClr val="359AFF"/>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endParaRPr>
          </a:p>
        </p:txBody>
      </p:sp>
      <p:sp>
        <p:nvSpPr>
          <p:cNvPr id="11" name="Text Placeholder 4">
            <a:extLst>
              <a:ext uri="{FF2B5EF4-FFF2-40B4-BE49-F238E27FC236}">
                <a16:creationId xmlns:a16="http://schemas.microsoft.com/office/drawing/2014/main" id="{4C1F3293-4EFE-461D-940D-7EE66BAE31C5}"/>
              </a:ext>
            </a:extLst>
          </p:cNvPr>
          <p:cNvSpPr>
            <a:spLocks noGrp="1"/>
          </p:cNvSpPr>
          <p:nvPr>
            <p:custDataLst>
              <p:tags r:id="rId22"/>
            </p:custDataLst>
          </p:nvPr>
        </p:nvSpPr>
        <p:spPr bwMode="auto">
          <a:xfrm>
            <a:off x="4311650" y="2390775"/>
            <a:ext cx="12588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Bahnschrift" panose="020B0502040204020203" pitchFamily="34" charset="0"/>
                <a:ea typeface="+mn-ea"/>
                <a:cs typeface="Arial" panose="020B0604020202020204" pitchFamily="34" charset="0"/>
                <a:sym typeface="Bahnschrift" panose="020B0502040204020203"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63C348F-6151-4D2E-B1E4-0E4F400D70AC}" type="datetime'''Ei''''n''z''''''e''''l''''m''''''''''''''a''ß''nahm''en'''">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Einzelmaßnahmen</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2" name="Text Placeholder 4">
            <a:extLst>
              <a:ext uri="{FF2B5EF4-FFF2-40B4-BE49-F238E27FC236}">
                <a16:creationId xmlns:a16="http://schemas.microsoft.com/office/drawing/2014/main" id="{4C1F3293-4EFE-461D-940D-7EE66BAE31C5}"/>
              </a:ext>
            </a:extLst>
          </p:cNvPr>
          <p:cNvSpPr>
            <a:spLocks noGrp="1"/>
          </p:cNvSpPr>
          <p:nvPr>
            <p:custDataLst>
              <p:tags r:id="rId23"/>
            </p:custDataLst>
          </p:nvPr>
        </p:nvSpPr>
        <p:spPr bwMode="auto">
          <a:xfrm>
            <a:off x="5888038" y="2390775"/>
            <a:ext cx="15859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Bahnschrift" panose="020B0502040204020203" pitchFamily="34" charset="0"/>
                <a:ea typeface="+mn-ea"/>
                <a:cs typeface="Arial" panose="020B0604020202020204" pitchFamily="34" charset="0"/>
                <a:sym typeface="Bahnschrift" panose="020B0502040204020203"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F145573-2505-4574-9C73-8114CB8F6DF1}" type="datetime'Um''f''''a''ss''''''e''n''''''de ''Sa''''''n''''i''erung'''''">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Umfassende Sanierung</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556" name="TextBox 555">
            <a:extLst>
              <a:ext uri="{FF2B5EF4-FFF2-40B4-BE49-F238E27FC236}">
                <a16:creationId xmlns:a16="http://schemas.microsoft.com/office/drawing/2014/main" id="{2E0453A0-E314-4E74-9A00-D9616228CF87}"/>
              </a:ext>
            </a:extLst>
          </p:cNvPr>
          <p:cNvSpPr txBox="1"/>
          <p:nvPr/>
        </p:nvSpPr>
        <p:spPr>
          <a:xfrm>
            <a:off x="1244600" y="3248056"/>
            <a:ext cx="2011363" cy="67627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Bahnschrift" panose="020B0502040204020203" pitchFamily="34" charset="0"/>
                <a:cs typeface="Arial" panose="020B0604020202020204" pitchFamily="34" charset="0"/>
                <a:sym typeface="Bahnschrift" panose="020B0502040204020203"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atin typeface="Bahnschrift" panose="020B0502040204020203" pitchFamily="34" charset="0"/>
                <a:sym typeface="Bahnschrift" panose="020B0502040204020203" pitchFamily="34" charset="0"/>
              </a:defRPr>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atin typeface="Bahnschrift" panose="020B0502040204020203" pitchFamily="34" charset="0"/>
                <a:sym typeface="Bahnschrift" panose="020B0502040204020203" pitchFamily="34" charset="0"/>
              </a:defRPr>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atin typeface="Bahnschrift" panose="020B0502040204020203" pitchFamily="34" charset="0"/>
                <a:sym typeface="Bahnschrift" panose="020B0502040204020203" pitchFamily="34" charset="0"/>
              </a:defRPr>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atin typeface="Bahnschrift" panose="020B0502040204020203" pitchFamily="34" charset="0"/>
                <a:sym typeface="Bahnschrift" panose="020B0502040204020203"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1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Maßnahmen der </a:t>
            </a:r>
            <a:r>
              <a:rPr kumimoji="0" lang="de-DE" sz="11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Wohnbauförderung</a:t>
            </a:r>
            <a:r>
              <a:rPr kumimoji="0" lang="de-DE" sz="11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 2005-2009 (Art. 15a-B-VG-Vereinbarungen zum Klimaschutz)</a:t>
            </a:r>
          </a:p>
        </p:txBody>
      </p:sp>
      <p:grpSp>
        <p:nvGrpSpPr>
          <p:cNvPr id="613" name="Group 612">
            <a:extLst>
              <a:ext uri="{FF2B5EF4-FFF2-40B4-BE49-F238E27FC236}">
                <a16:creationId xmlns:a16="http://schemas.microsoft.com/office/drawing/2014/main" id="{2A61AEC7-B796-4806-857A-E3A72F411881}"/>
              </a:ext>
            </a:extLst>
          </p:cNvPr>
          <p:cNvGrpSpPr/>
          <p:nvPr/>
        </p:nvGrpSpPr>
        <p:grpSpPr>
          <a:xfrm>
            <a:off x="3336925" y="3586194"/>
            <a:ext cx="1212850" cy="274638"/>
            <a:chOff x="3752767" y="3370263"/>
            <a:chExt cx="1106616" cy="274638"/>
          </a:xfrm>
        </p:grpSpPr>
        <p:cxnSp>
          <p:nvCxnSpPr>
            <p:cNvPr id="558" name="Straight Connector 557">
              <a:extLst>
                <a:ext uri="{FF2B5EF4-FFF2-40B4-BE49-F238E27FC236}">
                  <a16:creationId xmlns:a16="http://schemas.microsoft.com/office/drawing/2014/main" id="{CF42E8F0-6FEB-42A0-94E1-F6230EA790EF}"/>
                </a:ext>
              </a:extLst>
            </p:cNvPr>
            <p:cNvCxnSpPr>
              <a:cxnSpLocks/>
            </p:cNvCxnSpPr>
            <p:nvPr/>
          </p:nvCxnSpPr>
          <p:spPr>
            <a:xfrm>
              <a:off x="3752767" y="3370263"/>
              <a:ext cx="649417" cy="0"/>
            </a:xfrm>
            <a:prstGeom prst="line">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61" name="Straight Connector 560">
              <a:extLst>
                <a:ext uri="{FF2B5EF4-FFF2-40B4-BE49-F238E27FC236}">
                  <a16:creationId xmlns:a16="http://schemas.microsoft.com/office/drawing/2014/main" id="{9F2D5705-17D1-4A86-BCFF-86861F16D20D}"/>
                </a:ext>
              </a:extLst>
            </p:cNvPr>
            <p:cNvCxnSpPr>
              <a:cxnSpLocks/>
            </p:cNvCxnSpPr>
            <p:nvPr/>
          </p:nvCxnSpPr>
          <p:spPr>
            <a:xfrm>
              <a:off x="3944983" y="3611979"/>
              <a:ext cx="914400" cy="0"/>
            </a:xfrm>
            <a:prstGeom prst="line">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63" name="Straight Connector 562">
              <a:extLst>
                <a:ext uri="{FF2B5EF4-FFF2-40B4-BE49-F238E27FC236}">
                  <a16:creationId xmlns:a16="http://schemas.microsoft.com/office/drawing/2014/main" id="{1D01898A-D242-463F-95DE-A1DC4E8B3B6B}"/>
                </a:ext>
              </a:extLst>
            </p:cNvPr>
            <p:cNvCxnSpPr>
              <a:cxnSpLocks/>
            </p:cNvCxnSpPr>
            <p:nvPr/>
          </p:nvCxnSpPr>
          <p:spPr>
            <a:xfrm flipV="1">
              <a:off x="3944983" y="3611979"/>
              <a:ext cx="0" cy="32922"/>
            </a:xfrm>
            <a:prstGeom prst="line">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03" name="Straight Connector 602">
              <a:extLst>
                <a:ext uri="{FF2B5EF4-FFF2-40B4-BE49-F238E27FC236}">
                  <a16:creationId xmlns:a16="http://schemas.microsoft.com/office/drawing/2014/main" id="{096B5B62-A930-416C-9E4E-A5AA05DBC155}"/>
                </a:ext>
              </a:extLst>
            </p:cNvPr>
            <p:cNvCxnSpPr>
              <a:cxnSpLocks/>
            </p:cNvCxnSpPr>
            <p:nvPr/>
          </p:nvCxnSpPr>
          <p:spPr>
            <a:xfrm flipV="1">
              <a:off x="4859383" y="3611979"/>
              <a:ext cx="0" cy="32922"/>
            </a:xfrm>
            <a:prstGeom prst="line">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04" name="Straight Connector 603">
              <a:extLst>
                <a:ext uri="{FF2B5EF4-FFF2-40B4-BE49-F238E27FC236}">
                  <a16:creationId xmlns:a16="http://schemas.microsoft.com/office/drawing/2014/main" id="{E0847B09-22CE-41B3-9EE8-2FE0FB2C55DE}"/>
                </a:ext>
              </a:extLst>
            </p:cNvPr>
            <p:cNvCxnSpPr>
              <a:cxnSpLocks/>
            </p:cNvCxnSpPr>
            <p:nvPr/>
          </p:nvCxnSpPr>
          <p:spPr>
            <a:xfrm flipV="1">
              <a:off x="4402183" y="3370263"/>
              <a:ext cx="0" cy="241716"/>
            </a:xfrm>
            <a:prstGeom prst="line">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5E479A8C-FC95-4AF3-8646-EDE6DCCEEB6C}"/>
              </a:ext>
            </a:extLst>
          </p:cNvPr>
          <p:cNvGrpSpPr/>
          <p:nvPr/>
        </p:nvGrpSpPr>
        <p:grpSpPr>
          <a:xfrm>
            <a:off x="4718050" y="2687638"/>
            <a:ext cx="2503488" cy="193675"/>
            <a:chOff x="5454175" y="2039775"/>
            <a:chExt cx="2504574" cy="193838"/>
          </a:xfrm>
        </p:grpSpPr>
        <p:sp>
          <p:nvSpPr>
            <p:cNvPr id="550" name="TextBox 549">
              <a:extLst>
                <a:ext uri="{FF2B5EF4-FFF2-40B4-BE49-F238E27FC236}">
                  <a16:creationId xmlns:a16="http://schemas.microsoft.com/office/drawing/2014/main" id="{5A8527C0-C7AE-413B-9362-FFAB5DA37CBF}"/>
                </a:ext>
              </a:extLst>
            </p:cNvPr>
            <p:cNvSpPr txBox="1"/>
            <p:nvPr/>
          </p:nvSpPr>
          <p:spPr>
            <a:xfrm>
              <a:off x="5454175" y="2039775"/>
              <a:ext cx="2011680"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Bahnschrift" panose="020B0502040204020203" pitchFamily="34" charset="0"/>
                  <a:cs typeface="Arial" panose="020B0604020202020204" pitchFamily="34" charset="0"/>
                  <a:sym typeface="Bahnschrift" panose="020B0502040204020203"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atin typeface="Bahnschrift" panose="020B0502040204020203" pitchFamily="34" charset="0"/>
                  <a:sym typeface="Bahnschrift" panose="020B0502040204020203" pitchFamily="34" charset="0"/>
                </a:defRPr>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atin typeface="Bahnschrift" panose="020B0502040204020203" pitchFamily="34" charset="0"/>
                  <a:sym typeface="Bahnschrift" panose="020B0502040204020203" pitchFamily="34" charset="0"/>
                </a:defRPr>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atin typeface="Bahnschrift" panose="020B0502040204020203" pitchFamily="34" charset="0"/>
                  <a:sym typeface="Bahnschrift" panose="020B0502040204020203" pitchFamily="34" charset="0"/>
                </a:defRPr>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atin typeface="Bahnschrift" panose="020B0502040204020203" pitchFamily="34" charset="0"/>
                  <a:sym typeface="Bahnschrift" panose="020B0502040204020203"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11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Potenzial zur Erhöhung, z.B. 3%</a:t>
              </a:r>
            </a:p>
          </p:txBody>
        </p:sp>
        <p:cxnSp>
          <p:nvCxnSpPr>
            <p:cNvPr id="608" name="Straight Connector 607">
              <a:extLst>
                <a:ext uri="{FF2B5EF4-FFF2-40B4-BE49-F238E27FC236}">
                  <a16:creationId xmlns:a16="http://schemas.microsoft.com/office/drawing/2014/main" id="{92F963D6-564C-4C29-BC90-9C50B238B4D5}"/>
                </a:ext>
              </a:extLst>
            </p:cNvPr>
            <p:cNvCxnSpPr>
              <a:cxnSpLocks/>
            </p:cNvCxnSpPr>
            <p:nvPr/>
          </p:nvCxnSpPr>
          <p:spPr>
            <a:xfrm>
              <a:off x="7553325" y="2233613"/>
              <a:ext cx="405424" cy="0"/>
            </a:xfrm>
            <a:prstGeom prst="line">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FE6E2800-C960-4501-B509-0EBFBE2DD96D}"/>
              </a:ext>
            </a:extLst>
          </p:cNvPr>
          <p:cNvGrpSpPr/>
          <p:nvPr/>
        </p:nvGrpSpPr>
        <p:grpSpPr>
          <a:xfrm>
            <a:off x="4876800" y="3248057"/>
            <a:ext cx="1652588" cy="338138"/>
            <a:chOff x="5383715" y="2233195"/>
            <a:chExt cx="1652087" cy="338555"/>
          </a:xfrm>
        </p:grpSpPr>
        <p:sp>
          <p:nvSpPr>
            <p:cNvPr id="78" name="TextBox 77">
              <a:extLst>
                <a:ext uri="{FF2B5EF4-FFF2-40B4-BE49-F238E27FC236}">
                  <a16:creationId xmlns:a16="http://schemas.microsoft.com/office/drawing/2014/main" id="{DC58F37B-8062-4790-BBD3-AFB1952B1C2D}"/>
                </a:ext>
              </a:extLst>
            </p:cNvPr>
            <p:cNvSpPr txBox="1"/>
            <p:nvPr/>
          </p:nvSpPr>
          <p:spPr>
            <a:xfrm>
              <a:off x="5383715" y="2233195"/>
              <a:ext cx="1652087"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Bahnschrift" panose="020B0502040204020203" pitchFamily="34" charset="0"/>
                  <a:cs typeface="Arial" panose="020B0604020202020204" pitchFamily="34" charset="0"/>
                  <a:sym typeface="Bahnschrift" panose="020B0502040204020203"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atin typeface="Bahnschrift" panose="020B0502040204020203" pitchFamily="34" charset="0"/>
                  <a:sym typeface="Bahnschrift" panose="020B0502040204020203" pitchFamily="34" charset="0"/>
                </a:defRPr>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atin typeface="Bahnschrift" panose="020B0502040204020203" pitchFamily="34" charset="0"/>
                  <a:sym typeface="Bahnschrift" panose="020B0502040204020203" pitchFamily="34" charset="0"/>
                </a:defRPr>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atin typeface="Bahnschrift" panose="020B0502040204020203" pitchFamily="34" charset="0"/>
                  <a:sym typeface="Bahnschrift" panose="020B0502040204020203" pitchFamily="34" charset="0"/>
                </a:defRPr>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atin typeface="Bahnschrift" panose="020B0502040204020203" pitchFamily="34" charset="0"/>
                  <a:sym typeface="Bahnschrift" panose="020B0502040204020203"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1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IIBW vorläufige</a:t>
              </a:r>
              <a:br>
                <a:rPr kumimoji="0" lang="de-DE" sz="11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br>
              <a:r>
                <a:rPr kumimoji="0" lang="de-DE" sz="11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Schätzung</a:t>
              </a:r>
              <a:r>
                <a:rPr kumimoji="0" lang="de-DE" sz="1100" b="0" i="0" u="none" strike="noStrike" kern="1200" cap="none" spc="0" normalizeH="0" baseline="3000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2</a:t>
              </a:r>
              <a:r>
                <a:rPr kumimoji="0" lang="de-DE" sz="11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 </a:t>
              </a:r>
            </a:p>
          </p:txBody>
        </p:sp>
        <p:cxnSp>
          <p:nvCxnSpPr>
            <p:cNvPr id="79" name="Straight Connector 78">
              <a:extLst>
                <a:ext uri="{FF2B5EF4-FFF2-40B4-BE49-F238E27FC236}">
                  <a16:creationId xmlns:a16="http://schemas.microsoft.com/office/drawing/2014/main" id="{264C7CD4-6507-4F44-807C-5A81935E52AB}"/>
                </a:ext>
              </a:extLst>
            </p:cNvPr>
            <p:cNvCxnSpPr>
              <a:cxnSpLocks/>
            </p:cNvCxnSpPr>
            <p:nvPr/>
          </p:nvCxnSpPr>
          <p:spPr>
            <a:xfrm>
              <a:off x="6559550" y="2571750"/>
              <a:ext cx="405424" cy="0"/>
            </a:xfrm>
            <a:prstGeom prst="line">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1C19A1FD-D462-F2EF-2E35-0F7A10AE50BE}"/>
              </a:ext>
            </a:extLst>
          </p:cNvPr>
          <p:cNvGrpSpPr/>
          <p:nvPr/>
        </p:nvGrpSpPr>
        <p:grpSpPr>
          <a:xfrm>
            <a:off x="6453188" y="3586195"/>
            <a:ext cx="544513" cy="292100"/>
            <a:chOff x="3752767" y="3370263"/>
            <a:chExt cx="1106616" cy="274638"/>
          </a:xfrm>
        </p:grpSpPr>
        <p:cxnSp>
          <p:nvCxnSpPr>
            <p:cNvPr id="35" name="Straight Connector 34">
              <a:extLst>
                <a:ext uri="{FF2B5EF4-FFF2-40B4-BE49-F238E27FC236}">
                  <a16:creationId xmlns:a16="http://schemas.microsoft.com/office/drawing/2014/main" id="{858AA28A-2DA9-1B50-8CDD-69ED8742964D}"/>
                </a:ext>
              </a:extLst>
            </p:cNvPr>
            <p:cNvCxnSpPr>
              <a:cxnSpLocks/>
            </p:cNvCxnSpPr>
            <p:nvPr/>
          </p:nvCxnSpPr>
          <p:spPr>
            <a:xfrm>
              <a:off x="3752767" y="3370263"/>
              <a:ext cx="649417" cy="0"/>
            </a:xfrm>
            <a:prstGeom prst="line">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61D72C7-7F7D-C6F0-584C-25C315B67031}"/>
                </a:ext>
              </a:extLst>
            </p:cNvPr>
            <p:cNvCxnSpPr>
              <a:cxnSpLocks/>
            </p:cNvCxnSpPr>
            <p:nvPr/>
          </p:nvCxnSpPr>
          <p:spPr>
            <a:xfrm>
              <a:off x="3944983" y="3611979"/>
              <a:ext cx="914400" cy="0"/>
            </a:xfrm>
            <a:prstGeom prst="line">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F1187E6-F362-F8B0-CFCA-0D44114BCB17}"/>
                </a:ext>
              </a:extLst>
            </p:cNvPr>
            <p:cNvCxnSpPr>
              <a:cxnSpLocks/>
            </p:cNvCxnSpPr>
            <p:nvPr/>
          </p:nvCxnSpPr>
          <p:spPr>
            <a:xfrm flipV="1">
              <a:off x="3944983" y="3611979"/>
              <a:ext cx="0" cy="32922"/>
            </a:xfrm>
            <a:prstGeom prst="line">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9D099B2-FBF5-A8F8-C042-48988D29BFEE}"/>
                </a:ext>
              </a:extLst>
            </p:cNvPr>
            <p:cNvCxnSpPr>
              <a:cxnSpLocks/>
            </p:cNvCxnSpPr>
            <p:nvPr/>
          </p:nvCxnSpPr>
          <p:spPr>
            <a:xfrm flipV="1">
              <a:off x="4859383" y="3611979"/>
              <a:ext cx="0" cy="32922"/>
            </a:xfrm>
            <a:prstGeom prst="line">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FC87CCA-541C-E4F7-C811-1E6A0DE9B406}"/>
                </a:ext>
              </a:extLst>
            </p:cNvPr>
            <p:cNvCxnSpPr>
              <a:cxnSpLocks/>
            </p:cNvCxnSpPr>
            <p:nvPr/>
          </p:nvCxnSpPr>
          <p:spPr>
            <a:xfrm flipV="1">
              <a:off x="4402183" y="3370263"/>
              <a:ext cx="0" cy="241716"/>
            </a:xfrm>
            <a:prstGeom prst="line">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26" name="TextBox 25">
            <a:extLst>
              <a:ext uri="{FF2B5EF4-FFF2-40B4-BE49-F238E27FC236}">
                <a16:creationId xmlns:a16="http://schemas.microsoft.com/office/drawing/2014/main" id="{F8F26C71-C3FF-89D4-2850-9D369875CA25}"/>
              </a:ext>
            </a:extLst>
          </p:cNvPr>
          <p:cNvSpPr txBox="1">
            <a:spLocks/>
          </p:cNvSpPr>
          <p:nvPr/>
        </p:nvSpPr>
        <p:spPr>
          <a:xfrm>
            <a:off x="949325" y="1925991"/>
            <a:ext cx="6584950"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Gesamtsanierungsrate Wohnbau 1990-2020</a:t>
            </a:r>
            <a:r>
              <a:rPr kumimoji="0" lang="de-DE" sz="1600" b="1" i="0" u="none" strike="noStrike" kern="1200" cap="none" spc="0" normalizeH="0" baseline="3000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1</a:t>
            </a:r>
            <a:r>
              <a:rPr kumimoji="0" lang="de-DE" sz="16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 </a:t>
            </a:r>
          </a:p>
        </p:txBody>
      </p:sp>
      <p:cxnSp>
        <p:nvCxnSpPr>
          <p:cNvPr id="28" name="LineBasicDefault 13">
            <a:extLst>
              <a:ext uri="{FF2B5EF4-FFF2-40B4-BE49-F238E27FC236}">
                <a16:creationId xmlns:a16="http://schemas.microsoft.com/office/drawing/2014/main" id="{44DEB4F8-B700-9392-C78B-B9244CAE7858}"/>
              </a:ext>
            </a:extLst>
          </p:cNvPr>
          <p:cNvCxnSpPr>
            <a:cxnSpLocks/>
          </p:cNvCxnSpPr>
          <p:nvPr>
            <p:custDataLst>
              <p:tags r:id="rId24"/>
            </p:custDataLst>
          </p:nvPr>
        </p:nvCxnSpPr>
        <p:spPr>
          <a:xfrm>
            <a:off x="949325" y="2239183"/>
            <a:ext cx="6584950"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925BCC76-3677-1E2C-BD3F-33CF280CF3DE}"/>
              </a:ext>
            </a:extLst>
          </p:cNvPr>
          <p:cNvSpPr txBox="1">
            <a:spLocks/>
          </p:cNvSpPr>
          <p:nvPr/>
        </p:nvSpPr>
        <p:spPr>
          <a:xfrm>
            <a:off x="7981950" y="1925991"/>
            <a:ext cx="2508250" cy="246221"/>
          </a:xfrm>
          <a:prstGeom prst="rect">
            <a:avLst/>
          </a:prstGeom>
        </p:spPr>
        <p:txBody>
          <a:bodyPr vert="horz" wrap="square" lIns="0" tIns="0" rIns="0" bIns="0" rtlCol="0" anchor="b">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600" b="1">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sz="160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sz="160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sz="160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Synthese</a:t>
            </a:r>
          </a:p>
        </p:txBody>
      </p:sp>
      <p:cxnSp>
        <p:nvCxnSpPr>
          <p:cNvPr id="30" name="LineBasicStrong 75">
            <a:extLst>
              <a:ext uri="{FF2B5EF4-FFF2-40B4-BE49-F238E27FC236}">
                <a16:creationId xmlns:a16="http://schemas.microsoft.com/office/drawing/2014/main" id="{15EE5374-E352-2FBE-B0AF-92B3FA863D00}"/>
              </a:ext>
            </a:extLst>
          </p:cNvPr>
          <p:cNvCxnSpPr>
            <a:cxnSpLocks/>
          </p:cNvCxnSpPr>
          <p:nvPr>
            <p:custDataLst>
              <p:tags r:id="rId25"/>
            </p:custDataLst>
          </p:nvPr>
        </p:nvCxnSpPr>
        <p:spPr>
          <a:xfrm>
            <a:off x="7981950" y="2239183"/>
            <a:ext cx="2508250" cy="0"/>
          </a:xfrm>
          <a:prstGeom prst="straightConnector1">
            <a:avLst/>
          </a:prstGeom>
          <a:ln w="1270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DF55BBF1-3EB4-25AF-7A5A-BFC3CAFE00AF}"/>
              </a:ext>
            </a:extLst>
          </p:cNvPr>
          <p:cNvSpPr txBox="1">
            <a:spLocks/>
          </p:cNvSpPr>
          <p:nvPr>
            <p:custDataLst>
              <p:tags r:id="rId26"/>
            </p:custDataLst>
          </p:nvPr>
        </p:nvSpPr>
        <p:spPr>
          <a:xfrm>
            <a:off x="7981950" y="2330450"/>
            <a:ext cx="2508250" cy="25314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0"/>
              </a:spcBef>
              <a:spcAft>
                <a:spcPts val="300"/>
              </a:spcAft>
              <a:buClrTx/>
              <a:buSzPct val="100000"/>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In den Jahren </a:t>
            </a: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1990-2004</a:t>
            </a: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 lag die </a:t>
            </a: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Gesamtsanierungsrate</a:t>
            </a: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 zumeist </a:t>
            </a: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unter 1%</a:t>
            </a:r>
          </a:p>
          <a:p>
            <a:pPr marL="0" marR="0" lvl="0" indent="0" algn="l" defTabSz="914400" rtl="0" eaLnBrk="1" fontAlgn="auto" latinLnBrk="0" hangingPunct="1">
              <a:lnSpc>
                <a:spcPct val="100000"/>
              </a:lnSpc>
              <a:spcBef>
                <a:spcPts val="1000"/>
              </a:spcBef>
              <a:spcAft>
                <a:spcPts val="300"/>
              </a:spcAft>
              <a:buClrTx/>
              <a:buSzPct val="100000"/>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Maßnahmen der </a:t>
            </a: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Wohnbauförderung</a:t>
            </a: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 führten ab </a:t>
            </a: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2005</a:t>
            </a: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 zu einem </a:t>
            </a: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Anstieg auf bis über 2%</a:t>
            </a: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 in den Folgejahren</a:t>
            </a:r>
          </a:p>
          <a:p>
            <a:pPr marL="0" marR="0" lvl="0" indent="0" algn="l" defTabSz="914400" rtl="0" eaLnBrk="1" fontAlgn="auto" latinLnBrk="0" hangingPunct="1">
              <a:lnSpc>
                <a:spcPct val="100000"/>
              </a:lnSpc>
              <a:spcBef>
                <a:spcPts val="1000"/>
              </a:spcBef>
              <a:spcAft>
                <a:spcPts val="300"/>
              </a:spcAft>
              <a:buClrTx/>
              <a:buSzPct val="100000"/>
              <a:buFont typeface="Segoe UI" panose="020B0502040204020203" pitchFamily="34" charset="0"/>
              <a:buChar char="​"/>
              <a:tabLst/>
              <a:defRPr/>
            </a:pP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Nach 2010 </a:t>
            </a: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war die Sanierungsrate wieder </a:t>
            </a: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rückläufig</a:t>
            </a: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 und </a:t>
            </a: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zuletzt</a:t>
            </a: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 bei etwa bei </a:t>
            </a: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1,5%</a:t>
            </a:r>
          </a:p>
          <a:p>
            <a:pPr marL="0" marR="0" lvl="0" indent="0" algn="l" defTabSz="914400" rtl="0" eaLnBrk="1" fontAlgn="auto" latinLnBrk="0" hangingPunct="1">
              <a:lnSpc>
                <a:spcPct val="100000"/>
              </a:lnSpc>
              <a:spcBef>
                <a:spcPts val="1000"/>
              </a:spcBef>
              <a:spcAft>
                <a:spcPts val="300"/>
              </a:spcAft>
              <a:buClrTx/>
              <a:buSzPct val="100000"/>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Das</a:t>
            </a: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 Potenzial </a:t>
            </a: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zur Erhöhung wird z.B. </a:t>
            </a: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bei 3% </a:t>
            </a: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gesehen</a:t>
            </a:r>
          </a:p>
        </p:txBody>
      </p:sp>
      <p:grpSp>
        <p:nvGrpSpPr>
          <p:cNvPr id="32" name="CustomIcon">
            <a:extLst>
              <a:ext uri="{FF2B5EF4-FFF2-40B4-BE49-F238E27FC236}">
                <a16:creationId xmlns:a16="http://schemas.microsoft.com/office/drawing/2014/main" id="{0A000D80-4697-C23F-7884-C212FB4D6EBF}"/>
              </a:ext>
            </a:extLst>
          </p:cNvPr>
          <p:cNvGrpSpPr>
            <a:grpSpLocks/>
          </p:cNvGrpSpPr>
          <p:nvPr>
            <p:custDataLst>
              <p:tags r:id="rId27"/>
            </p:custDataLst>
          </p:nvPr>
        </p:nvGrpSpPr>
        <p:grpSpPr>
          <a:xfrm>
            <a:off x="9974263" y="1647738"/>
            <a:ext cx="515938" cy="516165"/>
            <a:chOff x="-205105" y="-205105"/>
            <a:chExt cx="1019810" cy="1019810"/>
          </a:xfrm>
        </p:grpSpPr>
        <p:sp>
          <p:nvSpPr>
            <p:cNvPr id="41" name="Oval 40">
              <a:extLst>
                <a:ext uri="{FF2B5EF4-FFF2-40B4-BE49-F238E27FC236}">
                  <a16:creationId xmlns:a16="http://schemas.microsoft.com/office/drawing/2014/main" id="{3F6827FE-0D09-C113-B803-84F315547200}"/>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pic>
          <p:nvPicPr>
            <p:cNvPr id="42" name="Graphic 41">
              <a:extLst>
                <a:ext uri="{FF2B5EF4-FFF2-40B4-BE49-F238E27FC236}">
                  <a16:creationId xmlns:a16="http://schemas.microsoft.com/office/drawing/2014/main" id="{6F82E8A0-FD5E-FEE6-B1D2-5D9E550EC6DD}"/>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0" y="0"/>
              <a:ext cx="609600" cy="609600"/>
            </a:xfrm>
            <a:prstGeom prst="rect">
              <a:avLst/>
            </a:prstGeom>
          </p:spPr>
        </p:pic>
      </p:grpSp>
      <p:sp>
        <p:nvSpPr>
          <p:cNvPr id="58" name="Slide Number Placeholder 3">
            <a:extLst>
              <a:ext uri="{FF2B5EF4-FFF2-40B4-BE49-F238E27FC236}">
                <a16:creationId xmlns:a16="http://schemas.microsoft.com/office/drawing/2014/main" id="{1D888A13-0C93-28CD-2CF6-9B38E44F6188}"/>
              </a:ext>
            </a:extLst>
          </p:cNvPr>
          <p:cNvSpPr>
            <a:spLocks noGrp="1"/>
          </p:cNvSpPr>
          <p:nvPr>
            <p:ph type="sldNum" sz="quarter" idx="10"/>
          </p:nvPr>
        </p:nvSpPr>
        <p:spPr>
          <a:xfrm>
            <a:off x="838801" y="6245225"/>
            <a:ext cx="4692569" cy="476250"/>
          </a:xfr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1920E2B-FC99-4A38-BFFD-416A818AECB0}" type="slidenum">
              <a:rPr kumimoji="0" lang="de-AT" sz="800" b="0" i="0" u="none" strike="noStrike" kern="1200" cap="none" spc="0" normalizeH="0" baseline="0" noProof="0" smtClean="0">
                <a:ln>
                  <a:noFill/>
                </a:ln>
                <a:solidFill>
                  <a:prstClr val="white">
                    <a:lumMod val="50000"/>
                  </a:prstClr>
                </a:solidFill>
                <a:effectLst/>
                <a:uLnTx/>
                <a:uFillTx/>
                <a:latin typeface="Bahnschrift" panose="020B0502040204020203" pitchFamily="34"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22</a:t>
            </a:fld>
            <a:endParaRPr kumimoji="0" lang="de-AT" sz="800" b="0" i="0" u="none" strike="noStrike" kern="1200" cap="none" spc="0" normalizeH="0" baseline="0" noProof="0" dirty="0">
              <a:ln>
                <a:noFill/>
              </a:ln>
              <a:solidFill>
                <a:prstClr val="white">
                  <a:lumMod val="50000"/>
                </a:prstClr>
              </a:solidFill>
              <a:effectLst/>
              <a:uLnTx/>
              <a:uFillTx/>
              <a:latin typeface="Bahnschrift" panose="020B0502040204020203" pitchFamily="34" charset="0"/>
              <a:ea typeface="+mn-ea"/>
              <a:cs typeface="+mn-cs"/>
            </a:endParaRPr>
          </a:p>
        </p:txBody>
      </p:sp>
      <p:sp>
        <p:nvSpPr>
          <p:cNvPr id="59" name="4. Footnote">
            <a:extLst>
              <a:ext uri="{FF2B5EF4-FFF2-40B4-BE49-F238E27FC236}">
                <a16:creationId xmlns:a16="http://schemas.microsoft.com/office/drawing/2014/main" id="{E1BBACF1-E785-F9A5-FC6B-A68CFCAA53DA}"/>
              </a:ext>
            </a:extLst>
          </p:cNvPr>
          <p:cNvSpPr txBox="1">
            <a:spLocks/>
          </p:cNvSpPr>
          <p:nvPr>
            <p:custDataLst>
              <p:tags r:id="rId28"/>
            </p:custDataLst>
          </p:nvPr>
        </p:nvSpPr>
        <p:spPr>
          <a:xfrm>
            <a:off x="922020" y="6371361"/>
            <a:ext cx="9456780" cy="123111"/>
          </a:xfrm>
          <a:prstGeom prst="rect">
            <a:avLst/>
          </a:prstGeom>
          <a:noFill/>
        </p:spPr>
        <p:txBody>
          <a:bodyPr vert="horz" wrap="square" lIns="0" tIns="0" rIns="0" bIns="0" rtlCol="0" anchor="b" anchorCtr="0">
            <a:noAutofit/>
          </a:bodyPr>
          <a:lstStyle/>
          <a:p>
            <a:pPr marL="203200" marR="0" lvl="0" indent="-212725" algn="l" defTabSz="914400" rtl="0" eaLnBrk="1" fontAlgn="base" latinLnBrk="0" hangingPunct="1">
              <a:lnSpc>
                <a:spcPct val="100000"/>
              </a:lnSpc>
              <a:spcBef>
                <a:spcPct val="0"/>
              </a:spcBef>
              <a:spcAft>
                <a:spcPct val="0"/>
              </a:spcAft>
              <a:buClrTx/>
              <a:buSzTx/>
              <a:buFontTx/>
              <a:buNone/>
              <a:tabLst/>
              <a:defRPr/>
            </a:pP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Arial" panose="020B0604020202020204" pitchFamily="34" charset="0"/>
              </a:rPr>
              <a:t>1. Umfassende Sanierungsäquivalente (Anteil pro Jahr bezogen auf Wohnungen)</a:t>
            </a:r>
          </a:p>
          <a:p>
            <a:pPr marL="203200" marR="0" lvl="0" indent="-212725" algn="l" defTabSz="914400" rtl="0" eaLnBrk="1" fontAlgn="base" latinLnBrk="0" hangingPunct="1">
              <a:lnSpc>
                <a:spcPct val="100000"/>
              </a:lnSpc>
              <a:spcBef>
                <a:spcPct val="0"/>
              </a:spcBef>
              <a:spcAft>
                <a:spcPct val="0"/>
              </a:spcAft>
              <a:buClrTx/>
              <a:buSzTx/>
              <a:buFontTx/>
              <a:buNone/>
              <a:tabLst/>
              <a:defRPr/>
            </a:pP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Arial" panose="020B0604020202020204" pitchFamily="34" charset="0"/>
              </a:rPr>
              <a:t>2. Veröffentlichung finaler Werte Oktober 2023</a:t>
            </a:r>
          </a:p>
        </p:txBody>
      </p:sp>
      <p:sp>
        <p:nvSpPr>
          <p:cNvPr id="60" name="5. Source">
            <a:extLst>
              <a:ext uri="{FF2B5EF4-FFF2-40B4-BE49-F238E27FC236}">
                <a16:creationId xmlns:a16="http://schemas.microsoft.com/office/drawing/2014/main" id="{47957FC2-C1EB-2027-C4C1-712B5A043FEC}"/>
              </a:ext>
            </a:extLst>
          </p:cNvPr>
          <p:cNvSpPr txBox="1">
            <a:spLocks/>
          </p:cNvSpPr>
          <p:nvPr>
            <p:custDataLst>
              <p:tags r:id="rId29"/>
            </p:custDataLst>
          </p:nvPr>
        </p:nvSpPr>
        <p:spPr>
          <a:xfrm>
            <a:off x="922020" y="6553357"/>
            <a:ext cx="9456780" cy="123111"/>
          </a:xfrm>
          <a:prstGeom prst="rect">
            <a:avLst/>
          </a:prstGeom>
          <a:noFill/>
        </p:spPr>
        <p:txBody>
          <a:bodyPr vert="horz" wrap="square" lIns="0" tIns="0" rIns="0" bIns="0" rtlCol="0" anchor="b" anchorCtr="0">
            <a:noAutofit/>
          </a:bodyPr>
          <a:lstStyle/>
          <a:p>
            <a:pPr marL="203200" marR="0" lvl="0" indent="-212725" algn="r" defTabSz="914400" rtl="0" eaLnBrk="1" fontAlgn="base" latinLnBrk="0" hangingPunct="1">
              <a:lnSpc>
                <a:spcPct val="100000"/>
              </a:lnSpc>
              <a:spcBef>
                <a:spcPct val="0"/>
              </a:spcBef>
              <a:spcAft>
                <a:spcPct val="0"/>
              </a:spcAft>
              <a:buClrTx/>
              <a:buSzTx/>
              <a:buFont typeface="Segoe UI" panose="020B0502040204020203" pitchFamily="34" charset="0"/>
              <a:buChar char="​"/>
              <a:tabLst/>
              <a:defRPr/>
            </a:pP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Quelle: Umweltbundesamt &amp; IIBW</a:t>
            </a:r>
          </a:p>
        </p:txBody>
      </p:sp>
      <p:sp>
        <p:nvSpPr>
          <p:cNvPr id="61" name="Text Placeholder 2">
            <a:extLst>
              <a:ext uri="{FF2B5EF4-FFF2-40B4-BE49-F238E27FC236}">
                <a16:creationId xmlns:a16="http://schemas.microsoft.com/office/drawing/2014/main" id="{6E4418A3-1A43-E043-79D0-C381244D0FED}"/>
              </a:ext>
            </a:extLst>
          </p:cNvPr>
          <p:cNvSpPr txBox="1">
            <a:spLocks/>
          </p:cNvSpPr>
          <p:nvPr/>
        </p:nvSpPr>
        <p:spPr bwMode="auto">
          <a:xfrm>
            <a:off x="838799" y="130497"/>
            <a:ext cx="3843338" cy="123111"/>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de-AT"/>
            </a:defPPr>
            <a:lvl1pPr algn="l" rtl="0" fontAlgn="base">
              <a:spcBef>
                <a:spcPct val="0"/>
              </a:spcBef>
              <a:spcAft>
                <a:spcPct val="0"/>
              </a:spcAft>
              <a:defRPr sz="800" kern="1200">
                <a:solidFill>
                  <a:schemeClr val="bg1">
                    <a:lumMod val="50000"/>
                  </a:schemeClr>
                </a:solidFill>
                <a:latin typeface="+mn-lt"/>
                <a:ea typeface="+mn-ea"/>
                <a:cs typeface="+mn-cs"/>
              </a:defRPr>
            </a:lvl1pPr>
            <a:lvl2pPr marL="457200" algn="l" rtl="0" fontAlgn="base">
              <a:spcBef>
                <a:spcPct val="0"/>
              </a:spcBef>
              <a:spcAft>
                <a:spcPct val="0"/>
              </a:spcAft>
              <a:defRPr kern="1200">
                <a:solidFill>
                  <a:schemeClr val="tx1"/>
                </a:solidFill>
                <a:latin typeface="Verdana" pitchFamily="34" charset="0"/>
                <a:ea typeface="+mn-ea"/>
                <a:cs typeface="+mn-cs"/>
              </a:defRPr>
            </a:lvl2pPr>
            <a:lvl3pPr marL="914400" algn="l" rtl="0" fontAlgn="base">
              <a:spcBef>
                <a:spcPct val="0"/>
              </a:spcBef>
              <a:spcAft>
                <a:spcPct val="0"/>
              </a:spcAft>
              <a:defRPr kern="1200">
                <a:solidFill>
                  <a:schemeClr val="tx1"/>
                </a:solidFill>
                <a:latin typeface="Verdana" pitchFamily="34" charset="0"/>
                <a:ea typeface="+mn-ea"/>
                <a:cs typeface="+mn-cs"/>
              </a:defRPr>
            </a:lvl3pPr>
            <a:lvl4pPr marL="1371600" algn="l" rtl="0" fontAlgn="base">
              <a:spcBef>
                <a:spcPct val="0"/>
              </a:spcBef>
              <a:spcAft>
                <a:spcPct val="0"/>
              </a:spcAft>
              <a:defRPr kern="1200">
                <a:solidFill>
                  <a:schemeClr val="tx1"/>
                </a:solidFill>
                <a:latin typeface="Verdana" pitchFamily="34" charset="0"/>
                <a:ea typeface="+mn-ea"/>
                <a:cs typeface="+mn-cs"/>
              </a:defRPr>
            </a:lvl4pPr>
            <a:lvl5pPr marL="1828800" algn="l" rtl="0" fontAlgn="base">
              <a:spcBef>
                <a:spcPct val="0"/>
              </a:spcBef>
              <a:spcAft>
                <a:spcPct val="0"/>
              </a:spcAft>
              <a:defRPr kern="1200">
                <a:solidFill>
                  <a:schemeClr val="tx1"/>
                </a:solidFill>
                <a:latin typeface="Verdana" pitchFamily="34" charset="0"/>
                <a:ea typeface="+mn-ea"/>
                <a:cs typeface="+mn-cs"/>
              </a:defRPr>
            </a:lvl5pPr>
            <a:lvl6pPr marL="2286000" algn="l" defTabSz="914400" rtl="0" eaLnBrk="1" latinLnBrk="0" hangingPunct="1">
              <a:defRPr kern="1200">
                <a:solidFill>
                  <a:schemeClr val="tx1"/>
                </a:solidFill>
                <a:latin typeface="Verdana" pitchFamily="34" charset="0"/>
                <a:ea typeface="+mn-ea"/>
                <a:cs typeface="+mn-cs"/>
              </a:defRPr>
            </a:lvl6pPr>
            <a:lvl7pPr marL="2743200" algn="l" defTabSz="914400" rtl="0" eaLnBrk="1" latinLnBrk="0" hangingPunct="1">
              <a:defRPr kern="1200">
                <a:solidFill>
                  <a:schemeClr val="tx1"/>
                </a:solidFill>
                <a:latin typeface="Verdana" pitchFamily="34" charset="0"/>
                <a:ea typeface="+mn-ea"/>
                <a:cs typeface="+mn-cs"/>
              </a:defRPr>
            </a:lvl7pPr>
            <a:lvl8pPr marL="3200400" algn="l" defTabSz="914400" rtl="0" eaLnBrk="1" latinLnBrk="0" hangingPunct="1">
              <a:defRPr kern="1200">
                <a:solidFill>
                  <a:schemeClr val="tx1"/>
                </a:solidFill>
                <a:latin typeface="Verdana" pitchFamily="34" charset="0"/>
                <a:ea typeface="+mn-ea"/>
                <a:cs typeface="+mn-cs"/>
              </a:defRPr>
            </a:lvl8pPr>
            <a:lvl9pPr marL="3657600" algn="l" defTabSz="914400" rtl="0" eaLnBrk="1" latinLnBrk="0" hangingPunct="1">
              <a:defRPr kern="1200">
                <a:solidFill>
                  <a:schemeClr val="tx1"/>
                </a:solidFill>
                <a:latin typeface="Verdana"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Bahnschrift" panose="020B0502040204020203" pitchFamily="34" charset="0"/>
                <a:ea typeface="+mn-ea"/>
                <a:cs typeface="+mn-cs"/>
              </a:rPr>
              <a:t>Deep-Dive: Gebäude</a:t>
            </a:r>
          </a:p>
        </p:txBody>
      </p:sp>
    </p:spTree>
    <p:extLst>
      <p:ext uri="{BB962C8B-B14F-4D97-AF65-F5344CB8AC3E}">
        <p14:creationId xmlns:p14="http://schemas.microsoft.com/office/powerpoint/2010/main" val="5737861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633A8A7F-119E-9814-0C96-7844796C59E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592" imgH="595" progId="TCLayout.ActiveDocument.1">
                  <p:embed/>
                </p:oleObj>
              </mc:Choice>
              <mc:Fallback>
                <p:oleObj name="think-cell Slide" r:id="rId28" imgW="592" imgH="595" progId="TCLayout.ActiveDocument.1">
                  <p:embed/>
                  <p:pic>
                    <p:nvPicPr>
                      <p:cNvPr id="8" name="Object 6" hidden="1">
                        <a:extLst>
                          <a:ext uri="{FF2B5EF4-FFF2-40B4-BE49-F238E27FC236}">
                            <a16:creationId xmlns:a16="http://schemas.microsoft.com/office/drawing/2014/main" id="{633A8A7F-119E-9814-0C96-7844796C59EF}"/>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9FA33C55-8122-BABB-10D8-77EE4DB0CB3E}"/>
              </a:ext>
            </a:extLst>
          </p:cNvPr>
          <p:cNvSpPr>
            <a:spLocks noGrp="1"/>
          </p:cNvSpPr>
          <p:nvPr>
            <p:ph type="title"/>
            <p:custDataLst>
              <p:tags r:id="rId2"/>
            </p:custDataLst>
          </p:nvPr>
        </p:nvSpPr>
        <p:spPr/>
        <p:txBody>
          <a:bodyPr vert="horz"/>
          <a:lstStyle/>
          <a:p>
            <a:r>
              <a:rPr lang="de-AT" dirty="0">
                <a:latin typeface="Bahnschrift" panose="020B0502040204020203" pitchFamily="34" charset="0"/>
                <a:sym typeface="Bahnschrift" panose="020B0502040204020203" pitchFamily="34" charset="0"/>
              </a:rPr>
              <a:t>Klimaneutrales Gas soll fossile Energieträger ersetzen – die Produktion in Österreich ist derzeit unter Potenzial</a:t>
            </a:r>
          </a:p>
        </p:txBody>
      </p:sp>
      <p:graphicFrame>
        <p:nvGraphicFramePr>
          <p:cNvPr id="26" name="Chart 25">
            <a:extLst>
              <a:ext uri="{FF2B5EF4-FFF2-40B4-BE49-F238E27FC236}">
                <a16:creationId xmlns:a16="http://schemas.microsoft.com/office/drawing/2014/main" id="{83522139-BBC8-9DEE-7914-F1A0F1F09E5B}"/>
              </a:ext>
            </a:extLst>
          </p:cNvPr>
          <p:cNvGraphicFramePr/>
          <p:nvPr>
            <p:custDataLst>
              <p:tags r:id="rId3"/>
            </p:custDataLst>
          </p:nvPr>
        </p:nvGraphicFramePr>
        <p:xfrm>
          <a:off x="881063" y="2568575"/>
          <a:ext cx="7624762" cy="2292350"/>
        </p:xfrm>
        <a:graphic>
          <a:graphicData uri="http://schemas.openxmlformats.org/drawingml/2006/chart">
            <c:chart xmlns:c="http://schemas.openxmlformats.org/drawingml/2006/chart" xmlns:r="http://schemas.openxmlformats.org/officeDocument/2006/relationships" r:id="rId30"/>
          </a:graphicData>
        </a:graphic>
      </p:graphicFrame>
      <p:sp>
        <p:nvSpPr>
          <p:cNvPr id="14" name="Text Placeholder 4">
            <a:extLst>
              <a:ext uri="{FF2B5EF4-FFF2-40B4-BE49-F238E27FC236}">
                <a16:creationId xmlns:a16="http://schemas.microsoft.com/office/drawing/2014/main" id="{4C1F3293-4EFE-461D-940D-7EE66BAE31C5}"/>
              </a:ext>
            </a:extLst>
          </p:cNvPr>
          <p:cNvSpPr>
            <a:spLocks noGrp="1"/>
          </p:cNvSpPr>
          <p:nvPr>
            <p:custDataLst>
              <p:tags r:id="rId4"/>
            </p:custDataLst>
          </p:nvPr>
        </p:nvSpPr>
        <p:spPr bwMode="gray">
          <a:xfrm>
            <a:off x="1390650" y="3263900"/>
            <a:ext cx="209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D26B6DF-E378-402F-80B3-94C6DB40BA1A}" type="datetime'''''''''''''''''8''''''''''''''''''''''2'''''''''">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82</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Bahnschrift" panose="020B0502040204020203" pitchFamily="34" charset="0"/>
            </a:endParaRPr>
          </a:p>
        </p:txBody>
      </p:sp>
      <p:sp>
        <p:nvSpPr>
          <p:cNvPr id="19" name="Text Placeholder 4">
            <a:extLst>
              <a:ext uri="{FF2B5EF4-FFF2-40B4-BE49-F238E27FC236}">
                <a16:creationId xmlns:a16="http://schemas.microsoft.com/office/drawing/2014/main" id="{557ED0C8-AC18-4E9A-9640-A615EF224463}"/>
              </a:ext>
            </a:extLst>
          </p:cNvPr>
          <p:cNvSpPr>
            <a:spLocks noGrp="1"/>
          </p:cNvSpPr>
          <p:nvPr>
            <p:custDataLst>
              <p:tags r:id="rId5"/>
            </p:custDataLst>
          </p:nvPr>
        </p:nvSpPr>
        <p:spPr bwMode="auto">
          <a:xfrm>
            <a:off x="3146425" y="4829175"/>
            <a:ext cx="963613" cy="730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3BE8B16-9BD9-4A02-984F-E1BFE59E3D73}" type="datetime'Na''''c''hf''''''r''''a''''''''''''''g''''''''''''''''''''e'''">
              <a:rPr kumimoji="0" lang="de-DE" altLang="en-US" sz="1200" b="1"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achfrage</a:t>
            </a:fld>
            <a:endParaRPr kumimoji="0" lang="de-DE" altLang="en-US"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Szenario: Infrastruktur-nutzung</a:t>
            </a:r>
          </a:p>
        </p:txBody>
      </p:sp>
      <p:sp>
        <p:nvSpPr>
          <p:cNvPr id="95" name="Text Placeholder 4">
            <a:extLst>
              <a:ext uri="{FF2B5EF4-FFF2-40B4-BE49-F238E27FC236}">
                <a16:creationId xmlns:a16="http://schemas.microsoft.com/office/drawing/2014/main" id="{4C1F3293-4EFE-461D-940D-7EE66BAE31C5}"/>
              </a:ext>
            </a:extLst>
          </p:cNvPr>
          <p:cNvSpPr>
            <a:spLocks noGrp="1"/>
          </p:cNvSpPr>
          <p:nvPr>
            <p:custDataLst>
              <p:tags r:id="rId6"/>
            </p:custDataLst>
          </p:nvPr>
        </p:nvSpPr>
        <p:spPr bwMode="gray">
          <a:xfrm>
            <a:off x="1397000" y="3446463"/>
            <a:ext cx="198438" cy="182563"/>
          </a:xfrm>
          <a:prstGeom prst="rect">
            <a:avLst/>
          </a:prstGeom>
          <a:solidFill>
            <a:srgbClr val="007800"/>
          </a:solidFill>
          <a:ln>
            <a:noFill/>
          </a:ln>
          <a:effec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5CC9007-03AD-4B42-829D-D26226B18DB2}" type="datetime'''''''''''''''''''''''''''''''''''''''2'''">
              <a:rPr kumimoji="0" lang="de-DE" altLang="en-US" sz="1200" b="0" i="0" u="none" strike="noStrike" kern="1200" cap="none" spc="0" normalizeH="0" baseline="0" noProof="0" smtClean="0">
                <a:ln>
                  <a:noFill/>
                </a:ln>
                <a:solidFill>
                  <a:srgbClr val="FFFFFF"/>
                </a:solidFill>
                <a:effectLst/>
                <a:uLnTx/>
                <a:uFillTx/>
                <a:latin typeface="Bahnschrift"/>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a:t>
            </a:fld>
            <a:r>
              <a:rPr kumimoji="0" lang="de-DE" altLang="en-US" sz="1200" b="0" i="0" u="none" strike="noStrike" kern="1200" cap="none" spc="0" normalizeH="0" baseline="30000" noProof="0" dirty="0">
                <a:ln>
                  <a:noFill/>
                </a:ln>
                <a:solidFill>
                  <a:srgbClr val="FFFFFF"/>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1</a:t>
            </a:r>
            <a:r>
              <a:rPr kumimoji="0" lang="de-DE" altLang="en-US" sz="12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 </a:t>
            </a:r>
            <a:endParaRPr kumimoji="0" lang="de-DE" sz="12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65" name="Text Placeholder 4">
            <a:extLst>
              <a:ext uri="{FF2B5EF4-FFF2-40B4-BE49-F238E27FC236}">
                <a16:creationId xmlns:a16="http://schemas.microsoft.com/office/drawing/2014/main" id="{4C1F3293-4EFE-461D-940D-7EE66BAE31C5}"/>
              </a:ext>
            </a:extLst>
          </p:cNvPr>
          <p:cNvSpPr>
            <a:spLocks noGrp="1"/>
          </p:cNvSpPr>
          <p:nvPr>
            <p:custDataLst>
              <p:tags r:id="rId7"/>
            </p:custDataLst>
          </p:nvPr>
        </p:nvSpPr>
        <p:spPr bwMode="gray">
          <a:xfrm>
            <a:off x="3500438" y="2443163"/>
            <a:ext cx="254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FD656D7-5C1E-4D0F-9D67-B7BD9D4330E9}" type="datetime'''''''''''''''''''''''''''''''1''''''''39'''''''">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39</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7"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auto">
          <a:xfrm>
            <a:off x="990600" y="4829175"/>
            <a:ext cx="101123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de-DE" altLang="en-US"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Bruttoinlands-verbrauch</a:t>
            </a:r>
            <a:endPar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25" name="Text Placeholder 4">
            <a:extLst>
              <a:ext uri="{FF2B5EF4-FFF2-40B4-BE49-F238E27FC236}">
                <a16:creationId xmlns:a16="http://schemas.microsoft.com/office/drawing/2014/main" id="{CE116737-C0E7-474A-B410-91C07E133052}"/>
              </a:ext>
            </a:extLst>
          </p:cNvPr>
          <p:cNvSpPr>
            <a:spLocks noGrp="1"/>
          </p:cNvSpPr>
          <p:nvPr>
            <p:custDataLst>
              <p:tags r:id="rId9"/>
            </p:custDataLst>
          </p:nvPr>
        </p:nvSpPr>
        <p:spPr bwMode="auto">
          <a:xfrm>
            <a:off x="7510463" y="4829175"/>
            <a:ext cx="76041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68011A5-01A1-4014-B1E0-781369D129CF}" type="datetime'''A''''n''''''''''g''''''''''''''''''ebo''t'''''''''">
              <a:rPr kumimoji="0" lang="de-DE" altLang="en-US" sz="1200" b="1"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ngebot</a:t>
            </a:fld>
            <a:endParaRPr kumimoji="0" lang="de-DE" altLang="en-US"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CH</a:t>
            </a:r>
            <a:r>
              <a:rPr kumimoji="0" lang="de-DE" sz="1200" b="0" i="0" u="none" strike="noStrike" kern="1200" cap="none" spc="0" normalizeH="0" baseline="-2500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4</a:t>
            </a: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 biogen</a:t>
            </a:r>
          </a:p>
        </p:txBody>
      </p:sp>
      <p:sp>
        <p:nvSpPr>
          <p:cNvPr id="22" name="Text Placeholder 4">
            <a:extLst>
              <a:ext uri="{FF2B5EF4-FFF2-40B4-BE49-F238E27FC236}">
                <a16:creationId xmlns:a16="http://schemas.microsoft.com/office/drawing/2014/main" id="{ACA7A542-68AA-4E8D-B7D0-58767CCFBD2A}"/>
              </a:ext>
            </a:extLst>
          </p:cNvPr>
          <p:cNvSpPr>
            <a:spLocks noGrp="1"/>
          </p:cNvSpPr>
          <p:nvPr>
            <p:custDataLst>
              <p:tags r:id="rId10"/>
            </p:custDataLst>
          </p:nvPr>
        </p:nvSpPr>
        <p:spPr bwMode="auto">
          <a:xfrm>
            <a:off x="5399088" y="4829175"/>
            <a:ext cx="719138" cy="730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0A7EDFE-6F71-4FA3-860A-8EC425A78C46}" type="datetime'N''''''''a''ch''fr''''''''''a''''''''g''e'''">
              <a:rPr kumimoji="0" lang="de-DE" altLang="en-US" sz="1200" b="1"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achfrage</a:t>
            </a:fld>
            <a:endParaRPr kumimoji="0" lang="de-DE" altLang="en-US"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Szenario: Exergie-effizienz</a:t>
            </a:r>
          </a:p>
        </p:txBody>
      </p:sp>
      <p:sp>
        <p:nvSpPr>
          <p:cNvPr id="73"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5654675" y="3192463"/>
            <a:ext cx="206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10B947C-AB07-4802-A44D-E19C1AB60337}" type="datetime'''''9''''''''''''''''''''''''''0'''''''''''''''''''''''''''">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90</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89" name="Rectangle 88">
            <a:extLst>
              <a:ext uri="{FF2B5EF4-FFF2-40B4-BE49-F238E27FC236}">
                <a16:creationId xmlns:a16="http://schemas.microsoft.com/office/drawing/2014/main" id="{3C78BF60-8F5F-4376-B7A4-9FDD9575EB8D}"/>
              </a:ext>
            </a:extLst>
          </p:cNvPr>
          <p:cNvSpPr/>
          <p:nvPr>
            <p:custDataLst>
              <p:tags r:id="rId12"/>
            </p:custDataLst>
          </p:nvPr>
        </p:nvSpPr>
        <p:spPr bwMode="auto">
          <a:xfrm>
            <a:off x="1014413" y="1747838"/>
            <a:ext cx="138113" cy="138113"/>
          </a:xfrm>
          <a:prstGeom prst="rect">
            <a:avLst/>
          </a:prstGeom>
          <a:solidFill>
            <a:srgbClr val="D0D0D0"/>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a:ln>
                <a:noFill/>
              </a:ln>
              <a:solidFill>
                <a:srgbClr val="FFFFFF"/>
              </a:solidFill>
              <a:effectLst/>
              <a:uLnTx/>
              <a:uFillTx/>
              <a:latin typeface="Bahnschrift"/>
              <a:ea typeface="+mn-ea"/>
              <a:cs typeface="+mn-cs"/>
            </a:endParaRPr>
          </a:p>
        </p:txBody>
      </p:sp>
      <p:sp>
        <p:nvSpPr>
          <p:cNvPr id="87" name="Rectangle 86">
            <a:extLst>
              <a:ext uri="{FF2B5EF4-FFF2-40B4-BE49-F238E27FC236}">
                <a16:creationId xmlns:a16="http://schemas.microsoft.com/office/drawing/2014/main" id="{CDE323A1-D646-4DEE-8BA2-94BDABE8F8BA}"/>
              </a:ext>
            </a:extLst>
          </p:cNvPr>
          <p:cNvSpPr/>
          <p:nvPr>
            <p:custDataLst>
              <p:tags r:id="rId13"/>
            </p:custDataLst>
          </p:nvPr>
        </p:nvSpPr>
        <p:spPr bwMode="auto">
          <a:xfrm>
            <a:off x="3074988" y="1747838"/>
            <a:ext cx="138113" cy="138113"/>
          </a:xfrm>
          <a:prstGeom prst="rect">
            <a:avLst/>
          </a:prstGeom>
          <a:solidFill>
            <a:srgbClr val="1DA3BA"/>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a:ln>
                <a:noFill/>
              </a:ln>
              <a:solidFill>
                <a:srgbClr val="FFFFFF"/>
              </a:solidFill>
              <a:effectLst/>
              <a:uLnTx/>
              <a:uFillTx/>
              <a:latin typeface="Bahnschrift"/>
              <a:ea typeface="+mn-ea"/>
              <a:cs typeface="+mn-cs"/>
            </a:endParaRPr>
          </a:p>
        </p:txBody>
      </p:sp>
      <p:sp>
        <p:nvSpPr>
          <p:cNvPr id="88" name="Rectangle 87">
            <a:extLst>
              <a:ext uri="{FF2B5EF4-FFF2-40B4-BE49-F238E27FC236}">
                <a16:creationId xmlns:a16="http://schemas.microsoft.com/office/drawing/2014/main" id="{CEA3FC42-2EA2-44B9-8DA8-D1974D38B854}"/>
              </a:ext>
            </a:extLst>
          </p:cNvPr>
          <p:cNvSpPr/>
          <p:nvPr>
            <p:custDataLst>
              <p:tags r:id="rId14"/>
            </p:custDataLst>
          </p:nvPr>
        </p:nvSpPr>
        <p:spPr bwMode="auto">
          <a:xfrm>
            <a:off x="2035175" y="1747838"/>
            <a:ext cx="138113" cy="138113"/>
          </a:xfrm>
          <a:prstGeom prst="rect">
            <a:avLst/>
          </a:prstGeom>
          <a:solidFill>
            <a:srgbClr val="007800"/>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a:ln>
                <a:noFill/>
              </a:ln>
              <a:solidFill>
                <a:srgbClr val="FFFFFF"/>
              </a:solidFill>
              <a:effectLst/>
              <a:uLnTx/>
              <a:uFillTx/>
              <a:latin typeface="Bahnschrift"/>
              <a:ea typeface="+mn-ea"/>
              <a:cs typeface="+mn-cs"/>
            </a:endParaRPr>
          </a:p>
        </p:txBody>
      </p:sp>
      <p:sp>
        <p:nvSpPr>
          <p:cNvPr id="86" name="Rectangle 85">
            <a:extLst>
              <a:ext uri="{FF2B5EF4-FFF2-40B4-BE49-F238E27FC236}">
                <a16:creationId xmlns:a16="http://schemas.microsoft.com/office/drawing/2014/main" id="{9655B009-C689-4262-8C1A-8554BBECBEEC}"/>
              </a:ext>
            </a:extLst>
          </p:cNvPr>
          <p:cNvSpPr/>
          <p:nvPr>
            <p:custDataLst>
              <p:tags r:id="rId15"/>
            </p:custDataLst>
          </p:nvPr>
        </p:nvSpPr>
        <p:spPr bwMode="auto">
          <a:xfrm>
            <a:off x="4033838" y="1747838"/>
            <a:ext cx="138113" cy="138113"/>
          </a:xfrm>
          <a:prstGeom prst="rect">
            <a:avLst/>
          </a:prstGeom>
          <a:solidFill>
            <a:schemeClr val="accent5"/>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a:ln>
                <a:noFill/>
              </a:ln>
              <a:solidFill>
                <a:srgbClr val="FFFFFF"/>
              </a:solidFill>
              <a:effectLst/>
              <a:uLnTx/>
              <a:uFillTx/>
              <a:latin typeface="Bahnschrift"/>
              <a:ea typeface="+mn-ea"/>
              <a:cs typeface="+mn-cs"/>
            </a:endParaRPr>
          </a:p>
        </p:txBody>
      </p:sp>
      <p:sp>
        <p:nvSpPr>
          <p:cNvPr id="45" name="Text Placeholder 4">
            <a:extLst>
              <a:ext uri="{FF2B5EF4-FFF2-40B4-BE49-F238E27FC236}">
                <a16:creationId xmlns:a16="http://schemas.microsoft.com/office/drawing/2014/main" id="{6951379A-695C-4A2A-A5B1-C241BEEB7102}"/>
              </a:ext>
            </a:extLst>
          </p:cNvPr>
          <p:cNvSpPr>
            <a:spLocks noGrp="1"/>
          </p:cNvSpPr>
          <p:nvPr>
            <p:custDataLst>
              <p:tags r:id="rId16"/>
            </p:custDataLst>
          </p:nvPr>
        </p:nvSpPr>
        <p:spPr bwMode="auto">
          <a:xfrm>
            <a:off x="4222750" y="1744663"/>
            <a:ext cx="9334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de-DE"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H</a:t>
            </a:r>
            <a:r>
              <a:rPr kumimoji="0" lang="de-DE" altLang="en-US" sz="1000" b="0" i="0" u="none" strike="noStrike" kern="1200" cap="none" spc="0" normalizeH="0" baseline="-2500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2</a:t>
            </a:r>
            <a:r>
              <a:rPr kumimoji="0" lang="de-DE"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 (Wasserstoff)</a:t>
            </a: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1"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auto">
          <a:xfrm>
            <a:off x="2224088" y="1744663"/>
            <a:ext cx="7493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de-DE"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CH</a:t>
            </a:r>
            <a:r>
              <a:rPr kumimoji="0" lang="de-DE" altLang="en-US" sz="1000" b="0" i="0" u="none" strike="noStrike" kern="1200" cap="none" spc="0" normalizeH="0" baseline="-2500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4</a:t>
            </a:r>
            <a:r>
              <a:rPr kumimoji="0" lang="de-DE"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 (Methan)</a:t>
            </a: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12" name="Text Placeholder 4">
            <a:extLst>
              <a:ext uri="{FF2B5EF4-FFF2-40B4-BE49-F238E27FC236}">
                <a16:creationId xmlns:a16="http://schemas.microsoft.com/office/drawing/2014/main" id="{4C1F3293-4EFE-461D-940D-7EE66BAE31C5}"/>
              </a:ext>
            </a:extLst>
          </p:cNvPr>
          <p:cNvSpPr>
            <a:spLocks noGrp="1"/>
          </p:cNvSpPr>
          <p:nvPr>
            <p:custDataLst>
              <p:tags r:id="rId18"/>
            </p:custDataLst>
          </p:nvPr>
        </p:nvSpPr>
        <p:spPr bwMode="auto">
          <a:xfrm>
            <a:off x="1203325" y="1744663"/>
            <a:ext cx="730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de-DE"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CH</a:t>
            </a:r>
            <a:r>
              <a:rPr kumimoji="0" lang="de-DE" altLang="en-US" sz="1000" b="0" i="0" u="none" strike="noStrike" kern="1200" cap="none" spc="0" normalizeH="0" baseline="-2500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4</a:t>
            </a:r>
            <a:r>
              <a:rPr kumimoji="0" lang="de-DE"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 (Erdgas)</a:t>
            </a: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49" name="Text Placeholder 4">
            <a:extLst>
              <a:ext uri="{FF2B5EF4-FFF2-40B4-BE49-F238E27FC236}">
                <a16:creationId xmlns:a16="http://schemas.microsoft.com/office/drawing/2014/main" id="{CDE28572-9AA4-4142-B03C-A28D0BF395BF}"/>
              </a:ext>
            </a:extLst>
          </p:cNvPr>
          <p:cNvSpPr>
            <a:spLocks noGrp="1"/>
          </p:cNvSpPr>
          <p:nvPr>
            <p:custDataLst>
              <p:tags r:id="rId19"/>
            </p:custDataLst>
          </p:nvPr>
        </p:nvSpPr>
        <p:spPr bwMode="auto">
          <a:xfrm>
            <a:off x="3263900" y="1744663"/>
            <a:ext cx="668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de-DE"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H</a:t>
            </a:r>
            <a:r>
              <a:rPr kumimoji="0" lang="de-DE" altLang="en-US" sz="1000" b="0" i="0" u="none" strike="noStrike" kern="1200" cap="none" spc="0" normalizeH="0" baseline="-2500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2</a:t>
            </a:r>
            <a:r>
              <a:rPr kumimoji="0" lang="de-DE"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 oder CH</a:t>
            </a:r>
            <a:r>
              <a:rPr kumimoji="0" lang="de-DE" altLang="en-US" sz="1000" b="0" i="0" u="none" strike="noStrike" kern="1200" cap="none" spc="0" normalizeH="0" baseline="-2500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4</a:t>
            </a:r>
            <a:endParaRPr kumimoji="0" lang="de-DE" sz="1000" b="0" i="0" u="none" strike="noStrike" kern="1200" cap="none" spc="0" normalizeH="0" baseline="-2500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51" name="TextBox 50">
            <a:extLst>
              <a:ext uri="{FF2B5EF4-FFF2-40B4-BE49-F238E27FC236}">
                <a16:creationId xmlns:a16="http://schemas.microsoft.com/office/drawing/2014/main" id="{4EFEC10E-6351-4FD7-B487-03B287D612B2}"/>
              </a:ext>
            </a:extLst>
          </p:cNvPr>
          <p:cNvSpPr txBox="1">
            <a:spLocks/>
          </p:cNvSpPr>
          <p:nvPr/>
        </p:nvSpPr>
        <p:spPr>
          <a:xfrm>
            <a:off x="8821784" y="1329632"/>
            <a:ext cx="2818770" cy="246221"/>
          </a:xfrm>
          <a:prstGeom prst="rect">
            <a:avLst/>
          </a:prstGeom>
        </p:spPr>
        <p:txBody>
          <a:bodyPr vert="horz" wrap="square" lIns="0" tIns="0" rIns="0" bIns="0" rtlCol="0" anchor="b">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600" b="1">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sz="160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sz="160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sz="160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Synthese</a:t>
            </a:r>
          </a:p>
        </p:txBody>
      </p:sp>
      <p:cxnSp>
        <p:nvCxnSpPr>
          <p:cNvPr id="53" name="LineBasicStrong 75">
            <a:extLst>
              <a:ext uri="{FF2B5EF4-FFF2-40B4-BE49-F238E27FC236}">
                <a16:creationId xmlns:a16="http://schemas.microsoft.com/office/drawing/2014/main" id="{AFB63355-AA92-4A20-99B9-625529A38F4D}"/>
              </a:ext>
            </a:extLst>
          </p:cNvPr>
          <p:cNvCxnSpPr>
            <a:cxnSpLocks/>
          </p:cNvCxnSpPr>
          <p:nvPr>
            <p:custDataLst>
              <p:tags r:id="rId20"/>
            </p:custDataLst>
          </p:nvPr>
        </p:nvCxnSpPr>
        <p:spPr>
          <a:xfrm>
            <a:off x="8821783" y="1626376"/>
            <a:ext cx="2818770" cy="0"/>
          </a:xfrm>
          <a:prstGeom prst="straightConnector1">
            <a:avLst/>
          </a:prstGeom>
          <a:ln w="1270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E39D615F-B4C5-4A22-BF89-A828412BF9C5}"/>
              </a:ext>
            </a:extLst>
          </p:cNvPr>
          <p:cNvSpPr txBox="1"/>
          <p:nvPr>
            <p:custDataLst>
              <p:tags r:id="rId21"/>
            </p:custDataLst>
          </p:nvPr>
        </p:nvSpPr>
        <p:spPr>
          <a:xfrm>
            <a:off x="8821784" y="1743580"/>
            <a:ext cx="2818770" cy="39456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96000"/>
              </a:lnSpc>
              <a:spcBef>
                <a:spcPts val="600"/>
              </a:spcBef>
              <a:spcAft>
                <a:spcPts val="300"/>
              </a:spcAft>
              <a:buClr>
                <a:srgbClr val="000000"/>
              </a:buClr>
              <a:buSzPct val="100000"/>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Der </a:t>
            </a: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aktuelle Gasverbrauch </a:t>
            </a: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liegt bei etwa &gt;80 TWh (</a:t>
            </a: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größter Teil importiertes Erdgas)</a:t>
            </a:r>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a:p>
            <a:pPr marL="0" marR="0" lvl="0" indent="0" algn="l" defTabSz="914400" rtl="0" eaLnBrk="1" fontAlgn="auto" latinLnBrk="0" hangingPunct="1">
              <a:lnSpc>
                <a:spcPct val="96000"/>
              </a:lnSpc>
              <a:spcBef>
                <a:spcPts val="600"/>
              </a:spcBef>
              <a:spcAft>
                <a:spcPts val="300"/>
              </a:spcAft>
              <a:buClr>
                <a:srgbClr val="000000"/>
              </a:buClr>
              <a:buSzPct val="100000"/>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Der </a:t>
            </a: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zukünftige Verbrauch </a:t>
            </a: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hängt vom </a:t>
            </a: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angenommenen Szenario </a:t>
            </a: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ab:</a:t>
            </a:r>
          </a:p>
          <a:p>
            <a:pPr marL="182880" marR="0" lvl="1" indent="-182880" algn="l" defTabSz="914400" rtl="0" eaLnBrk="1" fontAlgn="auto" latinLnBrk="0" hangingPunct="1">
              <a:lnSpc>
                <a:spcPct val="96000"/>
              </a:lnSpc>
              <a:spcBef>
                <a:spcPts val="600"/>
              </a:spcBef>
              <a:spcAft>
                <a:spcPts val="300"/>
              </a:spcAft>
              <a:buClrTx/>
              <a:buSzPct val="100000"/>
              <a:buFont typeface="Arial" panose="020B0604020202020204" pitchFamily="34" charset="0"/>
              <a:buChar char="•"/>
              <a:tabLst/>
              <a:defRPr/>
            </a:pP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Infrastrukturnutzung</a:t>
            </a: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 – bestehende Technologien werden weiter genutzt, Effizienzverbesserungen folgen bisherigen Trends, konservative technische Entwicklung</a:t>
            </a:r>
          </a:p>
          <a:p>
            <a:pPr marL="182880" marR="0" lvl="1" indent="-182880" algn="l" defTabSz="914400" rtl="0" eaLnBrk="1" fontAlgn="auto" latinLnBrk="0" hangingPunct="1">
              <a:lnSpc>
                <a:spcPct val="96000"/>
              </a:lnSpc>
              <a:spcBef>
                <a:spcPts val="600"/>
              </a:spcBef>
              <a:spcAft>
                <a:spcPts val="300"/>
              </a:spcAft>
              <a:buClrTx/>
              <a:buSzPct val="100000"/>
              <a:buFont typeface="Arial" panose="020B0604020202020204" pitchFamily="34" charset="0"/>
              <a:buChar char="•"/>
              <a:tabLst/>
              <a:defRPr/>
            </a:pP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Energieeffizienz</a:t>
            </a: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 – Annahme einer ambitionierteren Entwicklung von Zukunftstechnologien</a:t>
            </a:r>
          </a:p>
          <a:p>
            <a:pPr marL="0" marR="0" lvl="1" indent="0" algn="l" defTabSz="914400" rtl="0" eaLnBrk="1" fontAlgn="auto" latinLnBrk="0" hangingPunct="1">
              <a:lnSpc>
                <a:spcPct val="96000"/>
              </a:lnSpc>
              <a:spcBef>
                <a:spcPts val="600"/>
              </a:spcBef>
              <a:spcAft>
                <a:spcPts val="300"/>
              </a:spcAft>
              <a:buClrTx/>
              <a:buSzPct val="100000"/>
              <a:buFont typeface="Arial" panose="020B0604020202020204" pitchFamily="34" charset="0"/>
              <a:buNone/>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Selbst im </a:t>
            </a: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ambitionierten Szenario </a:t>
            </a: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werden etwa </a:t>
            </a: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90 TWh klimaneutrale Gase </a:t>
            </a: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benötigt (ohne Gebäude)</a:t>
            </a:r>
          </a:p>
          <a:p>
            <a:pPr marL="0" marR="0" lvl="1" indent="0" algn="l" defTabSz="914400" rtl="0" eaLnBrk="1" fontAlgn="auto" latinLnBrk="0" hangingPunct="1">
              <a:lnSpc>
                <a:spcPct val="96000"/>
              </a:lnSpc>
              <a:spcBef>
                <a:spcPts val="600"/>
              </a:spcBef>
              <a:spcAft>
                <a:spcPts val="300"/>
              </a:spcAft>
              <a:buClrTx/>
              <a:buSzPct val="100000"/>
              <a:buFont typeface="Arial" panose="020B0604020202020204" pitchFamily="34" charset="0"/>
              <a:buNone/>
              <a:tabLst/>
              <a:defRPr/>
            </a:pPr>
            <a:r>
              <a:rPr kumimoji="0" lang="de-AT"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Studien sehen </a:t>
            </a:r>
            <a:r>
              <a:rPr kumimoji="0" lang="de-AT"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20</a:t>
            </a:r>
            <a:r>
              <a:rPr kumimoji="0" lang="de-AT"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 (BMK)-</a:t>
            </a:r>
            <a:r>
              <a:rPr kumimoji="0" lang="de-AT"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40</a:t>
            </a:r>
            <a:r>
              <a:rPr kumimoji="0" lang="de-AT"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 (WKÖ) </a:t>
            </a:r>
            <a:r>
              <a:rPr kumimoji="0" lang="de-AT"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TWh CH</a:t>
            </a:r>
            <a:r>
              <a:rPr kumimoji="0" lang="de-AT" sz="1200" b="1" i="0" u="none" strike="noStrike" kern="1200" cap="none" spc="0" normalizeH="0" baseline="-2500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4</a:t>
            </a:r>
            <a:r>
              <a:rPr kumimoji="0" lang="de-AT"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 als </a:t>
            </a:r>
            <a:r>
              <a:rPr kumimoji="0" lang="de-AT"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möglich</a:t>
            </a:r>
            <a:r>
              <a:rPr kumimoji="0" lang="de-AT"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 an. Der Rest muss durch Importe von Wasserstoff gedeckt werden</a:t>
            </a:r>
          </a:p>
        </p:txBody>
      </p:sp>
      <p:grpSp>
        <p:nvGrpSpPr>
          <p:cNvPr id="3" name="CustomIcon">
            <a:extLst>
              <a:ext uri="{FF2B5EF4-FFF2-40B4-BE49-F238E27FC236}">
                <a16:creationId xmlns:a16="http://schemas.microsoft.com/office/drawing/2014/main" id="{C2F309DC-47F7-3EAB-FB9B-2080DFD5FBF3}"/>
              </a:ext>
            </a:extLst>
          </p:cNvPr>
          <p:cNvGrpSpPr>
            <a:grpSpLocks/>
          </p:cNvGrpSpPr>
          <p:nvPr>
            <p:custDataLst>
              <p:tags r:id="rId22"/>
            </p:custDataLst>
          </p:nvPr>
        </p:nvGrpSpPr>
        <p:grpSpPr>
          <a:xfrm>
            <a:off x="11117734" y="1059688"/>
            <a:ext cx="516165" cy="516165"/>
            <a:chOff x="-205105" y="-205105"/>
            <a:chExt cx="1019810" cy="1019810"/>
          </a:xfrm>
        </p:grpSpPr>
        <p:sp>
          <p:nvSpPr>
            <p:cNvPr id="4" name="Oval 13">
              <a:extLst>
                <a:ext uri="{FF2B5EF4-FFF2-40B4-BE49-F238E27FC236}">
                  <a16:creationId xmlns:a16="http://schemas.microsoft.com/office/drawing/2014/main" id="{F357C25B-4075-962E-3CEF-5B43759379A2}"/>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pic>
          <p:nvPicPr>
            <p:cNvPr id="5" name="Graphic 16">
              <a:extLst>
                <a:ext uri="{FF2B5EF4-FFF2-40B4-BE49-F238E27FC236}">
                  <a16:creationId xmlns:a16="http://schemas.microsoft.com/office/drawing/2014/main" id="{3A597962-4694-CF91-B5D5-FB73C88827DE}"/>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0" y="0"/>
              <a:ext cx="609600" cy="609600"/>
            </a:xfrm>
            <a:prstGeom prst="rect">
              <a:avLst/>
            </a:prstGeom>
          </p:spPr>
        </p:pic>
      </p:grpSp>
      <p:grpSp>
        <p:nvGrpSpPr>
          <p:cNvPr id="20" name="Group 19">
            <a:extLst>
              <a:ext uri="{FF2B5EF4-FFF2-40B4-BE49-F238E27FC236}">
                <a16:creationId xmlns:a16="http://schemas.microsoft.com/office/drawing/2014/main" id="{07CD4C60-880F-893E-3B9B-EB5004A31B77}"/>
              </a:ext>
            </a:extLst>
          </p:cNvPr>
          <p:cNvGrpSpPr/>
          <p:nvPr/>
        </p:nvGrpSpPr>
        <p:grpSpPr>
          <a:xfrm>
            <a:off x="963613" y="1329632"/>
            <a:ext cx="7459662" cy="4585777"/>
            <a:chOff x="534989" y="1329632"/>
            <a:chExt cx="7888286" cy="4585777"/>
          </a:xfrm>
        </p:grpSpPr>
        <p:grpSp>
          <p:nvGrpSpPr>
            <p:cNvPr id="13" name="Group 12">
              <a:extLst>
                <a:ext uri="{FF2B5EF4-FFF2-40B4-BE49-F238E27FC236}">
                  <a16:creationId xmlns:a16="http://schemas.microsoft.com/office/drawing/2014/main" id="{13EAB013-0A58-4798-A772-9F76357F875A}"/>
                </a:ext>
              </a:extLst>
            </p:cNvPr>
            <p:cNvGrpSpPr/>
            <p:nvPr/>
          </p:nvGrpSpPr>
          <p:grpSpPr>
            <a:xfrm>
              <a:off x="534989" y="5668963"/>
              <a:ext cx="1000983" cy="246063"/>
              <a:chOff x="534989" y="5668963"/>
              <a:chExt cx="1000983" cy="246063"/>
            </a:xfrm>
          </p:grpSpPr>
          <p:sp>
            <p:nvSpPr>
              <p:cNvPr id="139" name="TextBox 138">
                <a:extLst>
                  <a:ext uri="{FF2B5EF4-FFF2-40B4-BE49-F238E27FC236}">
                    <a16:creationId xmlns:a16="http://schemas.microsoft.com/office/drawing/2014/main" id="{B6CDF6B5-5E19-4C2B-B2CC-CD6F1600AD78}"/>
                  </a:ext>
                </a:extLst>
              </p:cNvPr>
              <p:cNvSpPr txBox="1">
                <a:spLocks/>
              </p:cNvSpPr>
              <p:nvPr/>
            </p:nvSpPr>
            <p:spPr>
              <a:xfrm>
                <a:off x="534989" y="5730746"/>
                <a:ext cx="1000983" cy="184280"/>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2022</a:t>
                </a:r>
              </a:p>
            </p:txBody>
          </p:sp>
          <p:cxnSp>
            <p:nvCxnSpPr>
              <p:cNvPr id="142" name="Straight Connector 141">
                <a:extLst>
                  <a:ext uri="{FF2B5EF4-FFF2-40B4-BE49-F238E27FC236}">
                    <a16:creationId xmlns:a16="http://schemas.microsoft.com/office/drawing/2014/main" id="{83CD3FEB-F659-4970-BA74-37989C426101}"/>
                  </a:ext>
                </a:extLst>
              </p:cNvPr>
              <p:cNvCxnSpPr>
                <a:cxnSpLocks/>
              </p:cNvCxnSpPr>
              <p:nvPr/>
            </p:nvCxnSpPr>
            <p:spPr>
              <a:xfrm>
                <a:off x="534989" y="5668963"/>
                <a:ext cx="1000983"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156" name="Group 155">
              <a:extLst>
                <a:ext uri="{FF2B5EF4-FFF2-40B4-BE49-F238E27FC236}">
                  <a16:creationId xmlns:a16="http://schemas.microsoft.com/office/drawing/2014/main" id="{764CA0D4-9DE3-4D71-9433-F03525CABF53}"/>
                </a:ext>
              </a:extLst>
            </p:cNvPr>
            <p:cNvGrpSpPr/>
            <p:nvPr/>
          </p:nvGrpSpPr>
          <p:grpSpPr>
            <a:xfrm>
              <a:off x="2787650" y="5668959"/>
              <a:ext cx="5635625" cy="246450"/>
              <a:chOff x="3476625" y="5737225"/>
              <a:chExt cx="3905250" cy="246967"/>
            </a:xfrm>
          </p:grpSpPr>
          <p:sp>
            <p:nvSpPr>
              <p:cNvPr id="140" name="TextBox 139">
                <a:extLst>
                  <a:ext uri="{FF2B5EF4-FFF2-40B4-BE49-F238E27FC236}">
                    <a16:creationId xmlns:a16="http://schemas.microsoft.com/office/drawing/2014/main" id="{F52DB32B-1A4F-4EBE-806D-EFA676E101F6}"/>
                  </a:ext>
                </a:extLst>
              </p:cNvPr>
              <p:cNvSpPr txBox="1"/>
              <p:nvPr/>
            </p:nvSpPr>
            <p:spPr>
              <a:xfrm>
                <a:off x="3940855" y="5799139"/>
                <a:ext cx="2785378" cy="185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AT"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Bei Erreichung der Klimaneutralität in Österreich</a:t>
                </a:r>
              </a:p>
            </p:txBody>
          </p:sp>
          <p:cxnSp>
            <p:nvCxnSpPr>
              <p:cNvPr id="143" name="Straight Connector 142">
                <a:extLst>
                  <a:ext uri="{FF2B5EF4-FFF2-40B4-BE49-F238E27FC236}">
                    <a16:creationId xmlns:a16="http://schemas.microsoft.com/office/drawing/2014/main" id="{CD1AE27C-3FAC-4119-AC36-C9EE8F98B34D}"/>
                  </a:ext>
                </a:extLst>
              </p:cNvPr>
              <p:cNvCxnSpPr>
                <a:cxnSpLocks/>
              </p:cNvCxnSpPr>
              <p:nvPr/>
            </p:nvCxnSpPr>
            <p:spPr>
              <a:xfrm flipV="1">
                <a:off x="3476625" y="5737225"/>
                <a:ext cx="3905250"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46" name="TextBox 145">
              <a:extLst>
                <a:ext uri="{FF2B5EF4-FFF2-40B4-BE49-F238E27FC236}">
                  <a16:creationId xmlns:a16="http://schemas.microsoft.com/office/drawing/2014/main" id="{E353FF52-5910-4A86-92BC-80C35A09E711}"/>
                </a:ext>
              </a:extLst>
            </p:cNvPr>
            <p:cNvSpPr txBox="1">
              <a:spLocks/>
            </p:cNvSpPr>
            <p:nvPr/>
          </p:nvSpPr>
          <p:spPr>
            <a:xfrm>
              <a:off x="554735" y="1329632"/>
              <a:ext cx="7868539"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Verbrauch und zukünftiges Angebot und Nachfrage nach Gas in Österreich, </a:t>
              </a:r>
              <a:r>
                <a:rPr kumimoji="0" lang="de-DE" sz="16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TWh</a:t>
              </a:r>
            </a:p>
          </p:txBody>
        </p:sp>
        <p:sp>
          <p:nvSpPr>
            <p:cNvPr id="161" name="TextBox 160">
              <a:extLst>
                <a:ext uri="{FF2B5EF4-FFF2-40B4-BE49-F238E27FC236}">
                  <a16:creationId xmlns:a16="http://schemas.microsoft.com/office/drawing/2014/main" id="{4C969067-70A8-49E5-9678-43104FB6349F}"/>
                </a:ext>
              </a:extLst>
            </p:cNvPr>
            <p:cNvSpPr txBox="1"/>
            <p:nvPr/>
          </p:nvSpPr>
          <p:spPr>
            <a:xfrm>
              <a:off x="1462088" y="2514600"/>
              <a:ext cx="1076325" cy="76993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0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H</a:t>
              </a:r>
              <a:r>
                <a:rPr kumimoji="0" lang="de-DE" sz="1000" b="1" i="0" u="none" strike="noStrike" kern="1200" cap="none" spc="0" normalizeH="0" baseline="-2500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2</a:t>
              </a:r>
              <a:r>
                <a:rPr kumimoji="0" lang="de-DE" sz="10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 Verbrauch von 4-5 TWh </a:t>
              </a:r>
              <a:r>
                <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aus Erdgas produziert) – nicht separat ausgewiesen</a:t>
              </a:r>
              <a:r>
                <a:rPr kumimoji="0" lang="de-DE" sz="1000" b="0" i="0" u="none" strike="noStrike" kern="1200" cap="none" spc="0" normalizeH="0" baseline="3000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2</a:t>
              </a:r>
              <a:r>
                <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 </a:t>
              </a:r>
            </a:p>
          </p:txBody>
        </p:sp>
        <p:grpSp>
          <p:nvGrpSpPr>
            <p:cNvPr id="171" name="Group 170">
              <a:extLst>
                <a:ext uri="{FF2B5EF4-FFF2-40B4-BE49-F238E27FC236}">
                  <a16:creationId xmlns:a16="http://schemas.microsoft.com/office/drawing/2014/main" id="{1C1EF578-1B6A-4295-B4AB-9AA2E9F26062}"/>
                </a:ext>
              </a:extLst>
            </p:cNvPr>
            <p:cNvGrpSpPr/>
            <p:nvPr/>
          </p:nvGrpSpPr>
          <p:grpSpPr>
            <a:xfrm>
              <a:off x="1462088" y="3317875"/>
              <a:ext cx="538163" cy="225425"/>
              <a:chOff x="1513681" y="3286374"/>
              <a:chExt cx="537369" cy="225177"/>
            </a:xfrm>
          </p:grpSpPr>
          <p:cxnSp>
            <p:nvCxnSpPr>
              <p:cNvPr id="166" name="Straight Connector 165">
                <a:extLst>
                  <a:ext uri="{FF2B5EF4-FFF2-40B4-BE49-F238E27FC236}">
                    <a16:creationId xmlns:a16="http://schemas.microsoft.com/office/drawing/2014/main" id="{7605CFC2-779F-4CC5-A92B-F9D4BB06273B}"/>
                  </a:ext>
                </a:extLst>
              </p:cNvPr>
              <p:cNvCxnSpPr>
                <a:cxnSpLocks/>
              </p:cNvCxnSpPr>
              <p:nvPr/>
            </p:nvCxnSpPr>
            <p:spPr>
              <a:xfrm flipH="1">
                <a:off x="1513681" y="3511551"/>
                <a:ext cx="537369" cy="0"/>
              </a:xfrm>
              <a:prstGeom prst="line">
                <a:avLst/>
              </a:prstGeom>
              <a:ln w="38100" cap="flat">
                <a:solidFill>
                  <a:schemeClr val="bg1"/>
                </a:solidFill>
                <a:miter lim="800000"/>
                <a:tailEnd type="ova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48448D57-F426-4E88-BC9A-D6BA7F0BD8A3}"/>
                  </a:ext>
                </a:extLst>
              </p:cNvPr>
              <p:cNvCxnSpPr>
                <a:cxnSpLocks/>
              </p:cNvCxnSpPr>
              <p:nvPr/>
            </p:nvCxnSpPr>
            <p:spPr>
              <a:xfrm flipH="1">
                <a:off x="1513681" y="3511551"/>
                <a:ext cx="537369" cy="0"/>
              </a:xfrm>
              <a:prstGeom prst="line">
                <a:avLst/>
              </a:prstGeom>
              <a:ln w="6350" cap="flat">
                <a:solidFill>
                  <a:schemeClr val="tx1"/>
                </a:solidFill>
                <a:miter lim="800000"/>
                <a:tailEnd type="ova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8746FE7C-786B-4C0F-8454-D74A57C56B55}"/>
                  </a:ext>
                </a:extLst>
              </p:cNvPr>
              <p:cNvCxnSpPr/>
              <p:nvPr/>
            </p:nvCxnSpPr>
            <p:spPr>
              <a:xfrm>
                <a:off x="2051050" y="3286374"/>
                <a:ext cx="0" cy="225177"/>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83" name="TextBox 182">
              <a:extLst>
                <a:ext uri="{FF2B5EF4-FFF2-40B4-BE49-F238E27FC236}">
                  <a16:creationId xmlns:a16="http://schemas.microsoft.com/office/drawing/2014/main" id="{BFB0F6DE-CC76-408A-9601-791CCE537F58}"/>
                </a:ext>
              </a:extLst>
            </p:cNvPr>
            <p:cNvSpPr txBox="1"/>
            <p:nvPr/>
          </p:nvSpPr>
          <p:spPr>
            <a:xfrm>
              <a:off x="7308850" y="2526300"/>
              <a:ext cx="1074738" cy="61595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0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Lokales H</a:t>
              </a:r>
              <a:r>
                <a:rPr kumimoji="0" lang="de-DE" sz="1000" b="1" i="0" u="none" strike="noStrike" kern="1200" cap="none" spc="0" normalizeH="0" baseline="-2500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2</a:t>
              </a:r>
              <a:r>
                <a:rPr kumimoji="0" lang="de-DE" sz="10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 Angebot unklar </a:t>
              </a:r>
              <a:r>
                <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 bis 2030 </a:t>
              </a:r>
              <a:r>
                <a:rPr kumimoji="0" lang="de-DE" sz="10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etwa 4 TWh</a:t>
              </a:r>
              <a:r>
                <a:rPr kumimoji="0" lang="de-DE" sz="1000" b="1" i="0" u="none" strike="noStrike" kern="1200" cap="none" spc="0" normalizeH="0" baseline="3000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3</a:t>
              </a:r>
              <a:r>
                <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 zu erwarten  </a:t>
              </a:r>
            </a:p>
          </p:txBody>
        </p:sp>
        <p:grpSp>
          <p:nvGrpSpPr>
            <p:cNvPr id="184" name="Group 183">
              <a:extLst>
                <a:ext uri="{FF2B5EF4-FFF2-40B4-BE49-F238E27FC236}">
                  <a16:creationId xmlns:a16="http://schemas.microsoft.com/office/drawing/2014/main" id="{BC8319A8-47EA-4204-93C7-057E1B1B78A3}"/>
                </a:ext>
              </a:extLst>
            </p:cNvPr>
            <p:cNvGrpSpPr/>
            <p:nvPr/>
          </p:nvGrpSpPr>
          <p:grpSpPr>
            <a:xfrm rot="16200000">
              <a:off x="7101981" y="3632199"/>
              <a:ext cx="1013936" cy="118588"/>
              <a:chOff x="1513681" y="3511551"/>
              <a:chExt cx="537369" cy="0"/>
            </a:xfrm>
          </p:grpSpPr>
          <p:cxnSp>
            <p:nvCxnSpPr>
              <p:cNvPr id="185" name="Straight Connector 184">
                <a:extLst>
                  <a:ext uri="{FF2B5EF4-FFF2-40B4-BE49-F238E27FC236}">
                    <a16:creationId xmlns:a16="http://schemas.microsoft.com/office/drawing/2014/main" id="{7B6047C6-4151-45E6-9FCE-21385758DF5F}"/>
                  </a:ext>
                </a:extLst>
              </p:cNvPr>
              <p:cNvCxnSpPr>
                <a:cxnSpLocks/>
              </p:cNvCxnSpPr>
              <p:nvPr/>
            </p:nvCxnSpPr>
            <p:spPr>
              <a:xfrm flipH="1">
                <a:off x="1513681" y="3511551"/>
                <a:ext cx="537369" cy="0"/>
              </a:xfrm>
              <a:prstGeom prst="line">
                <a:avLst/>
              </a:prstGeom>
              <a:ln w="38100" cap="flat">
                <a:solidFill>
                  <a:schemeClr val="bg1"/>
                </a:solidFill>
                <a:miter lim="800000"/>
                <a:tailEnd type="ova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D0C710B-63CE-4D64-8A3A-FDD8ECE6A549}"/>
                  </a:ext>
                </a:extLst>
              </p:cNvPr>
              <p:cNvCxnSpPr>
                <a:cxnSpLocks/>
              </p:cNvCxnSpPr>
              <p:nvPr/>
            </p:nvCxnSpPr>
            <p:spPr>
              <a:xfrm flipH="1">
                <a:off x="1513681" y="3511551"/>
                <a:ext cx="537369" cy="0"/>
              </a:xfrm>
              <a:prstGeom prst="line">
                <a:avLst/>
              </a:prstGeom>
              <a:ln w="6350" cap="flat">
                <a:solidFill>
                  <a:schemeClr val="tx1"/>
                </a:solidFill>
                <a:miter lim="800000"/>
                <a:tailEnd type="oval"/>
              </a:ln>
            </p:spPr>
            <p:style>
              <a:lnRef idx="1">
                <a:schemeClr val="accent1"/>
              </a:lnRef>
              <a:fillRef idx="0">
                <a:schemeClr val="accent1"/>
              </a:fillRef>
              <a:effectRef idx="0">
                <a:schemeClr val="accent1"/>
              </a:effectRef>
              <a:fontRef idx="minor">
                <a:schemeClr val="tx1"/>
              </a:fontRef>
            </p:style>
          </p:cxnSp>
        </p:grpSp>
        <p:grpSp>
          <p:nvGrpSpPr>
            <p:cNvPr id="209" name="Group 208">
              <a:extLst>
                <a:ext uri="{FF2B5EF4-FFF2-40B4-BE49-F238E27FC236}">
                  <a16:creationId xmlns:a16="http://schemas.microsoft.com/office/drawing/2014/main" id="{06FEAE9C-5C6C-41C4-8FA7-AAE4D03ED42A}"/>
                </a:ext>
              </a:extLst>
            </p:cNvPr>
            <p:cNvGrpSpPr/>
            <p:nvPr/>
          </p:nvGrpSpPr>
          <p:grpSpPr>
            <a:xfrm rot="16200000">
              <a:off x="4615974" y="2706210"/>
              <a:ext cx="1172529" cy="225425"/>
              <a:chOff x="1513681" y="3286374"/>
              <a:chExt cx="537369" cy="225177"/>
            </a:xfrm>
          </p:grpSpPr>
          <p:cxnSp>
            <p:nvCxnSpPr>
              <p:cNvPr id="210" name="Straight Connector 209">
                <a:extLst>
                  <a:ext uri="{FF2B5EF4-FFF2-40B4-BE49-F238E27FC236}">
                    <a16:creationId xmlns:a16="http://schemas.microsoft.com/office/drawing/2014/main" id="{92CC25C2-993A-403F-BA05-0AA1E752AC40}"/>
                  </a:ext>
                </a:extLst>
              </p:cNvPr>
              <p:cNvCxnSpPr>
                <a:cxnSpLocks/>
              </p:cNvCxnSpPr>
              <p:nvPr/>
            </p:nvCxnSpPr>
            <p:spPr>
              <a:xfrm flipH="1">
                <a:off x="1513681" y="3511551"/>
                <a:ext cx="537369" cy="0"/>
              </a:xfrm>
              <a:prstGeom prst="line">
                <a:avLst/>
              </a:prstGeom>
              <a:ln w="38100" cap="flat">
                <a:solidFill>
                  <a:schemeClr val="bg1"/>
                </a:solidFill>
                <a:miter lim="800000"/>
                <a:tailEnd type="oval"/>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A659CC3D-EBE2-4E04-897A-974D5F5A8981}"/>
                  </a:ext>
                </a:extLst>
              </p:cNvPr>
              <p:cNvCxnSpPr>
                <a:cxnSpLocks/>
              </p:cNvCxnSpPr>
              <p:nvPr/>
            </p:nvCxnSpPr>
            <p:spPr>
              <a:xfrm flipH="1">
                <a:off x="1513681" y="3511551"/>
                <a:ext cx="537369" cy="0"/>
              </a:xfrm>
              <a:prstGeom prst="line">
                <a:avLst/>
              </a:prstGeom>
              <a:ln w="6350" cap="flat">
                <a:solidFill>
                  <a:schemeClr val="tx1"/>
                </a:solidFill>
                <a:miter lim="800000"/>
                <a:tailEnd type="oval"/>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0C9453D3-393B-4286-8688-B8E3B3364435}"/>
                  </a:ext>
                </a:extLst>
              </p:cNvPr>
              <p:cNvCxnSpPr/>
              <p:nvPr/>
            </p:nvCxnSpPr>
            <p:spPr>
              <a:xfrm>
                <a:off x="2051050" y="3286374"/>
                <a:ext cx="0" cy="225177"/>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213" name="Group 212">
              <a:extLst>
                <a:ext uri="{FF2B5EF4-FFF2-40B4-BE49-F238E27FC236}">
                  <a16:creationId xmlns:a16="http://schemas.microsoft.com/office/drawing/2014/main" id="{81795123-A0B9-416D-8EBA-A0230F96DB5F}"/>
                </a:ext>
              </a:extLst>
            </p:cNvPr>
            <p:cNvGrpSpPr/>
            <p:nvPr/>
          </p:nvGrpSpPr>
          <p:grpSpPr>
            <a:xfrm rot="16200000" flipV="1">
              <a:off x="4130676" y="1703385"/>
              <a:ext cx="429577" cy="1488122"/>
              <a:chOff x="1513681" y="3286374"/>
              <a:chExt cx="537369" cy="225177"/>
            </a:xfrm>
          </p:grpSpPr>
          <p:cxnSp>
            <p:nvCxnSpPr>
              <p:cNvPr id="214" name="Straight Connector 213">
                <a:extLst>
                  <a:ext uri="{FF2B5EF4-FFF2-40B4-BE49-F238E27FC236}">
                    <a16:creationId xmlns:a16="http://schemas.microsoft.com/office/drawing/2014/main" id="{500500BE-9C3B-4138-A106-FF3E2B416363}"/>
                  </a:ext>
                </a:extLst>
              </p:cNvPr>
              <p:cNvCxnSpPr>
                <a:cxnSpLocks/>
              </p:cNvCxnSpPr>
              <p:nvPr/>
            </p:nvCxnSpPr>
            <p:spPr>
              <a:xfrm flipH="1">
                <a:off x="1513681" y="3511551"/>
                <a:ext cx="537369" cy="0"/>
              </a:xfrm>
              <a:prstGeom prst="line">
                <a:avLst/>
              </a:prstGeom>
              <a:ln w="38100" cap="flat">
                <a:solidFill>
                  <a:schemeClr val="bg1"/>
                </a:solidFill>
                <a:miter lim="800000"/>
                <a:tailEnd type="oval"/>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9293F876-FEFE-47BE-8462-8109803386B5}"/>
                  </a:ext>
                </a:extLst>
              </p:cNvPr>
              <p:cNvCxnSpPr>
                <a:cxnSpLocks/>
              </p:cNvCxnSpPr>
              <p:nvPr/>
            </p:nvCxnSpPr>
            <p:spPr>
              <a:xfrm flipH="1">
                <a:off x="1513681" y="3511551"/>
                <a:ext cx="537369" cy="0"/>
              </a:xfrm>
              <a:prstGeom prst="line">
                <a:avLst/>
              </a:prstGeom>
              <a:ln w="6350" cap="flat">
                <a:solidFill>
                  <a:schemeClr val="tx1"/>
                </a:solidFill>
                <a:miter lim="800000"/>
                <a:tailEnd type="oval"/>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73220933-8ABD-467B-872A-3E9E18544426}"/>
                  </a:ext>
                </a:extLst>
              </p:cNvPr>
              <p:cNvCxnSpPr/>
              <p:nvPr/>
            </p:nvCxnSpPr>
            <p:spPr>
              <a:xfrm>
                <a:off x="2051050" y="3286374"/>
                <a:ext cx="0" cy="225177"/>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217" name="TextBox 216">
              <a:extLst>
                <a:ext uri="{FF2B5EF4-FFF2-40B4-BE49-F238E27FC236}">
                  <a16:creationId xmlns:a16="http://schemas.microsoft.com/office/drawing/2014/main" id="{7CC7A4F3-F5A1-4810-80C5-0B1741CB7A16}"/>
                </a:ext>
              </a:extLst>
            </p:cNvPr>
            <p:cNvSpPr txBox="1"/>
            <p:nvPr/>
          </p:nvSpPr>
          <p:spPr>
            <a:xfrm>
              <a:off x="3989620" y="2024529"/>
              <a:ext cx="1074738" cy="461665"/>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Kein Bedarf für Gebäudesektor berücksichtigt</a:t>
              </a:r>
            </a:p>
          </p:txBody>
        </p:sp>
        <p:cxnSp>
          <p:nvCxnSpPr>
            <p:cNvPr id="59" name="LineBasicStrong 75">
              <a:extLst>
                <a:ext uri="{FF2B5EF4-FFF2-40B4-BE49-F238E27FC236}">
                  <a16:creationId xmlns:a16="http://schemas.microsoft.com/office/drawing/2014/main" id="{9058A148-B95E-4E00-B633-87BF3E718D65}"/>
                </a:ext>
              </a:extLst>
            </p:cNvPr>
            <p:cNvCxnSpPr>
              <a:cxnSpLocks/>
            </p:cNvCxnSpPr>
            <p:nvPr>
              <p:custDataLst>
                <p:tags r:id="rId25"/>
              </p:custDataLst>
            </p:nvPr>
          </p:nvCxnSpPr>
          <p:spPr>
            <a:xfrm>
              <a:off x="554736" y="1626376"/>
              <a:ext cx="7868539" cy="0"/>
            </a:xfrm>
            <a:prstGeom prst="straightConnector1">
              <a:avLst/>
            </a:prstGeom>
            <a:ln w="1270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1420E96B-06B2-B242-8F4F-F572C170D1B3}"/>
                </a:ext>
              </a:extLst>
            </p:cNvPr>
            <p:cNvSpPr/>
            <p:nvPr/>
          </p:nvSpPr>
          <p:spPr>
            <a:xfrm>
              <a:off x="7459668" y="4175290"/>
              <a:ext cx="797284" cy="300090"/>
            </a:xfrm>
            <a:prstGeom prst="rect">
              <a:avLst/>
            </a:prstGeom>
            <a:noFill/>
            <a:ln w="6350" cap="sq">
              <a:solidFill>
                <a:srgbClr val="00B05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a:ln>
                  <a:noFill/>
                </a:ln>
                <a:solidFill>
                  <a:srgbClr val="FFFFFF"/>
                </a:solidFill>
                <a:effectLst/>
                <a:uLnTx/>
                <a:uFillTx/>
                <a:latin typeface="Bahnschrift"/>
                <a:ea typeface="+mn-ea"/>
                <a:cs typeface="+mn-cs"/>
              </a:endParaRPr>
            </a:p>
          </p:txBody>
        </p:sp>
        <p:sp>
          <p:nvSpPr>
            <p:cNvPr id="36" name="TextBox 35">
              <a:extLst>
                <a:ext uri="{FF2B5EF4-FFF2-40B4-BE49-F238E27FC236}">
                  <a16:creationId xmlns:a16="http://schemas.microsoft.com/office/drawing/2014/main" id="{FEDCEB3F-6C98-F5EC-5D04-F59299661898}"/>
                </a:ext>
              </a:extLst>
            </p:cNvPr>
            <p:cNvSpPr txBox="1"/>
            <p:nvPr/>
          </p:nvSpPr>
          <p:spPr>
            <a:xfrm>
              <a:off x="7625757" y="3977211"/>
              <a:ext cx="438662"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Bahnschrift" panose="020B0502040204020203" pitchFamily="34" charset="0"/>
                  <a:cs typeface="Arial" panose="020B0604020202020204" pitchFamily="34" charset="0"/>
                  <a:sym typeface="Bahnschrift" panose="020B0502040204020203"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atin typeface="Bahnschrift" panose="020B0502040204020203" pitchFamily="34" charset="0"/>
                  <a:sym typeface="Bahnschrift" panose="020B0502040204020203" pitchFamily="34" charset="0"/>
                </a:defRPr>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atin typeface="Bahnschrift" panose="020B0502040204020203" pitchFamily="34" charset="0"/>
                  <a:sym typeface="Bahnschrift" panose="020B0502040204020203" pitchFamily="34" charset="0"/>
                </a:defRPr>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atin typeface="Bahnschrift" panose="020B0502040204020203" pitchFamily="34" charset="0"/>
                  <a:sym typeface="Bahnschrift" panose="020B0502040204020203" pitchFamily="34" charset="0"/>
                </a:defRPr>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atin typeface="Bahnschrift" panose="020B0502040204020203" pitchFamily="34" charset="0"/>
                  <a:sym typeface="Bahnschrift" panose="020B0502040204020203"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20-40</a:t>
              </a:r>
            </a:p>
          </p:txBody>
        </p:sp>
      </p:grpSp>
      <p:sp>
        <p:nvSpPr>
          <p:cNvPr id="16" name="Slide Number Placeholder 3">
            <a:extLst>
              <a:ext uri="{FF2B5EF4-FFF2-40B4-BE49-F238E27FC236}">
                <a16:creationId xmlns:a16="http://schemas.microsoft.com/office/drawing/2014/main" id="{346847BF-EA44-B201-51AA-4876CFFD7672}"/>
              </a:ext>
            </a:extLst>
          </p:cNvPr>
          <p:cNvSpPr>
            <a:spLocks noGrp="1"/>
          </p:cNvSpPr>
          <p:nvPr>
            <p:ph type="sldNum" sz="quarter" idx="10"/>
          </p:nvPr>
        </p:nvSpPr>
        <p:spPr>
          <a:xfrm>
            <a:off x="838801" y="6245225"/>
            <a:ext cx="4692569" cy="476250"/>
          </a:xfr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1920E2B-FC99-4A38-BFFD-416A818AECB0}" type="slidenum">
              <a:rPr kumimoji="0" lang="de-AT" sz="800" b="0" i="0" u="none" strike="noStrike" kern="1200" cap="none" spc="0" normalizeH="0" baseline="0" noProof="0" smtClean="0">
                <a:ln>
                  <a:noFill/>
                </a:ln>
                <a:solidFill>
                  <a:prstClr val="white">
                    <a:lumMod val="50000"/>
                  </a:prstClr>
                </a:solidFill>
                <a:effectLst/>
                <a:uLnTx/>
                <a:uFillTx/>
                <a:latin typeface="Bahnschrift" panose="020B0502040204020203" pitchFamily="34"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23</a:t>
            </a:fld>
            <a:endParaRPr kumimoji="0" lang="de-AT" sz="800" b="0" i="0" u="none" strike="noStrike" kern="1200" cap="none" spc="0" normalizeH="0" baseline="0" noProof="0" dirty="0">
              <a:ln>
                <a:noFill/>
              </a:ln>
              <a:solidFill>
                <a:prstClr val="white">
                  <a:lumMod val="50000"/>
                </a:prstClr>
              </a:solidFill>
              <a:effectLst/>
              <a:uLnTx/>
              <a:uFillTx/>
              <a:latin typeface="Bahnschrift" panose="020B0502040204020203" pitchFamily="34" charset="0"/>
              <a:ea typeface="+mn-ea"/>
              <a:cs typeface="+mn-cs"/>
            </a:endParaRPr>
          </a:p>
        </p:txBody>
      </p:sp>
      <p:sp>
        <p:nvSpPr>
          <p:cNvPr id="21" name="4. Footnote">
            <a:extLst>
              <a:ext uri="{FF2B5EF4-FFF2-40B4-BE49-F238E27FC236}">
                <a16:creationId xmlns:a16="http://schemas.microsoft.com/office/drawing/2014/main" id="{E54501CC-E2D2-5E36-426D-3BC2D391D8AC}"/>
              </a:ext>
            </a:extLst>
          </p:cNvPr>
          <p:cNvSpPr txBox="1">
            <a:spLocks/>
          </p:cNvSpPr>
          <p:nvPr>
            <p:custDataLst>
              <p:tags r:id="rId23"/>
            </p:custDataLst>
          </p:nvPr>
        </p:nvSpPr>
        <p:spPr>
          <a:xfrm>
            <a:off x="922020" y="6125140"/>
            <a:ext cx="9456780" cy="369332"/>
          </a:xfrm>
          <a:prstGeom prst="rect">
            <a:avLst/>
          </a:prstGeom>
          <a:noFill/>
        </p:spPr>
        <p:txBody>
          <a:bodyPr vert="horz" wrap="square" lIns="0" tIns="0" rIns="0" bIns="0" rtlCol="0" anchor="b" anchorCtr="0">
            <a:spAutoFit/>
          </a:bodyPr>
          <a:lstStyle/>
          <a:p>
            <a:pPr marL="203200" marR="0" lvl="0" indent="-212725" algn="l" defTabSz="914400" rtl="0" eaLnBrk="1" fontAlgn="auto" latinLnBrk="0" hangingPunct="1">
              <a:lnSpc>
                <a:spcPct val="100000"/>
              </a:lnSpc>
              <a:spcBef>
                <a:spcPts val="0"/>
              </a:spcBef>
              <a:spcAft>
                <a:spcPts val="0"/>
              </a:spcAft>
              <a:buClr>
                <a:srgbClr val="000000"/>
              </a:buClr>
              <a:buSzTx/>
              <a:buFontTx/>
              <a:buNone/>
              <a:tabLst/>
              <a:defRPr/>
            </a:pP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1.	Biogas, kein reines Methan</a:t>
            </a:r>
          </a:p>
          <a:p>
            <a:pPr marL="203200" marR="0" lvl="0" indent="-212725" algn="l" defTabSz="914400" rtl="0" eaLnBrk="1" fontAlgn="auto" latinLnBrk="0" hangingPunct="1">
              <a:lnSpc>
                <a:spcPct val="100000"/>
              </a:lnSpc>
              <a:spcBef>
                <a:spcPts val="0"/>
              </a:spcBef>
              <a:spcAft>
                <a:spcPts val="0"/>
              </a:spcAft>
              <a:buClr>
                <a:srgbClr val="000000"/>
              </a:buClr>
              <a:buSzTx/>
              <a:buFontTx/>
              <a:buNone/>
              <a:tabLst/>
              <a:defRPr/>
            </a:pP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2.	Basierend auf Verbrauchsschätzung von 140 kt und Energieinhalt von 33.3 kWh/kg</a:t>
            </a:r>
          </a:p>
          <a:p>
            <a:pPr marL="203200" marR="0" lvl="0" indent="-212725" algn="l" defTabSz="914400" rtl="0" eaLnBrk="1" fontAlgn="auto" latinLnBrk="0" hangingPunct="1">
              <a:lnSpc>
                <a:spcPct val="100000"/>
              </a:lnSpc>
              <a:spcBef>
                <a:spcPts val="0"/>
              </a:spcBef>
              <a:spcAft>
                <a:spcPts val="0"/>
              </a:spcAft>
              <a:buClr>
                <a:srgbClr val="000000"/>
              </a:buClr>
              <a:buSzTx/>
              <a:buFontTx/>
              <a:buNone/>
              <a:tabLst/>
              <a:defRPr/>
            </a:pP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3.	Basierend auf geplanter Elektrolyseur-Kapazität von 1 GW</a:t>
            </a:r>
          </a:p>
        </p:txBody>
      </p:sp>
      <p:sp>
        <p:nvSpPr>
          <p:cNvPr id="23" name="5. Source">
            <a:extLst>
              <a:ext uri="{FF2B5EF4-FFF2-40B4-BE49-F238E27FC236}">
                <a16:creationId xmlns:a16="http://schemas.microsoft.com/office/drawing/2014/main" id="{D41D6F57-8403-30B4-0C14-B7A6D556236A}"/>
              </a:ext>
            </a:extLst>
          </p:cNvPr>
          <p:cNvSpPr txBox="1">
            <a:spLocks/>
          </p:cNvSpPr>
          <p:nvPr>
            <p:custDataLst>
              <p:tags r:id="rId24"/>
            </p:custDataLst>
          </p:nvPr>
        </p:nvSpPr>
        <p:spPr>
          <a:xfrm>
            <a:off x="922020" y="6553357"/>
            <a:ext cx="9456780" cy="123111"/>
          </a:xfrm>
          <a:prstGeom prst="rect">
            <a:avLst/>
          </a:prstGeom>
          <a:noFill/>
        </p:spPr>
        <p:txBody>
          <a:bodyPr vert="horz" wrap="square" lIns="0" tIns="0" rIns="0" bIns="0" rtlCol="0" anchor="b" anchorCtr="0">
            <a:noAutofit/>
          </a:bodyPr>
          <a:lstStyle/>
          <a:p>
            <a:pPr marL="203200" marR="0" lvl="0" indent="-212725" algn="r" defTabSz="914400" rtl="0" eaLnBrk="1" fontAlgn="auto" latinLnBrk="0" hangingPunct="1">
              <a:lnSpc>
                <a:spcPct val="100000"/>
              </a:lnSpc>
              <a:spcBef>
                <a:spcPts val="0"/>
              </a:spcBef>
              <a:spcAft>
                <a:spcPts val="0"/>
              </a:spcAft>
              <a:buClr>
                <a:srgbClr val="000000"/>
              </a:buClr>
              <a:buSzTx/>
              <a:buFontTx/>
              <a:buNone/>
              <a:tabLst/>
              <a:defRPr/>
            </a:pP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Quelle: Wasserstoffstrategie für Österreich (BMK), Statistik Austria</a:t>
            </a:r>
          </a:p>
        </p:txBody>
      </p:sp>
      <p:sp>
        <p:nvSpPr>
          <p:cNvPr id="24" name="Text Placeholder 2">
            <a:extLst>
              <a:ext uri="{FF2B5EF4-FFF2-40B4-BE49-F238E27FC236}">
                <a16:creationId xmlns:a16="http://schemas.microsoft.com/office/drawing/2014/main" id="{4862A5F9-A340-7CD3-FBD9-82CAE40E12D6}"/>
              </a:ext>
            </a:extLst>
          </p:cNvPr>
          <p:cNvSpPr txBox="1">
            <a:spLocks/>
          </p:cNvSpPr>
          <p:nvPr/>
        </p:nvSpPr>
        <p:spPr bwMode="auto">
          <a:xfrm>
            <a:off x="838799" y="130497"/>
            <a:ext cx="3843338" cy="123111"/>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de-AT"/>
            </a:defPPr>
            <a:lvl1pPr algn="l" rtl="0" fontAlgn="base">
              <a:spcBef>
                <a:spcPct val="0"/>
              </a:spcBef>
              <a:spcAft>
                <a:spcPct val="0"/>
              </a:spcAft>
              <a:defRPr sz="800" kern="1200">
                <a:solidFill>
                  <a:schemeClr val="bg1">
                    <a:lumMod val="50000"/>
                  </a:schemeClr>
                </a:solidFill>
                <a:latin typeface="+mn-lt"/>
                <a:ea typeface="+mn-ea"/>
                <a:cs typeface="+mn-cs"/>
              </a:defRPr>
            </a:lvl1pPr>
            <a:lvl2pPr marL="457200" algn="l" rtl="0" fontAlgn="base">
              <a:spcBef>
                <a:spcPct val="0"/>
              </a:spcBef>
              <a:spcAft>
                <a:spcPct val="0"/>
              </a:spcAft>
              <a:defRPr kern="1200">
                <a:solidFill>
                  <a:schemeClr val="tx1"/>
                </a:solidFill>
                <a:latin typeface="Verdana" pitchFamily="34" charset="0"/>
                <a:ea typeface="+mn-ea"/>
                <a:cs typeface="+mn-cs"/>
              </a:defRPr>
            </a:lvl2pPr>
            <a:lvl3pPr marL="914400" algn="l" rtl="0" fontAlgn="base">
              <a:spcBef>
                <a:spcPct val="0"/>
              </a:spcBef>
              <a:spcAft>
                <a:spcPct val="0"/>
              </a:spcAft>
              <a:defRPr kern="1200">
                <a:solidFill>
                  <a:schemeClr val="tx1"/>
                </a:solidFill>
                <a:latin typeface="Verdana" pitchFamily="34" charset="0"/>
                <a:ea typeface="+mn-ea"/>
                <a:cs typeface="+mn-cs"/>
              </a:defRPr>
            </a:lvl3pPr>
            <a:lvl4pPr marL="1371600" algn="l" rtl="0" fontAlgn="base">
              <a:spcBef>
                <a:spcPct val="0"/>
              </a:spcBef>
              <a:spcAft>
                <a:spcPct val="0"/>
              </a:spcAft>
              <a:defRPr kern="1200">
                <a:solidFill>
                  <a:schemeClr val="tx1"/>
                </a:solidFill>
                <a:latin typeface="Verdana" pitchFamily="34" charset="0"/>
                <a:ea typeface="+mn-ea"/>
                <a:cs typeface="+mn-cs"/>
              </a:defRPr>
            </a:lvl4pPr>
            <a:lvl5pPr marL="1828800" algn="l" rtl="0" fontAlgn="base">
              <a:spcBef>
                <a:spcPct val="0"/>
              </a:spcBef>
              <a:spcAft>
                <a:spcPct val="0"/>
              </a:spcAft>
              <a:defRPr kern="1200">
                <a:solidFill>
                  <a:schemeClr val="tx1"/>
                </a:solidFill>
                <a:latin typeface="Verdana" pitchFamily="34" charset="0"/>
                <a:ea typeface="+mn-ea"/>
                <a:cs typeface="+mn-cs"/>
              </a:defRPr>
            </a:lvl5pPr>
            <a:lvl6pPr marL="2286000" algn="l" defTabSz="914400" rtl="0" eaLnBrk="1" latinLnBrk="0" hangingPunct="1">
              <a:defRPr kern="1200">
                <a:solidFill>
                  <a:schemeClr val="tx1"/>
                </a:solidFill>
                <a:latin typeface="Verdana" pitchFamily="34" charset="0"/>
                <a:ea typeface="+mn-ea"/>
                <a:cs typeface="+mn-cs"/>
              </a:defRPr>
            </a:lvl6pPr>
            <a:lvl7pPr marL="2743200" algn="l" defTabSz="914400" rtl="0" eaLnBrk="1" latinLnBrk="0" hangingPunct="1">
              <a:defRPr kern="1200">
                <a:solidFill>
                  <a:schemeClr val="tx1"/>
                </a:solidFill>
                <a:latin typeface="Verdana" pitchFamily="34" charset="0"/>
                <a:ea typeface="+mn-ea"/>
                <a:cs typeface="+mn-cs"/>
              </a:defRPr>
            </a:lvl7pPr>
            <a:lvl8pPr marL="3200400" algn="l" defTabSz="914400" rtl="0" eaLnBrk="1" latinLnBrk="0" hangingPunct="1">
              <a:defRPr kern="1200">
                <a:solidFill>
                  <a:schemeClr val="tx1"/>
                </a:solidFill>
                <a:latin typeface="Verdana" pitchFamily="34" charset="0"/>
                <a:ea typeface="+mn-ea"/>
                <a:cs typeface="+mn-cs"/>
              </a:defRPr>
            </a:lvl8pPr>
            <a:lvl9pPr marL="3657600" algn="l" defTabSz="914400" rtl="0" eaLnBrk="1" latinLnBrk="0" hangingPunct="1">
              <a:defRPr kern="1200">
                <a:solidFill>
                  <a:schemeClr val="tx1"/>
                </a:solidFill>
                <a:latin typeface="Verdana"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Trebuchet MS"/>
                <a:ea typeface="+mn-ea"/>
                <a:cs typeface="+mn-cs"/>
              </a:rPr>
              <a:t>Deep-Dive: Klimaneutrales Gas</a:t>
            </a:r>
          </a:p>
        </p:txBody>
      </p:sp>
    </p:spTree>
    <p:extLst>
      <p:ext uri="{BB962C8B-B14F-4D97-AF65-F5344CB8AC3E}">
        <p14:creationId xmlns:p14="http://schemas.microsoft.com/office/powerpoint/2010/main" val="13199640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6" hidden="1">
            <a:extLst>
              <a:ext uri="{FF2B5EF4-FFF2-40B4-BE49-F238E27FC236}">
                <a16:creationId xmlns:a16="http://schemas.microsoft.com/office/drawing/2014/main" id="{9FFA63BA-82D0-4F84-B166-A8E781A11C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73" imgH="476" progId="TCLayout.ActiveDocument.1">
                  <p:embed/>
                </p:oleObj>
              </mc:Choice>
              <mc:Fallback>
                <p:oleObj name="think-cell Slide" r:id="rId37" imgW="473" imgH="476" progId="TCLayout.ActiveDocument.1">
                  <p:embed/>
                  <p:pic>
                    <p:nvPicPr>
                      <p:cNvPr id="13" name="Object 6" hidden="1">
                        <a:extLst>
                          <a:ext uri="{FF2B5EF4-FFF2-40B4-BE49-F238E27FC236}">
                            <a16:creationId xmlns:a16="http://schemas.microsoft.com/office/drawing/2014/main" id="{9FFA63BA-82D0-4F84-B166-A8E781A11C8E}"/>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grpSp>
        <p:nvGrpSpPr>
          <p:cNvPr id="264" name="Group 263">
            <a:extLst>
              <a:ext uri="{FF2B5EF4-FFF2-40B4-BE49-F238E27FC236}">
                <a16:creationId xmlns:a16="http://schemas.microsoft.com/office/drawing/2014/main" id="{D4046D9E-3502-4384-B88D-91853EBF6527}"/>
              </a:ext>
            </a:extLst>
          </p:cNvPr>
          <p:cNvGrpSpPr/>
          <p:nvPr/>
        </p:nvGrpSpPr>
        <p:grpSpPr>
          <a:xfrm>
            <a:off x="6433557" y="-1612524"/>
            <a:ext cx="7666338" cy="8693012"/>
            <a:chOff x="5160786" y="-3348620"/>
            <a:chExt cx="9424480" cy="10686604"/>
          </a:xfrm>
        </p:grpSpPr>
        <p:sp>
          <p:nvSpPr>
            <p:cNvPr id="178" name="Freeform 8">
              <a:extLst>
                <a:ext uri="{FF2B5EF4-FFF2-40B4-BE49-F238E27FC236}">
                  <a16:creationId xmlns:a16="http://schemas.microsoft.com/office/drawing/2014/main" id="{736A4996-3AD3-4295-A2DC-0D7D1EA56F0E}"/>
                </a:ext>
              </a:extLst>
            </p:cNvPr>
            <p:cNvSpPr>
              <a:spLocks noEditPoints="1"/>
            </p:cNvSpPr>
            <p:nvPr/>
          </p:nvSpPr>
          <p:spPr bwMode="gray">
            <a:xfrm>
              <a:off x="6656970" y="1525086"/>
              <a:ext cx="145173" cy="207392"/>
            </a:xfrm>
            <a:custGeom>
              <a:avLst/>
              <a:gdLst>
                <a:gd name="T0" fmla="*/ 22 w 49"/>
                <a:gd name="T1" fmla="*/ 11 h 70"/>
                <a:gd name="T2" fmla="*/ 26 w 49"/>
                <a:gd name="T3" fmla="*/ 19 h 70"/>
                <a:gd name="T4" fmla="*/ 26 w 49"/>
                <a:gd name="T5" fmla="*/ 22 h 70"/>
                <a:gd name="T6" fmla="*/ 27 w 49"/>
                <a:gd name="T7" fmla="*/ 31 h 70"/>
                <a:gd name="T8" fmla="*/ 21 w 49"/>
                <a:gd name="T9" fmla="*/ 22 h 70"/>
                <a:gd name="T10" fmla="*/ 15 w 49"/>
                <a:gd name="T11" fmla="*/ 14 h 70"/>
                <a:gd name="T12" fmla="*/ 15 w 49"/>
                <a:gd name="T13" fmla="*/ 7 h 70"/>
                <a:gd name="T14" fmla="*/ 19 w 49"/>
                <a:gd name="T15" fmla="*/ 2 h 70"/>
                <a:gd name="T16" fmla="*/ 26 w 49"/>
                <a:gd name="T17" fmla="*/ 5 h 70"/>
                <a:gd name="T18" fmla="*/ 29 w 49"/>
                <a:gd name="T19" fmla="*/ 7 h 70"/>
                <a:gd name="T20" fmla="*/ 29 w 49"/>
                <a:gd name="T21" fmla="*/ 11 h 70"/>
                <a:gd name="T22" fmla="*/ 32 w 49"/>
                <a:gd name="T23" fmla="*/ 14 h 70"/>
                <a:gd name="T24" fmla="*/ 32 w 49"/>
                <a:gd name="T25" fmla="*/ 17 h 70"/>
                <a:gd name="T26" fmla="*/ 31 w 49"/>
                <a:gd name="T27" fmla="*/ 24 h 70"/>
                <a:gd name="T28" fmla="*/ 27 w 49"/>
                <a:gd name="T29" fmla="*/ 12 h 70"/>
                <a:gd name="T30" fmla="*/ 29 w 49"/>
                <a:gd name="T31" fmla="*/ 21 h 70"/>
                <a:gd name="T32" fmla="*/ 22 w 49"/>
                <a:gd name="T33" fmla="*/ 12 h 70"/>
                <a:gd name="T34" fmla="*/ 22 w 49"/>
                <a:gd name="T35" fmla="*/ 2 h 70"/>
                <a:gd name="T36" fmla="*/ 14 w 49"/>
                <a:gd name="T37" fmla="*/ 14 h 70"/>
                <a:gd name="T38" fmla="*/ 17 w 49"/>
                <a:gd name="T39" fmla="*/ 21 h 70"/>
                <a:gd name="T40" fmla="*/ 12 w 49"/>
                <a:gd name="T41" fmla="*/ 22 h 70"/>
                <a:gd name="T42" fmla="*/ 10 w 49"/>
                <a:gd name="T43" fmla="*/ 17 h 70"/>
                <a:gd name="T44" fmla="*/ 9 w 49"/>
                <a:gd name="T45" fmla="*/ 14 h 70"/>
                <a:gd name="T46" fmla="*/ 17 w 49"/>
                <a:gd name="T47" fmla="*/ 50 h 70"/>
                <a:gd name="T48" fmla="*/ 19 w 49"/>
                <a:gd name="T49" fmla="*/ 55 h 70"/>
                <a:gd name="T50" fmla="*/ 19 w 49"/>
                <a:gd name="T51" fmla="*/ 58 h 70"/>
                <a:gd name="T52" fmla="*/ 21 w 49"/>
                <a:gd name="T53" fmla="*/ 63 h 70"/>
                <a:gd name="T54" fmla="*/ 21 w 49"/>
                <a:gd name="T55" fmla="*/ 65 h 70"/>
                <a:gd name="T56" fmla="*/ 15 w 49"/>
                <a:gd name="T57" fmla="*/ 63 h 70"/>
                <a:gd name="T58" fmla="*/ 14 w 49"/>
                <a:gd name="T59" fmla="*/ 53 h 70"/>
                <a:gd name="T60" fmla="*/ 24 w 49"/>
                <a:gd name="T61" fmla="*/ 34 h 70"/>
                <a:gd name="T62" fmla="*/ 27 w 49"/>
                <a:gd name="T63" fmla="*/ 41 h 70"/>
                <a:gd name="T64" fmla="*/ 24 w 49"/>
                <a:gd name="T65" fmla="*/ 41 h 70"/>
                <a:gd name="T66" fmla="*/ 22 w 49"/>
                <a:gd name="T67" fmla="*/ 38 h 70"/>
                <a:gd name="T68" fmla="*/ 19 w 49"/>
                <a:gd name="T69" fmla="*/ 31 h 70"/>
                <a:gd name="T70" fmla="*/ 39 w 49"/>
                <a:gd name="T71" fmla="*/ 14 h 70"/>
                <a:gd name="T72" fmla="*/ 38 w 49"/>
                <a:gd name="T73" fmla="*/ 12 h 70"/>
                <a:gd name="T74" fmla="*/ 36 w 49"/>
                <a:gd name="T75" fmla="*/ 14 h 70"/>
                <a:gd name="T76" fmla="*/ 38 w 49"/>
                <a:gd name="T77" fmla="*/ 5 h 70"/>
                <a:gd name="T78" fmla="*/ 39 w 49"/>
                <a:gd name="T79" fmla="*/ 11 h 70"/>
                <a:gd name="T80" fmla="*/ 43 w 49"/>
                <a:gd name="T81" fmla="*/ 11 h 70"/>
                <a:gd name="T82" fmla="*/ 39 w 49"/>
                <a:gd name="T83" fmla="*/ 0 h 70"/>
                <a:gd name="T84" fmla="*/ 36 w 49"/>
                <a:gd name="T85" fmla="*/ 2 h 70"/>
                <a:gd name="T86" fmla="*/ 36 w 49"/>
                <a:gd name="T87" fmla="*/ 11 h 70"/>
                <a:gd name="T88" fmla="*/ 36 w 49"/>
                <a:gd name="T89" fmla="*/ 2 h 70"/>
                <a:gd name="T90" fmla="*/ 34 w 49"/>
                <a:gd name="T91" fmla="*/ 9 h 70"/>
                <a:gd name="T92" fmla="*/ 32 w 49"/>
                <a:gd name="T93" fmla="*/ 7 h 70"/>
                <a:gd name="T94" fmla="*/ 46 w 49"/>
                <a:gd name="T95" fmla="*/ 11 h 70"/>
                <a:gd name="T96" fmla="*/ 46 w 49"/>
                <a:gd name="T97" fmla="*/ 9 h 70"/>
                <a:gd name="T98" fmla="*/ 46 w 49"/>
                <a:gd name="T99" fmla="*/ 9 h 70"/>
                <a:gd name="T100" fmla="*/ 31 w 49"/>
                <a:gd name="T101" fmla="*/ 31 h 70"/>
                <a:gd name="T102" fmla="*/ 22 w 49"/>
                <a:gd name="T103" fmla="*/ 41 h 70"/>
                <a:gd name="T104" fmla="*/ 4 w 49"/>
                <a:gd name="T105" fmla="*/ 14 h 70"/>
                <a:gd name="T106" fmla="*/ 21 w 49"/>
                <a:gd name="T107" fmla="*/ 28 h 70"/>
                <a:gd name="T108" fmla="*/ 22 w 49"/>
                <a:gd name="T109" fmla="*/ 4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9" h="70">
                  <a:moveTo>
                    <a:pt x="21" y="4"/>
                  </a:moveTo>
                  <a:lnTo>
                    <a:pt x="21" y="5"/>
                  </a:lnTo>
                  <a:lnTo>
                    <a:pt x="21" y="7"/>
                  </a:lnTo>
                  <a:lnTo>
                    <a:pt x="22" y="9"/>
                  </a:lnTo>
                  <a:lnTo>
                    <a:pt x="22" y="11"/>
                  </a:lnTo>
                  <a:lnTo>
                    <a:pt x="22" y="12"/>
                  </a:lnTo>
                  <a:lnTo>
                    <a:pt x="24" y="16"/>
                  </a:lnTo>
                  <a:lnTo>
                    <a:pt x="26" y="17"/>
                  </a:lnTo>
                  <a:lnTo>
                    <a:pt x="22" y="19"/>
                  </a:lnTo>
                  <a:lnTo>
                    <a:pt x="26" y="19"/>
                  </a:lnTo>
                  <a:lnTo>
                    <a:pt x="27" y="21"/>
                  </a:lnTo>
                  <a:lnTo>
                    <a:pt x="27" y="22"/>
                  </a:lnTo>
                  <a:lnTo>
                    <a:pt x="26" y="22"/>
                  </a:lnTo>
                  <a:lnTo>
                    <a:pt x="24" y="21"/>
                  </a:lnTo>
                  <a:lnTo>
                    <a:pt x="26" y="22"/>
                  </a:lnTo>
                  <a:lnTo>
                    <a:pt x="27" y="24"/>
                  </a:lnTo>
                  <a:lnTo>
                    <a:pt x="27" y="26"/>
                  </a:lnTo>
                  <a:lnTo>
                    <a:pt x="27" y="28"/>
                  </a:lnTo>
                  <a:lnTo>
                    <a:pt x="27" y="29"/>
                  </a:lnTo>
                  <a:lnTo>
                    <a:pt x="27" y="31"/>
                  </a:lnTo>
                  <a:lnTo>
                    <a:pt x="26" y="29"/>
                  </a:lnTo>
                  <a:lnTo>
                    <a:pt x="24" y="28"/>
                  </a:lnTo>
                  <a:lnTo>
                    <a:pt x="22" y="26"/>
                  </a:lnTo>
                  <a:lnTo>
                    <a:pt x="22" y="22"/>
                  </a:lnTo>
                  <a:lnTo>
                    <a:pt x="21" y="22"/>
                  </a:lnTo>
                  <a:lnTo>
                    <a:pt x="21" y="21"/>
                  </a:lnTo>
                  <a:lnTo>
                    <a:pt x="21" y="19"/>
                  </a:lnTo>
                  <a:lnTo>
                    <a:pt x="21" y="17"/>
                  </a:lnTo>
                  <a:lnTo>
                    <a:pt x="17" y="16"/>
                  </a:lnTo>
                  <a:lnTo>
                    <a:pt x="15" y="14"/>
                  </a:lnTo>
                  <a:lnTo>
                    <a:pt x="17" y="14"/>
                  </a:lnTo>
                  <a:lnTo>
                    <a:pt x="15" y="14"/>
                  </a:lnTo>
                  <a:lnTo>
                    <a:pt x="14" y="11"/>
                  </a:lnTo>
                  <a:lnTo>
                    <a:pt x="15" y="9"/>
                  </a:lnTo>
                  <a:lnTo>
                    <a:pt x="15" y="7"/>
                  </a:lnTo>
                  <a:lnTo>
                    <a:pt x="17" y="7"/>
                  </a:lnTo>
                  <a:lnTo>
                    <a:pt x="15" y="5"/>
                  </a:lnTo>
                  <a:lnTo>
                    <a:pt x="17" y="5"/>
                  </a:lnTo>
                  <a:lnTo>
                    <a:pt x="17" y="2"/>
                  </a:lnTo>
                  <a:lnTo>
                    <a:pt x="19" y="2"/>
                  </a:lnTo>
                  <a:lnTo>
                    <a:pt x="21" y="4"/>
                  </a:lnTo>
                  <a:close/>
                  <a:moveTo>
                    <a:pt x="26" y="2"/>
                  </a:moveTo>
                  <a:lnTo>
                    <a:pt x="27" y="2"/>
                  </a:lnTo>
                  <a:lnTo>
                    <a:pt x="27" y="4"/>
                  </a:lnTo>
                  <a:lnTo>
                    <a:pt x="26" y="5"/>
                  </a:lnTo>
                  <a:lnTo>
                    <a:pt x="26" y="7"/>
                  </a:lnTo>
                  <a:lnTo>
                    <a:pt x="26" y="9"/>
                  </a:lnTo>
                  <a:lnTo>
                    <a:pt x="26" y="5"/>
                  </a:lnTo>
                  <a:lnTo>
                    <a:pt x="29" y="5"/>
                  </a:lnTo>
                  <a:lnTo>
                    <a:pt x="29" y="7"/>
                  </a:lnTo>
                  <a:lnTo>
                    <a:pt x="27" y="9"/>
                  </a:lnTo>
                  <a:lnTo>
                    <a:pt x="31" y="7"/>
                  </a:lnTo>
                  <a:lnTo>
                    <a:pt x="31" y="9"/>
                  </a:lnTo>
                  <a:lnTo>
                    <a:pt x="31" y="11"/>
                  </a:lnTo>
                  <a:lnTo>
                    <a:pt x="29" y="11"/>
                  </a:lnTo>
                  <a:lnTo>
                    <a:pt x="29" y="12"/>
                  </a:lnTo>
                  <a:lnTo>
                    <a:pt x="32" y="12"/>
                  </a:lnTo>
                  <a:lnTo>
                    <a:pt x="34" y="14"/>
                  </a:lnTo>
                  <a:lnTo>
                    <a:pt x="34" y="16"/>
                  </a:lnTo>
                  <a:lnTo>
                    <a:pt x="32" y="14"/>
                  </a:lnTo>
                  <a:lnTo>
                    <a:pt x="31" y="14"/>
                  </a:lnTo>
                  <a:lnTo>
                    <a:pt x="31" y="16"/>
                  </a:lnTo>
                  <a:lnTo>
                    <a:pt x="32" y="16"/>
                  </a:lnTo>
                  <a:lnTo>
                    <a:pt x="34" y="19"/>
                  </a:lnTo>
                  <a:lnTo>
                    <a:pt x="32" y="17"/>
                  </a:lnTo>
                  <a:lnTo>
                    <a:pt x="31" y="17"/>
                  </a:lnTo>
                  <a:lnTo>
                    <a:pt x="32" y="19"/>
                  </a:lnTo>
                  <a:lnTo>
                    <a:pt x="32" y="21"/>
                  </a:lnTo>
                  <a:lnTo>
                    <a:pt x="31" y="21"/>
                  </a:lnTo>
                  <a:lnTo>
                    <a:pt x="31" y="24"/>
                  </a:lnTo>
                  <a:lnTo>
                    <a:pt x="29" y="21"/>
                  </a:lnTo>
                  <a:lnTo>
                    <a:pt x="31" y="19"/>
                  </a:lnTo>
                  <a:lnTo>
                    <a:pt x="31" y="17"/>
                  </a:lnTo>
                  <a:lnTo>
                    <a:pt x="29" y="16"/>
                  </a:lnTo>
                  <a:lnTo>
                    <a:pt x="27" y="12"/>
                  </a:lnTo>
                  <a:lnTo>
                    <a:pt x="27" y="14"/>
                  </a:lnTo>
                  <a:lnTo>
                    <a:pt x="29" y="16"/>
                  </a:lnTo>
                  <a:lnTo>
                    <a:pt x="29" y="17"/>
                  </a:lnTo>
                  <a:lnTo>
                    <a:pt x="29" y="19"/>
                  </a:lnTo>
                  <a:lnTo>
                    <a:pt x="29" y="21"/>
                  </a:lnTo>
                  <a:lnTo>
                    <a:pt x="27" y="19"/>
                  </a:lnTo>
                  <a:lnTo>
                    <a:pt x="27" y="17"/>
                  </a:lnTo>
                  <a:lnTo>
                    <a:pt x="26" y="16"/>
                  </a:lnTo>
                  <a:lnTo>
                    <a:pt x="24" y="14"/>
                  </a:lnTo>
                  <a:lnTo>
                    <a:pt x="22" y="12"/>
                  </a:lnTo>
                  <a:lnTo>
                    <a:pt x="22" y="11"/>
                  </a:lnTo>
                  <a:lnTo>
                    <a:pt x="22" y="7"/>
                  </a:lnTo>
                  <a:lnTo>
                    <a:pt x="22" y="4"/>
                  </a:lnTo>
                  <a:lnTo>
                    <a:pt x="21" y="4"/>
                  </a:lnTo>
                  <a:lnTo>
                    <a:pt x="22" y="2"/>
                  </a:lnTo>
                  <a:lnTo>
                    <a:pt x="22" y="4"/>
                  </a:lnTo>
                  <a:lnTo>
                    <a:pt x="24" y="2"/>
                  </a:lnTo>
                  <a:lnTo>
                    <a:pt x="26" y="2"/>
                  </a:lnTo>
                  <a:close/>
                  <a:moveTo>
                    <a:pt x="14" y="12"/>
                  </a:moveTo>
                  <a:lnTo>
                    <a:pt x="14" y="14"/>
                  </a:lnTo>
                  <a:lnTo>
                    <a:pt x="15" y="14"/>
                  </a:lnTo>
                  <a:lnTo>
                    <a:pt x="17" y="17"/>
                  </a:lnTo>
                  <a:lnTo>
                    <a:pt x="19" y="17"/>
                  </a:lnTo>
                  <a:lnTo>
                    <a:pt x="19" y="19"/>
                  </a:lnTo>
                  <a:lnTo>
                    <a:pt x="17" y="21"/>
                  </a:lnTo>
                  <a:lnTo>
                    <a:pt x="15" y="21"/>
                  </a:lnTo>
                  <a:lnTo>
                    <a:pt x="14" y="21"/>
                  </a:lnTo>
                  <a:lnTo>
                    <a:pt x="15" y="22"/>
                  </a:lnTo>
                  <a:lnTo>
                    <a:pt x="14" y="22"/>
                  </a:lnTo>
                  <a:lnTo>
                    <a:pt x="12" y="22"/>
                  </a:lnTo>
                  <a:lnTo>
                    <a:pt x="10" y="21"/>
                  </a:lnTo>
                  <a:lnTo>
                    <a:pt x="10" y="19"/>
                  </a:lnTo>
                  <a:lnTo>
                    <a:pt x="9" y="19"/>
                  </a:lnTo>
                  <a:lnTo>
                    <a:pt x="7" y="17"/>
                  </a:lnTo>
                  <a:lnTo>
                    <a:pt x="10" y="17"/>
                  </a:lnTo>
                  <a:lnTo>
                    <a:pt x="9" y="16"/>
                  </a:lnTo>
                  <a:lnTo>
                    <a:pt x="7" y="16"/>
                  </a:lnTo>
                  <a:lnTo>
                    <a:pt x="7" y="14"/>
                  </a:lnTo>
                  <a:lnTo>
                    <a:pt x="7" y="12"/>
                  </a:lnTo>
                  <a:lnTo>
                    <a:pt x="9" y="14"/>
                  </a:lnTo>
                  <a:lnTo>
                    <a:pt x="10" y="14"/>
                  </a:lnTo>
                  <a:lnTo>
                    <a:pt x="10" y="12"/>
                  </a:lnTo>
                  <a:lnTo>
                    <a:pt x="12" y="12"/>
                  </a:lnTo>
                  <a:lnTo>
                    <a:pt x="14" y="12"/>
                  </a:lnTo>
                  <a:close/>
                  <a:moveTo>
                    <a:pt x="17" y="50"/>
                  </a:moveTo>
                  <a:lnTo>
                    <a:pt x="15" y="51"/>
                  </a:lnTo>
                  <a:lnTo>
                    <a:pt x="17" y="51"/>
                  </a:lnTo>
                  <a:lnTo>
                    <a:pt x="14" y="53"/>
                  </a:lnTo>
                  <a:lnTo>
                    <a:pt x="17" y="55"/>
                  </a:lnTo>
                  <a:lnTo>
                    <a:pt x="19" y="55"/>
                  </a:lnTo>
                  <a:lnTo>
                    <a:pt x="21" y="57"/>
                  </a:lnTo>
                  <a:lnTo>
                    <a:pt x="21" y="58"/>
                  </a:lnTo>
                  <a:lnTo>
                    <a:pt x="19" y="58"/>
                  </a:lnTo>
                  <a:lnTo>
                    <a:pt x="17" y="57"/>
                  </a:lnTo>
                  <a:lnTo>
                    <a:pt x="19" y="58"/>
                  </a:lnTo>
                  <a:lnTo>
                    <a:pt x="17" y="58"/>
                  </a:lnTo>
                  <a:lnTo>
                    <a:pt x="21" y="60"/>
                  </a:lnTo>
                  <a:lnTo>
                    <a:pt x="21" y="62"/>
                  </a:lnTo>
                  <a:lnTo>
                    <a:pt x="19" y="62"/>
                  </a:lnTo>
                  <a:lnTo>
                    <a:pt x="21" y="63"/>
                  </a:lnTo>
                  <a:lnTo>
                    <a:pt x="19" y="63"/>
                  </a:lnTo>
                  <a:lnTo>
                    <a:pt x="17" y="63"/>
                  </a:lnTo>
                  <a:lnTo>
                    <a:pt x="17" y="65"/>
                  </a:lnTo>
                  <a:lnTo>
                    <a:pt x="19" y="65"/>
                  </a:lnTo>
                  <a:lnTo>
                    <a:pt x="21" y="65"/>
                  </a:lnTo>
                  <a:lnTo>
                    <a:pt x="21" y="67"/>
                  </a:lnTo>
                  <a:lnTo>
                    <a:pt x="21" y="70"/>
                  </a:lnTo>
                  <a:lnTo>
                    <a:pt x="17" y="68"/>
                  </a:lnTo>
                  <a:lnTo>
                    <a:pt x="17" y="67"/>
                  </a:lnTo>
                  <a:lnTo>
                    <a:pt x="15" y="63"/>
                  </a:lnTo>
                  <a:lnTo>
                    <a:pt x="14" y="60"/>
                  </a:lnTo>
                  <a:lnTo>
                    <a:pt x="15" y="58"/>
                  </a:lnTo>
                  <a:lnTo>
                    <a:pt x="14" y="58"/>
                  </a:lnTo>
                  <a:lnTo>
                    <a:pt x="14" y="55"/>
                  </a:lnTo>
                  <a:lnTo>
                    <a:pt x="14" y="53"/>
                  </a:lnTo>
                  <a:lnTo>
                    <a:pt x="14" y="51"/>
                  </a:lnTo>
                  <a:lnTo>
                    <a:pt x="14" y="50"/>
                  </a:lnTo>
                  <a:lnTo>
                    <a:pt x="17" y="50"/>
                  </a:lnTo>
                  <a:close/>
                  <a:moveTo>
                    <a:pt x="22" y="33"/>
                  </a:moveTo>
                  <a:lnTo>
                    <a:pt x="24" y="34"/>
                  </a:lnTo>
                  <a:lnTo>
                    <a:pt x="26" y="36"/>
                  </a:lnTo>
                  <a:lnTo>
                    <a:pt x="27" y="38"/>
                  </a:lnTo>
                  <a:lnTo>
                    <a:pt x="27" y="39"/>
                  </a:lnTo>
                  <a:lnTo>
                    <a:pt x="29" y="39"/>
                  </a:lnTo>
                  <a:lnTo>
                    <a:pt x="27" y="41"/>
                  </a:lnTo>
                  <a:lnTo>
                    <a:pt x="26" y="43"/>
                  </a:lnTo>
                  <a:lnTo>
                    <a:pt x="27" y="45"/>
                  </a:lnTo>
                  <a:lnTo>
                    <a:pt x="26" y="45"/>
                  </a:lnTo>
                  <a:lnTo>
                    <a:pt x="24" y="43"/>
                  </a:lnTo>
                  <a:lnTo>
                    <a:pt x="24" y="41"/>
                  </a:lnTo>
                  <a:lnTo>
                    <a:pt x="24" y="39"/>
                  </a:lnTo>
                  <a:lnTo>
                    <a:pt x="24" y="38"/>
                  </a:lnTo>
                  <a:lnTo>
                    <a:pt x="22" y="38"/>
                  </a:lnTo>
                  <a:lnTo>
                    <a:pt x="22" y="39"/>
                  </a:lnTo>
                  <a:lnTo>
                    <a:pt x="22" y="38"/>
                  </a:lnTo>
                  <a:lnTo>
                    <a:pt x="21" y="38"/>
                  </a:lnTo>
                  <a:lnTo>
                    <a:pt x="21" y="36"/>
                  </a:lnTo>
                  <a:lnTo>
                    <a:pt x="21" y="34"/>
                  </a:lnTo>
                  <a:lnTo>
                    <a:pt x="21" y="33"/>
                  </a:lnTo>
                  <a:lnTo>
                    <a:pt x="19" y="31"/>
                  </a:lnTo>
                  <a:lnTo>
                    <a:pt x="22" y="33"/>
                  </a:lnTo>
                  <a:close/>
                  <a:moveTo>
                    <a:pt x="43" y="12"/>
                  </a:moveTo>
                  <a:lnTo>
                    <a:pt x="41" y="14"/>
                  </a:lnTo>
                  <a:lnTo>
                    <a:pt x="39" y="11"/>
                  </a:lnTo>
                  <a:lnTo>
                    <a:pt x="39" y="14"/>
                  </a:lnTo>
                  <a:lnTo>
                    <a:pt x="41" y="14"/>
                  </a:lnTo>
                  <a:lnTo>
                    <a:pt x="41" y="17"/>
                  </a:lnTo>
                  <a:lnTo>
                    <a:pt x="38" y="17"/>
                  </a:lnTo>
                  <a:lnTo>
                    <a:pt x="38" y="14"/>
                  </a:lnTo>
                  <a:lnTo>
                    <a:pt x="38" y="12"/>
                  </a:lnTo>
                  <a:lnTo>
                    <a:pt x="38" y="16"/>
                  </a:lnTo>
                  <a:lnTo>
                    <a:pt x="38" y="17"/>
                  </a:lnTo>
                  <a:lnTo>
                    <a:pt x="36" y="17"/>
                  </a:lnTo>
                  <a:lnTo>
                    <a:pt x="36" y="16"/>
                  </a:lnTo>
                  <a:lnTo>
                    <a:pt x="36" y="14"/>
                  </a:lnTo>
                  <a:lnTo>
                    <a:pt x="36" y="12"/>
                  </a:lnTo>
                  <a:lnTo>
                    <a:pt x="38" y="11"/>
                  </a:lnTo>
                  <a:lnTo>
                    <a:pt x="38" y="9"/>
                  </a:lnTo>
                  <a:lnTo>
                    <a:pt x="38" y="7"/>
                  </a:lnTo>
                  <a:lnTo>
                    <a:pt x="38" y="5"/>
                  </a:lnTo>
                  <a:lnTo>
                    <a:pt x="38" y="4"/>
                  </a:lnTo>
                  <a:lnTo>
                    <a:pt x="39" y="4"/>
                  </a:lnTo>
                  <a:lnTo>
                    <a:pt x="39" y="5"/>
                  </a:lnTo>
                  <a:lnTo>
                    <a:pt x="39" y="9"/>
                  </a:lnTo>
                  <a:lnTo>
                    <a:pt x="39" y="11"/>
                  </a:lnTo>
                  <a:lnTo>
                    <a:pt x="43" y="12"/>
                  </a:lnTo>
                  <a:close/>
                  <a:moveTo>
                    <a:pt x="41" y="9"/>
                  </a:moveTo>
                  <a:lnTo>
                    <a:pt x="43" y="7"/>
                  </a:lnTo>
                  <a:lnTo>
                    <a:pt x="44" y="9"/>
                  </a:lnTo>
                  <a:lnTo>
                    <a:pt x="43" y="11"/>
                  </a:lnTo>
                  <a:lnTo>
                    <a:pt x="39" y="9"/>
                  </a:lnTo>
                  <a:lnTo>
                    <a:pt x="39" y="5"/>
                  </a:lnTo>
                  <a:lnTo>
                    <a:pt x="39" y="4"/>
                  </a:lnTo>
                  <a:lnTo>
                    <a:pt x="39" y="2"/>
                  </a:lnTo>
                  <a:lnTo>
                    <a:pt x="39" y="0"/>
                  </a:lnTo>
                  <a:lnTo>
                    <a:pt x="41" y="2"/>
                  </a:lnTo>
                  <a:lnTo>
                    <a:pt x="41" y="5"/>
                  </a:lnTo>
                  <a:lnTo>
                    <a:pt x="41" y="7"/>
                  </a:lnTo>
                  <a:lnTo>
                    <a:pt x="41" y="9"/>
                  </a:lnTo>
                  <a:close/>
                  <a:moveTo>
                    <a:pt x="36" y="2"/>
                  </a:moveTo>
                  <a:lnTo>
                    <a:pt x="36" y="4"/>
                  </a:lnTo>
                  <a:lnTo>
                    <a:pt x="36" y="5"/>
                  </a:lnTo>
                  <a:lnTo>
                    <a:pt x="38" y="7"/>
                  </a:lnTo>
                  <a:lnTo>
                    <a:pt x="38" y="11"/>
                  </a:lnTo>
                  <a:lnTo>
                    <a:pt x="36" y="11"/>
                  </a:lnTo>
                  <a:lnTo>
                    <a:pt x="34" y="9"/>
                  </a:lnTo>
                  <a:lnTo>
                    <a:pt x="34" y="7"/>
                  </a:lnTo>
                  <a:lnTo>
                    <a:pt x="34" y="5"/>
                  </a:lnTo>
                  <a:lnTo>
                    <a:pt x="34" y="4"/>
                  </a:lnTo>
                  <a:lnTo>
                    <a:pt x="36" y="2"/>
                  </a:lnTo>
                  <a:close/>
                  <a:moveTo>
                    <a:pt x="32" y="0"/>
                  </a:moveTo>
                  <a:lnTo>
                    <a:pt x="32" y="2"/>
                  </a:lnTo>
                  <a:lnTo>
                    <a:pt x="32" y="4"/>
                  </a:lnTo>
                  <a:lnTo>
                    <a:pt x="32" y="5"/>
                  </a:lnTo>
                  <a:lnTo>
                    <a:pt x="34" y="9"/>
                  </a:lnTo>
                  <a:lnTo>
                    <a:pt x="34" y="11"/>
                  </a:lnTo>
                  <a:lnTo>
                    <a:pt x="34" y="12"/>
                  </a:lnTo>
                  <a:lnTo>
                    <a:pt x="32" y="11"/>
                  </a:lnTo>
                  <a:lnTo>
                    <a:pt x="32" y="9"/>
                  </a:lnTo>
                  <a:lnTo>
                    <a:pt x="32" y="7"/>
                  </a:lnTo>
                  <a:lnTo>
                    <a:pt x="32" y="5"/>
                  </a:lnTo>
                  <a:lnTo>
                    <a:pt x="31" y="4"/>
                  </a:lnTo>
                  <a:lnTo>
                    <a:pt x="32" y="0"/>
                  </a:lnTo>
                  <a:close/>
                  <a:moveTo>
                    <a:pt x="48" y="11"/>
                  </a:moveTo>
                  <a:lnTo>
                    <a:pt x="46" y="11"/>
                  </a:lnTo>
                  <a:lnTo>
                    <a:pt x="46" y="14"/>
                  </a:lnTo>
                  <a:lnTo>
                    <a:pt x="43" y="14"/>
                  </a:lnTo>
                  <a:lnTo>
                    <a:pt x="43" y="11"/>
                  </a:lnTo>
                  <a:lnTo>
                    <a:pt x="44" y="11"/>
                  </a:lnTo>
                  <a:lnTo>
                    <a:pt x="46" y="9"/>
                  </a:lnTo>
                  <a:lnTo>
                    <a:pt x="48" y="11"/>
                  </a:lnTo>
                  <a:close/>
                  <a:moveTo>
                    <a:pt x="48" y="7"/>
                  </a:moveTo>
                  <a:lnTo>
                    <a:pt x="49" y="7"/>
                  </a:lnTo>
                  <a:lnTo>
                    <a:pt x="48" y="9"/>
                  </a:lnTo>
                  <a:lnTo>
                    <a:pt x="46" y="9"/>
                  </a:lnTo>
                  <a:lnTo>
                    <a:pt x="46" y="5"/>
                  </a:lnTo>
                  <a:lnTo>
                    <a:pt x="48" y="7"/>
                  </a:lnTo>
                  <a:close/>
                  <a:moveTo>
                    <a:pt x="31" y="28"/>
                  </a:moveTo>
                  <a:lnTo>
                    <a:pt x="31" y="29"/>
                  </a:lnTo>
                  <a:lnTo>
                    <a:pt x="31" y="31"/>
                  </a:lnTo>
                  <a:lnTo>
                    <a:pt x="29" y="29"/>
                  </a:lnTo>
                  <a:lnTo>
                    <a:pt x="29" y="26"/>
                  </a:lnTo>
                  <a:lnTo>
                    <a:pt x="31" y="28"/>
                  </a:lnTo>
                  <a:close/>
                  <a:moveTo>
                    <a:pt x="21" y="41"/>
                  </a:moveTo>
                  <a:lnTo>
                    <a:pt x="22" y="41"/>
                  </a:lnTo>
                  <a:lnTo>
                    <a:pt x="22" y="45"/>
                  </a:lnTo>
                  <a:lnTo>
                    <a:pt x="21" y="43"/>
                  </a:lnTo>
                  <a:lnTo>
                    <a:pt x="21" y="41"/>
                  </a:lnTo>
                  <a:close/>
                  <a:moveTo>
                    <a:pt x="2" y="12"/>
                  </a:moveTo>
                  <a:lnTo>
                    <a:pt x="4" y="14"/>
                  </a:lnTo>
                  <a:lnTo>
                    <a:pt x="0" y="14"/>
                  </a:lnTo>
                  <a:lnTo>
                    <a:pt x="0" y="12"/>
                  </a:lnTo>
                  <a:lnTo>
                    <a:pt x="2" y="12"/>
                  </a:lnTo>
                  <a:close/>
                  <a:moveTo>
                    <a:pt x="22" y="31"/>
                  </a:moveTo>
                  <a:lnTo>
                    <a:pt x="21" y="28"/>
                  </a:lnTo>
                  <a:lnTo>
                    <a:pt x="22" y="29"/>
                  </a:lnTo>
                  <a:lnTo>
                    <a:pt x="22" y="31"/>
                  </a:lnTo>
                  <a:close/>
                  <a:moveTo>
                    <a:pt x="22" y="48"/>
                  </a:moveTo>
                  <a:lnTo>
                    <a:pt x="22" y="50"/>
                  </a:lnTo>
                  <a:lnTo>
                    <a:pt x="22" y="48"/>
                  </a:lnTo>
                  <a:close/>
                  <a:moveTo>
                    <a:pt x="21" y="28"/>
                  </a:moveTo>
                  <a:lnTo>
                    <a:pt x="19" y="26"/>
                  </a:lnTo>
                  <a:lnTo>
                    <a:pt x="21" y="26"/>
                  </a:lnTo>
                  <a:lnTo>
                    <a:pt x="21" y="2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180" name="Freeform 10">
              <a:extLst>
                <a:ext uri="{FF2B5EF4-FFF2-40B4-BE49-F238E27FC236}">
                  <a16:creationId xmlns:a16="http://schemas.microsoft.com/office/drawing/2014/main" id="{C2DD43B2-C98B-4E4B-834D-077630D98500}"/>
                </a:ext>
              </a:extLst>
            </p:cNvPr>
            <p:cNvSpPr>
              <a:spLocks noEditPoints="1"/>
            </p:cNvSpPr>
            <p:nvPr/>
          </p:nvSpPr>
          <p:spPr bwMode="gray">
            <a:xfrm>
              <a:off x="5791849" y="2926463"/>
              <a:ext cx="639952" cy="731798"/>
            </a:xfrm>
            <a:custGeom>
              <a:avLst/>
              <a:gdLst>
                <a:gd name="T0" fmla="*/ 155 w 216"/>
                <a:gd name="T1" fmla="*/ 45 h 247"/>
                <a:gd name="T2" fmla="*/ 144 w 216"/>
                <a:gd name="T3" fmla="*/ 63 h 247"/>
                <a:gd name="T4" fmla="*/ 168 w 216"/>
                <a:gd name="T5" fmla="*/ 87 h 247"/>
                <a:gd name="T6" fmla="*/ 189 w 216"/>
                <a:gd name="T7" fmla="*/ 73 h 247"/>
                <a:gd name="T8" fmla="*/ 211 w 216"/>
                <a:gd name="T9" fmla="*/ 97 h 247"/>
                <a:gd name="T10" fmla="*/ 209 w 216"/>
                <a:gd name="T11" fmla="*/ 121 h 247"/>
                <a:gd name="T12" fmla="*/ 206 w 216"/>
                <a:gd name="T13" fmla="*/ 148 h 247"/>
                <a:gd name="T14" fmla="*/ 204 w 216"/>
                <a:gd name="T15" fmla="*/ 162 h 247"/>
                <a:gd name="T16" fmla="*/ 189 w 216"/>
                <a:gd name="T17" fmla="*/ 206 h 247"/>
                <a:gd name="T18" fmla="*/ 170 w 216"/>
                <a:gd name="T19" fmla="*/ 227 h 247"/>
                <a:gd name="T20" fmla="*/ 155 w 216"/>
                <a:gd name="T21" fmla="*/ 223 h 247"/>
                <a:gd name="T22" fmla="*/ 124 w 216"/>
                <a:gd name="T23" fmla="*/ 221 h 247"/>
                <a:gd name="T24" fmla="*/ 95 w 216"/>
                <a:gd name="T25" fmla="*/ 237 h 247"/>
                <a:gd name="T26" fmla="*/ 87 w 216"/>
                <a:gd name="T27" fmla="*/ 237 h 247"/>
                <a:gd name="T28" fmla="*/ 71 w 216"/>
                <a:gd name="T29" fmla="*/ 242 h 247"/>
                <a:gd name="T30" fmla="*/ 51 w 216"/>
                <a:gd name="T31" fmla="*/ 242 h 247"/>
                <a:gd name="T32" fmla="*/ 34 w 216"/>
                <a:gd name="T33" fmla="*/ 238 h 247"/>
                <a:gd name="T34" fmla="*/ 32 w 216"/>
                <a:gd name="T35" fmla="*/ 235 h 247"/>
                <a:gd name="T36" fmla="*/ 36 w 216"/>
                <a:gd name="T37" fmla="*/ 225 h 247"/>
                <a:gd name="T38" fmla="*/ 13 w 216"/>
                <a:gd name="T39" fmla="*/ 225 h 247"/>
                <a:gd name="T40" fmla="*/ 36 w 216"/>
                <a:gd name="T41" fmla="*/ 216 h 247"/>
                <a:gd name="T42" fmla="*/ 13 w 216"/>
                <a:gd name="T43" fmla="*/ 210 h 247"/>
                <a:gd name="T44" fmla="*/ 12 w 216"/>
                <a:gd name="T45" fmla="*/ 199 h 247"/>
                <a:gd name="T46" fmla="*/ 25 w 216"/>
                <a:gd name="T47" fmla="*/ 192 h 247"/>
                <a:gd name="T48" fmla="*/ 10 w 216"/>
                <a:gd name="T49" fmla="*/ 184 h 247"/>
                <a:gd name="T50" fmla="*/ 36 w 216"/>
                <a:gd name="T51" fmla="*/ 187 h 247"/>
                <a:gd name="T52" fmla="*/ 46 w 216"/>
                <a:gd name="T53" fmla="*/ 172 h 247"/>
                <a:gd name="T54" fmla="*/ 75 w 216"/>
                <a:gd name="T55" fmla="*/ 172 h 247"/>
                <a:gd name="T56" fmla="*/ 78 w 216"/>
                <a:gd name="T57" fmla="*/ 164 h 247"/>
                <a:gd name="T58" fmla="*/ 54 w 216"/>
                <a:gd name="T59" fmla="*/ 165 h 247"/>
                <a:gd name="T60" fmla="*/ 56 w 216"/>
                <a:gd name="T61" fmla="*/ 158 h 247"/>
                <a:gd name="T62" fmla="*/ 78 w 216"/>
                <a:gd name="T63" fmla="*/ 136 h 247"/>
                <a:gd name="T64" fmla="*/ 90 w 216"/>
                <a:gd name="T65" fmla="*/ 128 h 247"/>
                <a:gd name="T66" fmla="*/ 66 w 216"/>
                <a:gd name="T67" fmla="*/ 119 h 247"/>
                <a:gd name="T68" fmla="*/ 56 w 216"/>
                <a:gd name="T69" fmla="*/ 116 h 247"/>
                <a:gd name="T70" fmla="*/ 47 w 216"/>
                <a:gd name="T71" fmla="*/ 109 h 247"/>
                <a:gd name="T72" fmla="*/ 49 w 216"/>
                <a:gd name="T73" fmla="*/ 99 h 247"/>
                <a:gd name="T74" fmla="*/ 61 w 216"/>
                <a:gd name="T75" fmla="*/ 96 h 247"/>
                <a:gd name="T76" fmla="*/ 73 w 216"/>
                <a:gd name="T77" fmla="*/ 85 h 247"/>
                <a:gd name="T78" fmla="*/ 66 w 216"/>
                <a:gd name="T79" fmla="*/ 73 h 247"/>
                <a:gd name="T80" fmla="*/ 66 w 216"/>
                <a:gd name="T81" fmla="*/ 62 h 247"/>
                <a:gd name="T82" fmla="*/ 58 w 216"/>
                <a:gd name="T83" fmla="*/ 58 h 247"/>
                <a:gd name="T84" fmla="*/ 71 w 216"/>
                <a:gd name="T85" fmla="*/ 51 h 247"/>
                <a:gd name="T86" fmla="*/ 95 w 216"/>
                <a:gd name="T87" fmla="*/ 55 h 247"/>
                <a:gd name="T88" fmla="*/ 115 w 216"/>
                <a:gd name="T89" fmla="*/ 62 h 247"/>
                <a:gd name="T90" fmla="*/ 127 w 216"/>
                <a:gd name="T91" fmla="*/ 55 h 247"/>
                <a:gd name="T92" fmla="*/ 144 w 216"/>
                <a:gd name="T93" fmla="*/ 45 h 247"/>
                <a:gd name="T94" fmla="*/ 124 w 216"/>
                <a:gd name="T95" fmla="*/ 39 h 247"/>
                <a:gd name="T96" fmla="*/ 134 w 216"/>
                <a:gd name="T97" fmla="*/ 29 h 247"/>
                <a:gd name="T98" fmla="*/ 144 w 216"/>
                <a:gd name="T99" fmla="*/ 16 h 247"/>
                <a:gd name="T100" fmla="*/ 163 w 216"/>
                <a:gd name="T101" fmla="*/ 10 h 247"/>
                <a:gd name="T102" fmla="*/ 173 w 216"/>
                <a:gd name="T103" fmla="*/ 10 h 247"/>
                <a:gd name="T104" fmla="*/ 173 w 216"/>
                <a:gd name="T105" fmla="*/ 22 h 247"/>
                <a:gd name="T106" fmla="*/ 182 w 216"/>
                <a:gd name="T107" fmla="*/ 9 h 247"/>
                <a:gd name="T108" fmla="*/ 199 w 216"/>
                <a:gd name="T109" fmla="*/ 12 h 247"/>
                <a:gd name="T110" fmla="*/ 61 w 216"/>
                <a:gd name="T111" fmla="*/ 77 h 247"/>
                <a:gd name="T112" fmla="*/ 58 w 216"/>
                <a:gd name="T113" fmla="*/ 133 h 247"/>
                <a:gd name="T114" fmla="*/ 136 w 216"/>
                <a:gd name="T115" fmla="*/ 16 h 247"/>
                <a:gd name="T116" fmla="*/ 58 w 216"/>
                <a:gd name="T117" fmla="*/ 135 h 247"/>
                <a:gd name="T118" fmla="*/ 37 w 216"/>
                <a:gd name="T119" fmla="*/ 244 h 247"/>
                <a:gd name="T120" fmla="*/ 56 w 216"/>
                <a:gd name="T121" fmla="*/ 123 h 247"/>
                <a:gd name="T122" fmla="*/ 56 w 216"/>
                <a:gd name="T123" fmla="*/ 55 h 247"/>
                <a:gd name="T124" fmla="*/ 30 w 216"/>
                <a:gd name="T125" fmla="*/ 242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6" h="247">
                  <a:moveTo>
                    <a:pt x="187" y="24"/>
                  </a:moveTo>
                  <a:lnTo>
                    <a:pt x="185" y="26"/>
                  </a:lnTo>
                  <a:lnTo>
                    <a:pt x="183" y="24"/>
                  </a:lnTo>
                  <a:lnTo>
                    <a:pt x="182" y="26"/>
                  </a:lnTo>
                  <a:lnTo>
                    <a:pt x="180" y="27"/>
                  </a:lnTo>
                  <a:lnTo>
                    <a:pt x="180" y="29"/>
                  </a:lnTo>
                  <a:lnTo>
                    <a:pt x="180" y="31"/>
                  </a:lnTo>
                  <a:lnTo>
                    <a:pt x="178" y="31"/>
                  </a:lnTo>
                  <a:lnTo>
                    <a:pt x="177" y="34"/>
                  </a:lnTo>
                  <a:lnTo>
                    <a:pt x="177" y="36"/>
                  </a:lnTo>
                  <a:lnTo>
                    <a:pt x="175" y="38"/>
                  </a:lnTo>
                  <a:lnTo>
                    <a:pt x="173" y="39"/>
                  </a:lnTo>
                  <a:lnTo>
                    <a:pt x="172" y="39"/>
                  </a:lnTo>
                  <a:lnTo>
                    <a:pt x="172" y="43"/>
                  </a:lnTo>
                  <a:lnTo>
                    <a:pt x="170" y="43"/>
                  </a:lnTo>
                  <a:lnTo>
                    <a:pt x="168" y="43"/>
                  </a:lnTo>
                  <a:lnTo>
                    <a:pt x="168" y="41"/>
                  </a:lnTo>
                  <a:lnTo>
                    <a:pt x="165" y="43"/>
                  </a:lnTo>
                  <a:lnTo>
                    <a:pt x="163" y="43"/>
                  </a:lnTo>
                  <a:lnTo>
                    <a:pt x="161" y="45"/>
                  </a:lnTo>
                  <a:lnTo>
                    <a:pt x="160" y="43"/>
                  </a:lnTo>
                  <a:lnTo>
                    <a:pt x="160" y="41"/>
                  </a:lnTo>
                  <a:lnTo>
                    <a:pt x="156" y="43"/>
                  </a:lnTo>
                  <a:lnTo>
                    <a:pt x="155" y="45"/>
                  </a:lnTo>
                  <a:lnTo>
                    <a:pt x="156" y="46"/>
                  </a:lnTo>
                  <a:lnTo>
                    <a:pt x="156" y="48"/>
                  </a:lnTo>
                  <a:lnTo>
                    <a:pt x="158" y="48"/>
                  </a:lnTo>
                  <a:lnTo>
                    <a:pt x="160" y="50"/>
                  </a:lnTo>
                  <a:lnTo>
                    <a:pt x="161" y="50"/>
                  </a:lnTo>
                  <a:lnTo>
                    <a:pt x="163" y="50"/>
                  </a:lnTo>
                  <a:lnTo>
                    <a:pt x="163" y="51"/>
                  </a:lnTo>
                  <a:lnTo>
                    <a:pt x="160" y="51"/>
                  </a:lnTo>
                  <a:lnTo>
                    <a:pt x="158" y="51"/>
                  </a:lnTo>
                  <a:lnTo>
                    <a:pt x="156" y="55"/>
                  </a:lnTo>
                  <a:lnTo>
                    <a:pt x="155" y="55"/>
                  </a:lnTo>
                  <a:lnTo>
                    <a:pt x="153" y="53"/>
                  </a:lnTo>
                  <a:lnTo>
                    <a:pt x="151" y="53"/>
                  </a:lnTo>
                  <a:lnTo>
                    <a:pt x="149" y="51"/>
                  </a:lnTo>
                  <a:lnTo>
                    <a:pt x="148" y="55"/>
                  </a:lnTo>
                  <a:lnTo>
                    <a:pt x="148" y="56"/>
                  </a:lnTo>
                  <a:lnTo>
                    <a:pt x="144" y="55"/>
                  </a:lnTo>
                  <a:lnTo>
                    <a:pt x="144" y="56"/>
                  </a:lnTo>
                  <a:lnTo>
                    <a:pt x="141" y="56"/>
                  </a:lnTo>
                  <a:lnTo>
                    <a:pt x="143" y="56"/>
                  </a:lnTo>
                  <a:lnTo>
                    <a:pt x="141" y="58"/>
                  </a:lnTo>
                  <a:lnTo>
                    <a:pt x="143" y="60"/>
                  </a:lnTo>
                  <a:lnTo>
                    <a:pt x="144" y="62"/>
                  </a:lnTo>
                  <a:lnTo>
                    <a:pt x="144" y="63"/>
                  </a:lnTo>
                  <a:lnTo>
                    <a:pt x="146" y="65"/>
                  </a:lnTo>
                  <a:lnTo>
                    <a:pt x="146" y="67"/>
                  </a:lnTo>
                  <a:lnTo>
                    <a:pt x="148" y="68"/>
                  </a:lnTo>
                  <a:lnTo>
                    <a:pt x="149" y="70"/>
                  </a:lnTo>
                  <a:lnTo>
                    <a:pt x="151" y="70"/>
                  </a:lnTo>
                  <a:lnTo>
                    <a:pt x="149" y="72"/>
                  </a:lnTo>
                  <a:lnTo>
                    <a:pt x="149" y="73"/>
                  </a:lnTo>
                  <a:lnTo>
                    <a:pt x="149" y="75"/>
                  </a:lnTo>
                  <a:lnTo>
                    <a:pt x="151" y="77"/>
                  </a:lnTo>
                  <a:lnTo>
                    <a:pt x="153" y="77"/>
                  </a:lnTo>
                  <a:lnTo>
                    <a:pt x="155" y="79"/>
                  </a:lnTo>
                  <a:lnTo>
                    <a:pt x="156" y="79"/>
                  </a:lnTo>
                  <a:lnTo>
                    <a:pt x="156" y="80"/>
                  </a:lnTo>
                  <a:lnTo>
                    <a:pt x="158" y="82"/>
                  </a:lnTo>
                  <a:lnTo>
                    <a:pt x="158" y="84"/>
                  </a:lnTo>
                  <a:lnTo>
                    <a:pt x="160" y="85"/>
                  </a:lnTo>
                  <a:lnTo>
                    <a:pt x="161" y="85"/>
                  </a:lnTo>
                  <a:lnTo>
                    <a:pt x="163" y="85"/>
                  </a:lnTo>
                  <a:lnTo>
                    <a:pt x="165" y="84"/>
                  </a:lnTo>
                  <a:lnTo>
                    <a:pt x="166" y="84"/>
                  </a:lnTo>
                  <a:lnTo>
                    <a:pt x="165" y="85"/>
                  </a:lnTo>
                  <a:lnTo>
                    <a:pt x="168" y="85"/>
                  </a:lnTo>
                  <a:lnTo>
                    <a:pt x="166" y="87"/>
                  </a:lnTo>
                  <a:lnTo>
                    <a:pt x="168" y="87"/>
                  </a:lnTo>
                  <a:lnTo>
                    <a:pt x="170" y="89"/>
                  </a:lnTo>
                  <a:lnTo>
                    <a:pt x="170" y="87"/>
                  </a:lnTo>
                  <a:lnTo>
                    <a:pt x="168" y="85"/>
                  </a:lnTo>
                  <a:lnTo>
                    <a:pt x="172" y="84"/>
                  </a:lnTo>
                  <a:lnTo>
                    <a:pt x="172" y="87"/>
                  </a:lnTo>
                  <a:lnTo>
                    <a:pt x="170" y="87"/>
                  </a:lnTo>
                  <a:lnTo>
                    <a:pt x="172" y="89"/>
                  </a:lnTo>
                  <a:lnTo>
                    <a:pt x="173" y="85"/>
                  </a:lnTo>
                  <a:lnTo>
                    <a:pt x="173" y="84"/>
                  </a:lnTo>
                  <a:lnTo>
                    <a:pt x="173" y="82"/>
                  </a:lnTo>
                  <a:lnTo>
                    <a:pt x="177" y="82"/>
                  </a:lnTo>
                  <a:lnTo>
                    <a:pt x="178" y="82"/>
                  </a:lnTo>
                  <a:lnTo>
                    <a:pt x="178" y="80"/>
                  </a:lnTo>
                  <a:lnTo>
                    <a:pt x="177" y="79"/>
                  </a:lnTo>
                  <a:lnTo>
                    <a:pt x="178" y="79"/>
                  </a:lnTo>
                  <a:lnTo>
                    <a:pt x="177" y="77"/>
                  </a:lnTo>
                  <a:lnTo>
                    <a:pt x="178" y="77"/>
                  </a:lnTo>
                  <a:lnTo>
                    <a:pt x="178" y="73"/>
                  </a:lnTo>
                  <a:lnTo>
                    <a:pt x="180" y="75"/>
                  </a:lnTo>
                  <a:lnTo>
                    <a:pt x="182" y="73"/>
                  </a:lnTo>
                  <a:lnTo>
                    <a:pt x="183" y="72"/>
                  </a:lnTo>
                  <a:lnTo>
                    <a:pt x="185" y="70"/>
                  </a:lnTo>
                  <a:lnTo>
                    <a:pt x="187" y="72"/>
                  </a:lnTo>
                  <a:lnTo>
                    <a:pt x="189" y="73"/>
                  </a:lnTo>
                  <a:lnTo>
                    <a:pt x="190" y="77"/>
                  </a:lnTo>
                  <a:lnTo>
                    <a:pt x="190" y="80"/>
                  </a:lnTo>
                  <a:lnTo>
                    <a:pt x="190" y="82"/>
                  </a:lnTo>
                  <a:lnTo>
                    <a:pt x="192" y="84"/>
                  </a:lnTo>
                  <a:lnTo>
                    <a:pt x="190" y="85"/>
                  </a:lnTo>
                  <a:lnTo>
                    <a:pt x="192" y="87"/>
                  </a:lnTo>
                  <a:lnTo>
                    <a:pt x="194" y="89"/>
                  </a:lnTo>
                  <a:lnTo>
                    <a:pt x="195" y="89"/>
                  </a:lnTo>
                  <a:lnTo>
                    <a:pt x="197" y="90"/>
                  </a:lnTo>
                  <a:lnTo>
                    <a:pt x="197" y="92"/>
                  </a:lnTo>
                  <a:lnTo>
                    <a:pt x="195" y="94"/>
                  </a:lnTo>
                  <a:lnTo>
                    <a:pt x="195" y="96"/>
                  </a:lnTo>
                  <a:lnTo>
                    <a:pt x="194" y="97"/>
                  </a:lnTo>
                  <a:lnTo>
                    <a:pt x="195" y="97"/>
                  </a:lnTo>
                  <a:lnTo>
                    <a:pt x="195" y="101"/>
                  </a:lnTo>
                  <a:lnTo>
                    <a:pt x="197" y="99"/>
                  </a:lnTo>
                  <a:lnTo>
                    <a:pt x="200" y="101"/>
                  </a:lnTo>
                  <a:lnTo>
                    <a:pt x="202" y="99"/>
                  </a:lnTo>
                  <a:lnTo>
                    <a:pt x="204" y="101"/>
                  </a:lnTo>
                  <a:lnTo>
                    <a:pt x="206" y="101"/>
                  </a:lnTo>
                  <a:lnTo>
                    <a:pt x="207" y="101"/>
                  </a:lnTo>
                  <a:lnTo>
                    <a:pt x="207" y="97"/>
                  </a:lnTo>
                  <a:lnTo>
                    <a:pt x="209" y="99"/>
                  </a:lnTo>
                  <a:lnTo>
                    <a:pt x="211" y="97"/>
                  </a:lnTo>
                  <a:lnTo>
                    <a:pt x="211" y="99"/>
                  </a:lnTo>
                  <a:lnTo>
                    <a:pt x="211" y="101"/>
                  </a:lnTo>
                  <a:lnTo>
                    <a:pt x="212" y="102"/>
                  </a:lnTo>
                  <a:lnTo>
                    <a:pt x="214" y="104"/>
                  </a:lnTo>
                  <a:lnTo>
                    <a:pt x="214" y="106"/>
                  </a:lnTo>
                  <a:lnTo>
                    <a:pt x="216" y="104"/>
                  </a:lnTo>
                  <a:lnTo>
                    <a:pt x="216" y="107"/>
                  </a:lnTo>
                  <a:lnTo>
                    <a:pt x="214" y="109"/>
                  </a:lnTo>
                  <a:lnTo>
                    <a:pt x="212" y="109"/>
                  </a:lnTo>
                  <a:lnTo>
                    <a:pt x="211" y="107"/>
                  </a:lnTo>
                  <a:lnTo>
                    <a:pt x="209" y="107"/>
                  </a:lnTo>
                  <a:lnTo>
                    <a:pt x="207" y="104"/>
                  </a:lnTo>
                  <a:lnTo>
                    <a:pt x="206" y="104"/>
                  </a:lnTo>
                  <a:lnTo>
                    <a:pt x="206" y="102"/>
                  </a:lnTo>
                  <a:lnTo>
                    <a:pt x="206" y="104"/>
                  </a:lnTo>
                  <a:lnTo>
                    <a:pt x="206" y="106"/>
                  </a:lnTo>
                  <a:lnTo>
                    <a:pt x="204" y="107"/>
                  </a:lnTo>
                  <a:lnTo>
                    <a:pt x="204" y="111"/>
                  </a:lnTo>
                  <a:lnTo>
                    <a:pt x="204" y="113"/>
                  </a:lnTo>
                  <a:lnTo>
                    <a:pt x="206" y="114"/>
                  </a:lnTo>
                  <a:lnTo>
                    <a:pt x="209" y="116"/>
                  </a:lnTo>
                  <a:lnTo>
                    <a:pt x="207" y="116"/>
                  </a:lnTo>
                  <a:lnTo>
                    <a:pt x="207" y="119"/>
                  </a:lnTo>
                  <a:lnTo>
                    <a:pt x="209" y="121"/>
                  </a:lnTo>
                  <a:lnTo>
                    <a:pt x="207" y="121"/>
                  </a:lnTo>
                  <a:lnTo>
                    <a:pt x="206" y="123"/>
                  </a:lnTo>
                  <a:lnTo>
                    <a:pt x="206" y="124"/>
                  </a:lnTo>
                  <a:lnTo>
                    <a:pt x="206" y="126"/>
                  </a:lnTo>
                  <a:lnTo>
                    <a:pt x="206" y="130"/>
                  </a:lnTo>
                  <a:lnTo>
                    <a:pt x="206" y="131"/>
                  </a:lnTo>
                  <a:lnTo>
                    <a:pt x="207" y="131"/>
                  </a:lnTo>
                  <a:lnTo>
                    <a:pt x="207" y="133"/>
                  </a:lnTo>
                  <a:lnTo>
                    <a:pt x="207" y="135"/>
                  </a:lnTo>
                  <a:lnTo>
                    <a:pt x="209" y="136"/>
                  </a:lnTo>
                  <a:lnTo>
                    <a:pt x="211" y="138"/>
                  </a:lnTo>
                  <a:lnTo>
                    <a:pt x="209" y="140"/>
                  </a:lnTo>
                  <a:lnTo>
                    <a:pt x="207" y="140"/>
                  </a:lnTo>
                  <a:lnTo>
                    <a:pt x="206" y="141"/>
                  </a:lnTo>
                  <a:lnTo>
                    <a:pt x="207" y="141"/>
                  </a:lnTo>
                  <a:lnTo>
                    <a:pt x="207" y="140"/>
                  </a:lnTo>
                  <a:lnTo>
                    <a:pt x="209" y="141"/>
                  </a:lnTo>
                  <a:lnTo>
                    <a:pt x="207" y="143"/>
                  </a:lnTo>
                  <a:lnTo>
                    <a:pt x="206" y="145"/>
                  </a:lnTo>
                  <a:lnTo>
                    <a:pt x="206" y="143"/>
                  </a:lnTo>
                  <a:lnTo>
                    <a:pt x="204" y="143"/>
                  </a:lnTo>
                  <a:lnTo>
                    <a:pt x="206" y="143"/>
                  </a:lnTo>
                  <a:lnTo>
                    <a:pt x="207" y="145"/>
                  </a:lnTo>
                  <a:lnTo>
                    <a:pt x="206" y="148"/>
                  </a:lnTo>
                  <a:lnTo>
                    <a:pt x="206" y="147"/>
                  </a:lnTo>
                  <a:lnTo>
                    <a:pt x="206" y="148"/>
                  </a:lnTo>
                  <a:lnTo>
                    <a:pt x="207" y="148"/>
                  </a:lnTo>
                  <a:lnTo>
                    <a:pt x="209" y="150"/>
                  </a:lnTo>
                  <a:lnTo>
                    <a:pt x="207" y="152"/>
                  </a:lnTo>
                  <a:lnTo>
                    <a:pt x="207" y="150"/>
                  </a:lnTo>
                  <a:lnTo>
                    <a:pt x="206" y="148"/>
                  </a:lnTo>
                  <a:lnTo>
                    <a:pt x="204" y="150"/>
                  </a:lnTo>
                  <a:lnTo>
                    <a:pt x="206" y="150"/>
                  </a:lnTo>
                  <a:lnTo>
                    <a:pt x="204" y="152"/>
                  </a:lnTo>
                  <a:lnTo>
                    <a:pt x="202" y="150"/>
                  </a:lnTo>
                  <a:lnTo>
                    <a:pt x="204" y="150"/>
                  </a:lnTo>
                  <a:lnTo>
                    <a:pt x="200" y="150"/>
                  </a:lnTo>
                  <a:lnTo>
                    <a:pt x="202" y="152"/>
                  </a:lnTo>
                  <a:lnTo>
                    <a:pt x="200" y="150"/>
                  </a:lnTo>
                  <a:lnTo>
                    <a:pt x="202" y="152"/>
                  </a:lnTo>
                  <a:lnTo>
                    <a:pt x="204" y="152"/>
                  </a:lnTo>
                  <a:lnTo>
                    <a:pt x="200" y="152"/>
                  </a:lnTo>
                  <a:lnTo>
                    <a:pt x="200" y="153"/>
                  </a:lnTo>
                  <a:lnTo>
                    <a:pt x="202" y="155"/>
                  </a:lnTo>
                  <a:lnTo>
                    <a:pt x="204" y="155"/>
                  </a:lnTo>
                  <a:lnTo>
                    <a:pt x="206" y="157"/>
                  </a:lnTo>
                  <a:lnTo>
                    <a:pt x="204" y="158"/>
                  </a:lnTo>
                  <a:lnTo>
                    <a:pt x="204" y="162"/>
                  </a:lnTo>
                  <a:lnTo>
                    <a:pt x="204" y="164"/>
                  </a:lnTo>
                  <a:lnTo>
                    <a:pt x="204" y="165"/>
                  </a:lnTo>
                  <a:lnTo>
                    <a:pt x="206" y="169"/>
                  </a:lnTo>
                  <a:lnTo>
                    <a:pt x="204" y="170"/>
                  </a:lnTo>
                  <a:lnTo>
                    <a:pt x="204" y="172"/>
                  </a:lnTo>
                  <a:lnTo>
                    <a:pt x="204" y="174"/>
                  </a:lnTo>
                  <a:lnTo>
                    <a:pt x="202" y="177"/>
                  </a:lnTo>
                  <a:lnTo>
                    <a:pt x="204" y="179"/>
                  </a:lnTo>
                  <a:lnTo>
                    <a:pt x="202" y="181"/>
                  </a:lnTo>
                  <a:lnTo>
                    <a:pt x="202" y="182"/>
                  </a:lnTo>
                  <a:lnTo>
                    <a:pt x="200" y="184"/>
                  </a:lnTo>
                  <a:lnTo>
                    <a:pt x="200" y="186"/>
                  </a:lnTo>
                  <a:lnTo>
                    <a:pt x="199" y="186"/>
                  </a:lnTo>
                  <a:lnTo>
                    <a:pt x="197" y="187"/>
                  </a:lnTo>
                  <a:lnTo>
                    <a:pt x="195" y="189"/>
                  </a:lnTo>
                  <a:lnTo>
                    <a:pt x="195" y="191"/>
                  </a:lnTo>
                  <a:lnTo>
                    <a:pt x="195" y="192"/>
                  </a:lnTo>
                  <a:lnTo>
                    <a:pt x="192" y="196"/>
                  </a:lnTo>
                  <a:lnTo>
                    <a:pt x="190" y="198"/>
                  </a:lnTo>
                  <a:lnTo>
                    <a:pt x="190" y="199"/>
                  </a:lnTo>
                  <a:lnTo>
                    <a:pt x="189" y="199"/>
                  </a:lnTo>
                  <a:lnTo>
                    <a:pt x="190" y="201"/>
                  </a:lnTo>
                  <a:lnTo>
                    <a:pt x="190" y="204"/>
                  </a:lnTo>
                  <a:lnTo>
                    <a:pt x="189" y="206"/>
                  </a:lnTo>
                  <a:lnTo>
                    <a:pt x="187" y="208"/>
                  </a:lnTo>
                  <a:lnTo>
                    <a:pt x="183" y="210"/>
                  </a:lnTo>
                  <a:lnTo>
                    <a:pt x="182" y="211"/>
                  </a:lnTo>
                  <a:lnTo>
                    <a:pt x="180" y="213"/>
                  </a:lnTo>
                  <a:lnTo>
                    <a:pt x="180" y="216"/>
                  </a:lnTo>
                  <a:lnTo>
                    <a:pt x="180" y="218"/>
                  </a:lnTo>
                  <a:lnTo>
                    <a:pt x="178" y="216"/>
                  </a:lnTo>
                  <a:lnTo>
                    <a:pt x="177" y="216"/>
                  </a:lnTo>
                  <a:lnTo>
                    <a:pt x="175" y="216"/>
                  </a:lnTo>
                  <a:lnTo>
                    <a:pt x="177" y="215"/>
                  </a:lnTo>
                  <a:lnTo>
                    <a:pt x="173" y="216"/>
                  </a:lnTo>
                  <a:lnTo>
                    <a:pt x="175" y="216"/>
                  </a:lnTo>
                  <a:lnTo>
                    <a:pt x="175" y="218"/>
                  </a:lnTo>
                  <a:lnTo>
                    <a:pt x="175" y="220"/>
                  </a:lnTo>
                  <a:lnTo>
                    <a:pt x="177" y="221"/>
                  </a:lnTo>
                  <a:lnTo>
                    <a:pt x="178" y="220"/>
                  </a:lnTo>
                  <a:lnTo>
                    <a:pt x="177" y="221"/>
                  </a:lnTo>
                  <a:lnTo>
                    <a:pt x="178" y="223"/>
                  </a:lnTo>
                  <a:lnTo>
                    <a:pt x="180" y="225"/>
                  </a:lnTo>
                  <a:lnTo>
                    <a:pt x="178" y="227"/>
                  </a:lnTo>
                  <a:lnTo>
                    <a:pt x="177" y="230"/>
                  </a:lnTo>
                  <a:lnTo>
                    <a:pt x="175" y="228"/>
                  </a:lnTo>
                  <a:lnTo>
                    <a:pt x="172" y="227"/>
                  </a:lnTo>
                  <a:lnTo>
                    <a:pt x="170" y="227"/>
                  </a:lnTo>
                  <a:lnTo>
                    <a:pt x="166" y="227"/>
                  </a:lnTo>
                  <a:lnTo>
                    <a:pt x="166" y="225"/>
                  </a:lnTo>
                  <a:lnTo>
                    <a:pt x="165" y="223"/>
                  </a:lnTo>
                  <a:lnTo>
                    <a:pt x="163" y="223"/>
                  </a:lnTo>
                  <a:lnTo>
                    <a:pt x="165" y="223"/>
                  </a:lnTo>
                  <a:lnTo>
                    <a:pt x="166" y="225"/>
                  </a:lnTo>
                  <a:lnTo>
                    <a:pt x="165" y="223"/>
                  </a:lnTo>
                  <a:lnTo>
                    <a:pt x="163" y="223"/>
                  </a:lnTo>
                  <a:lnTo>
                    <a:pt x="161" y="223"/>
                  </a:lnTo>
                  <a:lnTo>
                    <a:pt x="160" y="223"/>
                  </a:lnTo>
                  <a:lnTo>
                    <a:pt x="160" y="221"/>
                  </a:lnTo>
                  <a:lnTo>
                    <a:pt x="160" y="223"/>
                  </a:lnTo>
                  <a:lnTo>
                    <a:pt x="161" y="220"/>
                  </a:lnTo>
                  <a:lnTo>
                    <a:pt x="160" y="220"/>
                  </a:lnTo>
                  <a:lnTo>
                    <a:pt x="160" y="221"/>
                  </a:lnTo>
                  <a:lnTo>
                    <a:pt x="158" y="221"/>
                  </a:lnTo>
                  <a:lnTo>
                    <a:pt x="156" y="223"/>
                  </a:lnTo>
                  <a:lnTo>
                    <a:pt x="158" y="221"/>
                  </a:lnTo>
                  <a:lnTo>
                    <a:pt x="158" y="223"/>
                  </a:lnTo>
                  <a:lnTo>
                    <a:pt x="158" y="225"/>
                  </a:lnTo>
                  <a:lnTo>
                    <a:pt x="155" y="225"/>
                  </a:lnTo>
                  <a:lnTo>
                    <a:pt x="153" y="227"/>
                  </a:lnTo>
                  <a:lnTo>
                    <a:pt x="155" y="225"/>
                  </a:lnTo>
                  <a:lnTo>
                    <a:pt x="155" y="223"/>
                  </a:lnTo>
                  <a:lnTo>
                    <a:pt x="155" y="221"/>
                  </a:lnTo>
                  <a:lnTo>
                    <a:pt x="153" y="218"/>
                  </a:lnTo>
                  <a:lnTo>
                    <a:pt x="153" y="220"/>
                  </a:lnTo>
                  <a:lnTo>
                    <a:pt x="151" y="221"/>
                  </a:lnTo>
                  <a:lnTo>
                    <a:pt x="151" y="223"/>
                  </a:lnTo>
                  <a:lnTo>
                    <a:pt x="153" y="223"/>
                  </a:lnTo>
                  <a:lnTo>
                    <a:pt x="149" y="225"/>
                  </a:lnTo>
                  <a:lnTo>
                    <a:pt x="148" y="225"/>
                  </a:lnTo>
                  <a:lnTo>
                    <a:pt x="144" y="225"/>
                  </a:lnTo>
                  <a:lnTo>
                    <a:pt x="148" y="223"/>
                  </a:lnTo>
                  <a:lnTo>
                    <a:pt x="144" y="223"/>
                  </a:lnTo>
                  <a:lnTo>
                    <a:pt x="144" y="221"/>
                  </a:lnTo>
                  <a:lnTo>
                    <a:pt x="144" y="223"/>
                  </a:lnTo>
                  <a:lnTo>
                    <a:pt x="146" y="223"/>
                  </a:lnTo>
                  <a:lnTo>
                    <a:pt x="144" y="223"/>
                  </a:lnTo>
                  <a:lnTo>
                    <a:pt x="143" y="223"/>
                  </a:lnTo>
                  <a:lnTo>
                    <a:pt x="139" y="223"/>
                  </a:lnTo>
                  <a:lnTo>
                    <a:pt x="138" y="223"/>
                  </a:lnTo>
                  <a:lnTo>
                    <a:pt x="134" y="221"/>
                  </a:lnTo>
                  <a:lnTo>
                    <a:pt x="132" y="221"/>
                  </a:lnTo>
                  <a:lnTo>
                    <a:pt x="131" y="221"/>
                  </a:lnTo>
                  <a:lnTo>
                    <a:pt x="129" y="223"/>
                  </a:lnTo>
                  <a:lnTo>
                    <a:pt x="126" y="223"/>
                  </a:lnTo>
                  <a:lnTo>
                    <a:pt x="124" y="221"/>
                  </a:lnTo>
                  <a:lnTo>
                    <a:pt x="124" y="223"/>
                  </a:lnTo>
                  <a:lnTo>
                    <a:pt x="122" y="223"/>
                  </a:lnTo>
                  <a:lnTo>
                    <a:pt x="121" y="223"/>
                  </a:lnTo>
                  <a:lnTo>
                    <a:pt x="122" y="225"/>
                  </a:lnTo>
                  <a:lnTo>
                    <a:pt x="124" y="223"/>
                  </a:lnTo>
                  <a:lnTo>
                    <a:pt x="124" y="225"/>
                  </a:lnTo>
                  <a:lnTo>
                    <a:pt x="126" y="227"/>
                  </a:lnTo>
                  <a:lnTo>
                    <a:pt x="124" y="227"/>
                  </a:lnTo>
                  <a:lnTo>
                    <a:pt x="122" y="230"/>
                  </a:lnTo>
                  <a:lnTo>
                    <a:pt x="121" y="230"/>
                  </a:lnTo>
                  <a:lnTo>
                    <a:pt x="117" y="230"/>
                  </a:lnTo>
                  <a:lnTo>
                    <a:pt x="115" y="232"/>
                  </a:lnTo>
                  <a:lnTo>
                    <a:pt x="114" y="230"/>
                  </a:lnTo>
                  <a:lnTo>
                    <a:pt x="112" y="230"/>
                  </a:lnTo>
                  <a:lnTo>
                    <a:pt x="110" y="230"/>
                  </a:lnTo>
                  <a:lnTo>
                    <a:pt x="109" y="232"/>
                  </a:lnTo>
                  <a:lnTo>
                    <a:pt x="109" y="233"/>
                  </a:lnTo>
                  <a:lnTo>
                    <a:pt x="105" y="233"/>
                  </a:lnTo>
                  <a:lnTo>
                    <a:pt x="104" y="233"/>
                  </a:lnTo>
                  <a:lnTo>
                    <a:pt x="102" y="235"/>
                  </a:lnTo>
                  <a:lnTo>
                    <a:pt x="102" y="237"/>
                  </a:lnTo>
                  <a:lnTo>
                    <a:pt x="100" y="237"/>
                  </a:lnTo>
                  <a:lnTo>
                    <a:pt x="97" y="237"/>
                  </a:lnTo>
                  <a:lnTo>
                    <a:pt x="95" y="237"/>
                  </a:lnTo>
                  <a:lnTo>
                    <a:pt x="93" y="237"/>
                  </a:lnTo>
                  <a:lnTo>
                    <a:pt x="92" y="235"/>
                  </a:lnTo>
                  <a:lnTo>
                    <a:pt x="92" y="233"/>
                  </a:lnTo>
                  <a:lnTo>
                    <a:pt x="93" y="233"/>
                  </a:lnTo>
                  <a:lnTo>
                    <a:pt x="95" y="233"/>
                  </a:lnTo>
                  <a:lnTo>
                    <a:pt x="97" y="232"/>
                  </a:lnTo>
                  <a:lnTo>
                    <a:pt x="95" y="232"/>
                  </a:lnTo>
                  <a:lnTo>
                    <a:pt x="93" y="232"/>
                  </a:lnTo>
                  <a:lnTo>
                    <a:pt x="92" y="232"/>
                  </a:lnTo>
                  <a:lnTo>
                    <a:pt x="90" y="232"/>
                  </a:lnTo>
                  <a:lnTo>
                    <a:pt x="90" y="230"/>
                  </a:lnTo>
                  <a:lnTo>
                    <a:pt x="88" y="232"/>
                  </a:lnTo>
                  <a:lnTo>
                    <a:pt x="90" y="232"/>
                  </a:lnTo>
                  <a:lnTo>
                    <a:pt x="90" y="233"/>
                  </a:lnTo>
                  <a:lnTo>
                    <a:pt x="88" y="233"/>
                  </a:lnTo>
                  <a:lnTo>
                    <a:pt x="90" y="235"/>
                  </a:lnTo>
                  <a:lnTo>
                    <a:pt x="88" y="235"/>
                  </a:lnTo>
                  <a:lnTo>
                    <a:pt x="88" y="233"/>
                  </a:lnTo>
                  <a:lnTo>
                    <a:pt x="87" y="233"/>
                  </a:lnTo>
                  <a:lnTo>
                    <a:pt x="88" y="235"/>
                  </a:lnTo>
                  <a:lnTo>
                    <a:pt x="90" y="235"/>
                  </a:lnTo>
                  <a:lnTo>
                    <a:pt x="90" y="237"/>
                  </a:lnTo>
                  <a:lnTo>
                    <a:pt x="88" y="237"/>
                  </a:lnTo>
                  <a:lnTo>
                    <a:pt x="87" y="237"/>
                  </a:lnTo>
                  <a:lnTo>
                    <a:pt x="88" y="237"/>
                  </a:lnTo>
                  <a:lnTo>
                    <a:pt x="88" y="238"/>
                  </a:lnTo>
                  <a:lnTo>
                    <a:pt x="87" y="240"/>
                  </a:lnTo>
                  <a:lnTo>
                    <a:pt x="85" y="240"/>
                  </a:lnTo>
                  <a:lnTo>
                    <a:pt x="81" y="242"/>
                  </a:lnTo>
                  <a:lnTo>
                    <a:pt x="81" y="238"/>
                  </a:lnTo>
                  <a:lnTo>
                    <a:pt x="81" y="240"/>
                  </a:lnTo>
                  <a:lnTo>
                    <a:pt x="81" y="238"/>
                  </a:lnTo>
                  <a:lnTo>
                    <a:pt x="81" y="240"/>
                  </a:lnTo>
                  <a:lnTo>
                    <a:pt x="80" y="242"/>
                  </a:lnTo>
                  <a:lnTo>
                    <a:pt x="80" y="238"/>
                  </a:lnTo>
                  <a:lnTo>
                    <a:pt x="78" y="238"/>
                  </a:lnTo>
                  <a:lnTo>
                    <a:pt x="78" y="240"/>
                  </a:lnTo>
                  <a:lnTo>
                    <a:pt x="80" y="238"/>
                  </a:lnTo>
                  <a:lnTo>
                    <a:pt x="80" y="240"/>
                  </a:lnTo>
                  <a:lnTo>
                    <a:pt x="78" y="240"/>
                  </a:lnTo>
                  <a:lnTo>
                    <a:pt x="78" y="242"/>
                  </a:lnTo>
                  <a:lnTo>
                    <a:pt x="76" y="242"/>
                  </a:lnTo>
                  <a:lnTo>
                    <a:pt x="76" y="244"/>
                  </a:lnTo>
                  <a:lnTo>
                    <a:pt x="76" y="245"/>
                  </a:lnTo>
                  <a:lnTo>
                    <a:pt x="76" y="244"/>
                  </a:lnTo>
                  <a:lnTo>
                    <a:pt x="75" y="242"/>
                  </a:lnTo>
                  <a:lnTo>
                    <a:pt x="73" y="242"/>
                  </a:lnTo>
                  <a:lnTo>
                    <a:pt x="71" y="242"/>
                  </a:lnTo>
                  <a:lnTo>
                    <a:pt x="71" y="240"/>
                  </a:lnTo>
                  <a:lnTo>
                    <a:pt x="70" y="242"/>
                  </a:lnTo>
                  <a:lnTo>
                    <a:pt x="71" y="242"/>
                  </a:lnTo>
                  <a:lnTo>
                    <a:pt x="70" y="242"/>
                  </a:lnTo>
                  <a:lnTo>
                    <a:pt x="70" y="244"/>
                  </a:lnTo>
                  <a:lnTo>
                    <a:pt x="68" y="245"/>
                  </a:lnTo>
                  <a:lnTo>
                    <a:pt x="66" y="245"/>
                  </a:lnTo>
                  <a:lnTo>
                    <a:pt x="66" y="244"/>
                  </a:lnTo>
                  <a:lnTo>
                    <a:pt x="64" y="244"/>
                  </a:lnTo>
                  <a:lnTo>
                    <a:pt x="63" y="242"/>
                  </a:lnTo>
                  <a:lnTo>
                    <a:pt x="61" y="242"/>
                  </a:lnTo>
                  <a:lnTo>
                    <a:pt x="61" y="244"/>
                  </a:lnTo>
                  <a:lnTo>
                    <a:pt x="61" y="245"/>
                  </a:lnTo>
                  <a:lnTo>
                    <a:pt x="58" y="245"/>
                  </a:lnTo>
                  <a:lnTo>
                    <a:pt x="58" y="244"/>
                  </a:lnTo>
                  <a:lnTo>
                    <a:pt x="56" y="244"/>
                  </a:lnTo>
                  <a:lnTo>
                    <a:pt x="56" y="242"/>
                  </a:lnTo>
                  <a:lnTo>
                    <a:pt x="56" y="244"/>
                  </a:lnTo>
                  <a:lnTo>
                    <a:pt x="53" y="242"/>
                  </a:lnTo>
                  <a:lnTo>
                    <a:pt x="53" y="244"/>
                  </a:lnTo>
                  <a:lnTo>
                    <a:pt x="51" y="242"/>
                  </a:lnTo>
                  <a:lnTo>
                    <a:pt x="51" y="240"/>
                  </a:lnTo>
                  <a:lnTo>
                    <a:pt x="49" y="242"/>
                  </a:lnTo>
                  <a:lnTo>
                    <a:pt x="51" y="242"/>
                  </a:lnTo>
                  <a:lnTo>
                    <a:pt x="51" y="244"/>
                  </a:lnTo>
                  <a:lnTo>
                    <a:pt x="47" y="244"/>
                  </a:lnTo>
                  <a:lnTo>
                    <a:pt x="49" y="244"/>
                  </a:lnTo>
                  <a:lnTo>
                    <a:pt x="46" y="245"/>
                  </a:lnTo>
                  <a:lnTo>
                    <a:pt x="44" y="245"/>
                  </a:lnTo>
                  <a:lnTo>
                    <a:pt x="44" y="244"/>
                  </a:lnTo>
                  <a:lnTo>
                    <a:pt x="42" y="245"/>
                  </a:lnTo>
                  <a:lnTo>
                    <a:pt x="42" y="244"/>
                  </a:lnTo>
                  <a:lnTo>
                    <a:pt x="42" y="245"/>
                  </a:lnTo>
                  <a:lnTo>
                    <a:pt x="41" y="245"/>
                  </a:lnTo>
                  <a:lnTo>
                    <a:pt x="39" y="245"/>
                  </a:lnTo>
                  <a:lnTo>
                    <a:pt x="39" y="244"/>
                  </a:lnTo>
                  <a:lnTo>
                    <a:pt x="37" y="242"/>
                  </a:lnTo>
                  <a:lnTo>
                    <a:pt x="39" y="242"/>
                  </a:lnTo>
                  <a:lnTo>
                    <a:pt x="39" y="238"/>
                  </a:lnTo>
                  <a:lnTo>
                    <a:pt x="39" y="240"/>
                  </a:lnTo>
                  <a:lnTo>
                    <a:pt x="39" y="238"/>
                  </a:lnTo>
                  <a:lnTo>
                    <a:pt x="37" y="238"/>
                  </a:lnTo>
                  <a:lnTo>
                    <a:pt x="37" y="240"/>
                  </a:lnTo>
                  <a:lnTo>
                    <a:pt x="37" y="238"/>
                  </a:lnTo>
                  <a:lnTo>
                    <a:pt x="37" y="240"/>
                  </a:lnTo>
                  <a:lnTo>
                    <a:pt x="36" y="240"/>
                  </a:lnTo>
                  <a:lnTo>
                    <a:pt x="32" y="240"/>
                  </a:lnTo>
                  <a:lnTo>
                    <a:pt x="34" y="238"/>
                  </a:lnTo>
                  <a:lnTo>
                    <a:pt x="32" y="240"/>
                  </a:lnTo>
                  <a:lnTo>
                    <a:pt x="30" y="240"/>
                  </a:lnTo>
                  <a:lnTo>
                    <a:pt x="29" y="240"/>
                  </a:lnTo>
                  <a:lnTo>
                    <a:pt x="30" y="240"/>
                  </a:lnTo>
                  <a:lnTo>
                    <a:pt x="29" y="240"/>
                  </a:lnTo>
                  <a:lnTo>
                    <a:pt x="29" y="238"/>
                  </a:lnTo>
                  <a:lnTo>
                    <a:pt x="27" y="238"/>
                  </a:lnTo>
                  <a:lnTo>
                    <a:pt x="27" y="240"/>
                  </a:lnTo>
                  <a:lnTo>
                    <a:pt x="25" y="240"/>
                  </a:lnTo>
                  <a:lnTo>
                    <a:pt x="22" y="242"/>
                  </a:lnTo>
                  <a:lnTo>
                    <a:pt x="25" y="242"/>
                  </a:lnTo>
                  <a:lnTo>
                    <a:pt x="24" y="242"/>
                  </a:lnTo>
                  <a:lnTo>
                    <a:pt x="22" y="242"/>
                  </a:lnTo>
                  <a:lnTo>
                    <a:pt x="22" y="240"/>
                  </a:lnTo>
                  <a:lnTo>
                    <a:pt x="20" y="242"/>
                  </a:lnTo>
                  <a:lnTo>
                    <a:pt x="20" y="240"/>
                  </a:lnTo>
                  <a:lnTo>
                    <a:pt x="20" y="238"/>
                  </a:lnTo>
                  <a:lnTo>
                    <a:pt x="22" y="238"/>
                  </a:lnTo>
                  <a:lnTo>
                    <a:pt x="24" y="237"/>
                  </a:lnTo>
                  <a:lnTo>
                    <a:pt x="27" y="237"/>
                  </a:lnTo>
                  <a:lnTo>
                    <a:pt x="29" y="237"/>
                  </a:lnTo>
                  <a:lnTo>
                    <a:pt x="29" y="235"/>
                  </a:lnTo>
                  <a:lnTo>
                    <a:pt x="30" y="235"/>
                  </a:lnTo>
                  <a:lnTo>
                    <a:pt x="32" y="235"/>
                  </a:lnTo>
                  <a:lnTo>
                    <a:pt x="32" y="233"/>
                  </a:lnTo>
                  <a:lnTo>
                    <a:pt x="34" y="233"/>
                  </a:lnTo>
                  <a:lnTo>
                    <a:pt x="36" y="233"/>
                  </a:lnTo>
                  <a:lnTo>
                    <a:pt x="32" y="233"/>
                  </a:lnTo>
                  <a:lnTo>
                    <a:pt x="30" y="233"/>
                  </a:lnTo>
                  <a:lnTo>
                    <a:pt x="29" y="235"/>
                  </a:lnTo>
                  <a:lnTo>
                    <a:pt x="25" y="235"/>
                  </a:lnTo>
                  <a:lnTo>
                    <a:pt x="24" y="235"/>
                  </a:lnTo>
                  <a:lnTo>
                    <a:pt x="22" y="235"/>
                  </a:lnTo>
                  <a:lnTo>
                    <a:pt x="20" y="235"/>
                  </a:lnTo>
                  <a:lnTo>
                    <a:pt x="24" y="233"/>
                  </a:lnTo>
                  <a:lnTo>
                    <a:pt x="25" y="232"/>
                  </a:lnTo>
                  <a:lnTo>
                    <a:pt x="27" y="232"/>
                  </a:lnTo>
                  <a:lnTo>
                    <a:pt x="30" y="232"/>
                  </a:lnTo>
                  <a:lnTo>
                    <a:pt x="34" y="232"/>
                  </a:lnTo>
                  <a:lnTo>
                    <a:pt x="34" y="230"/>
                  </a:lnTo>
                  <a:lnTo>
                    <a:pt x="37" y="230"/>
                  </a:lnTo>
                  <a:lnTo>
                    <a:pt x="39" y="230"/>
                  </a:lnTo>
                  <a:lnTo>
                    <a:pt x="41" y="230"/>
                  </a:lnTo>
                  <a:lnTo>
                    <a:pt x="39" y="228"/>
                  </a:lnTo>
                  <a:lnTo>
                    <a:pt x="41" y="227"/>
                  </a:lnTo>
                  <a:lnTo>
                    <a:pt x="37" y="227"/>
                  </a:lnTo>
                  <a:lnTo>
                    <a:pt x="37" y="225"/>
                  </a:lnTo>
                  <a:lnTo>
                    <a:pt x="36" y="225"/>
                  </a:lnTo>
                  <a:lnTo>
                    <a:pt x="36" y="227"/>
                  </a:lnTo>
                  <a:lnTo>
                    <a:pt x="34" y="227"/>
                  </a:lnTo>
                  <a:lnTo>
                    <a:pt x="34" y="228"/>
                  </a:lnTo>
                  <a:lnTo>
                    <a:pt x="30" y="228"/>
                  </a:lnTo>
                  <a:lnTo>
                    <a:pt x="30" y="227"/>
                  </a:lnTo>
                  <a:lnTo>
                    <a:pt x="29" y="227"/>
                  </a:lnTo>
                  <a:lnTo>
                    <a:pt x="27" y="228"/>
                  </a:lnTo>
                  <a:lnTo>
                    <a:pt x="27" y="227"/>
                  </a:lnTo>
                  <a:lnTo>
                    <a:pt x="25" y="228"/>
                  </a:lnTo>
                  <a:lnTo>
                    <a:pt x="22" y="227"/>
                  </a:lnTo>
                  <a:lnTo>
                    <a:pt x="20" y="227"/>
                  </a:lnTo>
                  <a:lnTo>
                    <a:pt x="19" y="227"/>
                  </a:lnTo>
                  <a:lnTo>
                    <a:pt x="19" y="228"/>
                  </a:lnTo>
                  <a:lnTo>
                    <a:pt x="17" y="228"/>
                  </a:lnTo>
                  <a:lnTo>
                    <a:pt x="15" y="228"/>
                  </a:lnTo>
                  <a:lnTo>
                    <a:pt x="13" y="230"/>
                  </a:lnTo>
                  <a:lnTo>
                    <a:pt x="13" y="228"/>
                  </a:lnTo>
                  <a:lnTo>
                    <a:pt x="10" y="228"/>
                  </a:lnTo>
                  <a:lnTo>
                    <a:pt x="10" y="227"/>
                  </a:lnTo>
                  <a:lnTo>
                    <a:pt x="8" y="228"/>
                  </a:lnTo>
                  <a:lnTo>
                    <a:pt x="8" y="227"/>
                  </a:lnTo>
                  <a:lnTo>
                    <a:pt x="10" y="227"/>
                  </a:lnTo>
                  <a:lnTo>
                    <a:pt x="13" y="227"/>
                  </a:lnTo>
                  <a:lnTo>
                    <a:pt x="13" y="225"/>
                  </a:lnTo>
                  <a:lnTo>
                    <a:pt x="12" y="223"/>
                  </a:lnTo>
                  <a:lnTo>
                    <a:pt x="13" y="223"/>
                  </a:lnTo>
                  <a:lnTo>
                    <a:pt x="15" y="223"/>
                  </a:lnTo>
                  <a:lnTo>
                    <a:pt x="19" y="223"/>
                  </a:lnTo>
                  <a:lnTo>
                    <a:pt x="20" y="221"/>
                  </a:lnTo>
                  <a:lnTo>
                    <a:pt x="17" y="221"/>
                  </a:lnTo>
                  <a:lnTo>
                    <a:pt x="19" y="220"/>
                  </a:lnTo>
                  <a:lnTo>
                    <a:pt x="20" y="220"/>
                  </a:lnTo>
                  <a:lnTo>
                    <a:pt x="24" y="220"/>
                  </a:lnTo>
                  <a:lnTo>
                    <a:pt x="22" y="221"/>
                  </a:lnTo>
                  <a:lnTo>
                    <a:pt x="24" y="220"/>
                  </a:lnTo>
                  <a:lnTo>
                    <a:pt x="25" y="218"/>
                  </a:lnTo>
                  <a:lnTo>
                    <a:pt x="24" y="220"/>
                  </a:lnTo>
                  <a:lnTo>
                    <a:pt x="27" y="220"/>
                  </a:lnTo>
                  <a:lnTo>
                    <a:pt x="25" y="220"/>
                  </a:lnTo>
                  <a:lnTo>
                    <a:pt x="27" y="220"/>
                  </a:lnTo>
                  <a:lnTo>
                    <a:pt x="27" y="221"/>
                  </a:lnTo>
                  <a:lnTo>
                    <a:pt x="27" y="220"/>
                  </a:lnTo>
                  <a:lnTo>
                    <a:pt x="25" y="218"/>
                  </a:lnTo>
                  <a:lnTo>
                    <a:pt x="29" y="218"/>
                  </a:lnTo>
                  <a:lnTo>
                    <a:pt x="30" y="216"/>
                  </a:lnTo>
                  <a:lnTo>
                    <a:pt x="32" y="216"/>
                  </a:lnTo>
                  <a:lnTo>
                    <a:pt x="34" y="216"/>
                  </a:lnTo>
                  <a:lnTo>
                    <a:pt x="36" y="216"/>
                  </a:lnTo>
                  <a:lnTo>
                    <a:pt x="37" y="216"/>
                  </a:lnTo>
                  <a:lnTo>
                    <a:pt x="34" y="215"/>
                  </a:lnTo>
                  <a:lnTo>
                    <a:pt x="30" y="215"/>
                  </a:lnTo>
                  <a:lnTo>
                    <a:pt x="29" y="216"/>
                  </a:lnTo>
                  <a:lnTo>
                    <a:pt x="27" y="216"/>
                  </a:lnTo>
                  <a:lnTo>
                    <a:pt x="24" y="218"/>
                  </a:lnTo>
                  <a:lnTo>
                    <a:pt x="25" y="216"/>
                  </a:lnTo>
                  <a:lnTo>
                    <a:pt x="24" y="216"/>
                  </a:lnTo>
                  <a:lnTo>
                    <a:pt x="24" y="215"/>
                  </a:lnTo>
                  <a:lnTo>
                    <a:pt x="22" y="216"/>
                  </a:lnTo>
                  <a:lnTo>
                    <a:pt x="20" y="216"/>
                  </a:lnTo>
                  <a:lnTo>
                    <a:pt x="19" y="216"/>
                  </a:lnTo>
                  <a:lnTo>
                    <a:pt x="17" y="218"/>
                  </a:lnTo>
                  <a:lnTo>
                    <a:pt x="17" y="216"/>
                  </a:lnTo>
                  <a:lnTo>
                    <a:pt x="15" y="218"/>
                  </a:lnTo>
                  <a:lnTo>
                    <a:pt x="13" y="218"/>
                  </a:lnTo>
                  <a:lnTo>
                    <a:pt x="12" y="218"/>
                  </a:lnTo>
                  <a:lnTo>
                    <a:pt x="13" y="216"/>
                  </a:lnTo>
                  <a:lnTo>
                    <a:pt x="12" y="216"/>
                  </a:lnTo>
                  <a:lnTo>
                    <a:pt x="8" y="215"/>
                  </a:lnTo>
                  <a:lnTo>
                    <a:pt x="12" y="215"/>
                  </a:lnTo>
                  <a:lnTo>
                    <a:pt x="12" y="211"/>
                  </a:lnTo>
                  <a:lnTo>
                    <a:pt x="12" y="210"/>
                  </a:lnTo>
                  <a:lnTo>
                    <a:pt x="13" y="210"/>
                  </a:lnTo>
                  <a:lnTo>
                    <a:pt x="10" y="210"/>
                  </a:lnTo>
                  <a:lnTo>
                    <a:pt x="8" y="211"/>
                  </a:lnTo>
                  <a:lnTo>
                    <a:pt x="7" y="211"/>
                  </a:lnTo>
                  <a:lnTo>
                    <a:pt x="5" y="213"/>
                  </a:lnTo>
                  <a:lnTo>
                    <a:pt x="3" y="211"/>
                  </a:lnTo>
                  <a:lnTo>
                    <a:pt x="5" y="211"/>
                  </a:lnTo>
                  <a:lnTo>
                    <a:pt x="5" y="208"/>
                  </a:lnTo>
                  <a:lnTo>
                    <a:pt x="3" y="208"/>
                  </a:lnTo>
                  <a:lnTo>
                    <a:pt x="3" y="204"/>
                  </a:lnTo>
                  <a:lnTo>
                    <a:pt x="7" y="206"/>
                  </a:lnTo>
                  <a:lnTo>
                    <a:pt x="8" y="206"/>
                  </a:lnTo>
                  <a:lnTo>
                    <a:pt x="10" y="204"/>
                  </a:lnTo>
                  <a:lnTo>
                    <a:pt x="10" y="206"/>
                  </a:lnTo>
                  <a:lnTo>
                    <a:pt x="10" y="204"/>
                  </a:lnTo>
                  <a:lnTo>
                    <a:pt x="10" y="203"/>
                  </a:lnTo>
                  <a:lnTo>
                    <a:pt x="12" y="203"/>
                  </a:lnTo>
                  <a:lnTo>
                    <a:pt x="13" y="203"/>
                  </a:lnTo>
                  <a:lnTo>
                    <a:pt x="15" y="203"/>
                  </a:lnTo>
                  <a:lnTo>
                    <a:pt x="13" y="203"/>
                  </a:lnTo>
                  <a:lnTo>
                    <a:pt x="12" y="203"/>
                  </a:lnTo>
                  <a:lnTo>
                    <a:pt x="10" y="203"/>
                  </a:lnTo>
                  <a:lnTo>
                    <a:pt x="8" y="201"/>
                  </a:lnTo>
                  <a:lnTo>
                    <a:pt x="12" y="201"/>
                  </a:lnTo>
                  <a:lnTo>
                    <a:pt x="12" y="199"/>
                  </a:lnTo>
                  <a:lnTo>
                    <a:pt x="13" y="201"/>
                  </a:lnTo>
                  <a:lnTo>
                    <a:pt x="13" y="199"/>
                  </a:lnTo>
                  <a:lnTo>
                    <a:pt x="17" y="199"/>
                  </a:lnTo>
                  <a:lnTo>
                    <a:pt x="19" y="199"/>
                  </a:lnTo>
                  <a:lnTo>
                    <a:pt x="20" y="199"/>
                  </a:lnTo>
                  <a:lnTo>
                    <a:pt x="22" y="199"/>
                  </a:lnTo>
                  <a:lnTo>
                    <a:pt x="24" y="199"/>
                  </a:lnTo>
                  <a:lnTo>
                    <a:pt x="25" y="196"/>
                  </a:lnTo>
                  <a:lnTo>
                    <a:pt x="25" y="199"/>
                  </a:lnTo>
                  <a:lnTo>
                    <a:pt x="27" y="198"/>
                  </a:lnTo>
                  <a:lnTo>
                    <a:pt x="27" y="199"/>
                  </a:lnTo>
                  <a:lnTo>
                    <a:pt x="27" y="198"/>
                  </a:lnTo>
                  <a:lnTo>
                    <a:pt x="29" y="196"/>
                  </a:lnTo>
                  <a:lnTo>
                    <a:pt x="29" y="194"/>
                  </a:lnTo>
                  <a:lnTo>
                    <a:pt x="29" y="196"/>
                  </a:lnTo>
                  <a:lnTo>
                    <a:pt x="30" y="196"/>
                  </a:lnTo>
                  <a:lnTo>
                    <a:pt x="32" y="196"/>
                  </a:lnTo>
                  <a:lnTo>
                    <a:pt x="34" y="196"/>
                  </a:lnTo>
                  <a:lnTo>
                    <a:pt x="34" y="194"/>
                  </a:lnTo>
                  <a:lnTo>
                    <a:pt x="30" y="192"/>
                  </a:lnTo>
                  <a:lnTo>
                    <a:pt x="27" y="192"/>
                  </a:lnTo>
                  <a:lnTo>
                    <a:pt x="27" y="196"/>
                  </a:lnTo>
                  <a:lnTo>
                    <a:pt x="27" y="194"/>
                  </a:lnTo>
                  <a:lnTo>
                    <a:pt x="25" y="192"/>
                  </a:lnTo>
                  <a:lnTo>
                    <a:pt x="24" y="192"/>
                  </a:lnTo>
                  <a:lnTo>
                    <a:pt x="20" y="192"/>
                  </a:lnTo>
                  <a:lnTo>
                    <a:pt x="19" y="192"/>
                  </a:lnTo>
                  <a:lnTo>
                    <a:pt x="17" y="192"/>
                  </a:lnTo>
                  <a:lnTo>
                    <a:pt x="17" y="191"/>
                  </a:lnTo>
                  <a:lnTo>
                    <a:pt x="15" y="191"/>
                  </a:lnTo>
                  <a:lnTo>
                    <a:pt x="13" y="189"/>
                  </a:lnTo>
                  <a:lnTo>
                    <a:pt x="12" y="189"/>
                  </a:lnTo>
                  <a:lnTo>
                    <a:pt x="13" y="191"/>
                  </a:lnTo>
                  <a:lnTo>
                    <a:pt x="12" y="191"/>
                  </a:lnTo>
                  <a:lnTo>
                    <a:pt x="10" y="189"/>
                  </a:lnTo>
                  <a:lnTo>
                    <a:pt x="10" y="191"/>
                  </a:lnTo>
                  <a:lnTo>
                    <a:pt x="8" y="191"/>
                  </a:lnTo>
                  <a:lnTo>
                    <a:pt x="7" y="191"/>
                  </a:lnTo>
                  <a:lnTo>
                    <a:pt x="5" y="189"/>
                  </a:lnTo>
                  <a:lnTo>
                    <a:pt x="7" y="189"/>
                  </a:lnTo>
                  <a:lnTo>
                    <a:pt x="5" y="186"/>
                  </a:lnTo>
                  <a:lnTo>
                    <a:pt x="8" y="186"/>
                  </a:lnTo>
                  <a:lnTo>
                    <a:pt x="7" y="184"/>
                  </a:lnTo>
                  <a:lnTo>
                    <a:pt x="8" y="184"/>
                  </a:lnTo>
                  <a:lnTo>
                    <a:pt x="10" y="184"/>
                  </a:lnTo>
                  <a:lnTo>
                    <a:pt x="8" y="184"/>
                  </a:lnTo>
                  <a:lnTo>
                    <a:pt x="10" y="186"/>
                  </a:lnTo>
                  <a:lnTo>
                    <a:pt x="10" y="184"/>
                  </a:lnTo>
                  <a:lnTo>
                    <a:pt x="12" y="184"/>
                  </a:lnTo>
                  <a:lnTo>
                    <a:pt x="12" y="182"/>
                  </a:lnTo>
                  <a:lnTo>
                    <a:pt x="15" y="182"/>
                  </a:lnTo>
                  <a:lnTo>
                    <a:pt x="15" y="181"/>
                  </a:lnTo>
                  <a:lnTo>
                    <a:pt x="19" y="181"/>
                  </a:lnTo>
                  <a:lnTo>
                    <a:pt x="20" y="181"/>
                  </a:lnTo>
                  <a:lnTo>
                    <a:pt x="22" y="182"/>
                  </a:lnTo>
                  <a:lnTo>
                    <a:pt x="20" y="184"/>
                  </a:lnTo>
                  <a:lnTo>
                    <a:pt x="22" y="184"/>
                  </a:lnTo>
                  <a:lnTo>
                    <a:pt x="24" y="184"/>
                  </a:lnTo>
                  <a:lnTo>
                    <a:pt x="25" y="184"/>
                  </a:lnTo>
                  <a:lnTo>
                    <a:pt x="27" y="182"/>
                  </a:lnTo>
                  <a:lnTo>
                    <a:pt x="25" y="181"/>
                  </a:lnTo>
                  <a:lnTo>
                    <a:pt x="27" y="181"/>
                  </a:lnTo>
                  <a:lnTo>
                    <a:pt x="29" y="181"/>
                  </a:lnTo>
                  <a:lnTo>
                    <a:pt x="27" y="184"/>
                  </a:lnTo>
                  <a:lnTo>
                    <a:pt x="27" y="186"/>
                  </a:lnTo>
                  <a:lnTo>
                    <a:pt x="29" y="187"/>
                  </a:lnTo>
                  <a:lnTo>
                    <a:pt x="30" y="187"/>
                  </a:lnTo>
                  <a:lnTo>
                    <a:pt x="32" y="187"/>
                  </a:lnTo>
                  <a:lnTo>
                    <a:pt x="34" y="187"/>
                  </a:lnTo>
                  <a:lnTo>
                    <a:pt x="36" y="187"/>
                  </a:lnTo>
                  <a:lnTo>
                    <a:pt x="34" y="187"/>
                  </a:lnTo>
                  <a:lnTo>
                    <a:pt x="36" y="187"/>
                  </a:lnTo>
                  <a:lnTo>
                    <a:pt x="37" y="189"/>
                  </a:lnTo>
                  <a:lnTo>
                    <a:pt x="39" y="187"/>
                  </a:lnTo>
                  <a:lnTo>
                    <a:pt x="37" y="186"/>
                  </a:lnTo>
                  <a:lnTo>
                    <a:pt x="36" y="186"/>
                  </a:lnTo>
                  <a:lnTo>
                    <a:pt x="34" y="186"/>
                  </a:lnTo>
                  <a:lnTo>
                    <a:pt x="32" y="186"/>
                  </a:lnTo>
                  <a:lnTo>
                    <a:pt x="34" y="182"/>
                  </a:lnTo>
                  <a:lnTo>
                    <a:pt x="34" y="184"/>
                  </a:lnTo>
                  <a:lnTo>
                    <a:pt x="36" y="184"/>
                  </a:lnTo>
                  <a:lnTo>
                    <a:pt x="34" y="184"/>
                  </a:lnTo>
                  <a:lnTo>
                    <a:pt x="36" y="182"/>
                  </a:lnTo>
                  <a:lnTo>
                    <a:pt x="36" y="181"/>
                  </a:lnTo>
                  <a:lnTo>
                    <a:pt x="37" y="179"/>
                  </a:lnTo>
                  <a:lnTo>
                    <a:pt x="37" y="177"/>
                  </a:lnTo>
                  <a:lnTo>
                    <a:pt x="34" y="177"/>
                  </a:lnTo>
                  <a:lnTo>
                    <a:pt x="32" y="175"/>
                  </a:lnTo>
                  <a:lnTo>
                    <a:pt x="32" y="174"/>
                  </a:lnTo>
                  <a:lnTo>
                    <a:pt x="34" y="174"/>
                  </a:lnTo>
                  <a:lnTo>
                    <a:pt x="36" y="175"/>
                  </a:lnTo>
                  <a:lnTo>
                    <a:pt x="37" y="175"/>
                  </a:lnTo>
                  <a:lnTo>
                    <a:pt x="41" y="174"/>
                  </a:lnTo>
                  <a:lnTo>
                    <a:pt x="42" y="174"/>
                  </a:lnTo>
                  <a:lnTo>
                    <a:pt x="44" y="174"/>
                  </a:lnTo>
                  <a:lnTo>
                    <a:pt x="46" y="172"/>
                  </a:lnTo>
                  <a:lnTo>
                    <a:pt x="46" y="170"/>
                  </a:lnTo>
                  <a:lnTo>
                    <a:pt x="46" y="169"/>
                  </a:lnTo>
                  <a:lnTo>
                    <a:pt x="47" y="169"/>
                  </a:lnTo>
                  <a:lnTo>
                    <a:pt x="49" y="167"/>
                  </a:lnTo>
                  <a:lnTo>
                    <a:pt x="51" y="169"/>
                  </a:lnTo>
                  <a:lnTo>
                    <a:pt x="54" y="169"/>
                  </a:lnTo>
                  <a:lnTo>
                    <a:pt x="54" y="170"/>
                  </a:lnTo>
                  <a:lnTo>
                    <a:pt x="56" y="169"/>
                  </a:lnTo>
                  <a:lnTo>
                    <a:pt x="58" y="170"/>
                  </a:lnTo>
                  <a:lnTo>
                    <a:pt x="59" y="170"/>
                  </a:lnTo>
                  <a:lnTo>
                    <a:pt x="61" y="170"/>
                  </a:lnTo>
                  <a:lnTo>
                    <a:pt x="63" y="172"/>
                  </a:lnTo>
                  <a:lnTo>
                    <a:pt x="64" y="170"/>
                  </a:lnTo>
                  <a:lnTo>
                    <a:pt x="66" y="172"/>
                  </a:lnTo>
                  <a:lnTo>
                    <a:pt x="68" y="170"/>
                  </a:lnTo>
                  <a:lnTo>
                    <a:pt x="70" y="170"/>
                  </a:lnTo>
                  <a:lnTo>
                    <a:pt x="71" y="170"/>
                  </a:lnTo>
                  <a:lnTo>
                    <a:pt x="71" y="172"/>
                  </a:lnTo>
                  <a:lnTo>
                    <a:pt x="73" y="172"/>
                  </a:lnTo>
                  <a:lnTo>
                    <a:pt x="71" y="170"/>
                  </a:lnTo>
                  <a:lnTo>
                    <a:pt x="73" y="170"/>
                  </a:lnTo>
                  <a:lnTo>
                    <a:pt x="73" y="172"/>
                  </a:lnTo>
                  <a:lnTo>
                    <a:pt x="75" y="170"/>
                  </a:lnTo>
                  <a:lnTo>
                    <a:pt x="75" y="172"/>
                  </a:lnTo>
                  <a:lnTo>
                    <a:pt x="76" y="172"/>
                  </a:lnTo>
                  <a:lnTo>
                    <a:pt x="76" y="174"/>
                  </a:lnTo>
                  <a:lnTo>
                    <a:pt x="76" y="170"/>
                  </a:lnTo>
                  <a:lnTo>
                    <a:pt x="78" y="169"/>
                  </a:lnTo>
                  <a:lnTo>
                    <a:pt x="78" y="170"/>
                  </a:lnTo>
                  <a:lnTo>
                    <a:pt x="81" y="170"/>
                  </a:lnTo>
                  <a:lnTo>
                    <a:pt x="83" y="170"/>
                  </a:lnTo>
                  <a:lnTo>
                    <a:pt x="85" y="172"/>
                  </a:lnTo>
                  <a:lnTo>
                    <a:pt x="87" y="170"/>
                  </a:lnTo>
                  <a:lnTo>
                    <a:pt x="88" y="172"/>
                  </a:lnTo>
                  <a:lnTo>
                    <a:pt x="92" y="172"/>
                  </a:lnTo>
                  <a:lnTo>
                    <a:pt x="92" y="170"/>
                  </a:lnTo>
                  <a:lnTo>
                    <a:pt x="92" y="172"/>
                  </a:lnTo>
                  <a:lnTo>
                    <a:pt x="88" y="172"/>
                  </a:lnTo>
                  <a:lnTo>
                    <a:pt x="88" y="170"/>
                  </a:lnTo>
                  <a:lnTo>
                    <a:pt x="87" y="170"/>
                  </a:lnTo>
                  <a:lnTo>
                    <a:pt x="85" y="170"/>
                  </a:lnTo>
                  <a:lnTo>
                    <a:pt x="85" y="169"/>
                  </a:lnTo>
                  <a:lnTo>
                    <a:pt x="83" y="169"/>
                  </a:lnTo>
                  <a:lnTo>
                    <a:pt x="80" y="169"/>
                  </a:lnTo>
                  <a:lnTo>
                    <a:pt x="78" y="167"/>
                  </a:lnTo>
                  <a:lnTo>
                    <a:pt x="80" y="165"/>
                  </a:lnTo>
                  <a:lnTo>
                    <a:pt x="80" y="164"/>
                  </a:lnTo>
                  <a:lnTo>
                    <a:pt x="78" y="164"/>
                  </a:lnTo>
                  <a:lnTo>
                    <a:pt x="81" y="162"/>
                  </a:lnTo>
                  <a:lnTo>
                    <a:pt x="80" y="160"/>
                  </a:lnTo>
                  <a:lnTo>
                    <a:pt x="80" y="162"/>
                  </a:lnTo>
                  <a:lnTo>
                    <a:pt x="78" y="162"/>
                  </a:lnTo>
                  <a:lnTo>
                    <a:pt x="76" y="162"/>
                  </a:lnTo>
                  <a:lnTo>
                    <a:pt x="76" y="164"/>
                  </a:lnTo>
                  <a:lnTo>
                    <a:pt x="75" y="165"/>
                  </a:lnTo>
                  <a:lnTo>
                    <a:pt x="73" y="167"/>
                  </a:lnTo>
                  <a:lnTo>
                    <a:pt x="71" y="167"/>
                  </a:lnTo>
                  <a:lnTo>
                    <a:pt x="71" y="169"/>
                  </a:lnTo>
                  <a:lnTo>
                    <a:pt x="68" y="170"/>
                  </a:lnTo>
                  <a:lnTo>
                    <a:pt x="64" y="169"/>
                  </a:lnTo>
                  <a:lnTo>
                    <a:pt x="64" y="170"/>
                  </a:lnTo>
                  <a:lnTo>
                    <a:pt x="61" y="170"/>
                  </a:lnTo>
                  <a:lnTo>
                    <a:pt x="61" y="169"/>
                  </a:lnTo>
                  <a:lnTo>
                    <a:pt x="63" y="169"/>
                  </a:lnTo>
                  <a:lnTo>
                    <a:pt x="64" y="167"/>
                  </a:lnTo>
                  <a:lnTo>
                    <a:pt x="61" y="167"/>
                  </a:lnTo>
                  <a:lnTo>
                    <a:pt x="61" y="169"/>
                  </a:lnTo>
                  <a:lnTo>
                    <a:pt x="58" y="169"/>
                  </a:lnTo>
                  <a:lnTo>
                    <a:pt x="56" y="167"/>
                  </a:lnTo>
                  <a:lnTo>
                    <a:pt x="54" y="165"/>
                  </a:lnTo>
                  <a:lnTo>
                    <a:pt x="56" y="165"/>
                  </a:lnTo>
                  <a:lnTo>
                    <a:pt x="54" y="165"/>
                  </a:lnTo>
                  <a:lnTo>
                    <a:pt x="54" y="162"/>
                  </a:lnTo>
                  <a:lnTo>
                    <a:pt x="53" y="162"/>
                  </a:lnTo>
                  <a:lnTo>
                    <a:pt x="53" y="164"/>
                  </a:lnTo>
                  <a:lnTo>
                    <a:pt x="51" y="165"/>
                  </a:lnTo>
                  <a:lnTo>
                    <a:pt x="49" y="165"/>
                  </a:lnTo>
                  <a:lnTo>
                    <a:pt x="46" y="164"/>
                  </a:lnTo>
                  <a:lnTo>
                    <a:pt x="46" y="167"/>
                  </a:lnTo>
                  <a:lnTo>
                    <a:pt x="44" y="165"/>
                  </a:lnTo>
                  <a:lnTo>
                    <a:pt x="41" y="167"/>
                  </a:lnTo>
                  <a:lnTo>
                    <a:pt x="41" y="165"/>
                  </a:lnTo>
                  <a:lnTo>
                    <a:pt x="37" y="165"/>
                  </a:lnTo>
                  <a:lnTo>
                    <a:pt x="36" y="165"/>
                  </a:lnTo>
                  <a:lnTo>
                    <a:pt x="37" y="164"/>
                  </a:lnTo>
                  <a:lnTo>
                    <a:pt x="39" y="164"/>
                  </a:lnTo>
                  <a:lnTo>
                    <a:pt x="42" y="164"/>
                  </a:lnTo>
                  <a:lnTo>
                    <a:pt x="42" y="162"/>
                  </a:lnTo>
                  <a:lnTo>
                    <a:pt x="46" y="162"/>
                  </a:lnTo>
                  <a:lnTo>
                    <a:pt x="46" y="160"/>
                  </a:lnTo>
                  <a:lnTo>
                    <a:pt x="49" y="160"/>
                  </a:lnTo>
                  <a:lnTo>
                    <a:pt x="53" y="158"/>
                  </a:lnTo>
                  <a:lnTo>
                    <a:pt x="51" y="157"/>
                  </a:lnTo>
                  <a:lnTo>
                    <a:pt x="53" y="157"/>
                  </a:lnTo>
                  <a:lnTo>
                    <a:pt x="56" y="157"/>
                  </a:lnTo>
                  <a:lnTo>
                    <a:pt x="56" y="158"/>
                  </a:lnTo>
                  <a:lnTo>
                    <a:pt x="58" y="157"/>
                  </a:lnTo>
                  <a:lnTo>
                    <a:pt x="59" y="155"/>
                  </a:lnTo>
                  <a:lnTo>
                    <a:pt x="59" y="153"/>
                  </a:lnTo>
                  <a:lnTo>
                    <a:pt x="61" y="153"/>
                  </a:lnTo>
                  <a:lnTo>
                    <a:pt x="61" y="152"/>
                  </a:lnTo>
                  <a:lnTo>
                    <a:pt x="63" y="150"/>
                  </a:lnTo>
                  <a:lnTo>
                    <a:pt x="64" y="148"/>
                  </a:lnTo>
                  <a:lnTo>
                    <a:pt x="66" y="148"/>
                  </a:lnTo>
                  <a:lnTo>
                    <a:pt x="66" y="147"/>
                  </a:lnTo>
                  <a:lnTo>
                    <a:pt x="64" y="147"/>
                  </a:lnTo>
                  <a:lnTo>
                    <a:pt x="63" y="145"/>
                  </a:lnTo>
                  <a:lnTo>
                    <a:pt x="61" y="145"/>
                  </a:lnTo>
                  <a:lnTo>
                    <a:pt x="64" y="143"/>
                  </a:lnTo>
                  <a:lnTo>
                    <a:pt x="66" y="141"/>
                  </a:lnTo>
                  <a:lnTo>
                    <a:pt x="66" y="140"/>
                  </a:lnTo>
                  <a:lnTo>
                    <a:pt x="68" y="138"/>
                  </a:lnTo>
                  <a:lnTo>
                    <a:pt x="70" y="136"/>
                  </a:lnTo>
                  <a:lnTo>
                    <a:pt x="71" y="136"/>
                  </a:lnTo>
                  <a:lnTo>
                    <a:pt x="73" y="135"/>
                  </a:lnTo>
                  <a:lnTo>
                    <a:pt x="73" y="133"/>
                  </a:lnTo>
                  <a:lnTo>
                    <a:pt x="75" y="133"/>
                  </a:lnTo>
                  <a:lnTo>
                    <a:pt x="76" y="135"/>
                  </a:lnTo>
                  <a:lnTo>
                    <a:pt x="78" y="135"/>
                  </a:lnTo>
                  <a:lnTo>
                    <a:pt x="78" y="136"/>
                  </a:lnTo>
                  <a:lnTo>
                    <a:pt x="81" y="135"/>
                  </a:lnTo>
                  <a:lnTo>
                    <a:pt x="81" y="136"/>
                  </a:lnTo>
                  <a:lnTo>
                    <a:pt x="81" y="135"/>
                  </a:lnTo>
                  <a:lnTo>
                    <a:pt x="80" y="135"/>
                  </a:lnTo>
                  <a:lnTo>
                    <a:pt x="81" y="135"/>
                  </a:lnTo>
                  <a:lnTo>
                    <a:pt x="83" y="135"/>
                  </a:lnTo>
                  <a:lnTo>
                    <a:pt x="85" y="136"/>
                  </a:lnTo>
                  <a:lnTo>
                    <a:pt x="83" y="135"/>
                  </a:lnTo>
                  <a:lnTo>
                    <a:pt x="87" y="135"/>
                  </a:lnTo>
                  <a:lnTo>
                    <a:pt x="88" y="138"/>
                  </a:lnTo>
                  <a:lnTo>
                    <a:pt x="87" y="135"/>
                  </a:lnTo>
                  <a:lnTo>
                    <a:pt x="88" y="133"/>
                  </a:lnTo>
                  <a:lnTo>
                    <a:pt x="90" y="133"/>
                  </a:lnTo>
                  <a:lnTo>
                    <a:pt x="92" y="133"/>
                  </a:lnTo>
                  <a:lnTo>
                    <a:pt x="90" y="133"/>
                  </a:lnTo>
                  <a:lnTo>
                    <a:pt x="92" y="131"/>
                  </a:lnTo>
                  <a:lnTo>
                    <a:pt x="88" y="133"/>
                  </a:lnTo>
                  <a:lnTo>
                    <a:pt x="87" y="131"/>
                  </a:lnTo>
                  <a:lnTo>
                    <a:pt x="88" y="131"/>
                  </a:lnTo>
                  <a:lnTo>
                    <a:pt x="87" y="130"/>
                  </a:lnTo>
                  <a:lnTo>
                    <a:pt x="88" y="130"/>
                  </a:lnTo>
                  <a:lnTo>
                    <a:pt x="87" y="130"/>
                  </a:lnTo>
                  <a:lnTo>
                    <a:pt x="90" y="130"/>
                  </a:lnTo>
                  <a:lnTo>
                    <a:pt x="90" y="128"/>
                  </a:lnTo>
                  <a:lnTo>
                    <a:pt x="88" y="130"/>
                  </a:lnTo>
                  <a:lnTo>
                    <a:pt x="85" y="128"/>
                  </a:lnTo>
                  <a:lnTo>
                    <a:pt x="81" y="128"/>
                  </a:lnTo>
                  <a:lnTo>
                    <a:pt x="83" y="128"/>
                  </a:lnTo>
                  <a:lnTo>
                    <a:pt x="80" y="128"/>
                  </a:lnTo>
                  <a:lnTo>
                    <a:pt x="78" y="126"/>
                  </a:lnTo>
                  <a:lnTo>
                    <a:pt x="76" y="126"/>
                  </a:lnTo>
                  <a:lnTo>
                    <a:pt x="75" y="126"/>
                  </a:lnTo>
                  <a:lnTo>
                    <a:pt x="73" y="126"/>
                  </a:lnTo>
                  <a:lnTo>
                    <a:pt x="71" y="126"/>
                  </a:lnTo>
                  <a:lnTo>
                    <a:pt x="68" y="124"/>
                  </a:lnTo>
                  <a:lnTo>
                    <a:pt x="64" y="124"/>
                  </a:lnTo>
                  <a:lnTo>
                    <a:pt x="64" y="123"/>
                  </a:lnTo>
                  <a:lnTo>
                    <a:pt x="66" y="121"/>
                  </a:lnTo>
                  <a:lnTo>
                    <a:pt x="64" y="121"/>
                  </a:lnTo>
                  <a:lnTo>
                    <a:pt x="63" y="123"/>
                  </a:lnTo>
                  <a:lnTo>
                    <a:pt x="61" y="124"/>
                  </a:lnTo>
                  <a:lnTo>
                    <a:pt x="61" y="123"/>
                  </a:lnTo>
                  <a:lnTo>
                    <a:pt x="63" y="121"/>
                  </a:lnTo>
                  <a:lnTo>
                    <a:pt x="63" y="119"/>
                  </a:lnTo>
                  <a:lnTo>
                    <a:pt x="63" y="118"/>
                  </a:lnTo>
                  <a:lnTo>
                    <a:pt x="64" y="118"/>
                  </a:lnTo>
                  <a:lnTo>
                    <a:pt x="66" y="116"/>
                  </a:lnTo>
                  <a:lnTo>
                    <a:pt x="66" y="119"/>
                  </a:lnTo>
                  <a:lnTo>
                    <a:pt x="66" y="116"/>
                  </a:lnTo>
                  <a:lnTo>
                    <a:pt x="64" y="114"/>
                  </a:lnTo>
                  <a:lnTo>
                    <a:pt x="68" y="114"/>
                  </a:lnTo>
                  <a:lnTo>
                    <a:pt x="66" y="114"/>
                  </a:lnTo>
                  <a:lnTo>
                    <a:pt x="68" y="113"/>
                  </a:lnTo>
                  <a:lnTo>
                    <a:pt x="66" y="113"/>
                  </a:lnTo>
                  <a:lnTo>
                    <a:pt x="66" y="114"/>
                  </a:lnTo>
                  <a:lnTo>
                    <a:pt x="64" y="114"/>
                  </a:lnTo>
                  <a:lnTo>
                    <a:pt x="64" y="116"/>
                  </a:lnTo>
                  <a:lnTo>
                    <a:pt x="64" y="118"/>
                  </a:lnTo>
                  <a:lnTo>
                    <a:pt x="61" y="116"/>
                  </a:lnTo>
                  <a:lnTo>
                    <a:pt x="63" y="116"/>
                  </a:lnTo>
                  <a:lnTo>
                    <a:pt x="63" y="114"/>
                  </a:lnTo>
                  <a:lnTo>
                    <a:pt x="64" y="114"/>
                  </a:lnTo>
                  <a:lnTo>
                    <a:pt x="63" y="114"/>
                  </a:lnTo>
                  <a:lnTo>
                    <a:pt x="64" y="113"/>
                  </a:lnTo>
                  <a:lnTo>
                    <a:pt x="63" y="113"/>
                  </a:lnTo>
                  <a:lnTo>
                    <a:pt x="63" y="114"/>
                  </a:lnTo>
                  <a:lnTo>
                    <a:pt x="59" y="114"/>
                  </a:lnTo>
                  <a:lnTo>
                    <a:pt x="61" y="114"/>
                  </a:lnTo>
                  <a:lnTo>
                    <a:pt x="59" y="116"/>
                  </a:lnTo>
                  <a:lnTo>
                    <a:pt x="58" y="118"/>
                  </a:lnTo>
                  <a:lnTo>
                    <a:pt x="56" y="118"/>
                  </a:lnTo>
                  <a:lnTo>
                    <a:pt x="56" y="116"/>
                  </a:lnTo>
                  <a:lnTo>
                    <a:pt x="54" y="116"/>
                  </a:lnTo>
                  <a:lnTo>
                    <a:pt x="54" y="114"/>
                  </a:lnTo>
                  <a:lnTo>
                    <a:pt x="53" y="116"/>
                  </a:lnTo>
                  <a:lnTo>
                    <a:pt x="51" y="114"/>
                  </a:lnTo>
                  <a:lnTo>
                    <a:pt x="54" y="113"/>
                  </a:lnTo>
                  <a:lnTo>
                    <a:pt x="53" y="113"/>
                  </a:lnTo>
                  <a:lnTo>
                    <a:pt x="53" y="111"/>
                  </a:lnTo>
                  <a:lnTo>
                    <a:pt x="56" y="113"/>
                  </a:lnTo>
                  <a:lnTo>
                    <a:pt x="58" y="111"/>
                  </a:lnTo>
                  <a:lnTo>
                    <a:pt x="58" y="109"/>
                  </a:lnTo>
                  <a:lnTo>
                    <a:pt x="56" y="109"/>
                  </a:lnTo>
                  <a:lnTo>
                    <a:pt x="58" y="109"/>
                  </a:lnTo>
                  <a:lnTo>
                    <a:pt x="56" y="111"/>
                  </a:lnTo>
                  <a:lnTo>
                    <a:pt x="54" y="109"/>
                  </a:lnTo>
                  <a:lnTo>
                    <a:pt x="54" y="111"/>
                  </a:lnTo>
                  <a:lnTo>
                    <a:pt x="54" y="109"/>
                  </a:lnTo>
                  <a:lnTo>
                    <a:pt x="56" y="109"/>
                  </a:lnTo>
                  <a:lnTo>
                    <a:pt x="56" y="107"/>
                  </a:lnTo>
                  <a:lnTo>
                    <a:pt x="54" y="107"/>
                  </a:lnTo>
                  <a:lnTo>
                    <a:pt x="53" y="109"/>
                  </a:lnTo>
                  <a:lnTo>
                    <a:pt x="51" y="109"/>
                  </a:lnTo>
                  <a:lnTo>
                    <a:pt x="51" y="111"/>
                  </a:lnTo>
                  <a:lnTo>
                    <a:pt x="51" y="109"/>
                  </a:lnTo>
                  <a:lnTo>
                    <a:pt x="47" y="109"/>
                  </a:lnTo>
                  <a:lnTo>
                    <a:pt x="47" y="107"/>
                  </a:lnTo>
                  <a:lnTo>
                    <a:pt x="47" y="106"/>
                  </a:lnTo>
                  <a:lnTo>
                    <a:pt x="44" y="106"/>
                  </a:lnTo>
                  <a:lnTo>
                    <a:pt x="44" y="104"/>
                  </a:lnTo>
                  <a:lnTo>
                    <a:pt x="42" y="106"/>
                  </a:lnTo>
                  <a:lnTo>
                    <a:pt x="44" y="104"/>
                  </a:lnTo>
                  <a:lnTo>
                    <a:pt x="46" y="102"/>
                  </a:lnTo>
                  <a:lnTo>
                    <a:pt x="46" y="104"/>
                  </a:lnTo>
                  <a:lnTo>
                    <a:pt x="47" y="104"/>
                  </a:lnTo>
                  <a:lnTo>
                    <a:pt x="49" y="104"/>
                  </a:lnTo>
                  <a:lnTo>
                    <a:pt x="47" y="102"/>
                  </a:lnTo>
                  <a:lnTo>
                    <a:pt x="47" y="101"/>
                  </a:lnTo>
                  <a:lnTo>
                    <a:pt x="49" y="102"/>
                  </a:lnTo>
                  <a:lnTo>
                    <a:pt x="49" y="104"/>
                  </a:lnTo>
                  <a:lnTo>
                    <a:pt x="49" y="102"/>
                  </a:lnTo>
                  <a:lnTo>
                    <a:pt x="51" y="102"/>
                  </a:lnTo>
                  <a:lnTo>
                    <a:pt x="49" y="102"/>
                  </a:lnTo>
                  <a:lnTo>
                    <a:pt x="49" y="101"/>
                  </a:lnTo>
                  <a:lnTo>
                    <a:pt x="46" y="99"/>
                  </a:lnTo>
                  <a:lnTo>
                    <a:pt x="47" y="99"/>
                  </a:lnTo>
                  <a:lnTo>
                    <a:pt x="46" y="99"/>
                  </a:lnTo>
                  <a:lnTo>
                    <a:pt x="47" y="99"/>
                  </a:lnTo>
                  <a:lnTo>
                    <a:pt x="49" y="101"/>
                  </a:lnTo>
                  <a:lnTo>
                    <a:pt x="49" y="99"/>
                  </a:lnTo>
                  <a:lnTo>
                    <a:pt x="49" y="101"/>
                  </a:lnTo>
                  <a:lnTo>
                    <a:pt x="47" y="99"/>
                  </a:lnTo>
                  <a:lnTo>
                    <a:pt x="46" y="99"/>
                  </a:lnTo>
                  <a:lnTo>
                    <a:pt x="46" y="97"/>
                  </a:lnTo>
                  <a:lnTo>
                    <a:pt x="44" y="96"/>
                  </a:lnTo>
                  <a:lnTo>
                    <a:pt x="46" y="96"/>
                  </a:lnTo>
                  <a:lnTo>
                    <a:pt x="49" y="97"/>
                  </a:lnTo>
                  <a:lnTo>
                    <a:pt x="47" y="96"/>
                  </a:lnTo>
                  <a:lnTo>
                    <a:pt x="49" y="96"/>
                  </a:lnTo>
                  <a:lnTo>
                    <a:pt x="51" y="96"/>
                  </a:lnTo>
                  <a:lnTo>
                    <a:pt x="53" y="97"/>
                  </a:lnTo>
                  <a:lnTo>
                    <a:pt x="53" y="99"/>
                  </a:lnTo>
                  <a:lnTo>
                    <a:pt x="54" y="99"/>
                  </a:lnTo>
                  <a:lnTo>
                    <a:pt x="53" y="97"/>
                  </a:lnTo>
                  <a:lnTo>
                    <a:pt x="54" y="97"/>
                  </a:lnTo>
                  <a:lnTo>
                    <a:pt x="53" y="96"/>
                  </a:lnTo>
                  <a:lnTo>
                    <a:pt x="51" y="94"/>
                  </a:lnTo>
                  <a:lnTo>
                    <a:pt x="54" y="94"/>
                  </a:lnTo>
                  <a:lnTo>
                    <a:pt x="54" y="96"/>
                  </a:lnTo>
                  <a:lnTo>
                    <a:pt x="56" y="96"/>
                  </a:lnTo>
                  <a:lnTo>
                    <a:pt x="58" y="94"/>
                  </a:lnTo>
                  <a:lnTo>
                    <a:pt x="59" y="96"/>
                  </a:lnTo>
                  <a:lnTo>
                    <a:pt x="59" y="94"/>
                  </a:lnTo>
                  <a:lnTo>
                    <a:pt x="61" y="96"/>
                  </a:lnTo>
                  <a:lnTo>
                    <a:pt x="61" y="97"/>
                  </a:lnTo>
                  <a:lnTo>
                    <a:pt x="64" y="97"/>
                  </a:lnTo>
                  <a:lnTo>
                    <a:pt x="64" y="99"/>
                  </a:lnTo>
                  <a:lnTo>
                    <a:pt x="66" y="97"/>
                  </a:lnTo>
                  <a:lnTo>
                    <a:pt x="63" y="97"/>
                  </a:lnTo>
                  <a:lnTo>
                    <a:pt x="61" y="97"/>
                  </a:lnTo>
                  <a:lnTo>
                    <a:pt x="61" y="96"/>
                  </a:lnTo>
                  <a:lnTo>
                    <a:pt x="59" y="94"/>
                  </a:lnTo>
                  <a:lnTo>
                    <a:pt x="59" y="92"/>
                  </a:lnTo>
                  <a:lnTo>
                    <a:pt x="58" y="92"/>
                  </a:lnTo>
                  <a:lnTo>
                    <a:pt x="58" y="89"/>
                  </a:lnTo>
                  <a:lnTo>
                    <a:pt x="59" y="87"/>
                  </a:lnTo>
                  <a:lnTo>
                    <a:pt x="59" y="85"/>
                  </a:lnTo>
                  <a:lnTo>
                    <a:pt x="61" y="85"/>
                  </a:lnTo>
                  <a:lnTo>
                    <a:pt x="63" y="85"/>
                  </a:lnTo>
                  <a:lnTo>
                    <a:pt x="66" y="85"/>
                  </a:lnTo>
                  <a:lnTo>
                    <a:pt x="68" y="85"/>
                  </a:lnTo>
                  <a:lnTo>
                    <a:pt x="71" y="85"/>
                  </a:lnTo>
                  <a:lnTo>
                    <a:pt x="70" y="85"/>
                  </a:lnTo>
                  <a:lnTo>
                    <a:pt x="73" y="87"/>
                  </a:lnTo>
                  <a:lnTo>
                    <a:pt x="73" y="85"/>
                  </a:lnTo>
                  <a:lnTo>
                    <a:pt x="73" y="87"/>
                  </a:lnTo>
                  <a:lnTo>
                    <a:pt x="75" y="85"/>
                  </a:lnTo>
                  <a:lnTo>
                    <a:pt x="73" y="85"/>
                  </a:lnTo>
                  <a:lnTo>
                    <a:pt x="73" y="84"/>
                  </a:lnTo>
                  <a:lnTo>
                    <a:pt x="73" y="82"/>
                  </a:lnTo>
                  <a:lnTo>
                    <a:pt x="75" y="82"/>
                  </a:lnTo>
                  <a:lnTo>
                    <a:pt x="76" y="82"/>
                  </a:lnTo>
                  <a:lnTo>
                    <a:pt x="75" y="80"/>
                  </a:lnTo>
                  <a:lnTo>
                    <a:pt x="76" y="80"/>
                  </a:lnTo>
                  <a:lnTo>
                    <a:pt x="75" y="80"/>
                  </a:lnTo>
                  <a:lnTo>
                    <a:pt x="76" y="80"/>
                  </a:lnTo>
                  <a:lnTo>
                    <a:pt x="75" y="80"/>
                  </a:lnTo>
                  <a:lnTo>
                    <a:pt x="76" y="80"/>
                  </a:lnTo>
                  <a:lnTo>
                    <a:pt x="76" y="79"/>
                  </a:lnTo>
                  <a:lnTo>
                    <a:pt x="75" y="80"/>
                  </a:lnTo>
                  <a:lnTo>
                    <a:pt x="73" y="79"/>
                  </a:lnTo>
                  <a:lnTo>
                    <a:pt x="71" y="79"/>
                  </a:lnTo>
                  <a:lnTo>
                    <a:pt x="70" y="77"/>
                  </a:lnTo>
                  <a:lnTo>
                    <a:pt x="70" y="79"/>
                  </a:lnTo>
                  <a:lnTo>
                    <a:pt x="68" y="77"/>
                  </a:lnTo>
                  <a:lnTo>
                    <a:pt x="64" y="79"/>
                  </a:lnTo>
                  <a:lnTo>
                    <a:pt x="63" y="79"/>
                  </a:lnTo>
                  <a:lnTo>
                    <a:pt x="61" y="77"/>
                  </a:lnTo>
                  <a:lnTo>
                    <a:pt x="63" y="73"/>
                  </a:lnTo>
                  <a:lnTo>
                    <a:pt x="64" y="72"/>
                  </a:lnTo>
                  <a:lnTo>
                    <a:pt x="66" y="72"/>
                  </a:lnTo>
                  <a:lnTo>
                    <a:pt x="66" y="73"/>
                  </a:lnTo>
                  <a:lnTo>
                    <a:pt x="68" y="73"/>
                  </a:lnTo>
                  <a:lnTo>
                    <a:pt x="68" y="75"/>
                  </a:lnTo>
                  <a:lnTo>
                    <a:pt x="66" y="75"/>
                  </a:lnTo>
                  <a:lnTo>
                    <a:pt x="68" y="75"/>
                  </a:lnTo>
                  <a:lnTo>
                    <a:pt x="68" y="73"/>
                  </a:lnTo>
                  <a:lnTo>
                    <a:pt x="68" y="72"/>
                  </a:lnTo>
                  <a:lnTo>
                    <a:pt x="66" y="72"/>
                  </a:lnTo>
                  <a:lnTo>
                    <a:pt x="66" y="70"/>
                  </a:lnTo>
                  <a:lnTo>
                    <a:pt x="68" y="70"/>
                  </a:lnTo>
                  <a:lnTo>
                    <a:pt x="68" y="68"/>
                  </a:lnTo>
                  <a:lnTo>
                    <a:pt x="66" y="68"/>
                  </a:lnTo>
                  <a:lnTo>
                    <a:pt x="66" y="67"/>
                  </a:lnTo>
                  <a:lnTo>
                    <a:pt x="66" y="68"/>
                  </a:lnTo>
                  <a:lnTo>
                    <a:pt x="64" y="67"/>
                  </a:lnTo>
                  <a:lnTo>
                    <a:pt x="66" y="65"/>
                  </a:lnTo>
                  <a:lnTo>
                    <a:pt x="68" y="65"/>
                  </a:lnTo>
                  <a:lnTo>
                    <a:pt x="70" y="63"/>
                  </a:lnTo>
                  <a:lnTo>
                    <a:pt x="68" y="62"/>
                  </a:lnTo>
                  <a:lnTo>
                    <a:pt x="70" y="62"/>
                  </a:lnTo>
                  <a:lnTo>
                    <a:pt x="71" y="60"/>
                  </a:lnTo>
                  <a:lnTo>
                    <a:pt x="70" y="62"/>
                  </a:lnTo>
                  <a:lnTo>
                    <a:pt x="68" y="62"/>
                  </a:lnTo>
                  <a:lnTo>
                    <a:pt x="68" y="63"/>
                  </a:lnTo>
                  <a:lnTo>
                    <a:pt x="66" y="62"/>
                  </a:lnTo>
                  <a:lnTo>
                    <a:pt x="66" y="63"/>
                  </a:lnTo>
                  <a:lnTo>
                    <a:pt x="64" y="65"/>
                  </a:lnTo>
                  <a:lnTo>
                    <a:pt x="63" y="63"/>
                  </a:lnTo>
                  <a:lnTo>
                    <a:pt x="63" y="62"/>
                  </a:lnTo>
                  <a:lnTo>
                    <a:pt x="66" y="60"/>
                  </a:lnTo>
                  <a:lnTo>
                    <a:pt x="68" y="62"/>
                  </a:lnTo>
                  <a:lnTo>
                    <a:pt x="64" y="58"/>
                  </a:lnTo>
                  <a:lnTo>
                    <a:pt x="66" y="58"/>
                  </a:lnTo>
                  <a:lnTo>
                    <a:pt x="64" y="55"/>
                  </a:lnTo>
                  <a:lnTo>
                    <a:pt x="66" y="56"/>
                  </a:lnTo>
                  <a:lnTo>
                    <a:pt x="68" y="55"/>
                  </a:lnTo>
                  <a:lnTo>
                    <a:pt x="66" y="55"/>
                  </a:lnTo>
                  <a:lnTo>
                    <a:pt x="66" y="53"/>
                  </a:lnTo>
                  <a:lnTo>
                    <a:pt x="64" y="53"/>
                  </a:lnTo>
                  <a:lnTo>
                    <a:pt x="64" y="55"/>
                  </a:lnTo>
                  <a:lnTo>
                    <a:pt x="63" y="55"/>
                  </a:lnTo>
                  <a:lnTo>
                    <a:pt x="63" y="56"/>
                  </a:lnTo>
                  <a:lnTo>
                    <a:pt x="61" y="55"/>
                  </a:lnTo>
                  <a:lnTo>
                    <a:pt x="61" y="56"/>
                  </a:lnTo>
                  <a:lnTo>
                    <a:pt x="59" y="58"/>
                  </a:lnTo>
                  <a:lnTo>
                    <a:pt x="61" y="60"/>
                  </a:lnTo>
                  <a:lnTo>
                    <a:pt x="59" y="62"/>
                  </a:lnTo>
                  <a:lnTo>
                    <a:pt x="58" y="60"/>
                  </a:lnTo>
                  <a:lnTo>
                    <a:pt x="58" y="58"/>
                  </a:lnTo>
                  <a:lnTo>
                    <a:pt x="59" y="56"/>
                  </a:lnTo>
                  <a:lnTo>
                    <a:pt x="61" y="55"/>
                  </a:lnTo>
                  <a:lnTo>
                    <a:pt x="61" y="53"/>
                  </a:lnTo>
                  <a:lnTo>
                    <a:pt x="63" y="53"/>
                  </a:lnTo>
                  <a:lnTo>
                    <a:pt x="61" y="50"/>
                  </a:lnTo>
                  <a:lnTo>
                    <a:pt x="63" y="51"/>
                  </a:lnTo>
                  <a:lnTo>
                    <a:pt x="61" y="50"/>
                  </a:lnTo>
                  <a:lnTo>
                    <a:pt x="63" y="50"/>
                  </a:lnTo>
                  <a:lnTo>
                    <a:pt x="63" y="48"/>
                  </a:lnTo>
                  <a:lnTo>
                    <a:pt x="64" y="48"/>
                  </a:lnTo>
                  <a:lnTo>
                    <a:pt x="66" y="46"/>
                  </a:lnTo>
                  <a:lnTo>
                    <a:pt x="68" y="50"/>
                  </a:lnTo>
                  <a:lnTo>
                    <a:pt x="70" y="50"/>
                  </a:lnTo>
                  <a:lnTo>
                    <a:pt x="68" y="51"/>
                  </a:lnTo>
                  <a:lnTo>
                    <a:pt x="70" y="50"/>
                  </a:lnTo>
                  <a:lnTo>
                    <a:pt x="70" y="51"/>
                  </a:lnTo>
                  <a:lnTo>
                    <a:pt x="71" y="51"/>
                  </a:lnTo>
                  <a:lnTo>
                    <a:pt x="68" y="53"/>
                  </a:lnTo>
                  <a:lnTo>
                    <a:pt x="66" y="51"/>
                  </a:lnTo>
                  <a:lnTo>
                    <a:pt x="66" y="53"/>
                  </a:lnTo>
                  <a:lnTo>
                    <a:pt x="70" y="55"/>
                  </a:lnTo>
                  <a:lnTo>
                    <a:pt x="70" y="53"/>
                  </a:lnTo>
                  <a:lnTo>
                    <a:pt x="71" y="55"/>
                  </a:lnTo>
                  <a:lnTo>
                    <a:pt x="71" y="51"/>
                  </a:lnTo>
                  <a:lnTo>
                    <a:pt x="73" y="51"/>
                  </a:lnTo>
                  <a:lnTo>
                    <a:pt x="75" y="51"/>
                  </a:lnTo>
                  <a:lnTo>
                    <a:pt x="75" y="53"/>
                  </a:lnTo>
                  <a:lnTo>
                    <a:pt x="76" y="53"/>
                  </a:lnTo>
                  <a:lnTo>
                    <a:pt x="76" y="55"/>
                  </a:lnTo>
                  <a:lnTo>
                    <a:pt x="76" y="53"/>
                  </a:lnTo>
                  <a:lnTo>
                    <a:pt x="75" y="51"/>
                  </a:lnTo>
                  <a:lnTo>
                    <a:pt x="75" y="50"/>
                  </a:lnTo>
                  <a:lnTo>
                    <a:pt x="76" y="51"/>
                  </a:lnTo>
                  <a:lnTo>
                    <a:pt x="75" y="50"/>
                  </a:lnTo>
                  <a:lnTo>
                    <a:pt x="71" y="50"/>
                  </a:lnTo>
                  <a:lnTo>
                    <a:pt x="73" y="48"/>
                  </a:lnTo>
                  <a:lnTo>
                    <a:pt x="76" y="46"/>
                  </a:lnTo>
                  <a:lnTo>
                    <a:pt x="76" y="48"/>
                  </a:lnTo>
                  <a:lnTo>
                    <a:pt x="78" y="50"/>
                  </a:lnTo>
                  <a:lnTo>
                    <a:pt x="80" y="50"/>
                  </a:lnTo>
                  <a:lnTo>
                    <a:pt x="81" y="50"/>
                  </a:lnTo>
                  <a:lnTo>
                    <a:pt x="85" y="51"/>
                  </a:lnTo>
                  <a:lnTo>
                    <a:pt x="87" y="51"/>
                  </a:lnTo>
                  <a:lnTo>
                    <a:pt x="88" y="53"/>
                  </a:lnTo>
                  <a:lnTo>
                    <a:pt x="90" y="53"/>
                  </a:lnTo>
                  <a:lnTo>
                    <a:pt x="90" y="55"/>
                  </a:lnTo>
                  <a:lnTo>
                    <a:pt x="93" y="53"/>
                  </a:lnTo>
                  <a:lnTo>
                    <a:pt x="95" y="55"/>
                  </a:lnTo>
                  <a:lnTo>
                    <a:pt x="95" y="58"/>
                  </a:lnTo>
                  <a:lnTo>
                    <a:pt x="97" y="56"/>
                  </a:lnTo>
                  <a:lnTo>
                    <a:pt x="97" y="58"/>
                  </a:lnTo>
                  <a:lnTo>
                    <a:pt x="97" y="60"/>
                  </a:lnTo>
                  <a:lnTo>
                    <a:pt x="93" y="60"/>
                  </a:lnTo>
                  <a:lnTo>
                    <a:pt x="97" y="60"/>
                  </a:lnTo>
                  <a:lnTo>
                    <a:pt x="95" y="62"/>
                  </a:lnTo>
                  <a:lnTo>
                    <a:pt x="98" y="63"/>
                  </a:lnTo>
                  <a:lnTo>
                    <a:pt x="98" y="67"/>
                  </a:lnTo>
                  <a:lnTo>
                    <a:pt x="98" y="63"/>
                  </a:lnTo>
                  <a:lnTo>
                    <a:pt x="100" y="63"/>
                  </a:lnTo>
                  <a:lnTo>
                    <a:pt x="98" y="63"/>
                  </a:lnTo>
                  <a:lnTo>
                    <a:pt x="100" y="63"/>
                  </a:lnTo>
                  <a:lnTo>
                    <a:pt x="100" y="62"/>
                  </a:lnTo>
                  <a:lnTo>
                    <a:pt x="102" y="62"/>
                  </a:lnTo>
                  <a:lnTo>
                    <a:pt x="104" y="60"/>
                  </a:lnTo>
                  <a:lnTo>
                    <a:pt x="104" y="58"/>
                  </a:lnTo>
                  <a:lnTo>
                    <a:pt x="105" y="58"/>
                  </a:lnTo>
                  <a:lnTo>
                    <a:pt x="107" y="60"/>
                  </a:lnTo>
                  <a:lnTo>
                    <a:pt x="109" y="60"/>
                  </a:lnTo>
                  <a:lnTo>
                    <a:pt x="110" y="62"/>
                  </a:lnTo>
                  <a:lnTo>
                    <a:pt x="112" y="63"/>
                  </a:lnTo>
                  <a:lnTo>
                    <a:pt x="114" y="63"/>
                  </a:lnTo>
                  <a:lnTo>
                    <a:pt x="115" y="62"/>
                  </a:lnTo>
                  <a:lnTo>
                    <a:pt x="115" y="63"/>
                  </a:lnTo>
                  <a:lnTo>
                    <a:pt x="119" y="63"/>
                  </a:lnTo>
                  <a:lnTo>
                    <a:pt x="119" y="67"/>
                  </a:lnTo>
                  <a:lnTo>
                    <a:pt x="121" y="68"/>
                  </a:lnTo>
                  <a:lnTo>
                    <a:pt x="124" y="70"/>
                  </a:lnTo>
                  <a:lnTo>
                    <a:pt x="122" y="67"/>
                  </a:lnTo>
                  <a:lnTo>
                    <a:pt x="121" y="65"/>
                  </a:lnTo>
                  <a:lnTo>
                    <a:pt x="121" y="63"/>
                  </a:lnTo>
                  <a:lnTo>
                    <a:pt x="122" y="65"/>
                  </a:lnTo>
                  <a:lnTo>
                    <a:pt x="124" y="65"/>
                  </a:lnTo>
                  <a:lnTo>
                    <a:pt x="126" y="65"/>
                  </a:lnTo>
                  <a:lnTo>
                    <a:pt x="124" y="63"/>
                  </a:lnTo>
                  <a:lnTo>
                    <a:pt x="122" y="62"/>
                  </a:lnTo>
                  <a:lnTo>
                    <a:pt x="124" y="60"/>
                  </a:lnTo>
                  <a:lnTo>
                    <a:pt x="124" y="62"/>
                  </a:lnTo>
                  <a:lnTo>
                    <a:pt x="126" y="62"/>
                  </a:lnTo>
                  <a:lnTo>
                    <a:pt x="124" y="62"/>
                  </a:lnTo>
                  <a:lnTo>
                    <a:pt x="124" y="60"/>
                  </a:lnTo>
                  <a:lnTo>
                    <a:pt x="121" y="60"/>
                  </a:lnTo>
                  <a:lnTo>
                    <a:pt x="119" y="58"/>
                  </a:lnTo>
                  <a:lnTo>
                    <a:pt x="122" y="58"/>
                  </a:lnTo>
                  <a:lnTo>
                    <a:pt x="124" y="56"/>
                  </a:lnTo>
                  <a:lnTo>
                    <a:pt x="126" y="55"/>
                  </a:lnTo>
                  <a:lnTo>
                    <a:pt x="127" y="55"/>
                  </a:lnTo>
                  <a:lnTo>
                    <a:pt x="126" y="56"/>
                  </a:lnTo>
                  <a:lnTo>
                    <a:pt x="127" y="56"/>
                  </a:lnTo>
                  <a:lnTo>
                    <a:pt x="129" y="55"/>
                  </a:lnTo>
                  <a:lnTo>
                    <a:pt x="129" y="53"/>
                  </a:lnTo>
                  <a:lnTo>
                    <a:pt x="131" y="53"/>
                  </a:lnTo>
                  <a:lnTo>
                    <a:pt x="131" y="55"/>
                  </a:lnTo>
                  <a:lnTo>
                    <a:pt x="132" y="53"/>
                  </a:lnTo>
                  <a:lnTo>
                    <a:pt x="136" y="53"/>
                  </a:lnTo>
                  <a:lnTo>
                    <a:pt x="138" y="53"/>
                  </a:lnTo>
                  <a:lnTo>
                    <a:pt x="139" y="51"/>
                  </a:lnTo>
                  <a:lnTo>
                    <a:pt x="141" y="53"/>
                  </a:lnTo>
                  <a:lnTo>
                    <a:pt x="139" y="51"/>
                  </a:lnTo>
                  <a:lnTo>
                    <a:pt x="141" y="50"/>
                  </a:lnTo>
                  <a:lnTo>
                    <a:pt x="141" y="48"/>
                  </a:lnTo>
                  <a:lnTo>
                    <a:pt x="144" y="46"/>
                  </a:lnTo>
                  <a:lnTo>
                    <a:pt x="144" y="45"/>
                  </a:lnTo>
                  <a:lnTo>
                    <a:pt x="144" y="46"/>
                  </a:lnTo>
                  <a:lnTo>
                    <a:pt x="146" y="46"/>
                  </a:lnTo>
                  <a:lnTo>
                    <a:pt x="146" y="45"/>
                  </a:lnTo>
                  <a:lnTo>
                    <a:pt x="148" y="43"/>
                  </a:lnTo>
                  <a:lnTo>
                    <a:pt x="144" y="45"/>
                  </a:lnTo>
                  <a:lnTo>
                    <a:pt x="146" y="43"/>
                  </a:lnTo>
                  <a:lnTo>
                    <a:pt x="144" y="43"/>
                  </a:lnTo>
                  <a:lnTo>
                    <a:pt x="144" y="45"/>
                  </a:lnTo>
                  <a:lnTo>
                    <a:pt x="141" y="45"/>
                  </a:lnTo>
                  <a:lnTo>
                    <a:pt x="139" y="45"/>
                  </a:lnTo>
                  <a:lnTo>
                    <a:pt x="141" y="43"/>
                  </a:lnTo>
                  <a:lnTo>
                    <a:pt x="139" y="43"/>
                  </a:lnTo>
                  <a:lnTo>
                    <a:pt x="138" y="43"/>
                  </a:lnTo>
                  <a:lnTo>
                    <a:pt x="138" y="45"/>
                  </a:lnTo>
                  <a:lnTo>
                    <a:pt x="136" y="45"/>
                  </a:lnTo>
                  <a:lnTo>
                    <a:pt x="134" y="45"/>
                  </a:lnTo>
                  <a:lnTo>
                    <a:pt x="132" y="46"/>
                  </a:lnTo>
                  <a:lnTo>
                    <a:pt x="132" y="45"/>
                  </a:lnTo>
                  <a:lnTo>
                    <a:pt x="134" y="45"/>
                  </a:lnTo>
                  <a:lnTo>
                    <a:pt x="136" y="45"/>
                  </a:lnTo>
                  <a:lnTo>
                    <a:pt x="136" y="43"/>
                  </a:lnTo>
                  <a:lnTo>
                    <a:pt x="134" y="43"/>
                  </a:lnTo>
                  <a:lnTo>
                    <a:pt x="134" y="41"/>
                  </a:lnTo>
                  <a:lnTo>
                    <a:pt x="134" y="43"/>
                  </a:lnTo>
                  <a:lnTo>
                    <a:pt x="132" y="43"/>
                  </a:lnTo>
                  <a:lnTo>
                    <a:pt x="132" y="41"/>
                  </a:lnTo>
                  <a:lnTo>
                    <a:pt x="129" y="41"/>
                  </a:lnTo>
                  <a:lnTo>
                    <a:pt x="127" y="43"/>
                  </a:lnTo>
                  <a:lnTo>
                    <a:pt x="127" y="41"/>
                  </a:lnTo>
                  <a:lnTo>
                    <a:pt x="126" y="38"/>
                  </a:lnTo>
                  <a:lnTo>
                    <a:pt x="126" y="41"/>
                  </a:lnTo>
                  <a:lnTo>
                    <a:pt x="124" y="39"/>
                  </a:lnTo>
                  <a:lnTo>
                    <a:pt x="124" y="38"/>
                  </a:lnTo>
                  <a:lnTo>
                    <a:pt x="122" y="36"/>
                  </a:lnTo>
                  <a:lnTo>
                    <a:pt x="121" y="36"/>
                  </a:lnTo>
                  <a:lnTo>
                    <a:pt x="122" y="34"/>
                  </a:lnTo>
                  <a:lnTo>
                    <a:pt x="121" y="34"/>
                  </a:lnTo>
                  <a:lnTo>
                    <a:pt x="124" y="33"/>
                  </a:lnTo>
                  <a:lnTo>
                    <a:pt x="124" y="31"/>
                  </a:lnTo>
                  <a:lnTo>
                    <a:pt x="126" y="31"/>
                  </a:lnTo>
                  <a:lnTo>
                    <a:pt x="127" y="31"/>
                  </a:lnTo>
                  <a:lnTo>
                    <a:pt x="129" y="31"/>
                  </a:lnTo>
                  <a:lnTo>
                    <a:pt x="131" y="31"/>
                  </a:lnTo>
                  <a:lnTo>
                    <a:pt x="132" y="33"/>
                  </a:lnTo>
                  <a:lnTo>
                    <a:pt x="134" y="31"/>
                  </a:lnTo>
                  <a:lnTo>
                    <a:pt x="132" y="33"/>
                  </a:lnTo>
                  <a:lnTo>
                    <a:pt x="134" y="33"/>
                  </a:lnTo>
                  <a:lnTo>
                    <a:pt x="136" y="34"/>
                  </a:lnTo>
                  <a:lnTo>
                    <a:pt x="134" y="33"/>
                  </a:lnTo>
                  <a:lnTo>
                    <a:pt x="132" y="31"/>
                  </a:lnTo>
                  <a:lnTo>
                    <a:pt x="134" y="31"/>
                  </a:lnTo>
                  <a:lnTo>
                    <a:pt x="136" y="33"/>
                  </a:lnTo>
                  <a:lnTo>
                    <a:pt x="138" y="33"/>
                  </a:lnTo>
                  <a:lnTo>
                    <a:pt x="136" y="33"/>
                  </a:lnTo>
                  <a:lnTo>
                    <a:pt x="136" y="31"/>
                  </a:lnTo>
                  <a:lnTo>
                    <a:pt x="134" y="29"/>
                  </a:lnTo>
                  <a:lnTo>
                    <a:pt x="134" y="27"/>
                  </a:lnTo>
                  <a:lnTo>
                    <a:pt x="132" y="27"/>
                  </a:lnTo>
                  <a:lnTo>
                    <a:pt x="134" y="27"/>
                  </a:lnTo>
                  <a:lnTo>
                    <a:pt x="136" y="26"/>
                  </a:lnTo>
                  <a:lnTo>
                    <a:pt x="138" y="27"/>
                  </a:lnTo>
                  <a:lnTo>
                    <a:pt x="139" y="27"/>
                  </a:lnTo>
                  <a:lnTo>
                    <a:pt x="141" y="26"/>
                  </a:lnTo>
                  <a:lnTo>
                    <a:pt x="143" y="26"/>
                  </a:lnTo>
                  <a:lnTo>
                    <a:pt x="144" y="26"/>
                  </a:lnTo>
                  <a:lnTo>
                    <a:pt x="143" y="26"/>
                  </a:lnTo>
                  <a:lnTo>
                    <a:pt x="143" y="24"/>
                  </a:lnTo>
                  <a:lnTo>
                    <a:pt x="141" y="24"/>
                  </a:lnTo>
                  <a:lnTo>
                    <a:pt x="141" y="26"/>
                  </a:lnTo>
                  <a:lnTo>
                    <a:pt x="139" y="24"/>
                  </a:lnTo>
                  <a:lnTo>
                    <a:pt x="138" y="22"/>
                  </a:lnTo>
                  <a:lnTo>
                    <a:pt x="139" y="21"/>
                  </a:lnTo>
                  <a:lnTo>
                    <a:pt x="143" y="21"/>
                  </a:lnTo>
                  <a:lnTo>
                    <a:pt x="141" y="21"/>
                  </a:lnTo>
                  <a:lnTo>
                    <a:pt x="141" y="17"/>
                  </a:lnTo>
                  <a:lnTo>
                    <a:pt x="139" y="17"/>
                  </a:lnTo>
                  <a:lnTo>
                    <a:pt x="141" y="16"/>
                  </a:lnTo>
                  <a:lnTo>
                    <a:pt x="143" y="17"/>
                  </a:lnTo>
                  <a:lnTo>
                    <a:pt x="143" y="14"/>
                  </a:lnTo>
                  <a:lnTo>
                    <a:pt x="144" y="16"/>
                  </a:lnTo>
                  <a:lnTo>
                    <a:pt x="144" y="14"/>
                  </a:lnTo>
                  <a:lnTo>
                    <a:pt x="146" y="14"/>
                  </a:lnTo>
                  <a:lnTo>
                    <a:pt x="146" y="12"/>
                  </a:lnTo>
                  <a:lnTo>
                    <a:pt x="148" y="12"/>
                  </a:lnTo>
                  <a:lnTo>
                    <a:pt x="148" y="10"/>
                  </a:lnTo>
                  <a:lnTo>
                    <a:pt x="148" y="9"/>
                  </a:lnTo>
                  <a:lnTo>
                    <a:pt x="149" y="7"/>
                  </a:lnTo>
                  <a:lnTo>
                    <a:pt x="151" y="9"/>
                  </a:lnTo>
                  <a:lnTo>
                    <a:pt x="153" y="10"/>
                  </a:lnTo>
                  <a:lnTo>
                    <a:pt x="155" y="9"/>
                  </a:lnTo>
                  <a:lnTo>
                    <a:pt x="155" y="10"/>
                  </a:lnTo>
                  <a:lnTo>
                    <a:pt x="153" y="10"/>
                  </a:lnTo>
                  <a:lnTo>
                    <a:pt x="155" y="12"/>
                  </a:lnTo>
                  <a:lnTo>
                    <a:pt x="156" y="9"/>
                  </a:lnTo>
                  <a:lnTo>
                    <a:pt x="156" y="10"/>
                  </a:lnTo>
                  <a:lnTo>
                    <a:pt x="160" y="9"/>
                  </a:lnTo>
                  <a:lnTo>
                    <a:pt x="161" y="7"/>
                  </a:lnTo>
                  <a:lnTo>
                    <a:pt x="161" y="5"/>
                  </a:lnTo>
                  <a:lnTo>
                    <a:pt x="163" y="9"/>
                  </a:lnTo>
                  <a:lnTo>
                    <a:pt x="161" y="9"/>
                  </a:lnTo>
                  <a:lnTo>
                    <a:pt x="160" y="9"/>
                  </a:lnTo>
                  <a:lnTo>
                    <a:pt x="161" y="10"/>
                  </a:lnTo>
                  <a:lnTo>
                    <a:pt x="161" y="9"/>
                  </a:lnTo>
                  <a:lnTo>
                    <a:pt x="163" y="10"/>
                  </a:lnTo>
                  <a:lnTo>
                    <a:pt x="165" y="9"/>
                  </a:lnTo>
                  <a:lnTo>
                    <a:pt x="165" y="10"/>
                  </a:lnTo>
                  <a:lnTo>
                    <a:pt x="163" y="12"/>
                  </a:lnTo>
                  <a:lnTo>
                    <a:pt x="166" y="12"/>
                  </a:lnTo>
                  <a:lnTo>
                    <a:pt x="165" y="12"/>
                  </a:lnTo>
                  <a:lnTo>
                    <a:pt x="163" y="14"/>
                  </a:lnTo>
                  <a:lnTo>
                    <a:pt x="165" y="12"/>
                  </a:lnTo>
                  <a:lnTo>
                    <a:pt x="165" y="14"/>
                  </a:lnTo>
                  <a:lnTo>
                    <a:pt x="166" y="10"/>
                  </a:lnTo>
                  <a:lnTo>
                    <a:pt x="166" y="9"/>
                  </a:lnTo>
                  <a:lnTo>
                    <a:pt x="166" y="7"/>
                  </a:lnTo>
                  <a:lnTo>
                    <a:pt x="168" y="7"/>
                  </a:lnTo>
                  <a:lnTo>
                    <a:pt x="170" y="5"/>
                  </a:lnTo>
                  <a:lnTo>
                    <a:pt x="170" y="9"/>
                  </a:lnTo>
                  <a:lnTo>
                    <a:pt x="168" y="9"/>
                  </a:lnTo>
                  <a:lnTo>
                    <a:pt x="168" y="10"/>
                  </a:lnTo>
                  <a:lnTo>
                    <a:pt x="170" y="10"/>
                  </a:lnTo>
                  <a:lnTo>
                    <a:pt x="172" y="12"/>
                  </a:lnTo>
                  <a:lnTo>
                    <a:pt x="172" y="14"/>
                  </a:lnTo>
                  <a:lnTo>
                    <a:pt x="170" y="17"/>
                  </a:lnTo>
                  <a:lnTo>
                    <a:pt x="172" y="17"/>
                  </a:lnTo>
                  <a:lnTo>
                    <a:pt x="172" y="16"/>
                  </a:lnTo>
                  <a:lnTo>
                    <a:pt x="173" y="14"/>
                  </a:lnTo>
                  <a:lnTo>
                    <a:pt x="173" y="10"/>
                  </a:lnTo>
                  <a:lnTo>
                    <a:pt x="172" y="10"/>
                  </a:lnTo>
                  <a:lnTo>
                    <a:pt x="173" y="10"/>
                  </a:lnTo>
                  <a:lnTo>
                    <a:pt x="173" y="9"/>
                  </a:lnTo>
                  <a:lnTo>
                    <a:pt x="172" y="9"/>
                  </a:lnTo>
                  <a:lnTo>
                    <a:pt x="172" y="10"/>
                  </a:lnTo>
                  <a:lnTo>
                    <a:pt x="172" y="12"/>
                  </a:lnTo>
                  <a:lnTo>
                    <a:pt x="170" y="10"/>
                  </a:lnTo>
                  <a:lnTo>
                    <a:pt x="172" y="10"/>
                  </a:lnTo>
                  <a:lnTo>
                    <a:pt x="170" y="10"/>
                  </a:lnTo>
                  <a:lnTo>
                    <a:pt x="168" y="9"/>
                  </a:lnTo>
                  <a:lnTo>
                    <a:pt x="172" y="7"/>
                  </a:lnTo>
                  <a:lnTo>
                    <a:pt x="173" y="7"/>
                  </a:lnTo>
                  <a:lnTo>
                    <a:pt x="177" y="5"/>
                  </a:lnTo>
                  <a:lnTo>
                    <a:pt x="177" y="7"/>
                  </a:lnTo>
                  <a:lnTo>
                    <a:pt x="177" y="9"/>
                  </a:lnTo>
                  <a:lnTo>
                    <a:pt x="175" y="12"/>
                  </a:lnTo>
                  <a:lnTo>
                    <a:pt x="177" y="14"/>
                  </a:lnTo>
                  <a:lnTo>
                    <a:pt x="178" y="17"/>
                  </a:lnTo>
                  <a:lnTo>
                    <a:pt x="177" y="19"/>
                  </a:lnTo>
                  <a:lnTo>
                    <a:pt x="175" y="19"/>
                  </a:lnTo>
                  <a:lnTo>
                    <a:pt x="175" y="21"/>
                  </a:lnTo>
                  <a:lnTo>
                    <a:pt x="173" y="21"/>
                  </a:lnTo>
                  <a:lnTo>
                    <a:pt x="172" y="22"/>
                  </a:lnTo>
                  <a:lnTo>
                    <a:pt x="173" y="22"/>
                  </a:lnTo>
                  <a:lnTo>
                    <a:pt x="175" y="22"/>
                  </a:lnTo>
                  <a:lnTo>
                    <a:pt x="173" y="24"/>
                  </a:lnTo>
                  <a:lnTo>
                    <a:pt x="172" y="26"/>
                  </a:lnTo>
                  <a:lnTo>
                    <a:pt x="170" y="27"/>
                  </a:lnTo>
                  <a:lnTo>
                    <a:pt x="172" y="27"/>
                  </a:lnTo>
                  <a:lnTo>
                    <a:pt x="170" y="29"/>
                  </a:lnTo>
                  <a:lnTo>
                    <a:pt x="172" y="27"/>
                  </a:lnTo>
                  <a:lnTo>
                    <a:pt x="173" y="26"/>
                  </a:lnTo>
                  <a:lnTo>
                    <a:pt x="175" y="24"/>
                  </a:lnTo>
                  <a:lnTo>
                    <a:pt x="177" y="24"/>
                  </a:lnTo>
                  <a:lnTo>
                    <a:pt x="178" y="22"/>
                  </a:lnTo>
                  <a:lnTo>
                    <a:pt x="177" y="22"/>
                  </a:lnTo>
                  <a:lnTo>
                    <a:pt x="177" y="21"/>
                  </a:lnTo>
                  <a:lnTo>
                    <a:pt x="178" y="21"/>
                  </a:lnTo>
                  <a:lnTo>
                    <a:pt x="180" y="22"/>
                  </a:lnTo>
                  <a:lnTo>
                    <a:pt x="178" y="21"/>
                  </a:lnTo>
                  <a:lnTo>
                    <a:pt x="180" y="19"/>
                  </a:lnTo>
                  <a:lnTo>
                    <a:pt x="180" y="17"/>
                  </a:lnTo>
                  <a:lnTo>
                    <a:pt x="180" y="16"/>
                  </a:lnTo>
                  <a:lnTo>
                    <a:pt x="180" y="14"/>
                  </a:lnTo>
                  <a:lnTo>
                    <a:pt x="178" y="12"/>
                  </a:lnTo>
                  <a:lnTo>
                    <a:pt x="180" y="10"/>
                  </a:lnTo>
                  <a:lnTo>
                    <a:pt x="180" y="9"/>
                  </a:lnTo>
                  <a:lnTo>
                    <a:pt x="182" y="9"/>
                  </a:lnTo>
                  <a:lnTo>
                    <a:pt x="180" y="7"/>
                  </a:lnTo>
                  <a:lnTo>
                    <a:pt x="183" y="7"/>
                  </a:lnTo>
                  <a:lnTo>
                    <a:pt x="185" y="9"/>
                  </a:lnTo>
                  <a:lnTo>
                    <a:pt x="185" y="7"/>
                  </a:lnTo>
                  <a:lnTo>
                    <a:pt x="187" y="7"/>
                  </a:lnTo>
                  <a:lnTo>
                    <a:pt x="187" y="5"/>
                  </a:lnTo>
                  <a:lnTo>
                    <a:pt x="190" y="9"/>
                  </a:lnTo>
                  <a:lnTo>
                    <a:pt x="187" y="9"/>
                  </a:lnTo>
                  <a:lnTo>
                    <a:pt x="190" y="9"/>
                  </a:lnTo>
                  <a:lnTo>
                    <a:pt x="192" y="10"/>
                  </a:lnTo>
                  <a:lnTo>
                    <a:pt x="192" y="9"/>
                  </a:lnTo>
                  <a:lnTo>
                    <a:pt x="189" y="7"/>
                  </a:lnTo>
                  <a:lnTo>
                    <a:pt x="189" y="5"/>
                  </a:lnTo>
                  <a:lnTo>
                    <a:pt x="189" y="4"/>
                  </a:lnTo>
                  <a:lnTo>
                    <a:pt x="187" y="2"/>
                  </a:lnTo>
                  <a:lnTo>
                    <a:pt x="189" y="2"/>
                  </a:lnTo>
                  <a:lnTo>
                    <a:pt x="190" y="2"/>
                  </a:lnTo>
                  <a:lnTo>
                    <a:pt x="192" y="4"/>
                  </a:lnTo>
                  <a:lnTo>
                    <a:pt x="194" y="4"/>
                  </a:lnTo>
                  <a:lnTo>
                    <a:pt x="195" y="5"/>
                  </a:lnTo>
                  <a:lnTo>
                    <a:pt x="195" y="7"/>
                  </a:lnTo>
                  <a:lnTo>
                    <a:pt x="195" y="9"/>
                  </a:lnTo>
                  <a:lnTo>
                    <a:pt x="197" y="10"/>
                  </a:lnTo>
                  <a:lnTo>
                    <a:pt x="199" y="12"/>
                  </a:lnTo>
                  <a:lnTo>
                    <a:pt x="200" y="14"/>
                  </a:lnTo>
                  <a:lnTo>
                    <a:pt x="202" y="14"/>
                  </a:lnTo>
                  <a:lnTo>
                    <a:pt x="204" y="16"/>
                  </a:lnTo>
                  <a:lnTo>
                    <a:pt x="202" y="17"/>
                  </a:lnTo>
                  <a:lnTo>
                    <a:pt x="200" y="17"/>
                  </a:lnTo>
                  <a:lnTo>
                    <a:pt x="199" y="17"/>
                  </a:lnTo>
                  <a:lnTo>
                    <a:pt x="197" y="17"/>
                  </a:lnTo>
                  <a:lnTo>
                    <a:pt x="197" y="19"/>
                  </a:lnTo>
                  <a:lnTo>
                    <a:pt x="194" y="19"/>
                  </a:lnTo>
                  <a:lnTo>
                    <a:pt x="192" y="19"/>
                  </a:lnTo>
                  <a:lnTo>
                    <a:pt x="190" y="21"/>
                  </a:lnTo>
                  <a:lnTo>
                    <a:pt x="190" y="22"/>
                  </a:lnTo>
                  <a:lnTo>
                    <a:pt x="187" y="24"/>
                  </a:lnTo>
                  <a:close/>
                  <a:moveTo>
                    <a:pt x="63" y="67"/>
                  </a:moveTo>
                  <a:lnTo>
                    <a:pt x="63" y="68"/>
                  </a:lnTo>
                  <a:lnTo>
                    <a:pt x="61" y="72"/>
                  </a:lnTo>
                  <a:lnTo>
                    <a:pt x="63" y="72"/>
                  </a:lnTo>
                  <a:lnTo>
                    <a:pt x="63" y="70"/>
                  </a:lnTo>
                  <a:lnTo>
                    <a:pt x="63" y="72"/>
                  </a:lnTo>
                  <a:lnTo>
                    <a:pt x="61" y="73"/>
                  </a:lnTo>
                  <a:lnTo>
                    <a:pt x="63" y="73"/>
                  </a:lnTo>
                  <a:lnTo>
                    <a:pt x="61" y="73"/>
                  </a:lnTo>
                  <a:lnTo>
                    <a:pt x="61" y="75"/>
                  </a:lnTo>
                  <a:lnTo>
                    <a:pt x="61" y="77"/>
                  </a:lnTo>
                  <a:lnTo>
                    <a:pt x="59" y="75"/>
                  </a:lnTo>
                  <a:lnTo>
                    <a:pt x="59" y="73"/>
                  </a:lnTo>
                  <a:lnTo>
                    <a:pt x="58" y="72"/>
                  </a:lnTo>
                  <a:lnTo>
                    <a:pt x="58" y="70"/>
                  </a:lnTo>
                  <a:lnTo>
                    <a:pt x="58" y="68"/>
                  </a:lnTo>
                  <a:lnTo>
                    <a:pt x="56" y="68"/>
                  </a:lnTo>
                  <a:lnTo>
                    <a:pt x="53" y="68"/>
                  </a:lnTo>
                  <a:lnTo>
                    <a:pt x="51" y="67"/>
                  </a:lnTo>
                  <a:lnTo>
                    <a:pt x="53" y="67"/>
                  </a:lnTo>
                  <a:lnTo>
                    <a:pt x="54" y="65"/>
                  </a:lnTo>
                  <a:lnTo>
                    <a:pt x="56" y="67"/>
                  </a:lnTo>
                  <a:lnTo>
                    <a:pt x="58" y="67"/>
                  </a:lnTo>
                  <a:lnTo>
                    <a:pt x="59" y="65"/>
                  </a:lnTo>
                  <a:lnTo>
                    <a:pt x="59" y="67"/>
                  </a:lnTo>
                  <a:lnTo>
                    <a:pt x="61" y="67"/>
                  </a:lnTo>
                  <a:lnTo>
                    <a:pt x="63" y="67"/>
                  </a:lnTo>
                  <a:close/>
                  <a:moveTo>
                    <a:pt x="53" y="128"/>
                  </a:moveTo>
                  <a:lnTo>
                    <a:pt x="54" y="130"/>
                  </a:lnTo>
                  <a:lnTo>
                    <a:pt x="56" y="128"/>
                  </a:lnTo>
                  <a:lnTo>
                    <a:pt x="58" y="130"/>
                  </a:lnTo>
                  <a:lnTo>
                    <a:pt x="58" y="131"/>
                  </a:lnTo>
                  <a:lnTo>
                    <a:pt x="58" y="133"/>
                  </a:lnTo>
                  <a:lnTo>
                    <a:pt x="59" y="131"/>
                  </a:lnTo>
                  <a:lnTo>
                    <a:pt x="58" y="133"/>
                  </a:lnTo>
                  <a:lnTo>
                    <a:pt x="56" y="131"/>
                  </a:lnTo>
                  <a:lnTo>
                    <a:pt x="54" y="130"/>
                  </a:lnTo>
                  <a:lnTo>
                    <a:pt x="51" y="128"/>
                  </a:lnTo>
                  <a:lnTo>
                    <a:pt x="53" y="128"/>
                  </a:lnTo>
                  <a:close/>
                  <a:moveTo>
                    <a:pt x="7" y="203"/>
                  </a:moveTo>
                  <a:lnTo>
                    <a:pt x="10" y="203"/>
                  </a:lnTo>
                  <a:lnTo>
                    <a:pt x="8" y="204"/>
                  </a:lnTo>
                  <a:lnTo>
                    <a:pt x="5" y="204"/>
                  </a:lnTo>
                  <a:lnTo>
                    <a:pt x="3" y="204"/>
                  </a:lnTo>
                  <a:lnTo>
                    <a:pt x="3" y="203"/>
                  </a:lnTo>
                  <a:lnTo>
                    <a:pt x="5" y="203"/>
                  </a:lnTo>
                  <a:lnTo>
                    <a:pt x="7" y="203"/>
                  </a:lnTo>
                  <a:close/>
                  <a:moveTo>
                    <a:pt x="61" y="119"/>
                  </a:moveTo>
                  <a:lnTo>
                    <a:pt x="61" y="121"/>
                  </a:lnTo>
                  <a:lnTo>
                    <a:pt x="61" y="123"/>
                  </a:lnTo>
                  <a:lnTo>
                    <a:pt x="58" y="123"/>
                  </a:lnTo>
                  <a:lnTo>
                    <a:pt x="58" y="121"/>
                  </a:lnTo>
                  <a:lnTo>
                    <a:pt x="61" y="119"/>
                  </a:lnTo>
                  <a:close/>
                  <a:moveTo>
                    <a:pt x="138" y="14"/>
                  </a:moveTo>
                  <a:lnTo>
                    <a:pt x="138" y="16"/>
                  </a:lnTo>
                  <a:lnTo>
                    <a:pt x="138" y="19"/>
                  </a:lnTo>
                  <a:lnTo>
                    <a:pt x="136" y="19"/>
                  </a:lnTo>
                  <a:lnTo>
                    <a:pt x="136" y="17"/>
                  </a:lnTo>
                  <a:lnTo>
                    <a:pt x="136" y="16"/>
                  </a:lnTo>
                  <a:lnTo>
                    <a:pt x="136" y="14"/>
                  </a:lnTo>
                  <a:lnTo>
                    <a:pt x="138" y="14"/>
                  </a:lnTo>
                  <a:close/>
                  <a:moveTo>
                    <a:pt x="25" y="228"/>
                  </a:moveTo>
                  <a:lnTo>
                    <a:pt x="22" y="230"/>
                  </a:lnTo>
                  <a:lnTo>
                    <a:pt x="20" y="230"/>
                  </a:lnTo>
                  <a:lnTo>
                    <a:pt x="19" y="228"/>
                  </a:lnTo>
                  <a:lnTo>
                    <a:pt x="20" y="228"/>
                  </a:lnTo>
                  <a:lnTo>
                    <a:pt x="22" y="228"/>
                  </a:lnTo>
                  <a:lnTo>
                    <a:pt x="25" y="228"/>
                  </a:lnTo>
                  <a:close/>
                  <a:moveTo>
                    <a:pt x="58" y="80"/>
                  </a:moveTo>
                  <a:lnTo>
                    <a:pt x="59" y="80"/>
                  </a:lnTo>
                  <a:lnTo>
                    <a:pt x="59" y="82"/>
                  </a:lnTo>
                  <a:lnTo>
                    <a:pt x="58" y="82"/>
                  </a:lnTo>
                  <a:lnTo>
                    <a:pt x="54" y="82"/>
                  </a:lnTo>
                  <a:lnTo>
                    <a:pt x="56" y="80"/>
                  </a:lnTo>
                  <a:lnTo>
                    <a:pt x="58" y="80"/>
                  </a:lnTo>
                  <a:close/>
                  <a:moveTo>
                    <a:pt x="46" y="90"/>
                  </a:moveTo>
                  <a:lnTo>
                    <a:pt x="47" y="90"/>
                  </a:lnTo>
                  <a:lnTo>
                    <a:pt x="46" y="92"/>
                  </a:lnTo>
                  <a:lnTo>
                    <a:pt x="44" y="90"/>
                  </a:lnTo>
                  <a:lnTo>
                    <a:pt x="46" y="90"/>
                  </a:lnTo>
                  <a:close/>
                  <a:moveTo>
                    <a:pt x="61" y="133"/>
                  </a:moveTo>
                  <a:lnTo>
                    <a:pt x="61" y="135"/>
                  </a:lnTo>
                  <a:lnTo>
                    <a:pt x="58" y="135"/>
                  </a:lnTo>
                  <a:lnTo>
                    <a:pt x="61" y="133"/>
                  </a:lnTo>
                  <a:close/>
                  <a:moveTo>
                    <a:pt x="61" y="118"/>
                  </a:moveTo>
                  <a:lnTo>
                    <a:pt x="63" y="119"/>
                  </a:lnTo>
                  <a:lnTo>
                    <a:pt x="59" y="119"/>
                  </a:lnTo>
                  <a:lnTo>
                    <a:pt x="59" y="118"/>
                  </a:lnTo>
                  <a:lnTo>
                    <a:pt x="61" y="118"/>
                  </a:lnTo>
                  <a:close/>
                  <a:moveTo>
                    <a:pt x="34" y="245"/>
                  </a:moveTo>
                  <a:lnTo>
                    <a:pt x="32" y="247"/>
                  </a:lnTo>
                  <a:lnTo>
                    <a:pt x="32" y="245"/>
                  </a:lnTo>
                  <a:lnTo>
                    <a:pt x="34" y="245"/>
                  </a:lnTo>
                  <a:close/>
                  <a:moveTo>
                    <a:pt x="49" y="85"/>
                  </a:moveTo>
                  <a:lnTo>
                    <a:pt x="53" y="85"/>
                  </a:lnTo>
                  <a:lnTo>
                    <a:pt x="51" y="87"/>
                  </a:lnTo>
                  <a:lnTo>
                    <a:pt x="49" y="87"/>
                  </a:lnTo>
                  <a:lnTo>
                    <a:pt x="49" y="85"/>
                  </a:lnTo>
                  <a:close/>
                  <a:moveTo>
                    <a:pt x="63" y="136"/>
                  </a:moveTo>
                  <a:lnTo>
                    <a:pt x="61" y="136"/>
                  </a:lnTo>
                  <a:lnTo>
                    <a:pt x="63" y="136"/>
                  </a:lnTo>
                  <a:close/>
                  <a:moveTo>
                    <a:pt x="8" y="227"/>
                  </a:moveTo>
                  <a:lnTo>
                    <a:pt x="7" y="227"/>
                  </a:lnTo>
                  <a:lnTo>
                    <a:pt x="5" y="228"/>
                  </a:lnTo>
                  <a:lnTo>
                    <a:pt x="7" y="227"/>
                  </a:lnTo>
                  <a:lnTo>
                    <a:pt x="8" y="227"/>
                  </a:lnTo>
                  <a:close/>
                  <a:moveTo>
                    <a:pt x="37" y="244"/>
                  </a:moveTo>
                  <a:lnTo>
                    <a:pt x="39" y="244"/>
                  </a:lnTo>
                  <a:lnTo>
                    <a:pt x="37" y="245"/>
                  </a:lnTo>
                  <a:lnTo>
                    <a:pt x="36" y="245"/>
                  </a:lnTo>
                  <a:lnTo>
                    <a:pt x="37" y="244"/>
                  </a:lnTo>
                  <a:close/>
                  <a:moveTo>
                    <a:pt x="3" y="189"/>
                  </a:moveTo>
                  <a:lnTo>
                    <a:pt x="2" y="189"/>
                  </a:lnTo>
                  <a:lnTo>
                    <a:pt x="0" y="191"/>
                  </a:lnTo>
                  <a:lnTo>
                    <a:pt x="2" y="189"/>
                  </a:lnTo>
                  <a:lnTo>
                    <a:pt x="3" y="189"/>
                  </a:lnTo>
                  <a:close/>
                  <a:moveTo>
                    <a:pt x="39" y="228"/>
                  </a:moveTo>
                  <a:lnTo>
                    <a:pt x="37" y="230"/>
                  </a:lnTo>
                  <a:lnTo>
                    <a:pt x="36" y="230"/>
                  </a:lnTo>
                  <a:lnTo>
                    <a:pt x="39" y="228"/>
                  </a:lnTo>
                  <a:close/>
                  <a:moveTo>
                    <a:pt x="54" y="107"/>
                  </a:moveTo>
                  <a:lnTo>
                    <a:pt x="54" y="111"/>
                  </a:lnTo>
                  <a:lnTo>
                    <a:pt x="53" y="111"/>
                  </a:lnTo>
                  <a:lnTo>
                    <a:pt x="54" y="107"/>
                  </a:lnTo>
                  <a:close/>
                  <a:moveTo>
                    <a:pt x="153" y="0"/>
                  </a:moveTo>
                  <a:lnTo>
                    <a:pt x="155" y="2"/>
                  </a:lnTo>
                  <a:lnTo>
                    <a:pt x="153" y="0"/>
                  </a:lnTo>
                  <a:close/>
                  <a:moveTo>
                    <a:pt x="56" y="121"/>
                  </a:moveTo>
                  <a:lnTo>
                    <a:pt x="58" y="121"/>
                  </a:lnTo>
                  <a:lnTo>
                    <a:pt x="58" y="123"/>
                  </a:lnTo>
                  <a:lnTo>
                    <a:pt x="56" y="123"/>
                  </a:lnTo>
                  <a:lnTo>
                    <a:pt x="56" y="121"/>
                  </a:lnTo>
                  <a:close/>
                  <a:moveTo>
                    <a:pt x="141" y="14"/>
                  </a:moveTo>
                  <a:lnTo>
                    <a:pt x="143" y="14"/>
                  </a:lnTo>
                  <a:lnTo>
                    <a:pt x="141" y="16"/>
                  </a:lnTo>
                  <a:lnTo>
                    <a:pt x="141" y="14"/>
                  </a:lnTo>
                  <a:close/>
                  <a:moveTo>
                    <a:pt x="64" y="68"/>
                  </a:moveTo>
                  <a:lnTo>
                    <a:pt x="66" y="68"/>
                  </a:lnTo>
                  <a:lnTo>
                    <a:pt x="64" y="70"/>
                  </a:lnTo>
                  <a:lnTo>
                    <a:pt x="63" y="70"/>
                  </a:lnTo>
                  <a:lnTo>
                    <a:pt x="64" y="68"/>
                  </a:lnTo>
                  <a:close/>
                  <a:moveTo>
                    <a:pt x="66" y="70"/>
                  </a:moveTo>
                  <a:lnTo>
                    <a:pt x="66" y="72"/>
                  </a:lnTo>
                  <a:lnTo>
                    <a:pt x="64" y="72"/>
                  </a:lnTo>
                  <a:lnTo>
                    <a:pt x="66" y="70"/>
                  </a:lnTo>
                  <a:close/>
                  <a:moveTo>
                    <a:pt x="42" y="90"/>
                  </a:moveTo>
                  <a:lnTo>
                    <a:pt x="42" y="92"/>
                  </a:lnTo>
                  <a:lnTo>
                    <a:pt x="41" y="90"/>
                  </a:lnTo>
                  <a:lnTo>
                    <a:pt x="42" y="90"/>
                  </a:lnTo>
                  <a:close/>
                  <a:moveTo>
                    <a:pt x="53" y="116"/>
                  </a:moveTo>
                  <a:lnTo>
                    <a:pt x="54" y="116"/>
                  </a:lnTo>
                  <a:lnTo>
                    <a:pt x="54" y="118"/>
                  </a:lnTo>
                  <a:lnTo>
                    <a:pt x="53" y="118"/>
                  </a:lnTo>
                  <a:lnTo>
                    <a:pt x="53" y="116"/>
                  </a:lnTo>
                  <a:close/>
                  <a:moveTo>
                    <a:pt x="56" y="55"/>
                  </a:moveTo>
                  <a:lnTo>
                    <a:pt x="56" y="56"/>
                  </a:lnTo>
                  <a:lnTo>
                    <a:pt x="56" y="55"/>
                  </a:lnTo>
                  <a:close/>
                  <a:moveTo>
                    <a:pt x="75" y="165"/>
                  </a:moveTo>
                  <a:lnTo>
                    <a:pt x="76" y="165"/>
                  </a:lnTo>
                  <a:lnTo>
                    <a:pt x="75" y="165"/>
                  </a:lnTo>
                  <a:close/>
                  <a:moveTo>
                    <a:pt x="54" y="56"/>
                  </a:moveTo>
                  <a:lnTo>
                    <a:pt x="54" y="58"/>
                  </a:lnTo>
                  <a:lnTo>
                    <a:pt x="54" y="56"/>
                  </a:lnTo>
                  <a:close/>
                  <a:moveTo>
                    <a:pt x="98" y="62"/>
                  </a:moveTo>
                  <a:lnTo>
                    <a:pt x="98" y="63"/>
                  </a:lnTo>
                  <a:lnTo>
                    <a:pt x="97" y="62"/>
                  </a:lnTo>
                  <a:lnTo>
                    <a:pt x="98" y="62"/>
                  </a:lnTo>
                  <a:close/>
                  <a:moveTo>
                    <a:pt x="36" y="242"/>
                  </a:moveTo>
                  <a:lnTo>
                    <a:pt x="37" y="242"/>
                  </a:lnTo>
                  <a:lnTo>
                    <a:pt x="37" y="244"/>
                  </a:lnTo>
                  <a:lnTo>
                    <a:pt x="36" y="244"/>
                  </a:lnTo>
                  <a:lnTo>
                    <a:pt x="36" y="242"/>
                  </a:lnTo>
                  <a:close/>
                  <a:moveTo>
                    <a:pt x="59" y="77"/>
                  </a:moveTo>
                  <a:lnTo>
                    <a:pt x="61" y="77"/>
                  </a:lnTo>
                  <a:lnTo>
                    <a:pt x="61" y="79"/>
                  </a:lnTo>
                  <a:lnTo>
                    <a:pt x="59" y="77"/>
                  </a:lnTo>
                  <a:close/>
                  <a:moveTo>
                    <a:pt x="30" y="240"/>
                  </a:moveTo>
                  <a:lnTo>
                    <a:pt x="32" y="242"/>
                  </a:lnTo>
                  <a:lnTo>
                    <a:pt x="30" y="242"/>
                  </a:lnTo>
                  <a:lnTo>
                    <a:pt x="30" y="240"/>
                  </a:lnTo>
                  <a:close/>
                  <a:moveTo>
                    <a:pt x="27" y="216"/>
                  </a:moveTo>
                  <a:lnTo>
                    <a:pt x="29" y="216"/>
                  </a:lnTo>
                  <a:lnTo>
                    <a:pt x="27" y="216"/>
                  </a:lnTo>
                  <a:close/>
                  <a:moveTo>
                    <a:pt x="85" y="130"/>
                  </a:moveTo>
                  <a:lnTo>
                    <a:pt x="85" y="131"/>
                  </a:lnTo>
                  <a:lnTo>
                    <a:pt x="85" y="130"/>
                  </a:lnTo>
                  <a:close/>
                  <a:moveTo>
                    <a:pt x="76" y="165"/>
                  </a:moveTo>
                  <a:lnTo>
                    <a:pt x="78" y="165"/>
                  </a:lnTo>
                  <a:lnTo>
                    <a:pt x="76" y="165"/>
                  </a:lnTo>
                  <a:close/>
                  <a:moveTo>
                    <a:pt x="75" y="167"/>
                  </a:moveTo>
                  <a:lnTo>
                    <a:pt x="75" y="169"/>
                  </a:lnTo>
                  <a:lnTo>
                    <a:pt x="73" y="169"/>
                  </a:lnTo>
                  <a:lnTo>
                    <a:pt x="75" y="167"/>
                  </a:lnTo>
                  <a:close/>
                  <a:moveTo>
                    <a:pt x="85" y="131"/>
                  </a:moveTo>
                  <a:lnTo>
                    <a:pt x="87" y="131"/>
                  </a:lnTo>
                  <a:lnTo>
                    <a:pt x="87" y="133"/>
                  </a:lnTo>
                  <a:lnTo>
                    <a:pt x="85" y="13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181" name="Freeform 11">
              <a:extLst>
                <a:ext uri="{FF2B5EF4-FFF2-40B4-BE49-F238E27FC236}">
                  <a16:creationId xmlns:a16="http://schemas.microsoft.com/office/drawing/2014/main" id="{5A0B0B0F-BBD1-4AEB-B6F5-E80903DDF924}"/>
                </a:ext>
              </a:extLst>
            </p:cNvPr>
            <p:cNvSpPr>
              <a:spLocks noEditPoints="1"/>
            </p:cNvSpPr>
            <p:nvPr/>
          </p:nvSpPr>
          <p:spPr bwMode="gray">
            <a:xfrm>
              <a:off x="6585864" y="3204961"/>
              <a:ext cx="71106" cy="65180"/>
            </a:xfrm>
            <a:custGeom>
              <a:avLst/>
              <a:gdLst>
                <a:gd name="T0" fmla="*/ 24 w 24"/>
                <a:gd name="T1" fmla="*/ 0 h 22"/>
                <a:gd name="T2" fmla="*/ 22 w 24"/>
                <a:gd name="T3" fmla="*/ 2 h 22"/>
                <a:gd name="T4" fmla="*/ 22 w 24"/>
                <a:gd name="T5" fmla="*/ 3 h 22"/>
                <a:gd name="T6" fmla="*/ 22 w 24"/>
                <a:gd name="T7" fmla="*/ 5 h 22"/>
                <a:gd name="T8" fmla="*/ 21 w 24"/>
                <a:gd name="T9" fmla="*/ 7 h 22"/>
                <a:gd name="T10" fmla="*/ 24 w 24"/>
                <a:gd name="T11" fmla="*/ 8 h 22"/>
                <a:gd name="T12" fmla="*/ 22 w 24"/>
                <a:gd name="T13" fmla="*/ 8 h 22"/>
                <a:gd name="T14" fmla="*/ 22 w 24"/>
                <a:gd name="T15" fmla="*/ 10 h 22"/>
                <a:gd name="T16" fmla="*/ 21 w 24"/>
                <a:gd name="T17" fmla="*/ 12 h 22"/>
                <a:gd name="T18" fmla="*/ 19 w 24"/>
                <a:gd name="T19" fmla="*/ 13 h 22"/>
                <a:gd name="T20" fmla="*/ 19 w 24"/>
                <a:gd name="T21" fmla="*/ 15 h 22"/>
                <a:gd name="T22" fmla="*/ 17 w 24"/>
                <a:gd name="T23" fmla="*/ 17 h 22"/>
                <a:gd name="T24" fmla="*/ 16 w 24"/>
                <a:gd name="T25" fmla="*/ 17 h 22"/>
                <a:gd name="T26" fmla="*/ 12 w 24"/>
                <a:gd name="T27" fmla="*/ 19 h 22"/>
                <a:gd name="T28" fmla="*/ 12 w 24"/>
                <a:gd name="T29" fmla="*/ 20 h 22"/>
                <a:gd name="T30" fmla="*/ 9 w 24"/>
                <a:gd name="T31" fmla="*/ 20 h 22"/>
                <a:gd name="T32" fmla="*/ 7 w 24"/>
                <a:gd name="T33" fmla="*/ 22 h 22"/>
                <a:gd name="T34" fmla="*/ 7 w 24"/>
                <a:gd name="T35" fmla="*/ 20 h 22"/>
                <a:gd name="T36" fmla="*/ 5 w 24"/>
                <a:gd name="T37" fmla="*/ 22 h 22"/>
                <a:gd name="T38" fmla="*/ 4 w 24"/>
                <a:gd name="T39" fmla="*/ 20 h 22"/>
                <a:gd name="T40" fmla="*/ 2 w 24"/>
                <a:gd name="T41" fmla="*/ 20 h 22"/>
                <a:gd name="T42" fmla="*/ 4 w 24"/>
                <a:gd name="T43" fmla="*/ 19 h 22"/>
                <a:gd name="T44" fmla="*/ 2 w 24"/>
                <a:gd name="T45" fmla="*/ 19 h 22"/>
                <a:gd name="T46" fmla="*/ 4 w 24"/>
                <a:gd name="T47" fmla="*/ 19 h 22"/>
                <a:gd name="T48" fmla="*/ 5 w 24"/>
                <a:gd name="T49" fmla="*/ 15 h 22"/>
                <a:gd name="T50" fmla="*/ 5 w 24"/>
                <a:gd name="T51" fmla="*/ 13 h 22"/>
                <a:gd name="T52" fmla="*/ 5 w 24"/>
                <a:gd name="T53" fmla="*/ 12 h 22"/>
                <a:gd name="T54" fmla="*/ 7 w 24"/>
                <a:gd name="T55" fmla="*/ 12 h 22"/>
                <a:gd name="T56" fmla="*/ 9 w 24"/>
                <a:gd name="T57" fmla="*/ 10 h 22"/>
                <a:gd name="T58" fmla="*/ 12 w 24"/>
                <a:gd name="T59" fmla="*/ 8 h 22"/>
                <a:gd name="T60" fmla="*/ 12 w 24"/>
                <a:gd name="T61" fmla="*/ 7 h 22"/>
                <a:gd name="T62" fmla="*/ 14 w 24"/>
                <a:gd name="T63" fmla="*/ 5 h 22"/>
                <a:gd name="T64" fmla="*/ 14 w 24"/>
                <a:gd name="T65" fmla="*/ 3 h 22"/>
                <a:gd name="T66" fmla="*/ 16 w 24"/>
                <a:gd name="T67" fmla="*/ 2 h 22"/>
                <a:gd name="T68" fmla="*/ 17 w 24"/>
                <a:gd name="T69" fmla="*/ 0 h 22"/>
                <a:gd name="T70" fmla="*/ 19 w 24"/>
                <a:gd name="T71" fmla="*/ 0 h 22"/>
                <a:gd name="T72" fmla="*/ 21 w 24"/>
                <a:gd name="T73" fmla="*/ 0 h 22"/>
                <a:gd name="T74" fmla="*/ 24 w 24"/>
                <a:gd name="T75" fmla="*/ 0 h 22"/>
                <a:gd name="T76" fmla="*/ 0 w 24"/>
                <a:gd name="T77" fmla="*/ 20 h 22"/>
                <a:gd name="T78" fmla="*/ 0 w 24"/>
                <a:gd name="T79" fmla="*/ 22 h 22"/>
                <a:gd name="T80" fmla="*/ 0 w 24"/>
                <a:gd name="T81"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 h="22">
                  <a:moveTo>
                    <a:pt x="24" y="0"/>
                  </a:moveTo>
                  <a:lnTo>
                    <a:pt x="22" y="2"/>
                  </a:lnTo>
                  <a:lnTo>
                    <a:pt x="22" y="3"/>
                  </a:lnTo>
                  <a:lnTo>
                    <a:pt x="22" y="5"/>
                  </a:lnTo>
                  <a:lnTo>
                    <a:pt x="21" y="7"/>
                  </a:lnTo>
                  <a:lnTo>
                    <a:pt x="24" y="8"/>
                  </a:lnTo>
                  <a:lnTo>
                    <a:pt x="22" y="8"/>
                  </a:lnTo>
                  <a:lnTo>
                    <a:pt x="22" y="10"/>
                  </a:lnTo>
                  <a:lnTo>
                    <a:pt x="21" y="12"/>
                  </a:lnTo>
                  <a:lnTo>
                    <a:pt x="19" y="13"/>
                  </a:lnTo>
                  <a:lnTo>
                    <a:pt x="19" y="15"/>
                  </a:lnTo>
                  <a:lnTo>
                    <a:pt x="17" y="17"/>
                  </a:lnTo>
                  <a:lnTo>
                    <a:pt x="16" y="17"/>
                  </a:lnTo>
                  <a:lnTo>
                    <a:pt x="12" y="19"/>
                  </a:lnTo>
                  <a:lnTo>
                    <a:pt x="12" y="20"/>
                  </a:lnTo>
                  <a:lnTo>
                    <a:pt x="9" y="20"/>
                  </a:lnTo>
                  <a:lnTo>
                    <a:pt x="7" y="22"/>
                  </a:lnTo>
                  <a:lnTo>
                    <a:pt x="7" y="20"/>
                  </a:lnTo>
                  <a:lnTo>
                    <a:pt x="5" y="22"/>
                  </a:lnTo>
                  <a:lnTo>
                    <a:pt x="4" y="20"/>
                  </a:lnTo>
                  <a:lnTo>
                    <a:pt x="2" y="20"/>
                  </a:lnTo>
                  <a:lnTo>
                    <a:pt x="4" y="19"/>
                  </a:lnTo>
                  <a:lnTo>
                    <a:pt x="2" y="19"/>
                  </a:lnTo>
                  <a:lnTo>
                    <a:pt x="4" y="19"/>
                  </a:lnTo>
                  <a:lnTo>
                    <a:pt x="5" y="15"/>
                  </a:lnTo>
                  <a:lnTo>
                    <a:pt x="5" y="13"/>
                  </a:lnTo>
                  <a:lnTo>
                    <a:pt x="5" y="12"/>
                  </a:lnTo>
                  <a:lnTo>
                    <a:pt x="7" y="12"/>
                  </a:lnTo>
                  <a:lnTo>
                    <a:pt x="9" y="10"/>
                  </a:lnTo>
                  <a:lnTo>
                    <a:pt x="12" y="8"/>
                  </a:lnTo>
                  <a:lnTo>
                    <a:pt x="12" y="7"/>
                  </a:lnTo>
                  <a:lnTo>
                    <a:pt x="14" y="5"/>
                  </a:lnTo>
                  <a:lnTo>
                    <a:pt x="14" y="3"/>
                  </a:lnTo>
                  <a:lnTo>
                    <a:pt x="16" y="2"/>
                  </a:lnTo>
                  <a:lnTo>
                    <a:pt x="17" y="0"/>
                  </a:lnTo>
                  <a:lnTo>
                    <a:pt x="19" y="0"/>
                  </a:lnTo>
                  <a:lnTo>
                    <a:pt x="21" y="0"/>
                  </a:lnTo>
                  <a:lnTo>
                    <a:pt x="24" y="0"/>
                  </a:lnTo>
                  <a:close/>
                  <a:moveTo>
                    <a:pt x="0" y="20"/>
                  </a:moveTo>
                  <a:lnTo>
                    <a:pt x="0" y="22"/>
                  </a:lnTo>
                  <a:lnTo>
                    <a:pt x="0" y="2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182" name="Freeform 12">
              <a:extLst>
                <a:ext uri="{FF2B5EF4-FFF2-40B4-BE49-F238E27FC236}">
                  <a16:creationId xmlns:a16="http://schemas.microsoft.com/office/drawing/2014/main" id="{926C284F-B3F3-44FC-8350-D1BD6494BD98}"/>
                </a:ext>
              </a:extLst>
            </p:cNvPr>
            <p:cNvSpPr>
              <a:spLocks noEditPoints="1"/>
            </p:cNvSpPr>
            <p:nvPr/>
          </p:nvSpPr>
          <p:spPr bwMode="gray">
            <a:xfrm>
              <a:off x="6209597" y="1954685"/>
              <a:ext cx="1128804" cy="2133173"/>
            </a:xfrm>
            <a:custGeom>
              <a:avLst/>
              <a:gdLst>
                <a:gd name="T0" fmla="*/ 216 w 381"/>
                <a:gd name="T1" fmla="*/ 192 h 720"/>
                <a:gd name="T2" fmla="*/ 223 w 381"/>
                <a:gd name="T3" fmla="*/ 206 h 720"/>
                <a:gd name="T4" fmla="*/ 265 w 381"/>
                <a:gd name="T5" fmla="*/ 267 h 720"/>
                <a:gd name="T6" fmla="*/ 207 w 381"/>
                <a:gd name="T7" fmla="*/ 318 h 720"/>
                <a:gd name="T8" fmla="*/ 272 w 381"/>
                <a:gd name="T9" fmla="*/ 367 h 720"/>
                <a:gd name="T10" fmla="*/ 319 w 381"/>
                <a:gd name="T11" fmla="*/ 473 h 720"/>
                <a:gd name="T12" fmla="*/ 326 w 381"/>
                <a:gd name="T13" fmla="*/ 531 h 720"/>
                <a:gd name="T14" fmla="*/ 381 w 381"/>
                <a:gd name="T15" fmla="*/ 595 h 720"/>
                <a:gd name="T16" fmla="*/ 325 w 381"/>
                <a:gd name="T17" fmla="*/ 655 h 720"/>
                <a:gd name="T18" fmla="*/ 335 w 381"/>
                <a:gd name="T19" fmla="*/ 694 h 720"/>
                <a:gd name="T20" fmla="*/ 240 w 381"/>
                <a:gd name="T21" fmla="*/ 692 h 720"/>
                <a:gd name="T22" fmla="*/ 187 w 381"/>
                <a:gd name="T23" fmla="*/ 699 h 720"/>
                <a:gd name="T24" fmla="*/ 110 w 381"/>
                <a:gd name="T25" fmla="*/ 708 h 720"/>
                <a:gd name="T26" fmla="*/ 53 w 381"/>
                <a:gd name="T27" fmla="*/ 718 h 720"/>
                <a:gd name="T28" fmla="*/ 92 w 381"/>
                <a:gd name="T29" fmla="*/ 668 h 720"/>
                <a:gd name="T30" fmla="*/ 173 w 381"/>
                <a:gd name="T31" fmla="*/ 638 h 720"/>
                <a:gd name="T32" fmla="*/ 112 w 381"/>
                <a:gd name="T33" fmla="*/ 606 h 720"/>
                <a:gd name="T34" fmla="*/ 114 w 381"/>
                <a:gd name="T35" fmla="*/ 577 h 720"/>
                <a:gd name="T36" fmla="*/ 129 w 381"/>
                <a:gd name="T37" fmla="*/ 519 h 720"/>
                <a:gd name="T38" fmla="*/ 195 w 381"/>
                <a:gd name="T39" fmla="*/ 507 h 720"/>
                <a:gd name="T40" fmla="*/ 194 w 381"/>
                <a:gd name="T41" fmla="*/ 452 h 720"/>
                <a:gd name="T42" fmla="*/ 189 w 381"/>
                <a:gd name="T43" fmla="*/ 395 h 720"/>
                <a:gd name="T44" fmla="*/ 131 w 381"/>
                <a:gd name="T45" fmla="*/ 374 h 720"/>
                <a:gd name="T46" fmla="*/ 156 w 381"/>
                <a:gd name="T47" fmla="*/ 310 h 720"/>
                <a:gd name="T48" fmla="*/ 153 w 381"/>
                <a:gd name="T49" fmla="*/ 291 h 720"/>
                <a:gd name="T50" fmla="*/ 121 w 381"/>
                <a:gd name="T51" fmla="*/ 320 h 720"/>
                <a:gd name="T52" fmla="*/ 139 w 381"/>
                <a:gd name="T53" fmla="*/ 270 h 720"/>
                <a:gd name="T54" fmla="*/ 119 w 381"/>
                <a:gd name="T55" fmla="*/ 257 h 720"/>
                <a:gd name="T56" fmla="*/ 139 w 381"/>
                <a:gd name="T57" fmla="*/ 236 h 720"/>
                <a:gd name="T58" fmla="*/ 138 w 381"/>
                <a:gd name="T59" fmla="*/ 197 h 720"/>
                <a:gd name="T60" fmla="*/ 172 w 381"/>
                <a:gd name="T61" fmla="*/ 179 h 720"/>
                <a:gd name="T62" fmla="*/ 183 w 381"/>
                <a:gd name="T63" fmla="*/ 139 h 720"/>
                <a:gd name="T64" fmla="*/ 66 w 381"/>
                <a:gd name="T65" fmla="*/ 425 h 720"/>
                <a:gd name="T66" fmla="*/ 2 w 381"/>
                <a:gd name="T67" fmla="*/ 388 h 720"/>
                <a:gd name="T68" fmla="*/ 87 w 381"/>
                <a:gd name="T69" fmla="*/ 350 h 720"/>
                <a:gd name="T70" fmla="*/ 105 w 381"/>
                <a:gd name="T71" fmla="*/ 405 h 720"/>
                <a:gd name="T72" fmla="*/ 134 w 381"/>
                <a:gd name="T73" fmla="*/ 148 h 720"/>
                <a:gd name="T74" fmla="*/ 109 w 381"/>
                <a:gd name="T75" fmla="*/ 165 h 720"/>
                <a:gd name="T76" fmla="*/ 110 w 381"/>
                <a:gd name="T77" fmla="*/ 141 h 720"/>
                <a:gd name="T78" fmla="*/ 134 w 381"/>
                <a:gd name="T79" fmla="*/ 221 h 720"/>
                <a:gd name="T80" fmla="*/ 105 w 381"/>
                <a:gd name="T81" fmla="*/ 194 h 720"/>
                <a:gd name="T82" fmla="*/ 343 w 381"/>
                <a:gd name="T83" fmla="*/ 31 h 720"/>
                <a:gd name="T84" fmla="*/ 333 w 381"/>
                <a:gd name="T85" fmla="*/ 60 h 720"/>
                <a:gd name="T86" fmla="*/ 336 w 381"/>
                <a:gd name="T87" fmla="*/ 29 h 720"/>
                <a:gd name="T88" fmla="*/ 104 w 381"/>
                <a:gd name="T89" fmla="*/ 279 h 720"/>
                <a:gd name="T90" fmla="*/ 143 w 381"/>
                <a:gd name="T91" fmla="*/ 505 h 720"/>
                <a:gd name="T92" fmla="*/ 272 w 381"/>
                <a:gd name="T93" fmla="*/ 122 h 720"/>
                <a:gd name="T94" fmla="*/ 95 w 381"/>
                <a:gd name="T95" fmla="*/ 321 h 720"/>
                <a:gd name="T96" fmla="*/ 115 w 381"/>
                <a:gd name="T97" fmla="*/ 304 h 720"/>
                <a:gd name="T98" fmla="*/ 92 w 381"/>
                <a:gd name="T99" fmla="*/ 179 h 720"/>
                <a:gd name="T100" fmla="*/ 78 w 381"/>
                <a:gd name="T101" fmla="*/ 211 h 720"/>
                <a:gd name="T102" fmla="*/ 251 w 381"/>
                <a:gd name="T103" fmla="*/ 129 h 720"/>
                <a:gd name="T104" fmla="*/ 83 w 381"/>
                <a:gd name="T105" fmla="*/ 187 h 720"/>
                <a:gd name="T106" fmla="*/ 100 w 381"/>
                <a:gd name="T107" fmla="*/ 250 h 720"/>
                <a:gd name="T108" fmla="*/ 270 w 381"/>
                <a:gd name="T109" fmla="*/ 99 h 720"/>
                <a:gd name="T110" fmla="*/ 343 w 381"/>
                <a:gd name="T111" fmla="*/ 46 h 720"/>
                <a:gd name="T112" fmla="*/ 109 w 381"/>
                <a:gd name="T113" fmla="*/ 264 h 720"/>
                <a:gd name="T114" fmla="*/ 105 w 381"/>
                <a:gd name="T115" fmla="*/ 223 h 720"/>
                <a:gd name="T116" fmla="*/ 85 w 381"/>
                <a:gd name="T117" fmla="*/ 187 h 720"/>
                <a:gd name="T118" fmla="*/ 100 w 381"/>
                <a:gd name="T119" fmla="*/ 296 h 720"/>
                <a:gd name="T120" fmla="*/ 352 w 381"/>
                <a:gd name="T121" fmla="*/ 15 h 720"/>
                <a:gd name="T122" fmla="*/ 335 w 381"/>
                <a:gd name="T123" fmla="*/ 32 h 720"/>
                <a:gd name="T124" fmla="*/ 272 w 381"/>
                <a:gd name="T125" fmla="*/ 104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1" h="720">
                  <a:moveTo>
                    <a:pt x="245" y="136"/>
                  </a:moveTo>
                  <a:lnTo>
                    <a:pt x="246" y="139"/>
                  </a:lnTo>
                  <a:lnTo>
                    <a:pt x="248" y="138"/>
                  </a:lnTo>
                  <a:lnTo>
                    <a:pt x="250" y="139"/>
                  </a:lnTo>
                  <a:lnTo>
                    <a:pt x="251" y="138"/>
                  </a:lnTo>
                  <a:lnTo>
                    <a:pt x="251" y="139"/>
                  </a:lnTo>
                  <a:lnTo>
                    <a:pt x="255" y="139"/>
                  </a:lnTo>
                  <a:lnTo>
                    <a:pt x="257" y="141"/>
                  </a:lnTo>
                  <a:lnTo>
                    <a:pt x="257" y="145"/>
                  </a:lnTo>
                  <a:lnTo>
                    <a:pt x="255" y="145"/>
                  </a:lnTo>
                  <a:lnTo>
                    <a:pt x="255" y="146"/>
                  </a:lnTo>
                  <a:lnTo>
                    <a:pt x="253" y="146"/>
                  </a:lnTo>
                  <a:lnTo>
                    <a:pt x="251" y="148"/>
                  </a:lnTo>
                  <a:lnTo>
                    <a:pt x="251" y="151"/>
                  </a:lnTo>
                  <a:lnTo>
                    <a:pt x="255" y="151"/>
                  </a:lnTo>
                  <a:lnTo>
                    <a:pt x="253" y="155"/>
                  </a:lnTo>
                  <a:lnTo>
                    <a:pt x="251" y="155"/>
                  </a:lnTo>
                  <a:lnTo>
                    <a:pt x="253" y="155"/>
                  </a:lnTo>
                  <a:lnTo>
                    <a:pt x="251" y="156"/>
                  </a:lnTo>
                  <a:lnTo>
                    <a:pt x="251" y="158"/>
                  </a:lnTo>
                  <a:lnTo>
                    <a:pt x="248" y="160"/>
                  </a:lnTo>
                  <a:lnTo>
                    <a:pt x="246" y="162"/>
                  </a:lnTo>
                  <a:lnTo>
                    <a:pt x="246" y="163"/>
                  </a:lnTo>
                  <a:lnTo>
                    <a:pt x="243" y="163"/>
                  </a:lnTo>
                  <a:lnTo>
                    <a:pt x="241" y="163"/>
                  </a:lnTo>
                  <a:lnTo>
                    <a:pt x="240" y="165"/>
                  </a:lnTo>
                  <a:lnTo>
                    <a:pt x="238" y="165"/>
                  </a:lnTo>
                  <a:lnTo>
                    <a:pt x="236" y="167"/>
                  </a:lnTo>
                  <a:lnTo>
                    <a:pt x="234" y="168"/>
                  </a:lnTo>
                  <a:lnTo>
                    <a:pt x="233" y="170"/>
                  </a:lnTo>
                  <a:lnTo>
                    <a:pt x="231" y="172"/>
                  </a:lnTo>
                  <a:lnTo>
                    <a:pt x="229" y="172"/>
                  </a:lnTo>
                  <a:lnTo>
                    <a:pt x="228" y="173"/>
                  </a:lnTo>
                  <a:lnTo>
                    <a:pt x="226" y="173"/>
                  </a:lnTo>
                  <a:lnTo>
                    <a:pt x="224" y="175"/>
                  </a:lnTo>
                  <a:lnTo>
                    <a:pt x="221" y="175"/>
                  </a:lnTo>
                  <a:lnTo>
                    <a:pt x="219" y="177"/>
                  </a:lnTo>
                  <a:lnTo>
                    <a:pt x="219" y="179"/>
                  </a:lnTo>
                  <a:lnTo>
                    <a:pt x="217" y="180"/>
                  </a:lnTo>
                  <a:lnTo>
                    <a:pt x="216" y="180"/>
                  </a:lnTo>
                  <a:lnTo>
                    <a:pt x="214" y="180"/>
                  </a:lnTo>
                  <a:lnTo>
                    <a:pt x="212" y="184"/>
                  </a:lnTo>
                  <a:lnTo>
                    <a:pt x="211" y="182"/>
                  </a:lnTo>
                  <a:lnTo>
                    <a:pt x="212" y="182"/>
                  </a:lnTo>
                  <a:lnTo>
                    <a:pt x="209" y="182"/>
                  </a:lnTo>
                  <a:lnTo>
                    <a:pt x="211" y="182"/>
                  </a:lnTo>
                  <a:lnTo>
                    <a:pt x="212" y="184"/>
                  </a:lnTo>
                  <a:lnTo>
                    <a:pt x="212" y="185"/>
                  </a:lnTo>
                  <a:lnTo>
                    <a:pt x="211" y="189"/>
                  </a:lnTo>
                  <a:lnTo>
                    <a:pt x="209" y="187"/>
                  </a:lnTo>
                  <a:lnTo>
                    <a:pt x="207" y="189"/>
                  </a:lnTo>
                  <a:lnTo>
                    <a:pt x="206" y="187"/>
                  </a:lnTo>
                  <a:lnTo>
                    <a:pt x="207" y="187"/>
                  </a:lnTo>
                  <a:lnTo>
                    <a:pt x="206" y="187"/>
                  </a:lnTo>
                  <a:lnTo>
                    <a:pt x="204" y="185"/>
                  </a:lnTo>
                  <a:lnTo>
                    <a:pt x="200" y="185"/>
                  </a:lnTo>
                  <a:lnTo>
                    <a:pt x="199" y="184"/>
                  </a:lnTo>
                  <a:lnTo>
                    <a:pt x="200" y="187"/>
                  </a:lnTo>
                  <a:lnTo>
                    <a:pt x="202" y="187"/>
                  </a:lnTo>
                  <a:lnTo>
                    <a:pt x="204" y="187"/>
                  </a:lnTo>
                  <a:lnTo>
                    <a:pt x="206" y="189"/>
                  </a:lnTo>
                  <a:lnTo>
                    <a:pt x="207" y="189"/>
                  </a:lnTo>
                  <a:lnTo>
                    <a:pt x="206" y="189"/>
                  </a:lnTo>
                  <a:lnTo>
                    <a:pt x="207" y="189"/>
                  </a:lnTo>
                  <a:lnTo>
                    <a:pt x="209" y="190"/>
                  </a:lnTo>
                  <a:lnTo>
                    <a:pt x="211" y="190"/>
                  </a:lnTo>
                  <a:lnTo>
                    <a:pt x="212" y="189"/>
                  </a:lnTo>
                  <a:lnTo>
                    <a:pt x="216" y="190"/>
                  </a:lnTo>
                  <a:lnTo>
                    <a:pt x="214" y="190"/>
                  </a:lnTo>
                  <a:lnTo>
                    <a:pt x="212" y="192"/>
                  </a:lnTo>
                  <a:lnTo>
                    <a:pt x="214" y="190"/>
                  </a:lnTo>
                  <a:lnTo>
                    <a:pt x="216" y="192"/>
                  </a:lnTo>
                  <a:lnTo>
                    <a:pt x="219" y="189"/>
                  </a:lnTo>
                  <a:lnTo>
                    <a:pt x="219" y="190"/>
                  </a:lnTo>
                  <a:lnTo>
                    <a:pt x="217" y="192"/>
                  </a:lnTo>
                  <a:lnTo>
                    <a:pt x="216" y="194"/>
                  </a:lnTo>
                  <a:lnTo>
                    <a:pt x="212" y="196"/>
                  </a:lnTo>
                  <a:lnTo>
                    <a:pt x="212" y="197"/>
                  </a:lnTo>
                  <a:lnTo>
                    <a:pt x="211" y="199"/>
                  </a:lnTo>
                  <a:lnTo>
                    <a:pt x="207" y="199"/>
                  </a:lnTo>
                  <a:lnTo>
                    <a:pt x="209" y="197"/>
                  </a:lnTo>
                  <a:lnTo>
                    <a:pt x="209" y="196"/>
                  </a:lnTo>
                  <a:lnTo>
                    <a:pt x="207" y="196"/>
                  </a:lnTo>
                  <a:lnTo>
                    <a:pt x="206" y="197"/>
                  </a:lnTo>
                  <a:lnTo>
                    <a:pt x="202" y="199"/>
                  </a:lnTo>
                  <a:lnTo>
                    <a:pt x="202" y="197"/>
                  </a:lnTo>
                  <a:lnTo>
                    <a:pt x="200" y="199"/>
                  </a:lnTo>
                  <a:lnTo>
                    <a:pt x="199" y="199"/>
                  </a:lnTo>
                  <a:lnTo>
                    <a:pt x="197" y="199"/>
                  </a:lnTo>
                  <a:lnTo>
                    <a:pt x="199" y="199"/>
                  </a:lnTo>
                  <a:lnTo>
                    <a:pt x="197" y="201"/>
                  </a:lnTo>
                  <a:lnTo>
                    <a:pt x="195" y="201"/>
                  </a:lnTo>
                  <a:lnTo>
                    <a:pt x="192" y="202"/>
                  </a:lnTo>
                  <a:lnTo>
                    <a:pt x="192" y="204"/>
                  </a:lnTo>
                  <a:lnTo>
                    <a:pt x="194" y="202"/>
                  </a:lnTo>
                  <a:lnTo>
                    <a:pt x="197" y="201"/>
                  </a:lnTo>
                  <a:lnTo>
                    <a:pt x="199" y="201"/>
                  </a:lnTo>
                  <a:lnTo>
                    <a:pt x="200" y="199"/>
                  </a:lnTo>
                  <a:lnTo>
                    <a:pt x="202" y="199"/>
                  </a:lnTo>
                  <a:lnTo>
                    <a:pt x="202" y="201"/>
                  </a:lnTo>
                  <a:lnTo>
                    <a:pt x="204" y="201"/>
                  </a:lnTo>
                  <a:lnTo>
                    <a:pt x="206" y="201"/>
                  </a:lnTo>
                  <a:lnTo>
                    <a:pt x="207" y="201"/>
                  </a:lnTo>
                  <a:lnTo>
                    <a:pt x="209" y="201"/>
                  </a:lnTo>
                  <a:lnTo>
                    <a:pt x="207" y="202"/>
                  </a:lnTo>
                  <a:lnTo>
                    <a:pt x="206" y="204"/>
                  </a:lnTo>
                  <a:lnTo>
                    <a:pt x="204" y="204"/>
                  </a:lnTo>
                  <a:lnTo>
                    <a:pt x="204" y="207"/>
                  </a:lnTo>
                  <a:lnTo>
                    <a:pt x="202" y="206"/>
                  </a:lnTo>
                  <a:lnTo>
                    <a:pt x="200" y="207"/>
                  </a:lnTo>
                  <a:lnTo>
                    <a:pt x="199" y="207"/>
                  </a:lnTo>
                  <a:lnTo>
                    <a:pt x="200" y="209"/>
                  </a:lnTo>
                  <a:lnTo>
                    <a:pt x="199" y="211"/>
                  </a:lnTo>
                  <a:lnTo>
                    <a:pt x="195" y="211"/>
                  </a:lnTo>
                  <a:lnTo>
                    <a:pt x="194" y="209"/>
                  </a:lnTo>
                  <a:lnTo>
                    <a:pt x="192" y="209"/>
                  </a:lnTo>
                  <a:lnTo>
                    <a:pt x="192" y="211"/>
                  </a:lnTo>
                  <a:lnTo>
                    <a:pt x="194" y="211"/>
                  </a:lnTo>
                  <a:lnTo>
                    <a:pt x="195" y="213"/>
                  </a:lnTo>
                  <a:lnTo>
                    <a:pt x="199" y="211"/>
                  </a:lnTo>
                  <a:lnTo>
                    <a:pt x="200" y="213"/>
                  </a:lnTo>
                  <a:lnTo>
                    <a:pt x="202" y="211"/>
                  </a:lnTo>
                  <a:lnTo>
                    <a:pt x="204" y="209"/>
                  </a:lnTo>
                  <a:lnTo>
                    <a:pt x="206" y="209"/>
                  </a:lnTo>
                  <a:lnTo>
                    <a:pt x="206" y="206"/>
                  </a:lnTo>
                  <a:lnTo>
                    <a:pt x="207" y="206"/>
                  </a:lnTo>
                  <a:lnTo>
                    <a:pt x="209" y="207"/>
                  </a:lnTo>
                  <a:lnTo>
                    <a:pt x="207" y="206"/>
                  </a:lnTo>
                  <a:lnTo>
                    <a:pt x="209" y="207"/>
                  </a:lnTo>
                  <a:lnTo>
                    <a:pt x="211" y="207"/>
                  </a:lnTo>
                  <a:lnTo>
                    <a:pt x="212" y="207"/>
                  </a:lnTo>
                  <a:lnTo>
                    <a:pt x="216" y="207"/>
                  </a:lnTo>
                  <a:lnTo>
                    <a:pt x="216" y="206"/>
                  </a:lnTo>
                  <a:lnTo>
                    <a:pt x="214" y="207"/>
                  </a:lnTo>
                  <a:lnTo>
                    <a:pt x="216" y="206"/>
                  </a:lnTo>
                  <a:lnTo>
                    <a:pt x="217" y="206"/>
                  </a:lnTo>
                  <a:lnTo>
                    <a:pt x="219" y="204"/>
                  </a:lnTo>
                  <a:lnTo>
                    <a:pt x="217" y="206"/>
                  </a:lnTo>
                  <a:lnTo>
                    <a:pt x="219" y="204"/>
                  </a:lnTo>
                  <a:lnTo>
                    <a:pt x="221" y="204"/>
                  </a:lnTo>
                  <a:lnTo>
                    <a:pt x="219" y="204"/>
                  </a:lnTo>
                  <a:lnTo>
                    <a:pt x="221" y="204"/>
                  </a:lnTo>
                  <a:lnTo>
                    <a:pt x="223" y="204"/>
                  </a:lnTo>
                  <a:lnTo>
                    <a:pt x="223" y="206"/>
                  </a:lnTo>
                  <a:lnTo>
                    <a:pt x="224" y="207"/>
                  </a:lnTo>
                  <a:lnTo>
                    <a:pt x="224" y="206"/>
                  </a:lnTo>
                  <a:lnTo>
                    <a:pt x="223" y="204"/>
                  </a:lnTo>
                  <a:lnTo>
                    <a:pt x="226" y="204"/>
                  </a:lnTo>
                  <a:lnTo>
                    <a:pt x="228" y="202"/>
                  </a:lnTo>
                  <a:lnTo>
                    <a:pt x="229" y="202"/>
                  </a:lnTo>
                  <a:lnTo>
                    <a:pt x="231" y="202"/>
                  </a:lnTo>
                  <a:lnTo>
                    <a:pt x="234" y="202"/>
                  </a:lnTo>
                  <a:lnTo>
                    <a:pt x="236" y="202"/>
                  </a:lnTo>
                  <a:lnTo>
                    <a:pt x="236" y="204"/>
                  </a:lnTo>
                  <a:lnTo>
                    <a:pt x="236" y="202"/>
                  </a:lnTo>
                  <a:lnTo>
                    <a:pt x="238" y="204"/>
                  </a:lnTo>
                  <a:lnTo>
                    <a:pt x="240" y="206"/>
                  </a:lnTo>
                  <a:lnTo>
                    <a:pt x="241" y="207"/>
                  </a:lnTo>
                  <a:lnTo>
                    <a:pt x="245" y="209"/>
                  </a:lnTo>
                  <a:lnTo>
                    <a:pt x="246" y="207"/>
                  </a:lnTo>
                  <a:lnTo>
                    <a:pt x="248" y="207"/>
                  </a:lnTo>
                  <a:lnTo>
                    <a:pt x="250" y="207"/>
                  </a:lnTo>
                  <a:lnTo>
                    <a:pt x="251" y="206"/>
                  </a:lnTo>
                  <a:lnTo>
                    <a:pt x="253" y="207"/>
                  </a:lnTo>
                  <a:lnTo>
                    <a:pt x="255" y="207"/>
                  </a:lnTo>
                  <a:lnTo>
                    <a:pt x="255" y="209"/>
                  </a:lnTo>
                  <a:lnTo>
                    <a:pt x="257" y="209"/>
                  </a:lnTo>
                  <a:lnTo>
                    <a:pt x="258" y="209"/>
                  </a:lnTo>
                  <a:lnTo>
                    <a:pt x="260" y="209"/>
                  </a:lnTo>
                  <a:lnTo>
                    <a:pt x="262" y="211"/>
                  </a:lnTo>
                  <a:lnTo>
                    <a:pt x="263" y="213"/>
                  </a:lnTo>
                  <a:lnTo>
                    <a:pt x="265" y="211"/>
                  </a:lnTo>
                  <a:lnTo>
                    <a:pt x="267" y="211"/>
                  </a:lnTo>
                  <a:lnTo>
                    <a:pt x="268" y="213"/>
                  </a:lnTo>
                  <a:lnTo>
                    <a:pt x="270" y="213"/>
                  </a:lnTo>
                  <a:lnTo>
                    <a:pt x="272" y="211"/>
                  </a:lnTo>
                  <a:lnTo>
                    <a:pt x="274" y="213"/>
                  </a:lnTo>
                  <a:lnTo>
                    <a:pt x="275" y="213"/>
                  </a:lnTo>
                  <a:lnTo>
                    <a:pt x="277" y="213"/>
                  </a:lnTo>
                  <a:lnTo>
                    <a:pt x="279" y="211"/>
                  </a:lnTo>
                  <a:lnTo>
                    <a:pt x="282" y="213"/>
                  </a:lnTo>
                  <a:lnTo>
                    <a:pt x="284" y="213"/>
                  </a:lnTo>
                  <a:lnTo>
                    <a:pt x="284" y="214"/>
                  </a:lnTo>
                  <a:lnTo>
                    <a:pt x="285" y="214"/>
                  </a:lnTo>
                  <a:lnTo>
                    <a:pt x="287" y="218"/>
                  </a:lnTo>
                  <a:lnTo>
                    <a:pt x="289" y="219"/>
                  </a:lnTo>
                  <a:lnTo>
                    <a:pt x="287" y="223"/>
                  </a:lnTo>
                  <a:lnTo>
                    <a:pt x="289" y="225"/>
                  </a:lnTo>
                  <a:lnTo>
                    <a:pt x="289" y="226"/>
                  </a:lnTo>
                  <a:lnTo>
                    <a:pt x="287" y="226"/>
                  </a:lnTo>
                  <a:lnTo>
                    <a:pt x="289" y="228"/>
                  </a:lnTo>
                  <a:lnTo>
                    <a:pt x="289" y="230"/>
                  </a:lnTo>
                  <a:lnTo>
                    <a:pt x="287" y="231"/>
                  </a:lnTo>
                  <a:lnTo>
                    <a:pt x="285" y="233"/>
                  </a:lnTo>
                  <a:lnTo>
                    <a:pt x="285" y="235"/>
                  </a:lnTo>
                  <a:lnTo>
                    <a:pt x="282" y="236"/>
                  </a:lnTo>
                  <a:lnTo>
                    <a:pt x="282" y="238"/>
                  </a:lnTo>
                  <a:lnTo>
                    <a:pt x="280" y="238"/>
                  </a:lnTo>
                  <a:lnTo>
                    <a:pt x="279" y="240"/>
                  </a:lnTo>
                  <a:lnTo>
                    <a:pt x="277" y="242"/>
                  </a:lnTo>
                  <a:lnTo>
                    <a:pt x="275" y="243"/>
                  </a:lnTo>
                  <a:lnTo>
                    <a:pt x="275" y="245"/>
                  </a:lnTo>
                  <a:lnTo>
                    <a:pt x="274" y="248"/>
                  </a:lnTo>
                  <a:lnTo>
                    <a:pt x="274" y="250"/>
                  </a:lnTo>
                  <a:lnTo>
                    <a:pt x="274" y="252"/>
                  </a:lnTo>
                  <a:lnTo>
                    <a:pt x="275" y="250"/>
                  </a:lnTo>
                  <a:lnTo>
                    <a:pt x="275" y="252"/>
                  </a:lnTo>
                  <a:lnTo>
                    <a:pt x="274" y="253"/>
                  </a:lnTo>
                  <a:lnTo>
                    <a:pt x="272" y="255"/>
                  </a:lnTo>
                  <a:lnTo>
                    <a:pt x="270" y="257"/>
                  </a:lnTo>
                  <a:lnTo>
                    <a:pt x="268" y="259"/>
                  </a:lnTo>
                  <a:lnTo>
                    <a:pt x="268" y="262"/>
                  </a:lnTo>
                  <a:lnTo>
                    <a:pt x="267" y="262"/>
                  </a:lnTo>
                  <a:lnTo>
                    <a:pt x="267" y="264"/>
                  </a:lnTo>
                  <a:lnTo>
                    <a:pt x="267" y="265"/>
                  </a:lnTo>
                  <a:lnTo>
                    <a:pt x="265" y="267"/>
                  </a:lnTo>
                  <a:lnTo>
                    <a:pt x="263" y="270"/>
                  </a:lnTo>
                  <a:lnTo>
                    <a:pt x="262" y="270"/>
                  </a:lnTo>
                  <a:lnTo>
                    <a:pt x="260" y="272"/>
                  </a:lnTo>
                  <a:lnTo>
                    <a:pt x="258" y="274"/>
                  </a:lnTo>
                  <a:lnTo>
                    <a:pt x="257" y="274"/>
                  </a:lnTo>
                  <a:lnTo>
                    <a:pt x="255" y="276"/>
                  </a:lnTo>
                  <a:lnTo>
                    <a:pt x="257" y="276"/>
                  </a:lnTo>
                  <a:lnTo>
                    <a:pt x="255" y="277"/>
                  </a:lnTo>
                  <a:lnTo>
                    <a:pt x="255" y="279"/>
                  </a:lnTo>
                  <a:lnTo>
                    <a:pt x="251" y="281"/>
                  </a:lnTo>
                  <a:lnTo>
                    <a:pt x="251" y="282"/>
                  </a:lnTo>
                  <a:lnTo>
                    <a:pt x="251" y="284"/>
                  </a:lnTo>
                  <a:lnTo>
                    <a:pt x="250" y="286"/>
                  </a:lnTo>
                  <a:lnTo>
                    <a:pt x="250" y="287"/>
                  </a:lnTo>
                  <a:lnTo>
                    <a:pt x="246" y="287"/>
                  </a:lnTo>
                  <a:lnTo>
                    <a:pt x="245" y="289"/>
                  </a:lnTo>
                  <a:lnTo>
                    <a:pt x="243" y="291"/>
                  </a:lnTo>
                  <a:lnTo>
                    <a:pt x="241" y="291"/>
                  </a:lnTo>
                  <a:lnTo>
                    <a:pt x="241" y="293"/>
                  </a:lnTo>
                  <a:lnTo>
                    <a:pt x="238" y="291"/>
                  </a:lnTo>
                  <a:lnTo>
                    <a:pt x="236" y="293"/>
                  </a:lnTo>
                  <a:lnTo>
                    <a:pt x="234" y="291"/>
                  </a:lnTo>
                  <a:lnTo>
                    <a:pt x="231" y="293"/>
                  </a:lnTo>
                  <a:lnTo>
                    <a:pt x="229" y="291"/>
                  </a:lnTo>
                  <a:lnTo>
                    <a:pt x="228" y="291"/>
                  </a:lnTo>
                  <a:lnTo>
                    <a:pt x="226" y="293"/>
                  </a:lnTo>
                  <a:lnTo>
                    <a:pt x="224" y="294"/>
                  </a:lnTo>
                  <a:lnTo>
                    <a:pt x="221" y="296"/>
                  </a:lnTo>
                  <a:lnTo>
                    <a:pt x="219" y="296"/>
                  </a:lnTo>
                  <a:lnTo>
                    <a:pt x="217" y="296"/>
                  </a:lnTo>
                  <a:lnTo>
                    <a:pt x="216" y="294"/>
                  </a:lnTo>
                  <a:lnTo>
                    <a:pt x="216" y="296"/>
                  </a:lnTo>
                  <a:lnTo>
                    <a:pt x="217" y="298"/>
                  </a:lnTo>
                  <a:lnTo>
                    <a:pt x="219" y="298"/>
                  </a:lnTo>
                  <a:lnTo>
                    <a:pt x="223" y="298"/>
                  </a:lnTo>
                  <a:lnTo>
                    <a:pt x="223" y="296"/>
                  </a:lnTo>
                  <a:lnTo>
                    <a:pt x="226" y="296"/>
                  </a:lnTo>
                  <a:lnTo>
                    <a:pt x="228" y="294"/>
                  </a:lnTo>
                  <a:lnTo>
                    <a:pt x="231" y="294"/>
                  </a:lnTo>
                  <a:lnTo>
                    <a:pt x="233" y="294"/>
                  </a:lnTo>
                  <a:lnTo>
                    <a:pt x="233" y="293"/>
                  </a:lnTo>
                  <a:lnTo>
                    <a:pt x="236" y="294"/>
                  </a:lnTo>
                  <a:lnTo>
                    <a:pt x="238" y="294"/>
                  </a:lnTo>
                  <a:lnTo>
                    <a:pt x="236" y="298"/>
                  </a:lnTo>
                  <a:lnTo>
                    <a:pt x="233" y="299"/>
                  </a:lnTo>
                  <a:lnTo>
                    <a:pt x="236" y="299"/>
                  </a:lnTo>
                  <a:lnTo>
                    <a:pt x="238" y="301"/>
                  </a:lnTo>
                  <a:lnTo>
                    <a:pt x="240" y="303"/>
                  </a:lnTo>
                  <a:lnTo>
                    <a:pt x="241" y="303"/>
                  </a:lnTo>
                  <a:lnTo>
                    <a:pt x="241" y="304"/>
                  </a:lnTo>
                  <a:lnTo>
                    <a:pt x="243" y="306"/>
                  </a:lnTo>
                  <a:lnTo>
                    <a:pt x="245" y="306"/>
                  </a:lnTo>
                  <a:lnTo>
                    <a:pt x="243" y="308"/>
                  </a:lnTo>
                  <a:lnTo>
                    <a:pt x="241" y="310"/>
                  </a:lnTo>
                  <a:lnTo>
                    <a:pt x="240" y="310"/>
                  </a:lnTo>
                  <a:lnTo>
                    <a:pt x="238" y="311"/>
                  </a:lnTo>
                  <a:lnTo>
                    <a:pt x="236" y="311"/>
                  </a:lnTo>
                  <a:lnTo>
                    <a:pt x="234" y="311"/>
                  </a:lnTo>
                  <a:lnTo>
                    <a:pt x="233" y="311"/>
                  </a:lnTo>
                  <a:lnTo>
                    <a:pt x="231" y="310"/>
                  </a:lnTo>
                  <a:lnTo>
                    <a:pt x="229" y="310"/>
                  </a:lnTo>
                  <a:lnTo>
                    <a:pt x="226" y="311"/>
                  </a:lnTo>
                  <a:lnTo>
                    <a:pt x="224" y="311"/>
                  </a:lnTo>
                  <a:lnTo>
                    <a:pt x="223" y="313"/>
                  </a:lnTo>
                  <a:lnTo>
                    <a:pt x="221" y="315"/>
                  </a:lnTo>
                  <a:lnTo>
                    <a:pt x="219" y="316"/>
                  </a:lnTo>
                  <a:lnTo>
                    <a:pt x="219" y="318"/>
                  </a:lnTo>
                  <a:lnTo>
                    <a:pt x="216" y="318"/>
                  </a:lnTo>
                  <a:lnTo>
                    <a:pt x="212" y="318"/>
                  </a:lnTo>
                  <a:lnTo>
                    <a:pt x="211" y="318"/>
                  </a:lnTo>
                  <a:lnTo>
                    <a:pt x="209" y="320"/>
                  </a:lnTo>
                  <a:lnTo>
                    <a:pt x="207" y="318"/>
                  </a:lnTo>
                  <a:lnTo>
                    <a:pt x="206" y="316"/>
                  </a:lnTo>
                  <a:lnTo>
                    <a:pt x="204" y="316"/>
                  </a:lnTo>
                  <a:lnTo>
                    <a:pt x="204" y="315"/>
                  </a:lnTo>
                  <a:lnTo>
                    <a:pt x="202" y="316"/>
                  </a:lnTo>
                  <a:lnTo>
                    <a:pt x="202" y="315"/>
                  </a:lnTo>
                  <a:lnTo>
                    <a:pt x="199" y="315"/>
                  </a:lnTo>
                  <a:lnTo>
                    <a:pt x="197" y="313"/>
                  </a:lnTo>
                  <a:lnTo>
                    <a:pt x="197" y="311"/>
                  </a:lnTo>
                  <a:lnTo>
                    <a:pt x="195" y="310"/>
                  </a:lnTo>
                  <a:lnTo>
                    <a:pt x="195" y="313"/>
                  </a:lnTo>
                  <a:lnTo>
                    <a:pt x="197" y="313"/>
                  </a:lnTo>
                  <a:lnTo>
                    <a:pt x="197" y="316"/>
                  </a:lnTo>
                  <a:lnTo>
                    <a:pt x="199" y="316"/>
                  </a:lnTo>
                  <a:lnTo>
                    <a:pt x="199" y="318"/>
                  </a:lnTo>
                  <a:lnTo>
                    <a:pt x="200" y="318"/>
                  </a:lnTo>
                  <a:lnTo>
                    <a:pt x="202" y="318"/>
                  </a:lnTo>
                  <a:lnTo>
                    <a:pt x="204" y="320"/>
                  </a:lnTo>
                  <a:lnTo>
                    <a:pt x="206" y="320"/>
                  </a:lnTo>
                  <a:lnTo>
                    <a:pt x="207" y="320"/>
                  </a:lnTo>
                  <a:lnTo>
                    <a:pt x="209" y="321"/>
                  </a:lnTo>
                  <a:lnTo>
                    <a:pt x="211" y="321"/>
                  </a:lnTo>
                  <a:lnTo>
                    <a:pt x="212" y="323"/>
                  </a:lnTo>
                  <a:lnTo>
                    <a:pt x="216" y="323"/>
                  </a:lnTo>
                  <a:lnTo>
                    <a:pt x="217" y="323"/>
                  </a:lnTo>
                  <a:lnTo>
                    <a:pt x="219" y="323"/>
                  </a:lnTo>
                  <a:lnTo>
                    <a:pt x="219" y="325"/>
                  </a:lnTo>
                  <a:lnTo>
                    <a:pt x="221" y="327"/>
                  </a:lnTo>
                  <a:lnTo>
                    <a:pt x="224" y="327"/>
                  </a:lnTo>
                  <a:lnTo>
                    <a:pt x="226" y="325"/>
                  </a:lnTo>
                  <a:lnTo>
                    <a:pt x="228" y="325"/>
                  </a:lnTo>
                  <a:lnTo>
                    <a:pt x="229" y="323"/>
                  </a:lnTo>
                  <a:lnTo>
                    <a:pt x="231" y="323"/>
                  </a:lnTo>
                  <a:lnTo>
                    <a:pt x="231" y="321"/>
                  </a:lnTo>
                  <a:lnTo>
                    <a:pt x="233" y="320"/>
                  </a:lnTo>
                  <a:lnTo>
                    <a:pt x="234" y="321"/>
                  </a:lnTo>
                  <a:lnTo>
                    <a:pt x="236" y="321"/>
                  </a:lnTo>
                  <a:lnTo>
                    <a:pt x="238" y="321"/>
                  </a:lnTo>
                  <a:lnTo>
                    <a:pt x="240" y="321"/>
                  </a:lnTo>
                  <a:lnTo>
                    <a:pt x="240" y="323"/>
                  </a:lnTo>
                  <a:lnTo>
                    <a:pt x="241" y="325"/>
                  </a:lnTo>
                  <a:lnTo>
                    <a:pt x="241" y="327"/>
                  </a:lnTo>
                  <a:lnTo>
                    <a:pt x="241" y="325"/>
                  </a:lnTo>
                  <a:lnTo>
                    <a:pt x="241" y="327"/>
                  </a:lnTo>
                  <a:lnTo>
                    <a:pt x="243" y="327"/>
                  </a:lnTo>
                  <a:lnTo>
                    <a:pt x="246" y="328"/>
                  </a:lnTo>
                  <a:lnTo>
                    <a:pt x="246" y="330"/>
                  </a:lnTo>
                  <a:lnTo>
                    <a:pt x="248" y="330"/>
                  </a:lnTo>
                  <a:lnTo>
                    <a:pt x="248" y="332"/>
                  </a:lnTo>
                  <a:lnTo>
                    <a:pt x="250" y="333"/>
                  </a:lnTo>
                  <a:lnTo>
                    <a:pt x="253" y="333"/>
                  </a:lnTo>
                  <a:lnTo>
                    <a:pt x="257" y="335"/>
                  </a:lnTo>
                  <a:lnTo>
                    <a:pt x="257" y="337"/>
                  </a:lnTo>
                  <a:lnTo>
                    <a:pt x="258" y="338"/>
                  </a:lnTo>
                  <a:lnTo>
                    <a:pt x="258" y="340"/>
                  </a:lnTo>
                  <a:lnTo>
                    <a:pt x="260" y="344"/>
                  </a:lnTo>
                  <a:lnTo>
                    <a:pt x="262" y="345"/>
                  </a:lnTo>
                  <a:lnTo>
                    <a:pt x="260" y="347"/>
                  </a:lnTo>
                  <a:lnTo>
                    <a:pt x="262" y="347"/>
                  </a:lnTo>
                  <a:lnTo>
                    <a:pt x="262" y="349"/>
                  </a:lnTo>
                  <a:lnTo>
                    <a:pt x="263" y="350"/>
                  </a:lnTo>
                  <a:lnTo>
                    <a:pt x="265" y="352"/>
                  </a:lnTo>
                  <a:lnTo>
                    <a:pt x="265" y="354"/>
                  </a:lnTo>
                  <a:lnTo>
                    <a:pt x="265" y="355"/>
                  </a:lnTo>
                  <a:lnTo>
                    <a:pt x="267" y="357"/>
                  </a:lnTo>
                  <a:lnTo>
                    <a:pt x="267" y="355"/>
                  </a:lnTo>
                  <a:lnTo>
                    <a:pt x="268" y="359"/>
                  </a:lnTo>
                  <a:lnTo>
                    <a:pt x="270" y="359"/>
                  </a:lnTo>
                  <a:lnTo>
                    <a:pt x="272" y="361"/>
                  </a:lnTo>
                  <a:lnTo>
                    <a:pt x="272" y="362"/>
                  </a:lnTo>
                  <a:lnTo>
                    <a:pt x="274" y="364"/>
                  </a:lnTo>
                  <a:lnTo>
                    <a:pt x="272" y="364"/>
                  </a:lnTo>
                  <a:lnTo>
                    <a:pt x="272" y="367"/>
                  </a:lnTo>
                  <a:lnTo>
                    <a:pt x="274" y="367"/>
                  </a:lnTo>
                  <a:lnTo>
                    <a:pt x="274" y="371"/>
                  </a:lnTo>
                  <a:lnTo>
                    <a:pt x="274" y="373"/>
                  </a:lnTo>
                  <a:lnTo>
                    <a:pt x="274" y="374"/>
                  </a:lnTo>
                  <a:lnTo>
                    <a:pt x="272" y="374"/>
                  </a:lnTo>
                  <a:lnTo>
                    <a:pt x="272" y="378"/>
                  </a:lnTo>
                  <a:lnTo>
                    <a:pt x="272" y="379"/>
                  </a:lnTo>
                  <a:lnTo>
                    <a:pt x="274" y="379"/>
                  </a:lnTo>
                  <a:lnTo>
                    <a:pt x="272" y="381"/>
                  </a:lnTo>
                  <a:lnTo>
                    <a:pt x="272" y="384"/>
                  </a:lnTo>
                  <a:lnTo>
                    <a:pt x="274" y="386"/>
                  </a:lnTo>
                  <a:lnTo>
                    <a:pt x="274" y="388"/>
                  </a:lnTo>
                  <a:lnTo>
                    <a:pt x="274" y="390"/>
                  </a:lnTo>
                  <a:lnTo>
                    <a:pt x="272" y="391"/>
                  </a:lnTo>
                  <a:lnTo>
                    <a:pt x="272" y="393"/>
                  </a:lnTo>
                  <a:lnTo>
                    <a:pt x="274" y="395"/>
                  </a:lnTo>
                  <a:lnTo>
                    <a:pt x="272" y="393"/>
                  </a:lnTo>
                  <a:lnTo>
                    <a:pt x="274" y="396"/>
                  </a:lnTo>
                  <a:lnTo>
                    <a:pt x="274" y="398"/>
                  </a:lnTo>
                  <a:lnTo>
                    <a:pt x="274" y="400"/>
                  </a:lnTo>
                  <a:lnTo>
                    <a:pt x="275" y="401"/>
                  </a:lnTo>
                  <a:lnTo>
                    <a:pt x="274" y="401"/>
                  </a:lnTo>
                  <a:lnTo>
                    <a:pt x="275" y="401"/>
                  </a:lnTo>
                  <a:lnTo>
                    <a:pt x="275" y="403"/>
                  </a:lnTo>
                  <a:lnTo>
                    <a:pt x="275" y="405"/>
                  </a:lnTo>
                  <a:lnTo>
                    <a:pt x="277" y="405"/>
                  </a:lnTo>
                  <a:lnTo>
                    <a:pt x="277" y="408"/>
                  </a:lnTo>
                  <a:lnTo>
                    <a:pt x="275" y="410"/>
                  </a:lnTo>
                  <a:lnTo>
                    <a:pt x="277" y="408"/>
                  </a:lnTo>
                  <a:lnTo>
                    <a:pt x="275" y="412"/>
                  </a:lnTo>
                  <a:lnTo>
                    <a:pt x="277" y="415"/>
                  </a:lnTo>
                  <a:lnTo>
                    <a:pt x="277" y="417"/>
                  </a:lnTo>
                  <a:lnTo>
                    <a:pt x="277" y="420"/>
                  </a:lnTo>
                  <a:lnTo>
                    <a:pt x="279" y="422"/>
                  </a:lnTo>
                  <a:lnTo>
                    <a:pt x="279" y="424"/>
                  </a:lnTo>
                  <a:lnTo>
                    <a:pt x="280" y="424"/>
                  </a:lnTo>
                  <a:lnTo>
                    <a:pt x="280" y="425"/>
                  </a:lnTo>
                  <a:lnTo>
                    <a:pt x="280" y="427"/>
                  </a:lnTo>
                  <a:lnTo>
                    <a:pt x="282" y="429"/>
                  </a:lnTo>
                  <a:lnTo>
                    <a:pt x="280" y="430"/>
                  </a:lnTo>
                  <a:lnTo>
                    <a:pt x="280" y="432"/>
                  </a:lnTo>
                  <a:lnTo>
                    <a:pt x="282" y="429"/>
                  </a:lnTo>
                  <a:lnTo>
                    <a:pt x="282" y="430"/>
                  </a:lnTo>
                  <a:lnTo>
                    <a:pt x="285" y="432"/>
                  </a:lnTo>
                  <a:lnTo>
                    <a:pt x="287" y="434"/>
                  </a:lnTo>
                  <a:lnTo>
                    <a:pt x="291" y="434"/>
                  </a:lnTo>
                  <a:lnTo>
                    <a:pt x="291" y="435"/>
                  </a:lnTo>
                  <a:lnTo>
                    <a:pt x="292" y="435"/>
                  </a:lnTo>
                  <a:lnTo>
                    <a:pt x="294" y="437"/>
                  </a:lnTo>
                  <a:lnTo>
                    <a:pt x="296" y="437"/>
                  </a:lnTo>
                  <a:lnTo>
                    <a:pt x="297" y="439"/>
                  </a:lnTo>
                  <a:lnTo>
                    <a:pt x="299" y="442"/>
                  </a:lnTo>
                  <a:lnTo>
                    <a:pt x="301" y="442"/>
                  </a:lnTo>
                  <a:lnTo>
                    <a:pt x="302" y="444"/>
                  </a:lnTo>
                  <a:lnTo>
                    <a:pt x="304" y="446"/>
                  </a:lnTo>
                  <a:lnTo>
                    <a:pt x="304" y="447"/>
                  </a:lnTo>
                  <a:lnTo>
                    <a:pt x="304" y="449"/>
                  </a:lnTo>
                  <a:lnTo>
                    <a:pt x="306" y="451"/>
                  </a:lnTo>
                  <a:lnTo>
                    <a:pt x="308" y="454"/>
                  </a:lnTo>
                  <a:lnTo>
                    <a:pt x="308" y="456"/>
                  </a:lnTo>
                  <a:lnTo>
                    <a:pt x="308" y="458"/>
                  </a:lnTo>
                  <a:lnTo>
                    <a:pt x="309" y="458"/>
                  </a:lnTo>
                  <a:lnTo>
                    <a:pt x="308" y="459"/>
                  </a:lnTo>
                  <a:lnTo>
                    <a:pt x="309" y="461"/>
                  </a:lnTo>
                  <a:lnTo>
                    <a:pt x="309" y="463"/>
                  </a:lnTo>
                  <a:lnTo>
                    <a:pt x="311" y="463"/>
                  </a:lnTo>
                  <a:lnTo>
                    <a:pt x="313" y="464"/>
                  </a:lnTo>
                  <a:lnTo>
                    <a:pt x="311" y="464"/>
                  </a:lnTo>
                  <a:lnTo>
                    <a:pt x="313" y="468"/>
                  </a:lnTo>
                  <a:lnTo>
                    <a:pt x="316" y="469"/>
                  </a:lnTo>
                  <a:lnTo>
                    <a:pt x="318" y="471"/>
                  </a:lnTo>
                  <a:lnTo>
                    <a:pt x="319" y="473"/>
                  </a:lnTo>
                  <a:lnTo>
                    <a:pt x="318" y="473"/>
                  </a:lnTo>
                  <a:lnTo>
                    <a:pt x="316" y="473"/>
                  </a:lnTo>
                  <a:lnTo>
                    <a:pt x="314" y="475"/>
                  </a:lnTo>
                  <a:lnTo>
                    <a:pt x="313" y="476"/>
                  </a:lnTo>
                  <a:lnTo>
                    <a:pt x="313" y="478"/>
                  </a:lnTo>
                  <a:lnTo>
                    <a:pt x="313" y="480"/>
                  </a:lnTo>
                  <a:lnTo>
                    <a:pt x="313" y="483"/>
                  </a:lnTo>
                  <a:lnTo>
                    <a:pt x="314" y="485"/>
                  </a:lnTo>
                  <a:lnTo>
                    <a:pt x="314" y="486"/>
                  </a:lnTo>
                  <a:lnTo>
                    <a:pt x="314" y="488"/>
                  </a:lnTo>
                  <a:lnTo>
                    <a:pt x="314" y="490"/>
                  </a:lnTo>
                  <a:lnTo>
                    <a:pt x="316" y="492"/>
                  </a:lnTo>
                  <a:lnTo>
                    <a:pt x="318" y="493"/>
                  </a:lnTo>
                  <a:lnTo>
                    <a:pt x="318" y="495"/>
                  </a:lnTo>
                  <a:lnTo>
                    <a:pt x="318" y="497"/>
                  </a:lnTo>
                  <a:lnTo>
                    <a:pt x="319" y="498"/>
                  </a:lnTo>
                  <a:lnTo>
                    <a:pt x="321" y="500"/>
                  </a:lnTo>
                  <a:lnTo>
                    <a:pt x="321" y="502"/>
                  </a:lnTo>
                  <a:lnTo>
                    <a:pt x="323" y="503"/>
                  </a:lnTo>
                  <a:lnTo>
                    <a:pt x="323" y="505"/>
                  </a:lnTo>
                  <a:lnTo>
                    <a:pt x="323" y="509"/>
                  </a:lnTo>
                  <a:lnTo>
                    <a:pt x="323" y="510"/>
                  </a:lnTo>
                  <a:lnTo>
                    <a:pt x="321" y="510"/>
                  </a:lnTo>
                  <a:lnTo>
                    <a:pt x="323" y="509"/>
                  </a:lnTo>
                  <a:lnTo>
                    <a:pt x="323" y="507"/>
                  </a:lnTo>
                  <a:lnTo>
                    <a:pt x="321" y="505"/>
                  </a:lnTo>
                  <a:lnTo>
                    <a:pt x="319" y="505"/>
                  </a:lnTo>
                  <a:lnTo>
                    <a:pt x="318" y="505"/>
                  </a:lnTo>
                  <a:lnTo>
                    <a:pt x="316" y="505"/>
                  </a:lnTo>
                  <a:lnTo>
                    <a:pt x="314" y="505"/>
                  </a:lnTo>
                  <a:lnTo>
                    <a:pt x="313" y="503"/>
                  </a:lnTo>
                  <a:lnTo>
                    <a:pt x="311" y="502"/>
                  </a:lnTo>
                  <a:lnTo>
                    <a:pt x="309" y="500"/>
                  </a:lnTo>
                  <a:lnTo>
                    <a:pt x="309" y="497"/>
                  </a:lnTo>
                  <a:lnTo>
                    <a:pt x="306" y="497"/>
                  </a:lnTo>
                  <a:lnTo>
                    <a:pt x="302" y="497"/>
                  </a:lnTo>
                  <a:lnTo>
                    <a:pt x="301" y="498"/>
                  </a:lnTo>
                  <a:lnTo>
                    <a:pt x="299" y="497"/>
                  </a:lnTo>
                  <a:lnTo>
                    <a:pt x="296" y="497"/>
                  </a:lnTo>
                  <a:lnTo>
                    <a:pt x="294" y="497"/>
                  </a:lnTo>
                  <a:lnTo>
                    <a:pt x="294" y="498"/>
                  </a:lnTo>
                  <a:lnTo>
                    <a:pt x="297" y="500"/>
                  </a:lnTo>
                  <a:lnTo>
                    <a:pt x="299" y="498"/>
                  </a:lnTo>
                  <a:lnTo>
                    <a:pt x="302" y="498"/>
                  </a:lnTo>
                  <a:lnTo>
                    <a:pt x="304" y="498"/>
                  </a:lnTo>
                  <a:lnTo>
                    <a:pt x="306" y="498"/>
                  </a:lnTo>
                  <a:lnTo>
                    <a:pt x="308" y="500"/>
                  </a:lnTo>
                  <a:lnTo>
                    <a:pt x="308" y="502"/>
                  </a:lnTo>
                  <a:lnTo>
                    <a:pt x="309" y="503"/>
                  </a:lnTo>
                  <a:lnTo>
                    <a:pt x="309" y="505"/>
                  </a:lnTo>
                  <a:lnTo>
                    <a:pt x="311" y="507"/>
                  </a:lnTo>
                  <a:lnTo>
                    <a:pt x="313" y="507"/>
                  </a:lnTo>
                  <a:lnTo>
                    <a:pt x="313" y="509"/>
                  </a:lnTo>
                  <a:lnTo>
                    <a:pt x="314" y="509"/>
                  </a:lnTo>
                  <a:lnTo>
                    <a:pt x="316" y="510"/>
                  </a:lnTo>
                  <a:lnTo>
                    <a:pt x="318" y="512"/>
                  </a:lnTo>
                  <a:lnTo>
                    <a:pt x="318" y="514"/>
                  </a:lnTo>
                  <a:lnTo>
                    <a:pt x="319" y="514"/>
                  </a:lnTo>
                  <a:lnTo>
                    <a:pt x="321" y="517"/>
                  </a:lnTo>
                  <a:lnTo>
                    <a:pt x="321" y="515"/>
                  </a:lnTo>
                  <a:lnTo>
                    <a:pt x="323" y="515"/>
                  </a:lnTo>
                  <a:lnTo>
                    <a:pt x="321" y="517"/>
                  </a:lnTo>
                  <a:lnTo>
                    <a:pt x="323" y="517"/>
                  </a:lnTo>
                  <a:lnTo>
                    <a:pt x="325" y="520"/>
                  </a:lnTo>
                  <a:lnTo>
                    <a:pt x="323" y="520"/>
                  </a:lnTo>
                  <a:lnTo>
                    <a:pt x="325" y="520"/>
                  </a:lnTo>
                  <a:lnTo>
                    <a:pt x="323" y="520"/>
                  </a:lnTo>
                  <a:lnTo>
                    <a:pt x="325" y="522"/>
                  </a:lnTo>
                  <a:lnTo>
                    <a:pt x="325" y="524"/>
                  </a:lnTo>
                  <a:lnTo>
                    <a:pt x="325" y="526"/>
                  </a:lnTo>
                  <a:lnTo>
                    <a:pt x="326" y="529"/>
                  </a:lnTo>
                  <a:lnTo>
                    <a:pt x="326" y="531"/>
                  </a:lnTo>
                  <a:lnTo>
                    <a:pt x="328" y="532"/>
                  </a:lnTo>
                  <a:lnTo>
                    <a:pt x="328" y="536"/>
                  </a:lnTo>
                  <a:lnTo>
                    <a:pt x="328" y="539"/>
                  </a:lnTo>
                  <a:lnTo>
                    <a:pt x="328" y="541"/>
                  </a:lnTo>
                  <a:lnTo>
                    <a:pt x="328" y="543"/>
                  </a:lnTo>
                  <a:lnTo>
                    <a:pt x="326" y="543"/>
                  </a:lnTo>
                  <a:lnTo>
                    <a:pt x="326" y="544"/>
                  </a:lnTo>
                  <a:lnTo>
                    <a:pt x="326" y="546"/>
                  </a:lnTo>
                  <a:lnTo>
                    <a:pt x="325" y="546"/>
                  </a:lnTo>
                  <a:lnTo>
                    <a:pt x="323" y="548"/>
                  </a:lnTo>
                  <a:lnTo>
                    <a:pt x="321" y="548"/>
                  </a:lnTo>
                  <a:lnTo>
                    <a:pt x="318" y="549"/>
                  </a:lnTo>
                  <a:lnTo>
                    <a:pt x="316" y="551"/>
                  </a:lnTo>
                  <a:lnTo>
                    <a:pt x="314" y="553"/>
                  </a:lnTo>
                  <a:lnTo>
                    <a:pt x="314" y="555"/>
                  </a:lnTo>
                  <a:lnTo>
                    <a:pt x="313" y="556"/>
                  </a:lnTo>
                  <a:lnTo>
                    <a:pt x="314" y="558"/>
                  </a:lnTo>
                  <a:lnTo>
                    <a:pt x="316" y="558"/>
                  </a:lnTo>
                  <a:lnTo>
                    <a:pt x="318" y="560"/>
                  </a:lnTo>
                  <a:lnTo>
                    <a:pt x="319" y="563"/>
                  </a:lnTo>
                  <a:lnTo>
                    <a:pt x="321" y="565"/>
                  </a:lnTo>
                  <a:lnTo>
                    <a:pt x="323" y="565"/>
                  </a:lnTo>
                  <a:lnTo>
                    <a:pt x="325" y="566"/>
                  </a:lnTo>
                  <a:lnTo>
                    <a:pt x="326" y="563"/>
                  </a:lnTo>
                  <a:lnTo>
                    <a:pt x="328" y="563"/>
                  </a:lnTo>
                  <a:lnTo>
                    <a:pt x="330" y="561"/>
                  </a:lnTo>
                  <a:lnTo>
                    <a:pt x="330" y="560"/>
                  </a:lnTo>
                  <a:lnTo>
                    <a:pt x="331" y="558"/>
                  </a:lnTo>
                  <a:lnTo>
                    <a:pt x="331" y="556"/>
                  </a:lnTo>
                  <a:lnTo>
                    <a:pt x="335" y="555"/>
                  </a:lnTo>
                  <a:lnTo>
                    <a:pt x="336" y="555"/>
                  </a:lnTo>
                  <a:lnTo>
                    <a:pt x="338" y="555"/>
                  </a:lnTo>
                  <a:lnTo>
                    <a:pt x="340" y="555"/>
                  </a:lnTo>
                  <a:lnTo>
                    <a:pt x="343" y="556"/>
                  </a:lnTo>
                  <a:lnTo>
                    <a:pt x="345" y="556"/>
                  </a:lnTo>
                  <a:lnTo>
                    <a:pt x="347" y="556"/>
                  </a:lnTo>
                  <a:lnTo>
                    <a:pt x="347" y="558"/>
                  </a:lnTo>
                  <a:lnTo>
                    <a:pt x="348" y="556"/>
                  </a:lnTo>
                  <a:lnTo>
                    <a:pt x="348" y="558"/>
                  </a:lnTo>
                  <a:lnTo>
                    <a:pt x="352" y="558"/>
                  </a:lnTo>
                  <a:lnTo>
                    <a:pt x="355" y="558"/>
                  </a:lnTo>
                  <a:lnTo>
                    <a:pt x="352" y="556"/>
                  </a:lnTo>
                  <a:lnTo>
                    <a:pt x="352" y="558"/>
                  </a:lnTo>
                  <a:lnTo>
                    <a:pt x="352" y="556"/>
                  </a:lnTo>
                  <a:lnTo>
                    <a:pt x="353" y="556"/>
                  </a:lnTo>
                  <a:lnTo>
                    <a:pt x="355" y="558"/>
                  </a:lnTo>
                  <a:lnTo>
                    <a:pt x="357" y="558"/>
                  </a:lnTo>
                  <a:lnTo>
                    <a:pt x="359" y="560"/>
                  </a:lnTo>
                  <a:lnTo>
                    <a:pt x="360" y="560"/>
                  </a:lnTo>
                  <a:lnTo>
                    <a:pt x="362" y="560"/>
                  </a:lnTo>
                  <a:lnTo>
                    <a:pt x="364" y="561"/>
                  </a:lnTo>
                  <a:lnTo>
                    <a:pt x="365" y="561"/>
                  </a:lnTo>
                  <a:lnTo>
                    <a:pt x="367" y="563"/>
                  </a:lnTo>
                  <a:lnTo>
                    <a:pt x="369" y="565"/>
                  </a:lnTo>
                  <a:lnTo>
                    <a:pt x="370" y="565"/>
                  </a:lnTo>
                  <a:lnTo>
                    <a:pt x="372" y="566"/>
                  </a:lnTo>
                  <a:lnTo>
                    <a:pt x="372" y="568"/>
                  </a:lnTo>
                  <a:lnTo>
                    <a:pt x="374" y="570"/>
                  </a:lnTo>
                  <a:lnTo>
                    <a:pt x="376" y="572"/>
                  </a:lnTo>
                  <a:lnTo>
                    <a:pt x="376" y="573"/>
                  </a:lnTo>
                  <a:lnTo>
                    <a:pt x="377" y="573"/>
                  </a:lnTo>
                  <a:lnTo>
                    <a:pt x="379" y="575"/>
                  </a:lnTo>
                  <a:lnTo>
                    <a:pt x="381" y="578"/>
                  </a:lnTo>
                  <a:lnTo>
                    <a:pt x="381" y="580"/>
                  </a:lnTo>
                  <a:lnTo>
                    <a:pt x="381" y="582"/>
                  </a:lnTo>
                  <a:lnTo>
                    <a:pt x="381" y="585"/>
                  </a:lnTo>
                  <a:lnTo>
                    <a:pt x="381" y="587"/>
                  </a:lnTo>
                  <a:lnTo>
                    <a:pt x="381" y="589"/>
                  </a:lnTo>
                  <a:lnTo>
                    <a:pt x="381" y="590"/>
                  </a:lnTo>
                  <a:lnTo>
                    <a:pt x="381" y="592"/>
                  </a:lnTo>
                  <a:lnTo>
                    <a:pt x="381" y="594"/>
                  </a:lnTo>
                  <a:lnTo>
                    <a:pt x="381" y="595"/>
                  </a:lnTo>
                  <a:lnTo>
                    <a:pt x="379" y="597"/>
                  </a:lnTo>
                  <a:lnTo>
                    <a:pt x="379" y="599"/>
                  </a:lnTo>
                  <a:lnTo>
                    <a:pt x="379" y="600"/>
                  </a:lnTo>
                  <a:lnTo>
                    <a:pt x="377" y="602"/>
                  </a:lnTo>
                  <a:lnTo>
                    <a:pt x="377" y="604"/>
                  </a:lnTo>
                  <a:lnTo>
                    <a:pt x="376" y="606"/>
                  </a:lnTo>
                  <a:lnTo>
                    <a:pt x="374" y="609"/>
                  </a:lnTo>
                  <a:lnTo>
                    <a:pt x="374" y="611"/>
                  </a:lnTo>
                  <a:lnTo>
                    <a:pt x="372" y="612"/>
                  </a:lnTo>
                  <a:lnTo>
                    <a:pt x="372" y="614"/>
                  </a:lnTo>
                  <a:lnTo>
                    <a:pt x="372" y="617"/>
                  </a:lnTo>
                  <a:lnTo>
                    <a:pt x="370" y="619"/>
                  </a:lnTo>
                  <a:lnTo>
                    <a:pt x="370" y="621"/>
                  </a:lnTo>
                  <a:lnTo>
                    <a:pt x="369" y="623"/>
                  </a:lnTo>
                  <a:lnTo>
                    <a:pt x="365" y="623"/>
                  </a:lnTo>
                  <a:lnTo>
                    <a:pt x="365" y="624"/>
                  </a:lnTo>
                  <a:lnTo>
                    <a:pt x="364" y="624"/>
                  </a:lnTo>
                  <a:lnTo>
                    <a:pt x="364" y="626"/>
                  </a:lnTo>
                  <a:lnTo>
                    <a:pt x="362" y="628"/>
                  </a:lnTo>
                  <a:lnTo>
                    <a:pt x="360" y="629"/>
                  </a:lnTo>
                  <a:lnTo>
                    <a:pt x="359" y="629"/>
                  </a:lnTo>
                  <a:lnTo>
                    <a:pt x="357" y="631"/>
                  </a:lnTo>
                  <a:lnTo>
                    <a:pt x="357" y="629"/>
                  </a:lnTo>
                  <a:lnTo>
                    <a:pt x="355" y="629"/>
                  </a:lnTo>
                  <a:lnTo>
                    <a:pt x="353" y="629"/>
                  </a:lnTo>
                  <a:lnTo>
                    <a:pt x="352" y="628"/>
                  </a:lnTo>
                  <a:lnTo>
                    <a:pt x="350" y="629"/>
                  </a:lnTo>
                  <a:lnTo>
                    <a:pt x="347" y="628"/>
                  </a:lnTo>
                  <a:lnTo>
                    <a:pt x="348" y="629"/>
                  </a:lnTo>
                  <a:lnTo>
                    <a:pt x="352" y="629"/>
                  </a:lnTo>
                  <a:lnTo>
                    <a:pt x="353" y="629"/>
                  </a:lnTo>
                  <a:lnTo>
                    <a:pt x="355" y="629"/>
                  </a:lnTo>
                  <a:lnTo>
                    <a:pt x="355" y="631"/>
                  </a:lnTo>
                  <a:lnTo>
                    <a:pt x="357" y="629"/>
                  </a:lnTo>
                  <a:lnTo>
                    <a:pt x="357" y="631"/>
                  </a:lnTo>
                  <a:lnTo>
                    <a:pt x="355" y="631"/>
                  </a:lnTo>
                  <a:lnTo>
                    <a:pt x="353" y="634"/>
                  </a:lnTo>
                  <a:lnTo>
                    <a:pt x="355" y="634"/>
                  </a:lnTo>
                  <a:lnTo>
                    <a:pt x="355" y="636"/>
                  </a:lnTo>
                  <a:lnTo>
                    <a:pt x="353" y="638"/>
                  </a:lnTo>
                  <a:lnTo>
                    <a:pt x="352" y="640"/>
                  </a:lnTo>
                  <a:lnTo>
                    <a:pt x="350" y="640"/>
                  </a:lnTo>
                  <a:lnTo>
                    <a:pt x="350" y="641"/>
                  </a:lnTo>
                  <a:lnTo>
                    <a:pt x="348" y="641"/>
                  </a:lnTo>
                  <a:lnTo>
                    <a:pt x="345" y="641"/>
                  </a:lnTo>
                  <a:lnTo>
                    <a:pt x="343" y="638"/>
                  </a:lnTo>
                  <a:lnTo>
                    <a:pt x="342" y="640"/>
                  </a:lnTo>
                  <a:lnTo>
                    <a:pt x="340" y="640"/>
                  </a:lnTo>
                  <a:lnTo>
                    <a:pt x="338" y="640"/>
                  </a:lnTo>
                  <a:lnTo>
                    <a:pt x="336" y="641"/>
                  </a:lnTo>
                  <a:lnTo>
                    <a:pt x="333" y="641"/>
                  </a:lnTo>
                  <a:lnTo>
                    <a:pt x="331" y="641"/>
                  </a:lnTo>
                  <a:lnTo>
                    <a:pt x="331" y="643"/>
                  </a:lnTo>
                  <a:lnTo>
                    <a:pt x="333" y="643"/>
                  </a:lnTo>
                  <a:lnTo>
                    <a:pt x="336" y="643"/>
                  </a:lnTo>
                  <a:lnTo>
                    <a:pt x="338" y="641"/>
                  </a:lnTo>
                  <a:lnTo>
                    <a:pt x="340" y="643"/>
                  </a:lnTo>
                  <a:lnTo>
                    <a:pt x="340" y="645"/>
                  </a:lnTo>
                  <a:lnTo>
                    <a:pt x="340" y="646"/>
                  </a:lnTo>
                  <a:lnTo>
                    <a:pt x="338" y="648"/>
                  </a:lnTo>
                  <a:lnTo>
                    <a:pt x="338" y="650"/>
                  </a:lnTo>
                  <a:lnTo>
                    <a:pt x="336" y="650"/>
                  </a:lnTo>
                  <a:lnTo>
                    <a:pt x="336" y="651"/>
                  </a:lnTo>
                  <a:lnTo>
                    <a:pt x="340" y="651"/>
                  </a:lnTo>
                  <a:lnTo>
                    <a:pt x="338" y="651"/>
                  </a:lnTo>
                  <a:lnTo>
                    <a:pt x="336" y="653"/>
                  </a:lnTo>
                  <a:lnTo>
                    <a:pt x="335" y="655"/>
                  </a:lnTo>
                  <a:lnTo>
                    <a:pt x="333" y="655"/>
                  </a:lnTo>
                  <a:lnTo>
                    <a:pt x="331" y="657"/>
                  </a:lnTo>
                  <a:lnTo>
                    <a:pt x="330" y="657"/>
                  </a:lnTo>
                  <a:lnTo>
                    <a:pt x="328" y="655"/>
                  </a:lnTo>
                  <a:lnTo>
                    <a:pt x="325" y="655"/>
                  </a:lnTo>
                  <a:lnTo>
                    <a:pt x="323" y="655"/>
                  </a:lnTo>
                  <a:lnTo>
                    <a:pt x="325" y="655"/>
                  </a:lnTo>
                  <a:lnTo>
                    <a:pt x="325" y="657"/>
                  </a:lnTo>
                  <a:lnTo>
                    <a:pt x="321" y="657"/>
                  </a:lnTo>
                  <a:lnTo>
                    <a:pt x="319" y="655"/>
                  </a:lnTo>
                  <a:lnTo>
                    <a:pt x="319" y="657"/>
                  </a:lnTo>
                  <a:lnTo>
                    <a:pt x="318" y="657"/>
                  </a:lnTo>
                  <a:lnTo>
                    <a:pt x="316" y="657"/>
                  </a:lnTo>
                  <a:lnTo>
                    <a:pt x="316" y="658"/>
                  </a:lnTo>
                  <a:lnTo>
                    <a:pt x="318" y="657"/>
                  </a:lnTo>
                  <a:lnTo>
                    <a:pt x="321" y="658"/>
                  </a:lnTo>
                  <a:lnTo>
                    <a:pt x="323" y="658"/>
                  </a:lnTo>
                  <a:lnTo>
                    <a:pt x="325" y="658"/>
                  </a:lnTo>
                  <a:lnTo>
                    <a:pt x="326" y="660"/>
                  </a:lnTo>
                  <a:lnTo>
                    <a:pt x="328" y="660"/>
                  </a:lnTo>
                  <a:lnTo>
                    <a:pt x="328" y="662"/>
                  </a:lnTo>
                  <a:lnTo>
                    <a:pt x="326" y="662"/>
                  </a:lnTo>
                  <a:lnTo>
                    <a:pt x="325" y="662"/>
                  </a:lnTo>
                  <a:lnTo>
                    <a:pt x="323" y="663"/>
                  </a:lnTo>
                  <a:lnTo>
                    <a:pt x="321" y="663"/>
                  </a:lnTo>
                  <a:lnTo>
                    <a:pt x="319" y="663"/>
                  </a:lnTo>
                  <a:lnTo>
                    <a:pt x="323" y="665"/>
                  </a:lnTo>
                  <a:lnTo>
                    <a:pt x="323" y="667"/>
                  </a:lnTo>
                  <a:lnTo>
                    <a:pt x="325" y="665"/>
                  </a:lnTo>
                  <a:lnTo>
                    <a:pt x="325" y="667"/>
                  </a:lnTo>
                  <a:lnTo>
                    <a:pt x="326" y="665"/>
                  </a:lnTo>
                  <a:lnTo>
                    <a:pt x="326" y="667"/>
                  </a:lnTo>
                  <a:lnTo>
                    <a:pt x="328" y="665"/>
                  </a:lnTo>
                  <a:lnTo>
                    <a:pt x="326" y="663"/>
                  </a:lnTo>
                  <a:lnTo>
                    <a:pt x="328" y="663"/>
                  </a:lnTo>
                  <a:lnTo>
                    <a:pt x="328" y="665"/>
                  </a:lnTo>
                  <a:lnTo>
                    <a:pt x="330" y="667"/>
                  </a:lnTo>
                  <a:lnTo>
                    <a:pt x="328" y="668"/>
                  </a:lnTo>
                  <a:lnTo>
                    <a:pt x="330" y="667"/>
                  </a:lnTo>
                  <a:lnTo>
                    <a:pt x="331" y="668"/>
                  </a:lnTo>
                  <a:lnTo>
                    <a:pt x="333" y="668"/>
                  </a:lnTo>
                  <a:lnTo>
                    <a:pt x="335" y="670"/>
                  </a:lnTo>
                  <a:lnTo>
                    <a:pt x="336" y="670"/>
                  </a:lnTo>
                  <a:lnTo>
                    <a:pt x="338" y="670"/>
                  </a:lnTo>
                  <a:lnTo>
                    <a:pt x="340" y="668"/>
                  </a:lnTo>
                  <a:lnTo>
                    <a:pt x="343" y="668"/>
                  </a:lnTo>
                  <a:lnTo>
                    <a:pt x="345" y="668"/>
                  </a:lnTo>
                  <a:lnTo>
                    <a:pt x="348" y="668"/>
                  </a:lnTo>
                  <a:lnTo>
                    <a:pt x="350" y="668"/>
                  </a:lnTo>
                  <a:lnTo>
                    <a:pt x="352" y="668"/>
                  </a:lnTo>
                  <a:lnTo>
                    <a:pt x="353" y="668"/>
                  </a:lnTo>
                  <a:lnTo>
                    <a:pt x="355" y="668"/>
                  </a:lnTo>
                  <a:lnTo>
                    <a:pt x="359" y="668"/>
                  </a:lnTo>
                  <a:lnTo>
                    <a:pt x="359" y="670"/>
                  </a:lnTo>
                  <a:lnTo>
                    <a:pt x="359" y="672"/>
                  </a:lnTo>
                  <a:lnTo>
                    <a:pt x="357" y="674"/>
                  </a:lnTo>
                  <a:lnTo>
                    <a:pt x="355" y="674"/>
                  </a:lnTo>
                  <a:lnTo>
                    <a:pt x="353" y="674"/>
                  </a:lnTo>
                  <a:lnTo>
                    <a:pt x="355" y="675"/>
                  </a:lnTo>
                  <a:lnTo>
                    <a:pt x="355" y="679"/>
                  </a:lnTo>
                  <a:lnTo>
                    <a:pt x="355" y="680"/>
                  </a:lnTo>
                  <a:lnTo>
                    <a:pt x="355" y="682"/>
                  </a:lnTo>
                  <a:lnTo>
                    <a:pt x="355" y="684"/>
                  </a:lnTo>
                  <a:lnTo>
                    <a:pt x="353" y="685"/>
                  </a:lnTo>
                  <a:lnTo>
                    <a:pt x="350" y="687"/>
                  </a:lnTo>
                  <a:lnTo>
                    <a:pt x="352" y="687"/>
                  </a:lnTo>
                  <a:lnTo>
                    <a:pt x="350" y="687"/>
                  </a:lnTo>
                  <a:lnTo>
                    <a:pt x="352" y="689"/>
                  </a:lnTo>
                  <a:lnTo>
                    <a:pt x="350" y="687"/>
                  </a:lnTo>
                  <a:lnTo>
                    <a:pt x="348" y="689"/>
                  </a:lnTo>
                  <a:lnTo>
                    <a:pt x="347" y="689"/>
                  </a:lnTo>
                  <a:lnTo>
                    <a:pt x="345" y="691"/>
                  </a:lnTo>
                  <a:lnTo>
                    <a:pt x="342" y="689"/>
                  </a:lnTo>
                  <a:lnTo>
                    <a:pt x="340" y="691"/>
                  </a:lnTo>
                  <a:lnTo>
                    <a:pt x="338" y="691"/>
                  </a:lnTo>
                  <a:lnTo>
                    <a:pt x="336" y="692"/>
                  </a:lnTo>
                  <a:lnTo>
                    <a:pt x="335" y="694"/>
                  </a:lnTo>
                  <a:lnTo>
                    <a:pt x="335" y="696"/>
                  </a:lnTo>
                  <a:lnTo>
                    <a:pt x="335" y="697"/>
                  </a:lnTo>
                  <a:lnTo>
                    <a:pt x="335" y="699"/>
                  </a:lnTo>
                  <a:lnTo>
                    <a:pt x="333" y="699"/>
                  </a:lnTo>
                  <a:lnTo>
                    <a:pt x="331" y="699"/>
                  </a:lnTo>
                  <a:lnTo>
                    <a:pt x="328" y="697"/>
                  </a:lnTo>
                  <a:lnTo>
                    <a:pt x="326" y="697"/>
                  </a:lnTo>
                  <a:lnTo>
                    <a:pt x="325" y="697"/>
                  </a:lnTo>
                  <a:lnTo>
                    <a:pt x="323" y="699"/>
                  </a:lnTo>
                  <a:lnTo>
                    <a:pt x="321" y="701"/>
                  </a:lnTo>
                  <a:lnTo>
                    <a:pt x="319" y="701"/>
                  </a:lnTo>
                  <a:lnTo>
                    <a:pt x="318" y="701"/>
                  </a:lnTo>
                  <a:lnTo>
                    <a:pt x="316" y="703"/>
                  </a:lnTo>
                  <a:lnTo>
                    <a:pt x="314" y="703"/>
                  </a:lnTo>
                  <a:lnTo>
                    <a:pt x="311" y="703"/>
                  </a:lnTo>
                  <a:lnTo>
                    <a:pt x="309" y="703"/>
                  </a:lnTo>
                  <a:lnTo>
                    <a:pt x="306" y="703"/>
                  </a:lnTo>
                  <a:lnTo>
                    <a:pt x="304" y="706"/>
                  </a:lnTo>
                  <a:lnTo>
                    <a:pt x="302" y="708"/>
                  </a:lnTo>
                  <a:lnTo>
                    <a:pt x="301" y="708"/>
                  </a:lnTo>
                  <a:lnTo>
                    <a:pt x="299" y="708"/>
                  </a:lnTo>
                  <a:lnTo>
                    <a:pt x="296" y="706"/>
                  </a:lnTo>
                  <a:lnTo>
                    <a:pt x="292" y="704"/>
                  </a:lnTo>
                  <a:lnTo>
                    <a:pt x="291" y="703"/>
                  </a:lnTo>
                  <a:lnTo>
                    <a:pt x="289" y="703"/>
                  </a:lnTo>
                  <a:lnTo>
                    <a:pt x="287" y="701"/>
                  </a:lnTo>
                  <a:lnTo>
                    <a:pt x="285" y="701"/>
                  </a:lnTo>
                  <a:lnTo>
                    <a:pt x="284" y="701"/>
                  </a:lnTo>
                  <a:lnTo>
                    <a:pt x="284" y="699"/>
                  </a:lnTo>
                  <a:lnTo>
                    <a:pt x="280" y="699"/>
                  </a:lnTo>
                  <a:lnTo>
                    <a:pt x="279" y="697"/>
                  </a:lnTo>
                  <a:lnTo>
                    <a:pt x="280" y="699"/>
                  </a:lnTo>
                  <a:lnTo>
                    <a:pt x="279" y="699"/>
                  </a:lnTo>
                  <a:lnTo>
                    <a:pt x="277" y="699"/>
                  </a:lnTo>
                  <a:lnTo>
                    <a:pt x="274" y="699"/>
                  </a:lnTo>
                  <a:lnTo>
                    <a:pt x="272" y="699"/>
                  </a:lnTo>
                  <a:lnTo>
                    <a:pt x="270" y="699"/>
                  </a:lnTo>
                  <a:lnTo>
                    <a:pt x="267" y="699"/>
                  </a:lnTo>
                  <a:lnTo>
                    <a:pt x="265" y="699"/>
                  </a:lnTo>
                  <a:lnTo>
                    <a:pt x="262" y="699"/>
                  </a:lnTo>
                  <a:lnTo>
                    <a:pt x="260" y="699"/>
                  </a:lnTo>
                  <a:lnTo>
                    <a:pt x="257" y="701"/>
                  </a:lnTo>
                  <a:lnTo>
                    <a:pt x="257" y="699"/>
                  </a:lnTo>
                  <a:lnTo>
                    <a:pt x="255" y="699"/>
                  </a:lnTo>
                  <a:lnTo>
                    <a:pt x="257" y="701"/>
                  </a:lnTo>
                  <a:lnTo>
                    <a:pt x="255" y="703"/>
                  </a:lnTo>
                  <a:lnTo>
                    <a:pt x="253" y="699"/>
                  </a:lnTo>
                  <a:lnTo>
                    <a:pt x="251" y="697"/>
                  </a:lnTo>
                  <a:lnTo>
                    <a:pt x="250" y="697"/>
                  </a:lnTo>
                  <a:lnTo>
                    <a:pt x="251" y="696"/>
                  </a:lnTo>
                  <a:lnTo>
                    <a:pt x="253" y="696"/>
                  </a:lnTo>
                  <a:lnTo>
                    <a:pt x="251" y="696"/>
                  </a:lnTo>
                  <a:lnTo>
                    <a:pt x="251" y="694"/>
                  </a:lnTo>
                  <a:lnTo>
                    <a:pt x="250" y="696"/>
                  </a:lnTo>
                  <a:lnTo>
                    <a:pt x="250" y="692"/>
                  </a:lnTo>
                  <a:lnTo>
                    <a:pt x="248" y="692"/>
                  </a:lnTo>
                  <a:lnTo>
                    <a:pt x="250" y="694"/>
                  </a:lnTo>
                  <a:lnTo>
                    <a:pt x="248" y="696"/>
                  </a:lnTo>
                  <a:lnTo>
                    <a:pt x="250" y="697"/>
                  </a:lnTo>
                  <a:lnTo>
                    <a:pt x="246" y="697"/>
                  </a:lnTo>
                  <a:lnTo>
                    <a:pt x="246" y="696"/>
                  </a:lnTo>
                  <a:lnTo>
                    <a:pt x="248" y="694"/>
                  </a:lnTo>
                  <a:lnTo>
                    <a:pt x="246" y="692"/>
                  </a:lnTo>
                  <a:lnTo>
                    <a:pt x="246" y="694"/>
                  </a:lnTo>
                  <a:lnTo>
                    <a:pt x="245" y="692"/>
                  </a:lnTo>
                  <a:lnTo>
                    <a:pt x="245" y="696"/>
                  </a:lnTo>
                  <a:lnTo>
                    <a:pt x="243" y="697"/>
                  </a:lnTo>
                  <a:lnTo>
                    <a:pt x="241" y="696"/>
                  </a:lnTo>
                  <a:lnTo>
                    <a:pt x="243" y="694"/>
                  </a:lnTo>
                  <a:lnTo>
                    <a:pt x="243" y="692"/>
                  </a:lnTo>
                  <a:lnTo>
                    <a:pt x="241" y="692"/>
                  </a:lnTo>
                  <a:lnTo>
                    <a:pt x="240" y="692"/>
                  </a:lnTo>
                  <a:lnTo>
                    <a:pt x="241" y="692"/>
                  </a:lnTo>
                  <a:lnTo>
                    <a:pt x="241" y="696"/>
                  </a:lnTo>
                  <a:lnTo>
                    <a:pt x="240" y="696"/>
                  </a:lnTo>
                  <a:lnTo>
                    <a:pt x="238" y="696"/>
                  </a:lnTo>
                  <a:lnTo>
                    <a:pt x="238" y="694"/>
                  </a:lnTo>
                  <a:lnTo>
                    <a:pt x="236" y="692"/>
                  </a:lnTo>
                  <a:lnTo>
                    <a:pt x="234" y="691"/>
                  </a:lnTo>
                  <a:lnTo>
                    <a:pt x="234" y="689"/>
                  </a:lnTo>
                  <a:lnTo>
                    <a:pt x="234" y="691"/>
                  </a:lnTo>
                  <a:lnTo>
                    <a:pt x="233" y="691"/>
                  </a:lnTo>
                  <a:lnTo>
                    <a:pt x="231" y="687"/>
                  </a:lnTo>
                  <a:lnTo>
                    <a:pt x="231" y="684"/>
                  </a:lnTo>
                  <a:lnTo>
                    <a:pt x="231" y="687"/>
                  </a:lnTo>
                  <a:lnTo>
                    <a:pt x="228" y="685"/>
                  </a:lnTo>
                  <a:lnTo>
                    <a:pt x="228" y="684"/>
                  </a:lnTo>
                  <a:lnTo>
                    <a:pt x="228" y="685"/>
                  </a:lnTo>
                  <a:lnTo>
                    <a:pt x="229" y="685"/>
                  </a:lnTo>
                  <a:lnTo>
                    <a:pt x="229" y="687"/>
                  </a:lnTo>
                  <a:lnTo>
                    <a:pt x="231" y="689"/>
                  </a:lnTo>
                  <a:lnTo>
                    <a:pt x="233" y="691"/>
                  </a:lnTo>
                  <a:lnTo>
                    <a:pt x="233" y="692"/>
                  </a:lnTo>
                  <a:lnTo>
                    <a:pt x="231" y="694"/>
                  </a:lnTo>
                  <a:lnTo>
                    <a:pt x="229" y="694"/>
                  </a:lnTo>
                  <a:lnTo>
                    <a:pt x="229" y="692"/>
                  </a:lnTo>
                  <a:lnTo>
                    <a:pt x="228" y="694"/>
                  </a:lnTo>
                  <a:lnTo>
                    <a:pt x="229" y="694"/>
                  </a:lnTo>
                  <a:lnTo>
                    <a:pt x="228" y="696"/>
                  </a:lnTo>
                  <a:lnTo>
                    <a:pt x="226" y="696"/>
                  </a:lnTo>
                  <a:lnTo>
                    <a:pt x="224" y="696"/>
                  </a:lnTo>
                  <a:lnTo>
                    <a:pt x="223" y="694"/>
                  </a:lnTo>
                  <a:lnTo>
                    <a:pt x="223" y="696"/>
                  </a:lnTo>
                  <a:lnTo>
                    <a:pt x="221" y="697"/>
                  </a:lnTo>
                  <a:lnTo>
                    <a:pt x="221" y="699"/>
                  </a:lnTo>
                  <a:lnTo>
                    <a:pt x="221" y="697"/>
                  </a:lnTo>
                  <a:lnTo>
                    <a:pt x="217" y="696"/>
                  </a:lnTo>
                  <a:lnTo>
                    <a:pt x="216" y="696"/>
                  </a:lnTo>
                  <a:lnTo>
                    <a:pt x="212" y="696"/>
                  </a:lnTo>
                  <a:lnTo>
                    <a:pt x="214" y="696"/>
                  </a:lnTo>
                  <a:lnTo>
                    <a:pt x="212" y="697"/>
                  </a:lnTo>
                  <a:lnTo>
                    <a:pt x="211" y="696"/>
                  </a:lnTo>
                  <a:lnTo>
                    <a:pt x="209" y="696"/>
                  </a:lnTo>
                  <a:lnTo>
                    <a:pt x="207" y="696"/>
                  </a:lnTo>
                  <a:lnTo>
                    <a:pt x="206" y="696"/>
                  </a:lnTo>
                  <a:lnTo>
                    <a:pt x="204" y="697"/>
                  </a:lnTo>
                  <a:lnTo>
                    <a:pt x="206" y="696"/>
                  </a:lnTo>
                  <a:lnTo>
                    <a:pt x="204" y="694"/>
                  </a:lnTo>
                  <a:lnTo>
                    <a:pt x="202" y="694"/>
                  </a:lnTo>
                  <a:lnTo>
                    <a:pt x="202" y="696"/>
                  </a:lnTo>
                  <a:lnTo>
                    <a:pt x="200" y="694"/>
                  </a:lnTo>
                  <a:lnTo>
                    <a:pt x="200" y="692"/>
                  </a:lnTo>
                  <a:lnTo>
                    <a:pt x="200" y="694"/>
                  </a:lnTo>
                  <a:lnTo>
                    <a:pt x="199" y="694"/>
                  </a:lnTo>
                  <a:lnTo>
                    <a:pt x="199" y="696"/>
                  </a:lnTo>
                  <a:lnTo>
                    <a:pt x="200" y="694"/>
                  </a:lnTo>
                  <a:lnTo>
                    <a:pt x="200" y="696"/>
                  </a:lnTo>
                  <a:lnTo>
                    <a:pt x="199" y="697"/>
                  </a:lnTo>
                  <a:lnTo>
                    <a:pt x="200" y="696"/>
                  </a:lnTo>
                  <a:lnTo>
                    <a:pt x="200" y="697"/>
                  </a:lnTo>
                  <a:lnTo>
                    <a:pt x="202" y="699"/>
                  </a:lnTo>
                  <a:lnTo>
                    <a:pt x="204" y="697"/>
                  </a:lnTo>
                  <a:lnTo>
                    <a:pt x="204" y="699"/>
                  </a:lnTo>
                  <a:lnTo>
                    <a:pt x="204" y="701"/>
                  </a:lnTo>
                  <a:lnTo>
                    <a:pt x="202" y="701"/>
                  </a:lnTo>
                  <a:lnTo>
                    <a:pt x="202" y="703"/>
                  </a:lnTo>
                  <a:lnTo>
                    <a:pt x="199" y="703"/>
                  </a:lnTo>
                  <a:lnTo>
                    <a:pt x="199" y="704"/>
                  </a:lnTo>
                  <a:lnTo>
                    <a:pt x="197" y="703"/>
                  </a:lnTo>
                  <a:lnTo>
                    <a:pt x="195" y="701"/>
                  </a:lnTo>
                  <a:lnTo>
                    <a:pt x="192" y="699"/>
                  </a:lnTo>
                  <a:lnTo>
                    <a:pt x="190" y="699"/>
                  </a:lnTo>
                  <a:lnTo>
                    <a:pt x="189" y="699"/>
                  </a:lnTo>
                  <a:lnTo>
                    <a:pt x="187" y="699"/>
                  </a:lnTo>
                  <a:lnTo>
                    <a:pt x="187" y="697"/>
                  </a:lnTo>
                  <a:lnTo>
                    <a:pt x="183" y="697"/>
                  </a:lnTo>
                  <a:lnTo>
                    <a:pt x="182" y="697"/>
                  </a:lnTo>
                  <a:lnTo>
                    <a:pt x="182" y="699"/>
                  </a:lnTo>
                  <a:lnTo>
                    <a:pt x="180" y="699"/>
                  </a:lnTo>
                  <a:lnTo>
                    <a:pt x="180" y="701"/>
                  </a:lnTo>
                  <a:lnTo>
                    <a:pt x="182" y="701"/>
                  </a:lnTo>
                  <a:lnTo>
                    <a:pt x="182" y="703"/>
                  </a:lnTo>
                  <a:lnTo>
                    <a:pt x="180" y="704"/>
                  </a:lnTo>
                  <a:lnTo>
                    <a:pt x="180" y="703"/>
                  </a:lnTo>
                  <a:lnTo>
                    <a:pt x="180" y="701"/>
                  </a:lnTo>
                  <a:lnTo>
                    <a:pt x="178" y="699"/>
                  </a:lnTo>
                  <a:lnTo>
                    <a:pt x="178" y="697"/>
                  </a:lnTo>
                  <a:lnTo>
                    <a:pt x="177" y="696"/>
                  </a:lnTo>
                  <a:lnTo>
                    <a:pt x="175" y="696"/>
                  </a:lnTo>
                  <a:lnTo>
                    <a:pt x="173" y="694"/>
                  </a:lnTo>
                  <a:lnTo>
                    <a:pt x="172" y="691"/>
                  </a:lnTo>
                  <a:lnTo>
                    <a:pt x="170" y="689"/>
                  </a:lnTo>
                  <a:lnTo>
                    <a:pt x="168" y="689"/>
                  </a:lnTo>
                  <a:lnTo>
                    <a:pt x="166" y="689"/>
                  </a:lnTo>
                  <a:lnTo>
                    <a:pt x="166" y="687"/>
                  </a:lnTo>
                  <a:lnTo>
                    <a:pt x="165" y="687"/>
                  </a:lnTo>
                  <a:lnTo>
                    <a:pt x="163" y="685"/>
                  </a:lnTo>
                  <a:lnTo>
                    <a:pt x="161" y="687"/>
                  </a:lnTo>
                  <a:lnTo>
                    <a:pt x="158" y="687"/>
                  </a:lnTo>
                  <a:lnTo>
                    <a:pt x="155" y="687"/>
                  </a:lnTo>
                  <a:lnTo>
                    <a:pt x="155" y="689"/>
                  </a:lnTo>
                  <a:lnTo>
                    <a:pt x="153" y="687"/>
                  </a:lnTo>
                  <a:lnTo>
                    <a:pt x="149" y="687"/>
                  </a:lnTo>
                  <a:lnTo>
                    <a:pt x="148" y="687"/>
                  </a:lnTo>
                  <a:lnTo>
                    <a:pt x="146" y="687"/>
                  </a:lnTo>
                  <a:lnTo>
                    <a:pt x="144" y="691"/>
                  </a:lnTo>
                  <a:lnTo>
                    <a:pt x="143" y="691"/>
                  </a:lnTo>
                  <a:lnTo>
                    <a:pt x="141" y="691"/>
                  </a:lnTo>
                  <a:lnTo>
                    <a:pt x="139" y="691"/>
                  </a:lnTo>
                  <a:lnTo>
                    <a:pt x="139" y="689"/>
                  </a:lnTo>
                  <a:lnTo>
                    <a:pt x="138" y="685"/>
                  </a:lnTo>
                  <a:lnTo>
                    <a:pt x="138" y="687"/>
                  </a:lnTo>
                  <a:lnTo>
                    <a:pt x="138" y="691"/>
                  </a:lnTo>
                  <a:lnTo>
                    <a:pt x="139" y="691"/>
                  </a:lnTo>
                  <a:lnTo>
                    <a:pt x="136" y="692"/>
                  </a:lnTo>
                  <a:lnTo>
                    <a:pt x="136" y="694"/>
                  </a:lnTo>
                  <a:lnTo>
                    <a:pt x="134" y="694"/>
                  </a:lnTo>
                  <a:lnTo>
                    <a:pt x="134" y="696"/>
                  </a:lnTo>
                  <a:lnTo>
                    <a:pt x="134" y="697"/>
                  </a:lnTo>
                  <a:lnTo>
                    <a:pt x="132" y="699"/>
                  </a:lnTo>
                  <a:lnTo>
                    <a:pt x="134" y="701"/>
                  </a:lnTo>
                  <a:lnTo>
                    <a:pt x="132" y="699"/>
                  </a:lnTo>
                  <a:lnTo>
                    <a:pt x="131" y="703"/>
                  </a:lnTo>
                  <a:lnTo>
                    <a:pt x="131" y="704"/>
                  </a:lnTo>
                  <a:lnTo>
                    <a:pt x="134" y="704"/>
                  </a:lnTo>
                  <a:lnTo>
                    <a:pt x="131" y="706"/>
                  </a:lnTo>
                  <a:lnTo>
                    <a:pt x="131" y="708"/>
                  </a:lnTo>
                  <a:lnTo>
                    <a:pt x="129" y="708"/>
                  </a:lnTo>
                  <a:lnTo>
                    <a:pt x="129" y="709"/>
                  </a:lnTo>
                  <a:lnTo>
                    <a:pt x="127" y="709"/>
                  </a:lnTo>
                  <a:lnTo>
                    <a:pt x="126" y="711"/>
                  </a:lnTo>
                  <a:lnTo>
                    <a:pt x="124" y="711"/>
                  </a:lnTo>
                  <a:lnTo>
                    <a:pt x="124" y="714"/>
                  </a:lnTo>
                  <a:lnTo>
                    <a:pt x="124" y="716"/>
                  </a:lnTo>
                  <a:lnTo>
                    <a:pt x="122" y="714"/>
                  </a:lnTo>
                  <a:lnTo>
                    <a:pt x="121" y="716"/>
                  </a:lnTo>
                  <a:lnTo>
                    <a:pt x="119" y="714"/>
                  </a:lnTo>
                  <a:lnTo>
                    <a:pt x="119" y="713"/>
                  </a:lnTo>
                  <a:lnTo>
                    <a:pt x="117" y="714"/>
                  </a:lnTo>
                  <a:lnTo>
                    <a:pt x="115" y="713"/>
                  </a:lnTo>
                  <a:lnTo>
                    <a:pt x="114" y="713"/>
                  </a:lnTo>
                  <a:lnTo>
                    <a:pt x="115" y="711"/>
                  </a:lnTo>
                  <a:lnTo>
                    <a:pt x="114" y="709"/>
                  </a:lnTo>
                  <a:lnTo>
                    <a:pt x="112" y="708"/>
                  </a:lnTo>
                  <a:lnTo>
                    <a:pt x="112" y="706"/>
                  </a:lnTo>
                  <a:lnTo>
                    <a:pt x="110" y="708"/>
                  </a:lnTo>
                  <a:lnTo>
                    <a:pt x="110" y="706"/>
                  </a:lnTo>
                  <a:lnTo>
                    <a:pt x="107" y="708"/>
                  </a:lnTo>
                  <a:lnTo>
                    <a:pt x="107" y="706"/>
                  </a:lnTo>
                  <a:lnTo>
                    <a:pt x="105" y="704"/>
                  </a:lnTo>
                  <a:lnTo>
                    <a:pt x="105" y="703"/>
                  </a:lnTo>
                  <a:lnTo>
                    <a:pt x="104" y="703"/>
                  </a:lnTo>
                  <a:lnTo>
                    <a:pt x="105" y="703"/>
                  </a:lnTo>
                  <a:lnTo>
                    <a:pt x="107" y="701"/>
                  </a:lnTo>
                  <a:lnTo>
                    <a:pt x="105" y="703"/>
                  </a:lnTo>
                  <a:lnTo>
                    <a:pt x="102" y="701"/>
                  </a:lnTo>
                  <a:lnTo>
                    <a:pt x="102" y="699"/>
                  </a:lnTo>
                  <a:lnTo>
                    <a:pt x="104" y="696"/>
                  </a:lnTo>
                  <a:lnTo>
                    <a:pt x="102" y="694"/>
                  </a:lnTo>
                  <a:lnTo>
                    <a:pt x="102" y="696"/>
                  </a:lnTo>
                  <a:lnTo>
                    <a:pt x="102" y="699"/>
                  </a:lnTo>
                  <a:lnTo>
                    <a:pt x="98" y="699"/>
                  </a:lnTo>
                  <a:lnTo>
                    <a:pt x="100" y="699"/>
                  </a:lnTo>
                  <a:lnTo>
                    <a:pt x="102" y="699"/>
                  </a:lnTo>
                  <a:lnTo>
                    <a:pt x="102" y="701"/>
                  </a:lnTo>
                  <a:lnTo>
                    <a:pt x="100" y="701"/>
                  </a:lnTo>
                  <a:lnTo>
                    <a:pt x="104" y="703"/>
                  </a:lnTo>
                  <a:lnTo>
                    <a:pt x="100" y="703"/>
                  </a:lnTo>
                  <a:lnTo>
                    <a:pt x="102" y="704"/>
                  </a:lnTo>
                  <a:lnTo>
                    <a:pt x="100" y="704"/>
                  </a:lnTo>
                  <a:lnTo>
                    <a:pt x="100" y="703"/>
                  </a:lnTo>
                  <a:lnTo>
                    <a:pt x="98" y="701"/>
                  </a:lnTo>
                  <a:lnTo>
                    <a:pt x="97" y="701"/>
                  </a:lnTo>
                  <a:lnTo>
                    <a:pt x="93" y="699"/>
                  </a:lnTo>
                  <a:lnTo>
                    <a:pt x="92" y="699"/>
                  </a:lnTo>
                  <a:lnTo>
                    <a:pt x="88" y="701"/>
                  </a:lnTo>
                  <a:lnTo>
                    <a:pt x="87" y="701"/>
                  </a:lnTo>
                  <a:lnTo>
                    <a:pt x="85" y="699"/>
                  </a:lnTo>
                  <a:lnTo>
                    <a:pt x="82" y="699"/>
                  </a:lnTo>
                  <a:lnTo>
                    <a:pt x="83" y="699"/>
                  </a:lnTo>
                  <a:lnTo>
                    <a:pt x="83" y="696"/>
                  </a:lnTo>
                  <a:lnTo>
                    <a:pt x="82" y="699"/>
                  </a:lnTo>
                  <a:lnTo>
                    <a:pt x="80" y="701"/>
                  </a:lnTo>
                  <a:lnTo>
                    <a:pt x="80" y="697"/>
                  </a:lnTo>
                  <a:lnTo>
                    <a:pt x="76" y="699"/>
                  </a:lnTo>
                  <a:lnTo>
                    <a:pt x="76" y="701"/>
                  </a:lnTo>
                  <a:lnTo>
                    <a:pt x="75" y="701"/>
                  </a:lnTo>
                  <a:lnTo>
                    <a:pt x="75" y="703"/>
                  </a:lnTo>
                  <a:lnTo>
                    <a:pt x="73" y="706"/>
                  </a:lnTo>
                  <a:lnTo>
                    <a:pt x="71" y="704"/>
                  </a:lnTo>
                  <a:lnTo>
                    <a:pt x="68" y="704"/>
                  </a:lnTo>
                  <a:lnTo>
                    <a:pt x="68" y="706"/>
                  </a:lnTo>
                  <a:lnTo>
                    <a:pt x="66" y="706"/>
                  </a:lnTo>
                  <a:lnTo>
                    <a:pt x="65" y="706"/>
                  </a:lnTo>
                  <a:lnTo>
                    <a:pt x="65" y="708"/>
                  </a:lnTo>
                  <a:lnTo>
                    <a:pt x="63" y="709"/>
                  </a:lnTo>
                  <a:lnTo>
                    <a:pt x="65" y="708"/>
                  </a:lnTo>
                  <a:lnTo>
                    <a:pt x="63" y="708"/>
                  </a:lnTo>
                  <a:lnTo>
                    <a:pt x="63" y="706"/>
                  </a:lnTo>
                  <a:lnTo>
                    <a:pt x="63" y="704"/>
                  </a:lnTo>
                  <a:lnTo>
                    <a:pt x="65" y="703"/>
                  </a:lnTo>
                  <a:lnTo>
                    <a:pt x="63" y="704"/>
                  </a:lnTo>
                  <a:lnTo>
                    <a:pt x="61" y="704"/>
                  </a:lnTo>
                  <a:lnTo>
                    <a:pt x="61" y="706"/>
                  </a:lnTo>
                  <a:lnTo>
                    <a:pt x="61" y="708"/>
                  </a:lnTo>
                  <a:lnTo>
                    <a:pt x="59" y="706"/>
                  </a:lnTo>
                  <a:lnTo>
                    <a:pt x="61" y="708"/>
                  </a:lnTo>
                  <a:lnTo>
                    <a:pt x="59" y="708"/>
                  </a:lnTo>
                  <a:lnTo>
                    <a:pt x="59" y="711"/>
                  </a:lnTo>
                  <a:lnTo>
                    <a:pt x="56" y="709"/>
                  </a:lnTo>
                  <a:lnTo>
                    <a:pt x="54" y="711"/>
                  </a:lnTo>
                  <a:lnTo>
                    <a:pt x="58" y="711"/>
                  </a:lnTo>
                  <a:lnTo>
                    <a:pt x="59" y="713"/>
                  </a:lnTo>
                  <a:lnTo>
                    <a:pt x="59" y="714"/>
                  </a:lnTo>
                  <a:lnTo>
                    <a:pt x="58" y="716"/>
                  </a:lnTo>
                  <a:lnTo>
                    <a:pt x="58" y="718"/>
                  </a:lnTo>
                  <a:lnTo>
                    <a:pt x="54" y="716"/>
                  </a:lnTo>
                  <a:lnTo>
                    <a:pt x="53" y="718"/>
                  </a:lnTo>
                  <a:lnTo>
                    <a:pt x="53" y="720"/>
                  </a:lnTo>
                  <a:lnTo>
                    <a:pt x="51" y="720"/>
                  </a:lnTo>
                  <a:lnTo>
                    <a:pt x="51" y="718"/>
                  </a:lnTo>
                  <a:lnTo>
                    <a:pt x="49" y="716"/>
                  </a:lnTo>
                  <a:lnTo>
                    <a:pt x="51" y="714"/>
                  </a:lnTo>
                  <a:lnTo>
                    <a:pt x="49" y="711"/>
                  </a:lnTo>
                  <a:lnTo>
                    <a:pt x="48" y="709"/>
                  </a:lnTo>
                  <a:lnTo>
                    <a:pt x="46" y="708"/>
                  </a:lnTo>
                  <a:lnTo>
                    <a:pt x="44" y="708"/>
                  </a:lnTo>
                  <a:lnTo>
                    <a:pt x="42" y="706"/>
                  </a:lnTo>
                  <a:lnTo>
                    <a:pt x="41" y="706"/>
                  </a:lnTo>
                  <a:lnTo>
                    <a:pt x="39" y="706"/>
                  </a:lnTo>
                  <a:lnTo>
                    <a:pt x="39" y="708"/>
                  </a:lnTo>
                  <a:lnTo>
                    <a:pt x="37" y="709"/>
                  </a:lnTo>
                  <a:lnTo>
                    <a:pt x="36" y="709"/>
                  </a:lnTo>
                  <a:lnTo>
                    <a:pt x="32" y="709"/>
                  </a:lnTo>
                  <a:lnTo>
                    <a:pt x="31" y="708"/>
                  </a:lnTo>
                  <a:lnTo>
                    <a:pt x="32" y="706"/>
                  </a:lnTo>
                  <a:lnTo>
                    <a:pt x="32" y="703"/>
                  </a:lnTo>
                  <a:lnTo>
                    <a:pt x="34" y="701"/>
                  </a:lnTo>
                  <a:lnTo>
                    <a:pt x="36" y="701"/>
                  </a:lnTo>
                  <a:lnTo>
                    <a:pt x="37" y="699"/>
                  </a:lnTo>
                  <a:lnTo>
                    <a:pt x="39" y="701"/>
                  </a:lnTo>
                  <a:lnTo>
                    <a:pt x="41" y="699"/>
                  </a:lnTo>
                  <a:lnTo>
                    <a:pt x="44" y="699"/>
                  </a:lnTo>
                  <a:lnTo>
                    <a:pt x="44" y="701"/>
                  </a:lnTo>
                  <a:lnTo>
                    <a:pt x="46" y="701"/>
                  </a:lnTo>
                  <a:lnTo>
                    <a:pt x="44" y="703"/>
                  </a:lnTo>
                  <a:lnTo>
                    <a:pt x="46" y="701"/>
                  </a:lnTo>
                  <a:lnTo>
                    <a:pt x="46" y="703"/>
                  </a:lnTo>
                  <a:lnTo>
                    <a:pt x="46" y="701"/>
                  </a:lnTo>
                  <a:lnTo>
                    <a:pt x="48" y="699"/>
                  </a:lnTo>
                  <a:lnTo>
                    <a:pt x="51" y="699"/>
                  </a:lnTo>
                  <a:lnTo>
                    <a:pt x="53" y="697"/>
                  </a:lnTo>
                  <a:lnTo>
                    <a:pt x="54" y="697"/>
                  </a:lnTo>
                  <a:lnTo>
                    <a:pt x="56" y="694"/>
                  </a:lnTo>
                  <a:lnTo>
                    <a:pt x="58" y="694"/>
                  </a:lnTo>
                  <a:lnTo>
                    <a:pt x="59" y="694"/>
                  </a:lnTo>
                  <a:lnTo>
                    <a:pt x="59" y="691"/>
                  </a:lnTo>
                  <a:lnTo>
                    <a:pt x="61" y="689"/>
                  </a:lnTo>
                  <a:lnTo>
                    <a:pt x="63" y="691"/>
                  </a:lnTo>
                  <a:lnTo>
                    <a:pt x="61" y="689"/>
                  </a:lnTo>
                  <a:lnTo>
                    <a:pt x="63" y="689"/>
                  </a:lnTo>
                  <a:lnTo>
                    <a:pt x="65" y="689"/>
                  </a:lnTo>
                  <a:lnTo>
                    <a:pt x="66" y="687"/>
                  </a:lnTo>
                  <a:lnTo>
                    <a:pt x="66" y="684"/>
                  </a:lnTo>
                  <a:lnTo>
                    <a:pt x="68" y="684"/>
                  </a:lnTo>
                  <a:lnTo>
                    <a:pt x="68" y="680"/>
                  </a:lnTo>
                  <a:lnTo>
                    <a:pt x="70" y="682"/>
                  </a:lnTo>
                  <a:lnTo>
                    <a:pt x="71" y="680"/>
                  </a:lnTo>
                  <a:lnTo>
                    <a:pt x="71" y="684"/>
                  </a:lnTo>
                  <a:lnTo>
                    <a:pt x="73" y="684"/>
                  </a:lnTo>
                  <a:lnTo>
                    <a:pt x="75" y="684"/>
                  </a:lnTo>
                  <a:lnTo>
                    <a:pt x="73" y="684"/>
                  </a:lnTo>
                  <a:lnTo>
                    <a:pt x="73" y="682"/>
                  </a:lnTo>
                  <a:lnTo>
                    <a:pt x="73" y="680"/>
                  </a:lnTo>
                  <a:lnTo>
                    <a:pt x="73" y="679"/>
                  </a:lnTo>
                  <a:lnTo>
                    <a:pt x="75" y="680"/>
                  </a:lnTo>
                  <a:lnTo>
                    <a:pt x="76" y="679"/>
                  </a:lnTo>
                  <a:lnTo>
                    <a:pt x="76" y="680"/>
                  </a:lnTo>
                  <a:lnTo>
                    <a:pt x="78" y="680"/>
                  </a:lnTo>
                  <a:lnTo>
                    <a:pt x="80" y="679"/>
                  </a:lnTo>
                  <a:lnTo>
                    <a:pt x="82" y="677"/>
                  </a:lnTo>
                  <a:lnTo>
                    <a:pt x="82" y="675"/>
                  </a:lnTo>
                  <a:lnTo>
                    <a:pt x="83" y="675"/>
                  </a:lnTo>
                  <a:lnTo>
                    <a:pt x="85" y="674"/>
                  </a:lnTo>
                  <a:lnTo>
                    <a:pt x="87" y="674"/>
                  </a:lnTo>
                  <a:lnTo>
                    <a:pt x="87" y="672"/>
                  </a:lnTo>
                  <a:lnTo>
                    <a:pt x="88" y="672"/>
                  </a:lnTo>
                  <a:lnTo>
                    <a:pt x="88" y="670"/>
                  </a:lnTo>
                  <a:lnTo>
                    <a:pt x="90" y="670"/>
                  </a:lnTo>
                  <a:lnTo>
                    <a:pt x="92" y="668"/>
                  </a:lnTo>
                  <a:lnTo>
                    <a:pt x="92" y="665"/>
                  </a:lnTo>
                  <a:lnTo>
                    <a:pt x="93" y="665"/>
                  </a:lnTo>
                  <a:lnTo>
                    <a:pt x="93" y="663"/>
                  </a:lnTo>
                  <a:lnTo>
                    <a:pt x="93" y="662"/>
                  </a:lnTo>
                  <a:lnTo>
                    <a:pt x="93" y="660"/>
                  </a:lnTo>
                  <a:lnTo>
                    <a:pt x="95" y="658"/>
                  </a:lnTo>
                  <a:lnTo>
                    <a:pt x="93" y="658"/>
                  </a:lnTo>
                  <a:lnTo>
                    <a:pt x="95" y="657"/>
                  </a:lnTo>
                  <a:lnTo>
                    <a:pt x="95" y="653"/>
                  </a:lnTo>
                  <a:lnTo>
                    <a:pt x="97" y="653"/>
                  </a:lnTo>
                  <a:lnTo>
                    <a:pt x="98" y="653"/>
                  </a:lnTo>
                  <a:lnTo>
                    <a:pt x="100" y="655"/>
                  </a:lnTo>
                  <a:lnTo>
                    <a:pt x="102" y="657"/>
                  </a:lnTo>
                  <a:lnTo>
                    <a:pt x="104" y="657"/>
                  </a:lnTo>
                  <a:lnTo>
                    <a:pt x="105" y="657"/>
                  </a:lnTo>
                  <a:lnTo>
                    <a:pt x="107" y="655"/>
                  </a:lnTo>
                  <a:lnTo>
                    <a:pt x="109" y="655"/>
                  </a:lnTo>
                  <a:lnTo>
                    <a:pt x="110" y="653"/>
                  </a:lnTo>
                  <a:lnTo>
                    <a:pt x="112" y="653"/>
                  </a:lnTo>
                  <a:lnTo>
                    <a:pt x="110" y="657"/>
                  </a:lnTo>
                  <a:lnTo>
                    <a:pt x="112" y="655"/>
                  </a:lnTo>
                  <a:lnTo>
                    <a:pt x="112" y="653"/>
                  </a:lnTo>
                  <a:lnTo>
                    <a:pt x="115" y="651"/>
                  </a:lnTo>
                  <a:lnTo>
                    <a:pt x="117" y="653"/>
                  </a:lnTo>
                  <a:lnTo>
                    <a:pt x="115" y="651"/>
                  </a:lnTo>
                  <a:lnTo>
                    <a:pt x="112" y="651"/>
                  </a:lnTo>
                  <a:lnTo>
                    <a:pt x="112" y="653"/>
                  </a:lnTo>
                  <a:lnTo>
                    <a:pt x="110" y="651"/>
                  </a:lnTo>
                  <a:lnTo>
                    <a:pt x="110" y="650"/>
                  </a:lnTo>
                  <a:lnTo>
                    <a:pt x="109" y="646"/>
                  </a:lnTo>
                  <a:lnTo>
                    <a:pt x="112" y="646"/>
                  </a:lnTo>
                  <a:lnTo>
                    <a:pt x="112" y="645"/>
                  </a:lnTo>
                  <a:lnTo>
                    <a:pt x="112" y="643"/>
                  </a:lnTo>
                  <a:lnTo>
                    <a:pt x="114" y="645"/>
                  </a:lnTo>
                  <a:lnTo>
                    <a:pt x="117" y="643"/>
                  </a:lnTo>
                  <a:lnTo>
                    <a:pt x="121" y="645"/>
                  </a:lnTo>
                  <a:lnTo>
                    <a:pt x="124" y="645"/>
                  </a:lnTo>
                  <a:lnTo>
                    <a:pt x="126" y="643"/>
                  </a:lnTo>
                  <a:lnTo>
                    <a:pt x="126" y="645"/>
                  </a:lnTo>
                  <a:lnTo>
                    <a:pt x="129" y="645"/>
                  </a:lnTo>
                  <a:lnTo>
                    <a:pt x="131" y="645"/>
                  </a:lnTo>
                  <a:lnTo>
                    <a:pt x="132" y="645"/>
                  </a:lnTo>
                  <a:lnTo>
                    <a:pt x="134" y="645"/>
                  </a:lnTo>
                  <a:lnTo>
                    <a:pt x="136" y="646"/>
                  </a:lnTo>
                  <a:lnTo>
                    <a:pt x="138" y="646"/>
                  </a:lnTo>
                  <a:lnTo>
                    <a:pt x="138" y="648"/>
                  </a:lnTo>
                  <a:lnTo>
                    <a:pt x="139" y="646"/>
                  </a:lnTo>
                  <a:lnTo>
                    <a:pt x="141" y="646"/>
                  </a:lnTo>
                  <a:lnTo>
                    <a:pt x="143" y="648"/>
                  </a:lnTo>
                  <a:lnTo>
                    <a:pt x="144" y="650"/>
                  </a:lnTo>
                  <a:lnTo>
                    <a:pt x="146" y="650"/>
                  </a:lnTo>
                  <a:lnTo>
                    <a:pt x="148" y="651"/>
                  </a:lnTo>
                  <a:lnTo>
                    <a:pt x="149" y="651"/>
                  </a:lnTo>
                  <a:lnTo>
                    <a:pt x="153" y="653"/>
                  </a:lnTo>
                  <a:lnTo>
                    <a:pt x="155" y="651"/>
                  </a:lnTo>
                  <a:lnTo>
                    <a:pt x="156" y="651"/>
                  </a:lnTo>
                  <a:lnTo>
                    <a:pt x="160" y="651"/>
                  </a:lnTo>
                  <a:lnTo>
                    <a:pt x="161" y="653"/>
                  </a:lnTo>
                  <a:lnTo>
                    <a:pt x="163" y="651"/>
                  </a:lnTo>
                  <a:lnTo>
                    <a:pt x="161" y="653"/>
                  </a:lnTo>
                  <a:lnTo>
                    <a:pt x="163" y="653"/>
                  </a:lnTo>
                  <a:lnTo>
                    <a:pt x="165" y="651"/>
                  </a:lnTo>
                  <a:lnTo>
                    <a:pt x="165" y="648"/>
                  </a:lnTo>
                  <a:lnTo>
                    <a:pt x="165" y="646"/>
                  </a:lnTo>
                  <a:lnTo>
                    <a:pt x="165" y="645"/>
                  </a:lnTo>
                  <a:lnTo>
                    <a:pt x="166" y="645"/>
                  </a:lnTo>
                  <a:lnTo>
                    <a:pt x="166" y="643"/>
                  </a:lnTo>
                  <a:lnTo>
                    <a:pt x="168" y="641"/>
                  </a:lnTo>
                  <a:lnTo>
                    <a:pt x="170" y="640"/>
                  </a:lnTo>
                  <a:lnTo>
                    <a:pt x="172" y="641"/>
                  </a:lnTo>
                  <a:lnTo>
                    <a:pt x="172" y="640"/>
                  </a:lnTo>
                  <a:lnTo>
                    <a:pt x="173" y="638"/>
                  </a:lnTo>
                  <a:lnTo>
                    <a:pt x="175" y="638"/>
                  </a:lnTo>
                  <a:lnTo>
                    <a:pt x="177" y="636"/>
                  </a:lnTo>
                  <a:lnTo>
                    <a:pt x="180" y="634"/>
                  </a:lnTo>
                  <a:lnTo>
                    <a:pt x="182" y="634"/>
                  </a:lnTo>
                  <a:lnTo>
                    <a:pt x="183" y="633"/>
                  </a:lnTo>
                  <a:lnTo>
                    <a:pt x="183" y="631"/>
                  </a:lnTo>
                  <a:lnTo>
                    <a:pt x="185" y="628"/>
                  </a:lnTo>
                  <a:lnTo>
                    <a:pt x="187" y="628"/>
                  </a:lnTo>
                  <a:lnTo>
                    <a:pt x="189" y="624"/>
                  </a:lnTo>
                  <a:lnTo>
                    <a:pt x="192" y="624"/>
                  </a:lnTo>
                  <a:lnTo>
                    <a:pt x="192" y="623"/>
                  </a:lnTo>
                  <a:lnTo>
                    <a:pt x="190" y="623"/>
                  </a:lnTo>
                  <a:lnTo>
                    <a:pt x="187" y="624"/>
                  </a:lnTo>
                  <a:lnTo>
                    <a:pt x="185" y="626"/>
                  </a:lnTo>
                  <a:lnTo>
                    <a:pt x="185" y="628"/>
                  </a:lnTo>
                  <a:lnTo>
                    <a:pt x="183" y="628"/>
                  </a:lnTo>
                  <a:lnTo>
                    <a:pt x="182" y="629"/>
                  </a:lnTo>
                  <a:lnTo>
                    <a:pt x="180" y="629"/>
                  </a:lnTo>
                  <a:lnTo>
                    <a:pt x="178" y="629"/>
                  </a:lnTo>
                  <a:lnTo>
                    <a:pt x="177" y="631"/>
                  </a:lnTo>
                  <a:lnTo>
                    <a:pt x="175" y="631"/>
                  </a:lnTo>
                  <a:lnTo>
                    <a:pt x="173" y="631"/>
                  </a:lnTo>
                  <a:lnTo>
                    <a:pt x="170" y="631"/>
                  </a:lnTo>
                  <a:lnTo>
                    <a:pt x="170" y="629"/>
                  </a:lnTo>
                  <a:lnTo>
                    <a:pt x="168" y="631"/>
                  </a:lnTo>
                  <a:lnTo>
                    <a:pt x="166" y="633"/>
                  </a:lnTo>
                  <a:lnTo>
                    <a:pt x="165" y="633"/>
                  </a:lnTo>
                  <a:lnTo>
                    <a:pt x="161" y="634"/>
                  </a:lnTo>
                  <a:lnTo>
                    <a:pt x="160" y="634"/>
                  </a:lnTo>
                  <a:lnTo>
                    <a:pt x="161" y="636"/>
                  </a:lnTo>
                  <a:lnTo>
                    <a:pt x="160" y="638"/>
                  </a:lnTo>
                  <a:lnTo>
                    <a:pt x="158" y="638"/>
                  </a:lnTo>
                  <a:lnTo>
                    <a:pt x="155" y="638"/>
                  </a:lnTo>
                  <a:lnTo>
                    <a:pt x="153" y="638"/>
                  </a:lnTo>
                  <a:lnTo>
                    <a:pt x="149" y="638"/>
                  </a:lnTo>
                  <a:lnTo>
                    <a:pt x="146" y="636"/>
                  </a:lnTo>
                  <a:lnTo>
                    <a:pt x="144" y="636"/>
                  </a:lnTo>
                  <a:lnTo>
                    <a:pt x="143" y="634"/>
                  </a:lnTo>
                  <a:lnTo>
                    <a:pt x="143" y="633"/>
                  </a:lnTo>
                  <a:lnTo>
                    <a:pt x="141" y="631"/>
                  </a:lnTo>
                  <a:lnTo>
                    <a:pt x="139" y="629"/>
                  </a:lnTo>
                  <a:lnTo>
                    <a:pt x="138" y="629"/>
                  </a:lnTo>
                  <a:lnTo>
                    <a:pt x="136" y="626"/>
                  </a:lnTo>
                  <a:lnTo>
                    <a:pt x="136" y="624"/>
                  </a:lnTo>
                  <a:lnTo>
                    <a:pt x="136" y="623"/>
                  </a:lnTo>
                  <a:lnTo>
                    <a:pt x="134" y="621"/>
                  </a:lnTo>
                  <a:lnTo>
                    <a:pt x="132" y="619"/>
                  </a:lnTo>
                  <a:lnTo>
                    <a:pt x="131" y="617"/>
                  </a:lnTo>
                  <a:lnTo>
                    <a:pt x="129" y="617"/>
                  </a:lnTo>
                  <a:lnTo>
                    <a:pt x="127" y="619"/>
                  </a:lnTo>
                  <a:lnTo>
                    <a:pt x="127" y="621"/>
                  </a:lnTo>
                  <a:lnTo>
                    <a:pt x="126" y="619"/>
                  </a:lnTo>
                  <a:lnTo>
                    <a:pt x="124" y="621"/>
                  </a:lnTo>
                  <a:lnTo>
                    <a:pt x="121" y="619"/>
                  </a:lnTo>
                  <a:lnTo>
                    <a:pt x="121" y="621"/>
                  </a:lnTo>
                  <a:lnTo>
                    <a:pt x="117" y="619"/>
                  </a:lnTo>
                  <a:lnTo>
                    <a:pt x="117" y="621"/>
                  </a:lnTo>
                  <a:lnTo>
                    <a:pt x="115" y="619"/>
                  </a:lnTo>
                  <a:lnTo>
                    <a:pt x="114" y="617"/>
                  </a:lnTo>
                  <a:lnTo>
                    <a:pt x="112" y="617"/>
                  </a:lnTo>
                  <a:lnTo>
                    <a:pt x="114" y="617"/>
                  </a:lnTo>
                  <a:lnTo>
                    <a:pt x="114" y="614"/>
                  </a:lnTo>
                  <a:lnTo>
                    <a:pt x="115" y="614"/>
                  </a:lnTo>
                  <a:lnTo>
                    <a:pt x="117" y="612"/>
                  </a:lnTo>
                  <a:lnTo>
                    <a:pt x="117" y="611"/>
                  </a:lnTo>
                  <a:lnTo>
                    <a:pt x="119" y="611"/>
                  </a:lnTo>
                  <a:lnTo>
                    <a:pt x="117" y="611"/>
                  </a:lnTo>
                  <a:lnTo>
                    <a:pt x="115" y="611"/>
                  </a:lnTo>
                  <a:lnTo>
                    <a:pt x="114" y="611"/>
                  </a:lnTo>
                  <a:lnTo>
                    <a:pt x="112" y="607"/>
                  </a:lnTo>
                  <a:lnTo>
                    <a:pt x="110" y="607"/>
                  </a:lnTo>
                  <a:lnTo>
                    <a:pt x="112" y="606"/>
                  </a:lnTo>
                  <a:lnTo>
                    <a:pt x="110" y="606"/>
                  </a:lnTo>
                  <a:lnTo>
                    <a:pt x="112" y="604"/>
                  </a:lnTo>
                  <a:lnTo>
                    <a:pt x="109" y="606"/>
                  </a:lnTo>
                  <a:lnTo>
                    <a:pt x="107" y="604"/>
                  </a:lnTo>
                  <a:lnTo>
                    <a:pt x="105" y="604"/>
                  </a:lnTo>
                  <a:lnTo>
                    <a:pt x="102" y="604"/>
                  </a:lnTo>
                  <a:lnTo>
                    <a:pt x="100" y="604"/>
                  </a:lnTo>
                  <a:lnTo>
                    <a:pt x="98" y="604"/>
                  </a:lnTo>
                  <a:lnTo>
                    <a:pt x="100" y="606"/>
                  </a:lnTo>
                  <a:lnTo>
                    <a:pt x="98" y="606"/>
                  </a:lnTo>
                  <a:lnTo>
                    <a:pt x="97" y="609"/>
                  </a:lnTo>
                  <a:lnTo>
                    <a:pt x="95" y="607"/>
                  </a:lnTo>
                  <a:lnTo>
                    <a:pt x="93" y="609"/>
                  </a:lnTo>
                  <a:lnTo>
                    <a:pt x="92" y="607"/>
                  </a:lnTo>
                  <a:lnTo>
                    <a:pt x="90" y="609"/>
                  </a:lnTo>
                  <a:lnTo>
                    <a:pt x="88" y="611"/>
                  </a:lnTo>
                  <a:lnTo>
                    <a:pt x="85" y="609"/>
                  </a:lnTo>
                  <a:lnTo>
                    <a:pt x="82" y="607"/>
                  </a:lnTo>
                  <a:lnTo>
                    <a:pt x="82" y="604"/>
                  </a:lnTo>
                  <a:lnTo>
                    <a:pt x="80" y="604"/>
                  </a:lnTo>
                  <a:lnTo>
                    <a:pt x="82" y="602"/>
                  </a:lnTo>
                  <a:lnTo>
                    <a:pt x="83" y="604"/>
                  </a:lnTo>
                  <a:lnTo>
                    <a:pt x="83" y="602"/>
                  </a:lnTo>
                  <a:lnTo>
                    <a:pt x="85" y="602"/>
                  </a:lnTo>
                  <a:lnTo>
                    <a:pt x="87" y="604"/>
                  </a:lnTo>
                  <a:lnTo>
                    <a:pt x="90" y="602"/>
                  </a:lnTo>
                  <a:lnTo>
                    <a:pt x="87" y="602"/>
                  </a:lnTo>
                  <a:lnTo>
                    <a:pt x="85" y="602"/>
                  </a:lnTo>
                  <a:lnTo>
                    <a:pt x="82" y="600"/>
                  </a:lnTo>
                  <a:lnTo>
                    <a:pt x="80" y="600"/>
                  </a:lnTo>
                  <a:lnTo>
                    <a:pt x="78" y="602"/>
                  </a:lnTo>
                  <a:lnTo>
                    <a:pt x="78" y="600"/>
                  </a:lnTo>
                  <a:lnTo>
                    <a:pt x="76" y="599"/>
                  </a:lnTo>
                  <a:lnTo>
                    <a:pt x="76" y="597"/>
                  </a:lnTo>
                  <a:lnTo>
                    <a:pt x="78" y="599"/>
                  </a:lnTo>
                  <a:lnTo>
                    <a:pt x="78" y="597"/>
                  </a:lnTo>
                  <a:lnTo>
                    <a:pt x="80" y="595"/>
                  </a:lnTo>
                  <a:lnTo>
                    <a:pt x="82" y="597"/>
                  </a:lnTo>
                  <a:lnTo>
                    <a:pt x="83" y="594"/>
                  </a:lnTo>
                  <a:lnTo>
                    <a:pt x="83" y="592"/>
                  </a:lnTo>
                  <a:lnTo>
                    <a:pt x="83" y="590"/>
                  </a:lnTo>
                  <a:lnTo>
                    <a:pt x="80" y="590"/>
                  </a:lnTo>
                  <a:lnTo>
                    <a:pt x="80" y="589"/>
                  </a:lnTo>
                  <a:lnTo>
                    <a:pt x="76" y="589"/>
                  </a:lnTo>
                  <a:lnTo>
                    <a:pt x="75" y="589"/>
                  </a:lnTo>
                  <a:lnTo>
                    <a:pt x="76" y="587"/>
                  </a:lnTo>
                  <a:lnTo>
                    <a:pt x="76" y="585"/>
                  </a:lnTo>
                  <a:lnTo>
                    <a:pt x="78" y="585"/>
                  </a:lnTo>
                  <a:lnTo>
                    <a:pt x="80" y="585"/>
                  </a:lnTo>
                  <a:lnTo>
                    <a:pt x="82" y="583"/>
                  </a:lnTo>
                  <a:lnTo>
                    <a:pt x="83" y="583"/>
                  </a:lnTo>
                  <a:lnTo>
                    <a:pt x="87" y="583"/>
                  </a:lnTo>
                  <a:lnTo>
                    <a:pt x="87" y="582"/>
                  </a:lnTo>
                  <a:lnTo>
                    <a:pt x="87" y="580"/>
                  </a:lnTo>
                  <a:lnTo>
                    <a:pt x="88" y="578"/>
                  </a:lnTo>
                  <a:lnTo>
                    <a:pt x="90" y="580"/>
                  </a:lnTo>
                  <a:lnTo>
                    <a:pt x="92" y="580"/>
                  </a:lnTo>
                  <a:lnTo>
                    <a:pt x="92" y="582"/>
                  </a:lnTo>
                  <a:lnTo>
                    <a:pt x="93" y="582"/>
                  </a:lnTo>
                  <a:lnTo>
                    <a:pt x="95" y="580"/>
                  </a:lnTo>
                  <a:lnTo>
                    <a:pt x="95" y="582"/>
                  </a:lnTo>
                  <a:lnTo>
                    <a:pt x="97" y="582"/>
                  </a:lnTo>
                  <a:lnTo>
                    <a:pt x="98" y="580"/>
                  </a:lnTo>
                  <a:lnTo>
                    <a:pt x="100" y="580"/>
                  </a:lnTo>
                  <a:lnTo>
                    <a:pt x="102" y="578"/>
                  </a:lnTo>
                  <a:lnTo>
                    <a:pt x="104" y="577"/>
                  </a:lnTo>
                  <a:lnTo>
                    <a:pt x="105" y="577"/>
                  </a:lnTo>
                  <a:lnTo>
                    <a:pt x="105" y="575"/>
                  </a:lnTo>
                  <a:lnTo>
                    <a:pt x="107" y="575"/>
                  </a:lnTo>
                  <a:lnTo>
                    <a:pt x="109" y="577"/>
                  </a:lnTo>
                  <a:lnTo>
                    <a:pt x="110" y="575"/>
                  </a:lnTo>
                  <a:lnTo>
                    <a:pt x="114" y="577"/>
                  </a:lnTo>
                  <a:lnTo>
                    <a:pt x="115" y="575"/>
                  </a:lnTo>
                  <a:lnTo>
                    <a:pt x="117" y="573"/>
                  </a:lnTo>
                  <a:lnTo>
                    <a:pt x="119" y="573"/>
                  </a:lnTo>
                  <a:lnTo>
                    <a:pt x="122" y="573"/>
                  </a:lnTo>
                  <a:lnTo>
                    <a:pt x="124" y="572"/>
                  </a:lnTo>
                  <a:lnTo>
                    <a:pt x="127" y="570"/>
                  </a:lnTo>
                  <a:lnTo>
                    <a:pt x="129" y="568"/>
                  </a:lnTo>
                  <a:lnTo>
                    <a:pt x="131" y="566"/>
                  </a:lnTo>
                  <a:lnTo>
                    <a:pt x="132" y="566"/>
                  </a:lnTo>
                  <a:lnTo>
                    <a:pt x="132" y="563"/>
                  </a:lnTo>
                  <a:lnTo>
                    <a:pt x="134" y="563"/>
                  </a:lnTo>
                  <a:lnTo>
                    <a:pt x="134" y="561"/>
                  </a:lnTo>
                  <a:lnTo>
                    <a:pt x="134" y="560"/>
                  </a:lnTo>
                  <a:lnTo>
                    <a:pt x="136" y="556"/>
                  </a:lnTo>
                  <a:lnTo>
                    <a:pt x="138" y="556"/>
                  </a:lnTo>
                  <a:lnTo>
                    <a:pt x="138" y="553"/>
                  </a:lnTo>
                  <a:lnTo>
                    <a:pt x="139" y="555"/>
                  </a:lnTo>
                  <a:lnTo>
                    <a:pt x="141" y="553"/>
                  </a:lnTo>
                  <a:lnTo>
                    <a:pt x="139" y="553"/>
                  </a:lnTo>
                  <a:lnTo>
                    <a:pt x="138" y="553"/>
                  </a:lnTo>
                  <a:lnTo>
                    <a:pt x="136" y="553"/>
                  </a:lnTo>
                  <a:lnTo>
                    <a:pt x="136" y="551"/>
                  </a:lnTo>
                  <a:lnTo>
                    <a:pt x="136" y="549"/>
                  </a:lnTo>
                  <a:lnTo>
                    <a:pt x="136" y="548"/>
                  </a:lnTo>
                  <a:lnTo>
                    <a:pt x="136" y="546"/>
                  </a:lnTo>
                  <a:lnTo>
                    <a:pt x="138" y="544"/>
                  </a:lnTo>
                  <a:lnTo>
                    <a:pt x="139" y="543"/>
                  </a:lnTo>
                  <a:lnTo>
                    <a:pt x="139" y="541"/>
                  </a:lnTo>
                  <a:lnTo>
                    <a:pt x="139" y="538"/>
                  </a:lnTo>
                  <a:lnTo>
                    <a:pt x="138" y="536"/>
                  </a:lnTo>
                  <a:lnTo>
                    <a:pt x="138" y="534"/>
                  </a:lnTo>
                  <a:lnTo>
                    <a:pt x="139" y="532"/>
                  </a:lnTo>
                  <a:lnTo>
                    <a:pt x="138" y="532"/>
                  </a:lnTo>
                  <a:lnTo>
                    <a:pt x="139" y="531"/>
                  </a:lnTo>
                  <a:lnTo>
                    <a:pt x="138" y="529"/>
                  </a:lnTo>
                  <a:lnTo>
                    <a:pt x="138" y="527"/>
                  </a:lnTo>
                  <a:lnTo>
                    <a:pt x="141" y="527"/>
                  </a:lnTo>
                  <a:lnTo>
                    <a:pt x="144" y="526"/>
                  </a:lnTo>
                  <a:lnTo>
                    <a:pt x="141" y="527"/>
                  </a:lnTo>
                  <a:lnTo>
                    <a:pt x="139" y="526"/>
                  </a:lnTo>
                  <a:lnTo>
                    <a:pt x="138" y="527"/>
                  </a:lnTo>
                  <a:lnTo>
                    <a:pt x="136" y="526"/>
                  </a:lnTo>
                  <a:lnTo>
                    <a:pt x="134" y="526"/>
                  </a:lnTo>
                  <a:lnTo>
                    <a:pt x="131" y="526"/>
                  </a:lnTo>
                  <a:lnTo>
                    <a:pt x="131" y="527"/>
                  </a:lnTo>
                  <a:lnTo>
                    <a:pt x="127" y="526"/>
                  </a:lnTo>
                  <a:lnTo>
                    <a:pt x="127" y="527"/>
                  </a:lnTo>
                  <a:lnTo>
                    <a:pt x="124" y="527"/>
                  </a:lnTo>
                  <a:lnTo>
                    <a:pt x="124" y="529"/>
                  </a:lnTo>
                  <a:lnTo>
                    <a:pt x="122" y="529"/>
                  </a:lnTo>
                  <a:lnTo>
                    <a:pt x="122" y="532"/>
                  </a:lnTo>
                  <a:lnTo>
                    <a:pt x="121" y="532"/>
                  </a:lnTo>
                  <a:lnTo>
                    <a:pt x="121" y="531"/>
                  </a:lnTo>
                  <a:lnTo>
                    <a:pt x="119" y="529"/>
                  </a:lnTo>
                  <a:lnTo>
                    <a:pt x="117" y="531"/>
                  </a:lnTo>
                  <a:lnTo>
                    <a:pt x="115" y="529"/>
                  </a:lnTo>
                  <a:lnTo>
                    <a:pt x="114" y="531"/>
                  </a:lnTo>
                  <a:lnTo>
                    <a:pt x="114" y="529"/>
                  </a:lnTo>
                  <a:lnTo>
                    <a:pt x="112" y="531"/>
                  </a:lnTo>
                  <a:lnTo>
                    <a:pt x="112" y="529"/>
                  </a:lnTo>
                  <a:lnTo>
                    <a:pt x="114" y="527"/>
                  </a:lnTo>
                  <a:lnTo>
                    <a:pt x="114" y="526"/>
                  </a:lnTo>
                  <a:lnTo>
                    <a:pt x="115" y="526"/>
                  </a:lnTo>
                  <a:lnTo>
                    <a:pt x="115" y="524"/>
                  </a:lnTo>
                  <a:lnTo>
                    <a:pt x="117" y="522"/>
                  </a:lnTo>
                  <a:lnTo>
                    <a:pt x="119" y="522"/>
                  </a:lnTo>
                  <a:lnTo>
                    <a:pt x="122" y="520"/>
                  </a:lnTo>
                  <a:lnTo>
                    <a:pt x="122" y="522"/>
                  </a:lnTo>
                  <a:lnTo>
                    <a:pt x="124" y="522"/>
                  </a:lnTo>
                  <a:lnTo>
                    <a:pt x="126" y="520"/>
                  </a:lnTo>
                  <a:lnTo>
                    <a:pt x="127" y="519"/>
                  </a:lnTo>
                  <a:lnTo>
                    <a:pt x="129" y="519"/>
                  </a:lnTo>
                  <a:lnTo>
                    <a:pt x="131" y="517"/>
                  </a:lnTo>
                  <a:lnTo>
                    <a:pt x="132" y="517"/>
                  </a:lnTo>
                  <a:lnTo>
                    <a:pt x="132" y="515"/>
                  </a:lnTo>
                  <a:lnTo>
                    <a:pt x="132" y="514"/>
                  </a:lnTo>
                  <a:lnTo>
                    <a:pt x="132" y="510"/>
                  </a:lnTo>
                  <a:lnTo>
                    <a:pt x="134" y="510"/>
                  </a:lnTo>
                  <a:lnTo>
                    <a:pt x="134" y="512"/>
                  </a:lnTo>
                  <a:lnTo>
                    <a:pt x="134" y="510"/>
                  </a:lnTo>
                  <a:lnTo>
                    <a:pt x="136" y="510"/>
                  </a:lnTo>
                  <a:lnTo>
                    <a:pt x="138" y="509"/>
                  </a:lnTo>
                  <a:lnTo>
                    <a:pt x="139" y="507"/>
                  </a:lnTo>
                  <a:lnTo>
                    <a:pt x="141" y="505"/>
                  </a:lnTo>
                  <a:lnTo>
                    <a:pt x="143" y="505"/>
                  </a:lnTo>
                  <a:lnTo>
                    <a:pt x="144" y="505"/>
                  </a:lnTo>
                  <a:lnTo>
                    <a:pt x="146" y="505"/>
                  </a:lnTo>
                  <a:lnTo>
                    <a:pt x="148" y="505"/>
                  </a:lnTo>
                  <a:lnTo>
                    <a:pt x="149" y="503"/>
                  </a:lnTo>
                  <a:lnTo>
                    <a:pt x="153" y="503"/>
                  </a:lnTo>
                  <a:lnTo>
                    <a:pt x="155" y="503"/>
                  </a:lnTo>
                  <a:lnTo>
                    <a:pt x="156" y="503"/>
                  </a:lnTo>
                  <a:lnTo>
                    <a:pt x="156" y="502"/>
                  </a:lnTo>
                  <a:lnTo>
                    <a:pt x="155" y="500"/>
                  </a:lnTo>
                  <a:lnTo>
                    <a:pt x="156" y="500"/>
                  </a:lnTo>
                  <a:lnTo>
                    <a:pt x="158" y="502"/>
                  </a:lnTo>
                  <a:lnTo>
                    <a:pt x="160" y="502"/>
                  </a:lnTo>
                  <a:lnTo>
                    <a:pt x="161" y="502"/>
                  </a:lnTo>
                  <a:lnTo>
                    <a:pt x="161" y="503"/>
                  </a:lnTo>
                  <a:lnTo>
                    <a:pt x="165" y="505"/>
                  </a:lnTo>
                  <a:lnTo>
                    <a:pt x="168" y="505"/>
                  </a:lnTo>
                  <a:lnTo>
                    <a:pt x="170" y="503"/>
                  </a:lnTo>
                  <a:lnTo>
                    <a:pt x="172" y="503"/>
                  </a:lnTo>
                  <a:lnTo>
                    <a:pt x="173" y="503"/>
                  </a:lnTo>
                  <a:lnTo>
                    <a:pt x="175" y="503"/>
                  </a:lnTo>
                  <a:lnTo>
                    <a:pt x="178" y="503"/>
                  </a:lnTo>
                  <a:lnTo>
                    <a:pt x="180" y="505"/>
                  </a:lnTo>
                  <a:lnTo>
                    <a:pt x="180" y="507"/>
                  </a:lnTo>
                  <a:lnTo>
                    <a:pt x="182" y="509"/>
                  </a:lnTo>
                  <a:lnTo>
                    <a:pt x="183" y="510"/>
                  </a:lnTo>
                  <a:lnTo>
                    <a:pt x="185" y="510"/>
                  </a:lnTo>
                  <a:lnTo>
                    <a:pt x="185" y="512"/>
                  </a:lnTo>
                  <a:lnTo>
                    <a:pt x="185" y="510"/>
                  </a:lnTo>
                  <a:lnTo>
                    <a:pt x="185" y="512"/>
                  </a:lnTo>
                  <a:lnTo>
                    <a:pt x="187" y="512"/>
                  </a:lnTo>
                  <a:lnTo>
                    <a:pt x="187" y="514"/>
                  </a:lnTo>
                  <a:lnTo>
                    <a:pt x="189" y="514"/>
                  </a:lnTo>
                  <a:lnTo>
                    <a:pt x="187" y="512"/>
                  </a:lnTo>
                  <a:lnTo>
                    <a:pt x="187" y="510"/>
                  </a:lnTo>
                  <a:lnTo>
                    <a:pt x="187" y="509"/>
                  </a:lnTo>
                  <a:lnTo>
                    <a:pt x="187" y="507"/>
                  </a:lnTo>
                  <a:lnTo>
                    <a:pt x="185" y="505"/>
                  </a:lnTo>
                  <a:lnTo>
                    <a:pt x="183" y="503"/>
                  </a:lnTo>
                  <a:lnTo>
                    <a:pt x="183" y="502"/>
                  </a:lnTo>
                  <a:lnTo>
                    <a:pt x="185" y="500"/>
                  </a:lnTo>
                  <a:lnTo>
                    <a:pt x="187" y="500"/>
                  </a:lnTo>
                  <a:lnTo>
                    <a:pt x="189" y="500"/>
                  </a:lnTo>
                  <a:lnTo>
                    <a:pt x="190" y="498"/>
                  </a:lnTo>
                  <a:lnTo>
                    <a:pt x="192" y="502"/>
                  </a:lnTo>
                  <a:lnTo>
                    <a:pt x="192" y="503"/>
                  </a:lnTo>
                  <a:lnTo>
                    <a:pt x="192" y="505"/>
                  </a:lnTo>
                  <a:lnTo>
                    <a:pt x="194" y="507"/>
                  </a:lnTo>
                  <a:lnTo>
                    <a:pt x="194" y="509"/>
                  </a:lnTo>
                  <a:lnTo>
                    <a:pt x="195" y="510"/>
                  </a:lnTo>
                  <a:lnTo>
                    <a:pt x="197" y="510"/>
                  </a:lnTo>
                  <a:lnTo>
                    <a:pt x="199" y="510"/>
                  </a:lnTo>
                  <a:lnTo>
                    <a:pt x="200" y="510"/>
                  </a:lnTo>
                  <a:lnTo>
                    <a:pt x="202" y="509"/>
                  </a:lnTo>
                  <a:lnTo>
                    <a:pt x="206" y="507"/>
                  </a:lnTo>
                  <a:lnTo>
                    <a:pt x="204" y="507"/>
                  </a:lnTo>
                  <a:lnTo>
                    <a:pt x="200" y="507"/>
                  </a:lnTo>
                  <a:lnTo>
                    <a:pt x="200" y="509"/>
                  </a:lnTo>
                  <a:lnTo>
                    <a:pt x="197" y="509"/>
                  </a:lnTo>
                  <a:lnTo>
                    <a:pt x="195" y="507"/>
                  </a:lnTo>
                  <a:lnTo>
                    <a:pt x="195" y="505"/>
                  </a:lnTo>
                  <a:lnTo>
                    <a:pt x="194" y="503"/>
                  </a:lnTo>
                  <a:lnTo>
                    <a:pt x="192" y="503"/>
                  </a:lnTo>
                  <a:lnTo>
                    <a:pt x="192" y="502"/>
                  </a:lnTo>
                  <a:lnTo>
                    <a:pt x="192" y="500"/>
                  </a:lnTo>
                  <a:lnTo>
                    <a:pt x="192" y="497"/>
                  </a:lnTo>
                  <a:lnTo>
                    <a:pt x="190" y="495"/>
                  </a:lnTo>
                  <a:lnTo>
                    <a:pt x="190" y="493"/>
                  </a:lnTo>
                  <a:lnTo>
                    <a:pt x="190" y="492"/>
                  </a:lnTo>
                  <a:lnTo>
                    <a:pt x="190" y="490"/>
                  </a:lnTo>
                  <a:lnTo>
                    <a:pt x="192" y="486"/>
                  </a:lnTo>
                  <a:lnTo>
                    <a:pt x="194" y="485"/>
                  </a:lnTo>
                  <a:lnTo>
                    <a:pt x="197" y="483"/>
                  </a:lnTo>
                  <a:lnTo>
                    <a:pt x="197" y="481"/>
                  </a:lnTo>
                  <a:lnTo>
                    <a:pt x="199" y="481"/>
                  </a:lnTo>
                  <a:lnTo>
                    <a:pt x="199" y="480"/>
                  </a:lnTo>
                  <a:lnTo>
                    <a:pt x="197" y="480"/>
                  </a:lnTo>
                  <a:lnTo>
                    <a:pt x="195" y="478"/>
                  </a:lnTo>
                  <a:lnTo>
                    <a:pt x="194" y="476"/>
                  </a:lnTo>
                  <a:lnTo>
                    <a:pt x="195" y="475"/>
                  </a:lnTo>
                  <a:lnTo>
                    <a:pt x="195" y="473"/>
                  </a:lnTo>
                  <a:lnTo>
                    <a:pt x="195" y="471"/>
                  </a:lnTo>
                  <a:lnTo>
                    <a:pt x="195" y="469"/>
                  </a:lnTo>
                  <a:lnTo>
                    <a:pt x="197" y="468"/>
                  </a:lnTo>
                  <a:lnTo>
                    <a:pt x="197" y="466"/>
                  </a:lnTo>
                  <a:lnTo>
                    <a:pt x="199" y="466"/>
                  </a:lnTo>
                  <a:lnTo>
                    <a:pt x="199" y="468"/>
                  </a:lnTo>
                  <a:lnTo>
                    <a:pt x="199" y="469"/>
                  </a:lnTo>
                  <a:lnTo>
                    <a:pt x="199" y="468"/>
                  </a:lnTo>
                  <a:lnTo>
                    <a:pt x="199" y="466"/>
                  </a:lnTo>
                  <a:lnTo>
                    <a:pt x="200" y="466"/>
                  </a:lnTo>
                  <a:lnTo>
                    <a:pt x="202" y="464"/>
                  </a:lnTo>
                  <a:lnTo>
                    <a:pt x="204" y="466"/>
                  </a:lnTo>
                  <a:lnTo>
                    <a:pt x="206" y="464"/>
                  </a:lnTo>
                  <a:lnTo>
                    <a:pt x="204" y="463"/>
                  </a:lnTo>
                  <a:lnTo>
                    <a:pt x="206" y="463"/>
                  </a:lnTo>
                  <a:lnTo>
                    <a:pt x="207" y="463"/>
                  </a:lnTo>
                  <a:lnTo>
                    <a:pt x="207" y="461"/>
                  </a:lnTo>
                  <a:lnTo>
                    <a:pt x="206" y="461"/>
                  </a:lnTo>
                  <a:lnTo>
                    <a:pt x="204" y="463"/>
                  </a:lnTo>
                  <a:lnTo>
                    <a:pt x="204" y="459"/>
                  </a:lnTo>
                  <a:lnTo>
                    <a:pt x="206" y="456"/>
                  </a:lnTo>
                  <a:lnTo>
                    <a:pt x="207" y="456"/>
                  </a:lnTo>
                  <a:lnTo>
                    <a:pt x="209" y="454"/>
                  </a:lnTo>
                  <a:lnTo>
                    <a:pt x="209" y="452"/>
                  </a:lnTo>
                  <a:lnTo>
                    <a:pt x="209" y="454"/>
                  </a:lnTo>
                  <a:lnTo>
                    <a:pt x="209" y="452"/>
                  </a:lnTo>
                  <a:lnTo>
                    <a:pt x="207" y="452"/>
                  </a:lnTo>
                  <a:lnTo>
                    <a:pt x="209" y="452"/>
                  </a:lnTo>
                  <a:lnTo>
                    <a:pt x="207" y="451"/>
                  </a:lnTo>
                  <a:lnTo>
                    <a:pt x="207" y="449"/>
                  </a:lnTo>
                  <a:lnTo>
                    <a:pt x="209" y="447"/>
                  </a:lnTo>
                  <a:lnTo>
                    <a:pt x="211" y="447"/>
                  </a:lnTo>
                  <a:lnTo>
                    <a:pt x="209" y="447"/>
                  </a:lnTo>
                  <a:lnTo>
                    <a:pt x="206" y="449"/>
                  </a:lnTo>
                  <a:lnTo>
                    <a:pt x="204" y="451"/>
                  </a:lnTo>
                  <a:lnTo>
                    <a:pt x="202" y="451"/>
                  </a:lnTo>
                  <a:lnTo>
                    <a:pt x="202" y="449"/>
                  </a:lnTo>
                  <a:lnTo>
                    <a:pt x="200" y="447"/>
                  </a:lnTo>
                  <a:lnTo>
                    <a:pt x="202" y="447"/>
                  </a:lnTo>
                  <a:lnTo>
                    <a:pt x="200" y="444"/>
                  </a:lnTo>
                  <a:lnTo>
                    <a:pt x="202" y="444"/>
                  </a:lnTo>
                  <a:lnTo>
                    <a:pt x="200" y="444"/>
                  </a:lnTo>
                  <a:lnTo>
                    <a:pt x="200" y="446"/>
                  </a:lnTo>
                  <a:lnTo>
                    <a:pt x="200" y="447"/>
                  </a:lnTo>
                  <a:lnTo>
                    <a:pt x="199" y="449"/>
                  </a:lnTo>
                  <a:lnTo>
                    <a:pt x="197" y="452"/>
                  </a:lnTo>
                  <a:lnTo>
                    <a:pt x="195" y="452"/>
                  </a:lnTo>
                  <a:lnTo>
                    <a:pt x="194" y="454"/>
                  </a:lnTo>
                  <a:lnTo>
                    <a:pt x="194" y="456"/>
                  </a:lnTo>
                  <a:lnTo>
                    <a:pt x="194" y="454"/>
                  </a:lnTo>
                  <a:lnTo>
                    <a:pt x="194" y="452"/>
                  </a:lnTo>
                  <a:lnTo>
                    <a:pt x="192" y="452"/>
                  </a:lnTo>
                  <a:lnTo>
                    <a:pt x="192" y="451"/>
                  </a:lnTo>
                  <a:lnTo>
                    <a:pt x="192" y="449"/>
                  </a:lnTo>
                  <a:lnTo>
                    <a:pt x="192" y="447"/>
                  </a:lnTo>
                  <a:lnTo>
                    <a:pt x="194" y="447"/>
                  </a:lnTo>
                  <a:lnTo>
                    <a:pt x="194" y="446"/>
                  </a:lnTo>
                  <a:lnTo>
                    <a:pt x="195" y="444"/>
                  </a:lnTo>
                  <a:lnTo>
                    <a:pt x="194" y="441"/>
                  </a:lnTo>
                  <a:lnTo>
                    <a:pt x="194" y="442"/>
                  </a:lnTo>
                  <a:lnTo>
                    <a:pt x="192" y="444"/>
                  </a:lnTo>
                  <a:lnTo>
                    <a:pt x="192" y="446"/>
                  </a:lnTo>
                  <a:lnTo>
                    <a:pt x="189" y="446"/>
                  </a:lnTo>
                  <a:lnTo>
                    <a:pt x="189" y="442"/>
                  </a:lnTo>
                  <a:lnTo>
                    <a:pt x="187" y="441"/>
                  </a:lnTo>
                  <a:lnTo>
                    <a:pt x="187" y="439"/>
                  </a:lnTo>
                  <a:lnTo>
                    <a:pt x="187" y="437"/>
                  </a:lnTo>
                  <a:lnTo>
                    <a:pt x="187" y="435"/>
                  </a:lnTo>
                  <a:lnTo>
                    <a:pt x="187" y="434"/>
                  </a:lnTo>
                  <a:lnTo>
                    <a:pt x="185" y="432"/>
                  </a:lnTo>
                  <a:lnTo>
                    <a:pt x="185" y="430"/>
                  </a:lnTo>
                  <a:lnTo>
                    <a:pt x="185" y="429"/>
                  </a:lnTo>
                  <a:lnTo>
                    <a:pt x="183" y="427"/>
                  </a:lnTo>
                  <a:lnTo>
                    <a:pt x="183" y="425"/>
                  </a:lnTo>
                  <a:lnTo>
                    <a:pt x="182" y="424"/>
                  </a:lnTo>
                  <a:lnTo>
                    <a:pt x="182" y="422"/>
                  </a:lnTo>
                  <a:lnTo>
                    <a:pt x="180" y="420"/>
                  </a:lnTo>
                  <a:lnTo>
                    <a:pt x="182" y="420"/>
                  </a:lnTo>
                  <a:lnTo>
                    <a:pt x="183" y="418"/>
                  </a:lnTo>
                  <a:lnTo>
                    <a:pt x="183" y="417"/>
                  </a:lnTo>
                  <a:lnTo>
                    <a:pt x="185" y="415"/>
                  </a:lnTo>
                  <a:lnTo>
                    <a:pt x="185" y="412"/>
                  </a:lnTo>
                  <a:lnTo>
                    <a:pt x="189" y="410"/>
                  </a:lnTo>
                  <a:lnTo>
                    <a:pt x="189" y="408"/>
                  </a:lnTo>
                  <a:lnTo>
                    <a:pt x="189" y="407"/>
                  </a:lnTo>
                  <a:lnTo>
                    <a:pt x="190" y="407"/>
                  </a:lnTo>
                  <a:lnTo>
                    <a:pt x="192" y="405"/>
                  </a:lnTo>
                  <a:lnTo>
                    <a:pt x="192" y="403"/>
                  </a:lnTo>
                  <a:lnTo>
                    <a:pt x="194" y="400"/>
                  </a:lnTo>
                  <a:lnTo>
                    <a:pt x="195" y="398"/>
                  </a:lnTo>
                  <a:lnTo>
                    <a:pt x="197" y="396"/>
                  </a:lnTo>
                  <a:lnTo>
                    <a:pt x="199" y="398"/>
                  </a:lnTo>
                  <a:lnTo>
                    <a:pt x="200" y="396"/>
                  </a:lnTo>
                  <a:lnTo>
                    <a:pt x="199" y="396"/>
                  </a:lnTo>
                  <a:lnTo>
                    <a:pt x="199" y="395"/>
                  </a:lnTo>
                  <a:lnTo>
                    <a:pt x="200" y="395"/>
                  </a:lnTo>
                  <a:lnTo>
                    <a:pt x="202" y="393"/>
                  </a:lnTo>
                  <a:lnTo>
                    <a:pt x="204" y="395"/>
                  </a:lnTo>
                  <a:lnTo>
                    <a:pt x="206" y="396"/>
                  </a:lnTo>
                  <a:lnTo>
                    <a:pt x="207" y="396"/>
                  </a:lnTo>
                  <a:lnTo>
                    <a:pt x="209" y="395"/>
                  </a:lnTo>
                  <a:lnTo>
                    <a:pt x="211" y="396"/>
                  </a:lnTo>
                  <a:lnTo>
                    <a:pt x="209" y="395"/>
                  </a:lnTo>
                  <a:lnTo>
                    <a:pt x="207" y="395"/>
                  </a:lnTo>
                  <a:lnTo>
                    <a:pt x="209" y="393"/>
                  </a:lnTo>
                  <a:lnTo>
                    <a:pt x="211" y="393"/>
                  </a:lnTo>
                  <a:lnTo>
                    <a:pt x="209" y="393"/>
                  </a:lnTo>
                  <a:lnTo>
                    <a:pt x="209" y="395"/>
                  </a:lnTo>
                  <a:lnTo>
                    <a:pt x="206" y="393"/>
                  </a:lnTo>
                  <a:lnTo>
                    <a:pt x="204" y="393"/>
                  </a:lnTo>
                  <a:lnTo>
                    <a:pt x="200" y="393"/>
                  </a:lnTo>
                  <a:lnTo>
                    <a:pt x="199" y="391"/>
                  </a:lnTo>
                  <a:lnTo>
                    <a:pt x="197" y="391"/>
                  </a:lnTo>
                  <a:lnTo>
                    <a:pt x="195" y="391"/>
                  </a:lnTo>
                  <a:lnTo>
                    <a:pt x="195" y="390"/>
                  </a:lnTo>
                  <a:lnTo>
                    <a:pt x="194" y="391"/>
                  </a:lnTo>
                  <a:lnTo>
                    <a:pt x="192" y="391"/>
                  </a:lnTo>
                  <a:lnTo>
                    <a:pt x="190" y="390"/>
                  </a:lnTo>
                  <a:lnTo>
                    <a:pt x="190" y="388"/>
                  </a:lnTo>
                  <a:lnTo>
                    <a:pt x="189" y="388"/>
                  </a:lnTo>
                  <a:lnTo>
                    <a:pt x="189" y="390"/>
                  </a:lnTo>
                  <a:lnTo>
                    <a:pt x="189" y="393"/>
                  </a:lnTo>
                  <a:lnTo>
                    <a:pt x="189" y="395"/>
                  </a:lnTo>
                  <a:lnTo>
                    <a:pt x="187" y="396"/>
                  </a:lnTo>
                  <a:lnTo>
                    <a:pt x="185" y="396"/>
                  </a:lnTo>
                  <a:lnTo>
                    <a:pt x="183" y="395"/>
                  </a:lnTo>
                  <a:lnTo>
                    <a:pt x="182" y="395"/>
                  </a:lnTo>
                  <a:lnTo>
                    <a:pt x="180" y="396"/>
                  </a:lnTo>
                  <a:lnTo>
                    <a:pt x="178" y="393"/>
                  </a:lnTo>
                  <a:lnTo>
                    <a:pt x="178" y="396"/>
                  </a:lnTo>
                  <a:lnTo>
                    <a:pt x="177" y="395"/>
                  </a:lnTo>
                  <a:lnTo>
                    <a:pt x="177" y="396"/>
                  </a:lnTo>
                  <a:lnTo>
                    <a:pt x="177" y="398"/>
                  </a:lnTo>
                  <a:lnTo>
                    <a:pt x="175" y="400"/>
                  </a:lnTo>
                  <a:lnTo>
                    <a:pt x="172" y="400"/>
                  </a:lnTo>
                  <a:lnTo>
                    <a:pt x="170" y="401"/>
                  </a:lnTo>
                  <a:lnTo>
                    <a:pt x="168" y="400"/>
                  </a:lnTo>
                  <a:lnTo>
                    <a:pt x="168" y="396"/>
                  </a:lnTo>
                  <a:lnTo>
                    <a:pt x="168" y="395"/>
                  </a:lnTo>
                  <a:lnTo>
                    <a:pt x="166" y="396"/>
                  </a:lnTo>
                  <a:lnTo>
                    <a:pt x="166" y="400"/>
                  </a:lnTo>
                  <a:lnTo>
                    <a:pt x="165" y="398"/>
                  </a:lnTo>
                  <a:lnTo>
                    <a:pt x="163" y="398"/>
                  </a:lnTo>
                  <a:lnTo>
                    <a:pt x="163" y="396"/>
                  </a:lnTo>
                  <a:lnTo>
                    <a:pt x="161" y="395"/>
                  </a:lnTo>
                  <a:lnTo>
                    <a:pt x="163" y="393"/>
                  </a:lnTo>
                  <a:lnTo>
                    <a:pt x="161" y="393"/>
                  </a:lnTo>
                  <a:lnTo>
                    <a:pt x="160" y="395"/>
                  </a:lnTo>
                  <a:lnTo>
                    <a:pt x="158" y="393"/>
                  </a:lnTo>
                  <a:lnTo>
                    <a:pt x="156" y="391"/>
                  </a:lnTo>
                  <a:lnTo>
                    <a:pt x="156" y="390"/>
                  </a:lnTo>
                  <a:lnTo>
                    <a:pt x="156" y="388"/>
                  </a:lnTo>
                  <a:lnTo>
                    <a:pt x="155" y="390"/>
                  </a:lnTo>
                  <a:lnTo>
                    <a:pt x="155" y="393"/>
                  </a:lnTo>
                  <a:lnTo>
                    <a:pt x="156" y="395"/>
                  </a:lnTo>
                  <a:lnTo>
                    <a:pt x="156" y="396"/>
                  </a:lnTo>
                  <a:lnTo>
                    <a:pt x="156" y="398"/>
                  </a:lnTo>
                  <a:lnTo>
                    <a:pt x="155" y="401"/>
                  </a:lnTo>
                  <a:lnTo>
                    <a:pt x="153" y="403"/>
                  </a:lnTo>
                  <a:lnTo>
                    <a:pt x="151" y="401"/>
                  </a:lnTo>
                  <a:lnTo>
                    <a:pt x="149" y="401"/>
                  </a:lnTo>
                  <a:lnTo>
                    <a:pt x="148" y="400"/>
                  </a:lnTo>
                  <a:lnTo>
                    <a:pt x="146" y="398"/>
                  </a:lnTo>
                  <a:lnTo>
                    <a:pt x="146" y="395"/>
                  </a:lnTo>
                  <a:lnTo>
                    <a:pt x="144" y="395"/>
                  </a:lnTo>
                  <a:lnTo>
                    <a:pt x="144" y="393"/>
                  </a:lnTo>
                  <a:lnTo>
                    <a:pt x="143" y="391"/>
                  </a:lnTo>
                  <a:lnTo>
                    <a:pt x="139" y="390"/>
                  </a:lnTo>
                  <a:lnTo>
                    <a:pt x="139" y="388"/>
                  </a:lnTo>
                  <a:lnTo>
                    <a:pt x="138" y="386"/>
                  </a:lnTo>
                  <a:lnTo>
                    <a:pt x="138" y="388"/>
                  </a:lnTo>
                  <a:lnTo>
                    <a:pt x="134" y="388"/>
                  </a:lnTo>
                  <a:lnTo>
                    <a:pt x="132" y="390"/>
                  </a:lnTo>
                  <a:lnTo>
                    <a:pt x="132" y="393"/>
                  </a:lnTo>
                  <a:lnTo>
                    <a:pt x="132" y="395"/>
                  </a:lnTo>
                  <a:lnTo>
                    <a:pt x="132" y="398"/>
                  </a:lnTo>
                  <a:lnTo>
                    <a:pt x="134" y="400"/>
                  </a:lnTo>
                  <a:lnTo>
                    <a:pt x="132" y="401"/>
                  </a:lnTo>
                  <a:lnTo>
                    <a:pt x="134" y="403"/>
                  </a:lnTo>
                  <a:lnTo>
                    <a:pt x="131" y="401"/>
                  </a:lnTo>
                  <a:lnTo>
                    <a:pt x="131" y="400"/>
                  </a:lnTo>
                  <a:lnTo>
                    <a:pt x="131" y="398"/>
                  </a:lnTo>
                  <a:lnTo>
                    <a:pt x="131" y="396"/>
                  </a:lnTo>
                  <a:lnTo>
                    <a:pt x="131" y="395"/>
                  </a:lnTo>
                  <a:lnTo>
                    <a:pt x="131" y="391"/>
                  </a:lnTo>
                  <a:lnTo>
                    <a:pt x="129" y="391"/>
                  </a:lnTo>
                  <a:lnTo>
                    <a:pt x="129" y="390"/>
                  </a:lnTo>
                  <a:lnTo>
                    <a:pt x="127" y="388"/>
                  </a:lnTo>
                  <a:lnTo>
                    <a:pt x="126" y="384"/>
                  </a:lnTo>
                  <a:lnTo>
                    <a:pt x="126" y="383"/>
                  </a:lnTo>
                  <a:lnTo>
                    <a:pt x="126" y="381"/>
                  </a:lnTo>
                  <a:lnTo>
                    <a:pt x="126" y="378"/>
                  </a:lnTo>
                  <a:lnTo>
                    <a:pt x="126" y="376"/>
                  </a:lnTo>
                  <a:lnTo>
                    <a:pt x="127" y="374"/>
                  </a:lnTo>
                  <a:lnTo>
                    <a:pt x="131" y="374"/>
                  </a:lnTo>
                  <a:lnTo>
                    <a:pt x="131" y="376"/>
                  </a:lnTo>
                  <a:lnTo>
                    <a:pt x="131" y="378"/>
                  </a:lnTo>
                  <a:lnTo>
                    <a:pt x="131" y="381"/>
                  </a:lnTo>
                  <a:lnTo>
                    <a:pt x="131" y="383"/>
                  </a:lnTo>
                  <a:lnTo>
                    <a:pt x="132" y="383"/>
                  </a:lnTo>
                  <a:lnTo>
                    <a:pt x="132" y="379"/>
                  </a:lnTo>
                  <a:lnTo>
                    <a:pt x="132" y="378"/>
                  </a:lnTo>
                  <a:lnTo>
                    <a:pt x="131" y="376"/>
                  </a:lnTo>
                  <a:lnTo>
                    <a:pt x="132" y="373"/>
                  </a:lnTo>
                  <a:lnTo>
                    <a:pt x="134" y="371"/>
                  </a:lnTo>
                  <a:lnTo>
                    <a:pt x="136" y="369"/>
                  </a:lnTo>
                  <a:lnTo>
                    <a:pt x="136" y="367"/>
                  </a:lnTo>
                  <a:lnTo>
                    <a:pt x="138" y="366"/>
                  </a:lnTo>
                  <a:lnTo>
                    <a:pt x="139" y="364"/>
                  </a:lnTo>
                  <a:lnTo>
                    <a:pt x="143" y="362"/>
                  </a:lnTo>
                  <a:lnTo>
                    <a:pt x="143" y="361"/>
                  </a:lnTo>
                  <a:lnTo>
                    <a:pt x="144" y="359"/>
                  </a:lnTo>
                  <a:lnTo>
                    <a:pt x="144" y="355"/>
                  </a:lnTo>
                  <a:lnTo>
                    <a:pt x="146" y="354"/>
                  </a:lnTo>
                  <a:lnTo>
                    <a:pt x="148" y="354"/>
                  </a:lnTo>
                  <a:lnTo>
                    <a:pt x="148" y="352"/>
                  </a:lnTo>
                  <a:lnTo>
                    <a:pt x="149" y="350"/>
                  </a:lnTo>
                  <a:lnTo>
                    <a:pt x="151" y="349"/>
                  </a:lnTo>
                  <a:lnTo>
                    <a:pt x="153" y="349"/>
                  </a:lnTo>
                  <a:lnTo>
                    <a:pt x="155" y="347"/>
                  </a:lnTo>
                  <a:lnTo>
                    <a:pt x="156" y="345"/>
                  </a:lnTo>
                  <a:lnTo>
                    <a:pt x="155" y="344"/>
                  </a:lnTo>
                  <a:lnTo>
                    <a:pt x="153" y="342"/>
                  </a:lnTo>
                  <a:lnTo>
                    <a:pt x="155" y="342"/>
                  </a:lnTo>
                  <a:lnTo>
                    <a:pt x="155" y="340"/>
                  </a:lnTo>
                  <a:lnTo>
                    <a:pt x="155" y="338"/>
                  </a:lnTo>
                  <a:lnTo>
                    <a:pt x="155" y="337"/>
                  </a:lnTo>
                  <a:lnTo>
                    <a:pt x="153" y="335"/>
                  </a:lnTo>
                  <a:lnTo>
                    <a:pt x="149" y="335"/>
                  </a:lnTo>
                  <a:lnTo>
                    <a:pt x="149" y="333"/>
                  </a:lnTo>
                  <a:lnTo>
                    <a:pt x="149" y="332"/>
                  </a:lnTo>
                  <a:lnTo>
                    <a:pt x="148" y="330"/>
                  </a:lnTo>
                  <a:lnTo>
                    <a:pt x="148" y="327"/>
                  </a:lnTo>
                  <a:lnTo>
                    <a:pt x="149" y="328"/>
                  </a:lnTo>
                  <a:lnTo>
                    <a:pt x="149" y="327"/>
                  </a:lnTo>
                  <a:lnTo>
                    <a:pt x="149" y="325"/>
                  </a:lnTo>
                  <a:lnTo>
                    <a:pt x="149" y="323"/>
                  </a:lnTo>
                  <a:lnTo>
                    <a:pt x="149" y="321"/>
                  </a:lnTo>
                  <a:lnTo>
                    <a:pt x="149" y="320"/>
                  </a:lnTo>
                  <a:lnTo>
                    <a:pt x="151" y="316"/>
                  </a:lnTo>
                  <a:lnTo>
                    <a:pt x="149" y="316"/>
                  </a:lnTo>
                  <a:lnTo>
                    <a:pt x="151" y="315"/>
                  </a:lnTo>
                  <a:lnTo>
                    <a:pt x="151" y="313"/>
                  </a:lnTo>
                  <a:lnTo>
                    <a:pt x="155" y="313"/>
                  </a:lnTo>
                  <a:lnTo>
                    <a:pt x="156" y="313"/>
                  </a:lnTo>
                  <a:lnTo>
                    <a:pt x="156" y="315"/>
                  </a:lnTo>
                  <a:lnTo>
                    <a:pt x="160" y="315"/>
                  </a:lnTo>
                  <a:lnTo>
                    <a:pt x="161" y="316"/>
                  </a:lnTo>
                  <a:lnTo>
                    <a:pt x="163" y="316"/>
                  </a:lnTo>
                  <a:lnTo>
                    <a:pt x="166" y="318"/>
                  </a:lnTo>
                  <a:lnTo>
                    <a:pt x="168" y="318"/>
                  </a:lnTo>
                  <a:lnTo>
                    <a:pt x="166" y="316"/>
                  </a:lnTo>
                  <a:lnTo>
                    <a:pt x="165" y="316"/>
                  </a:lnTo>
                  <a:lnTo>
                    <a:pt x="163" y="316"/>
                  </a:lnTo>
                  <a:lnTo>
                    <a:pt x="163" y="315"/>
                  </a:lnTo>
                  <a:lnTo>
                    <a:pt x="163" y="316"/>
                  </a:lnTo>
                  <a:lnTo>
                    <a:pt x="161" y="315"/>
                  </a:lnTo>
                  <a:lnTo>
                    <a:pt x="161" y="313"/>
                  </a:lnTo>
                  <a:lnTo>
                    <a:pt x="160" y="313"/>
                  </a:lnTo>
                  <a:lnTo>
                    <a:pt x="160" y="311"/>
                  </a:lnTo>
                  <a:lnTo>
                    <a:pt x="158" y="310"/>
                  </a:lnTo>
                  <a:lnTo>
                    <a:pt x="156" y="310"/>
                  </a:lnTo>
                  <a:lnTo>
                    <a:pt x="156" y="306"/>
                  </a:lnTo>
                  <a:lnTo>
                    <a:pt x="156" y="304"/>
                  </a:lnTo>
                  <a:lnTo>
                    <a:pt x="155" y="306"/>
                  </a:lnTo>
                  <a:lnTo>
                    <a:pt x="155" y="308"/>
                  </a:lnTo>
                  <a:lnTo>
                    <a:pt x="156" y="310"/>
                  </a:lnTo>
                  <a:lnTo>
                    <a:pt x="156" y="311"/>
                  </a:lnTo>
                  <a:lnTo>
                    <a:pt x="155" y="311"/>
                  </a:lnTo>
                  <a:lnTo>
                    <a:pt x="153" y="310"/>
                  </a:lnTo>
                  <a:lnTo>
                    <a:pt x="153" y="308"/>
                  </a:lnTo>
                  <a:lnTo>
                    <a:pt x="153" y="306"/>
                  </a:lnTo>
                  <a:lnTo>
                    <a:pt x="153" y="304"/>
                  </a:lnTo>
                  <a:lnTo>
                    <a:pt x="155" y="303"/>
                  </a:lnTo>
                  <a:lnTo>
                    <a:pt x="156" y="301"/>
                  </a:lnTo>
                  <a:lnTo>
                    <a:pt x="158" y="299"/>
                  </a:lnTo>
                  <a:lnTo>
                    <a:pt x="160" y="298"/>
                  </a:lnTo>
                  <a:lnTo>
                    <a:pt x="160" y="296"/>
                  </a:lnTo>
                  <a:lnTo>
                    <a:pt x="161" y="296"/>
                  </a:lnTo>
                  <a:lnTo>
                    <a:pt x="160" y="298"/>
                  </a:lnTo>
                  <a:lnTo>
                    <a:pt x="158" y="298"/>
                  </a:lnTo>
                  <a:lnTo>
                    <a:pt x="156" y="299"/>
                  </a:lnTo>
                  <a:lnTo>
                    <a:pt x="156" y="301"/>
                  </a:lnTo>
                  <a:lnTo>
                    <a:pt x="155" y="303"/>
                  </a:lnTo>
                  <a:lnTo>
                    <a:pt x="155" y="301"/>
                  </a:lnTo>
                  <a:lnTo>
                    <a:pt x="155" y="299"/>
                  </a:lnTo>
                  <a:lnTo>
                    <a:pt x="155" y="298"/>
                  </a:lnTo>
                  <a:lnTo>
                    <a:pt x="153" y="298"/>
                  </a:lnTo>
                  <a:lnTo>
                    <a:pt x="155" y="299"/>
                  </a:lnTo>
                  <a:lnTo>
                    <a:pt x="153" y="301"/>
                  </a:lnTo>
                  <a:lnTo>
                    <a:pt x="155" y="303"/>
                  </a:lnTo>
                  <a:lnTo>
                    <a:pt x="153" y="304"/>
                  </a:lnTo>
                  <a:lnTo>
                    <a:pt x="153" y="308"/>
                  </a:lnTo>
                  <a:lnTo>
                    <a:pt x="151" y="310"/>
                  </a:lnTo>
                  <a:lnTo>
                    <a:pt x="149" y="308"/>
                  </a:lnTo>
                  <a:lnTo>
                    <a:pt x="149" y="310"/>
                  </a:lnTo>
                  <a:lnTo>
                    <a:pt x="151" y="311"/>
                  </a:lnTo>
                  <a:lnTo>
                    <a:pt x="149" y="313"/>
                  </a:lnTo>
                  <a:lnTo>
                    <a:pt x="149" y="315"/>
                  </a:lnTo>
                  <a:lnTo>
                    <a:pt x="148" y="315"/>
                  </a:lnTo>
                  <a:lnTo>
                    <a:pt x="146" y="318"/>
                  </a:lnTo>
                  <a:lnTo>
                    <a:pt x="144" y="316"/>
                  </a:lnTo>
                  <a:lnTo>
                    <a:pt x="144" y="315"/>
                  </a:lnTo>
                  <a:lnTo>
                    <a:pt x="144" y="313"/>
                  </a:lnTo>
                  <a:lnTo>
                    <a:pt x="144" y="311"/>
                  </a:lnTo>
                  <a:lnTo>
                    <a:pt x="143" y="310"/>
                  </a:lnTo>
                  <a:lnTo>
                    <a:pt x="143" y="308"/>
                  </a:lnTo>
                  <a:lnTo>
                    <a:pt x="143" y="310"/>
                  </a:lnTo>
                  <a:lnTo>
                    <a:pt x="144" y="311"/>
                  </a:lnTo>
                  <a:lnTo>
                    <a:pt x="144" y="315"/>
                  </a:lnTo>
                  <a:lnTo>
                    <a:pt x="143" y="315"/>
                  </a:lnTo>
                  <a:lnTo>
                    <a:pt x="141" y="311"/>
                  </a:lnTo>
                  <a:lnTo>
                    <a:pt x="139" y="310"/>
                  </a:lnTo>
                  <a:lnTo>
                    <a:pt x="141" y="308"/>
                  </a:lnTo>
                  <a:lnTo>
                    <a:pt x="139" y="308"/>
                  </a:lnTo>
                  <a:lnTo>
                    <a:pt x="139" y="311"/>
                  </a:lnTo>
                  <a:lnTo>
                    <a:pt x="139" y="313"/>
                  </a:lnTo>
                  <a:lnTo>
                    <a:pt x="138" y="313"/>
                  </a:lnTo>
                  <a:lnTo>
                    <a:pt x="138" y="316"/>
                  </a:lnTo>
                  <a:lnTo>
                    <a:pt x="138" y="318"/>
                  </a:lnTo>
                  <a:lnTo>
                    <a:pt x="136" y="316"/>
                  </a:lnTo>
                  <a:lnTo>
                    <a:pt x="134" y="316"/>
                  </a:lnTo>
                  <a:lnTo>
                    <a:pt x="134" y="315"/>
                  </a:lnTo>
                  <a:lnTo>
                    <a:pt x="132" y="313"/>
                  </a:lnTo>
                  <a:lnTo>
                    <a:pt x="134" y="310"/>
                  </a:lnTo>
                  <a:lnTo>
                    <a:pt x="134" y="308"/>
                  </a:lnTo>
                  <a:lnTo>
                    <a:pt x="134" y="306"/>
                  </a:lnTo>
                  <a:lnTo>
                    <a:pt x="138" y="304"/>
                  </a:lnTo>
                  <a:lnTo>
                    <a:pt x="138" y="303"/>
                  </a:lnTo>
                  <a:lnTo>
                    <a:pt x="139" y="301"/>
                  </a:lnTo>
                  <a:lnTo>
                    <a:pt x="141" y="299"/>
                  </a:lnTo>
                  <a:lnTo>
                    <a:pt x="143" y="298"/>
                  </a:lnTo>
                  <a:lnTo>
                    <a:pt x="144" y="298"/>
                  </a:lnTo>
                  <a:lnTo>
                    <a:pt x="146" y="296"/>
                  </a:lnTo>
                  <a:lnTo>
                    <a:pt x="148" y="296"/>
                  </a:lnTo>
                  <a:lnTo>
                    <a:pt x="149" y="293"/>
                  </a:lnTo>
                  <a:lnTo>
                    <a:pt x="153" y="293"/>
                  </a:lnTo>
                  <a:lnTo>
                    <a:pt x="155" y="291"/>
                  </a:lnTo>
                  <a:lnTo>
                    <a:pt x="153" y="291"/>
                  </a:lnTo>
                  <a:lnTo>
                    <a:pt x="151" y="291"/>
                  </a:lnTo>
                  <a:lnTo>
                    <a:pt x="149" y="293"/>
                  </a:lnTo>
                  <a:lnTo>
                    <a:pt x="149" y="291"/>
                  </a:lnTo>
                  <a:lnTo>
                    <a:pt x="148" y="294"/>
                  </a:lnTo>
                  <a:lnTo>
                    <a:pt x="146" y="296"/>
                  </a:lnTo>
                  <a:lnTo>
                    <a:pt x="144" y="296"/>
                  </a:lnTo>
                  <a:lnTo>
                    <a:pt x="143" y="296"/>
                  </a:lnTo>
                  <a:lnTo>
                    <a:pt x="141" y="298"/>
                  </a:lnTo>
                  <a:lnTo>
                    <a:pt x="139" y="299"/>
                  </a:lnTo>
                  <a:lnTo>
                    <a:pt x="138" y="301"/>
                  </a:lnTo>
                  <a:lnTo>
                    <a:pt x="136" y="301"/>
                  </a:lnTo>
                  <a:lnTo>
                    <a:pt x="136" y="304"/>
                  </a:lnTo>
                  <a:lnTo>
                    <a:pt x="132" y="304"/>
                  </a:lnTo>
                  <a:lnTo>
                    <a:pt x="132" y="303"/>
                  </a:lnTo>
                  <a:lnTo>
                    <a:pt x="131" y="304"/>
                  </a:lnTo>
                  <a:lnTo>
                    <a:pt x="131" y="306"/>
                  </a:lnTo>
                  <a:lnTo>
                    <a:pt x="131" y="308"/>
                  </a:lnTo>
                  <a:lnTo>
                    <a:pt x="131" y="311"/>
                  </a:lnTo>
                  <a:lnTo>
                    <a:pt x="131" y="315"/>
                  </a:lnTo>
                  <a:lnTo>
                    <a:pt x="132" y="316"/>
                  </a:lnTo>
                  <a:lnTo>
                    <a:pt x="132" y="318"/>
                  </a:lnTo>
                  <a:lnTo>
                    <a:pt x="132" y="320"/>
                  </a:lnTo>
                  <a:lnTo>
                    <a:pt x="132" y="321"/>
                  </a:lnTo>
                  <a:lnTo>
                    <a:pt x="129" y="321"/>
                  </a:lnTo>
                  <a:lnTo>
                    <a:pt x="127" y="323"/>
                  </a:lnTo>
                  <a:lnTo>
                    <a:pt x="126" y="325"/>
                  </a:lnTo>
                  <a:lnTo>
                    <a:pt x="126" y="327"/>
                  </a:lnTo>
                  <a:lnTo>
                    <a:pt x="124" y="328"/>
                  </a:lnTo>
                  <a:lnTo>
                    <a:pt x="124" y="332"/>
                  </a:lnTo>
                  <a:lnTo>
                    <a:pt x="124" y="333"/>
                  </a:lnTo>
                  <a:lnTo>
                    <a:pt x="122" y="333"/>
                  </a:lnTo>
                  <a:lnTo>
                    <a:pt x="122" y="337"/>
                  </a:lnTo>
                  <a:lnTo>
                    <a:pt x="121" y="338"/>
                  </a:lnTo>
                  <a:lnTo>
                    <a:pt x="119" y="340"/>
                  </a:lnTo>
                  <a:lnTo>
                    <a:pt x="119" y="342"/>
                  </a:lnTo>
                  <a:lnTo>
                    <a:pt x="115" y="342"/>
                  </a:lnTo>
                  <a:lnTo>
                    <a:pt x="117" y="344"/>
                  </a:lnTo>
                  <a:lnTo>
                    <a:pt x="119" y="344"/>
                  </a:lnTo>
                  <a:lnTo>
                    <a:pt x="119" y="345"/>
                  </a:lnTo>
                  <a:lnTo>
                    <a:pt x="119" y="347"/>
                  </a:lnTo>
                  <a:lnTo>
                    <a:pt x="117" y="350"/>
                  </a:lnTo>
                  <a:lnTo>
                    <a:pt x="114" y="350"/>
                  </a:lnTo>
                  <a:lnTo>
                    <a:pt x="112" y="350"/>
                  </a:lnTo>
                  <a:lnTo>
                    <a:pt x="109" y="350"/>
                  </a:lnTo>
                  <a:lnTo>
                    <a:pt x="107" y="349"/>
                  </a:lnTo>
                  <a:lnTo>
                    <a:pt x="107" y="347"/>
                  </a:lnTo>
                  <a:lnTo>
                    <a:pt x="107" y="345"/>
                  </a:lnTo>
                  <a:lnTo>
                    <a:pt x="109" y="344"/>
                  </a:lnTo>
                  <a:lnTo>
                    <a:pt x="110" y="342"/>
                  </a:lnTo>
                  <a:lnTo>
                    <a:pt x="112" y="342"/>
                  </a:lnTo>
                  <a:lnTo>
                    <a:pt x="112" y="340"/>
                  </a:lnTo>
                  <a:lnTo>
                    <a:pt x="112" y="337"/>
                  </a:lnTo>
                  <a:lnTo>
                    <a:pt x="114" y="337"/>
                  </a:lnTo>
                  <a:lnTo>
                    <a:pt x="114" y="335"/>
                  </a:lnTo>
                  <a:lnTo>
                    <a:pt x="114" y="332"/>
                  </a:lnTo>
                  <a:lnTo>
                    <a:pt x="115" y="330"/>
                  </a:lnTo>
                  <a:lnTo>
                    <a:pt x="115" y="328"/>
                  </a:lnTo>
                  <a:lnTo>
                    <a:pt x="117" y="328"/>
                  </a:lnTo>
                  <a:lnTo>
                    <a:pt x="117" y="325"/>
                  </a:lnTo>
                  <a:lnTo>
                    <a:pt x="121" y="323"/>
                  </a:lnTo>
                  <a:lnTo>
                    <a:pt x="121" y="321"/>
                  </a:lnTo>
                  <a:lnTo>
                    <a:pt x="122" y="320"/>
                  </a:lnTo>
                  <a:lnTo>
                    <a:pt x="124" y="320"/>
                  </a:lnTo>
                  <a:lnTo>
                    <a:pt x="126" y="318"/>
                  </a:lnTo>
                  <a:lnTo>
                    <a:pt x="127" y="318"/>
                  </a:lnTo>
                  <a:lnTo>
                    <a:pt x="129" y="316"/>
                  </a:lnTo>
                  <a:lnTo>
                    <a:pt x="129" y="315"/>
                  </a:lnTo>
                  <a:lnTo>
                    <a:pt x="127" y="316"/>
                  </a:lnTo>
                  <a:lnTo>
                    <a:pt x="126" y="316"/>
                  </a:lnTo>
                  <a:lnTo>
                    <a:pt x="124" y="318"/>
                  </a:lnTo>
                  <a:lnTo>
                    <a:pt x="122" y="318"/>
                  </a:lnTo>
                  <a:lnTo>
                    <a:pt x="121" y="320"/>
                  </a:lnTo>
                  <a:lnTo>
                    <a:pt x="122" y="318"/>
                  </a:lnTo>
                  <a:lnTo>
                    <a:pt x="121" y="318"/>
                  </a:lnTo>
                  <a:lnTo>
                    <a:pt x="119" y="316"/>
                  </a:lnTo>
                  <a:lnTo>
                    <a:pt x="121" y="313"/>
                  </a:lnTo>
                  <a:lnTo>
                    <a:pt x="121" y="311"/>
                  </a:lnTo>
                  <a:lnTo>
                    <a:pt x="122" y="311"/>
                  </a:lnTo>
                  <a:lnTo>
                    <a:pt x="122" y="310"/>
                  </a:lnTo>
                  <a:lnTo>
                    <a:pt x="126" y="308"/>
                  </a:lnTo>
                  <a:lnTo>
                    <a:pt x="124" y="308"/>
                  </a:lnTo>
                  <a:lnTo>
                    <a:pt x="122" y="310"/>
                  </a:lnTo>
                  <a:lnTo>
                    <a:pt x="121" y="310"/>
                  </a:lnTo>
                  <a:lnTo>
                    <a:pt x="121" y="308"/>
                  </a:lnTo>
                  <a:lnTo>
                    <a:pt x="122" y="306"/>
                  </a:lnTo>
                  <a:lnTo>
                    <a:pt x="122" y="304"/>
                  </a:lnTo>
                  <a:lnTo>
                    <a:pt x="124" y="304"/>
                  </a:lnTo>
                  <a:lnTo>
                    <a:pt x="126" y="303"/>
                  </a:lnTo>
                  <a:lnTo>
                    <a:pt x="127" y="301"/>
                  </a:lnTo>
                  <a:lnTo>
                    <a:pt x="126" y="303"/>
                  </a:lnTo>
                  <a:lnTo>
                    <a:pt x="127" y="301"/>
                  </a:lnTo>
                  <a:lnTo>
                    <a:pt x="126" y="301"/>
                  </a:lnTo>
                  <a:lnTo>
                    <a:pt x="127" y="299"/>
                  </a:lnTo>
                  <a:lnTo>
                    <a:pt x="124" y="301"/>
                  </a:lnTo>
                  <a:lnTo>
                    <a:pt x="124" y="303"/>
                  </a:lnTo>
                  <a:lnTo>
                    <a:pt x="122" y="304"/>
                  </a:lnTo>
                  <a:lnTo>
                    <a:pt x="124" y="303"/>
                  </a:lnTo>
                  <a:lnTo>
                    <a:pt x="122" y="303"/>
                  </a:lnTo>
                  <a:lnTo>
                    <a:pt x="122" y="304"/>
                  </a:lnTo>
                  <a:lnTo>
                    <a:pt x="121" y="306"/>
                  </a:lnTo>
                  <a:lnTo>
                    <a:pt x="122" y="304"/>
                  </a:lnTo>
                  <a:lnTo>
                    <a:pt x="121" y="306"/>
                  </a:lnTo>
                  <a:lnTo>
                    <a:pt x="121" y="304"/>
                  </a:lnTo>
                  <a:lnTo>
                    <a:pt x="122" y="303"/>
                  </a:lnTo>
                  <a:lnTo>
                    <a:pt x="122" y="301"/>
                  </a:lnTo>
                  <a:lnTo>
                    <a:pt x="124" y="301"/>
                  </a:lnTo>
                  <a:lnTo>
                    <a:pt x="124" y="299"/>
                  </a:lnTo>
                  <a:lnTo>
                    <a:pt x="126" y="299"/>
                  </a:lnTo>
                  <a:lnTo>
                    <a:pt x="127" y="298"/>
                  </a:lnTo>
                  <a:lnTo>
                    <a:pt x="129" y="299"/>
                  </a:lnTo>
                  <a:lnTo>
                    <a:pt x="129" y="298"/>
                  </a:lnTo>
                  <a:lnTo>
                    <a:pt x="127" y="296"/>
                  </a:lnTo>
                  <a:lnTo>
                    <a:pt x="129" y="294"/>
                  </a:lnTo>
                  <a:lnTo>
                    <a:pt x="131" y="293"/>
                  </a:lnTo>
                  <a:lnTo>
                    <a:pt x="131" y="291"/>
                  </a:lnTo>
                  <a:lnTo>
                    <a:pt x="127" y="293"/>
                  </a:lnTo>
                  <a:lnTo>
                    <a:pt x="127" y="294"/>
                  </a:lnTo>
                  <a:lnTo>
                    <a:pt x="126" y="294"/>
                  </a:lnTo>
                  <a:lnTo>
                    <a:pt x="127" y="293"/>
                  </a:lnTo>
                  <a:lnTo>
                    <a:pt x="129" y="289"/>
                  </a:lnTo>
                  <a:lnTo>
                    <a:pt x="131" y="289"/>
                  </a:lnTo>
                  <a:lnTo>
                    <a:pt x="129" y="287"/>
                  </a:lnTo>
                  <a:lnTo>
                    <a:pt x="132" y="286"/>
                  </a:lnTo>
                  <a:lnTo>
                    <a:pt x="134" y="287"/>
                  </a:lnTo>
                  <a:lnTo>
                    <a:pt x="132" y="286"/>
                  </a:lnTo>
                  <a:lnTo>
                    <a:pt x="131" y="286"/>
                  </a:lnTo>
                  <a:lnTo>
                    <a:pt x="129" y="286"/>
                  </a:lnTo>
                  <a:lnTo>
                    <a:pt x="131" y="284"/>
                  </a:lnTo>
                  <a:lnTo>
                    <a:pt x="129" y="284"/>
                  </a:lnTo>
                  <a:lnTo>
                    <a:pt x="131" y="282"/>
                  </a:lnTo>
                  <a:lnTo>
                    <a:pt x="131" y="281"/>
                  </a:lnTo>
                  <a:lnTo>
                    <a:pt x="132" y="279"/>
                  </a:lnTo>
                  <a:lnTo>
                    <a:pt x="132" y="281"/>
                  </a:lnTo>
                  <a:lnTo>
                    <a:pt x="134" y="281"/>
                  </a:lnTo>
                  <a:lnTo>
                    <a:pt x="136" y="279"/>
                  </a:lnTo>
                  <a:lnTo>
                    <a:pt x="134" y="279"/>
                  </a:lnTo>
                  <a:lnTo>
                    <a:pt x="132" y="281"/>
                  </a:lnTo>
                  <a:lnTo>
                    <a:pt x="132" y="279"/>
                  </a:lnTo>
                  <a:lnTo>
                    <a:pt x="134" y="277"/>
                  </a:lnTo>
                  <a:lnTo>
                    <a:pt x="136" y="276"/>
                  </a:lnTo>
                  <a:lnTo>
                    <a:pt x="136" y="274"/>
                  </a:lnTo>
                  <a:lnTo>
                    <a:pt x="138" y="274"/>
                  </a:lnTo>
                  <a:lnTo>
                    <a:pt x="139" y="274"/>
                  </a:lnTo>
                  <a:lnTo>
                    <a:pt x="139" y="270"/>
                  </a:lnTo>
                  <a:lnTo>
                    <a:pt x="138" y="272"/>
                  </a:lnTo>
                  <a:lnTo>
                    <a:pt x="138" y="270"/>
                  </a:lnTo>
                  <a:lnTo>
                    <a:pt x="138" y="272"/>
                  </a:lnTo>
                  <a:lnTo>
                    <a:pt x="138" y="270"/>
                  </a:lnTo>
                  <a:lnTo>
                    <a:pt x="139" y="269"/>
                  </a:lnTo>
                  <a:lnTo>
                    <a:pt x="143" y="270"/>
                  </a:lnTo>
                  <a:lnTo>
                    <a:pt x="144" y="269"/>
                  </a:lnTo>
                  <a:lnTo>
                    <a:pt x="141" y="269"/>
                  </a:lnTo>
                  <a:lnTo>
                    <a:pt x="139" y="267"/>
                  </a:lnTo>
                  <a:lnTo>
                    <a:pt x="141" y="265"/>
                  </a:lnTo>
                  <a:lnTo>
                    <a:pt x="143" y="267"/>
                  </a:lnTo>
                  <a:lnTo>
                    <a:pt x="143" y="265"/>
                  </a:lnTo>
                  <a:lnTo>
                    <a:pt x="143" y="264"/>
                  </a:lnTo>
                  <a:lnTo>
                    <a:pt x="144" y="264"/>
                  </a:lnTo>
                  <a:lnTo>
                    <a:pt x="146" y="262"/>
                  </a:lnTo>
                  <a:lnTo>
                    <a:pt x="144" y="262"/>
                  </a:lnTo>
                  <a:lnTo>
                    <a:pt x="146" y="260"/>
                  </a:lnTo>
                  <a:lnTo>
                    <a:pt x="148" y="260"/>
                  </a:lnTo>
                  <a:lnTo>
                    <a:pt x="149" y="259"/>
                  </a:lnTo>
                  <a:lnTo>
                    <a:pt x="151" y="260"/>
                  </a:lnTo>
                  <a:lnTo>
                    <a:pt x="153" y="260"/>
                  </a:lnTo>
                  <a:lnTo>
                    <a:pt x="155" y="260"/>
                  </a:lnTo>
                  <a:lnTo>
                    <a:pt x="156" y="260"/>
                  </a:lnTo>
                  <a:lnTo>
                    <a:pt x="160" y="260"/>
                  </a:lnTo>
                  <a:lnTo>
                    <a:pt x="158" y="259"/>
                  </a:lnTo>
                  <a:lnTo>
                    <a:pt x="156" y="260"/>
                  </a:lnTo>
                  <a:lnTo>
                    <a:pt x="155" y="260"/>
                  </a:lnTo>
                  <a:lnTo>
                    <a:pt x="153" y="260"/>
                  </a:lnTo>
                  <a:lnTo>
                    <a:pt x="151" y="260"/>
                  </a:lnTo>
                  <a:lnTo>
                    <a:pt x="151" y="259"/>
                  </a:lnTo>
                  <a:lnTo>
                    <a:pt x="149" y="259"/>
                  </a:lnTo>
                  <a:lnTo>
                    <a:pt x="149" y="257"/>
                  </a:lnTo>
                  <a:lnTo>
                    <a:pt x="151" y="255"/>
                  </a:lnTo>
                  <a:lnTo>
                    <a:pt x="153" y="253"/>
                  </a:lnTo>
                  <a:lnTo>
                    <a:pt x="155" y="252"/>
                  </a:lnTo>
                  <a:lnTo>
                    <a:pt x="156" y="252"/>
                  </a:lnTo>
                  <a:lnTo>
                    <a:pt x="156" y="250"/>
                  </a:lnTo>
                  <a:lnTo>
                    <a:pt x="155" y="250"/>
                  </a:lnTo>
                  <a:lnTo>
                    <a:pt x="153" y="248"/>
                  </a:lnTo>
                  <a:lnTo>
                    <a:pt x="151" y="248"/>
                  </a:lnTo>
                  <a:lnTo>
                    <a:pt x="148" y="247"/>
                  </a:lnTo>
                  <a:lnTo>
                    <a:pt x="149" y="248"/>
                  </a:lnTo>
                  <a:lnTo>
                    <a:pt x="151" y="248"/>
                  </a:lnTo>
                  <a:lnTo>
                    <a:pt x="153" y="248"/>
                  </a:lnTo>
                  <a:lnTo>
                    <a:pt x="155" y="250"/>
                  </a:lnTo>
                  <a:lnTo>
                    <a:pt x="156" y="250"/>
                  </a:lnTo>
                  <a:lnTo>
                    <a:pt x="155" y="250"/>
                  </a:lnTo>
                  <a:lnTo>
                    <a:pt x="155" y="252"/>
                  </a:lnTo>
                  <a:lnTo>
                    <a:pt x="153" y="252"/>
                  </a:lnTo>
                  <a:lnTo>
                    <a:pt x="151" y="253"/>
                  </a:lnTo>
                  <a:lnTo>
                    <a:pt x="149" y="253"/>
                  </a:lnTo>
                  <a:lnTo>
                    <a:pt x="149" y="255"/>
                  </a:lnTo>
                  <a:lnTo>
                    <a:pt x="149" y="257"/>
                  </a:lnTo>
                  <a:lnTo>
                    <a:pt x="148" y="259"/>
                  </a:lnTo>
                  <a:lnTo>
                    <a:pt x="146" y="257"/>
                  </a:lnTo>
                  <a:lnTo>
                    <a:pt x="144" y="259"/>
                  </a:lnTo>
                  <a:lnTo>
                    <a:pt x="143" y="260"/>
                  </a:lnTo>
                  <a:lnTo>
                    <a:pt x="141" y="260"/>
                  </a:lnTo>
                  <a:lnTo>
                    <a:pt x="139" y="262"/>
                  </a:lnTo>
                  <a:lnTo>
                    <a:pt x="138" y="262"/>
                  </a:lnTo>
                  <a:lnTo>
                    <a:pt x="136" y="265"/>
                  </a:lnTo>
                  <a:lnTo>
                    <a:pt x="132" y="267"/>
                  </a:lnTo>
                  <a:lnTo>
                    <a:pt x="129" y="269"/>
                  </a:lnTo>
                  <a:lnTo>
                    <a:pt x="129" y="267"/>
                  </a:lnTo>
                  <a:lnTo>
                    <a:pt x="127" y="267"/>
                  </a:lnTo>
                  <a:lnTo>
                    <a:pt x="127" y="265"/>
                  </a:lnTo>
                  <a:lnTo>
                    <a:pt x="127" y="264"/>
                  </a:lnTo>
                  <a:lnTo>
                    <a:pt x="126" y="265"/>
                  </a:lnTo>
                  <a:lnTo>
                    <a:pt x="124" y="264"/>
                  </a:lnTo>
                  <a:lnTo>
                    <a:pt x="122" y="264"/>
                  </a:lnTo>
                  <a:lnTo>
                    <a:pt x="121" y="260"/>
                  </a:lnTo>
                  <a:lnTo>
                    <a:pt x="119" y="257"/>
                  </a:lnTo>
                  <a:lnTo>
                    <a:pt x="119" y="255"/>
                  </a:lnTo>
                  <a:lnTo>
                    <a:pt x="122" y="255"/>
                  </a:lnTo>
                  <a:lnTo>
                    <a:pt x="124" y="255"/>
                  </a:lnTo>
                  <a:lnTo>
                    <a:pt x="124" y="257"/>
                  </a:lnTo>
                  <a:lnTo>
                    <a:pt x="126" y="259"/>
                  </a:lnTo>
                  <a:lnTo>
                    <a:pt x="124" y="257"/>
                  </a:lnTo>
                  <a:lnTo>
                    <a:pt x="127" y="255"/>
                  </a:lnTo>
                  <a:lnTo>
                    <a:pt x="131" y="253"/>
                  </a:lnTo>
                  <a:lnTo>
                    <a:pt x="131" y="255"/>
                  </a:lnTo>
                  <a:lnTo>
                    <a:pt x="132" y="257"/>
                  </a:lnTo>
                  <a:lnTo>
                    <a:pt x="134" y="257"/>
                  </a:lnTo>
                  <a:lnTo>
                    <a:pt x="138" y="257"/>
                  </a:lnTo>
                  <a:lnTo>
                    <a:pt x="136" y="255"/>
                  </a:lnTo>
                  <a:lnTo>
                    <a:pt x="136" y="257"/>
                  </a:lnTo>
                  <a:lnTo>
                    <a:pt x="132" y="257"/>
                  </a:lnTo>
                  <a:lnTo>
                    <a:pt x="131" y="253"/>
                  </a:lnTo>
                  <a:lnTo>
                    <a:pt x="129" y="253"/>
                  </a:lnTo>
                  <a:lnTo>
                    <a:pt x="126" y="255"/>
                  </a:lnTo>
                  <a:lnTo>
                    <a:pt x="122" y="253"/>
                  </a:lnTo>
                  <a:lnTo>
                    <a:pt x="121" y="253"/>
                  </a:lnTo>
                  <a:lnTo>
                    <a:pt x="119" y="253"/>
                  </a:lnTo>
                  <a:lnTo>
                    <a:pt x="119" y="252"/>
                  </a:lnTo>
                  <a:lnTo>
                    <a:pt x="117" y="252"/>
                  </a:lnTo>
                  <a:lnTo>
                    <a:pt x="115" y="252"/>
                  </a:lnTo>
                  <a:lnTo>
                    <a:pt x="114" y="252"/>
                  </a:lnTo>
                  <a:lnTo>
                    <a:pt x="112" y="248"/>
                  </a:lnTo>
                  <a:lnTo>
                    <a:pt x="114" y="248"/>
                  </a:lnTo>
                  <a:lnTo>
                    <a:pt x="114" y="247"/>
                  </a:lnTo>
                  <a:lnTo>
                    <a:pt x="115" y="247"/>
                  </a:lnTo>
                  <a:lnTo>
                    <a:pt x="119" y="247"/>
                  </a:lnTo>
                  <a:lnTo>
                    <a:pt x="121" y="247"/>
                  </a:lnTo>
                  <a:lnTo>
                    <a:pt x="124" y="247"/>
                  </a:lnTo>
                  <a:lnTo>
                    <a:pt x="124" y="250"/>
                  </a:lnTo>
                  <a:lnTo>
                    <a:pt x="126" y="248"/>
                  </a:lnTo>
                  <a:lnTo>
                    <a:pt x="127" y="250"/>
                  </a:lnTo>
                  <a:lnTo>
                    <a:pt x="127" y="248"/>
                  </a:lnTo>
                  <a:lnTo>
                    <a:pt x="126" y="248"/>
                  </a:lnTo>
                  <a:lnTo>
                    <a:pt x="126" y="247"/>
                  </a:lnTo>
                  <a:lnTo>
                    <a:pt x="127" y="248"/>
                  </a:lnTo>
                  <a:lnTo>
                    <a:pt x="129" y="247"/>
                  </a:lnTo>
                  <a:lnTo>
                    <a:pt x="131" y="248"/>
                  </a:lnTo>
                  <a:lnTo>
                    <a:pt x="129" y="247"/>
                  </a:lnTo>
                  <a:lnTo>
                    <a:pt x="127" y="245"/>
                  </a:lnTo>
                  <a:lnTo>
                    <a:pt x="129" y="245"/>
                  </a:lnTo>
                  <a:lnTo>
                    <a:pt x="132" y="243"/>
                  </a:lnTo>
                  <a:lnTo>
                    <a:pt x="134" y="245"/>
                  </a:lnTo>
                  <a:lnTo>
                    <a:pt x="136" y="242"/>
                  </a:lnTo>
                  <a:lnTo>
                    <a:pt x="132" y="243"/>
                  </a:lnTo>
                  <a:lnTo>
                    <a:pt x="131" y="243"/>
                  </a:lnTo>
                  <a:lnTo>
                    <a:pt x="134" y="242"/>
                  </a:lnTo>
                  <a:lnTo>
                    <a:pt x="131" y="240"/>
                  </a:lnTo>
                  <a:lnTo>
                    <a:pt x="129" y="242"/>
                  </a:lnTo>
                  <a:lnTo>
                    <a:pt x="129" y="240"/>
                  </a:lnTo>
                  <a:lnTo>
                    <a:pt x="127" y="242"/>
                  </a:lnTo>
                  <a:lnTo>
                    <a:pt x="126" y="240"/>
                  </a:lnTo>
                  <a:lnTo>
                    <a:pt x="127" y="238"/>
                  </a:lnTo>
                  <a:lnTo>
                    <a:pt x="129" y="240"/>
                  </a:lnTo>
                  <a:lnTo>
                    <a:pt x="129" y="238"/>
                  </a:lnTo>
                  <a:lnTo>
                    <a:pt x="131" y="235"/>
                  </a:lnTo>
                  <a:lnTo>
                    <a:pt x="131" y="236"/>
                  </a:lnTo>
                  <a:lnTo>
                    <a:pt x="131" y="235"/>
                  </a:lnTo>
                  <a:lnTo>
                    <a:pt x="131" y="233"/>
                  </a:lnTo>
                  <a:lnTo>
                    <a:pt x="132" y="231"/>
                  </a:lnTo>
                  <a:lnTo>
                    <a:pt x="136" y="233"/>
                  </a:lnTo>
                  <a:lnTo>
                    <a:pt x="136" y="235"/>
                  </a:lnTo>
                  <a:lnTo>
                    <a:pt x="138" y="236"/>
                  </a:lnTo>
                  <a:lnTo>
                    <a:pt x="139" y="236"/>
                  </a:lnTo>
                  <a:lnTo>
                    <a:pt x="141" y="236"/>
                  </a:lnTo>
                  <a:lnTo>
                    <a:pt x="143" y="236"/>
                  </a:lnTo>
                  <a:lnTo>
                    <a:pt x="143" y="235"/>
                  </a:lnTo>
                  <a:lnTo>
                    <a:pt x="141" y="235"/>
                  </a:lnTo>
                  <a:lnTo>
                    <a:pt x="139" y="236"/>
                  </a:lnTo>
                  <a:lnTo>
                    <a:pt x="138" y="235"/>
                  </a:lnTo>
                  <a:lnTo>
                    <a:pt x="138" y="231"/>
                  </a:lnTo>
                  <a:lnTo>
                    <a:pt x="136" y="231"/>
                  </a:lnTo>
                  <a:lnTo>
                    <a:pt x="134" y="230"/>
                  </a:lnTo>
                  <a:lnTo>
                    <a:pt x="134" y="228"/>
                  </a:lnTo>
                  <a:lnTo>
                    <a:pt x="136" y="228"/>
                  </a:lnTo>
                  <a:lnTo>
                    <a:pt x="136" y="226"/>
                  </a:lnTo>
                  <a:lnTo>
                    <a:pt x="138" y="226"/>
                  </a:lnTo>
                  <a:lnTo>
                    <a:pt x="141" y="226"/>
                  </a:lnTo>
                  <a:lnTo>
                    <a:pt x="143" y="226"/>
                  </a:lnTo>
                  <a:lnTo>
                    <a:pt x="143" y="228"/>
                  </a:lnTo>
                  <a:lnTo>
                    <a:pt x="144" y="230"/>
                  </a:lnTo>
                  <a:lnTo>
                    <a:pt x="148" y="230"/>
                  </a:lnTo>
                  <a:lnTo>
                    <a:pt x="148" y="228"/>
                  </a:lnTo>
                  <a:lnTo>
                    <a:pt x="149" y="230"/>
                  </a:lnTo>
                  <a:lnTo>
                    <a:pt x="148" y="228"/>
                  </a:lnTo>
                  <a:lnTo>
                    <a:pt x="146" y="230"/>
                  </a:lnTo>
                  <a:lnTo>
                    <a:pt x="144" y="228"/>
                  </a:lnTo>
                  <a:lnTo>
                    <a:pt x="144" y="226"/>
                  </a:lnTo>
                  <a:lnTo>
                    <a:pt x="143" y="225"/>
                  </a:lnTo>
                  <a:lnTo>
                    <a:pt x="139" y="225"/>
                  </a:lnTo>
                  <a:lnTo>
                    <a:pt x="139" y="223"/>
                  </a:lnTo>
                  <a:lnTo>
                    <a:pt x="139" y="221"/>
                  </a:lnTo>
                  <a:lnTo>
                    <a:pt x="143" y="219"/>
                  </a:lnTo>
                  <a:lnTo>
                    <a:pt x="141" y="219"/>
                  </a:lnTo>
                  <a:lnTo>
                    <a:pt x="143" y="218"/>
                  </a:lnTo>
                  <a:lnTo>
                    <a:pt x="144" y="218"/>
                  </a:lnTo>
                  <a:lnTo>
                    <a:pt x="146" y="216"/>
                  </a:lnTo>
                  <a:lnTo>
                    <a:pt x="148" y="219"/>
                  </a:lnTo>
                  <a:lnTo>
                    <a:pt x="149" y="221"/>
                  </a:lnTo>
                  <a:lnTo>
                    <a:pt x="151" y="221"/>
                  </a:lnTo>
                  <a:lnTo>
                    <a:pt x="149" y="219"/>
                  </a:lnTo>
                  <a:lnTo>
                    <a:pt x="148" y="218"/>
                  </a:lnTo>
                  <a:lnTo>
                    <a:pt x="148" y="216"/>
                  </a:lnTo>
                  <a:lnTo>
                    <a:pt x="149" y="214"/>
                  </a:lnTo>
                  <a:lnTo>
                    <a:pt x="151" y="214"/>
                  </a:lnTo>
                  <a:lnTo>
                    <a:pt x="149" y="214"/>
                  </a:lnTo>
                  <a:lnTo>
                    <a:pt x="148" y="216"/>
                  </a:lnTo>
                  <a:lnTo>
                    <a:pt x="146" y="216"/>
                  </a:lnTo>
                  <a:lnTo>
                    <a:pt x="144" y="216"/>
                  </a:lnTo>
                  <a:lnTo>
                    <a:pt x="143" y="214"/>
                  </a:lnTo>
                  <a:lnTo>
                    <a:pt x="141" y="214"/>
                  </a:lnTo>
                  <a:lnTo>
                    <a:pt x="139" y="214"/>
                  </a:lnTo>
                  <a:lnTo>
                    <a:pt x="141" y="213"/>
                  </a:lnTo>
                  <a:lnTo>
                    <a:pt x="143" y="213"/>
                  </a:lnTo>
                  <a:lnTo>
                    <a:pt x="143" y="211"/>
                  </a:lnTo>
                  <a:lnTo>
                    <a:pt x="144" y="211"/>
                  </a:lnTo>
                  <a:lnTo>
                    <a:pt x="143" y="211"/>
                  </a:lnTo>
                  <a:lnTo>
                    <a:pt x="146" y="211"/>
                  </a:lnTo>
                  <a:lnTo>
                    <a:pt x="148" y="211"/>
                  </a:lnTo>
                  <a:lnTo>
                    <a:pt x="149" y="209"/>
                  </a:lnTo>
                  <a:lnTo>
                    <a:pt x="151" y="209"/>
                  </a:lnTo>
                  <a:lnTo>
                    <a:pt x="153" y="207"/>
                  </a:lnTo>
                  <a:lnTo>
                    <a:pt x="151" y="207"/>
                  </a:lnTo>
                  <a:lnTo>
                    <a:pt x="149" y="209"/>
                  </a:lnTo>
                  <a:lnTo>
                    <a:pt x="148" y="211"/>
                  </a:lnTo>
                  <a:lnTo>
                    <a:pt x="146" y="211"/>
                  </a:lnTo>
                  <a:lnTo>
                    <a:pt x="146" y="209"/>
                  </a:lnTo>
                  <a:lnTo>
                    <a:pt x="144" y="209"/>
                  </a:lnTo>
                  <a:lnTo>
                    <a:pt x="146" y="207"/>
                  </a:lnTo>
                  <a:lnTo>
                    <a:pt x="146" y="206"/>
                  </a:lnTo>
                  <a:lnTo>
                    <a:pt x="144" y="207"/>
                  </a:lnTo>
                  <a:lnTo>
                    <a:pt x="143" y="207"/>
                  </a:lnTo>
                  <a:lnTo>
                    <a:pt x="141" y="209"/>
                  </a:lnTo>
                  <a:lnTo>
                    <a:pt x="138" y="209"/>
                  </a:lnTo>
                  <a:lnTo>
                    <a:pt x="138" y="207"/>
                  </a:lnTo>
                  <a:lnTo>
                    <a:pt x="138" y="206"/>
                  </a:lnTo>
                  <a:lnTo>
                    <a:pt x="138" y="204"/>
                  </a:lnTo>
                  <a:lnTo>
                    <a:pt x="139" y="202"/>
                  </a:lnTo>
                  <a:lnTo>
                    <a:pt x="138" y="202"/>
                  </a:lnTo>
                  <a:lnTo>
                    <a:pt x="138" y="201"/>
                  </a:lnTo>
                  <a:lnTo>
                    <a:pt x="138" y="197"/>
                  </a:lnTo>
                  <a:lnTo>
                    <a:pt x="139" y="197"/>
                  </a:lnTo>
                  <a:lnTo>
                    <a:pt x="139" y="196"/>
                  </a:lnTo>
                  <a:lnTo>
                    <a:pt x="139" y="194"/>
                  </a:lnTo>
                  <a:lnTo>
                    <a:pt x="141" y="192"/>
                  </a:lnTo>
                  <a:lnTo>
                    <a:pt x="143" y="196"/>
                  </a:lnTo>
                  <a:lnTo>
                    <a:pt x="144" y="197"/>
                  </a:lnTo>
                  <a:lnTo>
                    <a:pt x="144" y="196"/>
                  </a:lnTo>
                  <a:lnTo>
                    <a:pt x="144" y="197"/>
                  </a:lnTo>
                  <a:lnTo>
                    <a:pt x="146" y="199"/>
                  </a:lnTo>
                  <a:lnTo>
                    <a:pt x="146" y="197"/>
                  </a:lnTo>
                  <a:lnTo>
                    <a:pt x="148" y="199"/>
                  </a:lnTo>
                  <a:lnTo>
                    <a:pt x="148" y="197"/>
                  </a:lnTo>
                  <a:lnTo>
                    <a:pt x="151" y="199"/>
                  </a:lnTo>
                  <a:lnTo>
                    <a:pt x="151" y="197"/>
                  </a:lnTo>
                  <a:lnTo>
                    <a:pt x="149" y="197"/>
                  </a:lnTo>
                  <a:lnTo>
                    <a:pt x="146" y="197"/>
                  </a:lnTo>
                  <a:lnTo>
                    <a:pt x="144" y="196"/>
                  </a:lnTo>
                  <a:lnTo>
                    <a:pt x="146" y="194"/>
                  </a:lnTo>
                  <a:lnTo>
                    <a:pt x="144" y="194"/>
                  </a:lnTo>
                  <a:lnTo>
                    <a:pt x="144" y="190"/>
                  </a:lnTo>
                  <a:lnTo>
                    <a:pt x="141" y="189"/>
                  </a:lnTo>
                  <a:lnTo>
                    <a:pt x="143" y="187"/>
                  </a:lnTo>
                  <a:lnTo>
                    <a:pt x="144" y="187"/>
                  </a:lnTo>
                  <a:lnTo>
                    <a:pt x="144" y="185"/>
                  </a:lnTo>
                  <a:lnTo>
                    <a:pt x="146" y="185"/>
                  </a:lnTo>
                  <a:lnTo>
                    <a:pt x="148" y="187"/>
                  </a:lnTo>
                  <a:lnTo>
                    <a:pt x="148" y="185"/>
                  </a:lnTo>
                  <a:lnTo>
                    <a:pt x="148" y="184"/>
                  </a:lnTo>
                  <a:lnTo>
                    <a:pt x="146" y="184"/>
                  </a:lnTo>
                  <a:lnTo>
                    <a:pt x="144" y="182"/>
                  </a:lnTo>
                  <a:lnTo>
                    <a:pt x="144" y="179"/>
                  </a:lnTo>
                  <a:lnTo>
                    <a:pt x="144" y="177"/>
                  </a:lnTo>
                  <a:lnTo>
                    <a:pt x="144" y="173"/>
                  </a:lnTo>
                  <a:lnTo>
                    <a:pt x="148" y="173"/>
                  </a:lnTo>
                  <a:lnTo>
                    <a:pt x="149" y="175"/>
                  </a:lnTo>
                  <a:lnTo>
                    <a:pt x="149" y="177"/>
                  </a:lnTo>
                  <a:lnTo>
                    <a:pt x="149" y="179"/>
                  </a:lnTo>
                  <a:lnTo>
                    <a:pt x="151" y="182"/>
                  </a:lnTo>
                  <a:lnTo>
                    <a:pt x="151" y="180"/>
                  </a:lnTo>
                  <a:lnTo>
                    <a:pt x="153" y="180"/>
                  </a:lnTo>
                  <a:lnTo>
                    <a:pt x="153" y="177"/>
                  </a:lnTo>
                  <a:lnTo>
                    <a:pt x="151" y="175"/>
                  </a:lnTo>
                  <a:lnTo>
                    <a:pt x="151" y="173"/>
                  </a:lnTo>
                  <a:lnTo>
                    <a:pt x="153" y="172"/>
                  </a:lnTo>
                  <a:lnTo>
                    <a:pt x="155" y="172"/>
                  </a:lnTo>
                  <a:lnTo>
                    <a:pt x="156" y="172"/>
                  </a:lnTo>
                  <a:lnTo>
                    <a:pt x="155" y="175"/>
                  </a:lnTo>
                  <a:lnTo>
                    <a:pt x="158" y="177"/>
                  </a:lnTo>
                  <a:lnTo>
                    <a:pt x="160" y="177"/>
                  </a:lnTo>
                  <a:lnTo>
                    <a:pt x="160" y="173"/>
                  </a:lnTo>
                  <a:lnTo>
                    <a:pt x="161" y="175"/>
                  </a:lnTo>
                  <a:lnTo>
                    <a:pt x="163" y="177"/>
                  </a:lnTo>
                  <a:lnTo>
                    <a:pt x="165" y="179"/>
                  </a:lnTo>
                  <a:lnTo>
                    <a:pt x="166" y="180"/>
                  </a:lnTo>
                  <a:lnTo>
                    <a:pt x="166" y="179"/>
                  </a:lnTo>
                  <a:lnTo>
                    <a:pt x="163" y="177"/>
                  </a:lnTo>
                  <a:lnTo>
                    <a:pt x="163" y="175"/>
                  </a:lnTo>
                  <a:lnTo>
                    <a:pt x="161" y="173"/>
                  </a:lnTo>
                  <a:lnTo>
                    <a:pt x="161" y="172"/>
                  </a:lnTo>
                  <a:lnTo>
                    <a:pt x="163" y="172"/>
                  </a:lnTo>
                  <a:lnTo>
                    <a:pt x="163" y="173"/>
                  </a:lnTo>
                  <a:lnTo>
                    <a:pt x="165" y="175"/>
                  </a:lnTo>
                  <a:lnTo>
                    <a:pt x="166" y="175"/>
                  </a:lnTo>
                  <a:lnTo>
                    <a:pt x="168" y="175"/>
                  </a:lnTo>
                  <a:lnTo>
                    <a:pt x="168" y="177"/>
                  </a:lnTo>
                  <a:lnTo>
                    <a:pt x="170" y="179"/>
                  </a:lnTo>
                  <a:lnTo>
                    <a:pt x="172" y="180"/>
                  </a:lnTo>
                  <a:lnTo>
                    <a:pt x="172" y="182"/>
                  </a:lnTo>
                  <a:lnTo>
                    <a:pt x="172" y="184"/>
                  </a:lnTo>
                  <a:lnTo>
                    <a:pt x="172" y="182"/>
                  </a:lnTo>
                  <a:lnTo>
                    <a:pt x="172" y="180"/>
                  </a:lnTo>
                  <a:lnTo>
                    <a:pt x="172" y="179"/>
                  </a:lnTo>
                  <a:lnTo>
                    <a:pt x="170" y="177"/>
                  </a:lnTo>
                  <a:lnTo>
                    <a:pt x="168" y="175"/>
                  </a:lnTo>
                  <a:lnTo>
                    <a:pt x="170" y="173"/>
                  </a:lnTo>
                  <a:lnTo>
                    <a:pt x="170" y="172"/>
                  </a:lnTo>
                  <a:lnTo>
                    <a:pt x="170" y="173"/>
                  </a:lnTo>
                  <a:lnTo>
                    <a:pt x="170" y="172"/>
                  </a:lnTo>
                  <a:lnTo>
                    <a:pt x="168" y="172"/>
                  </a:lnTo>
                  <a:lnTo>
                    <a:pt x="165" y="170"/>
                  </a:lnTo>
                  <a:lnTo>
                    <a:pt x="165" y="168"/>
                  </a:lnTo>
                  <a:lnTo>
                    <a:pt x="165" y="167"/>
                  </a:lnTo>
                  <a:lnTo>
                    <a:pt x="161" y="165"/>
                  </a:lnTo>
                  <a:lnTo>
                    <a:pt x="163" y="163"/>
                  </a:lnTo>
                  <a:lnTo>
                    <a:pt x="161" y="162"/>
                  </a:lnTo>
                  <a:lnTo>
                    <a:pt x="163" y="160"/>
                  </a:lnTo>
                  <a:lnTo>
                    <a:pt x="165" y="162"/>
                  </a:lnTo>
                  <a:lnTo>
                    <a:pt x="165" y="165"/>
                  </a:lnTo>
                  <a:lnTo>
                    <a:pt x="166" y="163"/>
                  </a:lnTo>
                  <a:lnTo>
                    <a:pt x="166" y="165"/>
                  </a:lnTo>
                  <a:lnTo>
                    <a:pt x="168" y="162"/>
                  </a:lnTo>
                  <a:lnTo>
                    <a:pt x="168" y="160"/>
                  </a:lnTo>
                  <a:lnTo>
                    <a:pt x="170" y="160"/>
                  </a:lnTo>
                  <a:lnTo>
                    <a:pt x="168" y="160"/>
                  </a:lnTo>
                  <a:lnTo>
                    <a:pt x="170" y="160"/>
                  </a:lnTo>
                  <a:lnTo>
                    <a:pt x="168" y="158"/>
                  </a:lnTo>
                  <a:lnTo>
                    <a:pt x="170" y="158"/>
                  </a:lnTo>
                  <a:lnTo>
                    <a:pt x="168" y="158"/>
                  </a:lnTo>
                  <a:lnTo>
                    <a:pt x="168" y="156"/>
                  </a:lnTo>
                  <a:lnTo>
                    <a:pt x="166" y="153"/>
                  </a:lnTo>
                  <a:lnTo>
                    <a:pt x="166" y="151"/>
                  </a:lnTo>
                  <a:lnTo>
                    <a:pt x="166" y="150"/>
                  </a:lnTo>
                  <a:lnTo>
                    <a:pt x="168" y="151"/>
                  </a:lnTo>
                  <a:lnTo>
                    <a:pt x="168" y="153"/>
                  </a:lnTo>
                  <a:lnTo>
                    <a:pt x="172" y="151"/>
                  </a:lnTo>
                  <a:lnTo>
                    <a:pt x="172" y="153"/>
                  </a:lnTo>
                  <a:lnTo>
                    <a:pt x="173" y="151"/>
                  </a:lnTo>
                  <a:lnTo>
                    <a:pt x="175" y="153"/>
                  </a:lnTo>
                  <a:lnTo>
                    <a:pt x="175" y="151"/>
                  </a:lnTo>
                  <a:lnTo>
                    <a:pt x="177" y="153"/>
                  </a:lnTo>
                  <a:lnTo>
                    <a:pt x="177" y="151"/>
                  </a:lnTo>
                  <a:lnTo>
                    <a:pt x="178" y="153"/>
                  </a:lnTo>
                  <a:lnTo>
                    <a:pt x="180" y="153"/>
                  </a:lnTo>
                  <a:lnTo>
                    <a:pt x="180" y="155"/>
                  </a:lnTo>
                  <a:lnTo>
                    <a:pt x="182" y="156"/>
                  </a:lnTo>
                  <a:lnTo>
                    <a:pt x="182" y="155"/>
                  </a:lnTo>
                  <a:lnTo>
                    <a:pt x="180" y="153"/>
                  </a:lnTo>
                  <a:lnTo>
                    <a:pt x="183" y="153"/>
                  </a:lnTo>
                  <a:lnTo>
                    <a:pt x="182" y="153"/>
                  </a:lnTo>
                  <a:lnTo>
                    <a:pt x="180" y="153"/>
                  </a:lnTo>
                  <a:lnTo>
                    <a:pt x="178" y="151"/>
                  </a:lnTo>
                  <a:lnTo>
                    <a:pt x="177" y="150"/>
                  </a:lnTo>
                  <a:lnTo>
                    <a:pt x="177" y="148"/>
                  </a:lnTo>
                  <a:lnTo>
                    <a:pt x="175" y="148"/>
                  </a:lnTo>
                  <a:lnTo>
                    <a:pt x="175" y="146"/>
                  </a:lnTo>
                  <a:lnTo>
                    <a:pt x="177" y="146"/>
                  </a:lnTo>
                  <a:lnTo>
                    <a:pt x="177" y="145"/>
                  </a:lnTo>
                  <a:lnTo>
                    <a:pt x="177" y="143"/>
                  </a:lnTo>
                  <a:lnTo>
                    <a:pt x="178" y="141"/>
                  </a:lnTo>
                  <a:lnTo>
                    <a:pt x="180" y="143"/>
                  </a:lnTo>
                  <a:lnTo>
                    <a:pt x="182" y="145"/>
                  </a:lnTo>
                  <a:lnTo>
                    <a:pt x="180" y="145"/>
                  </a:lnTo>
                  <a:lnTo>
                    <a:pt x="182" y="145"/>
                  </a:lnTo>
                  <a:lnTo>
                    <a:pt x="180" y="143"/>
                  </a:lnTo>
                  <a:lnTo>
                    <a:pt x="182" y="143"/>
                  </a:lnTo>
                  <a:lnTo>
                    <a:pt x="180" y="141"/>
                  </a:lnTo>
                  <a:lnTo>
                    <a:pt x="180" y="143"/>
                  </a:lnTo>
                  <a:lnTo>
                    <a:pt x="178" y="141"/>
                  </a:lnTo>
                  <a:lnTo>
                    <a:pt x="180" y="141"/>
                  </a:lnTo>
                  <a:lnTo>
                    <a:pt x="178" y="141"/>
                  </a:lnTo>
                  <a:lnTo>
                    <a:pt x="180" y="139"/>
                  </a:lnTo>
                  <a:lnTo>
                    <a:pt x="182" y="139"/>
                  </a:lnTo>
                  <a:lnTo>
                    <a:pt x="183" y="141"/>
                  </a:lnTo>
                  <a:lnTo>
                    <a:pt x="183" y="139"/>
                  </a:lnTo>
                  <a:lnTo>
                    <a:pt x="180" y="139"/>
                  </a:lnTo>
                  <a:lnTo>
                    <a:pt x="182" y="139"/>
                  </a:lnTo>
                  <a:lnTo>
                    <a:pt x="180" y="136"/>
                  </a:lnTo>
                  <a:lnTo>
                    <a:pt x="180" y="134"/>
                  </a:lnTo>
                  <a:lnTo>
                    <a:pt x="183" y="133"/>
                  </a:lnTo>
                  <a:lnTo>
                    <a:pt x="185" y="131"/>
                  </a:lnTo>
                  <a:lnTo>
                    <a:pt x="185" y="128"/>
                  </a:lnTo>
                  <a:lnTo>
                    <a:pt x="189" y="129"/>
                  </a:lnTo>
                  <a:lnTo>
                    <a:pt x="190" y="129"/>
                  </a:lnTo>
                  <a:lnTo>
                    <a:pt x="192" y="131"/>
                  </a:lnTo>
                  <a:lnTo>
                    <a:pt x="192" y="134"/>
                  </a:lnTo>
                  <a:lnTo>
                    <a:pt x="190" y="136"/>
                  </a:lnTo>
                  <a:lnTo>
                    <a:pt x="192" y="136"/>
                  </a:lnTo>
                  <a:lnTo>
                    <a:pt x="190" y="138"/>
                  </a:lnTo>
                  <a:lnTo>
                    <a:pt x="194" y="134"/>
                  </a:lnTo>
                  <a:lnTo>
                    <a:pt x="192" y="134"/>
                  </a:lnTo>
                  <a:lnTo>
                    <a:pt x="194" y="133"/>
                  </a:lnTo>
                  <a:lnTo>
                    <a:pt x="194" y="131"/>
                  </a:lnTo>
                  <a:lnTo>
                    <a:pt x="195" y="134"/>
                  </a:lnTo>
                  <a:lnTo>
                    <a:pt x="197" y="136"/>
                  </a:lnTo>
                  <a:lnTo>
                    <a:pt x="197" y="138"/>
                  </a:lnTo>
                  <a:lnTo>
                    <a:pt x="194" y="139"/>
                  </a:lnTo>
                  <a:lnTo>
                    <a:pt x="192" y="141"/>
                  </a:lnTo>
                  <a:lnTo>
                    <a:pt x="192" y="143"/>
                  </a:lnTo>
                  <a:lnTo>
                    <a:pt x="195" y="141"/>
                  </a:lnTo>
                  <a:lnTo>
                    <a:pt x="197" y="138"/>
                  </a:lnTo>
                  <a:lnTo>
                    <a:pt x="199" y="138"/>
                  </a:lnTo>
                  <a:lnTo>
                    <a:pt x="200" y="134"/>
                  </a:lnTo>
                  <a:lnTo>
                    <a:pt x="202" y="134"/>
                  </a:lnTo>
                  <a:lnTo>
                    <a:pt x="204" y="136"/>
                  </a:lnTo>
                  <a:lnTo>
                    <a:pt x="204" y="138"/>
                  </a:lnTo>
                  <a:lnTo>
                    <a:pt x="206" y="138"/>
                  </a:lnTo>
                  <a:lnTo>
                    <a:pt x="206" y="139"/>
                  </a:lnTo>
                  <a:lnTo>
                    <a:pt x="204" y="141"/>
                  </a:lnTo>
                  <a:lnTo>
                    <a:pt x="202" y="143"/>
                  </a:lnTo>
                  <a:lnTo>
                    <a:pt x="202" y="145"/>
                  </a:lnTo>
                  <a:lnTo>
                    <a:pt x="204" y="143"/>
                  </a:lnTo>
                  <a:lnTo>
                    <a:pt x="204" y="141"/>
                  </a:lnTo>
                  <a:lnTo>
                    <a:pt x="207" y="141"/>
                  </a:lnTo>
                  <a:lnTo>
                    <a:pt x="207" y="139"/>
                  </a:lnTo>
                  <a:lnTo>
                    <a:pt x="211" y="139"/>
                  </a:lnTo>
                  <a:lnTo>
                    <a:pt x="211" y="141"/>
                  </a:lnTo>
                  <a:lnTo>
                    <a:pt x="212" y="141"/>
                  </a:lnTo>
                  <a:lnTo>
                    <a:pt x="212" y="139"/>
                  </a:lnTo>
                  <a:lnTo>
                    <a:pt x="214" y="139"/>
                  </a:lnTo>
                  <a:lnTo>
                    <a:pt x="216" y="138"/>
                  </a:lnTo>
                  <a:lnTo>
                    <a:pt x="217" y="139"/>
                  </a:lnTo>
                  <a:lnTo>
                    <a:pt x="219" y="138"/>
                  </a:lnTo>
                  <a:lnTo>
                    <a:pt x="221" y="136"/>
                  </a:lnTo>
                  <a:lnTo>
                    <a:pt x="221" y="139"/>
                  </a:lnTo>
                  <a:lnTo>
                    <a:pt x="224" y="139"/>
                  </a:lnTo>
                  <a:lnTo>
                    <a:pt x="224" y="141"/>
                  </a:lnTo>
                  <a:lnTo>
                    <a:pt x="224" y="139"/>
                  </a:lnTo>
                  <a:lnTo>
                    <a:pt x="226" y="141"/>
                  </a:lnTo>
                  <a:lnTo>
                    <a:pt x="228" y="139"/>
                  </a:lnTo>
                  <a:lnTo>
                    <a:pt x="229" y="141"/>
                  </a:lnTo>
                  <a:lnTo>
                    <a:pt x="231" y="139"/>
                  </a:lnTo>
                  <a:lnTo>
                    <a:pt x="233" y="139"/>
                  </a:lnTo>
                  <a:lnTo>
                    <a:pt x="234" y="138"/>
                  </a:lnTo>
                  <a:lnTo>
                    <a:pt x="236" y="139"/>
                  </a:lnTo>
                  <a:lnTo>
                    <a:pt x="238" y="138"/>
                  </a:lnTo>
                  <a:lnTo>
                    <a:pt x="238" y="141"/>
                  </a:lnTo>
                  <a:lnTo>
                    <a:pt x="241" y="139"/>
                  </a:lnTo>
                  <a:lnTo>
                    <a:pt x="241" y="141"/>
                  </a:lnTo>
                  <a:lnTo>
                    <a:pt x="245" y="141"/>
                  </a:lnTo>
                  <a:lnTo>
                    <a:pt x="245" y="139"/>
                  </a:lnTo>
                  <a:lnTo>
                    <a:pt x="243" y="138"/>
                  </a:lnTo>
                  <a:lnTo>
                    <a:pt x="245" y="136"/>
                  </a:lnTo>
                  <a:close/>
                  <a:moveTo>
                    <a:pt x="70" y="427"/>
                  </a:moveTo>
                  <a:lnTo>
                    <a:pt x="70" y="425"/>
                  </a:lnTo>
                  <a:lnTo>
                    <a:pt x="68" y="427"/>
                  </a:lnTo>
                  <a:lnTo>
                    <a:pt x="66" y="425"/>
                  </a:lnTo>
                  <a:lnTo>
                    <a:pt x="66" y="429"/>
                  </a:lnTo>
                  <a:lnTo>
                    <a:pt x="65" y="429"/>
                  </a:lnTo>
                  <a:lnTo>
                    <a:pt x="63" y="429"/>
                  </a:lnTo>
                  <a:lnTo>
                    <a:pt x="61" y="427"/>
                  </a:lnTo>
                  <a:lnTo>
                    <a:pt x="59" y="429"/>
                  </a:lnTo>
                  <a:lnTo>
                    <a:pt x="56" y="427"/>
                  </a:lnTo>
                  <a:lnTo>
                    <a:pt x="54" y="429"/>
                  </a:lnTo>
                  <a:lnTo>
                    <a:pt x="54" y="425"/>
                  </a:lnTo>
                  <a:lnTo>
                    <a:pt x="53" y="425"/>
                  </a:lnTo>
                  <a:lnTo>
                    <a:pt x="54" y="424"/>
                  </a:lnTo>
                  <a:lnTo>
                    <a:pt x="54" y="422"/>
                  </a:lnTo>
                  <a:lnTo>
                    <a:pt x="56" y="420"/>
                  </a:lnTo>
                  <a:lnTo>
                    <a:pt x="56" y="418"/>
                  </a:lnTo>
                  <a:lnTo>
                    <a:pt x="54" y="417"/>
                  </a:lnTo>
                  <a:lnTo>
                    <a:pt x="53" y="417"/>
                  </a:lnTo>
                  <a:lnTo>
                    <a:pt x="51" y="415"/>
                  </a:lnTo>
                  <a:lnTo>
                    <a:pt x="49" y="413"/>
                  </a:lnTo>
                  <a:lnTo>
                    <a:pt x="51" y="412"/>
                  </a:lnTo>
                  <a:lnTo>
                    <a:pt x="49" y="410"/>
                  </a:lnTo>
                  <a:lnTo>
                    <a:pt x="49" y="408"/>
                  </a:lnTo>
                  <a:lnTo>
                    <a:pt x="49" y="405"/>
                  </a:lnTo>
                  <a:lnTo>
                    <a:pt x="48" y="401"/>
                  </a:lnTo>
                  <a:lnTo>
                    <a:pt x="46" y="400"/>
                  </a:lnTo>
                  <a:lnTo>
                    <a:pt x="44" y="398"/>
                  </a:lnTo>
                  <a:lnTo>
                    <a:pt x="42" y="400"/>
                  </a:lnTo>
                  <a:lnTo>
                    <a:pt x="41" y="401"/>
                  </a:lnTo>
                  <a:lnTo>
                    <a:pt x="39" y="403"/>
                  </a:lnTo>
                  <a:lnTo>
                    <a:pt x="37" y="401"/>
                  </a:lnTo>
                  <a:lnTo>
                    <a:pt x="37" y="405"/>
                  </a:lnTo>
                  <a:lnTo>
                    <a:pt x="36" y="405"/>
                  </a:lnTo>
                  <a:lnTo>
                    <a:pt x="37" y="407"/>
                  </a:lnTo>
                  <a:lnTo>
                    <a:pt x="36" y="407"/>
                  </a:lnTo>
                  <a:lnTo>
                    <a:pt x="37" y="408"/>
                  </a:lnTo>
                  <a:lnTo>
                    <a:pt x="37" y="410"/>
                  </a:lnTo>
                  <a:lnTo>
                    <a:pt x="36" y="410"/>
                  </a:lnTo>
                  <a:lnTo>
                    <a:pt x="32" y="410"/>
                  </a:lnTo>
                  <a:lnTo>
                    <a:pt x="32" y="412"/>
                  </a:lnTo>
                  <a:lnTo>
                    <a:pt x="32" y="413"/>
                  </a:lnTo>
                  <a:lnTo>
                    <a:pt x="31" y="417"/>
                  </a:lnTo>
                  <a:lnTo>
                    <a:pt x="29" y="415"/>
                  </a:lnTo>
                  <a:lnTo>
                    <a:pt x="31" y="415"/>
                  </a:lnTo>
                  <a:lnTo>
                    <a:pt x="31" y="412"/>
                  </a:lnTo>
                  <a:lnTo>
                    <a:pt x="27" y="413"/>
                  </a:lnTo>
                  <a:lnTo>
                    <a:pt x="29" y="415"/>
                  </a:lnTo>
                  <a:lnTo>
                    <a:pt x="29" y="417"/>
                  </a:lnTo>
                  <a:lnTo>
                    <a:pt x="27" y="415"/>
                  </a:lnTo>
                  <a:lnTo>
                    <a:pt x="25" y="415"/>
                  </a:lnTo>
                  <a:lnTo>
                    <a:pt x="27" y="413"/>
                  </a:lnTo>
                  <a:lnTo>
                    <a:pt x="24" y="413"/>
                  </a:lnTo>
                  <a:lnTo>
                    <a:pt x="25" y="412"/>
                  </a:lnTo>
                  <a:lnTo>
                    <a:pt x="24" y="412"/>
                  </a:lnTo>
                  <a:lnTo>
                    <a:pt x="22" y="413"/>
                  </a:lnTo>
                  <a:lnTo>
                    <a:pt x="20" y="413"/>
                  </a:lnTo>
                  <a:lnTo>
                    <a:pt x="19" y="413"/>
                  </a:lnTo>
                  <a:lnTo>
                    <a:pt x="17" y="412"/>
                  </a:lnTo>
                  <a:lnTo>
                    <a:pt x="17" y="410"/>
                  </a:lnTo>
                  <a:lnTo>
                    <a:pt x="15" y="408"/>
                  </a:lnTo>
                  <a:lnTo>
                    <a:pt x="15" y="407"/>
                  </a:lnTo>
                  <a:lnTo>
                    <a:pt x="14" y="407"/>
                  </a:lnTo>
                  <a:lnTo>
                    <a:pt x="12" y="405"/>
                  </a:lnTo>
                  <a:lnTo>
                    <a:pt x="10" y="405"/>
                  </a:lnTo>
                  <a:lnTo>
                    <a:pt x="8" y="403"/>
                  </a:lnTo>
                  <a:lnTo>
                    <a:pt x="8" y="401"/>
                  </a:lnTo>
                  <a:lnTo>
                    <a:pt x="8" y="400"/>
                  </a:lnTo>
                  <a:lnTo>
                    <a:pt x="10" y="398"/>
                  </a:lnTo>
                  <a:lnTo>
                    <a:pt x="8" y="398"/>
                  </a:lnTo>
                  <a:lnTo>
                    <a:pt x="7" y="396"/>
                  </a:lnTo>
                  <a:lnTo>
                    <a:pt x="5" y="395"/>
                  </a:lnTo>
                  <a:lnTo>
                    <a:pt x="5" y="393"/>
                  </a:lnTo>
                  <a:lnTo>
                    <a:pt x="3" y="391"/>
                  </a:lnTo>
                  <a:lnTo>
                    <a:pt x="3" y="390"/>
                  </a:lnTo>
                  <a:lnTo>
                    <a:pt x="2" y="388"/>
                  </a:lnTo>
                  <a:lnTo>
                    <a:pt x="0" y="386"/>
                  </a:lnTo>
                  <a:lnTo>
                    <a:pt x="2" y="384"/>
                  </a:lnTo>
                  <a:lnTo>
                    <a:pt x="0" y="384"/>
                  </a:lnTo>
                  <a:lnTo>
                    <a:pt x="3" y="384"/>
                  </a:lnTo>
                  <a:lnTo>
                    <a:pt x="3" y="383"/>
                  </a:lnTo>
                  <a:lnTo>
                    <a:pt x="7" y="384"/>
                  </a:lnTo>
                  <a:lnTo>
                    <a:pt x="7" y="383"/>
                  </a:lnTo>
                  <a:lnTo>
                    <a:pt x="8" y="379"/>
                  </a:lnTo>
                  <a:lnTo>
                    <a:pt x="10" y="381"/>
                  </a:lnTo>
                  <a:lnTo>
                    <a:pt x="12" y="381"/>
                  </a:lnTo>
                  <a:lnTo>
                    <a:pt x="14" y="383"/>
                  </a:lnTo>
                  <a:lnTo>
                    <a:pt x="15" y="383"/>
                  </a:lnTo>
                  <a:lnTo>
                    <a:pt x="17" y="379"/>
                  </a:lnTo>
                  <a:lnTo>
                    <a:pt x="19" y="379"/>
                  </a:lnTo>
                  <a:lnTo>
                    <a:pt x="22" y="379"/>
                  </a:lnTo>
                  <a:lnTo>
                    <a:pt x="22" y="378"/>
                  </a:lnTo>
                  <a:lnTo>
                    <a:pt x="20" y="378"/>
                  </a:lnTo>
                  <a:lnTo>
                    <a:pt x="19" y="378"/>
                  </a:lnTo>
                  <a:lnTo>
                    <a:pt x="17" y="376"/>
                  </a:lnTo>
                  <a:lnTo>
                    <a:pt x="15" y="376"/>
                  </a:lnTo>
                  <a:lnTo>
                    <a:pt x="15" y="374"/>
                  </a:lnTo>
                  <a:lnTo>
                    <a:pt x="14" y="373"/>
                  </a:lnTo>
                  <a:lnTo>
                    <a:pt x="15" y="371"/>
                  </a:lnTo>
                  <a:lnTo>
                    <a:pt x="19" y="369"/>
                  </a:lnTo>
                  <a:lnTo>
                    <a:pt x="19" y="371"/>
                  </a:lnTo>
                  <a:lnTo>
                    <a:pt x="20" y="373"/>
                  </a:lnTo>
                  <a:lnTo>
                    <a:pt x="22" y="371"/>
                  </a:lnTo>
                  <a:lnTo>
                    <a:pt x="24" y="371"/>
                  </a:lnTo>
                  <a:lnTo>
                    <a:pt x="27" y="369"/>
                  </a:lnTo>
                  <a:lnTo>
                    <a:pt x="27" y="371"/>
                  </a:lnTo>
                  <a:lnTo>
                    <a:pt x="29" y="371"/>
                  </a:lnTo>
                  <a:lnTo>
                    <a:pt x="31" y="371"/>
                  </a:lnTo>
                  <a:lnTo>
                    <a:pt x="31" y="367"/>
                  </a:lnTo>
                  <a:lnTo>
                    <a:pt x="32" y="367"/>
                  </a:lnTo>
                  <a:lnTo>
                    <a:pt x="34" y="366"/>
                  </a:lnTo>
                  <a:lnTo>
                    <a:pt x="36" y="364"/>
                  </a:lnTo>
                  <a:lnTo>
                    <a:pt x="36" y="362"/>
                  </a:lnTo>
                  <a:lnTo>
                    <a:pt x="37" y="359"/>
                  </a:lnTo>
                  <a:lnTo>
                    <a:pt x="39" y="359"/>
                  </a:lnTo>
                  <a:lnTo>
                    <a:pt x="39" y="357"/>
                  </a:lnTo>
                  <a:lnTo>
                    <a:pt x="39" y="355"/>
                  </a:lnTo>
                  <a:lnTo>
                    <a:pt x="41" y="354"/>
                  </a:lnTo>
                  <a:lnTo>
                    <a:pt x="42" y="352"/>
                  </a:lnTo>
                  <a:lnTo>
                    <a:pt x="44" y="354"/>
                  </a:lnTo>
                  <a:lnTo>
                    <a:pt x="46" y="352"/>
                  </a:lnTo>
                  <a:lnTo>
                    <a:pt x="46" y="354"/>
                  </a:lnTo>
                  <a:lnTo>
                    <a:pt x="48" y="352"/>
                  </a:lnTo>
                  <a:lnTo>
                    <a:pt x="51" y="354"/>
                  </a:lnTo>
                  <a:lnTo>
                    <a:pt x="51" y="355"/>
                  </a:lnTo>
                  <a:lnTo>
                    <a:pt x="54" y="355"/>
                  </a:lnTo>
                  <a:lnTo>
                    <a:pt x="56" y="354"/>
                  </a:lnTo>
                  <a:lnTo>
                    <a:pt x="56" y="352"/>
                  </a:lnTo>
                  <a:lnTo>
                    <a:pt x="58" y="352"/>
                  </a:lnTo>
                  <a:lnTo>
                    <a:pt x="59" y="349"/>
                  </a:lnTo>
                  <a:lnTo>
                    <a:pt x="59" y="345"/>
                  </a:lnTo>
                  <a:lnTo>
                    <a:pt x="61" y="349"/>
                  </a:lnTo>
                  <a:lnTo>
                    <a:pt x="63" y="349"/>
                  </a:lnTo>
                  <a:lnTo>
                    <a:pt x="65" y="349"/>
                  </a:lnTo>
                  <a:lnTo>
                    <a:pt x="66" y="349"/>
                  </a:lnTo>
                  <a:lnTo>
                    <a:pt x="68" y="350"/>
                  </a:lnTo>
                  <a:lnTo>
                    <a:pt x="70" y="350"/>
                  </a:lnTo>
                  <a:lnTo>
                    <a:pt x="70" y="349"/>
                  </a:lnTo>
                  <a:lnTo>
                    <a:pt x="71" y="349"/>
                  </a:lnTo>
                  <a:lnTo>
                    <a:pt x="71" y="347"/>
                  </a:lnTo>
                  <a:lnTo>
                    <a:pt x="75" y="349"/>
                  </a:lnTo>
                  <a:lnTo>
                    <a:pt x="76" y="349"/>
                  </a:lnTo>
                  <a:lnTo>
                    <a:pt x="78" y="347"/>
                  </a:lnTo>
                  <a:lnTo>
                    <a:pt x="80" y="347"/>
                  </a:lnTo>
                  <a:lnTo>
                    <a:pt x="82" y="349"/>
                  </a:lnTo>
                  <a:lnTo>
                    <a:pt x="83" y="349"/>
                  </a:lnTo>
                  <a:lnTo>
                    <a:pt x="85" y="349"/>
                  </a:lnTo>
                  <a:lnTo>
                    <a:pt x="87" y="350"/>
                  </a:lnTo>
                  <a:lnTo>
                    <a:pt x="88" y="352"/>
                  </a:lnTo>
                  <a:lnTo>
                    <a:pt x="90" y="352"/>
                  </a:lnTo>
                  <a:lnTo>
                    <a:pt x="92" y="350"/>
                  </a:lnTo>
                  <a:lnTo>
                    <a:pt x="93" y="352"/>
                  </a:lnTo>
                  <a:lnTo>
                    <a:pt x="95" y="354"/>
                  </a:lnTo>
                  <a:lnTo>
                    <a:pt x="95" y="357"/>
                  </a:lnTo>
                  <a:lnTo>
                    <a:pt x="95" y="359"/>
                  </a:lnTo>
                  <a:lnTo>
                    <a:pt x="95" y="361"/>
                  </a:lnTo>
                  <a:lnTo>
                    <a:pt x="93" y="364"/>
                  </a:lnTo>
                  <a:lnTo>
                    <a:pt x="95" y="364"/>
                  </a:lnTo>
                  <a:lnTo>
                    <a:pt x="97" y="366"/>
                  </a:lnTo>
                  <a:lnTo>
                    <a:pt x="95" y="367"/>
                  </a:lnTo>
                  <a:lnTo>
                    <a:pt x="95" y="369"/>
                  </a:lnTo>
                  <a:lnTo>
                    <a:pt x="97" y="371"/>
                  </a:lnTo>
                  <a:lnTo>
                    <a:pt x="97" y="373"/>
                  </a:lnTo>
                  <a:lnTo>
                    <a:pt x="98" y="376"/>
                  </a:lnTo>
                  <a:lnTo>
                    <a:pt x="98" y="378"/>
                  </a:lnTo>
                  <a:lnTo>
                    <a:pt x="100" y="379"/>
                  </a:lnTo>
                  <a:lnTo>
                    <a:pt x="100" y="381"/>
                  </a:lnTo>
                  <a:lnTo>
                    <a:pt x="98" y="379"/>
                  </a:lnTo>
                  <a:lnTo>
                    <a:pt x="100" y="381"/>
                  </a:lnTo>
                  <a:lnTo>
                    <a:pt x="102" y="383"/>
                  </a:lnTo>
                  <a:lnTo>
                    <a:pt x="102" y="386"/>
                  </a:lnTo>
                  <a:lnTo>
                    <a:pt x="102" y="383"/>
                  </a:lnTo>
                  <a:lnTo>
                    <a:pt x="100" y="381"/>
                  </a:lnTo>
                  <a:lnTo>
                    <a:pt x="102" y="379"/>
                  </a:lnTo>
                  <a:lnTo>
                    <a:pt x="104" y="381"/>
                  </a:lnTo>
                  <a:lnTo>
                    <a:pt x="104" y="384"/>
                  </a:lnTo>
                  <a:lnTo>
                    <a:pt x="104" y="386"/>
                  </a:lnTo>
                  <a:lnTo>
                    <a:pt x="102" y="388"/>
                  </a:lnTo>
                  <a:lnTo>
                    <a:pt x="100" y="390"/>
                  </a:lnTo>
                  <a:lnTo>
                    <a:pt x="98" y="390"/>
                  </a:lnTo>
                  <a:lnTo>
                    <a:pt x="97" y="390"/>
                  </a:lnTo>
                  <a:lnTo>
                    <a:pt x="95" y="390"/>
                  </a:lnTo>
                  <a:lnTo>
                    <a:pt x="93" y="391"/>
                  </a:lnTo>
                  <a:lnTo>
                    <a:pt x="92" y="393"/>
                  </a:lnTo>
                  <a:lnTo>
                    <a:pt x="92" y="395"/>
                  </a:lnTo>
                  <a:lnTo>
                    <a:pt x="93" y="395"/>
                  </a:lnTo>
                  <a:lnTo>
                    <a:pt x="92" y="396"/>
                  </a:lnTo>
                  <a:lnTo>
                    <a:pt x="93" y="395"/>
                  </a:lnTo>
                  <a:lnTo>
                    <a:pt x="93" y="396"/>
                  </a:lnTo>
                  <a:lnTo>
                    <a:pt x="93" y="395"/>
                  </a:lnTo>
                  <a:lnTo>
                    <a:pt x="95" y="395"/>
                  </a:lnTo>
                  <a:lnTo>
                    <a:pt x="97" y="393"/>
                  </a:lnTo>
                  <a:lnTo>
                    <a:pt x="100" y="393"/>
                  </a:lnTo>
                  <a:lnTo>
                    <a:pt x="102" y="395"/>
                  </a:lnTo>
                  <a:lnTo>
                    <a:pt x="104" y="393"/>
                  </a:lnTo>
                  <a:lnTo>
                    <a:pt x="105" y="393"/>
                  </a:lnTo>
                  <a:lnTo>
                    <a:pt x="107" y="396"/>
                  </a:lnTo>
                  <a:lnTo>
                    <a:pt x="107" y="398"/>
                  </a:lnTo>
                  <a:lnTo>
                    <a:pt x="107" y="400"/>
                  </a:lnTo>
                  <a:lnTo>
                    <a:pt x="109" y="403"/>
                  </a:lnTo>
                  <a:lnTo>
                    <a:pt x="107" y="403"/>
                  </a:lnTo>
                  <a:lnTo>
                    <a:pt x="109" y="405"/>
                  </a:lnTo>
                  <a:lnTo>
                    <a:pt x="109" y="407"/>
                  </a:lnTo>
                  <a:lnTo>
                    <a:pt x="109" y="408"/>
                  </a:lnTo>
                  <a:lnTo>
                    <a:pt x="109" y="410"/>
                  </a:lnTo>
                  <a:lnTo>
                    <a:pt x="107" y="412"/>
                  </a:lnTo>
                  <a:lnTo>
                    <a:pt x="107" y="415"/>
                  </a:lnTo>
                  <a:lnTo>
                    <a:pt x="105" y="415"/>
                  </a:lnTo>
                  <a:lnTo>
                    <a:pt x="105" y="417"/>
                  </a:lnTo>
                  <a:lnTo>
                    <a:pt x="104" y="418"/>
                  </a:lnTo>
                  <a:lnTo>
                    <a:pt x="104" y="417"/>
                  </a:lnTo>
                  <a:lnTo>
                    <a:pt x="104" y="415"/>
                  </a:lnTo>
                  <a:lnTo>
                    <a:pt x="102" y="413"/>
                  </a:lnTo>
                  <a:lnTo>
                    <a:pt x="102" y="412"/>
                  </a:lnTo>
                  <a:lnTo>
                    <a:pt x="104" y="410"/>
                  </a:lnTo>
                  <a:lnTo>
                    <a:pt x="104" y="412"/>
                  </a:lnTo>
                  <a:lnTo>
                    <a:pt x="105" y="410"/>
                  </a:lnTo>
                  <a:lnTo>
                    <a:pt x="104" y="408"/>
                  </a:lnTo>
                  <a:lnTo>
                    <a:pt x="105" y="407"/>
                  </a:lnTo>
                  <a:lnTo>
                    <a:pt x="105" y="405"/>
                  </a:lnTo>
                  <a:lnTo>
                    <a:pt x="104" y="403"/>
                  </a:lnTo>
                  <a:lnTo>
                    <a:pt x="104" y="401"/>
                  </a:lnTo>
                  <a:lnTo>
                    <a:pt x="102" y="401"/>
                  </a:lnTo>
                  <a:lnTo>
                    <a:pt x="100" y="400"/>
                  </a:lnTo>
                  <a:lnTo>
                    <a:pt x="100" y="401"/>
                  </a:lnTo>
                  <a:lnTo>
                    <a:pt x="98" y="401"/>
                  </a:lnTo>
                  <a:lnTo>
                    <a:pt x="100" y="403"/>
                  </a:lnTo>
                  <a:lnTo>
                    <a:pt x="102" y="405"/>
                  </a:lnTo>
                  <a:lnTo>
                    <a:pt x="100" y="405"/>
                  </a:lnTo>
                  <a:lnTo>
                    <a:pt x="102" y="405"/>
                  </a:lnTo>
                  <a:lnTo>
                    <a:pt x="100" y="405"/>
                  </a:lnTo>
                  <a:lnTo>
                    <a:pt x="100" y="407"/>
                  </a:lnTo>
                  <a:lnTo>
                    <a:pt x="100" y="408"/>
                  </a:lnTo>
                  <a:lnTo>
                    <a:pt x="100" y="410"/>
                  </a:lnTo>
                  <a:lnTo>
                    <a:pt x="100" y="412"/>
                  </a:lnTo>
                  <a:lnTo>
                    <a:pt x="97" y="413"/>
                  </a:lnTo>
                  <a:lnTo>
                    <a:pt x="98" y="415"/>
                  </a:lnTo>
                  <a:lnTo>
                    <a:pt x="100" y="413"/>
                  </a:lnTo>
                  <a:lnTo>
                    <a:pt x="102" y="413"/>
                  </a:lnTo>
                  <a:lnTo>
                    <a:pt x="102" y="415"/>
                  </a:lnTo>
                  <a:lnTo>
                    <a:pt x="102" y="417"/>
                  </a:lnTo>
                  <a:lnTo>
                    <a:pt x="102" y="418"/>
                  </a:lnTo>
                  <a:lnTo>
                    <a:pt x="102" y="420"/>
                  </a:lnTo>
                  <a:lnTo>
                    <a:pt x="100" y="420"/>
                  </a:lnTo>
                  <a:lnTo>
                    <a:pt x="98" y="422"/>
                  </a:lnTo>
                  <a:lnTo>
                    <a:pt x="98" y="424"/>
                  </a:lnTo>
                  <a:lnTo>
                    <a:pt x="97" y="422"/>
                  </a:lnTo>
                  <a:lnTo>
                    <a:pt x="97" y="424"/>
                  </a:lnTo>
                  <a:lnTo>
                    <a:pt x="95" y="422"/>
                  </a:lnTo>
                  <a:lnTo>
                    <a:pt x="93" y="422"/>
                  </a:lnTo>
                  <a:lnTo>
                    <a:pt x="92" y="422"/>
                  </a:lnTo>
                  <a:lnTo>
                    <a:pt x="90" y="422"/>
                  </a:lnTo>
                  <a:lnTo>
                    <a:pt x="90" y="418"/>
                  </a:lnTo>
                  <a:lnTo>
                    <a:pt x="88" y="420"/>
                  </a:lnTo>
                  <a:lnTo>
                    <a:pt x="90" y="422"/>
                  </a:lnTo>
                  <a:lnTo>
                    <a:pt x="87" y="422"/>
                  </a:lnTo>
                  <a:lnTo>
                    <a:pt x="87" y="424"/>
                  </a:lnTo>
                  <a:lnTo>
                    <a:pt x="87" y="425"/>
                  </a:lnTo>
                  <a:lnTo>
                    <a:pt x="85" y="429"/>
                  </a:lnTo>
                  <a:lnTo>
                    <a:pt x="85" y="430"/>
                  </a:lnTo>
                  <a:lnTo>
                    <a:pt x="82" y="432"/>
                  </a:lnTo>
                  <a:lnTo>
                    <a:pt x="80" y="432"/>
                  </a:lnTo>
                  <a:lnTo>
                    <a:pt x="80" y="434"/>
                  </a:lnTo>
                  <a:lnTo>
                    <a:pt x="76" y="434"/>
                  </a:lnTo>
                  <a:lnTo>
                    <a:pt x="75" y="432"/>
                  </a:lnTo>
                  <a:lnTo>
                    <a:pt x="76" y="432"/>
                  </a:lnTo>
                  <a:lnTo>
                    <a:pt x="76" y="430"/>
                  </a:lnTo>
                  <a:lnTo>
                    <a:pt x="73" y="430"/>
                  </a:lnTo>
                  <a:lnTo>
                    <a:pt x="73" y="427"/>
                  </a:lnTo>
                  <a:lnTo>
                    <a:pt x="70" y="427"/>
                  </a:lnTo>
                  <a:close/>
                  <a:moveTo>
                    <a:pt x="139" y="126"/>
                  </a:moveTo>
                  <a:lnTo>
                    <a:pt x="141" y="128"/>
                  </a:lnTo>
                  <a:lnTo>
                    <a:pt x="141" y="129"/>
                  </a:lnTo>
                  <a:lnTo>
                    <a:pt x="141" y="131"/>
                  </a:lnTo>
                  <a:lnTo>
                    <a:pt x="141" y="133"/>
                  </a:lnTo>
                  <a:lnTo>
                    <a:pt x="139" y="136"/>
                  </a:lnTo>
                  <a:lnTo>
                    <a:pt x="139" y="138"/>
                  </a:lnTo>
                  <a:lnTo>
                    <a:pt x="136" y="139"/>
                  </a:lnTo>
                  <a:lnTo>
                    <a:pt x="136" y="141"/>
                  </a:lnTo>
                  <a:lnTo>
                    <a:pt x="134" y="143"/>
                  </a:lnTo>
                  <a:lnTo>
                    <a:pt x="132" y="143"/>
                  </a:lnTo>
                  <a:lnTo>
                    <a:pt x="132" y="145"/>
                  </a:lnTo>
                  <a:lnTo>
                    <a:pt x="131" y="145"/>
                  </a:lnTo>
                  <a:lnTo>
                    <a:pt x="132" y="145"/>
                  </a:lnTo>
                  <a:lnTo>
                    <a:pt x="134" y="146"/>
                  </a:lnTo>
                  <a:lnTo>
                    <a:pt x="136" y="146"/>
                  </a:lnTo>
                  <a:lnTo>
                    <a:pt x="138" y="145"/>
                  </a:lnTo>
                  <a:lnTo>
                    <a:pt x="139" y="143"/>
                  </a:lnTo>
                  <a:lnTo>
                    <a:pt x="139" y="145"/>
                  </a:lnTo>
                  <a:lnTo>
                    <a:pt x="139" y="146"/>
                  </a:lnTo>
                  <a:lnTo>
                    <a:pt x="136" y="148"/>
                  </a:lnTo>
                  <a:lnTo>
                    <a:pt x="134" y="148"/>
                  </a:lnTo>
                  <a:lnTo>
                    <a:pt x="134" y="146"/>
                  </a:lnTo>
                  <a:lnTo>
                    <a:pt x="131" y="148"/>
                  </a:lnTo>
                  <a:lnTo>
                    <a:pt x="131" y="145"/>
                  </a:lnTo>
                  <a:lnTo>
                    <a:pt x="129" y="146"/>
                  </a:lnTo>
                  <a:lnTo>
                    <a:pt x="131" y="146"/>
                  </a:lnTo>
                  <a:lnTo>
                    <a:pt x="129" y="148"/>
                  </a:lnTo>
                  <a:lnTo>
                    <a:pt x="129" y="150"/>
                  </a:lnTo>
                  <a:lnTo>
                    <a:pt x="127" y="150"/>
                  </a:lnTo>
                  <a:lnTo>
                    <a:pt x="129" y="150"/>
                  </a:lnTo>
                  <a:lnTo>
                    <a:pt x="129" y="151"/>
                  </a:lnTo>
                  <a:lnTo>
                    <a:pt x="129" y="150"/>
                  </a:lnTo>
                  <a:lnTo>
                    <a:pt x="127" y="151"/>
                  </a:lnTo>
                  <a:lnTo>
                    <a:pt x="126" y="150"/>
                  </a:lnTo>
                  <a:lnTo>
                    <a:pt x="127" y="151"/>
                  </a:lnTo>
                  <a:lnTo>
                    <a:pt x="126" y="151"/>
                  </a:lnTo>
                  <a:lnTo>
                    <a:pt x="122" y="151"/>
                  </a:lnTo>
                  <a:lnTo>
                    <a:pt x="119" y="151"/>
                  </a:lnTo>
                  <a:lnTo>
                    <a:pt x="121" y="153"/>
                  </a:lnTo>
                  <a:lnTo>
                    <a:pt x="122" y="153"/>
                  </a:lnTo>
                  <a:lnTo>
                    <a:pt x="124" y="153"/>
                  </a:lnTo>
                  <a:lnTo>
                    <a:pt x="126" y="153"/>
                  </a:lnTo>
                  <a:lnTo>
                    <a:pt x="127" y="151"/>
                  </a:lnTo>
                  <a:lnTo>
                    <a:pt x="127" y="155"/>
                  </a:lnTo>
                  <a:lnTo>
                    <a:pt x="129" y="153"/>
                  </a:lnTo>
                  <a:lnTo>
                    <a:pt x="129" y="155"/>
                  </a:lnTo>
                  <a:lnTo>
                    <a:pt x="127" y="156"/>
                  </a:lnTo>
                  <a:lnTo>
                    <a:pt x="126" y="156"/>
                  </a:lnTo>
                  <a:lnTo>
                    <a:pt x="129" y="158"/>
                  </a:lnTo>
                  <a:lnTo>
                    <a:pt x="127" y="160"/>
                  </a:lnTo>
                  <a:lnTo>
                    <a:pt x="126" y="158"/>
                  </a:lnTo>
                  <a:lnTo>
                    <a:pt x="124" y="158"/>
                  </a:lnTo>
                  <a:lnTo>
                    <a:pt x="122" y="158"/>
                  </a:lnTo>
                  <a:lnTo>
                    <a:pt x="119" y="158"/>
                  </a:lnTo>
                  <a:lnTo>
                    <a:pt x="122" y="158"/>
                  </a:lnTo>
                  <a:lnTo>
                    <a:pt x="124" y="158"/>
                  </a:lnTo>
                  <a:lnTo>
                    <a:pt x="124" y="160"/>
                  </a:lnTo>
                  <a:lnTo>
                    <a:pt x="124" y="162"/>
                  </a:lnTo>
                  <a:lnTo>
                    <a:pt x="122" y="163"/>
                  </a:lnTo>
                  <a:lnTo>
                    <a:pt x="121" y="163"/>
                  </a:lnTo>
                  <a:lnTo>
                    <a:pt x="121" y="162"/>
                  </a:lnTo>
                  <a:lnTo>
                    <a:pt x="121" y="165"/>
                  </a:lnTo>
                  <a:lnTo>
                    <a:pt x="119" y="163"/>
                  </a:lnTo>
                  <a:lnTo>
                    <a:pt x="119" y="165"/>
                  </a:lnTo>
                  <a:lnTo>
                    <a:pt x="117" y="162"/>
                  </a:lnTo>
                  <a:lnTo>
                    <a:pt x="117" y="160"/>
                  </a:lnTo>
                  <a:lnTo>
                    <a:pt x="117" y="162"/>
                  </a:lnTo>
                  <a:lnTo>
                    <a:pt x="117" y="163"/>
                  </a:lnTo>
                  <a:lnTo>
                    <a:pt x="115" y="163"/>
                  </a:lnTo>
                  <a:lnTo>
                    <a:pt x="115" y="162"/>
                  </a:lnTo>
                  <a:lnTo>
                    <a:pt x="115" y="160"/>
                  </a:lnTo>
                  <a:lnTo>
                    <a:pt x="114" y="160"/>
                  </a:lnTo>
                  <a:lnTo>
                    <a:pt x="114" y="158"/>
                  </a:lnTo>
                  <a:lnTo>
                    <a:pt x="115" y="156"/>
                  </a:lnTo>
                  <a:lnTo>
                    <a:pt x="117" y="155"/>
                  </a:lnTo>
                  <a:lnTo>
                    <a:pt x="117" y="153"/>
                  </a:lnTo>
                  <a:lnTo>
                    <a:pt x="121" y="155"/>
                  </a:lnTo>
                  <a:lnTo>
                    <a:pt x="119" y="153"/>
                  </a:lnTo>
                  <a:lnTo>
                    <a:pt x="117" y="153"/>
                  </a:lnTo>
                  <a:lnTo>
                    <a:pt x="117" y="155"/>
                  </a:lnTo>
                  <a:lnTo>
                    <a:pt x="115" y="156"/>
                  </a:lnTo>
                  <a:lnTo>
                    <a:pt x="114" y="156"/>
                  </a:lnTo>
                  <a:lnTo>
                    <a:pt x="114" y="158"/>
                  </a:lnTo>
                  <a:lnTo>
                    <a:pt x="114" y="160"/>
                  </a:lnTo>
                  <a:lnTo>
                    <a:pt x="112" y="160"/>
                  </a:lnTo>
                  <a:lnTo>
                    <a:pt x="114" y="160"/>
                  </a:lnTo>
                  <a:lnTo>
                    <a:pt x="115" y="163"/>
                  </a:lnTo>
                  <a:lnTo>
                    <a:pt x="114" y="163"/>
                  </a:lnTo>
                  <a:lnTo>
                    <a:pt x="115" y="165"/>
                  </a:lnTo>
                  <a:lnTo>
                    <a:pt x="114" y="165"/>
                  </a:lnTo>
                  <a:lnTo>
                    <a:pt x="110" y="163"/>
                  </a:lnTo>
                  <a:lnTo>
                    <a:pt x="110" y="165"/>
                  </a:lnTo>
                  <a:lnTo>
                    <a:pt x="109" y="165"/>
                  </a:lnTo>
                  <a:lnTo>
                    <a:pt x="110" y="165"/>
                  </a:lnTo>
                  <a:lnTo>
                    <a:pt x="112" y="168"/>
                  </a:lnTo>
                  <a:lnTo>
                    <a:pt x="110" y="168"/>
                  </a:lnTo>
                  <a:lnTo>
                    <a:pt x="109" y="168"/>
                  </a:lnTo>
                  <a:lnTo>
                    <a:pt x="109" y="170"/>
                  </a:lnTo>
                  <a:lnTo>
                    <a:pt x="107" y="167"/>
                  </a:lnTo>
                  <a:lnTo>
                    <a:pt x="107" y="168"/>
                  </a:lnTo>
                  <a:lnTo>
                    <a:pt x="107" y="170"/>
                  </a:lnTo>
                  <a:lnTo>
                    <a:pt x="107" y="168"/>
                  </a:lnTo>
                  <a:lnTo>
                    <a:pt x="107" y="170"/>
                  </a:lnTo>
                  <a:lnTo>
                    <a:pt x="105" y="168"/>
                  </a:lnTo>
                  <a:lnTo>
                    <a:pt x="105" y="172"/>
                  </a:lnTo>
                  <a:lnTo>
                    <a:pt x="104" y="170"/>
                  </a:lnTo>
                  <a:lnTo>
                    <a:pt x="104" y="172"/>
                  </a:lnTo>
                  <a:lnTo>
                    <a:pt x="102" y="173"/>
                  </a:lnTo>
                  <a:lnTo>
                    <a:pt x="100" y="172"/>
                  </a:lnTo>
                  <a:lnTo>
                    <a:pt x="100" y="173"/>
                  </a:lnTo>
                  <a:lnTo>
                    <a:pt x="100" y="172"/>
                  </a:lnTo>
                  <a:lnTo>
                    <a:pt x="100" y="170"/>
                  </a:lnTo>
                  <a:lnTo>
                    <a:pt x="98" y="170"/>
                  </a:lnTo>
                  <a:lnTo>
                    <a:pt x="98" y="167"/>
                  </a:lnTo>
                  <a:lnTo>
                    <a:pt x="97" y="167"/>
                  </a:lnTo>
                  <a:lnTo>
                    <a:pt x="97" y="165"/>
                  </a:lnTo>
                  <a:lnTo>
                    <a:pt x="98" y="165"/>
                  </a:lnTo>
                  <a:lnTo>
                    <a:pt x="98" y="167"/>
                  </a:lnTo>
                  <a:lnTo>
                    <a:pt x="100" y="167"/>
                  </a:lnTo>
                  <a:lnTo>
                    <a:pt x="102" y="165"/>
                  </a:lnTo>
                  <a:lnTo>
                    <a:pt x="102" y="163"/>
                  </a:lnTo>
                  <a:lnTo>
                    <a:pt x="104" y="163"/>
                  </a:lnTo>
                  <a:lnTo>
                    <a:pt x="104" y="165"/>
                  </a:lnTo>
                  <a:lnTo>
                    <a:pt x="105" y="165"/>
                  </a:lnTo>
                  <a:lnTo>
                    <a:pt x="104" y="163"/>
                  </a:lnTo>
                  <a:lnTo>
                    <a:pt x="105" y="162"/>
                  </a:lnTo>
                  <a:lnTo>
                    <a:pt x="107" y="163"/>
                  </a:lnTo>
                  <a:lnTo>
                    <a:pt x="110" y="163"/>
                  </a:lnTo>
                  <a:lnTo>
                    <a:pt x="109" y="162"/>
                  </a:lnTo>
                  <a:lnTo>
                    <a:pt x="109" y="160"/>
                  </a:lnTo>
                  <a:lnTo>
                    <a:pt x="107" y="160"/>
                  </a:lnTo>
                  <a:lnTo>
                    <a:pt x="107" y="158"/>
                  </a:lnTo>
                  <a:lnTo>
                    <a:pt x="107" y="160"/>
                  </a:lnTo>
                  <a:lnTo>
                    <a:pt x="105" y="158"/>
                  </a:lnTo>
                  <a:lnTo>
                    <a:pt x="104" y="156"/>
                  </a:lnTo>
                  <a:lnTo>
                    <a:pt x="104" y="158"/>
                  </a:lnTo>
                  <a:lnTo>
                    <a:pt x="102" y="156"/>
                  </a:lnTo>
                  <a:lnTo>
                    <a:pt x="100" y="156"/>
                  </a:lnTo>
                  <a:lnTo>
                    <a:pt x="102" y="155"/>
                  </a:lnTo>
                  <a:lnTo>
                    <a:pt x="100" y="155"/>
                  </a:lnTo>
                  <a:lnTo>
                    <a:pt x="102" y="153"/>
                  </a:lnTo>
                  <a:lnTo>
                    <a:pt x="104" y="153"/>
                  </a:lnTo>
                  <a:lnTo>
                    <a:pt x="105" y="151"/>
                  </a:lnTo>
                  <a:lnTo>
                    <a:pt x="107" y="151"/>
                  </a:lnTo>
                  <a:lnTo>
                    <a:pt x="109" y="151"/>
                  </a:lnTo>
                  <a:lnTo>
                    <a:pt x="105" y="151"/>
                  </a:lnTo>
                  <a:lnTo>
                    <a:pt x="104" y="151"/>
                  </a:lnTo>
                  <a:lnTo>
                    <a:pt x="105" y="151"/>
                  </a:lnTo>
                  <a:lnTo>
                    <a:pt x="104" y="150"/>
                  </a:lnTo>
                  <a:lnTo>
                    <a:pt x="105" y="150"/>
                  </a:lnTo>
                  <a:lnTo>
                    <a:pt x="105" y="148"/>
                  </a:lnTo>
                  <a:lnTo>
                    <a:pt x="104" y="150"/>
                  </a:lnTo>
                  <a:lnTo>
                    <a:pt x="102" y="148"/>
                  </a:lnTo>
                  <a:lnTo>
                    <a:pt x="102" y="146"/>
                  </a:lnTo>
                  <a:lnTo>
                    <a:pt x="102" y="145"/>
                  </a:lnTo>
                  <a:lnTo>
                    <a:pt x="104" y="143"/>
                  </a:lnTo>
                  <a:lnTo>
                    <a:pt x="104" y="141"/>
                  </a:lnTo>
                  <a:lnTo>
                    <a:pt x="105" y="141"/>
                  </a:lnTo>
                  <a:lnTo>
                    <a:pt x="105" y="143"/>
                  </a:lnTo>
                  <a:lnTo>
                    <a:pt x="107" y="141"/>
                  </a:lnTo>
                  <a:lnTo>
                    <a:pt x="105" y="141"/>
                  </a:lnTo>
                  <a:lnTo>
                    <a:pt x="107" y="138"/>
                  </a:lnTo>
                  <a:lnTo>
                    <a:pt x="109" y="139"/>
                  </a:lnTo>
                  <a:lnTo>
                    <a:pt x="110" y="139"/>
                  </a:lnTo>
                  <a:lnTo>
                    <a:pt x="110" y="141"/>
                  </a:lnTo>
                  <a:lnTo>
                    <a:pt x="109" y="141"/>
                  </a:lnTo>
                  <a:lnTo>
                    <a:pt x="110" y="143"/>
                  </a:lnTo>
                  <a:lnTo>
                    <a:pt x="112" y="143"/>
                  </a:lnTo>
                  <a:lnTo>
                    <a:pt x="112" y="145"/>
                  </a:lnTo>
                  <a:lnTo>
                    <a:pt x="112" y="143"/>
                  </a:lnTo>
                  <a:lnTo>
                    <a:pt x="114" y="143"/>
                  </a:lnTo>
                  <a:lnTo>
                    <a:pt x="115" y="143"/>
                  </a:lnTo>
                  <a:lnTo>
                    <a:pt x="117" y="143"/>
                  </a:lnTo>
                  <a:lnTo>
                    <a:pt x="117" y="146"/>
                  </a:lnTo>
                  <a:lnTo>
                    <a:pt x="117" y="145"/>
                  </a:lnTo>
                  <a:lnTo>
                    <a:pt x="115" y="143"/>
                  </a:lnTo>
                  <a:lnTo>
                    <a:pt x="117" y="143"/>
                  </a:lnTo>
                  <a:lnTo>
                    <a:pt x="117" y="141"/>
                  </a:lnTo>
                  <a:lnTo>
                    <a:pt x="115" y="139"/>
                  </a:lnTo>
                  <a:lnTo>
                    <a:pt x="115" y="138"/>
                  </a:lnTo>
                  <a:lnTo>
                    <a:pt x="117" y="138"/>
                  </a:lnTo>
                  <a:lnTo>
                    <a:pt x="115" y="136"/>
                  </a:lnTo>
                  <a:lnTo>
                    <a:pt x="117" y="136"/>
                  </a:lnTo>
                  <a:lnTo>
                    <a:pt x="119" y="136"/>
                  </a:lnTo>
                  <a:lnTo>
                    <a:pt x="119" y="134"/>
                  </a:lnTo>
                  <a:lnTo>
                    <a:pt x="121" y="134"/>
                  </a:lnTo>
                  <a:lnTo>
                    <a:pt x="122" y="133"/>
                  </a:lnTo>
                  <a:lnTo>
                    <a:pt x="122" y="134"/>
                  </a:lnTo>
                  <a:lnTo>
                    <a:pt x="126" y="133"/>
                  </a:lnTo>
                  <a:lnTo>
                    <a:pt x="127" y="133"/>
                  </a:lnTo>
                  <a:lnTo>
                    <a:pt x="127" y="131"/>
                  </a:lnTo>
                  <a:lnTo>
                    <a:pt x="129" y="131"/>
                  </a:lnTo>
                  <a:lnTo>
                    <a:pt x="131" y="131"/>
                  </a:lnTo>
                  <a:lnTo>
                    <a:pt x="132" y="129"/>
                  </a:lnTo>
                  <a:lnTo>
                    <a:pt x="134" y="129"/>
                  </a:lnTo>
                  <a:lnTo>
                    <a:pt x="136" y="129"/>
                  </a:lnTo>
                  <a:lnTo>
                    <a:pt x="136" y="128"/>
                  </a:lnTo>
                  <a:lnTo>
                    <a:pt x="138" y="128"/>
                  </a:lnTo>
                  <a:lnTo>
                    <a:pt x="139" y="126"/>
                  </a:lnTo>
                  <a:close/>
                  <a:moveTo>
                    <a:pt x="124" y="180"/>
                  </a:moveTo>
                  <a:lnTo>
                    <a:pt x="126" y="180"/>
                  </a:lnTo>
                  <a:lnTo>
                    <a:pt x="124" y="182"/>
                  </a:lnTo>
                  <a:lnTo>
                    <a:pt x="126" y="184"/>
                  </a:lnTo>
                  <a:lnTo>
                    <a:pt x="126" y="185"/>
                  </a:lnTo>
                  <a:lnTo>
                    <a:pt x="127" y="187"/>
                  </a:lnTo>
                  <a:lnTo>
                    <a:pt x="129" y="187"/>
                  </a:lnTo>
                  <a:lnTo>
                    <a:pt x="129" y="190"/>
                  </a:lnTo>
                  <a:lnTo>
                    <a:pt x="129" y="192"/>
                  </a:lnTo>
                  <a:lnTo>
                    <a:pt x="127" y="196"/>
                  </a:lnTo>
                  <a:lnTo>
                    <a:pt x="127" y="197"/>
                  </a:lnTo>
                  <a:lnTo>
                    <a:pt x="126" y="201"/>
                  </a:lnTo>
                  <a:lnTo>
                    <a:pt x="124" y="202"/>
                  </a:lnTo>
                  <a:lnTo>
                    <a:pt x="126" y="202"/>
                  </a:lnTo>
                  <a:lnTo>
                    <a:pt x="127" y="204"/>
                  </a:lnTo>
                  <a:lnTo>
                    <a:pt x="126" y="204"/>
                  </a:lnTo>
                  <a:lnTo>
                    <a:pt x="127" y="207"/>
                  </a:lnTo>
                  <a:lnTo>
                    <a:pt x="126" y="209"/>
                  </a:lnTo>
                  <a:lnTo>
                    <a:pt x="124" y="209"/>
                  </a:lnTo>
                  <a:lnTo>
                    <a:pt x="126" y="209"/>
                  </a:lnTo>
                  <a:lnTo>
                    <a:pt x="127" y="209"/>
                  </a:lnTo>
                  <a:lnTo>
                    <a:pt x="127" y="211"/>
                  </a:lnTo>
                  <a:lnTo>
                    <a:pt x="126" y="213"/>
                  </a:lnTo>
                  <a:lnTo>
                    <a:pt x="129" y="211"/>
                  </a:lnTo>
                  <a:lnTo>
                    <a:pt x="129" y="213"/>
                  </a:lnTo>
                  <a:lnTo>
                    <a:pt x="132" y="214"/>
                  </a:lnTo>
                  <a:lnTo>
                    <a:pt x="132" y="216"/>
                  </a:lnTo>
                  <a:lnTo>
                    <a:pt x="134" y="216"/>
                  </a:lnTo>
                  <a:lnTo>
                    <a:pt x="136" y="216"/>
                  </a:lnTo>
                  <a:lnTo>
                    <a:pt x="139" y="214"/>
                  </a:lnTo>
                  <a:lnTo>
                    <a:pt x="139" y="216"/>
                  </a:lnTo>
                  <a:lnTo>
                    <a:pt x="141" y="216"/>
                  </a:lnTo>
                  <a:lnTo>
                    <a:pt x="143" y="218"/>
                  </a:lnTo>
                  <a:lnTo>
                    <a:pt x="141" y="218"/>
                  </a:lnTo>
                  <a:lnTo>
                    <a:pt x="141" y="219"/>
                  </a:lnTo>
                  <a:lnTo>
                    <a:pt x="139" y="221"/>
                  </a:lnTo>
                  <a:lnTo>
                    <a:pt x="136" y="221"/>
                  </a:lnTo>
                  <a:lnTo>
                    <a:pt x="134" y="221"/>
                  </a:lnTo>
                  <a:lnTo>
                    <a:pt x="136" y="225"/>
                  </a:lnTo>
                  <a:lnTo>
                    <a:pt x="134" y="226"/>
                  </a:lnTo>
                  <a:lnTo>
                    <a:pt x="132" y="225"/>
                  </a:lnTo>
                  <a:lnTo>
                    <a:pt x="131" y="226"/>
                  </a:lnTo>
                  <a:lnTo>
                    <a:pt x="131" y="228"/>
                  </a:lnTo>
                  <a:lnTo>
                    <a:pt x="129" y="228"/>
                  </a:lnTo>
                  <a:lnTo>
                    <a:pt x="129" y="230"/>
                  </a:lnTo>
                  <a:lnTo>
                    <a:pt x="127" y="230"/>
                  </a:lnTo>
                  <a:lnTo>
                    <a:pt x="126" y="230"/>
                  </a:lnTo>
                  <a:lnTo>
                    <a:pt x="124" y="228"/>
                  </a:lnTo>
                  <a:lnTo>
                    <a:pt x="126" y="226"/>
                  </a:lnTo>
                  <a:lnTo>
                    <a:pt x="127" y="225"/>
                  </a:lnTo>
                  <a:lnTo>
                    <a:pt x="127" y="223"/>
                  </a:lnTo>
                  <a:lnTo>
                    <a:pt x="129" y="221"/>
                  </a:lnTo>
                  <a:lnTo>
                    <a:pt x="131" y="221"/>
                  </a:lnTo>
                  <a:lnTo>
                    <a:pt x="132" y="221"/>
                  </a:lnTo>
                  <a:lnTo>
                    <a:pt x="134" y="219"/>
                  </a:lnTo>
                  <a:lnTo>
                    <a:pt x="132" y="219"/>
                  </a:lnTo>
                  <a:lnTo>
                    <a:pt x="131" y="221"/>
                  </a:lnTo>
                  <a:lnTo>
                    <a:pt x="131" y="219"/>
                  </a:lnTo>
                  <a:lnTo>
                    <a:pt x="127" y="219"/>
                  </a:lnTo>
                  <a:lnTo>
                    <a:pt x="127" y="218"/>
                  </a:lnTo>
                  <a:lnTo>
                    <a:pt x="127" y="216"/>
                  </a:lnTo>
                  <a:lnTo>
                    <a:pt x="127" y="219"/>
                  </a:lnTo>
                  <a:lnTo>
                    <a:pt x="126" y="219"/>
                  </a:lnTo>
                  <a:lnTo>
                    <a:pt x="124" y="223"/>
                  </a:lnTo>
                  <a:lnTo>
                    <a:pt x="124" y="221"/>
                  </a:lnTo>
                  <a:lnTo>
                    <a:pt x="124" y="219"/>
                  </a:lnTo>
                  <a:lnTo>
                    <a:pt x="124" y="218"/>
                  </a:lnTo>
                  <a:lnTo>
                    <a:pt x="122" y="216"/>
                  </a:lnTo>
                  <a:lnTo>
                    <a:pt x="122" y="218"/>
                  </a:lnTo>
                  <a:lnTo>
                    <a:pt x="121" y="218"/>
                  </a:lnTo>
                  <a:lnTo>
                    <a:pt x="119" y="218"/>
                  </a:lnTo>
                  <a:lnTo>
                    <a:pt x="115" y="218"/>
                  </a:lnTo>
                  <a:lnTo>
                    <a:pt x="117" y="216"/>
                  </a:lnTo>
                  <a:lnTo>
                    <a:pt x="115" y="216"/>
                  </a:lnTo>
                  <a:lnTo>
                    <a:pt x="114" y="213"/>
                  </a:lnTo>
                  <a:lnTo>
                    <a:pt x="115" y="213"/>
                  </a:lnTo>
                  <a:lnTo>
                    <a:pt x="117" y="211"/>
                  </a:lnTo>
                  <a:lnTo>
                    <a:pt x="115" y="213"/>
                  </a:lnTo>
                  <a:lnTo>
                    <a:pt x="114" y="213"/>
                  </a:lnTo>
                  <a:lnTo>
                    <a:pt x="112" y="209"/>
                  </a:lnTo>
                  <a:lnTo>
                    <a:pt x="112" y="207"/>
                  </a:lnTo>
                  <a:lnTo>
                    <a:pt x="112" y="206"/>
                  </a:lnTo>
                  <a:lnTo>
                    <a:pt x="114" y="206"/>
                  </a:lnTo>
                  <a:lnTo>
                    <a:pt x="114" y="204"/>
                  </a:lnTo>
                  <a:lnTo>
                    <a:pt x="115" y="206"/>
                  </a:lnTo>
                  <a:lnTo>
                    <a:pt x="117" y="207"/>
                  </a:lnTo>
                  <a:lnTo>
                    <a:pt x="119" y="209"/>
                  </a:lnTo>
                  <a:lnTo>
                    <a:pt x="117" y="207"/>
                  </a:lnTo>
                  <a:lnTo>
                    <a:pt x="117" y="206"/>
                  </a:lnTo>
                  <a:lnTo>
                    <a:pt x="115" y="204"/>
                  </a:lnTo>
                  <a:lnTo>
                    <a:pt x="114" y="204"/>
                  </a:lnTo>
                  <a:lnTo>
                    <a:pt x="114" y="202"/>
                  </a:lnTo>
                  <a:lnTo>
                    <a:pt x="114" y="199"/>
                  </a:lnTo>
                  <a:lnTo>
                    <a:pt x="112" y="202"/>
                  </a:lnTo>
                  <a:lnTo>
                    <a:pt x="112" y="201"/>
                  </a:lnTo>
                  <a:lnTo>
                    <a:pt x="112" y="199"/>
                  </a:lnTo>
                  <a:lnTo>
                    <a:pt x="112" y="201"/>
                  </a:lnTo>
                  <a:lnTo>
                    <a:pt x="110" y="201"/>
                  </a:lnTo>
                  <a:lnTo>
                    <a:pt x="110" y="202"/>
                  </a:lnTo>
                  <a:lnTo>
                    <a:pt x="110" y="204"/>
                  </a:lnTo>
                  <a:lnTo>
                    <a:pt x="109" y="204"/>
                  </a:lnTo>
                  <a:lnTo>
                    <a:pt x="107" y="202"/>
                  </a:lnTo>
                  <a:lnTo>
                    <a:pt x="105" y="201"/>
                  </a:lnTo>
                  <a:lnTo>
                    <a:pt x="104" y="201"/>
                  </a:lnTo>
                  <a:lnTo>
                    <a:pt x="104" y="199"/>
                  </a:lnTo>
                  <a:lnTo>
                    <a:pt x="104" y="197"/>
                  </a:lnTo>
                  <a:lnTo>
                    <a:pt x="104" y="196"/>
                  </a:lnTo>
                  <a:lnTo>
                    <a:pt x="102" y="196"/>
                  </a:lnTo>
                  <a:lnTo>
                    <a:pt x="104" y="194"/>
                  </a:lnTo>
                  <a:lnTo>
                    <a:pt x="105" y="194"/>
                  </a:lnTo>
                  <a:lnTo>
                    <a:pt x="105" y="192"/>
                  </a:lnTo>
                  <a:lnTo>
                    <a:pt x="107" y="190"/>
                  </a:lnTo>
                  <a:lnTo>
                    <a:pt x="107" y="192"/>
                  </a:lnTo>
                  <a:lnTo>
                    <a:pt x="109" y="194"/>
                  </a:lnTo>
                  <a:lnTo>
                    <a:pt x="107" y="194"/>
                  </a:lnTo>
                  <a:lnTo>
                    <a:pt x="109" y="197"/>
                  </a:lnTo>
                  <a:lnTo>
                    <a:pt x="110" y="196"/>
                  </a:lnTo>
                  <a:lnTo>
                    <a:pt x="110" y="197"/>
                  </a:lnTo>
                  <a:lnTo>
                    <a:pt x="110" y="196"/>
                  </a:lnTo>
                  <a:lnTo>
                    <a:pt x="109" y="194"/>
                  </a:lnTo>
                  <a:lnTo>
                    <a:pt x="110" y="192"/>
                  </a:lnTo>
                  <a:lnTo>
                    <a:pt x="112" y="192"/>
                  </a:lnTo>
                  <a:lnTo>
                    <a:pt x="112" y="190"/>
                  </a:lnTo>
                  <a:lnTo>
                    <a:pt x="110" y="189"/>
                  </a:lnTo>
                  <a:lnTo>
                    <a:pt x="110" y="187"/>
                  </a:lnTo>
                  <a:lnTo>
                    <a:pt x="110" y="185"/>
                  </a:lnTo>
                  <a:lnTo>
                    <a:pt x="112" y="184"/>
                  </a:lnTo>
                  <a:lnTo>
                    <a:pt x="114" y="187"/>
                  </a:lnTo>
                  <a:lnTo>
                    <a:pt x="114" y="189"/>
                  </a:lnTo>
                  <a:lnTo>
                    <a:pt x="115" y="190"/>
                  </a:lnTo>
                  <a:lnTo>
                    <a:pt x="115" y="194"/>
                  </a:lnTo>
                  <a:lnTo>
                    <a:pt x="117" y="192"/>
                  </a:lnTo>
                  <a:lnTo>
                    <a:pt x="115" y="196"/>
                  </a:lnTo>
                  <a:lnTo>
                    <a:pt x="117" y="196"/>
                  </a:lnTo>
                  <a:lnTo>
                    <a:pt x="117" y="194"/>
                  </a:lnTo>
                  <a:lnTo>
                    <a:pt x="119" y="194"/>
                  </a:lnTo>
                  <a:lnTo>
                    <a:pt x="119" y="192"/>
                  </a:lnTo>
                  <a:lnTo>
                    <a:pt x="121" y="194"/>
                  </a:lnTo>
                  <a:lnTo>
                    <a:pt x="121" y="196"/>
                  </a:lnTo>
                  <a:lnTo>
                    <a:pt x="121" y="197"/>
                  </a:lnTo>
                  <a:lnTo>
                    <a:pt x="121" y="196"/>
                  </a:lnTo>
                  <a:lnTo>
                    <a:pt x="122" y="196"/>
                  </a:lnTo>
                  <a:lnTo>
                    <a:pt x="121" y="196"/>
                  </a:lnTo>
                  <a:lnTo>
                    <a:pt x="121" y="194"/>
                  </a:lnTo>
                  <a:lnTo>
                    <a:pt x="121" y="192"/>
                  </a:lnTo>
                  <a:lnTo>
                    <a:pt x="119" y="189"/>
                  </a:lnTo>
                  <a:lnTo>
                    <a:pt x="121" y="189"/>
                  </a:lnTo>
                  <a:lnTo>
                    <a:pt x="121" y="185"/>
                  </a:lnTo>
                  <a:lnTo>
                    <a:pt x="119" y="184"/>
                  </a:lnTo>
                  <a:lnTo>
                    <a:pt x="121" y="184"/>
                  </a:lnTo>
                  <a:lnTo>
                    <a:pt x="122" y="182"/>
                  </a:lnTo>
                  <a:lnTo>
                    <a:pt x="124" y="180"/>
                  </a:lnTo>
                  <a:close/>
                  <a:moveTo>
                    <a:pt x="342" y="12"/>
                  </a:moveTo>
                  <a:lnTo>
                    <a:pt x="340" y="15"/>
                  </a:lnTo>
                  <a:lnTo>
                    <a:pt x="340" y="17"/>
                  </a:lnTo>
                  <a:lnTo>
                    <a:pt x="340" y="19"/>
                  </a:lnTo>
                  <a:lnTo>
                    <a:pt x="338" y="19"/>
                  </a:lnTo>
                  <a:lnTo>
                    <a:pt x="338" y="20"/>
                  </a:lnTo>
                  <a:lnTo>
                    <a:pt x="340" y="20"/>
                  </a:lnTo>
                  <a:lnTo>
                    <a:pt x="338" y="20"/>
                  </a:lnTo>
                  <a:lnTo>
                    <a:pt x="340" y="22"/>
                  </a:lnTo>
                  <a:lnTo>
                    <a:pt x="338" y="24"/>
                  </a:lnTo>
                  <a:lnTo>
                    <a:pt x="340" y="22"/>
                  </a:lnTo>
                  <a:lnTo>
                    <a:pt x="338" y="25"/>
                  </a:lnTo>
                  <a:lnTo>
                    <a:pt x="336" y="27"/>
                  </a:lnTo>
                  <a:lnTo>
                    <a:pt x="336" y="29"/>
                  </a:lnTo>
                  <a:lnTo>
                    <a:pt x="338" y="29"/>
                  </a:lnTo>
                  <a:lnTo>
                    <a:pt x="336" y="27"/>
                  </a:lnTo>
                  <a:lnTo>
                    <a:pt x="338" y="27"/>
                  </a:lnTo>
                  <a:lnTo>
                    <a:pt x="340" y="25"/>
                  </a:lnTo>
                  <a:lnTo>
                    <a:pt x="340" y="24"/>
                  </a:lnTo>
                  <a:lnTo>
                    <a:pt x="342" y="24"/>
                  </a:lnTo>
                  <a:lnTo>
                    <a:pt x="342" y="22"/>
                  </a:lnTo>
                  <a:lnTo>
                    <a:pt x="343" y="25"/>
                  </a:lnTo>
                  <a:lnTo>
                    <a:pt x="343" y="27"/>
                  </a:lnTo>
                  <a:lnTo>
                    <a:pt x="343" y="29"/>
                  </a:lnTo>
                  <a:lnTo>
                    <a:pt x="343" y="27"/>
                  </a:lnTo>
                  <a:lnTo>
                    <a:pt x="340" y="29"/>
                  </a:lnTo>
                  <a:lnTo>
                    <a:pt x="343" y="29"/>
                  </a:lnTo>
                  <a:lnTo>
                    <a:pt x="342" y="29"/>
                  </a:lnTo>
                  <a:lnTo>
                    <a:pt x="343" y="29"/>
                  </a:lnTo>
                  <a:lnTo>
                    <a:pt x="343" y="31"/>
                  </a:lnTo>
                  <a:lnTo>
                    <a:pt x="343" y="29"/>
                  </a:lnTo>
                  <a:lnTo>
                    <a:pt x="345" y="31"/>
                  </a:lnTo>
                  <a:lnTo>
                    <a:pt x="345" y="29"/>
                  </a:lnTo>
                  <a:lnTo>
                    <a:pt x="347" y="27"/>
                  </a:lnTo>
                  <a:lnTo>
                    <a:pt x="348" y="27"/>
                  </a:lnTo>
                  <a:lnTo>
                    <a:pt x="347" y="29"/>
                  </a:lnTo>
                  <a:lnTo>
                    <a:pt x="345" y="31"/>
                  </a:lnTo>
                  <a:lnTo>
                    <a:pt x="343" y="31"/>
                  </a:lnTo>
                  <a:lnTo>
                    <a:pt x="345" y="32"/>
                  </a:lnTo>
                  <a:lnTo>
                    <a:pt x="345" y="31"/>
                  </a:lnTo>
                  <a:lnTo>
                    <a:pt x="347" y="31"/>
                  </a:lnTo>
                  <a:lnTo>
                    <a:pt x="347" y="34"/>
                  </a:lnTo>
                  <a:lnTo>
                    <a:pt x="345" y="34"/>
                  </a:lnTo>
                  <a:lnTo>
                    <a:pt x="342" y="32"/>
                  </a:lnTo>
                  <a:lnTo>
                    <a:pt x="342" y="36"/>
                  </a:lnTo>
                  <a:lnTo>
                    <a:pt x="343" y="34"/>
                  </a:lnTo>
                  <a:lnTo>
                    <a:pt x="343" y="36"/>
                  </a:lnTo>
                  <a:lnTo>
                    <a:pt x="345" y="36"/>
                  </a:lnTo>
                  <a:lnTo>
                    <a:pt x="345" y="37"/>
                  </a:lnTo>
                  <a:lnTo>
                    <a:pt x="343" y="37"/>
                  </a:lnTo>
                  <a:lnTo>
                    <a:pt x="342" y="37"/>
                  </a:lnTo>
                  <a:lnTo>
                    <a:pt x="342" y="39"/>
                  </a:lnTo>
                  <a:lnTo>
                    <a:pt x="343" y="39"/>
                  </a:lnTo>
                  <a:lnTo>
                    <a:pt x="343" y="41"/>
                  </a:lnTo>
                  <a:lnTo>
                    <a:pt x="343" y="39"/>
                  </a:lnTo>
                  <a:lnTo>
                    <a:pt x="342" y="41"/>
                  </a:lnTo>
                  <a:lnTo>
                    <a:pt x="342" y="39"/>
                  </a:lnTo>
                  <a:lnTo>
                    <a:pt x="340" y="39"/>
                  </a:lnTo>
                  <a:lnTo>
                    <a:pt x="340" y="41"/>
                  </a:lnTo>
                  <a:lnTo>
                    <a:pt x="342" y="41"/>
                  </a:lnTo>
                  <a:lnTo>
                    <a:pt x="340" y="44"/>
                  </a:lnTo>
                  <a:lnTo>
                    <a:pt x="342" y="42"/>
                  </a:lnTo>
                  <a:lnTo>
                    <a:pt x="340" y="44"/>
                  </a:lnTo>
                  <a:lnTo>
                    <a:pt x="338" y="46"/>
                  </a:lnTo>
                  <a:lnTo>
                    <a:pt x="340" y="44"/>
                  </a:lnTo>
                  <a:lnTo>
                    <a:pt x="342" y="44"/>
                  </a:lnTo>
                  <a:lnTo>
                    <a:pt x="342" y="46"/>
                  </a:lnTo>
                  <a:lnTo>
                    <a:pt x="342" y="48"/>
                  </a:lnTo>
                  <a:lnTo>
                    <a:pt x="340" y="49"/>
                  </a:lnTo>
                  <a:lnTo>
                    <a:pt x="340" y="48"/>
                  </a:lnTo>
                  <a:lnTo>
                    <a:pt x="340" y="49"/>
                  </a:lnTo>
                  <a:lnTo>
                    <a:pt x="338" y="48"/>
                  </a:lnTo>
                  <a:lnTo>
                    <a:pt x="338" y="49"/>
                  </a:lnTo>
                  <a:lnTo>
                    <a:pt x="338" y="51"/>
                  </a:lnTo>
                  <a:lnTo>
                    <a:pt x="338" y="54"/>
                  </a:lnTo>
                  <a:lnTo>
                    <a:pt x="340" y="54"/>
                  </a:lnTo>
                  <a:lnTo>
                    <a:pt x="338" y="54"/>
                  </a:lnTo>
                  <a:lnTo>
                    <a:pt x="336" y="54"/>
                  </a:lnTo>
                  <a:lnTo>
                    <a:pt x="336" y="56"/>
                  </a:lnTo>
                  <a:lnTo>
                    <a:pt x="338" y="58"/>
                  </a:lnTo>
                  <a:lnTo>
                    <a:pt x="336" y="60"/>
                  </a:lnTo>
                  <a:lnTo>
                    <a:pt x="336" y="58"/>
                  </a:lnTo>
                  <a:lnTo>
                    <a:pt x="336" y="60"/>
                  </a:lnTo>
                  <a:lnTo>
                    <a:pt x="336" y="58"/>
                  </a:lnTo>
                  <a:lnTo>
                    <a:pt x="335" y="58"/>
                  </a:lnTo>
                  <a:lnTo>
                    <a:pt x="335" y="60"/>
                  </a:lnTo>
                  <a:lnTo>
                    <a:pt x="335" y="61"/>
                  </a:lnTo>
                  <a:lnTo>
                    <a:pt x="333" y="63"/>
                  </a:lnTo>
                  <a:lnTo>
                    <a:pt x="335" y="65"/>
                  </a:lnTo>
                  <a:lnTo>
                    <a:pt x="333" y="65"/>
                  </a:lnTo>
                  <a:lnTo>
                    <a:pt x="335" y="66"/>
                  </a:lnTo>
                  <a:lnTo>
                    <a:pt x="333" y="68"/>
                  </a:lnTo>
                  <a:lnTo>
                    <a:pt x="333" y="66"/>
                  </a:lnTo>
                  <a:lnTo>
                    <a:pt x="331" y="66"/>
                  </a:lnTo>
                  <a:lnTo>
                    <a:pt x="333" y="65"/>
                  </a:lnTo>
                  <a:lnTo>
                    <a:pt x="331" y="65"/>
                  </a:lnTo>
                  <a:lnTo>
                    <a:pt x="330" y="65"/>
                  </a:lnTo>
                  <a:lnTo>
                    <a:pt x="330" y="63"/>
                  </a:lnTo>
                  <a:lnTo>
                    <a:pt x="331" y="63"/>
                  </a:lnTo>
                  <a:lnTo>
                    <a:pt x="331" y="61"/>
                  </a:lnTo>
                  <a:lnTo>
                    <a:pt x="333" y="61"/>
                  </a:lnTo>
                  <a:lnTo>
                    <a:pt x="333" y="60"/>
                  </a:lnTo>
                  <a:lnTo>
                    <a:pt x="331" y="60"/>
                  </a:lnTo>
                  <a:lnTo>
                    <a:pt x="331" y="58"/>
                  </a:lnTo>
                  <a:lnTo>
                    <a:pt x="333" y="60"/>
                  </a:lnTo>
                  <a:lnTo>
                    <a:pt x="333" y="56"/>
                  </a:lnTo>
                  <a:lnTo>
                    <a:pt x="335" y="54"/>
                  </a:lnTo>
                  <a:lnTo>
                    <a:pt x="335" y="53"/>
                  </a:lnTo>
                  <a:lnTo>
                    <a:pt x="336" y="51"/>
                  </a:lnTo>
                  <a:lnTo>
                    <a:pt x="336" y="48"/>
                  </a:lnTo>
                  <a:lnTo>
                    <a:pt x="335" y="48"/>
                  </a:lnTo>
                  <a:lnTo>
                    <a:pt x="336" y="48"/>
                  </a:lnTo>
                  <a:lnTo>
                    <a:pt x="336" y="46"/>
                  </a:lnTo>
                  <a:lnTo>
                    <a:pt x="336" y="44"/>
                  </a:lnTo>
                  <a:lnTo>
                    <a:pt x="335" y="46"/>
                  </a:lnTo>
                  <a:lnTo>
                    <a:pt x="335" y="44"/>
                  </a:lnTo>
                  <a:lnTo>
                    <a:pt x="336" y="42"/>
                  </a:lnTo>
                  <a:lnTo>
                    <a:pt x="336" y="39"/>
                  </a:lnTo>
                  <a:lnTo>
                    <a:pt x="336" y="41"/>
                  </a:lnTo>
                  <a:lnTo>
                    <a:pt x="335" y="42"/>
                  </a:lnTo>
                  <a:lnTo>
                    <a:pt x="335" y="41"/>
                  </a:lnTo>
                  <a:lnTo>
                    <a:pt x="335" y="39"/>
                  </a:lnTo>
                  <a:lnTo>
                    <a:pt x="333" y="39"/>
                  </a:lnTo>
                  <a:lnTo>
                    <a:pt x="335" y="41"/>
                  </a:lnTo>
                  <a:lnTo>
                    <a:pt x="335" y="42"/>
                  </a:lnTo>
                  <a:lnTo>
                    <a:pt x="333" y="42"/>
                  </a:lnTo>
                  <a:lnTo>
                    <a:pt x="333" y="41"/>
                  </a:lnTo>
                  <a:lnTo>
                    <a:pt x="333" y="44"/>
                  </a:lnTo>
                  <a:lnTo>
                    <a:pt x="331" y="44"/>
                  </a:lnTo>
                  <a:lnTo>
                    <a:pt x="331" y="42"/>
                  </a:lnTo>
                  <a:lnTo>
                    <a:pt x="330" y="46"/>
                  </a:lnTo>
                  <a:lnTo>
                    <a:pt x="330" y="44"/>
                  </a:lnTo>
                  <a:lnTo>
                    <a:pt x="328" y="44"/>
                  </a:lnTo>
                  <a:lnTo>
                    <a:pt x="330" y="42"/>
                  </a:lnTo>
                  <a:lnTo>
                    <a:pt x="328" y="42"/>
                  </a:lnTo>
                  <a:lnTo>
                    <a:pt x="328" y="41"/>
                  </a:lnTo>
                  <a:lnTo>
                    <a:pt x="330" y="42"/>
                  </a:lnTo>
                  <a:lnTo>
                    <a:pt x="330" y="41"/>
                  </a:lnTo>
                  <a:lnTo>
                    <a:pt x="331" y="41"/>
                  </a:lnTo>
                  <a:lnTo>
                    <a:pt x="330" y="41"/>
                  </a:lnTo>
                  <a:lnTo>
                    <a:pt x="330" y="39"/>
                  </a:lnTo>
                  <a:lnTo>
                    <a:pt x="328" y="42"/>
                  </a:lnTo>
                  <a:lnTo>
                    <a:pt x="328" y="39"/>
                  </a:lnTo>
                  <a:lnTo>
                    <a:pt x="325" y="41"/>
                  </a:lnTo>
                  <a:lnTo>
                    <a:pt x="325" y="39"/>
                  </a:lnTo>
                  <a:lnTo>
                    <a:pt x="323" y="39"/>
                  </a:lnTo>
                  <a:lnTo>
                    <a:pt x="323" y="37"/>
                  </a:lnTo>
                  <a:lnTo>
                    <a:pt x="325" y="36"/>
                  </a:lnTo>
                  <a:lnTo>
                    <a:pt x="323" y="36"/>
                  </a:lnTo>
                  <a:lnTo>
                    <a:pt x="325" y="34"/>
                  </a:lnTo>
                  <a:lnTo>
                    <a:pt x="326" y="34"/>
                  </a:lnTo>
                  <a:lnTo>
                    <a:pt x="328" y="36"/>
                  </a:lnTo>
                  <a:lnTo>
                    <a:pt x="328" y="34"/>
                  </a:lnTo>
                  <a:lnTo>
                    <a:pt x="330" y="36"/>
                  </a:lnTo>
                  <a:lnTo>
                    <a:pt x="330" y="34"/>
                  </a:lnTo>
                  <a:lnTo>
                    <a:pt x="331" y="34"/>
                  </a:lnTo>
                  <a:lnTo>
                    <a:pt x="331" y="36"/>
                  </a:lnTo>
                  <a:lnTo>
                    <a:pt x="331" y="37"/>
                  </a:lnTo>
                  <a:lnTo>
                    <a:pt x="331" y="36"/>
                  </a:lnTo>
                  <a:lnTo>
                    <a:pt x="331" y="34"/>
                  </a:lnTo>
                  <a:lnTo>
                    <a:pt x="333" y="36"/>
                  </a:lnTo>
                  <a:lnTo>
                    <a:pt x="331" y="34"/>
                  </a:lnTo>
                  <a:lnTo>
                    <a:pt x="333" y="34"/>
                  </a:lnTo>
                  <a:lnTo>
                    <a:pt x="335" y="34"/>
                  </a:lnTo>
                  <a:lnTo>
                    <a:pt x="335" y="37"/>
                  </a:lnTo>
                  <a:lnTo>
                    <a:pt x="336" y="36"/>
                  </a:lnTo>
                  <a:lnTo>
                    <a:pt x="335" y="34"/>
                  </a:lnTo>
                  <a:lnTo>
                    <a:pt x="336" y="32"/>
                  </a:lnTo>
                  <a:lnTo>
                    <a:pt x="336" y="34"/>
                  </a:lnTo>
                  <a:lnTo>
                    <a:pt x="336" y="32"/>
                  </a:lnTo>
                  <a:lnTo>
                    <a:pt x="340" y="32"/>
                  </a:lnTo>
                  <a:lnTo>
                    <a:pt x="338" y="31"/>
                  </a:lnTo>
                  <a:lnTo>
                    <a:pt x="336" y="31"/>
                  </a:lnTo>
                  <a:lnTo>
                    <a:pt x="336" y="29"/>
                  </a:lnTo>
                  <a:lnTo>
                    <a:pt x="336" y="31"/>
                  </a:lnTo>
                  <a:lnTo>
                    <a:pt x="335" y="29"/>
                  </a:lnTo>
                  <a:lnTo>
                    <a:pt x="335" y="27"/>
                  </a:lnTo>
                  <a:lnTo>
                    <a:pt x="333" y="27"/>
                  </a:lnTo>
                  <a:lnTo>
                    <a:pt x="335" y="25"/>
                  </a:lnTo>
                  <a:lnTo>
                    <a:pt x="333" y="24"/>
                  </a:lnTo>
                  <a:lnTo>
                    <a:pt x="335" y="24"/>
                  </a:lnTo>
                  <a:lnTo>
                    <a:pt x="333" y="24"/>
                  </a:lnTo>
                  <a:lnTo>
                    <a:pt x="335" y="22"/>
                  </a:lnTo>
                  <a:lnTo>
                    <a:pt x="333" y="24"/>
                  </a:lnTo>
                  <a:lnTo>
                    <a:pt x="331" y="24"/>
                  </a:lnTo>
                  <a:lnTo>
                    <a:pt x="333" y="22"/>
                  </a:lnTo>
                  <a:lnTo>
                    <a:pt x="331" y="22"/>
                  </a:lnTo>
                  <a:lnTo>
                    <a:pt x="328" y="22"/>
                  </a:lnTo>
                  <a:lnTo>
                    <a:pt x="330" y="20"/>
                  </a:lnTo>
                  <a:lnTo>
                    <a:pt x="331" y="20"/>
                  </a:lnTo>
                  <a:lnTo>
                    <a:pt x="331" y="19"/>
                  </a:lnTo>
                  <a:lnTo>
                    <a:pt x="333" y="17"/>
                  </a:lnTo>
                  <a:lnTo>
                    <a:pt x="333" y="19"/>
                  </a:lnTo>
                  <a:lnTo>
                    <a:pt x="335" y="20"/>
                  </a:lnTo>
                  <a:lnTo>
                    <a:pt x="336" y="20"/>
                  </a:lnTo>
                  <a:lnTo>
                    <a:pt x="335" y="20"/>
                  </a:lnTo>
                  <a:lnTo>
                    <a:pt x="333" y="17"/>
                  </a:lnTo>
                  <a:lnTo>
                    <a:pt x="336" y="17"/>
                  </a:lnTo>
                  <a:lnTo>
                    <a:pt x="336" y="14"/>
                  </a:lnTo>
                  <a:lnTo>
                    <a:pt x="338" y="14"/>
                  </a:lnTo>
                  <a:lnTo>
                    <a:pt x="340" y="14"/>
                  </a:lnTo>
                  <a:lnTo>
                    <a:pt x="340" y="15"/>
                  </a:lnTo>
                  <a:lnTo>
                    <a:pt x="340" y="14"/>
                  </a:lnTo>
                  <a:lnTo>
                    <a:pt x="342" y="12"/>
                  </a:lnTo>
                  <a:close/>
                  <a:moveTo>
                    <a:pt x="115" y="253"/>
                  </a:moveTo>
                  <a:lnTo>
                    <a:pt x="117" y="255"/>
                  </a:lnTo>
                  <a:lnTo>
                    <a:pt x="117" y="257"/>
                  </a:lnTo>
                  <a:lnTo>
                    <a:pt x="117" y="259"/>
                  </a:lnTo>
                  <a:lnTo>
                    <a:pt x="119" y="260"/>
                  </a:lnTo>
                  <a:lnTo>
                    <a:pt x="119" y="262"/>
                  </a:lnTo>
                  <a:lnTo>
                    <a:pt x="119" y="264"/>
                  </a:lnTo>
                  <a:lnTo>
                    <a:pt x="119" y="265"/>
                  </a:lnTo>
                  <a:lnTo>
                    <a:pt x="121" y="264"/>
                  </a:lnTo>
                  <a:lnTo>
                    <a:pt x="121" y="265"/>
                  </a:lnTo>
                  <a:lnTo>
                    <a:pt x="122" y="265"/>
                  </a:lnTo>
                  <a:lnTo>
                    <a:pt x="124" y="267"/>
                  </a:lnTo>
                  <a:lnTo>
                    <a:pt x="126" y="267"/>
                  </a:lnTo>
                  <a:lnTo>
                    <a:pt x="126" y="269"/>
                  </a:lnTo>
                  <a:lnTo>
                    <a:pt x="127" y="269"/>
                  </a:lnTo>
                  <a:lnTo>
                    <a:pt x="129" y="272"/>
                  </a:lnTo>
                  <a:lnTo>
                    <a:pt x="131" y="272"/>
                  </a:lnTo>
                  <a:lnTo>
                    <a:pt x="129" y="274"/>
                  </a:lnTo>
                  <a:lnTo>
                    <a:pt x="129" y="272"/>
                  </a:lnTo>
                  <a:lnTo>
                    <a:pt x="129" y="274"/>
                  </a:lnTo>
                  <a:lnTo>
                    <a:pt x="127" y="276"/>
                  </a:lnTo>
                  <a:lnTo>
                    <a:pt x="126" y="276"/>
                  </a:lnTo>
                  <a:lnTo>
                    <a:pt x="127" y="274"/>
                  </a:lnTo>
                  <a:lnTo>
                    <a:pt x="126" y="274"/>
                  </a:lnTo>
                  <a:lnTo>
                    <a:pt x="126" y="276"/>
                  </a:lnTo>
                  <a:lnTo>
                    <a:pt x="124" y="277"/>
                  </a:lnTo>
                  <a:lnTo>
                    <a:pt x="127" y="276"/>
                  </a:lnTo>
                  <a:lnTo>
                    <a:pt x="127" y="277"/>
                  </a:lnTo>
                  <a:lnTo>
                    <a:pt x="124" y="279"/>
                  </a:lnTo>
                  <a:lnTo>
                    <a:pt x="122" y="279"/>
                  </a:lnTo>
                  <a:lnTo>
                    <a:pt x="121" y="279"/>
                  </a:lnTo>
                  <a:lnTo>
                    <a:pt x="121" y="281"/>
                  </a:lnTo>
                  <a:lnTo>
                    <a:pt x="119" y="279"/>
                  </a:lnTo>
                  <a:lnTo>
                    <a:pt x="121" y="277"/>
                  </a:lnTo>
                  <a:lnTo>
                    <a:pt x="119" y="277"/>
                  </a:lnTo>
                  <a:lnTo>
                    <a:pt x="117" y="279"/>
                  </a:lnTo>
                  <a:lnTo>
                    <a:pt x="115" y="277"/>
                  </a:lnTo>
                  <a:lnTo>
                    <a:pt x="112" y="279"/>
                  </a:lnTo>
                  <a:lnTo>
                    <a:pt x="109" y="279"/>
                  </a:lnTo>
                  <a:lnTo>
                    <a:pt x="107" y="279"/>
                  </a:lnTo>
                  <a:lnTo>
                    <a:pt x="105" y="277"/>
                  </a:lnTo>
                  <a:lnTo>
                    <a:pt x="104" y="279"/>
                  </a:lnTo>
                  <a:lnTo>
                    <a:pt x="102" y="279"/>
                  </a:lnTo>
                  <a:lnTo>
                    <a:pt x="102" y="277"/>
                  </a:lnTo>
                  <a:lnTo>
                    <a:pt x="100" y="277"/>
                  </a:lnTo>
                  <a:lnTo>
                    <a:pt x="102" y="276"/>
                  </a:lnTo>
                  <a:lnTo>
                    <a:pt x="100" y="276"/>
                  </a:lnTo>
                  <a:lnTo>
                    <a:pt x="102" y="274"/>
                  </a:lnTo>
                  <a:lnTo>
                    <a:pt x="104" y="274"/>
                  </a:lnTo>
                  <a:lnTo>
                    <a:pt x="105" y="274"/>
                  </a:lnTo>
                  <a:lnTo>
                    <a:pt x="105" y="276"/>
                  </a:lnTo>
                  <a:lnTo>
                    <a:pt x="104" y="276"/>
                  </a:lnTo>
                  <a:lnTo>
                    <a:pt x="105" y="276"/>
                  </a:lnTo>
                  <a:lnTo>
                    <a:pt x="105" y="274"/>
                  </a:lnTo>
                  <a:lnTo>
                    <a:pt x="107" y="274"/>
                  </a:lnTo>
                  <a:lnTo>
                    <a:pt x="107" y="276"/>
                  </a:lnTo>
                  <a:lnTo>
                    <a:pt x="109" y="276"/>
                  </a:lnTo>
                  <a:lnTo>
                    <a:pt x="110" y="276"/>
                  </a:lnTo>
                  <a:lnTo>
                    <a:pt x="112" y="276"/>
                  </a:lnTo>
                  <a:lnTo>
                    <a:pt x="115" y="274"/>
                  </a:lnTo>
                  <a:lnTo>
                    <a:pt x="117" y="274"/>
                  </a:lnTo>
                  <a:lnTo>
                    <a:pt x="115" y="274"/>
                  </a:lnTo>
                  <a:lnTo>
                    <a:pt x="115" y="272"/>
                  </a:lnTo>
                  <a:lnTo>
                    <a:pt x="114" y="272"/>
                  </a:lnTo>
                  <a:lnTo>
                    <a:pt x="114" y="274"/>
                  </a:lnTo>
                  <a:lnTo>
                    <a:pt x="114" y="272"/>
                  </a:lnTo>
                  <a:lnTo>
                    <a:pt x="112" y="274"/>
                  </a:lnTo>
                  <a:lnTo>
                    <a:pt x="110" y="274"/>
                  </a:lnTo>
                  <a:lnTo>
                    <a:pt x="109" y="274"/>
                  </a:lnTo>
                  <a:lnTo>
                    <a:pt x="109" y="272"/>
                  </a:lnTo>
                  <a:lnTo>
                    <a:pt x="110" y="270"/>
                  </a:lnTo>
                  <a:lnTo>
                    <a:pt x="112" y="269"/>
                  </a:lnTo>
                  <a:lnTo>
                    <a:pt x="115" y="269"/>
                  </a:lnTo>
                  <a:lnTo>
                    <a:pt x="117" y="267"/>
                  </a:lnTo>
                  <a:lnTo>
                    <a:pt x="117" y="265"/>
                  </a:lnTo>
                  <a:lnTo>
                    <a:pt x="115" y="265"/>
                  </a:lnTo>
                  <a:lnTo>
                    <a:pt x="114" y="265"/>
                  </a:lnTo>
                  <a:lnTo>
                    <a:pt x="112" y="267"/>
                  </a:lnTo>
                  <a:lnTo>
                    <a:pt x="112" y="265"/>
                  </a:lnTo>
                  <a:lnTo>
                    <a:pt x="112" y="264"/>
                  </a:lnTo>
                  <a:lnTo>
                    <a:pt x="110" y="264"/>
                  </a:lnTo>
                  <a:lnTo>
                    <a:pt x="109" y="262"/>
                  </a:lnTo>
                  <a:lnTo>
                    <a:pt x="107" y="262"/>
                  </a:lnTo>
                  <a:lnTo>
                    <a:pt x="105" y="260"/>
                  </a:lnTo>
                  <a:lnTo>
                    <a:pt x="105" y="259"/>
                  </a:lnTo>
                  <a:lnTo>
                    <a:pt x="107" y="259"/>
                  </a:lnTo>
                  <a:lnTo>
                    <a:pt x="109" y="259"/>
                  </a:lnTo>
                  <a:lnTo>
                    <a:pt x="107" y="257"/>
                  </a:lnTo>
                  <a:lnTo>
                    <a:pt x="107" y="255"/>
                  </a:lnTo>
                  <a:lnTo>
                    <a:pt x="110" y="255"/>
                  </a:lnTo>
                  <a:lnTo>
                    <a:pt x="110" y="257"/>
                  </a:lnTo>
                  <a:lnTo>
                    <a:pt x="110" y="259"/>
                  </a:lnTo>
                  <a:lnTo>
                    <a:pt x="112" y="259"/>
                  </a:lnTo>
                  <a:lnTo>
                    <a:pt x="110" y="257"/>
                  </a:lnTo>
                  <a:lnTo>
                    <a:pt x="110" y="255"/>
                  </a:lnTo>
                  <a:lnTo>
                    <a:pt x="112" y="255"/>
                  </a:lnTo>
                  <a:lnTo>
                    <a:pt x="112" y="253"/>
                  </a:lnTo>
                  <a:lnTo>
                    <a:pt x="115" y="253"/>
                  </a:lnTo>
                  <a:close/>
                  <a:moveTo>
                    <a:pt x="134" y="488"/>
                  </a:moveTo>
                  <a:lnTo>
                    <a:pt x="138" y="490"/>
                  </a:lnTo>
                  <a:lnTo>
                    <a:pt x="139" y="492"/>
                  </a:lnTo>
                  <a:lnTo>
                    <a:pt x="139" y="493"/>
                  </a:lnTo>
                  <a:lnTo>
                    <a:pt x="139" y="495"/>
                  </a:lnTo>
                  <a:lnTo>
                    <a:pt x="139" y="493"/>
                  </a:lnTo>
                  <a:lnTo>
                    <a:pt x="141" y="495"/>
                  </a:lnTo>
                  <a:lnTo>
                    <a:pt x="141" y="497"/>
                  </a:lnTo>
                  <a:lnTo>
                    <a:pt x="141" y="498"/>
                  </a:lnTo>
                  <a:lnTo>
                    <a:pt x="141" y="500"/>
                  </a:lnTo>
                  <a:lnTo>
                    <a:pt x="144" y="500"/>
                  </a:lnTo>
                  <a:lnTo>
                    <a:pt x="146" y="498"/>
                  </a:lnTo>
                  <a:lnTo>
                    <a:pt x="148" y="500"/>
                  </a:lnTo>
                  <a:lnTo>
                    <a:pt x="146" y="502"/>
                  </a:lnTo>
                  <a:lnTo>
                    <a:pt x="144" y="503"/>
                  </a:lnTo>
                  <a:lnTo>
                    <a:pt x="143" y="505"/>
                  </a:lnTo>
                  <a:lnTo>
                    <a:pt x="141" y="505"/>
                  </a:lnTo>
                  <a:lnTo>
                    <a:pt x="139" y="507"/>
                  </a:lnTo>
                  <a:lnTo>
                    <a:pt x="138" y="507"/>
                  </a:lnTo>
                  <a:lnTo>
                    <a:pt x="136" y="509"/>
                  </a:lnTo>
                  <a:lnTo>
                    <a:pt x="134" y="509"/>
                  </a:lnTo>
                  <a:lnTo>
                    <a:pt x="134" y="510"/>
                  </a:lnTo>
                  <a:lnTo>
                    <a:pt x="132" y="510"/>
                  </a:lnTo>
                  <a:lnTo>
                    <a:pt x="131" y="509"/>
                  </a:lnTo>
                  <a:lnTo>
                    <a:pt x="131" y="507"/>
                  </a:lnTo>
                  <a:lnTo>
                    <a:pt x="132" y="507"/>
                  </a:lnTo>
                  <a:lnTo>
                    <a:pt x="132" y="505"/>
                  </a:lnTo>
                  <a:lnTo>
                    <a:pt x="131" y="507"/>
                  </a:lnTo>
                  <a:lnTo>
                    <a:pt x="129" y="507"/>
                  </a:lnTo>
                  <a:lnTo>
                    <a:pt x="129" y="505"/>
                  </a:lnTo>
                  <a:lnTo>
                    <a:pt x="127" y="505"/>
                  </a:lnTo>
                  <a:lnTo>
                    <a:pt x="127" y="503"/>
                  </a:lnTo>
                  <a:lnTo>
                    <a:pt x="127" y="502"/>
                  </a:lnTo>
                  <a:lnTo>
                    <a:pt x="126" y="500"/>
                  </a:lnTo>
                  <a:lnTo>
                    <a:pt x="127" y="498"/>
                  </a:lnTo>
                  <a:lnTo>
                    <a:pt x="126" y="498"/>
                  </a:lnTo>
                  <a:lnTo>
                    <a:pt x="126" y="497"/>
                  </a:lnTo>
                  <a:lnTo>
                    <a:pt x="126" y="498"/>
                  </a:lnTo>
                  <a:lnTo>
                    <a:pt x="126" y="500"/>
                  </a:lnTo>
                  <a:lnTo>
                    <a:pt x="124" y="500"/>
                  </a:lnTo>
                  <a:lnTo>
                    <a:pt x="124" y="498"/>
                  </a:lnTo>
                  <a:lnTo>
                    <a:pt x="122" y="497"/>
                  </a:lnTo>
                  <a:lnTo>
                    <a:pt x="122" y="495"/>
                  </a:lnTo>
                  <a:lnTo>
                    <a:pt x="121" y="495"/>
                  </a:lnTo>
                  <a:lnTo>
                    <a:pt x="122" y="493"/>
                  </a:lnTo>
                  <a:lnTo>
                    <a:pt x="124" y="495"/>
                  </a:lnTo>
                  <a:lnTo>
                    <a:pt x="126" y="497"/>
                  </a:lnTo>
                  <a:lnTo>
                    <a:pt x="127" y="495"/>
                  </a:lnTo>
                  <a:lnTo>
                    <a:pt x="126" y="495"/>
                  </a:lnTo>
                  <a:lnTo>
                    <a:pt x="127" y="493"/>
                  </a:lnTo>
                  <a:lnTo>
                    <a:pt x="127" y="492"/>
                  </a:lnTo>
                  <a:lnTo>
                    <a:pt x="127" y="490"/>
                  </a:lnTo>
                  <a:lnTo>
                    <a:pt x="131" y="490"/>
                  </a:lnTo>
                  <a:lnTo>
                    <a:pt x="132" y="488"/>
                  </a:lnTo>
                  <a:lnTo>
                    <a:pt x="132" y="490"/>
                  </a:lnTo>
                  <a:lnTo>
                    <a:pt x="134" y="488"/>
                  </a:lnTo>
                  <a:close/>
                  <a:moveTo>
                    <a:pt x="258" y="104"/>
                  </a:moveTo>
                  <a:lnTo>
                    <a:pt x="258" y="105"/>
                  </a:lnTo>
                  <a:lnTo>
                    <a:pt x="260" y="107"/>
                  </a:lnTo>
                  <a:lnTo>
                    <a:pt x="262" y="107"/>
                  </a:lnTo>
                  <a:lnTo>
                    <a:pt x="262" y="109"/>
                  </a:lnTo>
                  <a:lnTo>
                    <a:pt x="263" y="111"/>
                  </a:lnTo>
                  <a:lnTo>
                    <a:pt x="263" y="114"/>
                  </a:lnTo>
                  <a:lnTo>
                    <a:pt x="262" y="112"/>
                  </a:lnTo>
                  <a:lnTo>
                    <a:pt x="260" y="114"/>
                  </a:lnTo>
                  <a:lnTo>
                    <a:pt x="258" y="116"/>
                  </a:lnTo>
                  <a:lnTo>
                    <a:pt x="260" y="116"/>
                  </a:lnTo>
                  <a:lnTo>
                    <a:pt x="262" y="116"/>
                  </a:lnTo>
                  <a:lnTo>
                    <a:pt x="263" y="117"/>
                  </a:lnTo>
                  <a:lnTo>
                    <a:pt x="265" y="116"/>
                  </a:lnTo>
                  <a:lnTo>
                    <a:pt x="267" y="116"/>
                  </a:lnTo>
                  <a:lnTo>
                    <a:pt x="265" y="117"/>
                  </a:lnTo>
                  <a:lnTo>
                    <a:pt x="267" y="117"/>
                  </a:lnTo>
                  <a:lnTo>
                    <a:pt x="265" y="117"/>
                  </a:lnTo>
                  <a:lnTo>
                    <a:pt x="265" y="119"/>
                  </a:lnTo>
                  <a:lnTo>
                    <a:pt x="267" y="119"/>
                  </a:lnTo>
                  <a:lnTo>
                    <a:pt x="267" y="117"/>
                  </a:lnTo>
                  <a:lnTo>
                    <a:pt x="270" y="117"/>
                  </a:lnTo>
                  <a:lnTo>
                    <a:pt x="270" y="121"/>
                  </a:lnTo>
                  <a:lnTo>
                    <a:pt x="267" y="121"/>
                  </a:lnTo>
                  <a:lnTo>
                    <a:pt x="268" y="122"/>
                  </a:lnTo>
                  <a:lnTo>
                    <a:pt x="267" y="122"/>
                  </a:lnTo>
                  <a:lnTo>
                    <a:pt x="268" y="122"/>
                  </a:lnTo>
                  <a:lnTo>
                    <a:pt x="268" y="124"/>
                  </a:lnTo>
                  <a:lnTo>
                    <a:pt x="268" y="121"/>
                  </a:lnTo>
                  <a:lnTo>
                    <a:pt x="270" y="121"/>
                  </a:lnTo>
                  <a:lnTo>
                    <a:pt x="272" y="121"/>
                  </a:lnTo>
                  <a:lnTo>
                    <a:pt x="272" y="122"/>
                  </a:lnTo>
                  <a:lnTo>
                    <a:pt x="272" y="124"/>
                  </a:lnTo>
                  <a:lnTo>
                    <a:pt x="268" y="124"/>
                  </a:lnTo>
                  <a:lnTo>
                    <a:pt x="267" y="126"/>
                  </a:lnTo>
                  <a:lnTo>
                    <a:pt x="265" y="124"/>
                  </a:lnTo>
                  <a:lnTo>
                    <a:pt x="263" y="126"/>
                  </a:lnTo>
                  <a:lnTo>
                    <a:pt x="265" y="126"/>
                  </a:lnTo>
                  <a:lnTo>
                    <a:pt x="265" y="128"/>
                  </a:lnTo>
                  <a:lnTo>
                    <a:pt x="263" y="128"/>
                  </a:lnTo>
                  <a:lnTo>
                    <a:pt x="265" y="129"/>
                  </a:lnTo>
                  <a:lnTo>
                    <a:pt x="262" y="131"/>
                  </a:lnTo>
                  <a:lnTo>
                    <a:pt x="262" y="133"/>
                  </a:lnTo>
                  <a:lnTo>
                    <a:pt x="263" y="134"/>
                  </a:lnTo>
                  <a:lnTo>
                    <a:pt x="262" y="134"/>
                  </a:lnTo>
                  <a:lnTo>
                    <a:pt x="260" y="134"/>
                  </a:lnTo>
                  <a:lnTo>
                    <a:pt x="260" y="133"/>
                  </a:lnTo>
                  <a:lnTo>
                    <a:pt x="260" y="131"/>
                  </a:lnTo>
                  <a:lnTo>
                    <a:pt x="260" y="129"/>
                  </a:lnTo>
                  <a:lnTo>
                    <a:pt x="262" y="129"/>
                  </a:lnTo>
                  <a:lnTo>
                    <a:pt x="258" y="129"/>
                  </a:lnTo>
                  <a:lnTo>
                    <a:pt x="260" y="128"/>
                  </a:lnTo>
                  <a:lnTo>
                    <a:pt x="262" y="128"/>
                  </a:lnTo>
                  <a:lnTo>
                    <a:pt x="262" y="129"/>
                  </a:lnTo>
                  <a:lnTo>
                    <a:pt x="263" y="128"/>
                  </a:lnTo>
                  <a:lnTo>
                    <a:pt x="262" y="128"/>
                  </a:lnTo>
                  <a:lnTo>
                    <a:pt x="263" y="128"/>
                  </a:lnTo>
                  <a:lnTo>
                    <a:pt x="263" y="126"/>
                  </a:lnTo>
                  <a:lnTo>
                    <a:pt x="265" y="124"/>
                  </a:lnTo>
                  <a:lnTo>
                    <a:pt x="263" y="124"/>
                  </a:lnTo>
                  <a:lnTo>
                    <a:pt x="263" y="121"/>
                  </a:lnTo>
                  <a:lnTo>
                    <a:pt x="263" y="119"/>
                  </a:lnTo>
                  <a:lnTo>
                    <a:pt x="260" y="121"/>
                  </a:lnTo>
                  <a:lnTo>
                    <a:pt x="258" y="119"/>
                  </a:lnTo>
                  <a:lnTo>
                    <a:pt x="258" y="121"/>
                  </a:lnTo>
                  <a:lnTo>
                    <a:pt x="257" y="121"/>
                  </a:lnTo>
                  <a:lnTo>
                    <a:pt x="255" y="121"/>
                  </a:lnTo>
                  <a:lnTo>
                    <a:pt x="253" y="119"/>
                  </a:lnTo>
                  <a:lnTo>
                    <a:pt x="253" y="117"/>
                  </a:lnTo>
                  <a:lnTo>
                    <a:pt x="253" y="116"/>
                  </a:lnTo>
                  <a:lnTo>
                    <a:pt x="251" y="117"/>
                  </a:lnTo>
                  <a:lnTo>
                    <a:pt x="251" y="116"/>
                  </a:lnTo>
                  <a:lnTo>
                    <a:pt x="251" y="117"/>
                  </a:lnTo>
                  <a:lnTo>
                    <a:pt x="250" y="116"/>
                  </a:lnTo>
                  <a:lnTo>
                    <a:pt x="250" y="114"/>
                  </a:lnTo>
                  <a:lnTo>
                    <a:pt x="250" y="112"/>
                  </a:lnTo>
                  <a:lnTo>
                    <a:pt x="251" y="111"/>
                  </a:lnTo>
                  <a:lnTo>
                    <a:pt x="251" y="109"/>
                  </a:lnTo>
                  <a:lnTo>
                    <a:pt x="251" y="107"/>
                  </a:lnTo>
                  <a:lnTo>
                    <a:pt x="253" y="105"/>
                  </a:lnTo>
                  <a:lnTo>
                    <a:pt x="255" y="105"/>
                  </a:lnTo>
                  <a:lnTo>
                    <a:pt x="257" y="104"/>
                  </a:lnTo>
                  <a:lnTo>
                    <a:pt x="258" y="104"/>
                  </a:lnTo>
                  <a:close/>
                  <a:moveTo>
                    <a:pt x="104" y="303"/>
                  </a:moveTo>
                  <a:lnTo>
                    <a:pt x="104" y="304"/>
                  </a:lnTo>
                  <a:lnTo>
                    <a:pt x="104" y="306"/>
                  </a:lnTo>
                  <a:lnTo>
                    <a:pt x="104" y="310"/>
                  </a:lnTo>
                  <a:lnTo>
                    <a:pt x="104" y="311"/>
                  </a:lnTo>
                  <a:lnTo>
                    <a:pt x="104" y="315"/>
                  </a:lnTo>
                  <a:lnTo>
                    <a:pt x="104" y="316"/>
                  </a:lnTo>
                  <a:lnTo>
                    <a:pt x="104" y="318"/>
                  </a:lnTo>
                  <a:lnTo>
                    <a:pt x="104" y="320"/>
                  </a:lnTo>
                  <a:lnTo>
                    <a:pt x="104" y="321"/>
                  </a:lnTo>
                  <a:lnTo>
                    <a:pt x="102" y="323"/>
                  </a:lnTo>
                  <a:lnTo>
                    <a:pt x="98" y="325"/>
                  </a:lnTo>
                  <a:lnTo>
                    <a:pt x="98" y="323"/>
                  </a:lnTo>
                  <a:lnTo>
                    <a:pt x="97" y="323"/>
                  </a:lnTo>
                  <a:lnTo>
                    <a:pt x="95" y="323"/>
                  </a:lnTo>
                  <a:lnTo>
                    <a:pt x="93" y="325"/>
                  </a:lnTo>
                  <a:lnTo>
                    <a:pt x="92" y="325"/>
                  </a:lnTo>
                  <a:lnTo>
                    <a:pt x="90" y="325"/>
                  </a:lnTo>
                  <a:lnTo>
                    <a:pt x="92" y="323"/>
                  </a:lnTo>
                  <a:lnTo>
                    <a:pt x="93" y="321"/>
                  </a:lnTo>
                  <a:lnTo>
                    <a:pt x="95" y="321"/>
                  </a:lnTo>
                  <a:lnTo>
                    <a:pt x="95" y="320"/>
                  </a:lnTo>
                  <a:lnTo>
                    <a:pt x="93" y="318"/>
                  </a:lnTo>
                  <a:lnTo>
                    <a:pt x="93" y="316"/>
                  </a:lnTo>
                  <a:lnTo>
                    <a:pt x="92" y="316"/>
                  </a:lnTo>
                  <a:lnTo>
                    <a:pt x="93" y="315"/>
                  </a:lnTo>
                  <a:lnTo>
                    <a:pt x="95" y="313"/>
                  </a:lnTo>
                  <a:lnTo>
                    <a:pt x="97" y="313"/>
                  </a:lnTo>
                  <a:lnTo>
                    <a:pt x="95" y="313"/>
                  </a:lnTo>
                  <a:lnTo>
                    <a:pt x="93" y="311"/>
                  </a:lnTo>
                  <a:lnTo>
                    <a:pt x="92" y="315"/>
                  </a:lnTo>
                  <a:lnTo>
                    <a:pt x="90" y="316"/>
                  </a:lnTo>
                  <a:lnTo>
                    <a:pt x="87" y="318"/>
                  </a:lnTo>
                  <a:lnTo>
                    <a:pt x="85" y="316"/>
                  </a:lnTo>
                  <a:lnTo>
                    <a:pt x="87" y="315"/>
                  </a:lnTo>
                  <a:lnTo>
                    <a:pt x="87" y="313"/>
                  </a:lnTo>
                  <a:lnTo>
                    <a:pt x="88" y="313"/>
                  </a:lnTo>
                  <a:lnTo>
                    <a:pt x="88" y="311"/>
                  </a:lnTo>
                  <a:lnTo>
                    <a:pt x="88" y="310"/>
                  </a:lnTo>
                  <a:lnTo>
                    <a:pt x="90" y="310"/>
                  </a:lnTo>
                  <a:lnTo>
                    <a:pt x="90" y="306"/>
                  </a:lnTo>
                  <a:lnTo>
                    <a:pt x="93" y="306"/>
                  </a:lnTo>
                  <a:lnTo>
                    <a:pt x="93" y="304"/>
                  </a:lnTo>
                  <a:lnTo>
                    <a:pt x="95" y="304"/>
                  </a:lnTo>
                  <a:lnTo>
                    <a:pt x="95" y="306"/>
                  </a:lnTo>
                  <a:lnTo>
                    <a:pt x="93" y="308"/>
                  </a:lnTo>
                  <a:lnTo>
                    <a:pt x="95" y="310"/>
                  </a:lnTo>
                  <a:lnTo>
                    <a:pt x="95" y="308"/>
                  </a:lnTo>
                  <a:lnTo>
                    <a:pt x="97" y="306"/>
                  </a:lnTo>
                  <a:lnTo>
                    <a:pt x="95" y="306"/>
                  </a:lnTo>
                  <a:lnTo>
                    <a:pt x="97" y="306"/>
                  </a:lnTo>
                  <a:lnTo>
                    <a:pt x="98" y="304"/>
                  </a:lnTo>
                  <a:lnTo>
                    <a:pt x="102" y="303"/>
                  </a:lnTo>
                  <a:lnTo>
                    <a:pt x="104" y="303"/>
                  </a:lnTo>
                  <a:close/>
                  <a:moveTo>
                    <a:pt x="134" y="325"/>
                  </a:moveTo>
                  <a:lnTo>
                    <a:pt x="136" y="327"/>
                  </a:lnTo>
                  <a:lnTo>
                    <a:pt x="138" y="328"/>
                  </a:lnTo>
                  <a:lnTo>
                    <a:pt x="138" y="332"/>
                  </a:lnTo>
                  <a:lnTo>
                    <a:pt x="138" y="333"/>
                  </a:lnTo>
                  <a:lnTo>
                    <a:pt x="136" y="335"/>
                  </a:lnTo>
                  <a:lnTo>
                    <a:pt x="138" y="337"/>
                  </a:lnTo>
                  <a:lnTo>
                    <a:pt x="138" y="338"/>
                  </a:lnTo>
                  <a:lnTo>
                    <a:pt x="136" y="338"/>
                  </a:lnTo>
                  <a:lnTo>
                    <a:pt x="138" y="342"/>
                  </a:lnTo>
                  <a:lnTo>
                    <a:pt x="138" y="344"/>
                  </a:lnTo>
                  <a:lnTo>
                    <a:pt x="136" y="345"/>
                  </a:lnTo>
                  <a:lnTo>
                    <a:pt x="134" y="345"/>
                  </a:lnTo>
                  <a:lnTo>
                    <a:pt x="132" y="345"/>
                  </a:lnTo>
                  <a:lnTo>
                    <a:pt x="131" y="345"/>
                  </a:lnTo>
                  <a:lnTo>
                    <a:pt x="129" y="344"/>
                  </a:lnTo>
                  <a:lnTo>
                    <a:pt x="127" y="342"/>
                  </a:lnTo>
                  <a:lnTo>
                    <a:pt x="127" y="340"/>
                  </a:lnTo>
                  <a:lnTo>
                    <a:pt x="127" y="338"/>
                  </a:lnTo>
                  <a:lnTo>
                    <a:pt x="127" y="337"/>
                  </a:lnTo>
                  <a:lnTo>
                    <a:pt x="129" y="335"/>
                  </a:lnTo>
                  <a:lnTo>
                    <a:pt x="127" y="333"/>
                  </a:lnTo>
                  <a:lnTo>
                    <a:pt x="127" y="332"/>
                  </a:lnTo>
                  <a:lnTo>
                    <a:pt x="127" y="330"/>
                  </a:lnTo>
                  <a:lnTo>
                    <a:pt x="129" y="327"/>
                  </a:lnTo>
                  <a:lnTo>
                    <a:pt x="131" y="325"/>
                  </a:lnTo>
                  <a:lnTo>
                    <a:pt x="132" y="327"/>
                  </a:lnTo>
                  <a:lnTo>
                    <a:pt x="132" y="325"/>
                  </a:lnTo>
                  <a:lnTo>
                    <a:pt x="134" y="325"/>
                  </a:lnTo>
                  <a:close/>
                  <a:moveTo>
                    <a:pt x="124" y="293"/>
                  </a:moveTo>
                  <a:lnTo>
                    <a:pt x="124" y="294"/>
                  </a:lnTo>
                  <a:lnTo>
                    <a:pt x="122" y="294"/>
                  </a:lnTo>
                  <a:lnTo>
                    <a:pt x="122" y="296"/>
                  </a:lnTo>
                  <a:lnTo>
                    <a:pt x="121" y="298"/>
                  </a:lnTo>
                  <a:lnTo>
                    <a:pt x="121" y="299"/>
                  </a:lnTo>
                  <a:lnTo>
                    <a:pt x="119" y="301"/>
                  </a:lnTo>
                  <a:lnTo>
                    <a:pt x="117" y="301"/>
                  </a:lnTo>
                  <a:lnTo>
                    <a:pt x="115" y="303"/>
                  </a:lnTo>
                  <a:lnTo>
                    <a:pt x="115" y="304"/>
                  </a:lnTo>
                  <a:lnTo>
                    <a:pt x="114" y="308"/>
                  </a:lnTo>
                  <a:lnTo>
                    <a:pt x="112" y="310"/>
                  </a:lnTo>
                  <a:lnTo>
                    <a:pt x="112" y="308"/>
                  </a:lnTo>
                  <a:lnTo>
                    <a:pt x="112" y="310"/>
                  </a:lnTo>
                  <a:lnTo>
                    <a:pt x="110" y="310"/>
                  </a:lnTo>
                  <a:lnTo>
                    <a:pt x="109" y="313"/>
                  </a:lnTo>
                  <a:lnTo>
                    <a:pt x="109" y="315"/>
                  </a:lnTo>
                  <a:lnTo>
                    <a:pt x="105" y="313"/>
                  </a:lnTo>
                  <a:lnTo>
                    <a:pt x="104" y="313"/>
                  </a:lnTo>
                  <a:lnTo>
                    <a:pt x="104" y="311"/>
                  </a:lnTo>
                  <a:lnTo>
                    <a:pt x="104" y="308"/>
                  </a:lnTo>
                  <a:lnTo>
                    <a:pt x="105" y="306"/>
                  </a:lnTo>
                  <a:lnTo>
                    <a:pt x="107" y="303"/>
                  </a:lnTo>
                  <a:lnTo>
                    <a:pt x="109" y="303"/>
                  </a:lnTo>
                  <a:lnTo>
                    <a:pt x="110" y="303"/>
                  </a:lnTo>
                  <a:lnTo>
                    <a:pt x="112" y="303"/>
                  </a:lnTo>
                  <a:lnTo>
                    <a:pt x="109" y="301"/>
                  </a:lnTo>
                  <a:lnTo>
                    <a:pt x="110" y="301"/>
                  </a:lnTo>
                  <a:lnTo>
                    <a:pt x="112" y="299"/>
                  </a:lnTo>
                  <a:lnTo>
                    <a:pt x="112" y="298"/>
                  </a:lnTo>
                  <a:lnTo>
                    <a:pt x="114" y="298"/>
                  </a:lnTo>
                  <a:lnTo>
                    <a:pt x="115" y="296"/>
                  </a:lnTo>
                  <a:lnTo>
                    <a:pt x="117" y="294"/>
                  </a:lnTo>
                  <a:lnTo>
                    <a:pt x="117" y="296"/>
                  </a:lnTo>
                  <a:lnTo>
                    <a:pt x="119" y="294"/>
                  </a:lnTo>
                  <a:lnTo>
                    <a:pt x="122" y="293"/>
                  </a:lnTo>
                  <a:lnTo>
                    <a:pt x="124" y="293"/>
                  </a:lnTo>
                  <a:close/>
                  <a:moveTo>
                    <a:pt x="233" y="696"/>
                  </a:moveTo>
                  <a:lnTo>
                    <a:pt x="234" y="696"/>
                  </a:lnTo>
                  <a:lnTo>
                    <a:pt x="236" y="699"/>
                  </a:lnTo>
                  <a:lnTo>
                    <a:pt x="240" y="699"/>
                  </a:lnTo>
                  <a:lnTo>
                    <a:pt x="241" y="701"/>
                  </a:lnTo>
                  <a:lnTo>
                    <a:pt x="241" y="703"/>
                  </a:lnTo>
                  <a:lnTo>
                    <a:pt x="243" y="703"/>
                  </a:lnTo>
                  <a:lnTo>
                    <a:pt x="241" y="704"/>
                  </a:lnTo>
                  <a:lnTo>
                    <a:pt x="238" y="704"/>
                  </a:lnTo>
                  <a:lnTo>
                    <a:pt x="236" y="708"/>
                  </a:lnTo>
                  <a:lnTo>
                    <a:pt x="233" y="709"/>
                  </a:lnTo>
                  <a:lnTo>
                    <a:pt x="231" y="709"/>
                  </a:lnTo>
                  <a:lnTo>
                    <a:pt x="229" y="708"/>
                  </a:lnTo>
                  <a:lnTo>
                    <a:pt x="228" y="704"/>
                  </a:lnTo>
                  <a:lnTo>
                    <a:pt x="226" y="704"/>
                  </a:lnTo>
                  <a:lnTo>
                    <a:pt x="224" y="701"/>
                  </a:lnTo>
                  <a:lnTo>
                    <a:pt x="223" y="701"/>
                  </a:lnTo>
                  <a:lnTo>
                    <a:pt x="221" y="701"/>
                  </a:lnTo>
                  <a:lnTo>
                    <a:pt x="219" y="701"/>
                  </a:lnTo>
                  <a:lnTo>
                    <a:pt x="221" y="701"/>
                  </a:lnTo>
                  <a:lnTo>
                    <a:pt x="223" y="699"/>
                  </a:lnTo>
                  <a:lnTo>
                    <a:pt x="224" y="699"/>
                  </a:lnTo>
                  <a:lnTo>
                    <a:pt x="226" y="699"/>
                  </a:lnTo>
                  <a:lnTo>
                    <a:pt x="228" y="697"/>
                  </a:lnTo>
                  <a:lnTo>
                    <a:pt x="228" y="699"/>
                  </a:lnTo>
                  <a:lnTo>
                    <a:pt x="228" y="697"/>
                  </a:lnTo>
                  <a:lnTo>
                    <a:pt x="231" y="697"/>
                  </a:lnTo>
                  <a:lnTo>
                    <a:pt x="233" y="696"/>
                  </a:lnTo>
                  <a:close/>
                  <a:moveTo>
                    <a:pt x="92" y="173"/>
                  </a:moveTo>
                  <a:lnTo>
                    <a:pt x="93" y="175"/>
                  </a:lnTo>
                  <a:lnTo>
                    <a:pt x="92" y="177"/>
                  </a:lnTo>
                  <a:lnTo>
                    <a:pt x="93" y="177"/>
                  </a:lnTo>
                  <a:lnTo>
                    <a:pt x="92" y="177"/>
                  </a:lnTo>
                  <a:lnTo>
                    <a:pt x="93" y="177"/>
                  </a:lnTo>
                  <a:lnTo>
                    <a:pt x="93" y="179"/>
                  </a:lnTo>
                  <a:lnTo>
                    <a:pt x="95" y="177"/>
                  </a:lnTo>
                  <a:lnTo>
                    <a:pt x="95" y="179"/>
                  </a:lnTo>
                  <a:lnTo>
                    <a:pt x="97" y="179"/>
                  </a:lnTo>
                  <a:lnTo>
                    <a:pt x="95" y="180"/>
                  </a:lnTo>
                  <a:lnTo>
                    <a:pt x="93" y="179"/>
                  </a:lnTo>
                  <a:lnTo>
                    <a:pt x="92" y="177"/>
                  </a:lnTo>
                  <a:lnTo>
                    <a:pt x="90" y="177"/>
                  </a:lnTo>
                  <a:lnTo>
                    <a:pt x="92" y="179"/>
                  </a:lnTo>
                  <a:lnTo>
                    <a:pt x="90" y="179"/>
                  </a:lnTo>
                  <a:lnTo>
                    <a:pt x="92" y="179"/>
                  </a:lnTo>
                  <a:lnTo>
                    <a:pt x="93" y="180"/>
                  </a:lnTo>
                  <a:lnTo>
                    <a:pt x="92" y="180"/>
                  </a:lnTo>
                  <a:lnTo>
                    <a:pt x="92" y="182"/>
                  </a:lnTo>
                  <a:lnTo>
                    <a:pt x="93" y="182"/>
                  </a:lnTo>
                  <a:lnTo>
                    <a:pt x="92" y="184"/>
                  </a:lnTo>
                  <a:lnTo>
                    <a:pt x="92" y="187"/>
                  </a:lnTo>
                  <a:lnTo>
                    <a:pt x="88" y="185"/>
                  </a:lnTo>
                  <a:lnTo>
                    <a:pt x="88" y="187"/>
                  </a:lnTo>
                  <a:lnTo>
                    <a:pt x="88" y="185"/>
                  </a:lnTo>
                  <a:lnTo>
                    <a:pt x="87" y="185"/>
                  </a:lnTo>
                  <a:lnTo>
                    <a:pt x="85" y="184"/>
                  </a:lnTo>
                  <a:lnTo>
                    <a:pt x="85" y="185"/>
                  </a:lnTo>
                  <a:lnTo>
                    <a:pt x="85" y="182"/>
                  </a:lnTo>
                  <a:lnTo>
                    <a:pt x="83" y="185"/>
                  </a:lnTo>
                  <a:lnTo>
                    <a:pt x="83" y="184"/>
                  </a:lnTo>
                  <a:lnTo>
                    <a:pt x="82" y="182"/>
                  </a:lnTo>
                  <a:lnTo>
                    <a:pt x="83" y="182"/>
                  </a:lnTo>
                  <a:lnTo>
                    <a:pt x="87" y="182"/>
                  </a:lnTo>
                  <a:lnTo>
                    <a:pt x="83" y="182"/>
                  </a:lnTo>
                  <a:lnTo>
                    <a:pt x="83" y="179"/>
                  </a:lnTo>
                  <a:lnTo>
                    <a:pt x="82" y="179"/>
                  </a:lnTo>
                  <a:lnTo>
                    <a:pt x="82" y="180"/>
                  </a:lnTo>
                  <a:lnTo>
                    <a:pt x="80" y="180"/>
                  </a:lnTo>
                  <a:lnTo>
                    <a:pt x="80" y="179"/>
                  </a:lnTo>
                  <a:lnTo>
                    <a:pt x="78" y="177"/>
                  </a:lnTo>
                  <a:lnTo>
                    <a:pt x="80" y="177"/>
                  </a:lnTo>
                  <a:lnTo>
                    <a:pt x="80" y="175"/>
                  </a:lnTo>
                  <a:lnTo>
                    <a:pt x="82" y="173"/>
                  </a:lnTo>
                  <a:lnTo>
                    <a:pt x="83" y="173"/>
                  </a:lnTo>
                  <a:lnTo>
                    <a:pt x="83" y="175"/>
                  </a:lnTo>
                  <a:lnTo>
                    <a:pt x="85" y="177"/>
                  </a:lnTo>
                  <a:lnTo>
                    <a:pt x="85" y="175"/>
                  </a:lnTo>
                  <a:lnTo>
                    <a:pt x="87" y="173"/>
                  </a:lnTo>
                  <a:lnTo>
                    <a:pt x="88" y="173"/>
                  </a:lnTo>
                  <a:lnTo>
                    <a:pt x="88" y="175"/>
                  </a:lnTo>
                  <a:lnTo>
                    <a:pt x="87" y="175"/>
                  </a:lnTo>
                  <a:lnTo>
                    <a:pt x="88" y="177"/>
                  </a:lnTo>
                  <a:lnTo>
                    <a:pt x="88" y="175"/>
                  </a:lnTo>
                  <a:lnTo>
                    <a:pt x="90" y="175"/>
                  </a:lnTo>
                  <a:lnTo>
                    <a:pt x="88" y="175"/>
                  </a:lnTo>
                  <a:lnTo>
                    <a:pt x="92" y="173"/>
                  </a:lnTo>
                  <a:lnTo>
                    <a:pt x="92" y="175"/>
                  </a:lnTo>
                  <a:lnTo>
                    <a:pt x="92" y="173"/>
                  </a:lnTo>
                  <a:close/>
                  <a:moveTo>
                    <a:pt x="82" y="192"/>
                  </a:moveTo>
                  <a:lnTo>
                    <a:pt x="83" y="194"/>
                  </a:lnTo>
                  <a:lnTo>
                    <a:pt x="85" y="194"/>
                  </a:lnTo>
                  <a:lnTo>
                    <a:pt x="83" y="194"/>
                  </a:lnTo>
                  <a:lnTo>
                    <a:pt x="85" y="197"/>
                  </a:lnTo>
                  <a:lnTo>
                    <a:pt x="83" y="197"/>
                  </a:lnTo>
                  <a:lnTo>
                    <a:pt x="85" y="197"/>
                  </a:lnTo>
                  <a:lnTo>
                    <a:pt x="83" y="197"/>
                  </a:lnTo>
                  <a:lnTo>
                    <a:pt x="83" y="199"/>
                  </a:lnTo>
                  <a:lnTo>
                    <a:pt x="85" y="199"/>
                  </a:lnTo>
                  <a:lnTo>
                    <a:pt x="85" y="201"/>
                  </a:lnTo>
                  <a:lnTo>
                    <a:pt x="87" y="201"/>
                  </a:lnTo>
                  <a:lnTo>
                    <a:pt x="85" y="202"/>
                  </a:lnTo>
                  <a:lnTo>
                    <a:pt x="83" y="202"/>
                  </a:lnTo>
                  <a:lnTo>
                    <a:pt x="82" y="206"/>
                  </a:lnTo>
                  <a:lnTo>
                    <a:pt x="80" y="204"/>
                  </a:lnTo>
                  <a:lnTo>
                    <a:pt x="82" y="204"/>
                  </a:lnTo>
                  <a:lnTo>
                    <a:pt x="80" y="204"/>
                  </a:lnTo>
                  <a:lnTo>
                    <a:pt x="78" y="202"/>
                  </a:lnTo>
                  <a:lnTo>
                    <a:pt x="78" y="204"/>
                  </a:lnTo>
                  <a:lnTo>
                    <a:pt x="80" y="204"/>
                  </a:lnTo>
                  <a:lnTo>
                    <a:pt x="80" y="206"/>
                  </a:lnTo>
                  <a:lnTo>
                    <a:pt x="82" y="206"/>
                  </a:lnTo>
                  <a:lnTo>
                    <a:pt x="82" y="209"/>
                  </a:lnTo>
                  <a:lnTo>
                    <a:pt x="80" y="211"/>
                  </a:lnTo>
                  <a:lnTo>
                    <a:pt x="78" y="209"/>
                  </a:lnTo>
                  <a:lnTo>
                    <a:pt x="80" y="209"/>
                  </a:lnTo>
                  <a:lnTo>
                    <a:pt x="78" y="209"/>
                  </a:lnTo>
                  <a:lnTo>
                    <a:pt x="78" y="211"/>
                  </a:lnTo>
                  <a:lnTo>
                    <a:pt x="80" y="211"/>
                  </a:lnTo>
                  <a:lnTo>
                    <a:pt x="82" y="211"/>
                  </a:lnTo>
                  <a:lnTo>
                    <a:pt x="82" y="213"/>
                  </a:lnTo>
                  <a:lnTo>
                    <a:pt x="82" y="214"/>
                  </a:lnTo>
                  <a:lnTo>
                    <a:pt x="78" y="213"/>
                  </a:lnTo>
                  <a:lnTo>
                    <a:pt x="76" y="213"/>
                  </a:lnTo>
                  <a:lnTo>
                    <a:pt x="75" y="211"/>
                  </a:lnTo>
                  <a:lnTo>
                    <a:pt x="75" y="209"/>
                  </a:lnTo>
                  <a:lnTo>
                    <a:pt x="76" y="207"/>
                  </a:lnTo>
                  <a:lnTo>
                    <a:pt x="75" y="206"/>
                  </a:lnTo>
                  <a:lnTo>
                    <a:pt x="76" y="204"/>
                  </a:lnTo>
                  <a:lnTo>
                    <a:pt x="75" y="202"/>
                  </a:lnTo>
                  <a:lnTo>
                    <a:pt x="76" y="202"/>
                  </a:lnTo>
                  <a:lnTo>
                    <a:pt x="78" y="199"/>
                  </a:lnTo>
                  <a:lnTo>
                    <a:pt x="80" y="197"/>
                  </a:lnTo>
                  <a:lnTo>
                    <a:pt x="80" y="194"/>
                  </a:lnTo>
                  <a:lnTo>
                    <a:pt x="78" y="192"/>
                  </a:lnTo>
                  <a:lnTo>
                    <a:pt x="80" y="192"/>
                  </a:lnTo>
                  <a:lnTo>
                    <a:pt x="82" y="192"/>
                  </a:lnTo>
                  <a:close/>
                  <a:moveTo>
                    <a:pt x="350" y="7"/>
                  </a:moveTo>
                  <a:lnTo>
                    <a:pt x="352" y="8"/>
                  </a:lnTo>
                  <a:lnTo>
                    <a:pt x="353" y="10"/>
                  </a:lnTo>
                  <a:lnTo>
                    <a:pt x="352" y="10"/>
                  </a:lnTo>
                  <a:lnTo>
                    <a:pt x="352" y="14"/>
                  </a:lnTo>
                  <a:lnTo>
                    <a:pt x="350" y="14"/>
                  </a:lnTo>
                  <a:lnTo>
                    <a:pt x="350" y="12"/>
                  </a:lnTo>
                  <a:lnTo>
                    <a:pt x="350" y="14"/>
                  </a:lnTo>
                  <a:lnTo>
                    <a:pt x="350" y="15"/>
                  </a:lnTo>
                  <a:lnTo>
                    <a:pt x="350" y="17"/>
                  </a:lnTo>
                  <a:lnTo>
                    <a:pt x="348" y="15"/>
                  </a:lnTo>
                  <a:lnTo>
                    <a:pt x="350" y="17"/>
                  </a:lnTo>
                  <a:lnTo>
                    <a:pt x="350" y="19"/>
                  </a:lnTo>
                  <a:lnTo>
                    <a:pt x="350" y="20"/>
                  </a:lnTo>
                  <a:lnTo>
                    <a:pt x="348" y="20"/>
                  </a:lnTo>
                  <a:lnTo>
                    <a:pt x="350" y="22"/>
                  </a:lnTo>
                  <a:lnTo>
                    <a:pt x="348" y="24"/>
                  </a:lnTo>
                  <a:lnTo>
                    <a:pt x="347" y="22"/>
                  </a:lnTo>
                  <a:lnTo>
                    <a:pt x="347" y="24"/>
                  </a:lnTo>
                  <a:lnTo>
                    <a:pt x="345" y="24"/>
                  </a:lnTo>
                  <a:lnTo>
                    <a:pt x="343" y="20"/>
                  </a:lnTo>
                  <a:lnTo>
                    <a:pt x="345" y="20"/>
                  </a:lnTo>
                  <a:lnTo>
                    <a:pt x="343" y="19"/>
                  </a:lnTo>
                  <a:lnTo>
                    <a:pt x="345" y="17"/>
                  </a:lnTo>
                  <a:lnTo>
                    <a:pt x="343" y="19"/>
                  </a:lnTo>
                  <a:lnTo>
                    <a:pt x="345" y="15"/>
                  </a:lnTo>
                  <a:lnTo>
                    <a:pt x="345" y="14"/>
                  </a:lnTo>
                  <a:lnTo>
                    <a:pt x="347" y="12"/>
                  </a:lnTo>
                  <a:lnTo>
                    <a:pt x="347" y="15"/>
                  </a:lnTo>
                  <a:lnTo>
                    <a:pt x="347" y="14"/>
                  </a:lnTo>
                  <a:lnTo>
                    <a:pt x="348" y="10"/>
                  </a:lnTo>
                  <a:lnTo>
                    <a:pt x="347" y="10"/>
                  </a:lnTo>
                  <a:lnTo>
                    <a:pt x="348" y="10"/>
                  </a:lnTo>
                  <a:lnTo>
                    <a:pt x="348" y="8"/>
                  </a:lnTo>
                  <a:lnTo>
                    <a:pt x="348" y="7"/>
                  </a:lnTo>
                  <a:lnTo>
                    <a:pt x="350" y="8"/>
                  </a:lnTo>
                  <a:lnTo>
                    <a:pt x="350" y="7"/>
                  </a:lnTo>
                  <a:close/>
                  <a:moveTo>
                    <a:pt x="250" y="119"/>
                  </a:moveTo>
                  <a:lnTo>
                    <a:pt x="250" y="121"/>
                  </a:lnTo>
                  <a:lnTo>
                    <a:pt x="251" y="121"/>
                  </a:lnTo>
                  <a:lnTo>
                    <a:pt x="253" y="122"/>
                  </a:lnTo>
                  <a:lnTo>
                    <a:pt x="253" y="124"/>
                  </a:lnTo>
                  <a:lnTo>
                    <a:pt x="253" y="126"/>
                  </a:lnTo>
                  <a:lnTo>
                    <a:pt x="253" y="128"/>
                  </a:lnTo>
                  <a:lnTo>
                    <a:pt x="255" y="128"/>
                  </a:lnTo>
                  <a:lnTo>
                    <a:pt x="251" y="128"/>
                  </a:lnTo>
                  <a:lnTo>
                    <a:pt x="250" y="129"/>
                  </a:lnTo>
                  <a:lnTo>
                    <a:pt x="251" y="129"/>
                  </a:lnTo>
                  <a:lnTo>
                    <a:pt x="253" y="129"/>
                  </a:lnTo>
                  <a:lnTo>
                    <a:pt x="255" y="129"/>
                  </a:lnTo>
                  <a:lnTo>
                    <a:pt x="255" y="131"/>
                  </a:lnTo>
                  <a:lnTo>
                    <a:pt x="253" y="131"/>
                  </a:lnTo>
                  <a:lnTo>
                    <a:pt x="251" y="129"/>
                  </a:lnTo>
                  <a:lnTo>
                    <a:pt x="251" y="131"/>
                  </a:lnTo>
                  <a:lnTo>
                    <a:pt x="250" y="129"/>
                  </a:lnTo>
                  <a:lnTo>
                    <a:pt x="248" y="126"/>
                  </a:lnTo>
                  <a:lnTo>
                    <a:pt x="248" y="122"/>
                  </a:lnTo>
                  <a:lnTo>
                    <a:pt x="245" y="122"/>
                  </a:lnTo>
                  <a:lnTo>
                    <a:pt x="246" y="121"/>
                  </a:lnTo>
                  <a:lnTo>
                    <a:pt x="246" y="119"/>
                  </a:lnTo>
                  <a:lnTo>
                    <a:pt x="250" y="119"/>
                  </a:lnTo>
                  <a:close/>
                  <a:moveTo>
                    <a:pt x="359" y="0"/>
                  </a:moveTo>
                  <a:lnTo>
                    <a:pt x="357" y="3"/>
                  </a:lnTo>
                  <a:lnTo>
                    <a:pt x="359" y="0"/>
                  </a:lnTo>
                  <a:lnTo>
                    <a:pt x="360" y="2"/>
                  </a:lnTo>
                  <a:lnTo>
                    <a:pt x="362" y="3"/>
                  </a:lnTo>
                  <a:lnTo>
                    <a:pt x="360" y="3"/>
                  </a:lnTo>
                  <a:lnTo>
                    <a:pt x="360" y="5"/>
                  </a:lnTo>
                  <a:lnTo>
                    <a:pt x="359" y="5"/>
                  </a:lnTo>
                  <a:lnTo>
                    <a:pt x="360" y="7"/>
                  </a:lnTo>
                  <a:lnTo>
                    <a:pt x="357" y="7"/>
                  </a:lnTo>
                  <a:lnTo>
                    <a:pt x="359" y="7"/>
                  </a:lnTo>
                  <a:lnTo>
                    <a:pt x="359" y="8"/>
                  </a:lnTo>
                  <a:lnTo>
                    <a:pt x="357" y="10"/>
                  </a:lnTo>
                  <a:lnTo>
                    <a:pt x="359" y="12"/>
                  </a:lnTo>
                  <a:lnTo>
                    <a:pt x="357" y="12"/>
                  </a:lnTo>
                  <a:lnTo>
                    <a:pt x="355" y="10"/>
                  </a:lnTo>
                  <a:lnTo>
                    <a:pt x="353" y="12"/>
                  </a:lnTo>
                  <a:lnTo>
                    <a:pt x="353" y="10"/>
                  </a:lnTo>
                  <a:lnTo>
                    <a:pt x="353" y="8"/>
                  </a:lnTo>
                  <a:lnTo>
                    <a:pt x="353" y="7"/>
                  </a:lnTo>
                  <a:lnTo>
                    <a:pt x="355" y="7"/>
                  </a:lnTo>
                  <a:lnTo>
                    <a:pt x="355" y="5"/>
                  </a:lnTo>
                  <a:lnTo>
                    <a:pt x="355" y="3"/>
                  </a:lnTo>
                  <a:lnTo>
                    <a:pt x="355" y="2"/>
                  </a:lnTo>
                  <a:lnTo>
                    <a:pt x="357" y="2"/>
                  </a:lnTo>
                  <a:lnTo>
                    <a:pt x="357" y="0"/>
                  </a:lnTo>
                  <a:lnTo>
                    <a:pt x="359" y="0"/>
                  </a:lnTo>
                  <a:close/>
                  <a:moveTo>
                    <a:pt x="139" y="311"/>
                  </a:moveTo>
                  <a:lnTo>
                    <a:pt x="141" y="313"/>
                  </a:lnTo>
                  <a:lnTo>
                    <a:pt x="143" y="315"/>
                  </a:lnTo>
                  <a:lnTo>
                    <a:pt x="143" y="316"/>
                  </a:lnTo>
                  <a:lnTo>
                    <a:pt x="144" y="318"/>
                  </a:lnTo>
                  <a:lnTo>
                    <a:pt x="143" y="318"/>
                  </a:lnTo>
                  <a:lnTo>
                    <a:pt x="144" y="318"/>
                  </a:lnTo>
                  <a:lnTo>
                    <a:pt x="144" y="321"/>
                  </a:lnTo>
                  <a:lnTo>
                    <a:pt x="144" y="323"/>
                  </a:lnTo>
                  <a:lnTo>
                    <a:pt x="143" y="325"/>
                  </a:lnTo>
                  <a:lnTo>
                    <a:pt x="144" y="327"/>
                  </a:lnTo>
                  <a:lnTo>
                    <a:pt x="143" y="327"/>
                  </a:lnTo>
                  <a:lnTo>
                    <a:pt x="143" y="325"/>
                  </a:lnTo>
                  <a:lnTo>
                    <a:pt x="141" y="323"/>
                  </a:lnTo>
                  <a:lnTo>
                    <a:pt x="139" y="323"/>
                  </a:lnTo>
                  <a:lnTo>
                    <a:pt x="139" y="320"/>
                  </a:lnTo>
                  <a:lnTo>
                    <a:pt x="141" y="318"/>
                  </a:lnTo>
                  <a:lnTo>
                    <a:pt x="139" y="316"/>
                  </a:lnTo>
                  <a:lnTo>
                    <a:pt x="138" y="315"/>
                  </a:lnTo>
                  <a:lnTo>
                    <a:pt x="138" y="313"/>
                  </a:lnTo>
                  <a:lnTo>
                    <a:pt x="139" y="311"/>
                  </a:lnTo>
                  <a:close/>
                  <a:moveTo>
                    <a:pt x="114" y="225"/>
                  </a:moveTo>
                  <a:lnTo>
                    <a:pt x="115" y="226"/>
                  </a:lnTo>
                  <a:lnTo>
                    <a:pt x="115" y="228"/>
                  </a:lnTo>
                  <a:lnTo>
                    <a:pt x="117" y="230"/>
                  </a:lnTo>
                  <a:lnTo>
                    <a:pt x="115" y="230"/>
                  </a:lnTo>
                  <a:lnTo>
                    <a:pt x="115" y="231"/>
                  </a:lnTo>
                  <a:lnTo>
                    <a:pt x="112" y="233"/>
                  </a:lnTo>
                  <a:lnTo>
                    <a:pt x="110" y="231"/>
                  </a:lnTo>
                  <a:lnTo>
                    <a:pt x="110" y="230"/>
                  </a:lnTo>
                  <a:lnTo>
                    <a:pt x="109" y="228"/>
                  </a:lnTo>
                  <a:lnTo>
                    <a:pt x="109" y="226"/>
                  </a:lnTo>
                  <a:lnTo>
                    <a:pt x="110" y="226"/>
                  </a:lnTo>
                  <a:lnTo>
                    <a:pt x="110" y="225"/>
                  </a:lnTo>
                  <a:lnTo>
                    <a:pt x="114" y="225"/>
                  </a:lnTo>
                  <a:close/>
                  <a:moveTo>
                    <a:pt x="83" y="185"/>
                  </a:moveTo>
                  <a:lnTo>
                    <a:pt x="83" y="187"/>
                  </a:lnTo>
                  <a:lnTo>
                    <a:pt x="85" y="187"/>
                  </a:lnTo>
                  <a:lnTo>
                    <a:pt x="87" y="189"/>
                  </a:lnTo>
                  <a:lnTo>
                    <a:pt x="88" y="189"/>
                  </a:lnTo>
                  <a:lnTo>
                    <a:pt x="87" y="189"/>
                  </a:lnTo>
                  <a:lnTo>
                    <a:pt x="87" y="190"/>
                  </a:lnTo>
                  <a:lnTo>
                    <a:pt x="87" y="189"/>
                  </a:lnTo>
                  <a:lnTo>
                    <a:pt x="87" y="190"/>
                  </a:lnTo>
                  <a:lnTo>
                    <a:pt x="85" y="190"/>
                  </a:lnTo>
                  <a:lnTo>
                    <a:pt x="88" y="192"/>
                  </a:lnTo>
                  <a:lnTo>
                    <a:pt x="87" y="192"/>
                  </a:lnTo>
                  <a:lnTo>
                    <a:pt x="85" y="192"/>
                  </a:lnTo>
                  <a:lnTo>
                    <a:pt x="87" y="194"/>
                  </a:lnTo>
                  <a:lnTo>
                    <a:pt x="83" y="192"/>
                  </a:lnTo>
                  <a:lnTo>
                    <a:pt x="85" y="194"/>
                  </a:lnTo>
                  <a:lnTo>
                    <a:pt x="83" y="192"/>
                  </a:lnTo>
                  <a:lnTo>
                    <a:pt x="83" y="190"/>
                  </a:lnTo>
                  <a:lnTo>
                    <a:pt x="80" y="190"/>
                  </a:lnTo>
                  <a:lnTo>
                    <a:pt x="80" y="189"/>
                  </a:lnTo>
                  <a:lnTo>
                    <a:pt x="82" y="187"/>
                  </a:lnTo>
                  <a:lnTo>
                    <a:pt x="83" y="185"/>
                  </a:lnTo>
                  <a:close/>
                  <a:moveTo>
                    <a:pt x="330" y="662"/>
                  </a:moveTo>
                  <a:lnTo>
                    <a:pt x="331" y="662"/>
                  </a:lnTo>
                  <a:lnTo>
                    <a:pt x="331" y="663"/>
                  </a:lnTo>
                  <a:lnTo>
                    <a:pt x="335" y="663"/>
                  </a:lnTo>
                  <a:lnTo>
                    <a:pt x="335" y="665"/>
                  </a:lnTo>
                  <a:lnTo>
                    <a:pt x="336" y="667"/>
                  </a:lnTo>
                  <a:lnTo>
                    <a:pt x="336" y="668"/>
                  </a:lnTo>
                  <a:lnTo>
                    <a:pt x="335" y="668"/>
                  </a:lnTo>
                  <a:lnTo>
                    <a:pt x="333" y="667"/>
                  </a:lnTo>
                  <a:lnTo>
                    <a:pt x="333" y="668"/>
                  </a:lnTo>
                  <a:lnTo>
                    <a:pt x="331" y="667"/>
                  </a:lnTo>
                  <a:lnTo>
                    <a:pt x="330" y="667"/>
                  </a:lnTo>
                  <a:lnTo>
                    <a:pt x="330" y="665"/>
                  </a:lnTo>
                  <a:lnTo>
                    <a:pt x="328" y="663"/>
                  </a:lnTo>
                  <a:lnTo>
                    <a:pt x="330" y="662"/>
                  </a:lnTo>
                  <a:close/>
                  <a:moveTo>
                    <a:pt x="90" y="255"/>
                  </a:moveTo>
                  <a:lnTo>
                    <a:pt x="90" y="257"/>
                  </a:lnTo>
                  <a:lnTo>
                    <a:pt x="88" y="257"/>
                  </a:lnTo>
                  <a:lnTo>
                    <a:pt x="87" y="259"/>
                  </a:lnTo>
                  <a:lnTo>
                    <a:pt x="85" y="259"/>
                  </a:lnTo>
                  <a:lnTo>
                    <a:pt x="83" y="260"/>
                  </a:lnTo>
                  <a:lnTo>
                    <a:pt x="83" y="262"/>
                  </a:lnTo>
                  <a:lnTo>
                    <a:pt x="82" y="262"/>
                  </a:lnTo>
                  <a:lnTo>
                    <a:pt x="82" y="260"/>
                  </a:lnTo>
                  <a:lnTo>
                    <a:pt x="80" y="260"/>
                  </a:lnTo>
                  <a:lnTo>
                    <a:pt x="82" y="259"/>
                  </a:lnTo>
                  <a:lnTo>
                    <a:pt x="80" y="257"/>
                  </a:lnTo>
                  <a:lnTo>
                    <a:pt x="82" y="255"/>
                  </a:lnTo>
                  <a:lnTo>
                    <a:pt x="83" y="255"/>
                  </a:lnTo>
                  <a:lnTo>
                    <a:pt x="85" y="257"/>
                  </a:lnTo>
                  <a:lnTo>
                    <a:pt x="87" y="255"/>
                  </a:lnTo>
                  <a:lnTo>
                    <a:pt x="88" y="257"/>
                  </a:lnTo>
                  <a:lnTo>
                    <a:pt x="90" y="255"/>
                  </a:lnTo>
                  <a:close/>
                  <a:moveTo>
                    <a:pt x="104" y="248"/>
                  </a:moveTo>
                  <a:lnTo>
                    <a:pt x="104" y="250"/>
                  </a:lnTo>
                  <a:lnTo>
                    <a:pt x="102" y="252"/>
                  </a:lnTo>
                  <a:lnTo>
                    <a:pt x="100" y="253"/>
                  </a:lnTo>
                  <a:lnTo>
                    <a:pt x="100" y="252"/>
                  </a:lnTo>
                  <a:lnTo>
                    <a:pt x="100" y="253"/>
                  </a:lnTo>
                  <a:lnTo>
                    <a:pt x="98" y="253"/>
                  </a:lnTo>
                  <a:lnTo>
                    <a:pt x="97" y="255"/>
                  </a:lnTo>
                  <a:lnTo>
                    <a:pt x="95" y="255"/>
                  </a:lnTo>
                  <a:lnTo>
                    <a:pt x="95" y="253"/>
                  </a:lnTo>
                  <a:lnTo>
                    <a:pt x="95" y="255"/>
                  </a:lnTo>
                  <a:lnTo>
                    <a:pt x="93" y="253"/>
                  </a:lnTo>
                  <a:lnTo>
                    <a:pt x="92" y="255"/>
                  </a:lnTo>
                  <a:lnTo>
                    <a:pt x="92" y="253"/>
                  </a:lnTo>
                  <a:lnTo>
                    <a:pt x="95" y="253"/>
                  </a:lnTo>
                  <a:lnTo>
                    <a:pt x="97" y="252"/>
                  </a:lnTo>
                  <a:lnTo>
                    <a:pt x="100" y="250"/>
                  </a:lnTo>
                  <a:lnTo>
                    <a:pt x="100" y="248"/>
                  </a:lnTo>
                  <a:lnTo>
                    <a:pt x="100" y="250"/>
                  </a:lnTo>
                  <a:lnTo>
                    <a:pt x="102" y="248"/>
                  </a:lnTo>
                  <a:lnTo>
                    <a:pt x="104" y="248"/>
                  </a:lnTo>
                  <a:close/>
                  <a:moveTo>
                    <a:pt x="132" y="197"/>
                  </a:moveTo>
                  <a:lnTo>
                    <a:pt x="132" y="199"/>
                  </a:lnTo>
                  <a:lnTo>
                    <a:pt x="132" y="201"/>
                  </a:lnTo>
                  <a:lnTo>
                    <a:pt x="131" y="201"/>
                  </a:lnTo>
                  <a:lnTo>
                    <a:pt x="131" y="202"/>
                  </a:lnTo>
                  <a:lnTo>
                    <a:pt x="131" y="204"/>
                  </a:lnTo>
                  <a:lnTo>
                    <a:pt x="131" y="207"/>
                  </a:lnTo>
                  <a:lnTo>
                    <a:pt x="129" y="209"/>
                  </a:lnTo>
                  <a:lnTo>
                    <a:pt x="127" y="207"/>
                  </a:lnTo>
                  <a:lnTo>
                    <a:pt x="129" y="204"/>
                  </a:lnTo>
                  <a:lnTo>
                    <a:pt x="129" y="202"/>
                  </a:lnTo>
                  <a:lnTo>
                    <a:pt x="131" y="199"/>
                  </a:lnTo>
                  <a:lnTo>
                    <a:pt x="131" y="201"/>
                  </a:lnTo>
                  <a:lnTo>
                    <a:pt x="131" y="199"/>
                  </a:lnTo>
                  <a:lnTo>
                    <a:pt x="132" y="197"/>
                  </a:lnTo>
                  <a:close/>
                  <a:moveTo>
                    <a:pt x="73" y="214"/>
                  </a:moveTo>
                  <a:lnTo>
                    <a:pt x="73" y="216"/>
                  </a:lnTo>
                  <a:lnTo>
                    <a:pt x="71" y="218"/>
                  </a:lnTo>
                  <a:lnTo>
                    <a:pt x="73" y="219"/>
                  </a:lnTo>
                  <a:lnTo>
                    <a:pt x="73" y="218"/>
                  </a:lnTo>
                  <a:lnTo>
                    <a:pt x="73" y="219"/>
                  </a:lnTo>
                  <a:lnTo>
                    <a:pt x="71" y="219"/>
                  </a:lnTo>
                  <a:lnTo>
                    <a:pt x="73" y="221"/>
                  </a:lnTo>
                  <a:lnTo>
                    <a:pt x="73" y="219"/>
                  </a:lnTo>
                  <a:lnTo>
                    <a:pt x="73" y="221"/>
                  </a:lnTo>
                  <a:lnTo>
                    <a:pt x="70" y="223"/>
                  </a:lnTo>
                  <a:lnTo>
                    <a:pt x="68" y="221"/>
                  </a:lnTo>
                  <a:lnTo>
                    <a:pt x="66" y="221"/>
                  </a:lnTo>
                  <a:lnTo>
                    <a:pt x="68" y="219"/>
                  </a:lnTo>
                  <a:lnTo>
                    <a:pt x="70" y="219"/>
                  </a:lnTo>
                  <a:lnTo>
                    <a:pt x="70" y="218"/>
                  </a:lnTo>
                  <a:lnTo>
                    <a:pt x="68" y="218"/>
                  </a:lnTo>
                  <a:lnTo>
                    <a:pt x="71" y="218"/>
                  </a:lnTo>
                  <a:lnTo>
                    <a:pt x="73" y="214"/>
                  </a:lnTo>
                  <a:close/>
                  <a:moveTo>
                    <a:pt x="287" y="99"/>
                  </a:moveTo>
                  <a:lnTo>
                    <a:pt x="287" y="100"/>
                  </a:lnTo>
                  <a:lnTo>
                    <a:pt x="284" y="100"/>
                  </a:lnTo>
                  <a:lnTo>
                    <a:pt x="282" y="102"/>
                  </a:lnTo>
                  <a:lnTo>
                    <a:pt x="282" y="104"/>
                  </a:lnTo>
                  <a:lnTo>
                    <a:pt x="282" y="102"/>
                  </a:lnTo>
                  <a:lnTo>
                    <a:pt x="280" y="102"/>
                  </a:lnTo>
                  <a:lnTo>
                    <a:pt x="280" y="104"/>
                  </a:lnTo>
                  <a:lnTo>
                    <a:pt x="280" y="102"/>
                  </a:lnTo>
                  <a:lnTo>
                    <a:pt x="279" y="102"/>
                  </a:lnTo>
                  <a:lnTo>
                    <a:pt x="277" y="104"/>
                  </a:lnTo>
                  <a:lnTo>
                    <a:pt x="277" y="105"/>
                  </a:lnTo>
                  <a:lnTo>
                    <a:pt x="277" y="104"/>
                  </a:lnTo>
                  <a:lnTo>
                    <a:pt x="275" y="105"/>
                  </a:lnTo>
                  <a:lnTo>
                    <a:pt x="275" y="102"/>
                  </a:lnTo>
                  <a:lnTo>
                    <a:pt x="277" y="104"/>
                  </a:lnTo>
                  <a:lnTo>
                    <a:pt x="277" y="102"/>
                  </a:lnTo>
                  <a:lnTo>
                    <a:pt x="280" y="100"/>
                  </a:lnTo>
                  <a:lnTo>
                    <a:pt x="280" y="99"/>
                  </a:lnTo>
                  <a:lnTo>
                    <a:pt x="284" y="99"/>
                  </a:lnTo>
                  <a:lnTo>
                    <a:pt x="282" y="100"/>
                  </a:lnTo>
                  <a:lnTo>
                    <a:pt x="280" y="100"/>
                  </a:lnTo>
                  <a:lnTo>
                    <a:pt x="282" y="100"/>
                  </a:lnTo>
                  <a:lnTo>
                    <a:pt x="284" y="100"/>
                  </a:lnTo>
                  <a:lnTo>
                    <a:pt x="285" y="100"/>
                  </a:lnTo>
                  <a:lnTo>
                    <a:pt x="287" y="99"/>
                  </a:lnTo>
                  <a:close/>
                  <a:moveTo>
                    <a:pt x="268" y="92"/>
                  </a:moveTo>
                  <a:lnTo>
                    <a:pt x="268" y="94"/>
                  </a:lnTo>
                  <a:lnTo>
                    <a:pt x="267" y="94"/>
                  </a:lnTo>
                  <a:lnTo>
                    <a:pt x="268" y="97"/>
                  </a:lnTo>
                  <a:lnTo>
                    <a:pt x="270" y="95"/>
                  </a:lnTo>
                  <a:lnTo>
                    <a:pt x="270" y="99"/>
                  </a:lnTo>
                  <a:lnTo>
                    <a:pt x="272" y="99"/>
                  </a:lnTo>
                  <a:lnTo>
                    <a:pt x="272" y="100"/>
                  </a:lnTo>
                  <a:lnTo>
                    <a:pt x="270" y="100"/>
                  </a:lnTo>
                  <a:lnTo>
                    <a:pt x="270" y="99"/>
                  </a:lnTo>
                  <a:lnTo>
                    <a:pt x="268" y="97"/>
                  </a:lnTo>
                  <a:lnTo>
                    <a:pt x="267" y="97"/>
                  </a:lnTo>
                  <a:lnTo>
                    <a:pt x="268" y="97"/>
                  </a:lnTo>
                  <a:lnTo>
                    <a:pt x="267" y="99"/>
                  </a:lnTo>
                  <a:lnTo>
                    <a:pt x="265" y="97"/>
                  </a:lnTo>
                  <a:lnTo>
                    <a:pt x="265" y="95"/>
                  </a:lnTo>
                  <a:lnTo>
                    <a:pt x="263" y="94"/>
                  </a:lnTo>
                  <a:lnTo>
                    <a:pt x="267" y="94"/>
                  </a:lnTo>
                  <a:lnTo>
                    <a:pt x="268" y="92"/>
                  </a:lnTo>
                  <a:close/>
                  <a:moveTo>
                    <a:pt x="262" y="102"/>
                  </a:moveTo>
                  <a:lnTo>
                    <a:pt x="263" y="104"/>
                  </a:lnTo>
                  <a:lnTo>
                    <a:pt x="267" y="104"/>
                  </a:lnTo>
                  <a:lnTo>
                    <a:pt x="265" y="105"/>
                  </a:lnTo>
                  <a:lnTo>
                    <a:pt x="265" y="107"/>
                  </a:lnTo>
                  <a:lnTo>
                    <a:pt x="263" y="107"/>
                  </a:lnTo>
                  <a:lnTo>
                    <a:pt x="262" y="105"/>
                  </a:lnTo>
                  <a:lnTo>
                    <a:pt x="260" y="104"/>
                  </a:lnTo>
                  <a:lnTo>
                    <a:pt x="262" y="102"/>
                  </a:lnTo>
                  <a:close/>
                  <a:moveTo>
                    <a:pt x="357" y="15"/>
                  </a:moveTo>
                  <a:lnTo>
                    <a:pt x="357" y="19"/>
                  </a:lnTo>
                  <a:lnTo>
                    <a:pt x="359" y="17"/>
                  </a:lnTo>
                  <a:lnTo>
                    <a:pt x="359" y="19"/>
                  </a:lnTo>
                  <a:lnTo>
                    <a:pt x="357" y="20"/>
                  </a:lnTo>
                  <a:lnTo>
                    <a:pt x="357" y="19"/>
                  </a:lnTo>
                  <a:lnTo>
                    <a:pt x="355" y="19"/>
                  </a:lnTo>
                  <a:lnTo>
                    <a:pt x="355" y="20"/>
                  </a:lnTo>
                  <a:lnTo>
                    <a:pt x="353" y="19"/>
                  </a:lnTo>
                  <a:lnTo>
                    <a:pt x="353" y="17"/>
                  </a:lnTo>
                  <a:lnTo>
                    <a:pt x="353" y="15"/>
                  </a:lnTo>
                  <a:lnTo>
                    <a:pt x="355" y="15"/>
                  </a:lnTo>
                  <a:lnTo>
                    <a:pt x="357" y="15"/>
                  </a:lnTo>
                  <a:close/>
                  <a:moveTo>
                    <a:pt x="107" y="289"/>
                  </a:moveTo>
                  <a:lnTo>
                    <a:pt x="107" y="291"/>
                  </a:lnTo>
                  <a:lnTo>
                    <a:pt x="105" y="293"/>
                  </a:lnTo>
                  <a:lnTo>
                    <a:pt x="104" y="294"/>
                  </a:lnTo>
                  <a:lnTo>
                    <a:pt x="104" y="296"/>
                  </a:lnTo>
                  <a:lnTo>
                    <a:pt x="102" y="296"/>
                  </a:lnTo>
                  <a:lnTo>
                    <a:pt x="102" y="294"/>
                  </a:lnTo>
                  <a:lnTo>
                    <a:pt x="100" y="296"/>
                  </a:lnTo>
                  <a:lnTo>
                    <a:pt x="102" y="294"/>
                  </a:lnTo>
                  <a:lnTo>
                    <a:pt x="100" y="294"/>
                  </a:lnTo>
                  <a:lnTo>
                    <a:pt x="102" y="294"/>
                  </a:lnTo>
                  <a:lnTo>
                    <a:pt x="102" y="293"/>
                  </a:lnTo>
                  <a:lnTo>
                    <a:pt x="104" y="291"/>
                  </a:lnTo>
                  <a:lnTo>
                    <a:pt x="107" y="289"/>
                  </a:lnTo>
                  <a:close/>
                  <a:moveTo>
                    <a:pt x="277" y="107"/>
                  </a:moveTo>
                  <a:lnTo>
                    <a:pt x="277" y="109"/>
                  </a:lnTo>
                  <a:lnTo>
                    <a:pt x="279" y="109"/>
                  </a:lnTo>
                  <a:lnTo>
                    <a:pt x="279" y="111"/>
                  </a:lnTo>
                  <a:lnTo>
                    <a:pt x="280" y="111"/>
                  </a:lnTo>
                  <a:lnTo>
                    <a:pt x="280" y="112"/>
                  </a:lnTo>
                  <a:lnTo>
                    <a:pt x="280" y="114"/>
                  </a:lnTo>
                  <a:lnTo>
                    <a:pt x="279" y="114"/>
                  </a:lnTo>
                  <a:lnTo>
                    <a:pt x="277" y="114"/>
                  </a:lnTo>
                  <a:lnTo>
                    <a:pt x="279" y="112"/>
                  </a:lnTo>
                  <a:lnTo>
                    <a:pt x="277" y="111"/>
                  </a:lnTo>
                  <a:lnTo>
                    <a:pt x="275" y="112"/>
                  </a:lnTo>
                  <a:lnTo>
                    <a:pt x="275" y="114"/>
                  </a:lnTo>
                  <a:lnTo>
                    <a:pt x="275" y="112"/>
                  </a:lnTo>
                  <a:lnTo>
                    <a:pt x="275" y="111"/>
                  </a:lnTo>
                  <a:lnTo>
                    <a:pt x="277" y="111"/>
                  </a:lnTo>
                  <a:lnTo>
                    <a:pt x="275" y="107"/>
                  </a:lnTo>
                  <a:lnTo>
                    <a:pt x="277" y="107"/>
                  </a:lnTo>
                  <a:close/>
                  <a:moveTo>
                    <a:pt x="343" y="46"/>
                  </a:moveTo>
                  <a:lnTo>
                    <a:pt x="343" y="48"/>
                  </a:lnTo>
                  <a:lnTo>
                    <a:pt x="345" y="48"/>
                  </a:lnTo>
                  <a:lnTo>
                    <a:pt x="343" y="49"/>
                  </a:lnTo>
                  <a:lnTo>
                    <a:pt x="343" y="51"/>
                  </a:lnTo>
                  <a:lnTo>
                    <a:pt x="342" y="49"/>
                  </a:lnTo>
                  <a:lnTo>
                    <a:pt x="342" y="48"/>
                  </a:lnTo>
                  <a:lnTo>
                    <a:pt x="342" y="46"/>
                  </a:lnTo>
                  <a:lnTo>
                    <a:pt x="343" y="46"/>
                  </a:lnTo>
                  <a:close/>
                  <a:moveTo>
                    <a:pt x="119" y="235"/>
                  </a:moveTo>
                  <a:lnTo>
                    <a:pt x="121" y="236"/>
                  </a:lnTo>
                  <a:lnTo>
                    <a:pt x="119" y="238"/>
                  </a:lnTo>
                  <a:lnTo>
                    <a:pt x="117" y="238"/>
                  </a:lnTo>
                  <a:lnTo>
                    <a:pt x="115" y="238"/>
                  </a:lnTo>
                  <a:lnTo>
                    <a:pt x="115" y="236"/>
                  </a:lnTo>
                  <a:lnTo>
                    <a:pt x="117" y="236"/>
                  </a:lnTo>
                  <a:lnTo>
                    <a:pt x="119" y="235"/>
                  </a:lnTo>
                  <a:close/>
                  <a:moveTo>
                    <a:pt x="274" y="100"/>
                  </a:moveTo>
                  <a:lnTo>
                    <a:pt x="274" y="102"/>
                  </a:lnTo>
                  <a:lnTo>
                    <a:pt x="275" y="102"/>
                  </a:lnTo>
                  <a:lnTo>
                    <a:pt x="274" y="104"/>
                  </a:lnTo>
                  <a:lnTo>
                    <a:pt x="274" y="107"/>
                  </a:lnTo>
                  <a:lnTo>
                    <a:pt x="272" y="109"/>
                  </a:lnTo>
                  <a:lnTo>
                    <a:pt x="272" y="107"/>
                  </a:lnTo>
                  <a:lnTo>
                    <a:pt x="272" y="104"/>
                  </a:lnTo>
                  <a:lnTo>
                    <a:pt x="274" y="104"/>
                  </a:lnTo>
                  <a:lnTo>
                    <a:pt x="272" y="102"/>
                  </a:lnTo>
                  <a:lnTo>
                    <a:pt x="274" y="102"/>
                  </a:lnTo>
                  <a:lnTo>
                    <a:pt x="274" y="100"/>
                  </a:lnTo>
                  <a:close/>
                  <a:moveTo>
                    <a:pt x="270" y="112"/>
                  </a:moveTo>
                  <a:lnTo>
                    <a:pt x="270" y="114"/>
                  </a:lnTo>
                  <a:lnTo>
                    <a:pt x="270" y="116"/>
                  </a:lnTo>
                  <a:lnTo>
                    <a:pt x="268" y="116"/>
                  </a:lnTo>
                  <a:lnTo>
                    <a:pt x="267" y="114"/>
                  </a:lnTo>
                  <a:lnTo>
                    <a:pt x="265" y="114"/>
                  </a:lnTo>
                  <a:lnTo>
                    <a:pt x="267" y="112"/>
                  </a:lnTo>
                  <a:lnTo>
                    <a:pt x="268" y="114"/>
                  </a:lnTo>
                  <a:lnTo>
                    <a:pt x="268" y="112"/>
                  </a:lnTo>
                  <a:lnTo>
                    <a:pt x="270" y="112"/>
                  </a:lnTo>
                  <a:close/>
                  <a:moveTo>
                    <a:pt x="131" y="209"/>
                  </a:moveTo>
                  <a:lnTo>
                    <a:pt x="132" y="211"/>
                  </a:lnTo>
                  <a:lnTo>
                    <a:pt x="131" y="213"/>
                  </a:lnTo>
                  <a:lnTo>
                    <a:pt x="129" y="211"/>
                  </a:lnTo>
                  <a:lnTo>
                    <a:pt x="131" y="209"/>
                  </a:lnTo>
                  <a:close/>
                  <a:moveTo>
                    <a:pt x="112" y="138"/>
                  </a:moveTo>
                  <a:lnTo>
                    <a:pt x="114" y="138"/>
                  </a:lnTo>
                  <a:lnTo>
                    <a:pt x="114" y="139"/>
                  </a:lnTo>
                  <a:lnTo>
                    <a:pt x="115" y="141"/>
                  </a:lnTo>
                  <a:lnTo>
                    <a:pt x="115" y="143"/>
                  </a:lnTo>
                  <a:lnTo>
                    <a:pt x="112" y="141"/>
                  </a:lnTo>
                  <a:lnTo>
                    <a:pt x="114" y="141"/>
                  </a:lnTo>
                  <a:lnTo>
                    <a:pt x="112" y="138"/>
                  </a:lnTo>
                  <a:close/>
                  <a:moveTo>
                    <a:pt x="139" y="267"/>
                  </a:moveTo>
                  <a:lnTo>
                    <a:pt x="138" y="269"/>
                  </a:lnTo>
                  <a:lnTo>
                    <a:pt x="136" y="270"/>
                  </a:lnTo>
                  <a:lnTo>
                    <a:pt x="134" y="270"/>
                  </a:lnTo>
                  <a:lnTo>
                    <a:pt x="132" y="272"/>
                  </a:lnTo>
                  <a:lnTo>
                    <a:pt x="134" y="269"/>
                  </a:lnTo>
                  <a:lnTo>
                    <a:pt x="136" y="269"/>
                  </a:lnTo>
                  <a:lnTo>
                    <a:pt x="138" y="267"/>
                  </a:lnTo>
                  <a:lnTo>
                    <a:pt x="138" y="265"/>
                  </a:lnTo>
                  <a:lnTo>
                    <a:pt x="139" y="267"/>
                  </a:lnTo>
                  <a:close/>
                  <a:moveTo>
                    <a:pt x="352" y="32"/>
                  </a:moveTo>
                  <a:lnTo>
                    <a:pt x="348" y="36"/>
                  </a:lnTo>
                  <a:lnTo>
                    <a:pt x="347" y="36"/>
                  </a:lnTo>
                  <a:lnTo>
                    <a:pt x="348" y="32"/>
                  </a:lnTo>
                  <a:lnTo>
                    <a:pt x="350" y="32"/>
                  </a:lnTo>
                  <a:lnTo>
                    <a:pt x="352" y="32"/>
                  </a:lnTo>
                  <a:close/>
                  <a:moveTo>
                    <a:pt x="335" y="29"/>
                  </a:moveTo>
                  <a:lnTo>
                    <a:pt x="335" y="31"/>
                  </a:lnTo>
                  <a:lnTo>
                    <a:pt x="333" y="32"/>
                  </a:lnTo>
                  <a:lnTo>
                    <a:pt x="333" y="31"/>
                  </a:lnTo>
                  <a:lnTo>
                    <a:pt x="335" y="29"/>
                  </a:lnTo>
                  <a:close/>
                  <a:moveTo>
                    <a:pt x="109" y="264"/>
                  </a:moveTo>
                  <a:lnTo>
                    <a:pt x="110" y="265"/>
                  </a:lnTo>
                  <a:lnTo>
                    <a:pt x="112" y="265"/>
                  </a:lnTo>
                  <a:lnTo>
                    <a:pt x="112" y="267"/>
                  </a:lnTo>
                  <a:lnTo>
                    <a:pt x="110" y="267"/>
                  </a:lnTo>
                  <a:lnTo>
                    <a:pt x="109" y="265"/>
                  </a:lnTo>
                  <a:lnTo>
                    <a:pt x="107" y="265"/>
                  </a:lnTo>
                  <a:lnTo>
                    <a:pt x="109" y="264"/>
                  </a:lnTo>
                  <a:close/>
                  <a:moveTo>
                    <a:pt x="104" y="160"/>
                  </a:moveTo>
                  <a:lnTo>
                    <a:pt x="104" y="162"/>
                  </a:lnTo>
                  <a:lnTo>
                    <a:pt x="102" y="163"/>
                  </a:lnTo>
                  <a:lnTo>
                    <a:pt x="100" y="162"/>
                  </a:lnTo>
                  <a:lnTo>
                    <a:pt x="102" y="162"/>
                  </a:lnTo>
                  <a:lnTo>
                    <a:pt x="104" y="160"/>
                  </a:lnTo>
                  <a:close/>
                  <a:moveTo>
                    <a:pt x="124" y="289"/>
                  </a:moveTo>
                  <a:lnTo>
                    <a:pt x="126" y="291"/>
                  </a:lnTo>
                  <a:lnTo>
                    <a:pt x="122" y="291"/>
                  </a:lnTo>
                  <a:lnTo>
                    <a:pt x="122" y="289"/>
                  </a:lnTo>
                  <a:lnTo>
                    <a:pt x="124" y="289"/>
                  </a:lnTo>
                  <a:close/>
                  <a:moveTo>
                    <a:pt x="309" y="41"/>
                  </a:moveTo>
                  <a:lnTo>
                    <a:pt x="311" y="42"/>
                  </a:lnTo>
                  <a:lnTo>
                    <a:pt x="309" y="44"/>
                  </a:lnTo>
                  <a:lnTo>
                    <a:pt x="308" y="42"/>
                  </a:lnTo>
                  <a:lnTo>
                    <a:pt x="309" y="41"/>
                  </a:lnTo>
                  <a:close/>
                  <a:moveTo>
                    <a:pt x="127" y="284"/>
                  </a:moveTo>
                  <a:lnTo>
                    <a:pt x="127" y="286"/>
                  </a:lnTo>
                  <a:lnTo>
                    <a:pt x="127" y="287"/>
                  </a:lnTo>
                  <a:lnTo>
                    <a:pt x="127" y="291"/>
                  </a:lnTo>
                  <a:lnTo>
                    <a:pt x="126" y="287"/>
                  </a:lnTo>
                  <a:lnTo>
                    <a:pt x="127" y="286"/>
                  </a:lnTo>
                  <a:lnTo>
                    <a:pt x="127" y="284"/>
                  </a:lnTo>
                  <a:close/>
                  <a:moveTo>
                    <a:pt x="90" y="345"/>
                  </a:moveTo>
                  <a:lnTo>
                    <a:pt x="92" y="345"/>
                  </a:lnTo>
                  <a:lnTo>
                    <a:pt x="92" y="349"/>
                  </a:lnTo>
                  <a:lnTo>
                    <a:pt x="92" y="347"/>
                  </a:lnTo>
                  <a:lnTo>
                    <a:pt x="88" y="345"/>
                  </a:lnTo>
                  <a:lnTo>
                    <a:pt x="90" y="345"/>
                  </a:lnTo>
                  <a:close/>
                  <a:moveTo>
                    <a:pt x="131" y="281"/>
                  </a:moveTo>
                  <a:lnTo>
                    <a:pt x="129" y="282"/>
                  </a:lnTo>
                  <a:lnTo>
                    <a:pt x="129" y="284"/>
                  </a:lnTo>
                  <a:lnTo>
                    <a:pt x="127" y="284"/>
                  </a:lnTo>
                  <a:lnTo>
                    <a:pt x="127" y="282"/>
                  </a:lnTo>
                  <a:lnTo>
                    <a:pt x="129" y="281"/>
                  </a:lnTo>
                  <a:lnTo>
                    <a:pt x="129" y="282"/>
                  </a:lnTo>
                  <a:lnTo>
                    <a:pt x="131" y="281"/>
                  </a:lnTo>
                  <a:close/>
                  <a:moveTo>
                    <a:pt x="115" y="321"/>
                  </a:moveTo>
                  <a:lnTo>
                    <a:pt x="117" y="321"/>
                  </a:lnTo>
                  <a:lnTo>
                    <a:pt x="115" y="323"/>
                  </a:lnTo>
                  <a:lnTo>
                    <a:pt x="115" y="325"/>
                  </a:lnTo>
                  <a:lnTo>
                    <a:pt x="114" y="327"/>
                  </a:lnTo>
                  <a:lnTo>
                    <a:pt x="114" y="323"/>
                  </a:lnTo>
                  <a:lnTo>
                    <a:pt x="115" y="321"/>
                  </a:lnTo>
                  <a:close/>
                  <a:moveTo>
                    <a:pt x="192" y="449"/>
                  </a:moveTo>
                  <a:lnTo>
                    <a:pt x="190" y="449"/>
                  </a:lnTo>
                  <a:lnTo>
                    <a:pt x="192" y="451"/>
                  </a:lnTo>
                  <a:lnTo>
                    <a:pt x="190" y="452"/>
                  </a:lnTo>
                  <a:lnTo>
                    <a:pt x="192" y="454"/>
                  </a:lnTo>
                  <a:lnTo>
                    <a:pt x="192" y="456"/>
                  </a:lnTo>
                  <a:lnTo>
                    <a:pt x="194" y="456"/>
                  </a:lnTo>
                  <a:lnTo>
                    <a:pt x="192" y="456"/>
                  </a:lnTo>
                  <a:lnTo>
                    <a:pt x="190" y="454"/>
                  </a:lnTo>
                  <a:lnTo>
                    <a:pt x="190" y="451"/>
                  </a:lnTo>
                  <a:lnTo>
                    <a:pt x="190" y="449"/>
                  </a:lnTo>
                  <a:lnTo>
                    <a:pt x="192" y="449"/>
                  </a:lnTo>
                  <a:close/>
                  <a:moveTo>
                    <a:pt x="136" y="276"/>
                  </a:moveTo>
                  <a:lnTo>
                    <a:pt x="134" y="277"/>
                  </a:lnTo>
                  <a:lnTo>
                    <a:pt x="132" y="279"/>
                  </a:lnTo>
                  <a:lnTo>
                    <a:pt x="132" y="277"/>
                  </a:lnTo>
                  <a:lnTo>
                    <a:pt x="131" y="277"/>
                  </a:lnTo>
                  <a:lnTo>
                    <a:pt x="132" y="276"/>
                  </a:lnTo>
                  <a:lnTo>
                    <a:pt x="136" y="276"/>
                  </a:lnTo>
                  <a:close/>
                  <a:moveTo>
                    <a:pt x="149" y="323"/>
                  </a:moveTo>
                  <a:lnTo>
                    <a:pt x="148" y="327"/>
                  </a:lnTo>
                  <a:lnTo>
                    <a:pt x="148" y="325"/>
                  </a:lnTo>
                  <a:lnTo>
                    <a:pt x="146" y="327"/>
                  </a:lnTo>
                  <a:lnTo>
                    <a:pt x="148" y="323"/>
                  </a:lnTo>
                  <a:lnTo>
                    <a:pt x="149" y="323"/>
                  </a:lnTo>
                  <a:close/>
                  <a:moveTo>
                    <a:pt x="107" y="223"/>
                  </a:moveTo>
                  <a:lnTo>
                    <a:pt x="109" y="223"/>
                  </a:lnTo>
                  <a:lnTo>
                    <a:pt x="105" y="223"/>
                  </a:lnTo>
                  <a:lnTo>
                    <a:pt x="104" y="223"/>
                  </a:lnTo>
                  <a:lnTo>
                    <a:pt x="105" y="221"/>
                  </a:lnTo>
                  <a:lnTo>
                    <a:pt x="107" y="223"/>
                  </a:lnTo>
                  <a:close/>
                  <a:moveTo>
                    <a:pt x="93" y="170"/>
                  </a:moveTo>
                  <a:lnTo>
                    <a:pt x="95" y="172"/>
                  </a:lnTo>
                  <a:lnTo>
                    <a:pt x="93" y="173"/>
                  </a:lnTo>
                  <a:lnTo>
                    <a:pt x="92" y="173"/>
                  </a:lnTo>
                  <a:lnTo>
                    <a:pt x="93" y="170"/>
                  </a:lnTo>
                  <a:close/>
                  <a:moveTo>
                    <a:pt x="100" y="151"/>
                  </a:moveTo>
                  <a:lnTo>
                    <a:pt x="100" y="153"/>
                  </a:lnTo>
                  <a:lnTo>
                    <a:pt x="98" y="151"/>
                  </a:lnTo>
                  <a:lnTo>
                    <a:pt x="100" y="151"/>
                  </a:lnTo>
                  <a:close/>
                  <a:moveTo>
                    <a:pt x="121" y="218"/>
                  </a:moveTo>
                  <a:lnTo>
                    <a:pt x="121" y="219"/>
                  </a:lnTo>
                  <a:lnTo>
                    <a:pt x="119" y="221"/>
                  </a:lnTo>
                  <a:lnTo>
                    <a:pt x="119" y="219"/>
                  </a:lnTo>
                  <a:lnTo>
                    <a:pt x="121" y="218"/>
                  </a:lnTo>
                  <a:close/>
                  <a:moveTo>
                    <a:pt x="136" y="192"/>
                  </a:moveTo>
                  <a:lnTo>
                    <a:pt x="134" y="196"/>
                  </a:lnTo>
                  <a:lnTo>
                    <a:pt x="134" y="194"/>
                  </a:lnTo>
                  <a:lnTo>
                    <a:pt x="134" y="192"/>
                  </a:lnTo>
                  <a:lnTo>
                    <a:pt x="136" y="192"/>
                  </a:lnTo>
                  <a:close/>
                  <a:moveTo>
                    <a:pt x="258" y="126"/>
                  </a:moveTo>
                  <a:lnTo>
                    <a:pt x="257" y="128"/>
                  </a:lnTo>
                  <a:lnTo>
                    <a:pt x="258" y="128"/>
                  </a:lnTo>
                  <a:lnTo>
                    <a:pt x="257" y="129"/>
                  </a:lnTo>
                  <a:lnTo>
                    <a:pt x="255" y="128"/>
                  </a:lnTo>
                  <a:lnTo>
                    <a:pt x="257" y="126"/>
                  </a:lnTo>
                  <a:lnTo>
                    <a:pt x="258" y="126"/>
                  </a:lnTo>
                  <a:close/>
                  <a:moveTo>
                    <a:pt x="66" y="221"/>
                  </a:moveTo>
                  <a:lnTo>
                    <a:pt x="68" y="221"/>
                  </a:lnTo>
                  <a:lnTo>
                    <a:pt x="66" y="223"/>
                  </a:lnTo>
                  <a:lnTo>
                    <a:pt x="70" y="223"/>
                  </a:lnTo>
                  <a:lnTo>
                    <a:pt x="68" y="223"/>
                  </a:lnTo>
                  <a:lnTo>
                    <a:pt x="66" y="223"/>
                  </a:lnTo>
                  <a:lnTo>
                    <a:pt x="68" y="225"/>
                  </a:lnTo>
                  <a:lnTo>
                    <a:pt x="66" y="225"/>
                  </a:lnTo>
                  <a:lnTo>
                    <a:pt x="66" y="221"/>
                  </a:lnTo>
                  <a:close/>
                  <a:moveTo>
                    <a:pt x="272" y="90"/>
                  </a:moveTo>
                  <a:lnTo>
                    <a:pt x="270" y="92"/>
                  </a:lnTo>
                  <a:lnTo>
                    <a:pt x="272" y="94"/>
                  </a:lnTo>
                  <a:lnTo>
                    <a:pt x="270" y="95"/>
                  </a:lnTo>
                  <a:lnTo>
                    <a:pt x="270" y="92"/>
                  </a:lnTo>
                  <a:lnTo>
                    <a:pt x="272" y="90"/>
                  </a:lnTo>
                  <a:close/>
                  <a:moveTo>
                    <a:pt x="323" y="31"/>
                  </a:moveTo>
                  <a:lnTo>
                    <a:pt x="325" y="32"/>
                  </a:lnTo>
                  <a:lnTo>
                    <a:pt x="325" y="31"/>
                  </a:lnTo>
                  <a:lnTo>
                    <a:pt x="325" y="32"/>
                  </a:lnTo>
                  <a:lnTo>
                    <a:pt x="323" y="32"/>
                  </a:lnTo>
                  <a:lnTo>
                    <a:pt x="323" y="31"/>
                  </a:lnTo>
                  <a:close/>
                  <a:moveTo>
                    <a:pt x="93" y="167"/>
                  </a:moveTo>
                  <a:lnTo>
                    <a:pt x="93" y="168"/>
                  </a:lnTo>
                  <a:lnTo>
                    <a:pt x="92" y="168"/>
                  </a:lnTo>
                  <a:lnTo>
                    <a:pt x="93" y="167"/>
                  </a:lnTo>
                  <a:close/>
                  <a:moveTo>
                    <a:pt x="318" y="87"/>
                  </a:moveTo>
                  <a:lnTo>
                    <a:pt x="318" y="88"/>
                  </a:lnTo>
                  <a:lnTo>
                    <a:pt x="316" y="88"/>
                  </a:lnTo>
                  <a:lnTo>
                    <a:pt x="318" y="87"/>
                  </a:lnTo>
                  <a:close/>
                  <a:moveTo>
                    <a:pt x="100" y="272"/>
                  </a:moveTo>
                  <a:lnTo>
                    <a:pt x="98" y="276"/>
                  </a:lnTo>
                  <a:lnTo>
                    <a:pt x="98" y="274"/>
                  </a:lnTo>
                  <a:lnTo>
                    <a:pt x="98" y="272"/>
                  </a:lnTo>
                  <a:lnTo>
                    <a:pt x="100" y="272"/>
                  </a:lnTo>
                  <a:close/>
                  <a:moveTo>
                    <a:pt x="289" y="94"/>
                  </a:moveTo>
                  <a:lnTo>
                    <a:pt x="289" y="95"/>
                  </a:lnTo>
                  <a:lnTo>
                    <a:pt x="287" y="95"/>
                  </a:lnTo>
                  <a:lnTo>
                    <a:pt x="287" y="94"/>
                  </a:lnTo>
                  <a:lnTo>
                    <a:pt x="289" y="94"/>
                  </a:lnTo>
                  <a:close/>
                  <a:moveTo>
                    <a:pt x="88" y="185"/>
                  </a:moveTo>
                  <a:lnTo>
                    <a:pt x="88" y="189"/>
                  </a:lnTo>
                  <a:lnTo>
                    <a:pt x="87" y="187"/>
                  </a:lnTo>
                  <a:lnTo>
                    <a:pt x="85" y="187"/>
                  </a:lnTo>
                  <a:lnTo>
                    <a:pt x="87" y="185"/>
                  </a:lnTo>
                  <a:lnTo>
                    <a:pt x="87" y="187"/>
                  </a:lnTo>
                  <a:lnTo>
                    <a:pt x="87" y="185"/>
                  </a:lnTo>
                  <a:lnTo>
                    <a:pt x="88" y="185"/>
                  </a:lnTo>
                  <a:close/>
                  <a:moveTo>
                    <a:pt x="335" y="49"/>
                  </a:moveTo>
                  <a:lnTo>
                    <a:pt x="335" y="51"/>
                  </a:lnTo>
                  <a:lnTo>
                    <a:pt x="333" y="53"/>
                  </a:lnTo>
                  <a:lnTo>
                    <a:pt x="333" y="54"/>
                  </a:lnTo>
                  <a:lnTo>
                    <a:pt x="333" y="53"/>
                  </a:lnTo>
                  <a:lnTo>
                    <a:pt x="333" y="51"/>
                  </a:lnTo>
                  <a:lnTo>
                    <a:pt x="335" y="51"/>
                  </a:lnTo>
                  <a:lnTo>
                    <a:pt x="333" y="49"/>
                  </a:lnTo>
                  <a:lnTo>
                    <a:pt x="335" y="49"/>
                  </a:lnTo>
                  <a:close/>
                  <a:moveTo>
                    <a:pt x="78" y="214"/>
                  </a:moveTo>
                  <a:lnTo>
                    <a:pt x="80" y="214"/>
                  </a:lnTo>
                  <a:lnTo>
                    <a:pt x="78" y="216"/>
                  </a:lnTo>
                  <a:lnTo>
                    <a:pt x="78" y="214"/>
                  </a:lnTo>
                  <a:close/>
                  <a:moveTo>
                    <a:pt x="114" y="165"/>
                  </a:moveTo>
                  <a:lnTo>
                    <a:pt x="115" y="167"/>
                  </a:lnTo>
                  <a:lnTo>
                    <a:pt x="114" y="168"/>
                  </a:lnTo>
                  <a:lnTo>
                    <a:pt x="114" y="167"/>
                  </a:lnTo>
                  <a:lnTo>
                    <a:pt x="114" y="165"/>
                  </a:lnTo>
                  <a:close/>
                  <a:moveTo>
                    <a:pt x="42" y="151"/>
                  </a:moveTo>
                  <a:lnTo>
                    <a:pt x="44" y="151"/>
                  </a:lnTo>
                  <a:lnTo>
                    <a:pt x="46" y="153"/>
                  </a:lnTo>
                  <a:lnTo>
                    <a:pt x="44" y="153"/>
                  </a:lnTo>
                  <a:lnTo>
                    <a:pt x="44" y="155"/>
                  </a:lnTo>
                  <a:lnTo>
                    <a:pt x="42" y="153"/>
                  </a:lnTo>
                  <a:lnTo>
                    <a:pt x="42" y="151"/>
                  </a:lnTo>
                  <a:close/>
                  <a:moveTo>
                    <a:pt x="127" y="245"/>
                  </a:moveTo>
                  <a:lnTo>
                    <a:pt x="129" y="247"/>
                  </a:lnTo>
                  <a:lnTo>
                    <a:pt x="126" y="247"/>
                  </a:lnTo>
                  <a:lnTo>
                    <a:pt x="127" y="245"/>
                  </a:lnTo>
                  <a:close/>
                  <a:moveTo>
                    <a:pt x="267" y="105"/>
                  </a:moveTo>
                  <a:lnTo>
                    <a:pt x="268" y="105"/>
                  </a:lnTo>
                  <a:lnTo>
                    <a:pt x="267" y="109"/>
                  </a:lnTo>
                  <a:lnTo>
                    <a:pt x="267" y="107"/>
                  </a:lnTo>
                  <a:lnTo>
                    <a:pt x="267" y="105"/>
                  </a:lnTo>
                  <a:close/>
                  <a:moveTo>
                    <a:pt x="61" y="228"/>
                  </a:moveTo>
                  <a:lnTo>
                    <a:pt x="63" y="228"/>
                  </a:lnTo>
                  <a:lnTo>
                    <a:pt x="61" y="231"/>
                  </a:lnTo>
                  <a:lnTo>
                    <a:pt x="59" y="230"/>
                  </a:lnTo>
                  <a:lnTo>
                    <a:pt x="61" y="228"/>
                  </a:lnTo>
                  <a:close/>
                  <a:moveTo>
                    <a:pt x="90" y="187"/>
                  </a:moveTo>
                  <a:lnTo>
                    <a:pt x="90" y="189"/>
                  </a:lnTo>
                  <a:lnTo>
                    <a:pt x="88" y="189"/>
                  </a:lnTo>
                  <a:lnTo>
                    <a:pt x="88" y="187"/>
                  </a:lnTo>
                  <a:lnTo>
                    <a:pt x="90" y="187"/>
                  </a:lnTo>
                  <a:lnTo>
                    <a:pt x="88" y="187"/>
                  </a:lnTo>
                  <a:lnTo>
                    <a:pt x="90" y="187"/>
                  </a:lnTo>
                  <a:close/>
                  <a:moveTo>
                    <a:pt x="3" y="711"/>
                  </a:moveTo>
                  <a:lnTo>
                    <a:pt x="3" y="713"/>
                  </a:lnTo>
                  <a:lnTo>
                    <a:pt x="2" y="711"/>
                  </a:lnTo>
                  <a:lnTo>
                    <a:pt x="3" y="711"/>
                  </a:lnTo>
                  <a:close/>
                  <a:moveTo>
                    <a:pt x="335" y="51"/>
                  </a:moveTo>
                  <a:lnTo>
                    <a:pt x="335" y="53"/>
                  </a:lnTo>
                  <a:lnTo>
                    <a:pt x="333" y="54"/>
                  </a:lnTo>
                  <a:lnTo>
                    <a:pt x="335" y="51"/>
                  </a:lnTo>
                  <a:close/>
                  <a:moveTo>
                    <a:pt x="73" y="180"/>
                  </a:moveTo>
                  <a:lnTo>
                    <a:pt x="73" y="182"/>
                  </a:lnTo>
                  <a:lnTo>
                    <a:pt x="75" y="182"/>
                  </a:lnTo>
                  <a:lnTo>
                    <a:pt x="73" y="182"/>
                  </a:lnTo>
                  <a:lnTo>
                    <a:pt x="71" y="182"/>
                  </a:lnTo>
                  <a:lnTo>
                    <a:pt x="73" y="180"/>
                  </a:lnTo>
                  <a:close/>
                  <a:moveTo>
                    <a:pt x="114" y="240"/>
                  </a:moveTo>
                  <a:lnTo>
                    <a:pt x="115" y="242"/>
                  </a:lnTo>
                  <a:lnTo>
                    <a:pt x="114" y="242"/>
                  </a:lnTo>
                  <a:lnTo>
                    <a:pt x="112" y="242"/>
                  </a:lnTo>
                  <a:lnTo>
                    <a:pt x="114" y="240"/>
                  </a:lnTo>
                  <a:close/>
                  <a:moveTo>
                    <a:pt x="102" y="296"/>
                  </a:moveTo>
                  <a:lnTo>
                    <a:pt x="100" y="298"/>
                  </a:lnTo>
                  <a:lnTo>
                    <a:pt x="100" y="296"/>
                  </a:lnTo>
                  <a:lnTo>
                    <a:pt x="102" y="296"/>
                  </a:lnTo>
                  <a:close/>
                  <a:moveTo>
                    <a:pt x="267" y="352"/>
                  </a:moveTo>
                  <a:lnTo>
                    <a:pt x="268" y="354"/>
                  </a:lnTo>
                  <a:lnTo>
                    <a:pt x="267" y="354"/>
                  </a:lnTo>
                  <a:lnTo>
                    <a:pt x="265" y="352"/>
                  </a:lnTo>
                  <a:lnTo>
                    <a:pt x="267" y="352"/>
                  </a:lnTo>
                  <a:close/>
                  <a:moveTo>
                    <a:pt x="107" y="264"/>
                  </a:moveTo>
                  <a:lnTo>
                    <a:pt x="109" y="264"/>
                  </a:lnTo>
                  <a:lnTo>
                    <a:pt x="107" y="265"/>
                  </a:lnTo>
                  <a:lnTo>
                    <a:pt x="105" y="264"/>
                  </a:lnTo>
                  <a:lnTo>
                    <a:pt x="107" y="264"/>
                  </a:lnTo>
                  <a:close/>
                  <a:moveTo>
                    <a:pt x="127" y="287"/>
                  </a:moveTo>
                  <a:lnTo>
                    <a:pt x="129" y="287"/>
                  </a:lnTo>
                  <a:lnTo>
                    <a:pt x="129" y="289"/>
                  </a:lnTo>
                  <a:lnTo>
                    <a:pt x="127" y="289"/>
                  </a:lnTo>
                  <a:lnTo>
                    <a:pt x="127" y="287"/>
                  </a:lnTo>
                  <a:close/>
                  <a:moveTo>
                    <a:pt x="66" y="225"/>
                  </a:moveTo>
                  <a:lnTo>
                    <a:pt x="68" y="225"/>
                  </a:lnTo>
                  <a:lnTo>
                    <a:pt x="68" y="226"/>
                  </a:lnTo>
                  <a:lnTo>
                    <a:pt x="66" y="226"/>
                  </a:lnTo>
                  <a:lnTo>
                    <a:pt x="66" y="225"/>
                  </a:lnTo>
                  <a:close/>
                  <a:moveTo>
                    <a:pt x="331" y="32"/>
                  </a:moveTo>
                  <a:lnTo>
                    <a:pt x="333" y="34"/>
                  </a:lnTo>
                  <a:lnTo>
                    <a:pt x="331" y="34"/>
                  </a:lnTo>
                  <a:lnTo>
                    <a:pt x="331" y="32"/>
                  </a:lnTo>
                  <a:close/>
                  <a:moveTo>
                    <a:pt x="253" y="136"/>
                  </a:moveTo>
                  <a:lnTo>
                    <a:pt x="255" y="136"/>
                  </a:lnTo>
                  <a:lnTo>
                    <a:pt x="255" y="138"/>
                  </a:lnTo>
                  <a:lnTo>
                    <a:pt x="253" y="138"/>
                  </a:lnTo>
                  <a:lnTo>
                    <a:pt x="253" y="136"/>
                  </a:lnTo>
                  <a:close/>
                  <a:moveTo>
                    <a:pt x="87" y="192"/>
                  </a:moveTo>
                  <a:lnTo>
                    <a:pt x="88" y="194"/>
                  </a:lnTo>
                  <a:lnTo>
                    <a:pt x="87" y="196"/>
                  </a:lnTo>
                  <a:lnTo>
                    <a:pt x="87" y="194"/>
                  </a:lnTo>
                  <a:lnTo>
                    <a:pt x="87" y="192"/>
                  </a:lnTo>
                  <a:close/>
                  <a:moveTo>
                    <a:pt x="93" y="640"/>
                  </a:moveTo>
                  <a:lnTo>
                    <a:pt x="93" y="643"/>
                  </a:lnTo>
                  <a:lnTo>
                    <a:pt x="92" y="643"/>
                  </a:lnTo>
                  <a:lnTo>
                    <a:pt x="93" y="640"/>
                  </a:lnTo>
                  <a:close/>
                  <a:moveTo>
                    <a:pt x="151" y="177"/>
                  </a:moveTo>
                  <a:lnTo>
                    <a:pt x="153" y="177"/>
                  </a:lnTo>
                  <a:lnTo>
                    <a:pt x="153" y="179"/>
                  </a:lnTo>
                  <a:lnTo>
                    <a:pt x="151" y="179"/>
                  </a:lnTo>
                  <a:lnTo>
                    <a:pt x="151" y="177"/>
                  </a:lnTo>
                  <a:close/>
                  <a:moveTo>
                    <a:pt x="345" y="48"/>
                  </a:moveTo>
                  <a:lnTo>
                    <a:pt x="347" y="48"/>
                  </a:lnTo>
                  <a:lnTo>
                    <a:pt x="347" y="49"/>
                  </a:lnTo>
                  <a:lnTo>
                    <a:pt x="345" y="49"/>
                  </a:lnTo>
                  <a:lnTo>
                    <a:pt x="345" y="48"/>
                  </a:lnTo>
                  <a:close/>
                  <a:moveTo>
                    <a:pt x="175" y="143"/>
                  </a:moveTo>
                  <a:lnTo>
                    <a:pt x="177" y="143"/>
                  </a:lnTo>
                  <a:lnTo>
                    <a:pt x="177" y="145"/>
                  </a:lnTo>
                  <a:lnTo>
                    <a:pt x="175" y="143"/>
                  </a:lnTo>
                  <a:close/>
                  <a:moveTo>
                    <a:pt x="200" y="451"/>
                  </a:moveTo>
                  <a:lnTo>
                    <a:pt x="202" y="451"/>
                  </a:lnTo>
                  <a:lnTo>
                    <a:pt x="202" y="452"/>
                  </a:lnTo>
                  <a:lnTo>
                    <a:pt x="200" y="452"/>
                  </a:lnTo>
                  <a:lnTo>
                    <a:pt x="200" y="451"/>
                  </a:lnTo>
                  <a:close/>
                  <a:moveTo>
                    <a:pt x="326" y="41"/>
                  </a:moveTo>
                  <a:lnTo>
                    <a:pt x="328" y="41"/>
                  </a:lnTo>
                  <a:lnTo>
                    <a:pt x="326" y="42"/>
                  </a:lnTo>
                  <a:lnTo>
                    <a:pt x="326" y="41"/>
                  </a:lnTo>
                  <a:close/>
                  <a:moveTo>
                    <a:pt x="136" y="207"/>
                  </a:moveTo>
                  <a:lnTo>
                    <a:pt x="138" y="209"/>
                  </a:lnTo>
                  <a:lnTo>
                    <a:pt x="136" y="209"/>
                  </a:lnTo>
                  <a:lnTo>
                    <a:pt x="136" y="207"/>
                  </a:lnTo>
                  <a:close/>
                  <a:moveTo>
                    <a:pt x="265" y="107"/>
                  </a:moveTo>
                  <a:lnTo>
                    <a:pt x="265" y="109"/>
                  </a:lnTo>
                  <a:lnTo>
                    <a:pt x="263" y="109"/>
                  </a:lnTo>
                  <a:lnTo>
                    <a:pt x="265" y="107"/>
                  </a:lnTo>
                  <a:close/>
                  <a:moveTo>
                    <a:pt x="350" y="15"/>
                  </a:moveTo>
                  <a:lnTo>
                    <a:pt x="352" y="15"/>
                  </a:lnTo>
                  <a:lnTo>
                    <a:pt x="352" y="17"/>
                  </a:lnTo>
                  <a:lnTo>
                    <a:pt x="350" y="17"/>
                  </a:lnTo>
                  <a:lnTo>
                    <a:pt x="350" y="15"/>
                  </a:lnTo>
                  <a:close/>
                  <a:moveTo>
                    <a:pt x="121" y="304"/>
                  </a:moveTo>
                  <a:lnTo>
                    <a:pt x="122" y="304"/>
                  </a:lnTo>
                  <a:lnTo>
                    <a:pt x="122" y="308"/>
                  </a:lnTo>
                  <a:lnTo>
                    <a:pt x="121" y="306"/>
                  </a:lnTo>
                  <a:lnTo>
                    <a:pt x="121" y="304"/>
                  </a:lnTo>
                  <a:close/>
                  <a:moveTo>
                    <a:pt x="161" y="167"/>
                  </a:moveTo>
                  <a:lnTo>
                    <a:pt x="163" y="167"/>
                  </a:lnTo>
                  <a:lnTo>
                    <a:pt x="163" y="168"/>
                  </a:lnTo>
                  <a:lnTo>
                    <a:pt x="161" y="168"/>
                  </a:lnTo>
                  <a:lnTo>
                    <a:pt x="161" y="167"/>
                  </a:lnTo>
                  <a:close/>
                  <a:moveTo>
                    <a:pt x="255" y="124"/>
                  </a:moveTo>
                  <a:lnTo>
                    <a:pt x="255" y="126"/>
                  </a:lnTo>
                  <a:lnTo>
                    <a:pt x="253" y="126"/>
                  </a:lnTo>
                  <a:lnTo>
                    <a:pt x="255" y="124"/>
                  </a:lnTo>
                  <a:close/>
                  <a:moveTo>
                    <a:pt x="335" y="48"/>
                  </a:moveTo>
                  <a:lnTo>
                    <a:pt x="336" y="48"/>
                  </a:lnTo>
                  <a:lnTo>
                    <a:pt x="336" y="51"/>
                  </a:lnTo>
                  <a:lnTo>
                    <a:pt x="335" y="49"/>
                  </a:lnTo>
                  <a:lnTo>
                    <a:pt x="335" y="48"/>
                  </a:lnTo>
                  <a:close/>
                  <a:moveTo>
                    <a:pt x="146" y="327"/>
                  </a:moveTo>
                  <a:lnTo>
                    <a:pt x="146" y="328"/>
                  </a:lnTo>
                  <a:lnTo>
                    <a:pt x="144" y="328"/>
                  </a:lnTo>
                  <a:lnTo>
                    <a:pt x="146" y="327"/>
                  </a:lnTo>
                  <a:close/>
                  <a:moveTo>
                    <a:pt x="73" y="597"/>
                  </a:moveTo>
                  <a:lnTo>
                    <a:pt x="75" y="597"/>
                  </a:lnTo>
                  <a:lnTo>
                    <a:pt x="73" y="597"/>
                  </a:lnTo>
                  <a:close/>
                  <a:moveTo>
                    <a:pt x="138" y="338"/>
                  </a:moveTo>
                  <a:lnTo>
                    <a:pt x="139" y="340"/>
                  </a:lnTo>
                  <a:lnTo>
                    <a:pt x="139" y="342"/>
                  </a:lnTo>
                  <a:lnTo>
                    <a:pt x="138" y="340"/>
                  </a:lnTo>
                  <a:lnTo>
                    <a:pt x="138" y="338"/>
                  </a:lnTo>
                  <a:close/>
                  <a:moveTo>
                    <a:pt x="114" y="156"/>
                  </a:moveTo>
                  <a:lnTo>
                    <a:pt x="114" y="158"/>
                  </a:lnTo>
                  <a:lnTo>
                    <a:pt x="114" y="156"/>
                  </a:lnTo>
                  <a:close/>
                  <a:moveTo>
                    <a:pt x="85" y="173"/>
                  </a:moveTo>
                  <a:lnTo>
                    <a:pt x="85" y="175"/>
                  </a:lnTo>
                  <a:lnTo>
                    <a:pt x="83" y="173"/>
                  </a:lnTo>
                  <a:lnTo>
                    <a:pt x="85" y="173"/>
                  </a:lnTo>
                  <a:close/>
                  <a:moveTo>
                    <a:pt x="2" y="708"/>
                  </a:moveTo>
                  <a:lnTo>
                    <a:pt x="3" y="708"/>
                  </a:lnTo>
                  <a:lnTo>
                    <a:pt x="2" y="709"/>
                  </a:lnTo>
                  <a:lnTo>
                    <a:pt x="2" y="708"/>
                  </a:lnTo>
                  <a:close/>
                  <a:moveTo>
                    <a:pt x="355" y="12"/>
                  </a:moveTo>
                  <a:lnTo>
                    <a:pt x="357" y="12"/>
                  </a:lnTo>
                  <a:lnTo>
                    <a:pt x="355" y="14"/>
                  </a:lnTo>
                  <a:lnTo>
                    <a:pt x="355" y="12"/>
                  </a:lnTo>
                  <a:close/>
                  <a:moveTo>
                    <a:pt x="124" y="286"/>
                  </a:moveTo>
                  <a:lnTo>
                    <a:pt x="126" y="286"/>
                  </a:lnTo>
                  <a:lnTo>
                    <a:pt x="124" y="289"/>
                  </a:lnTo>
                  <a:lnTo>
                    <a:pt x="124" y="286"/>
                  </a:lnTo>
                  <a:close/>
                  <a:moveTo>
                    <a:pt x="172" y="150"/>
                  </a:moveTo>
                  <a:lnTo>
                    <a:pt x="172" y="151"/>
                  </a:lnTo>
                  <a:lnTo>
                    <a:pt x="170" y="151"/>
                  </a:lnTo>
                  <a:lnTo>
                    <a:pt x="172" y="150"/>
                  </a:lnTo>
                  <a:close/>
                  <a:moveTo>
                    <a:pt x="139" y="320"/>
                  </a:moveTo>
                  <a:lnTo>
                    <a:pt x="139" y="321"/>
                  </a:lnTo>
                  <a:lnTo>
                    <a:pt x="139" y="320"/>
                  </a:lnTo>
                  <a:close/>
                  <a:moveTo>
                    <a:pt x="134" y="213"/>
                  </a:moveTo>
                  <a:lnTo>
                    <a:pt x="136" y="213"/>
                  </a:lnTo>
                  <a:lnTo>
                    <a:pt x="134" y="214"/>
                  </a:lnTo>
                  <a:lnTo>
                    <a:pt x="134" y="213"/>
                  </a:lnTo>
                  <a:close/>
                  <a:moveTo>
                    <a:pt x="73" y="587"/>
                  </a:moveTo>
                  <a:lnTo>
                    <a:pt x="75" y="587"/>
                  </a:lnTo>
                  <a:lnTo>
                    <a:pt x="75" y="589"/>
                  </a:lnTo>
                  <a:lnTo>
                    <a:pt x="73" y="589"/>
                  </a:lnTo>
                  <a:lnTo>
                    <a:pt x="73" y="587"/>
                  </a:lnTo>
                  <a:close/>
                  <a:moveTo>
                    <a:pt x="335" y="32"/>
                  </a:moveTo>
                  <a:lnTo>
                    <a:pt x="335" y="34"/>
                  </a:lnTo>
                  <a:lnTo>
                    <a:pt x="335" y="32"/>
                  </a:lnTo>
                  <a:close/>
                  <a:moveTo>
                    <a:pt x="275" y="100"/>
                  </a:moveTo>
                  <a:lnTo>
                    <a:pt x="275" y="102"/>
                  </a:lnTo>
                  <a:lnTo>
                    <a:pt x="275" y="100"/>
                  </a:lnTo>
                  <a:close/>
                  <a:moveTo>
                    <a:pt x="75" y="214"/>
                  </a:moveTo>
                  <a:lnTo>
                    <a:pt x="75" y="216"/>
                  </a:lnTo>
                  <a:lnTo>
                    <a:pt x="75" y="214"/>
                  </a:lnTo>
                  <a:close/>
                  <a:moveTo>
                    <a:pt x="90" y="172"/>
                  </a:moveTo>
                  <a:lnTo>
                    <a:pt x="88" y="172"/>
                  </a:lnTo>
                  <a:lnTo>
                    <a:pt x="90" y="172"/>
                  </a:lnTo>
                  <a:close/>
                  <a:moveTo>
                    <a:pt x="100" y="276"/>
                  </a:moveTo>
                  <a:lnTo>
                    <a:pt x="100" y="277"/>
                  </a:lnTo>
                  <a:lnTo>
                    <a:pt x="100" y="276"/>
                  </a:lnTo>
                  <a:close/>
                  <a:moveTo>
                    <a:pt x="126" y="238"/>
                  </a:moveTo>
                  <a:lnTo>
                    <a:pt x="127" y="238"/>
                  </a:lnTo>
                  <a:lnTo>
                    <a:pt x="127" y="240"/>
                  </a:lnTo>
                  <a:lnTo>
                    <a:pt x="126" y="238"/>
                  </a:lnTo>
                  <a:close/>
                  <a:moveTo>
                    <a:pt x="3" y="708"/>
                  </a:moveTo>
                  <a:lnTo>
                    <a:pt x="5" y="708"/>
                  </a:lnTo>
                  <a:lnTo>
                    <a:pt x="5" y="709"/>
                  </a:lnTo>
                  <a:lnTo>
                    <a:pt x="3" y="709"/>
                  </a:lnTo>
                  <a:lnTo>
                    <a:pt x="3" y="708"/>
                  </a:lnTo>
                  <a:close/>
                  <a:moveTo>
                    <a:pt x="158" y="173"/>
                  </a:moveTo>
                  <a:lnTo>
                    <a:pt x="158" y="175"/>
                  </a:lnTo>
                  <a:lnTo>
                    <a:pt x="158" y="173"/>
                  </a:lnTo>
                  <a:close/>
                  <a:moveTo>
                    <a:pt x="97" y="609"/>
                  </a:moveTo>
                  <a:lnTo>
                    <a:pt x="98" y="609"/>
                  </a:lnTo>
                  <a:lnTo>
                    <a:pt x="98" y="611"/>
                  </a:lnTo>
                  <a:lnTo>
                    <a:pt x="97" y="609"/>
                  </a:lnTo>
                  <a:close/>
                  <a:moveTo>
                    <a:pt x="107" y="223"/>
                  </a:moveTo>
                  <a:lnTo>
                    <a:pt x="109" y="225"/>
                  </a:lnTo>
                  <a:lnTo>
                    <a:pt x="107" y="225"/>
                  </a:lnTo>
                  <a:lnTo>
                    <a:pt x="107" y="223"/>
                  </a:lnTo>
                  <a:close/>
                  <a:moveTo>
                    <a:pt x="124" y="255"/>
                  </a:moveTo>
                  <a:lnTo>
                    <a:pt x="126" y="255"/>
                  </a:lnTo>
                  <a:lnTo>
                    <a:pt x="124" y="257"/>
                  </a:lnTo>
                  <a:lnTo>
                    <a:pt x="124" y="255"/>
                  </a:lnTo>
                  <a:close/>
                  <a:moveTo>
                    <a:pt x="97" y="168"/>
                  </a:moveTo>
                  <a:lnTo>
                    <a:pt x="98" y="170"/>
                  </a:lnTo>
                  <a:lnTo>
                    <a:pt x="97" y="170"/>
                  </a:lnTo>
                  <a:lnTo>
                    <a:pt x="97" y="168"/>
                  </a:lnTo>
                  <a:close/>
                  <a:moveTo>
                    <a:pt x="338" y="58"/>
                  </a:moveTo>
                  <a:lnTo>
                    <a:pt x="340" y="58"/>
                  </a:lnTo>
                  <a:lnTo>
                    <a:pt x="338" y="58"/>
                  </a:lnTo>
                  <a:close/>
                  <a:moveTo>
                    <a:pt x="357" y="29"/>
                  </a:moveTo>
                  <a:lnTo>
                    <a:pt x="359" y="31"/>
                  </a:lnTo>
                  <a:lnTo>
                    <a:pt x="357" y="31"/>
                  </a:lnTo>
                  <a:lnTo>
                    <a:pt x="355" y="31"/>
                  </a:lnTo>
                  <a:lnTo>
                    <a:pt x="357" y="29"/>
                  </a:lnTo>
                  <a:close/>
                  <a:moveTo>
                    <a:pt x="97" y="170"/>
                  </a:moveTo>
                  <a:lnTo>
                    <a:pt x="98" y="172"/>
                  </a:lnTo>
                  <a:lnTo>
                    <a:pt x="97" y="172"/>
                  </a:lnTo>
                  <a:lnTo>
                    <a:pt x="97" y="170"/>
                  </a:lnTo>
                  <a:close/>
                  <a:moveTo>
                    <a:pt x="109" y="531"/>
                  </a:moveTo>
                  <a:lnTo>
                    <a:pt x="110" y="531"/>
                  </a:lnTo>
                  <a:lnTo>
                    <a:pt x="110" y="532"/>
                  </a:lnTo>
                  <a:lnTo>
                    <a:pt x="109" y="532"/>
                  </a:lnTo>
                  <a:lnTo>
                    <a:pt x="109" y="531"/>
                  </a:lnTo>
                  <a:close/>
                  <a:moveTo>
                    <a:pt x="126" y="167"/>
                  </a:moveTo>
                  <a:lnTo>
                    <a:pt x="126" y="168"/>
                  </a:lnTo>
                  <a:lnTo>
                    <a:pt x="126" y="167"/>
                  </a:lnTo>
                  <a:close/>
                  <a:moveTo>
                    <a:pt x="141" y="264"/>
                  </a:moveTo>
                  <a:lnTo>
                    <a:pt x="143" y="264"/>
                  </a:lnTo>
                  <a:lnTo>
                    <a:pt x="143" y="265"/>
                  </a:lnTo>
                  <a:lnTo>
                    <a:pt x="141" y="265"/>
                  </a:lnTo>
                  <a:lnTo>
                    <a:pt x="141" y="264"/>
                  </a:lnTo>
                  <a:close/>
                  <a:moveTo>
                    <a:pt x="143" y="182"/>
                  </a:moveTo>
                  <a:lnTo>
                    <a:pt x="144" y="182"/>
                  </a:lnTo>
                  <a:lnTo>
                    <a:pt x="144" y="184"/>
                  </a:lnTo>
                  <a:lnTo>
                    <a:pt x="143" y="184"/>
                  </a:lnTo>
                  <a:lnTo>
                    <a:pt x="143" y="182"/>
                  </a:lnTo>
                  <a:close/>
                  <a:moveTo>
                    <a:pt x="272" y="102"/>
                  </a:moveTo>
                  <a:lnTo>
                    <a:pt x="272" y="104"/>
                  </a:lnTo>
                  <a:lnTo>
                    <a:pt x="272" y="102"/>
                  </a:lnTo>
                  <a:close/>
                  <a:moveTo>
                    <a:pt x="131" y="197"/>
                  </a:moveTo>
                  <a:lnTo>
                    <a:pt x="132" y="197"/>
                  </a:lnTo>
                  <a:lnTo>
                    <a:pt x="132" y="199"/>
                  </a:lnTo>
                  <a:lnTo>
                    <a:pt x="131" y="199"/>
                  </a:lnTo>
                  <a:lnTo>
                    <a:pt x="131" y="197"/>
                  </a:lnTo>
                  <a:close/>
                  <a:moveTo>
                    <a:pt x="122" y="284"/>
                  </a:moveTo>
                  <a:lnTo>
                    <a:pt x="122" y="286"/>
                  </a:lnTo>
                  <a:lnTo>
                    <a:pt x="122" y="284"/>
                  </a:lnTo>
                  <a:close/>
                  <a:moveTo>
                    <a:pt x="347" y="32"/>
                  </a:moveTo>
                  <a:lnTo>
                    <a:pt x="348" y="32"/>
                  </a:lnTo>
                  <a:lnTo>
                    <a:pt x="347" y="34"/>
                  </a:lnTo>
                  <a:lnTo>
                    <a:pt x="347" y="32"/>
                  </a:lnTo>
                  <a:close/>
                  <a:moveTo>
                    <a:pt x="163" y="87"/>
                  </a:moveTo>
                  <a:lnTo>
                    <a:pt x="165" y="87"/>
                  </a:lnTo>
                  <a:lnTo>
                    <a:pt x="165" y="88"/>
                  </a:lnTo>
                  <a:lnTo>
                    <a:pt x="163" y="88"/>
                  </a:lnTo>
                  <a:lnTo>
                    <a:pt x="163" y="87"/>
                  </a:lnTo>
                  <a:close/>
                  <a:moveTo>
                    <a:pt x="296" y="498"/>
                  </a:moveTo>
                  <a:lnTo>
                    <a:pt x="297" y="498"/>
                  </a:lnTo>
                  <a:lnTo>
                    <a:pt x="297" y="500"/>
                  </a:lnTo>
                  <a:lnTo>
                    <a:pt x="296" y="500"/>
                  </a:lnTo>
                  <a:lnTo>
                    <a:pt x="296" y="498"/>
                  </a:lnTo>
                  <a:close/>
                  <a:moveTo>
                    <a:pt x="2" y="708"/>
                  </a:moveTo>
                  <a:lnTo>
                    <a:pt x="2" y="709"/>
                  </a:lnTo>
                  <a:lnTo>
                    <a:pt x="0" y="709"/>
                  </a:lnTo>
                  <a:lnTo>
                    <a:pt x="2" y="708"/>
                  </a:lnTo>
                  <a:close/>
                  <a:moveTo>
                    <a:pt x="360" y="7"/>
                  </a:moveTo>
                  <a:lnTo>
                    <a:pt x="360" y="8"/>
                  </a:lnTo>
                  <a:lnTo>
                    <a:pt x="360" y="7"/>
                  </a:lnTo>
                  <a:close/>
                  <a:moveTo>
                    <a:pt x="129" y="293"/>
                  </a:moveTo>
                  <a:lnTo>
                    <a:pt x="131" y="293"/>
                  </a:lnTo>
                  <a:lnTo>
                    <a:pt x="131" y="294"/>
                  </a:lnTo>
                  <a:lnTo>
                    <a:pt x="129" y="294"/>
                  </a:lnTo>
                  <a:lnTo>
                    <a:pt x="129" y="293"/>
                  </a:lnTo>
                  <a:close/>
                  <a:moveTo>
                    <a:pt x="257" y="133"/>
                  </a:moveTo>
                  <a:lnTo>
                    <a:pt x="258" y="133"/>
                  </a:lnTo>
                  <a:lnTo>
                    <a:pt x="257" y="134"/>
                  </a:lnTo>
                  <a:lnTo>
                    <a:pt x="257" y="133"/>
                  </a:lnTo>
                  <a:close/>
                  <a:moveTo>
                    <a:pt x="129" y="291"/>
                  </a:moveTo>
                  <a:lnTo>
                    <a:pt x="131" y="291"/>
                  </a:lnTo>
                  <a:lnTo>
                    <a:pt x="131" y="293"/>
                  </a:lnTo>
                  <a:lnTo>
                    <a:pt x="129" y="293"/>
                  </a:lnTo>
                  <a:lnTo>
                    <a:pt x="129" y="291"/>
                  </a:lnTo>
                  <a:close/>
                  <a:moveTo>
                    <a:pt x="87" y="189"/>
                  </a:moveTo>
                  <a:lnTo>
                    <a:pt x="88" y="189"/>
                  </a:lnTo>
                  <a:lnTo>
                    <a:pt x="87" y="189"/>
                  </a:lnTo>
                  <a:close/>
                  <a:moveTo>
                    <a:pt x="82" y="190"/>
                  </a:moveTo>
                  <a:lnTo>
                    <a:pt x="82" y="192"/>
                  </a:lnTo>
                  <a:lnTo>
                    <a:pt x="80" y="192"/>
                  </a:lnTo>
                  <a:lnTo>
                    <a:pt x="82" y="190"/>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183" name="Freeform 13">
              <a:extLst>
                <a:ext uri="{FF2B5EF4-FFF2-40B4-BE49-F238E27FC236}">
                  <a16:creationId xmlns:a16="http://schemas.microsoft.com/office/drawing/2014/main" id="{2A5DB596-DA2C-4515-9B64-BF57D37B4059}"/>
                </a:ext>
              </a:extLst>
            </p:cNvPr>
            <p:cNvSpPr>
              <a:spLocks noEditPoints="1"/>
            </p:cNvSpPr>
            <p:nvPr/>
          </p:nvSpPr>
          <p:spPr bwMode="gray">
            <a:xfrm>
              <a:off x="6671784" y="4212292"/>
              <a:ext cx="79993" cy="59255"/>
            </a:xfrm>
            <a:custGeom>
              <a:avLst/>
              <a:gdLst>
                <a:gd name="T0" fmla="*/ 9 w 27"/>
                <a:gd name="T1" fmla="*/ 12 h 20"/>
                <a:gd name="T2" fmla="*/ 9 w 27"/>
                <a:gd name="T3" fmla="*/ 14 h 20"/>
                <a:gd name="T4" fmla="*/ 7 w 27"/>
                <a:gd name="T5" fmla="*/ 15 h 20"/>
                <a:gd name="T6" fmla="*/ 7 w 27"/>
                <a:gd name="T7" fmla="*/ 17 h 20"/>
                <a:gd name="T8" fmla="*/ 5 w 27"/>
                <a:gd name="T9" fmla="*/ 17 h 20"/>
                <a:gd name="T10" fmla="*/ 4 w 27"/>
                <a:gd name="T11" fmla="*/ 17 h 20"/>
                <a:gd name="T12" fmla="*/ 2 w 27"/>
                <a:gd name="T13" fmla="*/ 17 h 20"/>
                <a:gd name="T14" fmla="*/ 0 w 27"/>
                <a:gd name="T15" fmla="*/ 15 h 20"/>
                <a:gd name="T16" fmla="*/ 2 w 27"/>
                <a:gd name="T17" fmla="*/ 15 h 20"/>
                <a:gd name="T18" fmla="*/ 2 w 27"/>
                <a:gd name="T19" fmla="*/ 14 h 20"/>
                <a:gd name="T20" fmla="*/ 4 w 27"/>
                <a:gd name="T21" fmla="*/ 14 h 20"/>
                <a:gd name="T22" fmla="*/ 7 w 27"/>
                <a:gd name="T23" fmla="*/ 12 h 20"/>
                <a:gd name="T24" fmla="*/ 9 w 27"/>
                <a:gd name="T25" fmla="*/ 12 h 20"/>
                <a:gd name="T26" fmla="*/ 27 w 27"/>
                <a:gd name="T27" fmla="*/ 0 h 20"/>
                <a:gd name="T28" fmla="*/ 26 w 27"/>
                <a:gd name="T29" fmla="*/ 0 h 20"/>
                <a:gd name="T30" fmla="*/ 24 w 27"/>
                <a:gd name="T31" fmla="*/ 0 h 20"/>
                <a:gd name="T32" fmla="*/ 27 w 27"/>
                <a:gd name="T33" fmla="*/ 0 h 20"/>
                <a:gd name="T34" fmla="*/ 14 w 27"/>
                <a:gd name="T35" fmla="*/ 17 h 20"/>
                <a:gd name="T36" fmla="*/ 16 w 27"/>
                <a:gd name="T37" fmla="*/ 17 h 20"/>
                <a:gd name="T38" fmla="*/ 16 w 27"/>
                <a:gd name="T39" fmla="*/ 20 h 20"/>
                <a:gd name="T40" fmla="*/ 14 w 27"/>
                <a:gd name="T41" fmla="*/ 20 h 20"/>
                <a:gd name="T42" fmla="*/ 14 w 27"/>
                <a:gd name="T43" fmla="*/ 1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20">
                  <a:moveTo>
                    <a:pt x="9" y="12"/>
                  </a:moveTo>
                  <a:lnTo>
                    <a:pt x="9" y="14"/>
                  </a:lnTo>
                  <a:lnTo>
                    <a:pt x="7" y="15"/>
                  </a:lnTo>
                  <a:lnTo>
                    <a:pt x="7" y="17"/>
                  </a:lnTo>
                  <a:lnTo>
                    <a:pt x="5" y="17"/>
                  </a:lnTo>
                  <a:lnTo>
                    <a:pt x="4" y="17"/>
                  </a:lnTo>
                  <a:lnTo>
                    <a:pt x="2" y="17"/>
                  </a:lnTo>
                  <a:lnTo>
                    <a:pt x="0" y="15"/>
                  </a:lnTo>
                  <a:lnTo>
                    <a:pt x="2" y="15"/>
                  </a:lnTo>
                  <a:lnTo>
                    <a:pt x="2" y="14"/>
                  </a:lnTo>
                  <a:lnTo>
                    <a:pt x="4" y="14"/>
                  </a:lnTo>
                  <a:lnTo>
                    <a:pt x="7" y="12"/>
                  </a:lnTo>
                  <a:lnTo>
                    <a:pt x="9" y="12"/>
                  </a:lnTo>
                  <a:close/>
                  <a:moveTo>
                    <a:pt x="27" y="0"/>
                  </a:moveTo>
                  <a:lnTo>
                    <a:pt x="26" y="0"/>
                  </a:lnTo>
                  <a:lnTo>
                    <a:pt x="24" y="0"/>
                  </a:lnTo>
                  <a:lnTo>
                    <a:pt x="27" y="0"/>
                  </a:lnTo>
                  <a:close/>
                  <a:moveTo>
                    <a:pt x="14" y="17"/>
                  </a:moveTo>
                  <a:lnTo>
                    <a:pt x="16" y="17"/>
                  </a:lnTo>
                  <a:lnTo>
                    <a:pt x="16" y="20"/>
                  </a:lnTo>
                  <a:lnTo>
                    <a:pt x="14" y="20"/>
                  </a:lnTo>
                  <a:lnTo>
                    <a:pt x="14" y="1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184" name="Freeform 14">
              <a:extLst>
                <a:ext uri="{FF2B5EF4-FFF2-40B4-BE49-F238E27FC236}">
                  <a16:creationId xmlns:a16="http://schemas.microsoft.com/office/drawing/2014/main" id="{9C71F980-0706-4FE1-B872-3F13CBE94F8D}"/>
                </a:ext>
              </a:extLst>
            </p:cNvPr>
            <p:cNvSpPr>
              <a:spLocks/>
            </p:cNvSpPr>
            <p:nvPr/>
          </p:nvSpPr>
          <p:spPr bwMode="gray">
            <a:xfrm>
              <a:off x="6722150" y="4304136"/>
              <a:ext cx="29627" cy="23702"/>
            </a:xfrm>
            <a:custGeom>
              <a:avLst/>
              <a:gdLst>
                <a:gd name="T0" fmla="*/ 5 w 10"/>
                <a:gd name="T1" fmla="*/ 1 h 8"/>
                <a:gd name="T2" fmla="*/ 7 w 10"/>
                <a:gd name="T3" fmla="*/ 1 h 8"/>
                <a:gd name="T4" fmla="*/ 9 w 10"/>
                <a:gd name="T5" fmla="*/ 3 h 8"/>
                <a:gd name="T6" fmla="*/ 10 w 10"/>
                <a:gd name="T7" fmla="*/ 3 h 8"/>
                <a:gd name="T8" fmla="*/ 10 w 10"/>
                <a:gd name="T9" fmla="*/ 6 h 8"/>
                <a:gd name="T10" fmla="*/ 9 w 10"/>
                <a:gd name="T11" fmla="*/ 8 h 8"/>
                <a:gd name="T12" fmla="*/ 7 w 10"/>
                <a:gd name="T13" fmla="*/ 8 h 8"/>
                <a:gd name="T14" fmla="*/ 7 w 10"/>
                <a:gd name="T15" fmla="*/ 6 h 8"/>
                <a:gd name="T16" fmla="*/ 5 w 10"/>
                <a:gd name="T17" fmla="*/ 8 h 8"/>
                <a:gd name="T18" fmla="*/ 5 w 10"/>
                <a:gd name="T19" fmla="*/ 5 h 8"/>
                <a:gd name="T20" fmla="*/ 4 w 10"/>
                <a:gd name="T21" fmla="*/ 5 h 8"/>
                <a:gd name="T22" fmla="*/ 4 w 10"/>
                <a:gd name="T23" fmla="*/ 6 h 8"/>
                <a:gd name="T24" fmla="*/ 2 w 10"/>
                <a:gd name="T25" fmla="*/ 5 h 8"/>
                <a:gd name="T26" fmla="*/ 0 w 10"/>
                <a:gd name="T27" fmla="*/ 5 h 8"/>
                <a:gd name="T28" fmla="*/ 2 w 10"/>
                <a:gd name="T29" fmla="*/ 5 h 8"/>
                <a:gd name="T30" fmla="*/ 0 w 10"/>
                <a:gd name="T31" fmla="*/ 1 h 8"/>
                <a:gd name="T32" fmla="*/ 0 w 10"/>
                <a:gd name="T33" fmla="*/ 0 h 8"/>
                <a:gd name="T34" fmla="*/ 2 w 10"/>
                <a:gd name="T35" fmla="*/ 0 h 8"/>
                <a:gd name="T36" fmla="*/ 4 w 10"/>
                <a:gd name="T37" fmla="*/ 1 h 8"/>
                <a:gd name="T38" fmla="*/ 5 w 10"/>
                <a:gd name="T3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8">
                  <a:moveTo>
                    <a:pt x="5" y="1"/>
                  </a:moveTo>
                  <a:lnTo>
                    <a:pt x="7" y="1"/>
                  </a:lnTo>
                  <a:lnTo>
                    <a:pt x="9" y="3"/>
                  </a:lnTo>
                  <a:lnTo>
                    <a:pt x="10" y="3"/>
                  </a:lnTo>
                  <a:lnTo>
                    <a:pt x="10" y="6"/>
                  </a:lnTo>
                  <a:lnTo>
                    <a:pt x="9" y="8"/>
                  </a:lnTo>
                  <a:lnTo>
                    <a:pt x="7" y="8"/>
                  </a:lnTo>
                  <a:lnTo>
                    <a:pt x="7" y="6"/>
                  </a:lnTo>
                  <a:lnTo>
                    <a:pt x="5" y="8"/>
                  </a:lnTo>
                  <a:lnTo>
                    <a:pt x="5" y="5"/>
                  </a:lnTo>
                  <a:lnTo>
                    <a:pt x="4" y="5"/>
                  </a:lnTo>
                  <a:lnTo>
                    <a:pt x="4" y="6"/>
                  </a:lnTo>
                  <a:lnTo>
                    <a:pt x="2" y="5"/>
                  </a:lnTo>
                  <a:lnTo>
                    <a:pt x="0" y="5"/>
                  </a:lnTo>
                  <a:lnTo>
                    <a:pt x="2" y="5"/>
                  </a:lnTo>
                  <a:lnTo>
                    <a:pt x="0" y="1"/>
                  </a:lnTo>
                  <a:lnTo>
                    <a:pt x="0" y="0"/>
                  </a:lnTo>
                  <a:lnTo>
                    <a:pt x="2" y="0"/>
                  </a:lnTo>
                  <a:lnTo>
                    <a:pt x="4" y="1"/>
                  </a:lnTo>
                  <a:lnTo>
                    <a:pt x="5" y="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185" name="Freeform 15">
              <a:extLst>
                <a:ext uri="{FF2B5EF4-FFF2-40B4-BE49-F238E27FC236}">
                  <a16:creationId xmlns:a16="http://schemas.microsoft.com/office/drawing/2014/main" id="{0F1AFD6F-56F9-4E61-A121-8FD2F93BA779}"/>
                </a:ext>
              </a:extLst>
            </p:cNvPr>
            <p:cNvSpPr>
              <a:spLocks noEditPoints="1"/>
            </p:cNvSpPr>
            <p:nvPr/>
          </p:nvSpPr>
          <p:spPr bwMode="gray">
            <a:xfrm>
              <a:off x="5160786" y="5572189"/>
              <a:ext cx="687356" cy="1078437"/>
            </a:xfrm>
            <a:custGeom>
              <a:avLst/>
              <a:gdLst>
                <a:gd name="T0" fmla="*/ 77 w 232"/>
                <a:gd name="T1" fmla="*/ 359 h 364"/>
                <a:gd name="T2" fmla="*/ 56 w 232"/>
                <a:gd name="T3" fmla="*/ 359 h 364"/>
                <a:gd name="T4" fmla="*/ 39 w 232"/>
                <a:gd name="T5" fmla="*/ 349 h 364"/>
                <a:gd name="T6" fmla="*/ 21 w 232"/>
                <a:gd name="T7" fmla="*/ 342 h 364"/>
                <a:gd name="T8" fmla="*/ 2 w 232"/>
                <a:gd name="T9" fmla="*/ 344 h 364"/>
                <a:gd name="T10" fmla="*/ 9 w 232"/>
                <a:gd name="T11" fmla="*/ 334 h 364"/>
                <a:gd name="T12" fmla="*/ 19 w 232"/>
                <a:gd name="T13" fmla="*/ 318 h 364"/>
                <a:gd name="T14" fmla="*/ 26 w 232"/>
                <a:gd name="T15" fmla="*/ 298 h 364"/>
                <a:gd name="T16" fmla="*/ 24 w 232"/>
                <a:gd name="T17" fmla="*/ 281 h 364"/>
                <a:gd name="T18" fmla="*/ 36 w 232"/>
                <a:gd name="T19" fmla="*/ 261 h 364"/>
                <a:gd name="T20" fmla="*/ 34 w 232"/>
                <a:gd name="T21" fmla="*/ 245 h 364"/>
                <a:gd name="T22" fmla="*/ 43 w 232"/>
                <a:gd name="T23" fmla="*/ 250 h 364"/>
                <a:gd name="T24" fmla="*/ 41 w 232"/>
                <a:gd name="T25" fmla="*/ 242 h 364"/>
                <a:gd name="T26" fmla="*/ 34 w 232"/>
                <a:gd name="T27" fmla="*/ 240 h 364"/>
                <a:gd name="T28" fmla="*/ 19 w 232"/>
                <a:gd name="T29" fmla="*/ 238 h 364"/>
                <a:gd name="T30" fmla="*/ 24 w 232"/>
                <a:gd name="T31" fmla="*/ 227 h 364"/>
                <a:gd name="T32" fmla="*/ 28 w 232"/>
                <a:gd name="T33" fmla="*/ 232 h 364"/>
                <a:gd name="T34" fmla="*/ 29 w 232"/>
                <a:gd name="T35" fmla="*/ 227 h 364"/>
                <a:gd name="T36" fmla="*/ 38 w 232"/>
                <a:gd name="T37" fmla="*/ 211 h 364"/>
                <a:gd name="T38" fmla="*/ 21 w 232"/>
                <a:gd name="T39" fmla="*/ 225 h 364"/>
                <a:gd name="T40" fmla="*/ 7 w 232"/>
                <a:gd name="T41" fmla="*/ 215 h 364"/>
                <a:gd name="T42" fmla="*/ 21 w 232"/>
                <a:gd name="T43" fmla="*/ 191 h 364"/>
                <a:gd name="T44" fmla="*/ 26 w 232"/>
                <a:gd name="T45" fmla="*/ 176 h 364"/>
                <a:gd name="T46" fmla="*/ 45 w 232"/>
                <a:gd name="T47" fmla="*/ 164 h 364"/>
                <a:gd name="T48" fmla="*/ 55 w 232"/>
                <a:gd name="T49" fmla="*/ 147 h 364"/>
                <a:gd name="T50" fmla="*/ 67 w 232"/>
                <a:gd name="T51" fmla="*/ 128 h 364"/>
                <a:gd name="T52" fmla="*/ 75 w 232"/>
                <a:gd name="T53" fmla="*/ 109 h 364"/>
                <a:gd name="T54" fmla="*/ 87 w 232"/>
                <a:gd name="T55" fmla="*/ 85 h 364"/>
                <a:gd name="T56" fmla="*/ 96 w 232"/>
                <a:gd name="T57" fmla="*/ 63 h 364"/>
                <a:gd name="T58" fmla="*/ 96 w 232"/>
                <a:gd name="T59" fmla="*/ 41 h 364"/>
                <a:gd name="T60" fmla="*/ 96 w 232"/>
                <a:gd name="T61" fmla="*/ 22 h 364"/>
                <a:gd name="T62" fmla="*/ 102 w 232"/>
                <a:gd name="T63" fmla="*/ 9 h 364"/>
                <a:gd name="T64" fmla="*/ 121 w 232"/>
                <a:gd name="T65" fmla="*/ 0 h 364"/>
                <a:gd name="T66" fmla="*/ 136 w 232"/>
                <a:gd name="T67" fmla="*/ 5 h 364"/>
                <a:gd name="T68" fmla="*/ 135 w 232"/>
                <a:gd name="T69" fmla="*/ 19 h 364"/>
                <a:gd name="T70" fmla="*/ 148 w 232"/>
                <a:gd name="T71" fmla="*/ 21 h 364"/>
                <a:gd name="T72" fmla="*/ 158 w 232"/>
                <a:gd name="T73" fmla="*/ 22 h 364"/>
                <a:gd name="T74" fmla="*/ 174 w 232"/>
                <a:gd name="T75" fmla="*/ 31 h 364"/>
                <a:gd name="T76" fmla="*/ 189 w 232"/>
                <a:gd name="T77" fmla="*/ 24 h 364"/>
                <a:gd name="T78" fmla="*/ 206 w 232"/>
                <a:gd name="T79" fmla="*/ 28 h 364"/>
                <a:gd name="T80" fmla="*/ 216 w 232"/>
                <a:gd name="T81" fmla="*/ 46 h 364"/>
                <a:gd name="T82" fmla="*/ 228 w 232"/>
                <a:gd name="T83" fmla="*/ 60 h 364"/>
                <a:gd name="T84" fmla="*/ 221 w 232"/>
                <a:gd name="T85" fmla="*/ 75 h 364"/>
                <a:gd name="T86" fmla="*/ 209 w 232"/>
                <a:gd name="T87" fmla="*/ 82 h 364"/>
                <a:gd name="T88" fmla="*/ 189 w 232"/>
                <a:gd name="T89" fmla="*/ 96 h 364"/>
                <a:gd name="T90" fmla="*/ 186 w 232"/>
                <a:gd name="T91" fmla="*/ 108 h 364"/>
                <a:gd name="T92" fmla="*/ 182 w 232"/>
                <a:gd name="T93" fmla="*/ 131 h 364"/>
                <a:gd name="T94" fmla="*/ 174 w 232"/>
                <a:gd name="T95" fmla="*/ 147 h 364"/>
                <a:gd name="T96" fmla="*/ 167 w 232"/>
                <a:gd name="T97" fmla="*/ 157 h 364"/>
                <a:gd name="T98" fmla="*/ 164 w 232"/>
                <a:gd name="T99" fmla="*/ 176 h 364"/>
                <a:gd name="T100" fmla="*/ 143 w 232"/>
                <a:gd name="T101" fmla="*/ 184 h 364"/>
                <a:gd name="T102" fmla="*/ 131 w 232"/>
                <a:gd name="T103" fmla="*/ 187 h 364"/>
                <a:gd name="T104" fmla="*/ 135 w 232"/>
                <a:gd name="T105" fmla="*/ 206 h 364"/>
                <a:gd name="T106" fmla="*/ 141 w 232"/>
                <a:gd name="T107" fmla="*/ 225 h 364"/>
                <a:gd name="T108" fmla="*/ 141 w 232"/>
                <a:gd name="T109" fmla="*/ 242 h 364"/>
                <a:gd name="T110" fmla="*/ 126 w 232"/>
                <a:gd name="T111" fmla="*/ 257 h 364"/>
                <a:gd name="T112" fmla="*/ 121 w 232"/>
                <a:gd name="T113" fmla="*/ 273 h 364"/>
                <a:gd name="T114" fmla="*/ 131 w 232"/>
                <a:gd name="T115" fmla="*/ 291 h 364"/>
                <a:gd name="T116" fmla="*/ 130 w 232"/>
                <a:gd name="T117" fmla="*/ 301 h 364"/>
                <a:gd name="T118" fmla="*/ 114 w 232"/>
                <a:gd name="T119" fmla="*/ 307 h 364"/>
                <a:gd name="T120" fmla="*/ 99 w 232"/>
                <a:gd name="T121" fmla="*/ 322 h 364"/>
                <a:gd name="T122" fmla="*/ 94 w 232"/>
                <a:gd name="T123" fmla="*/ 337 h 364"/>
                <a:gd name="T124" fmla="*/ 34 w 232"/>
                <a:gd name="T125" fmla="*/ 216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 h="364">
                  <a:moveTo>
                    <a:pt x="92" y="351"/>
                  </a:moveTo>
                  <a:lnTo>
                    <a:pt x="92" y="354"/>
                  </a:lnTo>
                  <a:lnTo>
                    <a:pt x="92" y="358"/>
                  </a:lnTo>
                  <a:lnTo>
                    <a:pt x="92" y="356"/>
                  </a:lnTo>
                  <a:lnTo>
                    <a:pt x="89" y="356"/>
                  </a:lnTo>
                  <a:lnTo>
                    <a:pt x="87" y="356"/>
                  </a:lnTo>
                  <a:lnTo>
                    <a:pt x="84" y="356"/>
                  </a:lnTo>
                  <a:lnTo>
                    <a:pt x="82" y="356"/>
                  </a:lnTo>
                  <a:lnTo>
                    <a:pt x="80" y="356"/>
                  </a:lnTo>
                  <a:lnTo>
                    <a:pt x="80" y="358"/>
                  </a:lnTo>
                  <a:lnTo>
                    <a:pt x="77" y="359"/>
                  </a:lnTo>
                  <a:lnTo>
                    <a:pt x="75" y="359"/>
                  </a:lnTo>
                  <a:lnTo>
                    <a:pt x="73" y="359"/>
                  </a:lnTo>
                  <a:lnTo>
                    <a:pt x="72" y="361"/>
                  </a:lnTo>
                  <a:lnTo>
                    <a:pt x="70" y="361"/>
                  </a:lnTo>
                  <a:lnTo>
                    <a:pt x="68" y="363"/>
                  </a:lnTo>
                  <a:lnTo>
                    <a:pt x="67" y="363"/>
                  </a:lnTo>
                  <a:lnTo>
                    <a:pt x="63" y="364"/>
                  </a:lnTo>
                  <a:lnTo>
                    <a:pt x="62" y="364"/>
                  </a:lnTo>
                  <a:lnTo>
                    <a:pt x="60" y="363"/>
                  </a:lnTo>
                  <a:lnTo>
                    <a:pt x="58" y="363"/>
                  </a:lnTo>
                  <a:lnTo>
                    <a:pt x="56" y="359"/>
                  </a:lnTo>
                  <a:lnTo>
                    <a:pt x="55" y="358"/>
                  </a:lnTo>
                  <a:lnTo>
                    <a:pt x="53" y="356"/>
                  </a:lnTo>
                  <a:lnTo>
                    <a:pt x="53" y="354"/>
                  </a:lnTo>
                  <a:lnTo>
                    <a:pt x="51" y="352"/>
                  </a:lnTo>
                  <a:lnTo>
                    <a:pt x="51" y="354"/>
                  </a:lnTo>
                  <a:lnTo>
                    <a:pt x="50" y="352"/>
                  </a:lnTo>
                  <a:lnTo>
                    <a:pt x="48" y="351"/>
                  </a:lnTo>
                  <a:lnTo>
                    <a:pt x="45" y="351"/>
                  </a:lnTo>
                  <a:lnTo>
                    <a:pt x="43" y="351"/>
                  </a:lnTo>
                  <a:lnTo>
                    <a:pt x="41" y="351"/>
                  </a:lnTo>
                  <a:lnTo>
                    <a:pt x="39" y="349"/>
                  </a:lnTo>
                  <a:lnTo>
                    <a:pt x="38" y="347"/>
                  </a:lnTo>
                  <a:lnTo>
                    <a:pt x="36" y="347"/>
                  </a:lnTo>
                  <a:lnTo>
                    <a:pt x="34" y="347"/>
                  </a:lnTo>
                  <a:lnTo>
                    <a:pt x="33" y="347"/>
                  </a:lnTo>
                  <a:lnTo>
                    <a:pt x="31" y="346"/>
                  </a:lnTo>
                  <a:lnTo>
                    <a:pt x="29" y="346"/>
                  </a:lnTo>
                  <a:lnTo>
                    <a:pt x="29" y="344"/>
                  </a:lnTo>
                  <a:lnTo>
                    <a:pt x="26" y="344"/>
                  </a:lnTo>
                  <a:lnTo>
                    <a:pt x="24" y="342"/>
                  </a:lnTo>
                  <a:lnTo>
                    <a:pt x="22" y="342"/>
                  </a:lnTo>
                  <a:lnTo>
                    <a:pt x="21" y="342"/>
                  </a:lnTo>
                  <a:lnTo>
                    <a:pt x="21" y="344"/>
                  </a:lnTo>
                  <a:lnTo>
                    <a:pt x="19" y="344"/>
                  </a:lnTo>
                  <a:lnTo>
                    <a:pt x="17" y="344"/>
                  </a:lnTo>
                  <a:lnTo>
                    <a:pt x="16" y="344"/>
                  </a:lnTo>
                  <a:lnTo>
                    <a:pt x="14" y="344"/>
                  </a:lnTo>
                  <a:lnTo>
                    <a:pt x="11" y="344"/>
                  </a:lnTo>
                  <a:lnTo>
                    <a:pt x="9" y="344"/>
                  </a:lnTo>
                  <a:lnTo>
                    <a:pt x="7" y="344"/>
                  </a:lnTo>
                  <a:lnTo>
                    <a:pt x="5" y="346"/>
                  </a:lnTo>
                  <a:lnTo>
                    <a:pt x="4" y="347"/>
                  </a:lnTo>
                  <a:lnTo>
                    <a:pt x="2" y="344"/>
                  </a:lnTo>
                  <a:lnTo>
                    <a:pt x="0" y="344"/>
                  </a:lnTo>
                  <a:lnTo>
                    <a:pt x="2" y="342"/>
                  </a:lnTo>
                  <a:lnTo>
                    <a:pt x="4" y="341"/>
                  </a:lnTo>
                  <a:lnTo>
                    <a:pt x="4" y="339"/>
                  </a:lnTo>
                  <a:lnTo>
                    <a:pt x="5" y="339"/>
                  </a:lnTo>
                  <a:lnTo>
                    <a:pt x="7" y="337"/>
                  </a:lnTo>
                  <a:lnTo>
                    <a:pt x="7" y="335"/>
                  </a:lnTo>
                  <a:lnTo>
                    <a:pt x="9" y="335"/>
                  </a:lnTo>
                  <a:lnTo>
                    <a:pt x="9" y="334"/>
                  </a:lnTo>
                  <a:lnTo>
                    <a:pt x="9" y="332"/>
                  </a:lnTo>
                  <a:lnTo>
                    <a:pt x="9" y="334"/>
                  </a:lnTo>
                  <a:lnTo>
                    <a:pt x="11" y="332"/>
                  </a:lnTo>
                  <a:lnTo>
                    <a:pt x="12" y="330"/>
                  </a:lnTo>
                  <a:lnTo>
                    <a:pt x="14" y="329"/>
                  </a:lnTo>
                  <a:lnTo>
                    <a:pt x="14" y="327"/>
                  </a:lnTo>
                  <a:lnTo>
                    <a:pt x="12" y="327"/>
                  </a:lnTo>
                  <a:lnTo>
                    <a:pt x="12" y="325"/>
                  </a:lnTo>
                  <a:lnTo>
                    <a:pt x="14" y="325"/>
                  </a:lnTo>
                  <a:lnTo>
                    <a:pt x="16" y="324"/>
                  </a:lnTo>
                  <a:lnTo>
                    <a:pt x="16" y="322"/>
                  </a:lnTo>
                  <a:lnTo>
                    <a:pt x="17" y="322"/>
                  </a:lnTo>
                  <a:lnTo>
                    <a:pt x="19" y="318"/>
                  </a:lnTo>
                  <a:lnTo>
                    <a:pt x="21" y="317"/>
                  </a:lnTo>
                  <a:lnTo>
                    <a:pt x="21" y="315"/>
                  </a:lnTo>
                  <a:lnTo>
                    <a:pt x="21" y="313"/>
                  </a:lnTo>
                  <a:lnTo>
                    <a:pt x="22" y="312"/>
                  </a:lnTo>
                  <a:lnTo>
                    <a:pt x="22" y="310"/>
                  </a:lnTo>
                  <a:lnTo>
                    <a:pt x="22" y="308"/>
                  </a:lnTo>
                  <a:lnTo>
                    <a:pt x="22" y="307"/>
                  </a:lnTo>
                  <a:lnTo>
                    <a:pt x="22" y="305"/>
                  </a:lnTo>
                  <a:lnTo>
                    <a:pt x="24" y="301"/>
                  </a:lnTo>
                  <a:lnTo>
                    <a:pt x="24" y="300"/>
                  </a:lnTo>
                  <a:lnTo>
                    <a:pt x="26" y="298"/>
                  </a:lnTo>
                  <a:lnTo>
                    <a:pt x="24" y="296"/>
                  </a:lnTo>
                  <a:lnTo>
                    <a:pt x="26" y="296"/>
                  </a:lnTo>
                  <a:lnTo>
                    <a:pt x="26" y="295"/>
                  </a:lnTo>
                  <a:lnTo>
                    <a:pt x="26" y="293"/>
                  </a:lnTo>
                  <a:lnTo>
                    <a:pt x="28" y="290"/>
                  </a:lnTo>
                  <a:lnTo>
                    <a:pt x="28" y="288"/>
                  </a:lnTo>
                  <a:lnTo>
                    <a:pt x="28" y="284"/>
                  </a:lnTo>
                  <a:lnTo>
                    <a:pt x="28" y="283"/>
                  </a:lnTo>
                  <a:lnTo>
                    <a:pt x="26" y="283"/>
                  </a:lnTo>
                  <a:lnTo>
                    <a:pt x="26" y="281"/>
                  </a:lnTo>
                  <a:lnTo>
                    <a:pt x="24" y="281"/>
                  </a:lnTo>
                  <a:lnTo>
                    <a:pt x="24" y="279"/>
                  </a:lnTo>
                  <a:lnTo>
                    <a:pt x="26" y="279"/>
                  </a:lnTo>
                  <a:lnTo>
                    <a:pt x="28" y="276"/>
                  </a:lnTo>
                  <a:lnTo>
                    <a:pt x="29" y="276"/>
                  </a:lnTo>
                  <a:lnTo>
                    <a:pt x="31" y="274"/>
                  </a:lnTo>
                  <a:lnTo>
                    <a:pt x="31" y="273"/>
                  </a:lnTo>
                  <a:lnTo>
                    <a:pt x="33" y="269"/>
                  </a:lnTo>
                  <a:lnTo>
                    <a:pt x="34" y="267"/>
                  </a:lnTo>
                  <a:lnTo>
                    <a:pt x="34" y="266"/>
                  </a:lnTo>
                  <a:lnTo>
                    <a:pt x="36" y="264"/>
                  </a:lnTo>
                  <a:lnTo>
                    <a:pt x="36" y="261"/>
                  </a:lnTo>
                  <a:lnTo>
                    <a:pt x="36" y="259"/>
                  </a:lnTo>
                  <a:lnTo>
                    <a:pt x="38" y="255"/>
                  </a:lnTo>
                  <a:lnTo>
                    <a:pt x="38" y="254"/>
                  </a:lnTo>
                  <a:lnTo>
                    <a:pt x="36" y="250"/>
                  </a:lnTo>
                  <a:lnTo>
                    <a:pt x="36" y="249"/>
                  </a:lnTo>
                  <a:lnTo>
                    <a:pt x="36" y="247"/>
                  </a:lnTo>
                  <a:lnTo>
                    <a:pt x="34" y="245"/>
                  </a:lnTo>
                  <a:lnTo>
                    <a:pt x="34" y="244"/>
                  </a:lnTo>
                  <a:lnTo>
                    <a:pt x="33" y="244"/>
                  </a:lnTo>
                  <a:lnTo>
                    <a:pt x="34" y="244"/>
                  </a:lnTo>
                  <a:lnTo>
                    <a:pt x="34" y="245"/>
                  </a:lnTo>
                  <a:lnTo>
                    <a:pt x="34" y="244"/>
                  </a:lnTo>
                  <a:lnTo>
                    <a:pt x="36" y="245"/>
                  </a:lnTo>
                  <a:lnTo>
                    <a:pt x="38" y="247"/>
                  </a:lnTo>
                  <a:lnTo>
                    <a:pt x="38" y="249"/>
                  </a:lnTo>
                  <a:lnTo>
                    <a:pt x="38" y="250"/>
                  </a:lnTo>
                  <a:lnTo>
                    <a:pt x="38" y="249"/>
                  </a:lnTo>
                  <a:lnTo>
                    <a:pt x="38" y="247"/>
                  </a:lnTo>
                  <a:lnTo>
                    <a:pt x="41" y="249"/>
                  </a:lnTo>
                  <a:lnTo>
                    <a:pt x="39" y="249"/>
                  </a:lnTo>
                  <a:lnTo>
                    <a:pt x="41" y="249"/>
                  </a:lnTo>
                  <a:lnTo>
                    <a:pt x="43" y="250"/>
                  </a:lnTo>
                  <a:lnTo>
                    <a:pt x="45" y="250"/>
                  </a:lnTo>
                  <a:lnTo>
                    <a:pt x="45" y="252"/>
                  </a:lnTo>
                  <a:lnTo>
                    <a:pt x="46" y="252"/>
                  </a:lnTo>
                  <a:lnTo>
                    <a:pt x="45" y="252"/>
                  </a:lnTo>
                  <a:lnTo>
                    <a:pt x="45" y="249"/>
                  </a:lnTo>
                  <a:lnTo>
                    <a:pt x="41" y="249"/>
                  </a:lnTo>
                  <a:lnTo>
                    <a:pt x="43" y="247"/>
                  </a:lnTo>
                  <a:lnTo>
                    <a:pt x="43" y="245"/>
                  </a:lnTo>
                  <a:lnTo>
                    <a:pt x="43" y="244"/>
                  </a:lnTo>
                  <a:lnTo>
                    <a:pt x="43" y="242"/>
                  </a:lnTo>
                  <a:lnTo>
                    <a:pt x="41" y="242"/>
                  </a:lnTo>
                  <a:lnTo>
                    <a:pt x="41" y="240"/>
                  </a:lnTo>
                  <a:lnTo>
                    <a:pt x="39" y="242"/>
                  </a:lnTo>
                  <a:lnTo>
                    <a:pt x="41" y="244"/>
                  </a:lnTo>
                  <a:lnTo>
                    <a:pt x="41" y="245"/>
                  </a:lnTo>
                  <a:lnTo>
                    <a:pt x="39" y="245"/>
                  </a:lnTo>
                  <a:lnTo>
                    <a:pt x="38" y="245"/>
                  </a:lnTo>
                  <a:lnTo>
                    <a:pt x="39" y="245"/>
                  </a:lnTo>
                  <a:lnTo>
                    <a:pt x="38" y="245"/>
                  </a:lnTo>
                  <a:lnTo>
                    <a:pt x="38" y="244"/>
                  </a:lnTo>
                  <a:lnTo>
                    <a:pt x="36" y="242"/>
                  </a:lnTo>
                  <a:lnTo>
                    <a:pt x="34" y="240"/>
                  </a:lnTo>
                  <a:lnTo>
                    <a:pt x="33" y="242"/>
                  </a:lnTo>
                  <a:lnTo>
                    <a:pt x="29" y="242"/>
                  </a:lnTo>
                  <a:lnTo>
                    <a:pt x="28" y="244"/>
                  </a:lnTo>
                  <a:lnTo>
                    <a:pt x="26" y="244"/>
                  </a:lnTo>
                  <a:lnTo>
                    <a:pt x="24" y="244"/>
                  </a:lnTo>
                  <a:lnTo>
                    <a:pt x="21" y="244"/>
                  </a:lnTo>
                  <a:lnTo>
                    <a:pt x="17" y="244"/>
                  </a:lnTo>
                  <a:lnTo>
                    <a:pt x="16" y="244"/>
                  </a:lnTo>
                  <a:lnTo>
                    <a:pt x="16" y="242"/>
                  </a:lnTo>
                  <a:lnTo>
                    <a:pt x="17" y="240"/>
                  </a:lnTo>
                  <a:lnTo>
                    <a:pt x="19" y="238"/>
                  </a:lnTo>
                  <a:lnTo>
                    <a:pt x="19" y="237"/>
                  </a:lnTo>
                  <a:lnTo>
                    <a:pt x="19" y="233"/>
                  </a:lnTo>
                  <a:lnTo>
                    <a:pt x="19" y="232"/>
                  </a:lnTo>
                  <a:lnTo>
                    <a:pt x="19" y="230"/>
                  </a:lnTo>
                  <a:lnTo>
                    <a:pt x="19" y="228"/>
                  </a:lnTo>
                  <a:lnTo>
                    <a:pt x="17" y="227"/>
                  </a:lnTo>
                  <a:lnTo>
                    <a:pt x="17" y="225"/>
                  </a:lnTo>
                  <a:lnTo>
                    <a:pt x="19" y="225"/>
                  </a:lnTo>
                  <a:lnTo>
                    <a:pt x="22" y="227"/>
                  </a:lnTo>
                  <a:lnTo>
                    <a:pt x="24" y="225"/>
                  </a:lnTo>
                  <a:lnTo>
                    <a:pt x="24" y="227"/>
                  </a:lnTo>
                  <a:lnTo>
                    <a:pt x="26" y="228"/>
                  </a:lnTo>
                  <a:lnTo>
                    <a:pt x="24" y="228"/>
                  </a:lnTo>
                  <a:lnTo>
                    <a:pt x="24" y="230"/>
                  </a:lnTo>
                  <a:lnTo>
                    <a:pt x="26" y="232"/>
                  </a:lnTo>
                  <a:lnTo>
                    <a:pt x="26" y="230"/>
                  </a:lnTo>
                  <a:lnTo>
                    <a:pt x="28" y="230"/>
                  </a:lnTo>
                  <a:lnTo>
                    <a:pt x="26" y="230"/>
                  </a:lnTo>
                  <a:lnTo>
                    <a:pt x="28" y="230"/>
                  </a:lnTo>
                  <a:lnTo>
                    <a:pt x="28" y="232"/>
                  </a:lnTo>
                  <a:lnTo>
                    <a:pt x="28" y="233"/>
                  </a:lnTo>
                  <a:lnTo>
                    <a:pt x="28" y="232"/>
                  </a:lnTo>
                  <a:lnTo>
                    <a:pt x="28" y="228"/>
                  </a:lnTo>
                  <a:lnTo>
                    <a:pt x="29" y="227"/>
                  </a:lnTo>
                  <a:lnTo>
                    <a:pt x="29" y="230"/>
                  </a:lnTo>
                  <a:lnTo>
                    <a:pt x="31" y="228"/>
                  </a:lnTo>
                  <a:lnTo>
                    <a:pt x="31" y="230"/>
                  </a:lnTo>
                  <a:lnTo>
                    <a:pt x="31" y="228"/>
                  </a:lnTo>
                  <a:lnTo>
                    <a:pt x="33" y="228"/>
                  </a:lnTo>
                  <a:lnTo>
                    <a:pt x="34" y="228"/>
                  </a:lnTo>
                  <a:lnTo>
                    <a:pt x="33" y="227"/>
                  </a:lnTo>
                  <a:lnTo>
                    <a:pt x="31" y="227"/>
                  </a:lnTo>
                  <a:lnTo>
                    <a:pt x="29" y="227"/>
                  </a:lnTo>
                  <a:lnTo>
                    <a:pt x="31" y="225"/>
                  </a:lnTo>
                  <a:lnTo>
                    <a:pt x="33" y="225"/>
                  </a:lnTo>
                  <a:lnTo>
                    <a:pt x="36" y="223"/>
                  </a:lnTo>
                  <a:lnTo>
                    <a:pt x="38" y="223"/>
                  </a:lnTo>
                  <a:lnTo>
                    <a:pt x="38" y="221"/>
                  </a:lnTo>
                  <a:lnTo>
                    <a:pt x="38" y="218"/>
                  </a:lnTo>
                  <a:lnTo>
                    <a:pt x="36" y="218"/>
                  </a:lnTo>
                  <a:lnTo>
                    <a:pt x="36" y="216"/>
                  </a:lnTo>
                  <a:lnTo>
                    <a:pt x="36" y="215"/>
                  </a:lnTo>
                  <a:lnTo>
                    <a:pt x="38" y="213"/>
                  </a:lnTo>
                  <a:lnTo>
                    <a:pt x="38" y="211"/>
                  </a:lnTo>
                  <a:lnTo>
                    <a:pt x="36" y="211"/>
                  </a:lnTo>
                  <a:lnTo>
                    <a:pt x="34" y="213"/>
                  </a:lnTo>
                  <a:lnTo>
                    <a:pt x="33" y="215"/>
                  </a:lnTo>
                  <a:lnTo>
                    <a:pt x="31" y="216"/>
                  </a:lnTo>
                  <a:lnTo>
                    <a:pt x="29" y="218"/>
                  </a:lnTo>
                  <a:lnTo>
                    <a:pt x="29" y="220"/>
                  </a:lnTo>
                  <a:lnTo>
                    <a:pt x="29" y="221"/>
                  </a:lnTo>
                  <a:lnTo>
                    <a:pt x="28" y="223"/>
                  </a:lnTo>
                  <a:lnTo>
                    <a:pt x="26" y="225"/>
                  </a:lnTo>
                  <a:lnTo>
                    <a:pt x="24" y="225"/>
                  </a:lnTo>
                  <a:lnTo>
                    <a:pt x="21" y="225"/>
                  </a:lnTo>
                  <a:lnTo>
                    <a:pt x="19" y="223"/>
                  </a:lnTo>
                  <a:lnTo>
                    <a:pt x="17" y="223"/>
                  </a:lnTo>
                  <a:lnTo>
                    <a:pt x="14" y="225"/>
                  </a:lnTo>
                  <a:lnTo>
                    <a:pt x="14" y="223"/>
                  </a:lnTo>
                  <a:lnTo>
                    <a:pt x="11" y="221"/>
                  </a:lnTo>
                  <a:lnTo>
                    <a:pt x="9" y="221"/>
                  </a:lnTo>
                  <a:lnTo>
                    <a:pt x="7" y="220"/>
                  </a:lnTo>
                  <a:lnTo>
                    <a:pt x="5" y="220"/>
                  </a:lnTo>
                  <a:lnTo>
                    <a:pt x="7" y="218"/>
                  </a:lnTo>
                  <a:lnTo>
                    <a:pt x="7" y="216"/>
                  </a:lnTo>
                  <a:lnTo>
                    <a:pt x="7" y="215"/>
                  </a:lnTo>
                  <a:lnTo>
                    <a:pt x="9" y="211"/>
                  </a:lnTo>
                  <a:lnTo>
                    <a:pt x="11" y="210"/>
                  </a:lnTo>
                  <a:lnTo>
                    <a:pt x="12" y="208"/>
                  </a:lnTo>
                  <a:lnTo>
                    <a:pt x="12" y="206"/>
                  </a:lnTo>
                  <a:lnTo>
                    <a:pt x="14" y="204"/>
                  </a:lnTo>
                  <a:lnTo>
                    <a:pt x="16" y="201"/>
                  </a:lnTo>
                  <a:lnTo>
                    <a:pt x="16" y="199"/>
                  </a:lnTo>
                  <a:lnTo>
                    <a:pt x="16" y="198"/>
                  </a:lnTo>
                  <a:lnTo>
                    <a:pt x="17" y="194"/>
                  </a:lnTo>
                  <a:lnTo>
                    <a:pt x="19" y="193"/>
                  </a:lnTo>
                  <a:lnTo>
                    <a:pt x="21" y="191"/>
                  </a:lnTo>
                  <a:lnTo>
                    <a:pt x="22" y="189"/>
                  </a:lnTo>
                  <a:lnTo>
                    <a:pt x="22" y="187"/>
                  </a:lnTo>
                  <a:lnTo>
                    <a:pt x="24" y="186"/>
                  </a:lnTo>
                  <a:lnTo>
                    <a:pt x="24" y="184"/>
                  </a:lnTo>
                  <a:lnTo>
                    <a:pt x="26" y="182"/>
                  </a:lnTo>
                  <a:lnTo>
                    <a:pt x="26" y="179"/>
                  </a:lnTo>
                  <a:lnTo>
                    <a:pt x="24" y="179"/>
                  </a:lnTo>
                  <a:lnTo>
                    <a:pt x="24" y="177"/>
                  </a:lnTo>
                  <a:lnTo>
                    <a:pt x="22" y="176"/>
                  </a:lnTo>
                  <a:lnTo>
                    <a:pt x="24" y="174"/>
                  </a:lnTo>
                  <a:lnTo>
                    <a:pt x="26" y="176"/>
                  </a:lnTo>
                  <a:lnTo>
                    <a:pt x="28" y="176"/>
                  </a:lnTo>
                  <a:lnTo>
                    <a:pt x="29" y="176"/>
                  </a:lnTo>
                  <a:lnTo>
                    <a:pt x="31" y="174"/>
                  </a:lnTo>
                  <a:lnTo>
                    <a:pt x="34" y="172"/>
                  </a:lnTo>
                  <a:lnTo>
                    <a:pt x="36" y="170"/>
                  </a:lnTo>
                  <a:lnTo>
                    <a:pt x="38" y="169"/>
                  </a:lnTo>
                  <a:lnTo>
                    <a:pt x="39" y="169"/>
                  </a:lnTo>
                  <a:lnTo>
                    <a:pt x="41" y="167"/>
                  </a:lnTo>
                  <a:lnTo>
                    <a:pt x="43" y="167"/>
                  </a:lnTo>
                  <a:lnTo>
                    <a:pt x="45" y="165"/>
                  </a:lnTo>
                  <a:lnTo>
                    <a:pt x="45" y="164"/>
                  </a:lnTo>
                  <a:lnTo>
                    <a:pt x="45" y="162"/>
                  </a:lnTo>
                  <a:lnTo>
                    <a:pt x="46" y="162"/>
                  </a:lnTo>
                  <a:lnTo>
                    <a:pt x="48" y="159"/>
                  </a:lnTo>
                  <a:lnTo>
                    <a:pt x="48" y="157"/>
                  </a:lnTo>
                  <a:lnTo>
                    <a:pt x="48" y="155"/>
                  </a:lnTo>
                  <a:lnTo>
                    <a:pt x="50" y="153"/>
                  </a:lnTo>
                  <a:lnTo>
                    <a:pt x="51" y="153"/>
                  </a:lnTo>
                  <a:lnTo>
                    <a:pt x="51" y="152"/>
                  </a:lnTo>
                  <a:lnTo>
                    <a:pt x="51" y="150"/>
                  </a:lnTo>
                  <a:lnTo>
                    <a:pt x="53" y="148"/>
                  </a:lnTo>
                  <a:lnTo>
                    <a:pt x="55" y="147"/>
                  </a:lnTo>
                  <a:lnTo>
                    <a:pt x="56" y="143"/>
                  </a:lnTo>
                  <a:lnTo>
                    <a:pt x="58" y="143"/>
                  </a:lnTo>
                  <a:lnTo>
                    <a:pt x="58" y="142"/>
                  </a:lnTo>
                  <a:lnTo>
                    <a:pt x="60" y="140"/>
                  </a:lnTo>
                  <a:lnTo>
                    <a:pt x="62" y="138"/>
                  </a:lnTo>
                  <a:lnTo>
                    <a:pt x="62" y="136"/>
                  </a:lnTo>
                  <a:lnTo>
                    <a:pt x="63" y="136"/>
                  </a:lnTo>
                  <a:lnTo>
                    <a:pt x="63" y="135"/>
                  </a:lnTo>
                  <a:lnTo>
                    <a:pt x="65" y="133"/>
                  </a:lnTo>
                  <a:lnTo>
                    <a:pt x="67" y="130"/>
                  </a:lnTo>
                  <a:lnTo>
                    <a:pt x="67" y="128"/>
                  </a:lnTo>
                  <a:lnTo>
                    <a:pt x="65" y="126"/>
                  </a:lnTo>
                  <a:lnTo>
                    <a:pt x="65" y="125"/>
                  </a:lnTo>
                  <a:lnTo>
                    <a:pt x="67" y="123"/>
                  </a:lnTo>
                  <a:lnTo>
                    <a:pt x="68" y="121"/>
                  </a:lnTo>
                  <a:lnTo>
                    <a:pt x="68" y="119"/>
                  </a:lnTo>
                  <a:lnTo>
                    <a:pt x="70" y="118"/>
                  </a:lnTo>
                  <a:lnTo>
                    <a:pt x="72" y="116"/>
                  </a:lnTo>
                  <a:lnTo>
                    <a:pt x="72" y="114"/>
                  </a:lnTo>
                  <a:lnTo>
                    <a:pt x="73" y="113"/>
                  </a:lnTo>
                  <a:lnTo>
                    <a:pt x="73" y="111"/>
                  </a:lnTo>
                  <a:lnTo>
                    <a:pt x="75" y="109"/>
                  </a:lnTo>
                  <a:lnTo>
                    <a:pt x="77" y="106"/>
                  </a:lnTo>
                  <a:lnTo>
                    <a:pt x="77" y="104"/>
                  </a:lnTo>
                  <a:lnTo>
                    <a:pt x="79" y="102"/>
                  </a:lnTo>
                  <a:lnTo>
                    <a:pt x="80" y="101"/>
                  </a:lnTo>
                  <a:lnTo>
                    <a:pt x="82" y="97"/>
                  </a:lnTo>
                  <a:lnTo>
                    <a:pt x="82" y="96"/>
                  </a:lnTo>
                  <a:lnTo>
                    <a:pt x="84" y="92"/>
                  </a:lnTo>
                  <a:lnTo>
                    <a:pt x="85" y="90"/>
                  </a:lnTo>
                  <a:lnTo>
                    <a:pt x="85" y="89"/>
                  </a:lnTo>
                  <a:lnTo>
                    <a:pt x="87" y="87"/>
                  </a:lnTo>
                  <a:lnTo>
                    <a:pt x="87" y="85"/>
                  </a:lnTo>
                  <a:lnTo>
                    <a:pt x="89" y="84"/>
                  </a:lnTo>
                  <a:lnTo>
                    <a:pt x="89" y="82"/>
                  </a:lnTo>
                  <a:lnTo>
                    <a:pt x="90" y="80"/>
                  </a:lnTo>
                  <a:lnTo>
                    <a:pt x="92" y="79"/>
                  </a:lnTo>
                  <a:lnTo>
                    <a:pt x="92" y="75"/>
                  </a:lnTo>
                  <a:lnTo>
                    <a:pt x="94" y="73"/>
                  </a:lnTo>
                  <a:lnTo>
                    <a:pt x="94" y="72"/>
                  </a:lnTo>
                  <a:lnTo>
                    <a:pt x="94" y="70"/>
                  </a:lnTo>
                  <a:lnTo>
                    <a:pt x="94" y="67"/>
                  </a:lnTo>
                  <a:lnTo>
                    <a:pt x="94" y="63"/>
                  </a:lnTo>
                  <a:lnTo>
                    <a:pt x="96" y="63"/>
                  </a:lnTo>
                  <a:lnTo>
                    <a:pt x="94" y="60"/>
                  </a:lnTo>
                  <a:lnTo>
                    <a:pt x="94" y="58"/>
                  </a:lnTo>
                  <a:lnTo>
                    <a:pt x="94" y="55"/>
                  </a:lnTo>
                  <a:lnTo>
                    <a:pt x="94" y="51"/>
                  </a:lnTo>
                  <a:lnTo>
                    <a:pt x="94" y="50"/>
                  </a:lnTo>
                  <a:lnTo>
                    <a:pt x="96" y="48"/>
                  </a:lnTo>
                  <a:lnTo>
                    <a:pt x="94" y="48"/>
                  </a:lnTo>
                  <a:lnTo>
                    <a:pt x="94" y="46"/>
                  </a:lnTo>
                  <a:lnTo>
                    <a:pt x="94" y="45"/>
                  </a:lnTo>
                  <a:lnTo>
                    <a:pt x="94" y="43"/>
                  </a:lnTo>
                  <a:lnTo>
                    <a:pt x="96" y="41"/>
                  </a:lnTo>
                  <a:lnTo>
                    <a:pt x="96" y="38"/>
                  </a:lnTo>
                  <a:lnTo>
                    <a:pt x="96" y="36"/>
                  </a:lnTo>
                  <a:lnTo>
                    <a:pt x="96" y="33"/>
                  </a:lnTo>
                  <a:lnTo>
                    <a:pt x="96" y="31"/>
                  </a:lnTo>
                  <a:lnTo>
                    <a:pt x="96" y="29"/>
                  </a:lnTo>
                  <a:lnTo>
                    <a:pt x="96" y="28"/>
                  </a:lnTo>
                  <a:lnTo>
                    <a:pt x="96" y="26"/>
                  </a:lnTo>
                  <a:lnTo>
                    <a:pt x="97" y="24"/>
                  </a:lnTo>
                  <a:lnTo>
                    <a:pt x="96" y="24"/>
                  </a:lnTo>
                  <a:lnTo>
                    <a:pt x="97" y="22"/>
                  </a:lnTo>
                  <a:lnTo>
                    <a:pt x="96" y="22"/>
                  </a:lnTo>
                  <a:lnTo>
                    <a:pt x="96" y="24"/>
                  </a:lnTo>
                  <a:lnTo>
                    <a:pt x="96" y="22"/>
                  </a:lnTo>
                  <a:lnTo>
                    <a:pt x="96" y="21"/>
                  </a:lnTo>
                  <a:lnTo>
                    <a:pt x="96" y="17"/>
                  </a:lnTo>
                  <a:lnTo>
                    <a:pt x="96" y="16"/>
                  </a:lnTo>
                  <a:lnTo>
                    <a:pt x="97" y="14"/>
                  </a:lnTo>
                  <a:lnTo>
                    <a:pt x="97" y="12"/>
                  </a:lnTo>
                  <a:lnTo>
                    <a:pt x="99" y="11"/>
                  </a:lnTo>
                  <a:lnTo>
                    <a:pt x="101" y="11"/>
                  </a:lnTo>
                  <a:lnTo>
                    <a:pt x="101" y="9"/>
                  </a:lnTo>
                  <a:lnTo>
                    <a:pt x="102" y="9"/>
                  </a:lnTo>
                  <a:lnTo>
                    <a:pt x="106" y="7"/>
                  </a:lnTo>
                  <a:lnTo>
                    <a:pt x="106" y="5"/>
                  </a:lnTo>
                  <a:lnTo>
                    <a:pt x="107" y="5"/>
                  </a:lnTo>
                  <a:lnTo>
                    <a:pt x="109" y="4"/>
                  </a:lnTo>
                  <a:lnTo>
                    <a:pt x="111" y="4"/>
                  </a:lnTo>
                  <a:lnTo>
                    <a:pt x="113" y="2"/>
                  </a:lnTo>
                  <a:lnTo>
                    <a:pt x="113" y="0"/>
                  </a:lnTo>
                  <a:lnTo>
                    <a:pt x="116" y="0"/>
                  </a:lnTo>
                  <a:lnTo>
                    <a:pt x="118" y="2"/>
                  </a:lnTo>
                  <a:lnTo>
                    <a:pt x="119" y="0"/>
                  </a:lnTo>
                  <a:lnTo>
                    <a:pt x="121" y="0"/>
                  </a:lnTo>
                  <a:lnTo>
                    <a:pt x="124" y="2"/>
                  </a:lnTo>
                  <a:lnTo>
                    <a:pt x="126" y="2"/>
                  </a:lnTo>
                  <a:lnTo>
                    <a:pt x="128" y="2"/>
                  </a:lnTo>
                  <a:lnTo>
                    <a:pt x="130" y="2"/>
                  </a:lnTo>
                  <a:lnTo>
                    <a:pt x="133" y="0"/>
                  </a:lnTo>
                  <a:lnTo>
                    <a:pt x="135" y="0"/>
                  </a:lnTo>
                  <a:lnTo>
                    <a:pt x="136" y="0"/>
                  </a:lnTo>
                  <a:lnTo>
                    <a:pt x="138" y="0"/>
                  </a:lnTo>
                  <a:lnTo>
                    <a:pt x="136" y="2"/>
                  </a:lnTo>
                  <a:lnTo>
                    <a:pt x="136" y="4"/>
                  </a:lnTo>
                  <a:lnTo>
                    <a:pt x="136" y="5"/>
                  </a:lnTo>
                  <a:lnTo>
                    <a:pt x="138" y="5"/>
                  </a:lnTo>
                  <a:lnTo>
                    <a:pt x="140" y="5"/>
                  </a:lnTo>
                  <a:lnTo>
                    <a:pt x="141" y="9"/>
                  </a:lnTo>
                  <a:lnTo>
                    <a:pt x="141" y="11"/>
                  </a:lnTo>
                  <a:lnTo>
                    <a:pt x="138" y="11"/>
                  </a:lnTo>
                  <a:lnTo>
                    <a:pt x="136" y="12"/>
                  </a:lnTo>
                  <a:lnTo>
                    <a:pt x="135" y="14"/>
                  </a:lnTo>
                  <a:lnTo>
                    <a:pt x="133" y="14"/>
                  </a:lnTo>
                  <a:lnTo>
                    <a:pt x="133" y="16"/>
                  </a:lnTo>
                  <a:lnTo>
                    <a:pt x="133" y="19"/>
                  </a:lnTo>
                  <a:lnTo>
                    <a:pt x="135" y="19"/>
                  </a:lnTo>
                  <a:lnTo>
                    <a:pt x="135" y="21"/>
                  </a:lnTo>
                  <a:lnTo>
                    <a:pt x="133" y="22"/>
                  </a:lnTo>
                  <a:lnTo>
                    <a:pt x="135" y="24"/>
                  </a:lnTo>
                  <a:lnTo>
                    <a:pt x="136" y="24"/>
                  </a:lnTo>
                  <a:lnTo>
                    <a:pt x="138" y="24"/>
                  </a:lnTo>
                  <a:lnTo>
                    <a:pt x="140" y="24"/>
                  </a:lnTo>
                  <a:lnTo>
                    <a:pt x="141" y="24"/>
                  </a:lnTo>
                  <a:lnTo>
                    <a:pt x="143" y="22"/>
                  </a:lnTo>
                  <a:lnTo>
                    <a:pt x="145" y="22"/>
                  </a:lnTo>
                  <a:lnTo>
                    <a:pt x="147" y="22"/>
                  </a:lnTo>
                  <a:lnTo>
                    <a:pt x="148" y="21"/>
                  </a:lnTo>
                  <a:lnTo>
                    <a:pt x="148" y="19"/>
                  </a:lnTo>
                  <a:lnTo>
                    <a:pt x="150" y="19"/>
                  </a:lnTo>
                  <a:lnTo>
                    <a:pt x="148" y="22"/>
                  </a:lnTo>
                  <a:lnTo>
                    <a:pt x="148" y="24"/>
                  </a:lnTo>
                  <a:lnTo>
                    <a:pt x="148" y="26"/>
                  </a:lnTo>
                  <a:lnTo>
                    <a:pt x="150" y="24"/>
                  </a:lnTo>
                  <a:lnTo>
                    <a:pt x="150" y="22"/>
                  </a:lnTo>
                  <a:lnTo>
                    <a:pt x="153" y="24"/>
                  </a:lnTo>
                  <a:lnTo>
                    <a:pt x="155" y="22"/>
                  </a:lnTo>
                  <a:lnTo>
                    <a:pt x="157" y="24"/>
                  </a:lnTo>
                  <a:lnTo>
                    <a:pt x="158" y="22"/>
                  </a:lnTo>
                  <a:lnTo>
                    <a:pt x="160" y="26"/>
                  </a:lnTo>
                  <a:lnTo>
                    <a:pt x="162" y="26"/>
                  </a:lnTo>
                  <a:lnTo>
                    <a:pt x="164" y="26"/>
                  </a:lnTo>
                  <a:lnTo>
                    <a:pt x="162" y="29"/>
                  </a:lnTo>
                  <a:lnTo>
                    <a:pt x="164" y="29"/>
                  </a:lnTo>
                  <a:lnTo>
                    <a:pt x="167" y="29"/>
                  </a:lnTo>
                  <a:lnTo>
                    <a:pt x="169" y="28"/>
                  </a:lnTo>
                  <a:lnTo>
                    <a:pt x="170" y="29"/>
                  </a:lnTo>
                  <a:lnTo>
                    <a:pt x="172" y="33"/>
                  </a:lnTo>
                  <a:lnTo>
                    <a:pt x="170" y="33"/>
                  </a:lnTo>
                  <a:lnTo>
                    <a:pt x="174" y="31"/>
                  </a:lnTo>
                  <a:lnTo>
                    <a:pt x="175" y="31"/>
                  </a:lnTo>
                  <a:lnTo>
                    <a:pt x="175" y="33"/>
                  </a:lnTo>
                  <a:lnTo>
                    <a:pt x="177" y="33"/>
                  </a:lnTo>
                  <a:lnTo>
                    <a:pt x="179" y="33"/>
                  </a:lnTo>
                  <a:lnTo>
                    <a:pt x="181" y="31"/>
                  </a:lnTo>
                  <a:lnTo>
                    <a:pt x="182" y="31"/>
                  </a:lnTo>
                  <a:lnTo>
                    <a:pt x="184" y="31"/>
                  </a:lnTo>
                  <a:lnTo>
                    <a:pt x="186" y="29"/>
                  </a:lnTo>
                  <a:lnTo>
                    <a:pt x="186" y="28"/>
                  </a:lnTo>
                  <a:lnTo>
                    <a:pt x="186" y="26"/>
                  </a:lnTo>
                  <a:lnTo>
                    <a:pt x="189" y="24"/>
                  </a:lnTo>
                  <a:lnTo>
                    <a:pt x="191" y="26"/>
                  </a:lnTo>
                  <a:lnTo>
                    <a:pt x="191" y="28"/>
                  </a:lnTo>
                  <a:lnTo>
                    <a:pt x="192" y="28"/>
                  </a:lnTo>
                  <a:lnTo>
                    <a:pt x="194" y="29"/>
                  </a:lnTo>
                  <a:lnTo>
                    <a:pt x="196" y="28"/>
                  </a:lnTo>
                  <a:lnTo>
                    <a:pt x="198" y="29"/>
                  </a:lnTo>
                  <a:lnTo>
                    <a:pt x="201" y="31"/>
                  </a:lnTo>
                  <a:lnTo>
                    <a:pt x="203" y="31"/>
                  </a:lnTo>
                  <a:lnTo>
                    <a:pt x="204" y="31"/>
                  </a:lnTo>
                  <a:lnTo>
                    <a:pt x="206" y="29"/>
                  </a:lnTo>
                  <a:lnTo>
                    <a:pt x="206" y="28"/>
                  </a:lnTo>
                  <a:lnTo>
                    <a:pt x="208" y="29"/>
                  </a:lnTo>
                  <a:lnTo>
                    <a:pt x="208" y="33"/>
                  </a:lnTo>
                  <a:lnTo>
                    <a:pt x="211" y="34"/>
                  </a:lnTo>
                  <a:lnTo>
                    <a:pt x="215" y="34"/>
                  </a:lnTo>
                  <a:lnTo>
                    <a:pt x="216" y="33"/>
                  </a:lnTo>
                  <a:lnTo>
                    <a:pt x="218" y="36"/>
                  </a:lnTo>
                  <a:lnTo>
                    <a:pt x="216" y="39"/>
                  </a:lnTo>
                  <a:lnTo>
                    <a:pt x="220" y="39"/>
                  </a:lnTo>
                  <a:lnTo>
                    <a:pt x="218" y="43"/>
                  </a:lnTo>
                  <a:lnTo>
                    <a:pt x="216" y="45"/>
                  </a:lnTo>
                  <a:lnTo>
                    <a:pt x="216" y="46"/>
                  </a:lnTo>
                  <a:lnTo>
                    <a:pt x="215" y="48"/>
                  </a:lnTo>
                  <a:lnTo>
                    <a:pt x="215" y="50"/>
                  </a:lnTo>
                  <a:lnTo>
                    <a:pt x="215" y="53"/>
                  </a:lnTo>
                  <a:lnTo>
                    <a:pt x="216" y="55"/>
                  </a:lnTo>
                  <a:lnTo>
                    <a:pt x="218" y="55"/>
                  </a:lnTo>
                  <a:lnTo>
                    <a:pt x="220" y="55"/>
                  </a:lnTo>
                  <a:lnTo>
                    <a:pt x="221" y="55"/>
                  </a:lnTo>
                  <a:lnTo>
                    <a:pt x="223" y="56"/>
                  </a:lnTo>
                  <a:lnTo>
                    <a:pt x="225" y="56"/>
                  </a:lnTo>
                  <a:lnTo>
                    <a:pt x="226" y="58"/>
                  </a:lnTo>
                  <a:lnTo>
                    <a:pt x="228" y="60"/>
                  </a:lnTo>
                  <a:lnTo>
                    <a:pt x="230" y="62"/>
                  </a:lnTo>
                  <a:lnTo>
                    <a:pt x="230" y="63"/>
                  </a:lnTo>
                  <a:lnTo>
                    <a:pt x="232" y="65"/>
                  </a:lnTo>
                  <a:lnTo>
                    <a:pt x="230" y="65"/>
                  </a:lnTo>
                  <a:lnTo>
                    <a:pt x="228" y="68"/>
                  </a:lnTo>
                  <a:lnTo>
                    <a:pt x="226" y="68"/>
                  </a:lnTo>
                  <a:lnTo>
                    <a:pt x="226" y="70"/>
                  </a:lnTo>
                  <a:lnTo>
                    <a:pt x="225" y="70"/>
                  </a:lnTo>
                  <a:lnTo>
                    <a:pt x="223" y="72"/>
                  </a:lnTo>
                  <a:lnTo>
                    <a:pt x="223" y="73"/>
                  </a:lnTo>
                  <a:lnTo>
                    <a:pt x="221" y="75"/>
                  </a:lnTo>
                  <a:lnTo>
                    <a:pt x="221" y="77"/>
                  </a:lnTo>
                  <a:lnTo>
                    <a:pt x="220" y="77"/>
                  </a:lnTo>
                  <a:lnTo>
                    <a:pt x="220" y="75"/>
                  </a:lnTo>
                  <a:lnTo>
                    <a:pt x="218" y="75"/>
                  </a:lnTo>
                  <a:lnTo>
                    <a:pt x="218" y="77"/>
                  </a:lnTo>
                  <a:lnTo>
                    <a:pt x="216" y="79"/>
                  </a:lnTo>
                  <a:lnTo>
                    <a:pt x="215" y="79"/>
                  </a:lnTo>
                  <a:lnTo>
                    <a:pt x="215" y="80"/>
                  </a:lnTo>
                  <a:lnTo>
                    <a:pt x="211" y="80"/>
                  </a:lnTo>
                  <a:lnTo>
                    <a:pt x="211" y="82"/>
                  </a:lnTo>
                  <a:lnTo>
                    <a:pt x="209" y="82"/>
                  </a:lnTo>
                  <a:lnTo>
                    <a:pt x="206" y="84"/>
                  </a:lnTo>
                  <a:lnTo>
                    <a:pt x="204" y="82"/>
                  </a:lnTo>
                  <a:lnTo>
                    <a:pt x="201" y="82"/>
                  </a:lnTo>
                  <a:lnTo>
                    <a:pt x="199" y="84"/>
                  </a:lnTo>
                  <a:lnTo>
                    <a:pt x="198" y="87"/>
                  </a:lnTo>
                  <a:lnTo>
                    <a:pt x="196" y="87"/>
                  </a:lnTo>
                  <a:lnTo>
                    <a:pt x="194" y="89"/>
                  </a:lnTo>
                  <a:lnTo>
                    <a:pt x="194" y="90"/>
                  </a:lnTo>
                  <a:lnTo>
                    <a:pt x="192" y="92"/>
                  </a:lnTo>
                  <a:lnTo>
                    <a:pt x="191" y="94"/>
                  </a:lnTo>
                  <a:lnTo>
                    <a:pt x="189" y="96"/>
                  </a:lnTo>
                  <a:lnTo>
                    <a:pt x="187" y="94"/>
                  </a:lnTo>
                  <a:lnTo>
                    <a:pt x="184" y="94"/>
                  </a:lnTo>
                  <a:lnTo>
                    <a:pt x="184" y="96"/>
                  </a:lnTo>
                  <a:lnTo>
                    <a:pt x="184" y="97"/>
                  </a:lnTo>
                  <a:lnTo>
                    <a:pt x="186" y="99"/>
                  </a:lnTo>
                  <a:lnTo>
                    <a:pt x="186" y="101"/>
                  </a:lnTo>
                  <a:lnTo>
                    <a:pt x="186" y="102"/>
                  </a:lnTo>
                  <a:lnTo>
                    <a:pt x="186" y="104"/>
                  </a:lnTo>
                  <a:lnTo>
                    <a:pt x="187" y="106"/>
                  </a:lnTo>
                  <a:lnTo>
                    <a:pt x="187" y="108"/>
                  </a:lnTo>
                  <a:lnTo>
                    <a:pt x="186" y="108"/>
                  </a:lnTo>
                  <a:lnTo>
                    <a:pt x="186" y="111"/>
                  </a:lnTo>
                  <a:lnTo>
                    <a:pt x="186" y="113"/>
                  </a:lnTo>
                  <a:lnTo>
                    <a:pt x="184" y="114"/>
                  </a:lnTo>
                  <a:lnTo>
                    <a:pt x="184" y="116"/>
                  </a:lnTo>
                  <a:lnTo>
                    <a:pt x="184" y="119"/>
                  </a:lnTo>
                  <a:lnTo>
                    <a:pt x="184" y="121"/>
                  </a:lnTo>
                  <a:lnTo>
                    <a:pt x="182" y="123"/>
                  </a:lnTo>
                  <a:lnTo>
                    <a:pt x="181" y="125"/>
                  </a:lnTo>
                  <a:lnTo>
                    <a:pt x="181" y="126"/>
                  </a:lnTo>
                  <a:lnTo>
                    <a:pt x="182" y="128"/>
                  </a:lnTo>
                  <a:lnTo>
                    <a:pt x="182" y="131"/>
                  </a:lnTo>
                  <a:lnTo>
                    <a:pt x="181" y="131"/>
                  </a:lnTo>
                  <a:lnTo>
                    <a:pt x="181" y="133"/>
                  </a:lnTo>
                  <a:lnTo>
                    <a:pt x="179" y="133"/>
                  </a:lnTo>
                  <a:lnTo>
                    <a:pt x="179" y="135"/>
                  </a:lnTo>
                  <a:lnTo>
                    <a:pt x="179" y="138"/>
                  </a:lnTo>
                  <a:lnTo>
                    <a:pt x="179" y="140"/>
                  </a:lnTo>
                  <a:lnTo>
                    <a:pt x="181" y="142"/>
                  </a:lnTo>
                  <a:lnTo>
                    <a:pt x="179" y="143"/>
                  </a:lnTo>
                  <a:lnTo>
                    <a:pt x="177" y="143"/>
                  </a:lnTo>
                  <a:lnTo>
                    <a:pt x="175" y="145"/>
                  </a:lnTo>
                  <a:lnTo>
                    <a:pt x="174" y="147"/>
                  </a:lnTo>
                  <a:lnTo>
                    <a:pt x="172" y="148"/>
                  </a:lnTo>
                  <a:lnTo>
                    <a:pt x="170" y="147"/>
                  </a:lnTo>
                  <a:lnTo>
                    <a:pt x="169" y="148"/>
                  </a:lnTo>
                  <a:lnTo>
                    <a:pt x="167" y="148"/>
                  </a:lnTo>
                  <a:lnTo>
                    <a:pt x="165" y="148"/>
                  </a:lnTo>
                  <a:lnTo>
                    <a:pt x="164" y="150"/>
                  </a:lnTo>
                  <a:lnTo>
                    <a:pt x="165" y="152"/>
                  </a:lnTo>
                  <a:lnTo>
                    <a:pt x="164" y="153"/>
                  </a:lnTo>
                  <a:lnTo>
                    <a:pt x="164" y="155"/>
                  </a:lnTo>
                  <a:lnTo>
                    <a:pt x="165" y="157"/>
                  </a:lnTo>
                  <a:lnTo>
                    <a:pt x="167" y="157"/>
                  </a:lnTo>
                  <a:lnTo>
                    <a:pt x="169" y="159"/>
                  </a:lnTo>
                  <a:lnTo>
                    <a:pt x="169" y="160"/>
                  </a:lnTo>
                  <a:lnTo>
                    <a:pt x="169" y="162"/>
                  </a:lnTo>
                  <a:lnTo>
                    <a:pt x="170" y="164"/>
                  </a:lnTo>
                  <a:lnTo>
                    <a:pt x="170" y="165"/>
                  </a:lnTo>
                  <a:lnTo>
                    <a:pt x="169" y="167"/>
                  </a:lnTo>
                  <a:lnTo>
                    <a:pt x="169" y="170"/>
                  </a:lnTo>
                  <a:lnTo>
                    <a:pt x="167" y="170"/>
                  </a:lnTo>
                  <a:lnTo>
                    <a:pt x="167" y="172"/>
                  </a:lnTo>
                  <a:lnTo>
                    <a:pt x="165" y="174"/>
                  </a:lnTo>
                  <a:lnTo>
                    <a:pt x="164" y="176"/>
                  </a:lnTo>
                  <a:lnTo>
                    <a:pt x="162" y="177"/>
                  </a:lnTo>
                  <a:lnTo>
                    <a:pt x="160" y="177"/>
                  </a:lnTo>
                  <a:lnTo>
                    <a:pt x="160" y="181"/>
                  </a:lnTo>
                  <a:lnTo>
                    <a:pt x="158" y="184"/>
                  </a:lnTo>
                  <a:lnTo>
                    <a:pt x="157" y="186"/>
                  </a:lnTo>
                  <a:lnTo>
                    <a:pt x="157" y="187"/>
                  </a:lnTo>
                  <a:lnTo>
                    <a:pt x="153" y="187"/>
                  </a:lnTo>
                  <a:lnTo>
                    <a:pt x="150" y="186"/>
                  </a:lnTo>
                  <a:lnTo>
                    <a:pt x="148" y="186"/>
                  </a:lnTo>
                  <a:lnTo>
                    <a:pt x="147" y="186"/>
                  </a:lnTo>
                  <a:lnTo>
                    <a:pt x="143" y="184"/>
                  </a:lnTo>
                  <a:lnTo>
                    <a:pt x="141" y="184"/>
                  </a:lnTo>
                  <a:lnTo>
                    <a:pt x="138" y="184"/>
                  </a:lnTo>
                  <a:lnTo>
                    <a:pt x="136" y="184"/>
                  </a:lnTo>
                  <a:lnTo>
                    <a:pt x="135" y="184"/>
                  </a:lnTo>
                  <a:lnTo>
                    <a:pt x="133" y="182"/>
                  </a:lnTo>
                  <a:lnTo>
                    <a:pt x="131" y="181"/>
                  </a:lnTo>
                  <a:lnTo>
                    <a:pt x="128" y="181"/>
                  </a:lnTo>
                  <a:lnTo>
                    <a:pt x="128" y="182"/>
                  </a:lnTo>
                  <a:lnTo>
                    <a:pt x="130" y="184"/>
                  </a:lnTo>
                  <a:lnTo>
                    <a:pt x="130" y="186"/>
                  </a:lnTo>
                  <a:lnTo>
                    <a:pt x="131" y="187"/>
                  </a:lnTo>
                  <a:lnTo>
                    <a:pt x="131" y="189"/>
                  </a:lnTo>
                  <a:lnTo>
                    <a:pt x="131" y="191"/>
                  </a:lnTo>
                  <a:lnTo>
                    <a:pt x="135" y="193"/>
                  </a:lnTo>
                  <a:lnTo>
                    <a:pt x="133" y="194"/>
                  </a:lnTo>
                  <a:lnTo>
                    <a:pt x="135" y="196"/>
                  </a:lnTo>
                  <a:lnTo>
                    <a:pt x="138" y="198"/>
                  </a:lnTo>
                  <a:lnTo>
                    <a:pt x="136" y="199"/>
                  </a:lnTo>
                  <a:lnTo>
                    <a:pt x="136" y="201"/>
                  </a:lnTo>
                  <a:lnTo>
                    <a:pt x="135" y="203"/>
                  </a:lnTo>
                  <a:lnTo>
                    <a:pt x="135" y="204"/>
                  </a:lnTo>
                  <a:lnTo>
                    <a:pt x="135" y="206"/>
                  </a:lnTo>
                  <a:lnTo>
                    <a:pt x="136" y="208"/>
                  </a:lnTo>
                  <a:lnTo>
                    <a:pt x="136" y="210"/>
                  </a:lnTo>
                  <a:lnTo>
                    <a:pt x="138" y="211"/>
                  </a:lnTo>
                  <a:lnTo>
                    <a:pt x="136" y="213"/>
                  </a:lnTo>
                  <a:lnTo>
                    <a:pt x="136" y="216"/>
                  </a:lnTo>
                  <a:lnTo>
                    <a:pt x="138" y="218"/>
                  </a:lnTo>
                  <a:lnTo>
                    <a:pt x="141" y="220"/>
                  </a:lnTo>
                  <a:lnTo>
                    <a:pt x="141" y="221"/>
                  </a:lnTo>
                  <a:lnTo>
                    <a:pt x="140" y="223"/>
                  </a:lnTo>
                  <a:lnTo>
                    <a:pt x="140" y="225"/>
                  </a:lnTo>
                  <a:lnTo>
                    <a:pt x="141" y="225"/>
                  </a:lnTo>
                  <a:lnTo>
                    <a:pt x="143" y="225"/>
                  </a:lnTo>
                  <a:lnTo>
                    <a:pt x="145" y="225"/>
                  </a:lnTo>
                  <a:lnTo>
                    <a:pt x="147" y="225"/>
                  </a:lnTo>
                  <a:lnTo>
                    <a:pt x="148" y="227"/>
                  </a:lnTo>
                  <a:lnTo>
                    <a:pt x="148" y="228"/>
                  </a:lnTo>
                  <a:lnTo>
                    <a:pt x="148" y="230"/>
                  </a:lnTo>
                  <a:lnTo>
                    <a:pt x="148" y="233"/>
                  </a:lnTo>
                  <a:lnTo>
                    <a:pt x="147" y="235"/>
                  </a:lnTo>
                  <a:lnTo>
                    <a:pt x="143" y="238"/>
                  </a:lnTo>
                  <a:lnTo>
                    <a:pt x="141" y="240"/>
                  </a:lnTo>
                  <a:lnTo>
                    <a:pt x="141" y="242"/>
                  </a:lnTo>
                  <a:lnTo>
                    <a:pt x="140" y="244"/>
                  </a:lnTo>
                  <a:lnTo>
                    <a:pt x="138" y="245"/>
                  </a:lnTo>
                  <a:lnTo>
                    <a:pt x="136" y="245"/>
                  </a:lnTo>
                  <a:lnTo>
                    <a:pt x="133" y="247"/>
                  </a:lnTo>
                  <a:lnTo>
                    <a:pt x="131" y="247"/>
                  </a:lnTo>
                  <a:lnTo>
                    <a:pt x="130" y="249"/>
                  </a:lnTo>
                  <a:lnTo>
                    <a:pt x="128" y="250"/>
                  </a:lnTo>
                  <a:lnTo>
                    <a:pt x="126" y="250"/>
                  </a:lnTo>
                  <a:lnTo>
                    <a:pt x="126" y="252"/>
                  </a:lnTo>
                  <a:lnTo>
                    <a:pt x="124" y="255"/>
                  </a:lnTo>
                  <a:lnTo>
                    <a:pt x="126" y="257"/>
                  </a:lnTo>
                  <a:lnTo>
                    <a:pt x="124" y="259"/>
                  </a:lnTo>
                  <a:lnTo>
                    <a:pt x="123" y="259"/>
                  </a:lnTo>
                  <a:lnTo>
                    <a:pt x="121" y="262"/>
                  </a:lnTo>
                  <a:lnTo>
                    <a:pt x="121" y="264"/>
                  </a:lnTo>
                  <a:lnTo>
                    <a:pt x="119" y="266"/>
                  </a:lnTo>
                  <a:lnTo>
                    <a:pt x="121" y="266"/>
                  </a:lnTo>
                  <a:lnTo>
                    <a:pt x="121" y="267"/>
                  </a:lnTo>
                  <a:lnTo>
                    <a:pt x="118" y="269"/>
                  </a:lnTo>
                  <a:lnTo>
                    <a:pt x="119" y="269"/>
                  </a:lnTo>
                  <a:lnTo>
                    <a:pt x="121" y="271"/>
                  </a:lnTo>
                  <a:lnTo>
                    <a:pt x="121" y="273"/>
                  </a:lnTo>
                  <a:lnTo>
                    <a:pt x="121" y="274"/>
                  </a:lnTo>
                  <a:lnTo>
                    <a:pt x="123" y="278"/>
                  </a:lnTo>
                  <a:lnTo>
                    <a:pt x="124" y="281"/>
                  </a:lnTo>
                  <a:lnTo>
                    <a:pt x="124" y="283"/>
                  </a:lnTo>
                  <a:lnTo>
                    <a:pt x="126" y="283"/>
                  </a:lnTo>
                  <a:lnTo>
                    <a:pt x="126" y="286"/>
                  </a:lnTo>
                  <a:lnTo>
                    <a:pt x="126" y="288"/>
                  </a:lnTo>
                  <a:lnTo>
                    <a:pt x="126" y="290"/>
                  </a:lnTo>
                  <a:lnTo>
                    <a:pt x="128" y="291"/>
                  </a:lnTo>
                  <a:lnTo>
                    <a:pt x="128" y="290"/>
                  </a:lnTo>
                  <a:lnTo>
                    <a:pt x="131" y="291"/>
                  </a:lnTo>
                  <a:lnTo>
                    <a:pt x="131" y="290"/>
                  </a:lnTo>
                  <a:lnTo>
                    <a:pt x="135" y="290"/>
                  </a:lnTo>
                  <a:lnTo>
                    <a:pt x="136" y="290"/>
                  </a:lnTo>
                  <a:lnTo>
                    <a:pt x="136" y="291"/>
                  </a:lnTo>
                  <a:lnTo>
                    <a:pt x="133" y="293"/>
                  </a:lnTo>
                  <a:lnTo>
                    <a:pt x="135" y="293"/>
                  </a:lnTo>
                  <a:lnTo>
                    <a:pt x="133" y="296"/>
                  </a:lnTo>
                  <a:lnTo>
                    <a:pt x="131" y="296"/>
                  </a:lnTo>
                  <a:lnTo>
                    <a:pt x="131" y="298"/>
                  </a:lnTo>
                  <a:lnTo>
                    <a:pt x="131" y="300"/>
                  </a:lnTo>
                  <a:lnTo>
                    <a:pt x="130" y="301"/>
                  </a:lnTo>
                  <a:lnTo>
                    <a:pt x="126" y="301"/>
                  </a:lnTo>
                  <a:lnTo>
                    <a:pt x="126" y="300"/>
                  </a:lnTo>
                  <a:lnTo>
                    <a:pt x="124" y="300"/>
                  </a:lnTo>
                  <a:lnTo>
                    <a:pt x="123" y="300"/>
                  </a:lnTo>
                  <a:lnTo>
                    <a:pt x="123" y="301"/>
                  </a:lnTo>
                  <a:lnTo>
                    <a:pt x="119" y="301"/>
                  </a:lnTo>
                  <a:lnTo>
                    <a:pt x="118" y="301"/>
                  </a:lnTo>
                  <a:lnTo>
                    <a:pt x="116" y="301"/>
                  </a:lnTo>
                  <a:lnTo>
                    <a:pt x="114" y="301"/>
                  </a:lnTo>
                  <a:lnTo>
                    <a:pt x="114" y="303"/>
                  </a:lnTo>
                  <a:lnTo>
                    <a:pt x="114" y="307"/>
                  </a:lnTo>
                  <a:lnTo>
                    <a:pt x="113" y="307"/>
                  </a:lnTo>
                  <a:lnTo>
                    <a:pt x="111" y="308"/>
                  </a:lnTo>
                  <a:lnTo>
                    <a:pt x="111" y="310"/>
                  </a:lnTo>
                  <a:lnTo>
                    <a:pt x="109" y="310"/>
                  </a:lnTo>
                  <a:lnTo>
                    <a:pt x="107" y="312"/>
                  </a:lnTo>
                  <a:lnTo>
                    <a:pt x="106" y="313"/>
                  </a:lnTo>
                  <a:lnTo>
                    <a:pt x="102" y="315"/>
                  </a:lnTo>
                  <a:lnTo>
                    <a:pt x="102" y="317"/>
                  </a:lnTo>
                  <a:lnTo>
                    <a:pt x="101" y="317"/>
                  </a:lnTo>
                  <a:lnTo>
                    <a:pt x="99" y="318"/>
                  </a:lnTo>
                  <a:lnTo>
                    <a:pt x="99" y="322"/>
                  </a:lnTo>
                  <a:lnTo>
                    <a:pt x="97" y="322"/>
                  </a:lnTo>
                  <a:lnTo>
                    <a:pt x="97" y="324"/>
                  </a:lnTo>
                  <a:lnTo>
                    <a:pt x="96" y="325"/>
                  </a:lnTo>
                  <a:lnTo>
                    <a:pt x="94" y="325"/>
                  </a:lnTo>
                  <a:lnTo>
                    <a:pt x="94" y="327"/>
                  </a:lnTo>
                  <a:lnTo>
                    <a:pt x="94" y="329"/>
                  </a:lnTo>
                  <a:lnTo>
                    <a:pt x="92" y="329"/>
                  </a:lnTo>
                  <a:lnTo>
                    <a:pt x="92" y="330"/>
                  </a:lnTo>
                  <a:lnTo>
                    <a:pt x="94" y="330"/>
                  </a:lnTo>
                  <a:lnTo>
                    <a:pt x="94" y="334"/>
                  </a:lnTo>
                  <a:lnTo>
                    <a:pt x="94" y="337"/>
                  </a:lnTo>
                  <a:lnTo>
                    <a:pt x="94" y="339"/>
                  </a:lnTo>
                  <a:lnTo>
                    <a:pt x="94" y="341"/>
                  </a:lnTo>
                  <a:lnTo>
                    <a:pt x="94" y="342"/>
                  </a:lnTo>
                  <a:lnTo>
                    <a:pt x="94" y="344"/>
                  </a:lnTo>
                  <a:lnTo>
                    <a:pt x="92" y="346"/>
                  </a:lnTo>
                  <a:lnTo>
                    <a:pt x="94" y="349"/>
                  </a:lnTo>
                  <a:lnTo>
                    <a:pt x="92" y="351"/>
                  </a:lnTo>
                  <a:close/>
                  <a:moveTo>
                    <a:pt x="34" y="215"/>
                  </a:moveTo>
                  <a:lnTo>
                    <a:pt x="36" y="215"/>
                  </a:lnTo>
                  <a:lnTo>
                    <a:pt x="36" y="216"/>
                  </a:lnTo>
                  <a:lnTo>
                    <a:pt x="34" y="216"/>
                  </a:lnTo>
                  <a:lnTo>
                    <a:pt x="34" y="215"/>
                  </a:lnTo>
                  <a:close/>
                  <a:moveTo>
                    <a:pt x="31" y="215"/>
                  </a:moveTo>
                  <a:lnTo>
                    <a:pt x="33" y="215"/>
                  </a:lnTo>
                  <a:lnTo>
                    <a:pt x="33" y="218"/>
                  </a:lnTo>
                  <a:lnTo>
                    <a:pt x="31" y="216"/>
                  </a:lnTo>
                  <a:lnTo>
                    <a:pt x="31" y="215"/>
                  </a:lnTo>
                  <a:close/>
                  <a:moveTo>
                    <a:pt x="36" y="211"/>
                  </a:moveTo>
                  <a:lnTo>
                    <a:pt x="36" y="215"/>
                  </a:lnTo>
                  <a:lnTo>
                    <a:pt x="36" y="21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186" name="Freeform 16">
              <a:extLst>
                <a:ext uri="{FF2B5EF4-FFF2-40B4-BE49-F238E27FC236}">
                  <a16:creationId xmlns:a16="http://schemas.microsoft.com/office/drawing/2014/main" id="{278CFB2C-5972-4048-864E-317984FA5E50}"/>
                </a:ext>
              </a:extLst>
            </p:cNvPr>
            <p:cNvSpPr>
              <a:spLocks noEditPoints="1"/>
            </p:cNvSpPr>
            <p:nvPr/>
          </p:nvSpPr>
          <p:spPr bwMode="gray">
            <a:xfrm>
              <a:off x="5433358" y="5255177"/>
              <a:ext cx="2020590" cy="1934670"/>
            </a:xfrm>
            <a:custGeom>
              <a:avLst/>
              <a:gdLst>
                <a:gd name="T0" fmla="*/ 413 w 682"/>
                <a:gd name="T1" fmla="*/ 112 h 653"/>
                <a:gd name="T2" fmla="*/ 454 w 682"/>
                <a:gd name="T3" fmla="*/ 143 h 653"/>
                <a:gd name="T4" fmla="*/ 505 w 682"/>
                <a:gd name="T5" fmla="*/ 157 h 653"/>
                <a:gd name="T6" fmla="*/ 546 w 682"/>
                <a:gd name="T7" fmla="*/ 167 h 653"/>
                <a:gd name="T8" fmla="*/ 581 w 682"/>
                <a:gd name="T9" fmla="*/ 186 h 653"/>
                <a:gd name="T10" fmla="*/ 634 w 682"/>
                <a:gd name="T11" fmla="*/ 192 h 653"/>
                <a:gd name="T12" fmla="*/ 627 w 682"/>
                <a:gd name="T13" fmla="*/ 232 h 653"/>
                <a:gd name="T14" fmla="*/ 575 w 682"/>
                <a:gd name="T15" fmla="*/ 262 h 653"/>
                <a:gd name="T16" fmla="*/ 522 w 682"/>
                <a:gd name="T17" fmla="*/ 274 h 653"/>
                <a:gd name="T18" fmla="*/ 493 w 682"/>
                <a:gd name="T19" fmla="*/ 303 h 653"/>
                <a:gd name="T20" fmla="*/ 468 w 682"/>
                <a:gd name="T21" fmla="*/ 325 h 653"/>
                <a:gd name="T22" fmla="*/ 432 w 682"/>
                <a:gd name="T23" fmla="*/ 368 h 653"/>
                <a:gd name="T24" fmla="*/ 435 w 682"/>
                <a:gd name="T25" fmla="*/ 422 h 653"/>
                <a:gd name="T26" fmla="*/ 411 w 682"/>
                <a:gd name="T27" fmla="*/ 451 h 653"/>
                <a:gd name="T28" fmla="*/ 383 w 682"/>
                <a:gd name="T29" fmla="*/ 490 h 653"/>
                <a:gd name="T30" fmla="*/ 360 w 682"/>
                <a:gd name="T31" fmla="*/ 507 h 653"/>
                <a:gd name="T32" fmla="*/ 313 w 682"/>
                <a:gd name="T33" fmla="*/ 533 h 653"/>
                <a:gd name="T34" fmla="*/ 269 w 682"/>
                <a:gd name="T35" fmla="*/ 546 h 653"/>
                <a:gd name="T36" fmla="*/ 206 w 682"/>
                <a:gd name="T37" fmla="*/ 539 h 653"/>
                <a:gd name="T38" fmla="*/ 150 w 682"/>
                <a:gd name="T39" fmla="*/ 541 h 653"/>
                <a:gd name="T40" fmla="*/ 95 w 682"/>
                <a:gd name="T41" fmla="*/ 560 h 653"/>
                <a:gd name="T42" fmla="*/ 61 w 682"/>
                <a:gd name="T43" fmla="*/ 550 h 653"/>
                <a:gd name="T44" fmla="*/ 51 w 682"/>
                <a:gd name="T45" fmla="*/ 517 h 653"/>
                <a:gd name="T46" fmla="*/ 27 w 682"/>
                <a:gd name="T47" fmla="*/ 468 h 653"/>
                <a:gd name="T48" fmla="*/ 17 w 682"/>
                <a:gd name="T49" fmla="*/ 465 h 653"/>
                <a:gd name="T50" fmla="*/ 0 w 682"/>
                <a:gd name="T51" fmla="*/ 461 h 653"/>
                <a:gd name="T52" fmla="*/ 22 w 682"/>
                <a:gd name="T53" fmla="*/ 408 h 653"/>
                <a:gd name="T54" fmla="*/ 29 w 682"/>
                <a:gd name="T55" fmla="*/ 378 h 653"/>
                <a:gd name="T56" fmla="*/ 49 w 682"/>
                <a:gd name="T57" fmla="*/ 332 h 653"/>
                <a:gd name="T58" fmla="*/ 49 w 682"/>
                <a:gd name="T59" fmla="*/ 291 h 653"/>
                <a:gd name="T60" fmla="*/ 78 w 682"/>
                <a:gd name="T61" fmla="*/ 254 h 653"/>
                <a:gd name="T62" fmla="*/ 92 w 682"/>
                <a:gd name="T63" fmla="*/ 203 h 653"/>
                <a:gd name="T64" fmla="*/ 138 w 682"/>
                <a:gd name="T65" fmla="*/ 172 h 653"/>
                <a:gd name="T66" fmla="*/ 104 w 682"/>
                <a:gd name="T67" fmla="*/ 135 h 653"/>
                <a:gd name="T68" fmla="*/ 58 w 682"/>
                <a:gd name="T69" fmla="*/ 131 h 653"/>
                <a:gd name="T70" fmla="*/ 44 w 682"/>
                <a:gd name="T71" fmla="*/ 107 h 653"/>
                <a:gd name="T72" fmla="*/ 12 w 682"/>
                <a:gd name="T73" fmla="*/ 101 h 653"/>
                <a:gd name="T74" fmla="*/ 19 w 682"/>
                <a:gd name="T75" fmla="*/ 87 h 653"/>
                <a:gd name="T76" fmla="*/ 27 w 682"/>
                <a:gd name="T77" fmla="*/ 63 h 653"/>
                <a:gd name="T78" fmla="*/ 22 w 682"/>
                <a:gd name="T79" fmla="*/ 53 h 653"/>
                <a:gd name="T80" fmla="*/ 7 w 682"/>
                <a:gd name="T81" fmla="*/ 34 h 653"/>
                <a:gd name="T82" fmla="*/ 31 w 682"/>
                <a:gd name="T83" fmla="*/ 19 h 653"/>
                <a:gd name="T84" fmla="*/ 66 w 682"/>
                <a:gd name="T85" fmla="*/ 26 h 653"/>
                <a:gd name="T86" fmla="*/ 73 w 682"/>
                <a:gd name="T87" fmla="*/ 7 h 653"/>
                <a:gd name="T88" fmla="*/ 99 w 682"/>
                <a:gd name="T89" fmla="*/ 4 h 653"/>
                <a:gd name="T90" fmla="*/ 126 w 682"/>
                <a:gd name="T91" fmla="*/ 31 h 653"/>
                <a:gd name="T92" fmla="*/ 170 w 682"/>
                <a:gd name="T93" fmla="*/ 32 h 653"/>
                <a:gd name="T94" fmla="*/ 202 w 682"/>
                <a:gd name="T95" fmla="*/ 43 h 653"/>
                <a:gd name="T96" fmla="*/ 250 w 682"/>
                <a:gd name="T97" fmla="*/ 63 h 653"/>
                <a:gd name="T98" fmla="*/ 289 w 682"/>
                <a:gd name="T99" fmla="*/ 68 h 653"/>
                <a:gd name="T100" fmla="*/ 321 w 682"/>
                <a:gd name="T101" fmla="*/ 82 h 653"/>
                <a:gd name="T102" fmla="*/ 350 w 682"/>
                <a:gd name="T103" fmla="*/ 85 h 653"/>
                <a:gd name="T104" fmla="*/ 619 w 682"/>
                <a:gd name="T105" fmla="*/ 371 h 653"/>
                <a:gd name="T106" fmla="*/ 624 w 682"/>
                <a:gd name="T107" fmla="*/ 398 h 653"/>
                <a:gd name="T108" fmla="*/ 587 w 682"/>
                <a:gd name="T109" fmla="*/ 393 h 653"/>
                <a:gd name="T110" fmla="*/ 593 w 682"/>
                <a:gd name="T111" fmla="*/ 374 h 653"/>
                <a:gd name="T112" fmla="*/ 678 w 682"/>
                <a:gd name="T113" fmla="*/ 371 h 653"/>
                <a:gd name="T114" fmla="*/ 653 w 682"/>
                <a:gd name="T115" fmla="*/ 366 h 653"/>
                <a:gd name="T116" fmla="*/ 505 w 682"/>
                <a:gd name="T117" fmla="*/ 432 h 653"/>
                <a:gd name="T118" fmla="*/ 513 w 682"/>
                <a:gd name="T119" fmla="*/ 448 h 653"/>
                <a:gd name="T120" fmla="*/ 27 w 682"/>
                <a:gd name="T121" fmla="*/ 468 h 653"/>
                <a:gd name="T122" fmla="*/ 19 w 682"/>
                <a:gd name="T123" fmla="*/ 72 h 653"/>
                <a:gd name="T124" fmla="*/ 570 w 682"/>
                <a:gd name="T125" fmla="*/ 38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82" h="653">
                  <a:moveTo>
                    <a:pt x="389" y="92"/>
                  </a:moveTo>
                  <a:lnTo>
                    <a:pt x="391" y="94"/>
                  </a:lnTo>
                  <a:lnTo>
                    <a:pt x="391" y="97"/>
                  </a:lnTo>
                  <a:lnTo>
                    <a:pt x="393" y="95"/>
                  </a:lnTo>
                  <a:lnTo>
                    <a:pt x="394" y="95"/>
                  </a:lnTo>
                  <a:lnTo>
                    <a:pt x="396" y="97"/>
                  </a:lnTo>
                  <a:lnTo>
                    <a:pt x="396" y="99"/>
                  </a:lnTo>
                  <a:lnTo>
                    <a:pt x="396" y="101"/>
                  </a:lnTo>
                  <a:lnTo>
                    <a:pt x="398" y="102"/>
                  </a:lnTo>
                  <a:lnTo>
                    <a:pt x="400" y="99"/>
                  </a:lnTo>
                  <a:lnTo>
                    <a:pt x="401" y="99"/>
                  </a:lnTo>
                  <a:lnTo>
                    <a:pt x="403" y="99"/>
                  </a:lnTo>
                  <a:lnTo>
                    <a:pt x="403" y="101"/>
                  </a:lnTo>
                  <a:lnTo>
                    <a:pt x="406" y="102"/>
                  </a:lnTo>
                  <a:lnTo>
                    <a:pt x="406" y="101"/>
                  </a:lnTo>
                  <a:lnTo>
                    <a:pt x="408" y="102"/>
                  </a:lnTo>
                  <a:lnTo>
                    <a:pt x="408" y="104"/>
                  </a:lnTo>
                  <a:lnTo>
                    <a:pt x="408" y="107"/>
                  </a:lnTo>
                  <a:lnTo>
                    <a:pt x="406" y="107"/>
                  </a:lnTo>
                  <a:lnTo>
                    <a:pt x="406" y="109"/>
                  </a:lnTo>
                  <a:lnTo>
                    <a:pt x="406" y="111"/>
                  </a:lnTo>
                  <a:lnTo>
                    <a:pt x="405" y="112"/>
                  </a:lnTo>
                  <a:lnTo>
                    <a:pt x="403" y="112"/>
                  </a:lnTo>
                  <a:lnTo>
                    <a:pt x="401" y="114"/>
                  </a:lnTo>
                  <a:lnTo>
                    <a:pt x="403" y="118"/>
                  </a:lnTo>
                  <a:lnTo>
                    <a:pt x="406" y="118"/>
                  </a:lnTo>
                  <a:lnTo>
                    <a:pt x="406" y="119"/>
                  </a:lnTo>
                  <a:lnTo>
                    <a:pt x="408" y="119"/>
                  </a:lnTo>
                  <a:lnTo>
                    <a:pt x="408" y="118"/>
                  </a:lnTo>
                  <a:lnTo>
                    <a:pt x="408" y="114"/>
                  </a:lnTo>
                  <a:lnTo>
                    <a:pt x="410" y="112"/>
                  </a:lnTo>
                  <a:lnTo>
                    <a:pt x="413" y="112"/>
                  </a:lnTo>
                  <a:lnTo>
                    <a:pt x="411" y="114"/>
                  </a:lnTo>
                  <a:lnTo>
                    <a:pt x="410" y="116"/>
                  </a:lnTo>
                  <a:lnTo>
                    <a:pt x="411" y="119"/>
                  </a:lnTo>
                  <a:lnTo>
                    <a:pt x="415" y="118"/>
                  </a:lnTo>
                  <a:lnTo>
                    <a:pt x="417" y="119"/>
                  </a:lnTo>
                  <a:lnTo>
                    <a:pt x="418" y="123"/>
                  </a:lnTo>
                  <a:lnTo>
                    <a:pt x="420" y="121"/>
                  </a:lnTo>
                  <a:lnTo>
                    <a:pt x="422" y="123"/>
                  </a:lnTo>
                  <a:lnTo>
                    <a:pt x="423" y="124"/>
                  </a:lnTo>
                  <a:lnTo>
                    <a:pt x="425" y="124"/>
                  </a:lnTo>
                  <a:lnTo>
                    <a:pt x="425" y="126"/>
                  </a:lnTo>
                  <a:lnTo>
                    <a:pt x="427" y="126"/>
                  </a:lnTo>
                  <a:lnTo>
                    <a:pt x="427" y="128"/>
                  </a:lnTo>
                  <a:lnTo>
                    <a:pt x="430" y="126"/>
                  </a:lnTo>
                  <a:lnTo>
                    <a:pt x="432" y="128"/>
                  </a:lnTo>
                  <a:lnTo>
                    <a:pt x="435" y="128"/>
                  </a:lnTo>
                  <a:lnTo>
                    <a:pt x="437" y="128"/>
                  </a:lnTo>
                  <a:lnTo>
                    <a:pt x="439" y="129"/>
                  </a:lnTo>
                  <a:lnTo>
                    <a:pt x="439" y="131"/>
                  </a:lnTo>
                  <a:lnTo>
                    <a:pt x="439" y="133"/>
                  </a:lnTo>
                  <a:lnTo>
                    <a:pt x="439" y="135"/>
                  </a:lnTo>
                  <a:lnTo>
                    <a:pt x="440" y="135"/>
                  </a:lnTo>
                  <a:lnTo>
                    <a:pt x="442" y="136"/>
                  </a:lnTo>
                  <a:lnTo>
                    <a:pt x="444" y="138"/>
                  </a:lnTo>
                  <a:lnTo>
                    <a:pt x="444" y="141"/>
                  </a:lnTo>
                  <a:lnTo>
                    <a:pt x="445" y="140"/>
                  </a:lnTo>
                  <a:lnTo>
                    <a:pt x="445" y="143"/>
                  </a:lnTo>
                  <a:lnTo>
                    <a:pt x="447" y="141"/>
                  </a:lnTo>
                  <a:lnTo>
                    <a:pt x="449" y="140"/>
                  </a:lnTo>
                  <a:lnTo>
                    <a:pt x="452" y="141"/>
                  </a:lnTo>
                  <a:lnTo>
                    <a:pt x="454" y="141"/>
                  </a:lnTo>
                  <a:lnTo>
                    <a:pt x="454" y="143"/>
                  </a:lnTo>
                  <a:lnTo>
                    <a:pt x="456" y="141"/>
                  </a:lnTo>
                  <a:lnTo>
                    <a:pt x="457" y="140"/>
                  </a:lnTo>
                  <a:lnTo>
                    <a:pt x="459" y="140"/>
                  </a:lnTo>
                  <a:lnTo>
                    <a:pt x="461" y="141"/>
                  </a:lnTo>
                  <a:lnTo>
                    <a:pt x="462" y="141"/>
                  </a:lnTo>
                  <a:lnTo>
                    <a:pt x="462" y="143"/>
                  </a:lnTo>
                  <a:lnTo>
                    <a:pt x="464" y="145"/>
                  </a:lnTo>
                  <a:lnTo>
                    <a:pt x="466" y="145"/>
                  </a:lnTo>
                  <a:lnTo>
                    <a:pt x="466" y="146"/>
                  </a:lnTo>
                  <a:lnTo>
                    <a:pt x="468" y="148"/>
                  </a:lnTo>
                  <a:lnTo>
                    <a:pt x="468" y="150"/>
                  </a:lnTo>
                  <a:lnTo>
                    <a:pt x="471" y="150"/>
                  </a:lnTo>
                  <a:lnTo>
                    <a:pt x="471" y="152"/>
                  </a:lnTo>
                  <a:lnTo>
                    <a:pt x="473" y="153"/>
                  </a:lnTo>
                  <a:lnTo>
                    <a:pt x="474" y="152"/>
                  </a:lnTo>
                  <a:lnTo>
                    <a:pt x="476" y="153"/>
                  </a:lnTo>
                  <a:lnTo>
                    <a:pt x="478" y="152"/>
                  </a:lnTo>
                  <a:lnTo>
                    <a:pt x="481" y="152"/>
                  </a:lnTo>
                  <a:lnTo>
                    <a:pt x="483" y="152"/>
                  </a:lnTo>
                  <a:lnTo>
                    <a:pt x="486" y="153"/>
                  </a:lnTo>
                  <a:lnTo>
                    <a:pt x="486" y="155"/>
                  </a:lnTo>
                  <a:lnTo>
                    <a:pt x="488" y="157"/>
                  </a:lnTo>
                  <a:lnTo>
                    <a:pt x="490" y="155"/>
                  </a:lnTo>
                  <a:lnTo>
                    <a:pt x="493" y="153"/>
                  </a:lnTo>
                  <a:lnTo>
                    <a:pt x="495" y="153"/>
                  </a:lnTo>
                  <a:lnTo>
                    <a:pt x="495" y="155"/>
                  </a:lnTo>
                  <a:lnTo>
                    <a:pt x="498" y="155"/>
                  </a:lnTo>
                  <a:lnTo>
                    <a:pt x="500" y="157"/>
                  </a:lnTo>
                  <a:lnTo>
                    <a:pt x="502" y="155"/>
                  </a:lnTo>
                  <a:lnTo>
                    <a:pt x="502" y="157"/>
                  </a:lnTo>
                  <a:lnTo>
                    <a:pt x="503" y="157"/>
                  </a:lnTo>
                  <a:lnTo>
                    <a:pt x="505" y="157"/>
                  </a:lnTo>
                  <a:lnTo>
                    <a:pt x="508" y="158"/>
                  </a:lnTo>
                  <a:lnTo>
                    <a:pt x="508" y="155"/>
                  </a:lnTo>
                  <a:lnTo>
                    <a:pt x="508" y="153"/>
                  </a:lnTo>
                  <a:lnTo>
                    <a:pt x="507" y="153"/>
                  </a:lnTo>
                  <a:lnTo>
                    <a:pt x="508" y="152"/>
                  </a:lnTo>
                  <a:lnTo>
                    <a:pt x="508" y="150"/>
                  </a:lnTo>
                  <a:lnTo>
                    <a:pt x="508" y="146"/>
                  </a:lnTo>
                  <a:lnTo>
                    <a:pt x="512" y="146"/>
                  </a:lnTo>
                  <a:lnTo>
                    <a:pt x="513" y="146"/>
                  </a:lnTo>
                  <a:lnTo>
                    <a:pt x="515" y="148"/>
                  </a:lnTo>
                  <a:lnTo>
                    <a:pt x="517" y="148"/>
                  </a:lnTo>
                  <a:lnTo>
                    <a:pt x="519" y="150"/>
                  </a:lnTo>
                  <a:lnTo>
                    <a:pt x="520" y="150"/>
                  </a:lnTo>
                  <a:lnTo>
                    <a:pt x="522" y="152"/>
                  </a:lnTo>
                  <a:lnTo>
                    <a:pt x="524" y="152"/>
                  </a:lnTo>
                  <a:lnTo>
                    <a:pt x="525" y="153"/>
                  </a:lnTo>
                  <a:lnTo>
                    <a:pt x="527" y="153"/>
                  </a:lnTo>
                  <a:lnTo>
                    <a:pt x="529" y="153"/>
                  </a:lnTo>
                  <a:lnTo>
                    <a:pt x="530" y="153"/>
                  </a:lnTo>
                  <a:lnTo>
                    <a:pt x="532" y="157"/>
                  </a:lnTo>
                  <a:lnTo>
                    <a:pt x="532" y="158"/>
                  </a:lnTo>
                  <a:lnTo>
                    <a:pt x="534" y="160"/>
                  </a:lnTo>
                  <a:lnTo>
                    <a:pt x="537" y="158"/>
                  </a:lnTo>
                  <a:lnTo>
                    <a:pt x="539" y="160"/>
                  </a:lnTo>
                  <a:lnTo>
                    <a:pt x="541" y="160"/>
                  </a:lnTo>
                  <a:lnTo>
                    <a:pt x="542" y="160"/>
                  </a:lnTo>
                  <a:lnTo>
                    <a:pt x="544" y="160"/>
                  </a:lnTo>
                  <a:lnTo>
                    <a:pt x="544" y="162"/>
                  </a:lnTo>
                  <a:lnTo>
                    <a:pt x="546" y="162"/>
                  </a:lnTo>
                  <a:lnTo>
                    <a:pt x="546" y="163"/>
                  </a:lnTo>
                  <a:lnTo>
                    <a:pt x="546" y="165"/>
                  </a:lnTo>
                  <a:lnTo>
                    <a:pt x="546" y="167"/>
                  </a:lnTo>
                  <a:lnTo>
                    <a:pt x="547" y="169"/>
                  </a:lnTo>
                  <a:lnTo>
                    <a:pt x="546" y="170"/>
                  </a:lnTo>
                  <a:lnTo>
                    <a:pt x="547" y="172"/>
                  </a:lnTo>
                  <a:lnTo>
                    <a:pt x="546" y="174"/>
                  </a:lnTo>
                  <a:lnTo>
                    <a:pt x="547" y="174"/>
                  </a:lnTo>
                  <a:lnTo>
                    <a:pt x="547" y="175"/>
                  </a:lnTo>
                  <a:lnTo>
                    <a:pt x="546" y="177"/>
                  </a:lnTo>
                  <a:lnTo>
                    <a:pt x="546" y="180"/>
                  </a:lnTo>
                  <a:lnTo>
                    <a:pt x="549" y="180"/>
                  </a:lnTo>
                  <a:lnTo>
                    <a:pt x="549" y="182"/>
                  </a:lnTo>
                  <a:lnTo>
                    <a:pt x="551" y="180"/>
                  </a:lnTo>
                  <a:lnTo>
                    <a:pt x="553" y="179"/>
                  </a:lnTo>
                  <a:lnTo>
                    <a:pt x="553" y="180"/>
                  </a:lnTo>
                  <a:lnTo>
                    <a:pt x="554" y="179"/>
                  </a:lnTo>
                  <a:lnTo>
                    <a:pt x="558" y="179"/>
                  </a:lnTo>
                  <a:lnTo>
                    <a:pt x="558" y="177"/>
                  </a:lnTo>
                  <a:lnTo>
                    <a:pt x="559" y="179"/>
                  </a:lnTo>
                  <a:lnTo>
                    <a:pt x="561" y="177"/>
                  </a:lnTo>
                  <a:lnTo>
                    <a:pt x="563" y="179"/>
                  </a:lnTo>
                  <a:lnTo>
                    <a:pt x="564" y="179"/>
                  </a:lnTo>
                  <a:lnTo>
                    <a:pt x="566" y="179"/>
                  </a:lnTo>
                  <a:lnTo>
                    <a:pt x="568" y="180"/>
                  </a:lnTo>
                  <a:lnTo>
                    <a:pt x="570" y="182"/>
                  </a:lnTo>
                  <a:lnTo>
                    <a:pt x="571" y="182"/>
                  </a:lnTo>
                  <a:lnTo>
                    <a:pt x="573" y="184"/>
                  </a:lnTo>
                  <a:lnTo>
                    <a:pt x="573" y="187"/>
                  </a:lnTo>
                  <a:lnTo>
                    <a:pt x="573" y="189"/>
                  </a:lnTo>
                  <a:lnTo>
                    <a:pt x="575" y="191"/>
                  </a:lnTo>
                  <a:lnTo>
                    <a:pt x="576" y="189"/>
                  </a:lnTo>
                  <a:lnTo>
                    <a:pt x="578" y="189"/>
                  </a:lnTo>
                  <a:lnTo>
                    <a:pt x="580" y="189"/>
                  </a:lnTo>
                  <a:lnTo>
                    <a:pt x="581" y="186"/>
                  </a:lnTo>
                  <a:lnTo>
                    <a:pt x="583" y="186"/>
                  </a:lnTo>
                  <a:lnTo>
                    <a:pt x="585" y="186"/>
                  </a:lnTo>
                  <a:lnTo>
                    <a:pt x="588" y="186"/>
                  </a:lnTo>
                  <a:lnTo>
                    <a:pt x="592" y="186"/>
                  </a:lnTo>
                  <a:lnTo>
                    <a:pt x="593" y="187"/>
                  </a:lnTo>
                  <a:lnTo>
                    <a:pt x="593" y="189"/>
                  </a:lnTo>
                  <a:lnTo>
                    <a:pt x="597" y="189"/>
                  </a:lnTo>
                  <a:lnTo>
                    <a:pt x="597" y="191"/>
                  </a:lnTo>
                  <a:lnTo>
                    <a:pt x="598" y="191"/>
                  </a:lnTo>
                  <a:lnTo>
                    <a:pt x="598" y="194"/>
                  </a:lnTo>
                  <a:lnTo>
                    <a:pt x="602" y="194"/>
                  </a:lnTo>
                  <a:lnTo>
                    <a:pt x="604" y="192"/>
                  </a:lnTo>
                  <a:lnTo>
                    <a:pt x="607" y="194"/>
                  </a:lnTo>
                  <a:lnTo>
                    <a:pt x="609" y="194"/>
                  </a:lnTo>
                  <a:lnTo>
                    <a:pt x="609" y="192"/>
                  </a:lnTo>
                  <a:lnTo>
                    <a:pt x="609" y="191"/>
                  </a:lnTo>
                  <a:lnTo>
                    <a:pt x="610" y="189"/>
                  </a:lnTo>
                  <a:lnTo>
                    <a:pt x="612" y="189"/>
                  </a:lnTo>
                  <a:lnTo>
                    <a:pt x="615" y="189"/>
                  </a:lnTo>
                  <a:lnTo>
                    <a:pt x="617" y="187"/>
                  </a:lnTo>
                  <a:lnTo>
                    <a:pt x="619" y="187"/>
                  </a:lnTo>
                  <a:lnTo>
                    <a:pt x="621" y="187"/>
                  </a:lnTo>
                  <a:lnTo>
                    <a:pt x="621" y="186"/>
                  </a:lnTo>
                  <a:lnTo>
                    <a:pt x="622" y="187"/>
                  </a:lnTo>
                  <a:lnTo>
                    <a:pt x="624" y="186"/>
                  </a:lnTo>
                  <a:lnTo>
                    <a:pt x="626" y="187"/>
                  </a:lnTo>
                  <a:lnTo>
                    <a:pt x="629" y="187"/>
                  </a:lnTo>
                  <a:lnTo>
                    <a:pt x="631" y="189"/>
                  </a:lnTo>
                  <a:lnTo>
                    <a:pt x="631" y="191"/>
                  </a:lnTo>
                  <a:lnTo>
                    <a:pt x="632" y="189"/>
                  </a:lnTo>
                  <a:lnTo>
                    <a:pt x="636" y="191"/>
                  </a:lnTo>
                  <a:lnTo>
                    <a:pt x="634" y="192"/>
                  </a:lnTo>
                  <a:lnTo>
                    <a:pt x="636" y="194"/>
                  </a:lnTo>
                  <a:lnTo>
                    <a:pt x="634" y="196"/>
                  </a:lnTo>
                  <a:lnTo>
                    <a:pt x="636" y="197"/>
                  </a:lnTo>
                  <a:lnTo>
                    <a:pt x="638" y="196"/>
                  </a:lnTo>
                  <a:lnTo>
                    <a:pt x="639" y="197"/>
                  </a:lnTo>
                  <a:lnTo>
                    <a:pt x="641" y="197"/>
                  </a:lnTo>
                  <a:lnTo>
                    <a:pt x="641" y="199"/>
                  </a:lnTo>
                  <a:lnTo>
                    <a:pt x="643" y="199"/>
                  </a:lnTo>
                  <a:lnTo>
                    <a:pt x="641" y="199"/>
                  </a:lnTo>
                  <a:lnTo>
                    <a:pt x="641" y="201"/>
                  </a:lnTo>
                  <a:lnTo>
                    <a:pt x="641" y="203"/>
                  </a:lnTo>
                  <a:lnTo>
                    <a:pt x="639" y="203"/>
                  </a:lnTo>
                  <a:lnTo>
                    <a:pt x="639" y="204"/>
                  </a:lnTo>
                  <a:lnTo>
                    <a:pt x="638" y="203"/>
                  </a:lnTo>
                  <a:lnTo>
                    <a:pt x="638" y="204"/>
                  </a:lnTo>
                  <a:lnTo>
                    <a:pt x="636" y="204"/>
                  </a:lnTo>
                  <a:lnTo>
                    <a:pt x="634" y="203"/>
                  </a:lnTo>
                  <a:lnTo>
                    <a:pt x="632" y="203"/>
                  </a:lnTo>
                  <a:lnTo>
                    <a:pt x="631" y="206"/>
                  </a:lnTo>
                  <a:lnTo>
                    <a:pt x="631" y="209"/>
                  </a:lnTo>
                  <a:lnTo>
                    <a:pt x="631" y="211"/>
                  </a:lnTo>
                  <a:lnTo>
                    <a:pt x="634" y="213"/>
                  </a:lnTo>
                  <a:lnTo>
                    <a:pt x="636" y="216"/>
                  </a:lnTo>
                  <a:lnTo>
                    <a:pt x="634" y="218"/>
                  </a:lnTo>
                  <a:lnTo>
                    <a:pt x="634" y="220"/>
                  </a:lnTo>
                  <a:lnTo>
                    <a:pt x="634" y="223"/>
                  </a:lnTo>
                  <a:lnTo>
                    <a:pt x="636" y="225"/>
                  </a:lnTo>
                  <a:lnTo>
                    <a:pt x="634" y="226"/>
                  </a:lnTo>
                  <a:lnTo>
                    <a:pt x="634" y="228"/>
                  </a:lnTo>
                  <a:lnTo>
                    <a:pt x="632" y="230"/>
                  </a:lnTo>
                  <a:lnTo>
                    <a:pt x="629" y="232"/>
                  </a:lnTo>
                  <a:lnTo>
                    <a:pt x="627" y="232"/>
                  </a:lnTo>
                  <a:lnTo>
                    <a:pt x="626" y="233"/>
                  </a:lnTo>
                  <a:lnTo>
                    <a:pt x="626" y="235"/>
                  </a:lnTo>
                  <a:lnTo>
                    <a:pt x="624" y="237"/>
                  </a:lnTo>
                  <a:lnTo>
                    <a:pt x="621" y="237"/>
                  </a:lnTo>
                  <a:lnTo>
                    <a:pt x="619" y="238"/>
                  </a:lnTo>
                  <a:lnTo>
                    <a:pt x="619" y="240"/>
                  </a:lnTo>
                  <a:lnTo>
                    <a:pt x="615" y="240"/>
                  </a:lnTo>
                  <a:lnTo>
                    <a:pt x="612" y="240"/>
                  </a:lnTo>
                  <a:lnTo>
                    <a:pt x="610" y="242"/>
                  </a:lnTo>
                  <a:lnTo>
                    <a:pt x="610" y="243"/>
                  </a:lnTo>
                  <a:lnTo>
                    <a:pt x="609" y="243"/>
                  </a:lnTo>
                  <a:lnTo>
                    <a:pt x="607" y="245"/>
                  </a:lnTo>
                  <a:lnTo>
                    <a:pt x="604" y="245"/>
                  </a:lnTo>
                  <a:lnTo>
                    <a:pt x="602" y="247"/>
                  </a:lnTo>
                  <a:lnTo>
                    <a:pt x="598" y="247"/>
                  </a:lnTo>
                  <a:lnTo>
                    <a:pt x="598" y="249"/>
                  </a:lnTo>
                  <a:lnTo>
                    <a:pt x="597" y="247"/>
                  </a:lnTo>
                  <a:lnTo>
                    <a:pt x="595" y="249"/>
                  </a:lnTo>
                  <a:lnTo>
                    <a:pt x="592" y="250"/>
                  </a:lnTo>
                  <a:lnTo>
                    <a:pt x="588" y="252"/>
                  </a:lnTo>
                  <a:lnTo>
                    <a:pt x="587" y="252"/>
                  </a:lnTo>
                  <a:lnTo>
                    <a:pt x="587" y="254"/>
                  </a:lnTo>
                  <a:lnTo>
                    <a:pt x="587" y="252"/>
                  </a:lnTo>
                  <a:lnTo>
                    <a:pt x="583" y="254"/>
                  </a:lnTo>
                  <a:lnTo>
                    <a:pt x="581" y="254"/>
                  </a:lnTo>
                  <a:lnTo>
                    <a:pt x="580" y="255"/>
                  </a:lnTo>
                  <a:lnTo>
                    <a:pt x="578" y="257"/>
                  </a:lnTo>
                  <a:lnTo>
                    <a:pt x="576" y="259"/>
                  </a:lnTo>
                  <a:lnTo>
                    <a:pt x="576" y="260"/>
                  </a:lnTo>
                  <a:lnTo>
                    <a:pt x="576" y="259"/>
                  </a:lnTo>
                  <a:lnTo>
                    <a:pt x="576" y="260"/>
                  </a:lnTo>
                  <a:lnTo>
                    <a:pt x="575" y="262"/>
                  </a:lnTo>
                  <a:lnTo>
                    <a:pt x="576" y="260"/>
                  </a:lnTo>
                  <a:lnTo>
                    <a:pt x="575" y="262"/>
                  </a:lnTo>
                  <a:lnTo>
                    <a:pt x="573" y="264"/>
                  </a:lnTo>
                  <a:lnTo>
                    <a:pt x="575" y="266"/>
                  </a:lnTo>
                  <a:lnTo>
                    <a:pt x="573" y="264"/>
                  </a:lnTo>
                  <a:lnTo>
                    <a:pt x="573" y="266"/>
                  </a:lnTo>
                  <a:lnTo>
                    <a:pt x="571" y="266"/>
                  </a:lnTo>
                  <a:lnTo>
                    <a:pt x="568" y="267"/>
                  </a:lnTo>
                  <a:lnTo>
                    <a:pt x="566" y="267"/>
                  </a:lnTo>
                  <a:lnTo>
                    <a:pt x="563" y="266"/>
                  </a:lnTo>
                  <a:lnTo>
                    <a:pt x="561" y="267"/>
                  </a:lnTo>
                  <a:lnTo>
                    <a:pt x="561" y="266"/>
                  </a:lnTo>
                  <a:lnTo>
                    <a:pt x="559" y="267"/>
                  </a:lnTo>
                  <a:lnTo>
                    <a:pt x="558" y="267"/>
                  </a:lnTo>
                  <a:lnTo>
                    <a:pt x="556" y="267"/>
                  </a:lnTo>
                  <a:lnTo>
                    <a:pt x="554" y="269"/>
                  </a:lnTo>
                  <a:lnTo>
                    <a:pt x="551" y="269"/>
                  </a:lnTo>
                  <a:lnTo>
                    <a:pt x="549" y="269"/>
                  </a:lnTo>
                  <a:lnTo>
                    <a:pt x="547" y="269"/>
                  </a:lnTo>
                  <a:lnTo>
                    <a:pt x="544" y="269"/>
                  </a:lnTo>
                  <a:lnTo>
                    <a:pt x="544" y="271"/>
                  </a:lnTo>
                  <a:lnTo>
                    <a:pt x="544" y="269"/>
                  </a:lnTo>
                  <a:lnTo>
                    <a:pt x="541" y="269"/>
                  </a:lnTo>
                  <a:lnTo>
                    <a:pt x="539" y="269"/>
                  </a:lnTo>
                  <a:lnTo>
                    <a:pt x="536" y="271"/>
                  </a:lnTo>
                  <a:lnTo>
                    <a:pt x="534" y="272"/>
                  </a:lnTo>
                  <a:lnTo>
                    <a:pt x="532" y="272"/>
                  </a:lnTo>
                  <a:lnTo>
                    <a:pt x="529" y="272"/>
                  </a:lnTo>
                  <a:lnTo>
                    <a:pt x="527" y="272"/>
                  </a:lnTo>
                  <a:lnTo>
                    <a:pt x="525" y="272"/>
                  </a:lnTo>
                  <a:lnTo>
                    <a:pt x="524" y="274"/>
                  </a:lnTo>
                  <a:lnTo>
                    <a:pt x="522" y="274"/>
                  </a:lnTo>
                  <a:lnTo>
                    <a:pt x="524" y="272"/>
                  </a:lnTo>
                  <a:lnTo>
                    <a:pt x="522" y="274"/>
                  </a:lnTo>
                  <a:lnTo>
                    <a:pt x="520" y="276"/>
                  </a:lnTo>
                  <a:lnTo>
                    <a:pt x="517" y="274"/>
                  </a:lnTo>
                  <a:lnTo>
                    <a:pt x="515" y="276"/>
                  </a:lnTo>
                  <a:lnTo>
                    <a:pt x="513" y="274"/>
                  </a:lnTo>
                  <a:lnTo>
                    <a:pt x="510" y="276"/>
                  </a:lnTo>
                  <a:lnTo>
                    <a:pt x="508" y="277"/>
                  </a:lnTo>
                  <a:lnTo>
                    <a:pt x="507" y="277"/>
                  </a:lnTo>
                  <a:lnTo>
                    <a:pt x="507" y="279"/>
                  </a:lnTo>
                  <a:lnTo>
                    <a:pt x="505" y="279"/>
                  </a:lnTo>
                  <a:lnTo>
                    <a:pt x="503" y="281"/>
                  </a:lnTo>
                  <a:lnTo>
                    <a:pt x="502" y="283"/>
                  </a:lnTo>
                  <a:lnTo>
                    <a:pt x="502" y="284"/>
                  </a:lnTo>
                  <a:lnTo>
                    <a:pt x="500" y="286"/>
                  </a:lnTo>
                  <a:lnTo>
                    <a:pt x="498" y="286"/>
                  </a:lnTo>
                  <a:lnTo>
                    <a:pt x="498" y="288"/>
                  </a:lnTo>
                  <a:lnTo>
                    <a:pt x="495" y="288"/>
                  </a:lnTo>
                  <a:lnTo>
                    <a:pt x="495" y="289"/>
                  </a:lnTo>
                  <a:lnTo>
                    <a:pt x="493" y="291"/>
                  </a:lnTo>
                  <a:lnTo>
                    <a:pt x="493" y="293"/>
                  </a:lnTo>
                  <a:lnTo>
                    <a:pt x="496" y="294"/>
                  </a:lnTo>
                  <a:lnTo>
                    <a:pt x="493" y="293"/>
                  </a:lnTo>
                  <a:lnTo>
                    <a:pt x="496" y="293"/>
                  </a:lnTo>
                  <a:lnTo>
                    <a:pt x="496" y="294"/>
                  </a:lnTo>
                  <a:lnTo>
                    <a:pt x="498" y="296"/>
                  </a:lnTo>
                  <a:lnTo>
                    <a:pt x="502" y="298"/>
                  </a:lnTo>
                  <a:lnTo>
                    <a:pt x="500" y="300"/>
                  </a:lnTo>
                  <a:lnTo>
                    <a:pt x="498" y="301"/>
                  </a:lnTo>
                  <a:lnTo>
                    <a:pt x="496" y="301"/>
                  </a:lnTo>
                  <a:lnTo>
                    <a:pt x="495" y="303"/>
                  </a:lnTo>
                  <a:lnTo>
                    <a:pt x="493" y="303"/>
                  </a:lnTo>
                  <a:lnTo>
                    <a:pt x="491" y="305"/>
                  </a:lnTo>
                  <a:lnTo>
                    <a:pt x="491" y="306"/>
                  </a:lnTo>
                  <a:lnTo>
                    <a:pt x="490" y="306"/>
                  </a:lnTo>
                  <a:lnTo>
                    <a:pt x="488" y="308"/>
                  </a:lnTo>
                  <a:lnTo>
                    <a:pt x="485" y="308"/>
                  </a:lnTo>
                  <a:lnTo>
                    <a:pt x="485" y="306"/>
                  </a:lnTo>
                  <a:lnTo>
                    <a:pt x="486" y="306"/>
                  </a:lnTo>
                  <a:lnTo>
                    <a:pt x="488" y="306"/>
                  </a:lnTo>
                  <a:lnTo>
                    <a:pt x="491" y="306"/>
                  </a:lnTo>
                  <a:lnTo>
                    <a:pt x="493" y="303"/>
                  </a:lnTo>
                  <a:lnTo>
                    <a:pt x="490" y="303"/>
                  </a:lnTo>
                  <a:lnTo>
                    <a:pt x="488" y="303"/>
                  </a:lnTo>
                  <a:lnTo>
                    <a:pt x="486" y="303"/>
                  </a:lnTo>
                  <a:lnTo>
                    <a:pt x="485" y="303"/>
                  </a:lnTo>
                  <a:lnTo>
                    <a:pt x="485" y="305"/>
                  </a:lnTo>
                  <a:lnTo>
                    <a:pt x="485" y="303"/>
                  </a:lnTo>
                  <a:lnTo>
                    <a:pt x="483" y="305"/>
                  </a:lnTo>
                  <a:lnTo>
                    <a:pt x="483" y="306"/>
                  </a:lnTo>
                  <a:lnTo>
                    <a:pt x="481" y="306"/>
                  </a:lnTo>
                  <a:lnTo>
                    <a:pt x="481" y="308"/>
                  </a:lnTo>
                  <a:lnTo>
                    <a:pt x="479" y="310"/>
                  </a:lnTo>
                  <a:lnTo>
                    <a:pt x="478" y="311"/>
                  </a:lnTo>
                  <a:lnTo>
                    <a:pt x="478" y="313"/>
                  </a:lnTo>
                  <a:lnTo>
                    <a:pt x="476" y="313"/>
                  </a:lnTo>
                  <a:lnTo>
                    <a:pt x="474" y="315"/>
                  </a:lnTo>
                  <a:lnTo>
                    <a:pt x="474" y="317"/>
                  </a:lnTo>
                  <a:lnTo>
                    <a:pt x="473" y="317"/>
                  </a:lnTo>
                  <a:lnTo>
                    <a:pt x="473" y="320"/>
                  </a:lnTo>
                  <a:lnTo>
                    <a:pt x="471" y="320"/>
                  </a:lnTo>
                  <a:lnTo>
                    <a:pt x="471" y="322"/>
                  </a:lnTo>
                  <a:lnTo>
                    <a:pt x="469" y="323"/>
                  </a:lnTo>
                  <a:lnTo>
                    <a:pt x="468" y="325"/>
                  </a:lnTo>
                  <a:lnTo>
                    <a:pt x="464" y="327"/>
                  </a:lnTo>
                  <a:lnTo>
                    <a:pt x="462" y="330"/>
                  </a:lnTo>
                  <a:lnTo>
                    <a:pt x="461" y="330"/>
                  </a:lnTo>
                  <a:lnTo>
                    <a:pt x="459" y="332"/>
                  </a:lnTo>
                  <a:lnTo>
                    <a:pt x="457" y="334"/>
                  </a:lnTo>
                  <a:lnTo>
                    <a:pt x="457" y="335"/>
                  </a:lnTo>
                  <a:lnTo>
                    <a:pt x="456" y="337"/>
                  </a:lnTo>
                  <a:lnTo>
                    <a:pt x="454" y="339"/>
                  </a:lnTo>
                  <a:lnTo>
                    <a:pt x="452" y="339"/>
                  </a:lnTo>
                  <a:lnTo>
                    <a:pt x="451" y="340"/>
                  </a:lnTo>
                  <a:lnTo>
                    <a:pt x="449" y="342"/>
                  </a:lnTo>
                  <a:lnTo>
                    <a:pt x="449" y="344"/>
                  </a:lnTo>
                  <a:lnTo>
                    <a:pt x="449" y="345"/>
                  </a:lnTo>
                  <a:lnTo>
                    <a:pt x="447" y="344"/>
                  </a:lnTo>
                  <a:lnTo>
                    <a:pt x="447" y="345"/>
                  </a:lnTo>
                  <a:lnTo>
                    <a:pt x="447" y="347"/>
                  </a:lnTo>
                  <a:lnTo>
                    <a:pt x="447" y="345"/>
                  </a:lnTo>
                  <a:lnTo>
                    <a:pt x="445" y="349"/>
                  </a:lnTo>
                  <a:lnTo>
                    <a:pt x="444" y="349"/>
                  </a:lnTo>
                  <a:lnTo>
                    <a:pt x="442" y="351"/>
                  </a:lnTo>
                  <a:lnTo>
                    <a:pt x="442" y="352"/>
                  </a:lnTo>
                  <a:lnTo>
                    <a:pt x="440" y="352"/>
                  </a:lnTo>
                  <a:lnTo>
                    <a:pt x="440" y="354"/>
                  </a:lnTo>
                  <a:lnTo>
                    <a:pt x="439" y="354"/>
                  </a:lnTo>
                  <a:lnTo>
                    <a:pt x="437" y="356"/>
                  </a:lnTo>
                  <a:lnTo>
                    <a:pt x="437" y="357"/>
                  </a:lnTo>
                  <a:lnTo>
                    <a:pt x="435" y="359"/>
                  </a:lnTo>
                  <a:lnTo>
                    <a:pt x="434" y="361"/>
                  </a:lnTo>
                  <a:lnTo>
                    <a:pt x="434" y="364"/>
                  </a:lnTo>
                  <a:lnTo>
                    <a:pt x="432" y="364"/>
                  </a:lnTo>
                  <a:lnTo>
                    <a:pt x="432" y="366"/>
                  </a:lnTo>
                  <a:lnTo>
                    <a:pt x="432" y="368"/>
                  </a:lnTo>
                  <a:lnTo>
                    <a:pt x="430" y="366"/>
                  </a:lnTo>
                  <a:lnTo>
                    <a:pt x="428" y="368"/>
                  </a:lnTo>
                  <a:lnTo>
                    <a:pt x="427" y="371"/>
                  </a:lnTo>
                  <a:lnTo>
                    <a:pt x="425" y="373"/>
                  </a:lnTo>
                  <a:lnTo>
                    <a:pt x="425" y="376"/>
                  </a:lnTo>
                  <a:lnTo>
                    <a:pt x="425" y="378"/>
                  </a:lnTo>
                  <a:lnTo>
                    <a:pt x="423" y="378"/>
                  </a:lnTo>
                  <a:lnTo>
                    <a:pt x="425" y="380"/>
                  </a:lnTo>
                  <a:lnTo>
                    <a:pt x="423" y="378"/>
                  </a:lnTo>
                  <a:lnTo>
                    <a:pt x="423" y="380"/>
                  </a:lnTo>
                  <a:lnTo>
                    <a:pt x="425" y="381"/>
                  </a:lnTo>
                  <a:lnTo>
                    <a:pt x="423" y="381"/>
                  </a:lnTo>
                  <a:lnTo>
                    <a:pt x="423" y="385"/>
                  </a:lnTo>
                  <a:lnTo>
                    <a:pt x="423" y="386"/>
                  </a:lnTo>
                  <a:lnTo>
                    <a:pt x="423" y="388"/>
                  </a:lnTo>
                  <a:lnTo>
                    <a:pt x="425" y="391"/>
                  </a:lnTo>
                  <a:lnTo>
                    <a:pt x="425" y="395"/>
                  </a:lnTo>
                  <a:lnTo>
                    <a:pt x="427" y="398"/>
                  </a:lnTo>
                  <a:lnTo>
                    <a:pt x="425" y="400"/>
                  </a:lnTo>
                  <a:lnTo>
                    <a:pt x="425" y="402"/>
                  </a:lnTo>
                  <a:lnTo>
                    <a:pt x="425" y="403"/>
                  </a:lnTo>
                  <a:lnTo>
                    <a:pt x="427" y="405"/>
                  </a:lnTo>
                  <a:lnTo>
                    <a:pt x="427" y="408"/>
                  </a:lnTo>
                  <a:lnTo>
                    <a:pt x="427" y="410"/>
                  </a:lnTo>
                  <a:lnTo>
                    <a:pt x="428" y="412"/>
                  </a:lnTo>
                  <a:lnTo>
                    <a:pt x="428" y="414"/>
                  </a:lnTo>
                  <a:lnTo>
                    <a:pt x="428" y="415"/>
                  </a:lnTo>
                  <a:lnTo>
                    <a:pt x="430" y="417"/>
                  </a:lnTo>
                  <a:lnTo>
                    <a:pt x="432" y="417"/>
                  </a:lnTo>
                  <a:lnTo>
                    <a:pt x="432" y="419"/>
                  </a:lnTo>
                  <a:lnTo>
                    <a:pt x="434" y="422"/>
                  </a:lnTo>
                  <a:lnTo>
                    <a:pt x="435" y="422"/>
                  </a:lnTo>
                  <a:lnTo>
                    <a:pt x="437" y="424"/>
                  </a:lnTo>
                  <a:lnTo>
                    <a:pt x="439" y="424"/>
                  </a:lnTo>
                  <a:lnTo>
                    <a:pt x="442" y="425"/>
                  </a:lnTo>
                  <a:lnTo>
                    <a:pt x="442" y="427"/>
                  </a:lnTo>
                  <a:lnTo>
                    <a:pt x="444" y="427"/>
                  </a:lnTo>
                  <a:lnTo>
                    <a:pt x="445" y="427"/>
                  </a:lnTo>
                  <a:lnTo>
                    <a:pt x="445" y="429"/>
                  </a:lnTo>
                  <a:lnTo>
                    <a:pt x="445" y="431"/>
                  </a:lnTo>
                  <a:lnTo>
                    <a:pt x="447" y="432"/>
                  </a:lnTo>
                  <a:lnTo>
                    <a:pt x="447" y="434"/>
                  </a:lnTo>
                  <a:lnTo>
                    <a:pt x="445" y="434"/>
                  </a:lnTo>
                  <a:lnTo>
                    <a:pt x="444" y="436"/>
                  </a:lnTo>
                  <a:lnTo>
                    <a:pt x="442" y="437"/>
                  </a:lnTo>
                  <a:lnTo>
                    <a:pt x="440" y="437"/>
                  </a:lnTo>
                  <a:lnTo>
                    <a:pt x="439" y="437"/>
                  </a:lnTo>
                  <a:lnTo>
                    <a:pt x="437" y="439"/>
                  </a:lnTo>
                  <a:lnTo>
                    <a:pt x="439" y="441"/>
                  </a:lnTo>
                  <a:lnTo>
                    <a:pt x="437" y="439"/>
                  </a:lnTo>
                  <a:lnTo>
                    <a:pt x="435" y="441"/>
                  </a:lnTo>
                  <a:lnTo>
                    <a:pt x="434" y="439"/>
                  </a:lnTo>
                  <a:lnTo>
                    <a:pt x="432" y="441"/>
                  </a:lnTo>
                  <a:lnTo>
                    <a:pt x="430" y="442"/>
                  </a:lnTo>
                  <a:lnTo>
                    <a:pt x="430" y="444"/>
                  </a:lnTo>
                  <a:lnTo>
                    <a:pt x="428" y="446"/>
                  </a:lnTo>
                  <a:lnTo>
                    <a:pt x="427" y="446"/>
                  </a:lnTo>
                  <a:lnTo>
                    <a:pt x="423" y="446"/>
                  </a:lnTo>
                  <a:lnTo>
                    <a:pt x="422" y="446"/>
                  </a:lnTo>
                  <a:lnTo>
                    <a:pt x="420" y="448"/>
                  </a:lnTo>
                  <a:lnTo>
                    <a:pt x="417" y="448"/>
                  </a:lnTo>
                  <a:lnTo>
                    <a:pt x="415" y="448"/>
                  </a:lnTo>
                  <a:lnTo>
                    <a:pt x="411" y="449"/>
                  </a:lnTo>
                  <a:lnTo>
                    <a:pt x="411" y="451"/>
                  </a:lnTo>
                  <a:lnTo>
                    <a:pt x="410" y="451"/>
                  </a:lnTo>
                  <a:lnTo>
                    <a:pt x="408" y="453"/>
                  </a:lnTo>
                  <a:lnTo>
                    <a:pt x="408" y="456"/>
                  </a:lnTo>
                  <a:lnTo>
                    <a:pt x="406" y="456"/>
                  </a:lnTo>
                  <a:lnTo>
                    <a:pt x="405" y="456"/>
                  </a:lnTo>
                  <a:lnTo>
                    <a:pt x="403" y="458"/>
                  </a:lnTo>
                  <a:lnTo>
                    <a:pt x="403" y="456"/>
                  </a:lnTo>
                  <a:lnTo>
                    <a:pt x="403" y="458"/>
                  </a:lnTo>
                  <a:lnTo>
                    <a:pt x="401" y="458"/>
                  </a:lnTo>
                  <a:lnTo>
                    <a:pt x="401" y="459"/>
                  </a:lnTo>
                  <a:lnTo>
                    <a:pt x="401" y="461"/>
                  </a:lnTo>
                  <a:lnTo>
                    <a:pt x="401" y="463"/>
                  </a:lnTo>
                  <a:lnTo>
                    <a:pt x="401" y="465"/>
                  </a:lnTo>
                  <a:lnTo>
                    <a:pt x="401" y="466"/>
                  </a:lnTo>
                  <a:lnTo>
                    <a:pt x="400" y="468"/>
                  </a:lnTo>
                  <a:lnTo>
                    <a:pt x="396" y="466"/>
                  </a:lnTo>
                  <a:lnTo>
                    <a:pt x="394" y="468"/>
                  </a:lnTo>
                  <a:lnTo>
                    <a:pt x="393" y="470"/>
                  </a:lnTo>
                  <a:lnTo>
                    <a:pt x="393" y="471"/>
                  </a:lnTo>
                  <a:lnTo>
                    <a:pt x="391" y="473"/>
                  </a:lnTo>
                  <a:lnTo>
                    <a:pt x="391" y="476"/>
                  </a:lnTo>
                  <a:lnTo>
                    <a:pt x="391" y="478"/>
                  </a:lnTo>
                  <a:lnTo>
                    <a:pt x="391" y="480"/>
                  </a:lnTo>
                  <a:lnTo>
                    <a:pt x="389" y="480"/>
                  </a:lnTo>
                  <a:lnTo>
                    <a:pt x="388" y="482"/>
                  </a:lnTo>
                  <a:lnTo>
                    <a:pt x="389" y="482"/>
                  </a:lnTo>
                  <a:lnTo>
                    <a:pt x="388" y="482"/>
                  </a:lnTo>
                  <a:lnTo>
                    <a:pt x="386" y="483"/>
                  </a:lnTo>
                  <a:lnTo>
                    <a:pt x="386" y="485"/>
                  </a:lnTo>
                  <a:lnTo>
                    <a:pt x="384" y="487"/>
                  </a:lnTo>
                  <a:lnTo>
                    <a:pt x="383" y="488"/>
                  </a:lnTo>
                  <a:lnTo>
                    <a:pt x="383" y="490"/>
                  </a:lnTo>
                  <a:lnTo>
                    <a:pt x="383" y="492"/>
                  </a:lnTo>
                  <a:lnTo>
                    <a:pt x="383" y="493"/>
                  </a:lnTo>
                  <a:lnTo>
                    <a:pt x="381" y="492"/>
                  </a:lnTo>
                  <a:lnTo>
                    <a:pt x="379" y="492"/>
                  </a:lnTo>
                  <a:lnTo>
                    <a:pt x="379" y="493"/>
                  </a:lnTo>
                  <a:lnTo>
                    <a:pt x="377" y="495"/>
                  </a:lnTo>
                  <a:lnTo>
                    <a:pt x="376" y="497"/>
                  </a:lnTo>
                  <a:lnTo>
                    <a:pt x="376" y="499"/>
                  </a:lnTo>
                  <a:lnTo>
                    <a:pt x="377" y="502"/>
                  </a:lnTo>
                  <a:lnTo>
                    <a:pt x="379" y="502"/>
                  </a:lnTo>
                  <a:lnTo>
                    <a:pt x="381" y="504"/>
                  </a:lnTo>
                  <a:lnTo>
                    <a:pt x="381" y="505"/>
                  </a:lnTo>
                  <a:lnTo>
                    <a:pt x="383" y="504"/>
                  </a:lnTo>
                  <a:lnTo>
                    <a:pt x="384" y="505"/>
                  </a:lnTo>
                  <a:lnTo>
                    <a:pt x="383" y="507"/>
                  </a:lnTo>
                  <a:lnTo>
                    <a:pt x="381" y="507"/>
                  </a:lnTo>
                  <a:lnTo>
                    <a:pt x="379" y="507"/>
                  </a:lnTo>
                  <a:lnTo>
                    <a:pt x="376" y="509"/>
                  </a:lnTo>
                  <a:lnTo>
                    <a:pt x="374" y="507"/>
                  </a:lnTo>
                  <a:lnTo>
                    <a:pt x="372" y="509"/>
                  </a:lnTo>
                  <a:lnTo>
                    <a:pt x="371" y="509"/>
                  </a:lnTo>
                  <a:lnTo>
                    <a:pt x="369" y="509"/>
                  </a:lnTo>
                  <a:lnTo>
                    <a:pt x="367" y="509"/>
                  </a:lnTo>
                  <a:lnTo>
                    <a:pt x="367" y="507"/>
                  </a:lnTo>
                  <a:lnTo>
                    <a:pt x="369" y="507"/>
                  </a:lnTo>
                  <a:lnTo>
                    <a:pt x="367" y="507"/>
                  </a:lnTo>
                  <a:lnTo>
                    <a:pt x="367" y="505"/>
                  </a:lnTo>
                  <a:lnTo>
                    <a:pt x="367" y="507"/>
                  </a:lnTo>
                  <a:lnTo>
                    <a:pt x="366" y="505"/>
                  </a:lnTo>
                  <a:lnTo>
                    <a:pt x="366" y="507"/>
                  </a:lnTo>
                  <a:lnTo>
                    <a:pt x="362" y="505"/>
                  </a:lnTo>
                  <a:lnTo>
                    <a:pt x="360" y="507"/>
                  </a:lnTo>
                  <a:lnTo>
                    <a:pt x="359" y="507"/>
                  </a:lnTo>
                  <a:lnTo>
                    <a:pt x="359" y="509"/>
                  </a:lnTo>
                  <a:lnTo>
                    <a:pt x="357" y="507"/>
                  </a:lnTo>
                  <a:lnTo>
                    <a:pt x="357" y="505"/>
                  </a:lnTo>
                  <a:lnTo>
                    <a:pt x="354" y="505"/>
                  </a:lnTo>
                  <a:lnTo>
                    <a:pt x="352" y="505"/>
                  </a:lnTo>
                  <a:lnTo>
                    <a:pt x="350" y="505"/>
                  </a:lnTo>
                  <a:lnTo>
                    <a:pt x="349" y="505"/>
                  </a:lnTo>
                  <a:lnTo>
                    <a:pt x="347" y="505"/>
                  </a:lnTo>
                  <a:lnTo>
                    <a:pt x="344" y="507"/>
                  </a:lnTo>
                  <a:lnTo>
                    <a:pt x="344" y="509"/>
                  </a:lnTo>
                  <a:lnTo>
                    <a:pt x="342" y="509"/>
                  </a:lnTo>
                  <a:lnTo>
                    <a:pt x="340" y="509"/>
                  </a:lnTo>
                  <a:lnTo>
                    <a:pt x="338" y="510"/>
                  </a:lnTo>
                  <a:lnTo>
                    <a:pt x="337" y="514"/>
                  </a:lnTo>
                  <a:lnTo>
                    <a:pt x="335" y="512"/>
                  </a:lnTo>
                  <a:lnTo>
                    <a:pt x="333" y="514"/>
                  </a:lnTo>
                  <a:lnTo>
                    <a:pt x="332" y="514"/>
                  </a:lnTo>
                  <a:lnTo>
                    <a:pt x="328" y="516"/>
                  </a:lnTo>
                  <a:lnTo>
                    <a:pt x="327" y="517"/>
                  </a:lnTo>
                  <a:lnTo>
                    <a:pt x="327" y="516"/>
                  </a:lnTo>
                  <a:lnTo>
                    <a:pt x="325" y="517"/>
                  </a:lnTo>
                  <a:lnTo>
                    <a:pt x="323" y="519"/>
                  </a:lnTo>
                  <a:lnTo>
                    <a:pt x="321" y="521"/>
                  </a:lnTo>
                  <a:lnTo>
                    <a:pt x="320" y="522"/>
                  </a:lnTo>
                  <a:lnTo>
                    <a:pt x="318" y="524"/>
                  </a:lnTo>
                  <a:lnTo>
                    <a:pt x="316" y="526"/>
                  </a:lnTo>
                  <a:lnTo>
                    <a:pt x="316" y="528"/>
                  </a:lnTo>
                  <a:lnTo>
                    <a:pt x="315" y="528"/>
                  </a:lnTo>
                  <a:lnTo>
                    <a:pt x="315" y="529"/>
                  </a:lnTo>
                  <a:lnTo>
                    <a:pt x="315" y="533"/>
                  </a:lnTo>
                  <a:lnTo>
                    <a:pt x="313" y="533"/>
                  </a:lnTo>
                  <a:lnTo>
                    <a:pt x="313" y="536"/>
                  </a:lnTo>
                  <a:lnTo>
                    <a:pt x="311" y="538"/>
                  </a:lnTo>
                  <a:lnTo>
                    <a:pt x="310" y="539"/>
                  </a:lnTo>
                  <a:lnTo>
                    <a:pt x="308" y="541"/>
                  </a:lnTo>
                  <a:lnTo>
                    <a:pt x="308" y="543"/>
                  </a:lnTo>
                  <a:lnTo>
                    <a:pt x="306" y="545"/>
                  </a:lnTo>
                  <a:lnTo>
                    <a:pt x="304" y="546"/>
                  </a:lnTo>
                  <a:lnTo>
                    <a:pt x="303" y="546"/>
                  </a:lnTo>
                  <a:lnTo>
                    <a:pt x="301" y="548"/>
                  </a:lnTo>
                  <a:lnTo>
                    <a:pt x="301" y="550"/>
                  </a:lnTo>
                  <a:lnTo>
                    <a:pt x="299" y="550"/>
                  </a:lnTo>
                  <a:lnTo>
                    <a:pt x="298" y="551"/>
                  </a:lnTo>
                  <a:lnTo>
                    <a:pt x="298" y="555"/>
                  </a:lnTo>
                  <a:lnTo>
                    <a:pt x="294" y="555"/>
                  </a:lnTo>
                  <a:lnTo>
                    <a:pt x="293" y="556"/>
                  </a:lnTo>
                  <a:lnTo>
                    <a:pt x="291" y="556"/>
                  </a:lnTo>
                  <a:lnTo>
                    <a:pt x="289" y="556"/>
                  </a:lnTo>
                  <a:lnTo>
                    <a:pt x="287" y="556"/>
                  </a:lnTo>
                  <a:lnTo>
                    <a:pt x="287" y="555"/>
                  </a:lnTo>
                  <a:lnTo>
                    <a:pt x="287" y="553"/>
                  </a:lnTo>
                  <a:lnTo>
                    <a:pt x="286" y="551"/>
                  </a:lnTo>
                  <a:lnTo>
                    <a:pt x="286" y="550"/>
                  </a:lnTo>
                  <a:lnTo>
                    <a:pt x="284" y="550"/>
                  </a:lnTo>
                  <a:lnTo>
                    <a:pt x="282" y="548"/>
                  </a:lnTo>
                  <a:lnTo>
                    <a:pt x="281" y="546"/>
                  </a:lnTo>
                  <a:lnTo>
                    <a:pt x="277" y="546"/>
                  </a:lnTo>
                  <a:lnTo>
                    <a:pt x="277" y="548"/>
                  </a:lnTo>
                  <a:lnTo>
                    <a:pt x="276" y="546"/>
                  </a:lnTo>
                  <a:lnTo>
                    <a:pt x="274" y="546"/>
                  </a:lnTo>
                  <a:lnTo>
                    <a:pt x="272" y="546"/>
                  </a:lnTo>
                  <a:lnTo>
                    <a:pt x="270" y="546"/>
                  </a:lnTo>
                  <a:lnTo>
                    <a:pt x="269" y="546"/>
                  </a:lnTo>
                  <a:lnTo>
                    <a:pt x="267" y="546"/>
                  </a:lnTo>
                  <a:lnTo>
                    <a:pt x="267" y="548"/>
                  </a:lnTo>
                  <a:lnTo>
                    <a:pt x="265" y="551"/>
                  </a:lnTo>
                  <a:lnTo>
                    <a:pt x="264" y="553"/>
                  </a:lnTo>
                  <a:lnTo>
                    <a:pt x="262" y="553"/>
                  </a:lnTo>
                  <a:lnTo>
                    <a:pt x="259" y="555"/>
                  </a:lnTo>
                  <a:lnTo>
                    <a:pt x="255" y="553"/>
                  </a:lnTo>
                  <a:lnTo>
                    <a:pt x="253" y="551"/>
                  </a:lnTo>
                  <a:lnTo>
                    <a:pt x="250" y="551"/>
                  </a:lnTo>
                  <a:lnTo>
                    <a:pt x="250" y="550"/>
                  </a:lnTo>
                  <a:lnTo>
                    <a:pt x="248" y="548"/>
                  </a:lnTo>
                  <a:lnTo>
                    <a:pt x="247" y="548"/>
                  </a:lnTo>
                  <a:lnTo>
                    <a:pt x="243" y="548"/>
                  </a:lnTo>
                  <a:lnTo>
                    <a:pt x="242" y="546"/>
                  </a:lnTo>
                  <a:lnTo>
                    <a:pt x="238" y="546"/>
                  </a:lnTo>
                  <a:lnTo>
                    <a:pt x="236" y="545"/>
                  </a:lnTo>
                  <a:lnTo>
                    <a:pt x="233" y="545"/>
                  </a:lnTo>
                  <a:lnTo>
                    <a:pt x="231" y="545"/>
                  </a:lnTo>
                  <a:lnTo>
                    <a:pt x="228" y="543"/>
                  </a:lnTo>
                  <a:lnTo>
                    <a:pt x="225" y="545"/>
                  </a:lnTo>
                  <a:lnTo>
                    <a:pt x="223" y="545"/>
                  </a:lnTo>
                  <a:lnTo>
                    <a:pt x="221" y="545"/>
                  </a:lnTo>
                  <a:lnTo>
                    <a:pt x="219" y="545"/>
                  </a:lnTo>
                  <a:lnTo>
                    <a:pt x="218" y="546"/>
                  </a:lnTo>
                  <a:lnTo>
                    <a:pt x="216" y="546"/>
                  </a:lnTo>
                  <a:lnTo>
                    <a:pt x="214" y="545"/>
                  </a:lnTo>
                  <a:lnTo>
                    <a:pt x="213" y="543"/>
                  </a:lnTo>
                  <a:lnTo>
                    <a:pt x="211" y="543"/>
                  </a:lnTo>
                  <a:lnTo>
                    <a:pt x="209" y="543"/>
                  </a:lnTo>
                  <a:lnTo>
                    <a:pt x="209" y="541"/>
                  </a:lnTo>
                  <a:lnTo>
                    <a:pt x="208" y="541"/>
                  </a:lnTo>
                  <a:lnTo>
                    <a:pt x="206" y="539"/>
                  </a:lnTo>
                  <a:lnTo>
                    <a:pt x="204" y="541"/>
                  </a:lnTo>
                  <a:lnTo>
                    <a:pt x="202" y="539"/>
                  </a:lnTo>
                  <a:lnTo>
                    <a:pt x="201" y="541"/>
                  </a:lnTo>
                  <a:lnTo>
                    <a:pt x="201" y="539"/>
                  </a:lnTo>
                  <a:lnTo>
                    <a:pt x="199" y="539"/>
                  </a:lnTo>
                  <a:lnTo>
                    <a:pt x="197" y="538"/>
                  </a:lnTo>
                  <a:lnTo>
                    <a:pt x="196" y="538"/>
                  </a:lnTo>
                  <a:lnTo>
                    <a:pt x="192" y="538"/>
                  </a:lnTo>
                  <a:lnTo>
                    <a:pt x="191" y="538"/>
                  </a:lnTo>
                  <a:lnTo>
                    <a:pt x="189" y="538"/>
                  </a:lnTo>
                  <a:lnTo>
                    <a:pt x="185" y="536"/>
                  </a:lnTo>
                  <a:lnTo>
                    <a:pt x="184" y="536"/>
                  </a:lnTo>
                  <a:lnTo>
                    <a:pt x="182" y="534"/>
                  </a:lnTo>
                  <a:lnTo>
                    <a:pt x="180" y="536"/>
                  </a:lnTo>
                  <a:lnTo>
                    <a:pt x="177" y="536"/>
                  </a:lnTo>
                  <a:lnTo>
                    <a:pt x="175" y="536"/>
                  </a:lnTo>
                  <a:lnTo>
                    <a:pt x="174" y="536"/>
                  </a:lnTo>
                  <a:lnTo>
                    <a:pt x="172" y="536"/>
                  </a:lnTo>
                  <a:lnTo>
                    <a:pt x="168" y="534"/>
                  </a:lnTo>
                  <a:lnTo>
                    <a:pt x="167" y="534"/>
                  </a:lnTo>
                  <a:lnTo>
                    <a:pt x="165" y="534"/>
                  </a:lnTo>
                  <a:lnTo>
                    <a:pt x="163" y="533"/>
                  </a:lnTo>
                  <a:lnTo>
                    <a:pt x="162" y="534"/>
                  </a:lnTo>
                  <a:lnTo>
                    <a:pt x="162" y="533"/>
                  </a:lnTo>
                  <a:lnTo>
                    <a:pt x="162" y="534"/>
                  </a:lnTo>
                  <a:lnTo>
                    <a:pt x="160" y="534"/>
                  </a:lnTo>
                  <a:lnTo>
                    <a:pt x="160" y="536"/>
                  </a:lnTo>
                  <a:lnTo>
                    <a:pt x="158" y="536"/>
                  </a:lnTo>
                  <a:lnTo>
                    <a:pt x="157" y="538"/>
                  </a:lnTo>
                  <a:lnTo>
                    <a:pt x="155" y="541"/>
                  </a:lnTo>
                  <a:lnTo>
                    <a:pt x="153" y="541"/>
                  </a:lnTo>
                  <a:lnTo>
                    <a:pt x="150" y="541"/>
                  </a:lnTo>
                  <a:lnTo>
                    <a:pt x="150" y="543"/>
                  </a:lnTo>
                  <a:lnTo>
                    <a:pt x="148" y="543"/>
                  </a:lnTo>
                  <a:lnTo>
                    <a:pt x="146" y="546"/>
                  </a:lnTo>
                  <a:lnTo>
                    <a:pt x="145" y="546"/>
                  </a:lnTo>
                  <a:lnTo>
                    <a:pt x="143" y="546"/>
                  </a:lnTo>
                  <a:lnTo>
                    <a:pt x="140" y="546"/>
                  </a:lnTo>
                  <a:lnTo>
                    <a:pt x="138" y="546"/>
                  </a:lnTo>
                  <a:lnTo>
                    <a:pt x="136" y="545"/>
                  </a:lnTo>
                  <a:lnTo>
                    <a:pt x="133" y="543"/>
                  </a:lnTo>
                  <a:lnTo>
                    <a:pt x="131" y="543"/>
                  </a:lnTo>
                  <a:lnTo>
                    <a:pt x="129" y="543"/>
                  </a:lnTo>
                  <a:lnTo>
                    <a:pt x="128" y="543"/>
                  </a:lnTo>
                  <a:lnTo>
                    <a:pt x="126" y="543"/>
                  </a:lnTo>
                  <a:lnTo>
                    <a:pt x="124" y="545"/>
                  </a:lnTo>
                  <a:lnTo>
                    <a:pt x="123" y="545"/>
                  </a:lnTo>
                  <a:lnTo>
                    <a:pt x="121" y="545"/>
                  </a:lnTo>
                  <a:lnTo>
                    <a:pt x="117" y="545"/>
                  </a:lnTo>
                  <a:lnTo>
                    <a:pt x="116" y="545"/>
                  </a:lnTo>
                  <a:lnTo>
                    <a:pt x="116" y="546"/>
                  </a:lnTo>
                  <a:lnTo>
                    <a:pt x="114" y="546"/>
                  </a:lnTo>
                  <a:lnTo>
                    <a:pt x="112" y="548"/>
                  </a:lnTo>
                  <a:lnTo>
                    <a:pt x="111" y="548"/>
                  </a:lnTo>
                  <a:lnTo>
                    <a:pt x="111" y="550"/>
                  </a:lnTo>
                  <a:lnTo>
                    <a:pt x="109" y="550"/>
                  </a:lnTo>
                  <a:lnTo>
                    <a:pt x="109" y="553"/>
                  </a:lnTo>
                  <a:lnTo>
                    <a:pt x="106" y="553"/>
                  </a:lnTo>
                  <a:lnTo>
                    <a:pt x="104" y="556"/>
                  </a:lnTo>
                  <a:lnTo>
                    <a:pt x="102" y="560"/>
                  </a:lnTo>
                  <a:lnTo>
                    <a:pt x="100" y="562"/>
                  </a:lnTo>
                  <a:lnTo>
                    <a:pt x="99" y="560"/>
                  </a:lnTo>
                  <a:lnTo>
                    <a:pt x="97" y="560"/>
                  </a:lnTo>
                  <a:lnTo>
                    <a:pt x="95" y="560"/>
                  </a:lnTo>
                  <a:lnTo>
                    <a:pt x="95" y="562"/>
                  </a:lnTo>
                  <a:lnTo>
                    <a:pt x="94" y="563"/>
                  </a:lnTo>
                  <a:lnTo>
                    <a:pt x="95" y="562"/>
                  </a:lnTo>
                  <a:lnTo>
                    <a:pt x="94" y="563"/>
                  </a:lnTo>
                  <a:lnTo>
                    <a:pt x="95" y="563"/>
                  </a:lnTo>
                  <a:lnTo>
                    <a:pt x="94" y="563"/>
                  </a:lnTo>
                  <a:lnTo>
                    <a:pt x="95" y="565"/>
                  </a:lnTo>
                  <a:lnTo>
                    <a:pt x="94" y="565"/>
                  </a:lnTo>
                  <a:lnTo>
                    <a:pt x="94" y="567"/>
                  </a:lnTo>
                  <a:lnTo>
                    <a:pt x="94" y="568"/>
                  </a:lnTo>
                  <a:lnTo>
                    <a:pt x="90" y="567"/>
                  </a:lnTo>
                  <a:lnTo>
                    <a:pt x="89" y="568"/>
                  </a:lnTo>
                  <a:lnTo>
                    <a:pt x="87" y="568"/>
                  </a:lnTo>
                  <a:lnTo>
                    <a:pt x="85" y="568"/>
                  </a:lnTo>
                  <a:lnTo>
                    <a:pt x="83" y="568"/>
                  </a:lnTo>
                  <a:lnTo>
                    <a:pt x="83" y="570"/>
                  </a:lnTo>
                  <a:lnTo>
                    <a:pt x="83" y="568"/>
                  </a:lnTo>
                  <a:lnTo>
                    <a:pt x="82" y="565"/>
                  </a:lnTo>
                  <a:lnTo>
                    <a:pt x="80" y="563"/>
                  </a:lnTo>
                  <a:lnTo>
                    <a:pt x="77" y="563"/>
                  </a:lnTo>
                  <a:lnTo>
                    <a:pt x="75" y="562"/>
                  </a:lnTo>
                  <a:lnTo>
                    <a:pt x="73" y="562"/>
                  </a:lnTo>
                  <a:lnTo>
                    <a:pt x="73" y="560"/>
                  </a:lnTo>
                  <a:lnTo>
                    <a:pt x="72" y="560"/>
                  </a:lnTo>
                  <a:lnTo>
                    <a:pt x="72" y="556"/>
                  </a:lnTo>
                  <a:lnTo>
                    <a:pt x="70" y="555"/>
                  </a:lnTo>
                  <a:lnTo>
                    <a:pt x="68" y="553"/>
                  </a:lnTo>
                  <a:lnTo>
                    <a:pt x="66" y="553"/>
                  </a:lnTo>
                  <a:lnTo>
                    <a:pt x="65" y="553"/>
                  </a:lnTo>
                  <a:lnTo>
                    <a:pt x="63" y="551"/>
                  </a:lnTo>
                  <a:lnTo>
                    <a:pt x="61" y="551"/>
                  </a:lnTo>
                  <a:lnTo>
                    <a:pt x="61" y="550"/>
                  </a:lnTo>
                  <a:lnTo>
                    <a:pt x="60" y="546"/>
                  </a:lnTo>
                  <a:lnTo>
                    <a:pt x="60" y="545"/>
                  </a:lnTo>
                  <a:lnTo>
                    <a:pt x="60" y="543"/>
                  </a:lnTo>
                  <a:lnTo>
                    <a:pt x="56" y="541"/>
                  </a:lnTo>
                  <a:lnTo>
                    <a:pt x="56" y="538"/>
                  </a:lnTo>
                  <a:lnTo>
                    <a:pt x="56" y="536"/>
                  </a:lnTo>
                  <a:lnTo>
                    <a:pt x="55" y="534"/>
                  </a:lnTo>
                  <a:lnTo>
                    <a:pt x="55" y="533"/>
                  </a:lnTo>
                  <a:lnTo>
                    <a:pt x="55" y="531"/>
                  </a:lnTo>
                  <a:lnTo>
                    <a:pt x="53" y="529"/>
                  </a:lnTo>
                  <a:lnTo>
                    <a:pt x="53" y="528"/>
                  </a:lnTo>
                  <a:lnTo>
                    <a:pt x="53" y="526"/>
                  </a:lnTo>
                  <a:lnTo>
                    <a:pt x="53" y="524"/>
                  </a:lnTo>
                  <a:lnTo>
                    <a:pt x="51" y="524"/>
                  </a:lnTo>
                  <a:lnTo>
                    <a:pt x="53" y="522"/>
                  </a:lnTo>
                  <a:lnTo>
                    <a:pt x="53" y="524"/>
                  </a:lnTo>
                  <a:lnTo>
                    <a:pt x="55" y="526"/>
                  </a:lnTo>
                  <a:lnTo>
                    <a:pt x="53" y="528"/>
                  </a:lnTo>
                  <a:lnTo>
                    <a:pt x="55" y="529"/>
                  </a:lnTo>
                  <a:lnTo>
                    <a:pt x="58" y="528"/>
                  </a:lnTo>
                  <a:lnTo>
                    <a:pt x="60" y="526"/>
                  </a:lnTo>
                  <a:lnTo>
                    <a:pt x="58" y="524"/>
                  </a:lnTo>
                  <a:lnTo>
                    <a:pt x="56" y="526"/>
                  </a:lnTo>
                  <a:lnTo>
                    <a:pt x="55" y="526"/>
                  </a:lnTo>
                  <a:lnTo>
                    <a:pt x="55" y="524"/>
                  </a:lnTo>
                  <a:lnTo>
                    <a:pt x="56" y="524"/>
                  </a:lnTo>
                  <a:lnTo>
                    <a:pt x="56" y="522"/>
                  </a:lnTo>
                  <a:lnTo>
                    <a:pt x="56" y="521"/>
                  </a:lnTo>
                  <a:lnTo>
                    <a:pt x="55" y="521"/>
                  </a:lnTo>
                  <a:lnTo>
                    <a:pt x="53" y="517"/>
                  </a:lnTo>
                  <a:lnTo>
                    <a:pt x="51" y="516"/>
                  </a:lnTo>
                  <a:lnTo>
                    <a:pt x="51" y="517"/>
                  </a:lnTo>
                  <a:lnTo>
                    <a:pt x="51" y="516"/>
                  </a:lnTo>
                  <a:lnTo>
                    <a:pt x="51" y="517"/>
                  </a:lnTo>
                  <a:lnTo>
                    <a:pt x="48" y="516"/>
                  </a:lnTo>
                  <a:lnTo>
                    <a:pt x="48" y="512"/>
                  </a:lnTo>
                  <a:lnTo>
                    <a:pt x="48" y="510"/>
                  </a:lnTo>
                  <a:lnTo>
                    <a:pt x="48" y="509"/>
                  </a:lnTo>
                  <a:lnTo>
                    <a:pt x="48" y="507"/>
                  </a:lnTo>
                  <a:lnTo>
                    <a:pt x="49" y="507"/>
                  </a:lnTo>
                  <a:lnTo>
                    <a:pt x="49" y="505"/>
                  </a:lnTo>
                  <a:lnTo>
                    <a:pt x="51" y="505"/>
                  </a:lnTo>
                  <a:lnTo>
                    <a:pt x="53" y="504"/>
                  </a:lnTo>
                  <a:lnTo>
                    <a:pt x="55" y="504"/>
                  </a:lnTo>
                  <a:lnTo>
                    <a:pt x="53" y="504"/>
                  </a:lnTo>
                  <a:lnTo>
                    <a:pt x="51" y="502"/>
                  </a:lnTo>
                  <a:lnTo>
                    <a:pt x="51" y="500"/>
                  </a:lnTo>
                  <a:lnTo>
                    <a:pt x="51" y="499"/>
                  </a:lnTo>
                  <a:lnTo>
                    <a:pt x="49" y="495"/>
                  </a:lnTo>
                  <a:lnTo>
                    <a:pt x="49" y="493"/>
                  </a:lnTo>
                  <a:lnTo>
                    <a:pt x="48" y="490"/>
                  </a:lnTo>
                  <a:lnTo>
                    <a:pt x="46" y="488"/>
                  </a:lnTo>
                  <a:lnTo>
                    <a:pt x="44" y="487"/>
                  </a:lnTo>
                  <a:lnTo>
                    <a:pt x="44" y="485"/>
                  </a:lnTo>
                  <a:lnTo>
                    <a:pt x="43" y="483"/>
                  </a:lnTo>
                  <a:lnTo>
                    <a:pt x="39" y="482"/>
                  </a:lnTo>
                  <a:lnTo>
                    <a:pt x="39" y="480"/>
                  </a:lnTo>
                  <a:lnTo>
                    <a:pt x="38" y="478"/>
                  </a:lnTo>
                  <a:lnTo>
                    <a:pt x="36" y="476"/>
                  </a:lnTo>
                  <a:lnTo>
                    <a:pt x="34" y="476"/>
                  </a:lnTo>
                  <a:lnTo>
                    <a:pt x="32" y="475"/>
                  </a:lnTo>
                  <a:lnTo>
                    <a:pt x="29" y="471"/>
                  </a:lnTo>
                  <a:lnTo>
                    <a:pt x="27" y="470"/>
                  </a:lnTo>
                  <a:lnTo>
                    <a:pt x="27" y="468"/>
                  </a:lnTo>
                  <a:lnTo>
                    <a:pt x="29" y="468"/>
                  </a:lnTo>
                  <a:lnTo>
                    <a:pt x="27" y="466"/>
                  </a:lnTo>
                  <a:lnTo>
                    <a:pt x="29" y="465"/>
                  </a:lnTo>
                  <a:lnTo>
                    <a:pt x="31" y="465"/>
                  </a:lnTo>
                  <a:lnTo>
                    <a:pt x="32" y="463"/>
                  </a:lnTo>
                  <a:lnTo>
                    <a:pt x="34" y="463"/>
                  </a:lnTo>
                  <a:lnTo>
                    <a:pt x="34" y="461"/>
                  </a:lnTo>
                  <a:lnTo>
                    <a:pt x="32" y="461"/>
                  </a:lnTo>
                  <a:lnTo>
                    <a:pt x="31" y="463"/>
                  </a:lnTo>
                  <a:lnTo>
                    <a:pt x="32" y="463"/>
                  </a:lnTo>
                  <a:lnTo>
                    <a:pt x="31" y="465"/>
                  </a:lnTo>
                  <a:lnTo>
                    <a:pt x="31" y="463"/>
                  </a:lnTo>
                  <a:lnTo>
                    <a:pt x="31" y="465"/>
                  </a:lnTo>
                  <a:lnTo>
                    <a:pt x="29" y="465"/>
                  </a:lnTo>
                  <a:lnTo>
                    <a:pt x="29" y="466"/>
                  </a:lnTo>
                  <a:lnTo>
                    <a:pt x="27" y="466"/>
                  </a:lnTo>
                  <a:lnTo>
                    <a:pt x="27" y="463"/>
                  </a:lnTo>
                  <a:lnTo>
                    <a:pt x="26" y="463"/>
                  </a:lnTo>
                  <a:lnTo>
                    <a:pt x="24" y="465"/>
                  </a:lnTo>
                  <a:lnTo>
                    <a:pt x="26" y="466"/>
                  </a:lnTo>
                  <a:lnTo>
                    <a:pt x="24" y="465"/>
                  </a:lnTo>
                  <a:lnTo>
                    <a:pt x="22" y="465"/>
                  </a:lnTo>
                  <a:lnTo>
                    <a:pt x="22" y="466"/>
                  </a:lnTo>
                  <a:lnTo>
                    <a:pt x="24" y="465"/>
                  </a:lnTo>
                  <a:lnTo>
                    <a:pt x="26" y="466"/>
                  </a:lnTo>
                  <a:lnTo>
                    <a:pt x="26" y="468"/>
                  </a:lnTo>
                  <a:lnTo>
                    <a:pt x="26" y="470"/>
                  </a:lnTo>
                  <a:lnTo>
                    <a:pt x="24" y="468"/>
                  </a:lnTo>
                  <a:lnTo>
                    <a:pt x="22" y="466"/>
                  </a:lnTo>
                  <a:lnTo>
                    <a:pt x="21" y="466"/>
                  </a:lnTo>
                  <a:lnTo>
                    <a:pt x="19" y="465"/>
                  </a:lnTo>
                  <a:lnTo>
                    <a:pt x="17" y="465"/>
                  </a:lnTo>
                  <a:lnTo>
                    <a:pt x="17" y="463"/>
                  </a:lnTo>
                  <a:lnTo>
                    <a:pt x="15" y="463"/>
                  </a:lnTo>
                  <a:lnTo>
                    <a:pt x="17" y="463"/>
                  </a:lnTo>
                  <a:lnTo>
                    <a:pt x="15" y="461"/>
                  </a:lnTo>
                  <a:lnTo>
                    <a:pt x="15" y="463"/>
                  </a:lnTo>
                  <a:lnTo>
                    <a:pt x="15" y="459"/>
                  </a:lnTo>
                  <a:lnTo>
                    <a:pt x="17" y="459"/>
                  </a:lnTo>
                  <a:lnTo>
                    <a:pt x="15" y="459"/>
                  </a:lnTo>
                  <a:lnTo>
                    <a:pt x="15" y="458"/>
                  </a:lnTo>
                  <a:lnTo>
                    <a:pt x="15" y="461"/>
                  </a:lnTo>
                  <a:lnTo>
                    <a:pt x="14" y="461"/>
                  </a:lnTo>
                  <a:lnTo>
                    <a:pt x="14" y="463"/>
                  </a:lnTo>
                  <a:lnTo>
                    <a:pt x="15" y="465"/>
                  </a:lnTo>
                  <a:lnTo>
                    <a:pt x="17" y="465"/>
                  </a:lnTo>
                  <a:lnTo>
                    <a:pt x="19" y="465"/>
                  </a:lnTo>
                  <a:lnTo>
                    <a:pt x="21" y="466"/>
                  </a:lnTo>
                  <a:lnTo>
                    <a:pt x="19" y="465"/>
                  </a:lnTo>
                  <a:lnTo>
                    <a:pt x="17" y="465"/>
                  </a:lnTo>
                  <a:lnTo>
                    <a:pt x="15" y="465"/>
                  </a:lnTo>
                  <a:lnTo>
                    <a:pt x="14" y="465"/>
                  </a:lnTo>
                  <a:lnTo>
                    <a:pt x="12" y="465"/>
                  </a:lnTo>
                  <a:lnTo>
                    <a:pt x="12" y="463"/>
                  </a:lnTo>
                  <a:lnTo>
                    <a:pt x="9" y="463"/>
                  </a:lnTo>
                  <a:lnTo>
                    <a:pt x="7" y="463"/>
                  </a:lnTo>
                  <a:lnTo>
                    <a:pt x="5" y="463"/>
                  </a:lnTo>
                  <a:lnTo>
                    <a:pt x="5" y="461"/>
                  </a:lnTo>
                  <a:lnTo>
                    <a:pt x="7" y="463"/>
                  </a:lnTo>
                  <a:lnTo>
                    <a:pt x="9" y="461"/>
                  </a:lnTo>
                  <a:lnTo>
                    <a:pt x="5" y="461"/>
                  </a:lnTo>
                  <a:lnTo>
                    <a:pt x="4" y="461"/>
                  </a:lnTo>
                  <a:lnTo>
                    <a:pt x="2" y="461"/>
                  </a:lnTo>
                  <a:lnTo>
                    <a:pt x="0" y="461"/>
                  </a:lnTo>
                  <a:lnTo>
                    <a:pt x="0" y="458"/>
                  </a:lnTo>
                  <a:lnTo>
                    <a:pt x="2" y="456"/>
                  </a:lnTo>
                  <a:lnTo>
                    <a:pt x="0" y="453"/>
                  </a:lnTo>
                  <a:lnTo>
                    <a:pt x="2" y="451"/>
                  </a:lnTo>
                  <a:lnTo>
                    <a:pt x="2" y="449"/>
                  </a:lnTo>
                  <a:lnTo>
                    <a:pt x="2" y="448"/>
                  </a:lnTo>
                  <a:lnTo>
                    <a:pt x="2" y="446"/>
                  </a:lnTo>
                  <a:lnTo>
                    <a:pt x="2" y="444"/>
                  </a:lnTo>
                  <a:lnTo>
                    <a:pt x="2" y="441"/>
                  </a:lnTo>
                  <a:lnTo>
                    <a:pt x="2" y="437"/>
                  </a:lnTo>
                  <a:lnTo>
                    <a:pt x="0" y="437"/>
                  </a:lnTo>
                  <a:lnTo>
                    <a:pt x="0" y="436"/>
                  </a:lnTo>
                  <a:lnTo>
                    <a:pt x="2" y="436"/>
                  </a:lnTo>
                  <a:lnTo>
                    <a:pt x="2" y="434"/>
                  </a:lnTo>
                  <a:lnTo>
                    <a:pt x="2" y="432"/>
                  </a:lnTo>
                  <a:lnTo>
                    <a:pt x="4" y="432"/>
                  </a:lnTo>
                  <a:lnTo>
                    <a:pt x="5" y="431"/>
                  </a:lnTo>
                  <a:lnTo>
                    <a:pt x="5" y="429"/>
                  </a:lnTo>
                  <a:lnTo>
                    <a:pt x="7" y="429"/>
                  </a:lnTo>
                  <a:lnTo>
                    <a:pt x="7" y="425"/>
                  </a:lnTo>
                  <a:lnTo>
                    <a:pt x="9" y="424"/>
                  </a:lnTo>
                  <a:lnTo>
                    <a:pt x="10" y="424"/>
                  </a:lnTo>
                  <a:lnTo>
                    <a:pt x="10" y="422"/>
                  </a:lnTo>
                  <a:lnTo>
                    <a:pt x="14" y="420"/>
                  </a:lnTo>
                  <a:lnTo>
                    <a:pt x="15" y="419"/>
                  </a:lnTo>
                  <a:lnTo>
                    <a:pt x="17" y="417"/>
                  </a:lnTo>
                  <a:lnTo>
                    <a:pt x="19" y="417"/>
                  </a:lnTo>
                  <a:lnTo>
                    <a:pt x="19" y="415"/>
                  </a:lnTo>
                  <a:lnTo>
                    <a:pt x="21" y="414"/>
                  </a:lnTo>
                  <a:lnTo>
                    <a:pt x="22" y="414"/>
                  </a:lnTo>
                  <a:lnTo>
                    <a:pt x="22" y="410"/>
                  </a:lnTo>
                  <a:lnTo>
                    <a:pt x="22" y="408"/>
                  </a:lnTo>
                  <a:lnTo>
                    <a:pt x="24" y="408"/>
                  </a:lnTo>
                  <a:lnTo>
                    <a:pt x="26" y="408"/>
                  </a:lnTo>
                  <a:lnTo>
                    <a:pt x="27" y="408"/>
                  </a:lnTo>
                  <a:lnTo>
                    <a:pt x="31" y="408"/>
                  </a:lnTo>
                  <a:lnTo>
                    <a:pt x="31" y="407"/>
                  </a:lnTo>
                  <a:lnTo>
                    <a:pt x="32" y="407"/>
                  </a:lnTo>
                  <a:lnTo>
                    <a:pt x="34" y="407"/>
                  </a:lnTo>
                  <a:lnTo>
                    <a:pt x="34" y="408"/>
                  </a:lnTo>
                  <a:lnTo>
                    <a:pt x="38" y="408"/>
                  </a:lnTo>
                  <a:lnTo>
                    <a:pt x="39" y="407"/>
                  </a:lnTo>
                  <a:lnTo>
                    <a:pt x="39" y="405"/>
                  </a:lnTo>
                  <a:lnTo>
                    <a:pt x="39" y="403"/>
                  </a:lnTo>
                  <a:lnTo>
                    <a:pt x="41" y="403"/>
                  </a:lnTo>
                  <a:lnTo>
                    <a:pt x="43" y="400"/>
                  </a:lnTo>
                  <a:lnTo>
                    <a:pt x="41" y="400"/>
                  </a:lnTo>
                  <a:lnTo>
                    <a:pt x="44" y="398"/>
                  </a:lnTo>
                  <a:lnTo>
                    <a:pt x="44" y="397"/>
                  </a:lnTo>
                  <a:lnTo>
                    <a:pt x="43" y="397"/>
                  </a:lnTo>
                  <a:lnTo>
                    <a:pt x="39" y="397"/>
                  </a:lnTo>
                  <a:lnTo>
                    <a:pt x="39" y="398"/>
                  </a:lnTo>
                  <a:lnTo>
                    <a:pt x="36" y="397"/>
                  </a:lnTo>
                  <a:lnTo>
                    <a:pt x="36" y="398"/>
                  </a:lnTo>
                  <a:lnTo>
                    <a:pt x="34" y="397"/>
                  </a:lnTo>
                  <a:lnTo>
                    <a:pt x="34" y="395"/>
                  </a:lnTo>
                  <a:lnTo>
                    <a:pt x="34" y="393"/>
                  </a:lnTo>
                  <a:lnTo>
                    <a:pt x="34" y="390"/>
                  </a:lnTo>
                  <a:lnTo>
                    <a:pt x="32" y="390"/>
                  </a:lnTo>
                  <a:lnTo>
                    <a:pt x="32" y="388"/>
                  </a:lnTo>
                  <a:lnTo>
                    <a:pt x="31" y="385"/>
                  </a:lnTo>
                  <a:lnTo>
                    <a:pt x="29" y="381"/>
                  </a:lnTo>
                  <a:lnTo>
                    <a:pt x="29" y="380"/>
                  </a:lnTo>
                  <a:lnTo>
                    <a:pt x="29" y="378"/>
                  </a:lnTo>
                  <a:lnTo>
                    <a:pt x="27" y="376"/>
                  </a:lnTo>
                  <a:lnTo>
                    <a:pt x="26" y="376"/>
                  </a:lnTo>
                  <a:lnTo>
                    <a:pt x="29" y="374"/>
                  </a:lnTo>
                  <a:lnTo>
                    <a:pt x="29" y="373"/>
                  </a:lnTo>
                  <a:lnTo>
                    <a:pt x="27" y="373"/>
                  </a:lnTo>
                  <a:lnTo>
                    <a:pt x="29" y="371"/>
                  </a:lnTo>
                  <a:lnTo>
                    <a:pt x="29" y="369"/>
                  </a:lnTo>
                  <a:lnTo>
                    <a:pt x="31" y="366"/>
                  </a:lnTo>
                  <a:lnTo>
                    <a:pt x="32" y="366"/>
                  </a:lnTo>
                  <a:lnTo>
                    <a:pt x="34" y="364"/>
                  </a:lnTo>
                  <a:lnTo>
                    <a:pt x="32" y="362"/>
                  </a:lnTo>
                  <a:lnTo>
                    <a:pt x="34" y="359"/>
                  </a:lnTo>
                  <a:lnTo>
                    <a:pt x="34" y="357"/>
                  </a:lnTo>
                  <a:lnTo>
                    <a:pt x="36" y="357"/>
                  </a:lnTo>
                  <a:lnTo>
                    <a:pt x="38" y="356"/>
                  </a:lnTo>
                  <a:lnTo>
                    <a:pt x="39" y="354"/>
                  </a:lnTo>
                  <a:lnTo>
                    <a:pt x="41" y="354"/>
                  </a:lnTo>
                  <a:lnTo>
                    <a:pt x="44" y="352"/>
                  </a:lnTo>
                  <a:lnTo>
                    <a:pt x="46" y="352"/>
                  </a:lnTo>
                  <a:lnTo>
                    <a:pt x="48" y="351"/>
                  </a:lnTo>
                  <a:lnTo>
                    <a:pt x="49" y="349"/>
                  </a:lnTo>
                  <a:lnTo>
                    <a:pt x="49" y="347"/>
                  </a:lnTo>
                  <a:lnTo>
                    <a:pt x="51" y="345"/>
                  </a:lnTo>
                  <a:lnTo>
                    <a:pt x="55" y="342"/>
                  </a:lnTo>
                  <a:lnTo>
                    <a:pt x="56" y="340"/>
                  </a:lnTo>
                  <a:lnTo>
                    <a:pt x="56" y="337"/>
                  </a:lnTo>
                  <a:lnTo>
                    <a:pt x="56" y="335"/>
                  </a:lnTo>
                  <a:lnTo>
                    <a:pt x="56" y="334"/>
                  </a:lnTo>
                  <a:lnTo>
                    <a:pt x="55" y="332"/>
                  </a:lnTo>
                  <a:lnTo>
                    <a:pt x="53" y="332"/>
                  </a:lnTo>
                  <a:lnTo>
                    <a:pt x="51" y="332"/>
                  </a:lnTo>
                  <a:lnTo>
                    <a:pt x="49" y="332"/>
                  </a:lnTo>
                  <a:lnTo>
                    <a:pt x="48" y="332"/>
                  </a:lnTo>
                  <a:lnTo>
                    <a:pt x="48" y="330"/>
                  </a:lnTo>
                  <a:lnTo>
                    <a:pt x="49" y="328"/>
                  </a:lnTo>
                  <a:lnTo>
                    <a:pt x="49" y="327"/>
                  </a:lnTo>
                  <a:lnTo>
                    <a:pt x="46" y="325"/>
                  </a:lnTo>
                  <a:lnTo>
                    <a:pt x="44" y="323"/>
                  </a:lnTo>
                  <a:lnTo>
                    <a:pt x="44" y="320"/>
                  </a:lnTo>
                  <a:lnTo>
                    <a:pt x="46" y="318"/>
                  </a:lnTo>
                  <a:lnTo>
                    <a:pt x="44" y="317"/>
                  </a:lnTo>
                  <a:lnTo>
                    <a:pt x="44" y="315"/>
                  </a:lnTo>
                  <a:lnTo>
                    <a:pt x="43" y="313"/>
                  </a:lnTo>
                  <a:lnTo>
                    <a:pt x="43" y="311"/>
                  </a:lnTo>
                  <a:lnTo>
                    <a:pt x="43" y="310"/>
                  </a:lnTo>
                  <a:lnTo>
                    <a:pt x="44" y="308"/>
                  </a:lnTo>
                  <a:lnTo>
                    <a:pt x="44" y="306"/>
                  </a:lnTo>
                  <a:lnTo>
                    <a:pt x="46" y="305"/>
                  </a:lnTo>
                  <a:lnTo>
                    <a:pt x="43" y="303"/>
                  </a:lnTo>
                  <a:lnTo>
                    <a:pt x="41" y="301"/>
                  </a:lnTo>
                  <a:lnTo>
                    <a:pt x="43" y="300"/>
                  </a:lnTo>
                  <a:lnTo>
                    <a:pt x="39" y="298"/>
                  </a:lnTo>
                  <a:lnTo>
                    <a:pt x="39" y="296"/>
                  </a:lnTo>
                  <a:lnTo>
                    <a:pt x="39" y="294"/>
                  </a:lnTo>
                  <a:lnTo>
                    <a:pt x="38" y="293"/>
                  </a:lnTo>
                  <a:lnTo>
                    <a:pt x="38" y="291"/>
                  </a:lnTo>
                  <a:lnTo>
                    <a:pt x="36" y="289"/>
                  </a:lnTo>
                  <a:lnTo>
                    <a:pt x="36" y="288"/>
                  </a:lnTo>
                  <a:lnTo>
                    <a:pt x="39" y="288"/>
                  </a:lnTo>
                  <a:lnTo>
                    <a:pt x="41" y="289"/>
                  </a:lnTo>
                  <a:lnTo>
                    <a:pt x="43" y="291"/>
                  </a:lnTo>
                  <a:lnTo>
                    <a:pt x="44" y="291"/>
                  </a:lnTo>
                  <a:lnTo>
                    <a:pt x="46" y="291"/>
                  </a:lnTo>
                  <a:lnTo>
                    <a:pt x="49" y="291"/>
                  </a:lnTo>
                  <a:lnTo>
                    <a:pt x="51" y="291"/>
                  </a:lnTo>
                  <a:lnTo>
                    <a:pt x="55" y="293"/>
                  </a:lnTo>
                  <a:lnTo>
                    <a:pt x="56" y="293"/>
                  </a:lnTo>
                  <a:lnTo>
                    <a:pt x="58" y="293"/>
                  </a:lnTo>
                  <a:lnTo>
                    <a:pt x="61" y="294"/>
                  </a:lnTo>
                  <a:lnTo>
                    <a:pt x="65" y="294"/>
                  </a:lnTo>
                  <a:lnTo>
                    <a:pt x="65" y="293"/>
                  </a:lnTo>
                  <a:lnTo>
                    <a:pt x="66" y="291"/>
                  </a:lnTo>
                  <a:lnTo>
                    <a:pt x="68" y="288"/>
                  </a:lnTo>
                  <a:lnTo>
                    <a:pt x="68" y="284"/>
                  </a:lnTo>
                  <a:lnTo>
                    <a:pt x="70" y="284"/>
                  </a:lnTo>
                  <a:lnTo>
                    <a:pt x="72" y="283"/>
                  </a:lnTo>
                  <a:lnTo>
                    <a:pt x="73" y="281"/>
                  </a:lnTo>
                  <a:lnTo>
                    <a:pt x="75" y="279"/>
                  </a:lnTo>
                  <a:lnTo>
                    <a:pt x="75" y="277"/>
                  </a:lnTo>
                  <a:lnTo>
                    <a:pt x="77" y="277"/>
                  </a:lnTo>
                  <a:lnTo>
                    <a:pt x="77" y="274"/>
                  </a:lnTo>
                  <a:lnTo>
                    <a:pt x="78" y="272"/>
                  </a:lnTo>
                  <a:lnTo>
                    <a:pt x="78" y="271"/>
                  </a:lnTo>
                  <a:lnTo>
                    <a:pt x="77" y="269"/>
                  </a:lnTo>
                  <a:lnTo>
                    <a:pt x="77" y="267"/>
                  </a:lnTo>
                  <a:lnTo>
                    <a:pt x="77" y="266"/>
                  </a:lnTo>
                  <a:lnTo>
                    <a:pt x="75" y="264"/>
                  </a:lnTo>
                  <a:lnTo>
                    <a:pt x="73" y="264"/>
                  </a:lnTo>
                  <a:lnTo>
                    <a:pt x="72" y="262"/>
                  </a:lnTo>
                  <a:lnTo>
                    <a:pt x="72" y="260"/>
                  </a:lnTo>
                  <a:lnTo>
                    <a:pt x="73" y="259"/>
                  </a:lnTo>
                  <a:lnTo>
                    <a:pt x="72" y="257"/>
                  </a:lnTo>
                  <a:lnTo>
                    <a:pt x="73" y="255"/>
                  </a:lnTo>
                  <a:lnTo>
                    <a:pt x="75" y="255"/>
                  </a:lnTo>
                  <a:lnTo>
                    <a:pt x="77" y="255"/>
                  </a:lnTo>
                  <a:lnTo>
                    <a:pt x="78" y="254"/>
                  </a:lnTo>
                  <a:lnTo>
                    <a:pt x="80" y="255"/>
                  </a:lnTo>
                  <a:lnTo>
                    <a:pt x="82" y="254"/>
                  </a:lnTo>
                  <a:lnTo>
                    <a:pt x="83" y="252"/>
                  </a:lnTo>
                  <a:lnTo>
                    <a:pt x="85" y="250"/>
                  </a:lnTo>
                  <a:lnTo>
                    <a:pt x="87" y="250"/>
                  </a:lnTo>
                  <a:lnTo>
                    <a:pt x="89" y="249"/>
                  </a:lnTo>
                  <a:lnTo>
                    <a:pt x="87" y="247"/>
                  </a:lnTo>
                  <a:lnTo>
                    <a:pt x="87" y="245"/>
                  </a:lnTo>
                  <a:lnTo>
                    <a:pt x="87" y="242"/>
                  </a:lnTo>
                  <a:lnTo>
                    <a:pt x="87" y="240"/>
                  </a:lnTo>
                  <a:lnTo>
                    <a:pt x="89" y="240"/>
                  </a:lnTo>
                  <a:lnTo>
                    <a:pt x="89" y="238"/>
                  </a:lnTo>
                  <a:lnTo>
                    <a:pt x="90" y="238"/>
                  </a:lnTo>
                  <a:lnTo>
                    <a:pt x="90" y="235"/>
                  </a:lnTo>
                  <a:lnTo>
                    <a:pt x="89" y="233"/>
                  </a:lnTo>
                  <a:lnTo>
                    <a:pt x="89" y="232"/>
                  </a:lnTo>
                  <a:lnTo>
                    <a:pt x="90" y="230"/>
                  </a:lnTo>
                  <a:lnTo>
                    <a:pt x="92" y="228"/>
                  </a:lnTo>
                  <a:lnTo>
                    <a:pt x="92" y="226"/>
                  </a:lnTo>
                  <a:lnTo>
                    <a:pt x="92" y="223"/>
                  </a:lnTo>
                  <a:lnTo>
                    <a:pt x="92" y="221"/>
                  </a:lnTo>
                  <a:lnTo>
                    <a:pt x="94" y="220"/>
                  </a:lnTo>
                  <a:lnTo>
                    <a:pt x="94" y="218"/>
                  </a:lnTo>
                  <a:lnTo>
                    <a:pt x="94" y="215"/>
                  </a:lnTo>
                  <a:lnTo>
                    <a:pt x="95" y="215"/>
                  </a:lnTo>
                  <a:lnTo>
                    <a:pt x="95" y="213"/>
                  </a:lnTo>
                  <a:lnTo>
                    <a:pt x="94" y="211"/>
                  </a:lnTo>
                  <a:lnTo>
                    <a:pt x="94" y="209"/>
                  </a:lnTo>
                  <a:lnTo>
                    <a:pt x="94" y="208"/>
                  </a:lnTo>
                  <a:lnTo>
                    <a:pt x="94" y="206"/>
                  </a:lnTo>
                  <a:lnTo>
                    <a:pt x="92" y="204"/>
                  </a:lnTo>
                  <a:lnTo>
                    <a:pt x="92" y="203"/>
                  </a:lnTo>
                  <a:lnTo>
                    <a:pt x="92" y="201"/>
                  </a:lnTo>
                  <a:lnTo>
                    <a:pt x="95" y="201"/>
                  </a:lnTo>
                  <a:lnTo>
                    <a:pt x="97" y="203"/>
                  </a:lnTo>
                  <a:lnTo>
                    <a:pt x="99" y="201"/>
                  </a:lnTo>
                  <a:lnTo>
                    <a:pt x="100" y="199"/>
                  </a:lnTo>
                  <a:lnTo>
                    <a:pt x="102" y="197"/>
                  </a:lnTo>
                  <a:lnTo>
                    <a:pt x="102" y="196"/>
                  </a:lnTo>
                  <a:lnTo>
                    <a:pt x="104" y="194"/>
                  </a:lnTo>
                  <a:lnTo>
                    <a:pt x="106" y="194"/>
                  </a:lnTo>
                  <a:lnTo>
                    <a:pt x="107" y="191"/>
                  </a:lnTo>
                  <a:lnTo>
                    <a:pt x="109" y="189"/>
                  </a:lnTo>
                  <a:lnTo>
                    <a:pt x="112" y="189"/>
                  </a:lnTo>
                  <a:lnTo>
                    <a:pt x="114" y="191"/>
                  </a:lnTo>
                  <a:lnTo>
                    <a:pt x="117" y="189"/>
                  </a:lnTo>
                  <a:lnTo>
                    <a:pt x="119" y="189"/>
                  </a:lnTo>
                  <a:lnTo>
                    <a:pt x="119" y="187"/>
                  </a:lnTo>
                  <a:lnTo>
                    <a:pt x="123" y="187"/>
                  </a:lnTo>
                  <a:lnTo>
                    <a:pt x="123" y="186"/>
                  </a:lnTo>
                  <a:lnTo>
                    <a:pt x="124" y="186"/>
                  </a:lnTo>
                  <a:lnTo>
                    <a:pt x="126" y="184"/>
                  </a:lnTo>
                  <a:lnTo>
                    <a:pt x="126" y="182"/>
                  </a:lnTo>
                  <a:lnTo>
                    <a:pt x="128" y="182"/>
                  </a:lnTo>
                  <a:lnTo>
                    <a:pt x="128" y="184"/>
                  </a:lnTo>
                  <a:lnTo>
                    <a:pt x="129" y="184"/>
                  </a:lnTo>
                  <a:lnTo>
                    <a:pt x="129" y="182"/>
                  </a:lnTo>
                  <a:lnTo>
                    <a:pt x="131" y="180"/>
                  </a:lnTo>
                  <a:lnTo>
                    <a:pt x="131" y="179"/>
                  </a:lnTo>
                  <a:lnTo>
                    <a:pt x="133" y="177"/>
                  </a:lnTo>
                  <a:lnTo>
                    <a:pt x="134" y="177"/>
                  </a:lnTo>
                  <a:lnTo>
                    <a:pt x="134" y="175"/>
                  </a:lnTo>
                  <a:lnTo>
                    <a:pt x="136" y="175"/>
                  </a:lnTo>
                  <a:lnTo>
                    <a:pt x="138" y="172"/>
                  </a:lnTo>
                  <a:lnTo>
                    <a:pt x="140" y="172"/>
                  </a:lnTo>
                  <a:lnTo>
                    <a:pt x="138" y="170"/>
                  </a:lnTo>
                  <a:lnTo>
                    <a:pt x="138" y="169"/>
                  </a:lnTo>
                  <a:lnTo>
                    <a:pt x="136" y="167"/>
                  </a:lnTo>
                  <a:lnTo>
                    <a:pt x="134" y="165"/>
                  </a:lnTo>
                  <a:lnTo>
                    <a:pt x="133" y="163"/>
                  </a:lnTo>
                  <a:lnTo>
                    <a:pt x="131" y="163"/>
                  </a:lnTo>
                  <a:lnTo>
                    <a:pt x="129" y="162"/>
                  </a:lnTo>
                  <a:lnTo>
                    <a:pt x="128" y="162"/>
                  </a:lnTo>
                  <a:lnTo>
                    <a:pt x="126" y="162"/>
                  </a:lnTo>
                  <a:lnTo>
                    <a:pt x="124" y="162"/>
                  </a:lnTo>
                  <a:lnTo>
                    <a:pt x="123" y="160"/>
                  </a:lnTo>
                  <a:lnTo>
                    <a:pt x="123" y="157"/>
                  </a:lnTo>
                  <a:lnTo>
                    <a:pt x="123" y="155"/>
                  </a:lnTo>
                  <a:lnTo>
                    <a:pt x="124" y="153"/>
                  </a:lnTo>
                  <a:lnTo>
                    <a:pt x="124" y="152"/>
                  </a:lnTo>
                  <a:lnTo>
                    <a:pt x="126" y="150"/>
                  </a:lnTo>
                  <a:lnTo>
                    <a:pt x="128" y="146"/>
                  </a:lnTo>
                  <a:lnTo>
                    <a:pt x="124" y="146"/>
                  </a:lnTo>
                  <a:lnTo>
                    <a:pt x="126" y="143"/>
                  </a:lnTo>
                  <a:lnTo>
                    <a:pt x="124" y="140"/>
                  </a:lnTo>
                  <a:lnTo>
                    <a:pt x="123" y="141"/>
                  </a:lnTo>
                  <a:lnTo>
                    <a:pt x="119" y="141"/>
                  </a:lnTo>
                  <a:lnTo>
                    <a:pt x="116" y="140"/>
                  </a:lnTo>
                  <a:lnTo>
                    <a:pt x="116" y="136"/>
                  </a:lnTo>
                  <a:lnTo>
                    <a:pt x="114" y="135"/>
                  </a:lnTo>
                  <a:lnTo>
                    <a:pt x="114" y="136"/>
                  </a:lnTo>
                  <a:lnTo>
                    <a:pt x="112" y="138"/>
                  </a:lnTo>
                  <a:lnTo>
                    <a:pt x="111" y="138"/>
                  </a:lnTo>
                  <a:lnTo>
                    <a:pt x="109" y="138"/>
                  </a:lnTo>
                  <a:lnTo>
                    <a:pt x="106" y="136"/>
                  </a:lnTo>
                  <a:lnTo>
                    <a:pt x="104" y="135"/>
                  </a:lnTo>
                  <a:lnTo>
                    <a:pt x="102" y="136"/>
                  </a:lnTo>
                  <a:lnTo>
                    <a:pt x="100" y="135"/>
                  </a:lnTo>
                  <a:lnTo>
                    <a:pt x="99" y="135"/>
                  </a:lnTo>
                  <a:lnTo>
                    <a:pt x="99" y="133"/>
                  </a:lnTo>
                  <a:lnTo>
                    <a:pt x="97" y="131"/>
                  </a:lnTo>
                  <a:lnTo>
                    <a:pt x="94" y="133"/>
                  </a:lnTo>
                  <a:lnTo>
                    <a:pt x="94" y="135"/>
                  </a:lnTo>
                  <a:lnTo>
                    <a:pt x="94" y="136"/>
                  </a:lnTo>
                  <a:lnTo>
                    <a:pt x="92" y="138"/>
                  </a:lnTo>
                  <a:lnTo>
                    <a:pt x="90" y="138"/>
                  </a:lnTo>
                  <a:lnTo>
                    <a:pt x="89" y="138"/>
                  </a:lnTo>
                  <a:lnTo>
                    <a:pt x="87" y="140"/>
                  </a:lnTo>
                  <a:lnTo>
                    <a:pt x="85" y="140"/>
                  </a:lnTo>
                  <a:lnTo>
                    <a:pt x="83" y="140"/>
                  </a:lnTo>
                  <a:lnTo>
                    <a:pt x="83" y="138"/>
                  </a:lnTo>
                  <a:lnTo>
                    <a:pt x="82" y="138"/>
                  </a:lnTo>
                  <a:lnTo>
                    <a:pt x="78" y="140"/>
                  </a:lnTo>
                  <a:lnTo>
                    <a:pt x="80" y="140"/>
                  </a:lnTo>
                  <a:lnTo>
                    <a:pt x="78" y="136"/>
                  </a:lnTo>
                  <a:lnTo>
                    <a:pt x="77" y="135"/>
                  </a:lnTo>
                  <a:lnTo>
                    <a:pt x="75" y="136"/>
                  </a:lnTo>
                  <a:lnTo>
                    <a:pt x="72" y="136"/>
                  </a:lnTo>
                  <a:lnTo>
                    <a:pt x="70" y="136"/>
                  </a:lnTo>
                  <a:lnTo>
                    <a:pt x="72" y="133"/>
                  </a:lnTo>
                  <a:lnTo>
                    <a:pt x="70" y="133"/>
                  </a:lnTo>
                  <a:lnTo>
                    <a:pt x="68" y="133"/>
                  </a:lnTo>
                  <a:lnTo>
                    <a:pt x="66" y="129"/>
                  </a:lnTo>
                  <a:lnTo>
                    <a:pt x="65" y="131"/>
                  </a:lnTo>
                  <a:lnTo>
                    <a:pt x="63" y="129"/>
                  </a:lnTo>
                  <a:lnTo>
                    <a:pt x="61" y="131"/>
                  </a:lnTo>
                  <a:lnTo>
                    <a:pt x="58" y="129"/>
                  </a:lnTo>
                  <a:lnTo>
                    <a:pt x="58" y="131"/>
                  </a:lnTo>
                  <a:lnTo>
                    <a:pt x="56" y="133"/>
                  </a:lnTo>
                  <a:lnTo>
                    <a:pt x="56" y="131"/>
                  </a:lnTo>
                  <a:lnTo>
                    <a:pt x="56" y="129"/>
                  </a:lnTo>
                  <a:lnTo>
                    <a:pt x="58" y="126"/>
                  </a:lnTo>
                  <a:lnTo>
                    <a:pt x="56" y="126"/>
                  </a:lnTo>
                  <a:lnTo>
                    <a:pt x="56" y="128"/>
                  </a:lnTo>
                  <a:lnTo>
                    <a:pt x="55" y="129"/>
                  </a:lnTo>
                  <a:lnTo>
                    <a:pt x="53" y="129"/>
                  </a:lnTo>
                  <a:lnTo>
                    <a:pt x="51" y="129"/>
                  </a:lnTo>
                  <a:lnTo>
                    <a:pt x="49" y="131"/>
                  </a:lnTo>
                  <a:lnTo>
                    <a:pt x="48" y="131"/>
                  </a:lnTo>
                  <a:lnTo>
                    <a:pt x="46" y="131"/>
                  </a:lnTo>
                  <a:lnTo>
                    <a:pt x="44" y="131"/>
                  </a:lnTo>
                  <a:lnTo>
                    <a:pt x="43" y="131"/>
                  </a:lnTo>
                  <a:lnTo>
                    <a:pt x="41" y="129"/>
                  </a:lnTo>
                  <a:lnTo>
                    <a:pt x="43" y="128"/>
                  </a:lnTo>
                  <a:lnTo>
                    <a:pt x="43" y="126"/>
                  </a:lnTo>
                  <a:lnTo>
                    <a:pt x="41" y="126"/>
                  </a:lnTo>
                  <a:lnTo>
                    <a:pt x="41" y="123"/>
                  </a:lnTo>
                  <a:lnTo>
                    <a:pt x="41" y="121"/>
                  </a:lnTo>
                  <a:lnTo>
                    <a:pt x="43" y="121"/>
                  </a:lnTo>
                  <a:lnTo>
                    <a:pt x="44" y="119"/>
                  </a:lnTo>
                  <a:lnTo>
                    <a:pt x="46" y="118"/>
                  </a:lnTo>
                  <a:lnTo>
                    <a:pt x="49" y="118"/>
                  </a:lnTo>
                  <a:lnTo>
                    <a:pt x="49" y="116"/>
                  </a:lnTo>
                  <a:lnTo>
                    <a:pt x="48" y="112"/>
                  </a:lnTo>
                  <a:lnTo>
                    <a:pt x="46" y="112"/>
                  </a:lnTo>
                  <a:lnTo>
                    <a:pt x="44" y="112"/>
                  </a:lnTo>
                  <a:lnTo>
                    <a:pt x="44" y="111"/>
                  </a:lnTo>
                  <a:lnTo>
                    <a:pt x="44" y="109"/>
                  </a:lnTo>
                  <a:lnTo>
                    <a:pt x="46" y="107"/>
                  </a:lnTo>
                  <a:lnTo>
                    <a:pt x="44" y="107"/>
                  </a:lnTo>
                  <a:lnTo>
                    <a:pt x="43" y="107"/>
                  </a:lnTo>
                  <a:lnTo>
                    <a:pt x="41" y="107"/>
                  </a:lnTo>
                  <a:lnTo>
                    <a:pt x="38" y="109"/>
                  </a:lnTo>
                  <a:lnTo>
                    <a:pt x="36" y="109"/>
                  </a:lnTo>
                  <a:lnTo>
                    <a:pt x="34" y="109"/>
                  </a:lnTo>
                  <a:lnTo>
                    <a:pt x="32" y="109"/>
                  </a:lnTo>
                  <a:lnTo>
                    <a:pt x="29" y="107"/>
                  </a:lnTo>
                  <a:lnTo>
                    <a:pt x="27" y="107"/>
                  </a:lnTo>
                  <a:lnTo>
                    <a:pt x="26" y="109"/>
                  </a:lnTo>
                  <a:lnTo>
                    <a:pt x="24" y="107"/>
                  </a:lnTo>
                  <a:lnTo>
                    <a:pt x="21" y="107"/>
                  </a:lnTo>
                  <a:lnTo>
                    <a:pt x="21" y="109"/>
                  </a:lnTo>
                  <a:lnTo>
                    <a:pt x="19" y="111"/>
                  </a:lnTo>
                  <a:lnTo>
                    <a:pt x="17" y="111"/>
                  </a:lnTo>
                  <a:lnTo>
                    <a:pt x="15" y="112"/>
                  </a:lnTo>
                  <a:lnTo>
                    <a:pt x="14" y="112"/>
                  </a:lnTo>
                  <a:lnTo>
                    <a:pt x="14" y="114"/>
                  </a:lnTo>
                  <a:lnTo>
                    <a:pt x="10" y="116"/>
                  </a:lnTo>
                  <a:lnTo>
                    <a:pt x="9" y="116"/>
                  </a:lnTo>
                  <a:lnTo>
                    <a:pt x="5" y="118"/>
                  </a:lnTo>
                  <a:lnTo>
                    <a:pt x="5" y="116"/>
                  </a:lnTo>
                  <a:lnTo>
                    <a:pt x="7" y="116"/>
                  </a:lnTo>
                  <a:lnTo>
                    <a:pt x="5" y="114"/>
                  </a:lnTo>
                  <a:lnTo>
                    <a:pt x="7" y="111"/>
                  </a:lnTo>
                  <a:lnTo>
                    <a:pt x="7" y="109"/>
                  </a:lnTo>
                  <a:lnTo>
                    <a:pt x="9" y="107"/>
                  </a:lnTo>
                  <a:lnTo>
                    <a:pt x="9" y="106"/>
                  </a:lnTo>
                  <a:lnTo>
                    <a:pt x="9" y="104"/>
                  </a:lnTo>
                  <a:lnTo>
                    <a:pt x="9" y="102"/>
                  </a:lnTo>
                  <a:lnTo>
                    <a:pt x="9" y="101"/>
                  </a:lnTo>
                  <a:lnTo>
                    <a:pt x="12" y="99"/>
                  </a:lnTo>
                  <a:lnTo>
                    <a:pt x="12" y="101"/>
                  </a:lnTo>
                  <a:lnTo>
                    <a:pt x="14" y="101"/>
                  </a:lnTo>
                  <a:lnTo>
                    <a:pt x="12" y="101"/>
                  </a:lnTo>
                  <a:lnTo>
                    <a:pt x="14" y="99"/>
                  </a:lnTo>
                  <a:lnTo>
                    <a:pt x="12" y="97"/>
                  </a:lnTo>
                  <a:lnTo>
                    <a:pt x="14" y="99"/>
                  </a:lnTo>
                  <a:lnTo>
                    <a:pt x="14" y="95"/>
                  </a:lnTo>
                  <a:lnTo>
                    <a:pt x="17" y="95"/>
                  </a:lnTo>
                  <a:lnTo>
                    <a:pt x="19" y="94"/>
                  </a:lnTo>
                  <a:lnTo>
                    <a:pt x="21" y="94"/>
                  </a:lnTo>
                  <a:lnTo>
                    <a:pt x="21" y="92"/>
                  </a:lnTo>
                  <a:lnTo>
                    <a:pt x="22" y="92"/>
                  </a:lnTo>
                  <a:lnTo>
                    <a:pt x="26" y="92"/>
                  </a:lnTo>
                  <a:lnTo>
                    <a:pt x="27" y="92"/>
                  </a:lnTo>
                  <a:lnTo>
                    <a:pt x="27" y="90"/>
                  </a:lnTo>
                  <a:lnTo>
                    <a:pt x="29" y="89"/>
                  </a:lnTo>
                  <a:lnTo>
                    <a:pt x="27" y="87"/>
                  </a:lnTo>
                  <a:lnTo>
                    <a:pt x="26" y="89"/>
                  </a:lnTo>
                  <a:lnTo>
                    <a:pt x="24" y="90"/>
                  </a:lnTo>
                  <a:lnTo>
                    <a:pt x="22" y="92"/>
                  </a:lnTo>
                  <a:lnTo>
                    <a:pt x="21" y="90"/>
                  </a:lnTo>
                  <a:lnTo>
                    <a:pt x="21" y="92"/>
                  </a:lnTo>
                  <a:lnTo>
                    <a:pt x="17" y="92"/>
                  </a:lnTo>
                  <a:lnTo>
                    <a:pt x="15" y="90"/>
                  </a:lnTo>
                  <a:lnTo>
                    <a:pt x="14" y="90"/>
                  </a:lnTo>
                  <a:lnTo>
                    <a:pt x="14" y="92"/>
                  </a:lnTo>
                  <a:lnTo>
                    <a:pt x="12" y="90"/>
                  </a:lnTo>
                  <a:lnTo>
                    <a:pt x="14" y="90"/>
                  </a:lnTo>
                  <a:lnTo>
                    <a:pt x="15" y="87"/>
                  </a:lnTo>
                  <a:lnTo>
                    <a:pt x="15" y="90"/>
                  </a:lnTo>
                  <a:lnTo>
                    <a:pt x="17" y="87"/>
                  </a:lnTo>
                  <a:lnTo>
                    <a:pt x="15" y="85"/>
                  </a:lnTo>
                  <a:lnTo>
                    <a:pt x="19" y="87"/>
                  </a:lnTo>
                  <a:lnTo>
                    <a:pt x="21" y="87"/>
                  </a:lnTo>
                  <a:lnTo>
                    <a:pt x="22" y="84"/>
                  </a:lnTo>
                  <a:lnTo>
                    <a:pt x="24" y="84"/>
                  </a:lnTo>
                  <a:lnTo>
                    <a:pt x="27" y="82"/>
                  </a:lnTo>
                  <a:lnTo>
                    <a:pt x="26" y="82"/>
                  </a:lnTo>
                  <a:lnTo>
                    <a:pt x="26" y="80"/>
                  </a:lnTo>
                  <a:lnTo>
                    <a:pt x="24" y="82"/>
                  </a:lnTo>
                  <a:lnTo>
                    <a:pt x="22" y="82"/>
                  </a:lnTo>
                  <a:lnTo>
                    <a:pt x="21" y="84"/>
                  </a:lnTo>
                  <a:lnTo>
                    <a:pt x="19" y="82"/>
                  </a:lnTo>
                  <a:lnTo>
                    <a:pt x="17" y="82"/>
                  </a:lnTo>
                  <a:lnTo>
                    <a:pt x="15" y="80"/>
                  </a:lnTo>
                  <a:lnTo>
                    <a:pt x="15" y="77"/>
                  </a:lnTo>
                  <a:lnTo>
                    <a:pt x="14" y="77"/>
                  </a:lnTo>
                  <a:lnTo>
                    <a:pt x="14" y="75"/>
                  </a:lnTo>
                  <a:lnTo>
                    <a:pt x="15" y="75"/>
                  </a:lnTo>
                  <a:lnTo>
                    <a:pt x="17" y="73"/>
                  </a:lnTo>
                  <a:lnTo>
                    <a:pt x="17" y="77"/>
                  </a:lnTo>
                  <a:lnTo>
                    <a:pt x="19" y="78"/>
                  </a:lnTo>
                  <a:lnTo>
                    <a:pt x="19" y="75"/>
                  </a:lnTo>
                  <a:lnTo>
                    <a:pt x="21" y="75"/>
                  </a:lnTo>
                  <a:lnTo>
                    <a:pt x="21" y="73"/>
                  </a:lnTo>
                  <a:lnTo>
                    <a:pt x="21" y="70"/>
                  </a:lnTo>
                  <a:lnTo>
                    <a:pt x="21" y="72"/>
                  </a:lnTo>
                  <a:lnTo>
                    <a:pt x="21" y="70"/>
                  </a:lnTo>
                  <a:lnTo>
                    <a:pt x="22" y="70"/>
                  </a:lnTo>
                  <a:lnTo>
                    <a:pt x="24" y="68"/>
                  </a:lnTo>
                  <a:lnTo>
                    <a:pt x="24" y="67"/>
                  </a:lnTo>
                  <a:lnTo>
                    <a:pt x="27" y="65"/>
                  </a:lnTo>
                  <a:lnTo>
                    <a:pt x="27" y="63"/>
                  </a:lnTo>
                  <a:lnTo>
                    <a:pt x="29" y="61"/>
                  </a:lnTo>
                  <a:lnTo>
                    <a:pt x="27" y="63"/>
                  </a:lnTo>
                  <a:lnTo>
                    <a:pt x="27" y="65"/>
                  </a:lnTo>
                  <a:lnTo>
                    <a:pt x="24" y="65"/>
                  </a:lnTo>
                  <a:lnTo>
                    <a:pt x="22" y="65"/>
                  </a:lnTo>
                  <a:lnTo>
                    <a:pt x="24" y="63"/>
                  </a:lnTo>
                  <a:lnTo>
                    <a:pt x="22" y="61"/>
                  </a:lnTo>
                  <a:lnTo>
                    <a:pt x="22" y="63"/>
                  </a:lnTo>
                  <a:lnTo>
                    <a:pt x="21" y="65"/>
                  </a:lnTo>
                  <a:lnTo>
                    <a:pt x="22" y="65"/>
                  </a:lnTo>
                  <a:lnTo>
                    <a:pt x="21" y="65"/>
                  </a:lnTo>
                  <a:lnTo>
                    <a:pt x="21" y="67"/>
                  </a:lnTo>
                  <a:lnTo>
                    <a:pt x="19" y="67"/>
                  </a:lnTo>
                  <a:lnTo>
                    <a:pt x="21" y="65"/>
                  </a:lnTo>
                  <a:lnTo>
                    <a:pt x="19" y="63"/>
                  </a:lnTo>
                  <a:lnTo>
                    <a:pt x="15" y="65"/>
                  </a:lnTo>
                  <a:lnTo>
                    <a:pt x="17" y="67"/>
                  </a:lnTo>
                  <a:lnTo>
                    <a:pt x="15" y="67"/>
                  </a:lnTo>
                  <a:lnTo>
                    <a:pt x="12" y="68"/>
                  </a:lnTo>
                  <a:lnTo>
                    <a:pt x="12" y="70"/>
                  </a:lnTo>
                  <a:lnTo>
                    <a:pt x="9" y="70"/>
                  </a:lnTo>
                  <a:lnTo>
                    <a:pt x="10" y="68"/>
                  </a:lnTo>
                  <a:lnTo>
                    <a:pt x="10" y="67"/>
                  </a:lnTo>
                  <a:lnTo>
                    <a:pt x="9" y="65"/>
                  </a:lnTo>
                  <a:lnTo>
                    <a:pt x="10" y="65"/>
                  </a:lnTo>
                  <a:lnTo>
                    <a:pt x="12" y="61"/>
                  </a:lnTo>
                  <a:lnTo>
                    <a:pt x="12" y="60"/>
                  </a:lnTo>
                  <a:lnTo>
                    <a:pt x="14" y="60"/>
                  </a:lnTo>
                  <a:lnTo>
                    <a:pt x="14" y="58"/>
                  </a:lnTo>
                  <a:lnTo>
                    <a:pt x="15" y="56"/>
                  </a:lnTo>
                  <a:lnTo>
                    <a:pt x="17" y="56"/>
                  </a:lnTo>
                  <a:lnTo>
                    <a:pt x="21" y="53"/>
                  </a:lnTo>
                  <a:lnTo>
                    <a:pt x="22" y="55"/>
                  </a:lnTo>
                  <a:lnTo>
                    <a:pt x="22" y="53"/>
                  </a:lnTo>
                  <a:lnTo>
                    <a:pt x="22" y="51"/>
                  </a:lnTo>
                  <a:lnTo>
                    <a:pt x="21" y="53"/>
                  </a:lnTo>
                  <a:lnTo>
                    <a:pt x="21" y="51"/>
                  </a:lnTo>
                  <a:lnTo>
                    <a:pt x="19" y="53"/>
                  </a:lnTo>
                  <a:lnTo>
                    <a:pt x="17" y="53"/>
                  </a:lnTo>
                  <a:lnTo>
                    <a:pt x="15" y="53"/>
                  </a:lnTo>
                  <a:lnTo>
                    <a:pt x="15" y="51"/>
                  </a:lnTo>
                  <a:lnTo>
                    <a:pt x="14" y="51"/>
                  </a:lnTo>
                  <a:lnTo>
                    <a:pt x="14" y="53"/>
                  </a:lnTo>
                  <a:lnTo>
                    <a:pt x="10" y="55"/>
                  </a:lnTo>
                  <a:lnTo>
                    <a:pt x="10" y="53"/>
                  </a:lnTo>
                  <a:lnTo>
                    <a:pt x="10" y="51"/>
                  </a:lnTo>
                  <a:lnTo>
                    <a:pt x="9" y="50"/>
                  </a:lnTo>
                  <a:lnTo>
                    <a:pt x="12" y="50"/>
                  </a:lnTo>
                  <a:lnTo>
                    <a:pt x="12" y="48"/>
                  </a:lnTo>
                  <a:lnTo>
                    <a:pt x="10" y="46"/>
                  </a:lnTo>
                  <a:lnTo>
                    <a:pt x="10" y="44"/>
                  </a:lnTo>
                  <a:lnTo>
                    <a:pt x="10" y="43"/>
                  </a:lnTo>
                  <a:lnTo>
                    <a:pt x="12" y="43"/>
                  </a:lnTo>
                  <a:lnTo>
                    <a:pt x="10" y="41"/>
                  </a:lnTo>
                  <a:lnTo>
                    <a:pt x="10" y="39"/>
                  </a:lnTo>
                  <a:lnTo>
                    <a:pt x="9" y="41"/>
                  </a:lnTo>
                  <a:lnTo>
                    <a:pt x="9" y="39"/>
                  </a:lnTo>
                  <a:lnTo>
                    <a:pt x="7" y="39"/>
                  </a:lnTo>
                  <a:lnTo>
                    <a:pt x="5" y="39"/>
                  </a:lnTo>
                  <a:lnTo>
                    <a:pt x="5" y="43"/>
                  </a:lnTo>
                  <a:lnTo>
                    <a:pt x="4" y="41"/>
                  </a:lnTo>
                  <a:lnTo>
                    <a:pt x="5" y="41"/>
                  </a:lnTo>
                  <a:lnTo>
                    <a:pt x="4" y="39"/>
                  </a:lnTo>
                  <a:lnTo>
                    <a:pt x="5" y="38"/>
                  </a:lnTo>
                  <a:lnTo>
                    <a:pt x="7" y="36"/>
                  </a:lnTo>
                  <a:lnTo>
                    <a:pt x="7" y="34"/>
                  </a:lnTo>
                  <a:lnTo>
                    <a:pt x="7" y="32"/>
                  </a:lnTo>
                  <a:lnTo>
                    <a:pt x="7" y="31"/>
                  </a:lnTo>
                  <a:lnTo>
                    <a:pt x="9" y="31"/>
                  </a:lnTo>
                  <a:lnTo>
                    <a:pt x="9" y="27"/>
                  </a:lnTo>
                  <a:lnTo>
                    <a:pt x="10" y="29"/>
                  </a:lnTo>
                  <a:lnTo>
                    <a:pt x="12" y="27"/>
                  </a:lnTo>
                  <a:lnTo>
                    <a:pt x="12" y="29"/>
                  </a:lnTo>
                  <a:lnTo>
                    <a:pt x="15" y="27"/>
                  </a:lnTo>
                  <a:lnTo>
                    <a:pt x="17" y="27"/>
                  </a:lnTo>
                  <a:lnTo>
                    <a:pt x="14" y="27"/>
                  </a:lnTo>
                  <a:lnTo>
                    <a:pt x="15" y="26"/>
                  </a:lnTo>
                  <a:lnTo>
                    <a:pt x="14" y="27"/>
                  </a:lnTo>
                  <a:lnTo>
                    <a:pt x="12" y="26"/>
                  </a:lnTo>
                  <a:lnTo>
                    <a:pt x="12" y="24"/>
                  </a:lnTo>
                  <a:lnTo>
                    <a:pt x="14" y="24"/>
                  </a:lnTo>
                  <a:lnTo>
                    <a:pt x="15" y="22"/>
                  </a:lnTo>
                  <a:lnTo>
                    <a:pt x="15" y="24"/>
                  </a:lnTo>
                  <a:lnTo>
                    <a:pt x="17" y="22"/>
                  </a:lnTo>
                  <a:lnTo>
                    <a:pt x="19" y="24"/>
                  </a:lnTo>
                  <a:lnTo>
                    <a:pt x="21" y="24"/>
                  </a:lnTo>
                  <a:lnTo>
                    <a:pt x="22" y="22"/>
                  </a:lnTo>
                  <a:lnTo>
                    <a:pt x="24" y="22"/>
                  </a:lnTo>
                  <a:lnTo>
                    <a:pt x="24" y="24"/>
                  </a:lnTo>
                  <a:lnTo>
                    <a:pt x="27" y="22"/>
                  </a:lnTo>
                  <a:lnTo>
                    <a:pt x="27" y="24"/>
                  </a:lnTo>
                  <a:lnTo>
                    <a:pt x="29" y="22"/>
                  </a:lnTo>
                  <a:lnTo>
                    <a:pt x="27" y="24"/>
                  </a:lnTo>
                  <a:lnTo>
                    <a:pt x="27" y="21"/>
                  </a:lnTo>
                  <a:lnTo>
                    <a:pt x="26" y="19"/>
                  </a:lnTo>
                  <a:lnTo>
                    <a:pt x="27" y="19"/>
                  </a:lnTo>
                  <a:lnTo>
                    <a:pt x="29" y="19"/>
                  </a:lnTo>
                  <a:lnTo>
                    <a:pt x="31" y="19"/>
                  </a:lnTo>
                  <a:lnTo>
                    <a:pt x="31" y="17"/>
                  </a:lnTo>
                  <a:lnTo>
                    <a:pt x="32" y="19"/>
                  </a:lnTo>
                  <a:lnTo>
                    <a:pt x="34" y="19"/>
                  </a:lnTo>
                  <a:lnTo>
                    <a:pt x="34" y="17"/>
                  </a:lnTo>
                  <a:lnTo>
                    <a:pt x="36" y="21"/>
                  </a:lnTo>
                  <a:lnTo>
                    <a:pt x="39" y="21"/>
                  </a:lnTo>
                  <a:lnTo>
                    <a:pt x="39" y="22"/>
                  </a:lnTo>
                  <a:lnTo>
                    <a:pt x="43" y="22"/>
                  </a:lnTo>
                  <a:lnTo>
                    <a:pt x="44" y="22"/>
                  </a:lnTo>
                  <a:lnTo>
                    <a:pt x="44" y="21"/>
                  </a:lnTo>
                  <a:lnTo>
                    <a:pt x="46" y="22"/>
                  </a:lnTo>
                  <a:lnTo>
                    <a:pt x="46" y="21"/>
                  </a:lnTo>
                  <a:lnTo>
                    <a:pt x="48" y="22"/>
                  </a:lnTo>
                  <a:lnTo>
                    <a:pt x="49" y="22"/>
                  </a:lnTo>
                  <a:lnTo>
                    <a:pt x="51" y="21"/>
                  </a:lnTo>
                  <a:lnTo>
                    <a:pt x="53" y="21"/>
                  </a:lnTo>
                  <a:lnTo>
                    <a:pt x="55" y="19"/>
                  </a:lnTo>
                  <a:lnTo>
                    <a:pt x="56" y="21"/>
                  </a:lnTo>
                  <a:lnTo>
                    <a:pt x="58" y="19"/>
                  </a:lnTo>
                  <a:lnTo>
                    <a:pt x="58" y="21"/>
                  </a:lnTo>
                  <a:lnTo>
                    <a:pt x="56" y="21"/>
                  </a:lnTo>
                  <a:lnTo>
                    <a:pt x="58" y="21"/>
                  </a:lnTo>
                  <a:lnTo>
                    <a:pt x="56" y="22"/>
                  </a:lnTo>
                  <a:lnTo>
                    <a:pt x="58" y="24"/>
                  </a:lnTo>
                  <a:lnTo>
                    <a:pt x="58" y="22"/>
                  </a:lnTo>
                  <a:lnTo>
                    <a:pt x="60" y="22"/>
                  </a:lnTo>
                  <a:lnTo>
                    <a:pt x="60" y="21"/>
                  </a:lnTo>
                  <a:lnTo>
                    <a:pt x="63" y="19"/>
                  </a:lnTo>
                  <a:lnTo>
                    <a:pt x="63" y="21"/>
                  </a:lnTo>
                  <a:lnTo>
                    <a:pt x="65" y="22"/>
                  </a:lnTo>
                  <a:lnTo>
                    <a:pt x="65" y="24"/>
                  </a:lnTo>
                  <a:lnTo>
                    <a:pt x="66" y="26"/>
                  </a:lnTo>
                  <a:lnTo>
                    <a:pt x="65" y="29"/>
                  </a:lnTo>
                  <a:lnTo>
                    <a:pt x="66" y="26"/>
                  </a:lnTo>
                  <a:lnTo>
                    <a:pt x="65" y="24"/>
                  </a:lnTo>
                  <a:lnTo>
                    <a:pt x="66" y="24"/>
                  </a:lnTo>
                  <a:lnTo>
                    <a:pt x="66" y="21"/>
                  </a:lnTo>
                  <a:lnTo>
                    <a:pt x="70" y="21"/>
                  </a:lnTo>
                  <a:lnTo>
                    <a:pt x="72" y="21"/>
                  </a:lnTo>
                  <a:lnTo>
                    <a:pt x="70" y="21"/>
                  </a:lnTo>
                  <a:lnTo>
                    <a:pt x="68" y="19"/>
                  </a:lnTo>
                  <a:lnTo>
                    <a:pt x="66" y="19"/>
                  </a:lnTo>
                  <a:lnTo>
                    <a:pt x="65" y="19"/>
                  </a:lnTo>
                  <a:lnTo>
                    <a:pt x="65" y="17"/>
                  </a:lnTo>
                  <a:lnTo>
                    <a:pt x="63" y="17"/>
                  </a:lnTo>
                  <a:lnTo>
                    <a:pt x="63" y="15"/>
                  </a:lnTo>
                  <a:lnTo>
                    <a:pt x="66" y="15"/>
                  </a:lnTo>
                  <a:lnTo>
                    <a:pt x="68" y="17"/>
                  </a:lnTo>
                  <a:lnTo>
                    <a:pt x="70" y="15"/>
                  </a:lnTo>
                  <a:lnTo>
                    <a:pt x="72" y="14"/>
                  </a:lnTo>
                  <a:lnTo>
                    <a:pt x="68" y="15"/>
                  </a:lnTo>
                  <a:lnTo>
                    <a:pt x="66" y="15"/>
                  </a:lnTo>
                  <a:lnTo>
                    <a:pt x="66" y="14"/>
                  </a:lnTo>
                  <a:lnTo>
                    <a:pt x="65" y="15"/>
                  </a:lnTo>
                  <a:lnTo>
                    <a:pt x="63" y="15"/>
                  </a:lnTo>
                  <a:lnTo>
                    <a:pt x="61" y="15"/>
                  </a:lnTo>
                  <a:lnTo>
                    <a:pt x="63" y="14"/>
                  </a:lnTo>
                  <a:lnTo>
                    <a:pt x="63" y="12"/>
                  </a:lnTo>
                  <a:lnTo>
                    <a:pt x="65" y="10"/>
                  </a:lnTo>
                  <a:lnTo>
                    <a:pt x="65" y="9"/>
                  </a:lnTo>
                  <a:lnTo>
                    <a:pt x="66" y="9"/>
                  </a:lnTo>
                  <a:lnTo>
                    <a:pt x="70" y="9"/>
                  </a:lnTo>
                  <a:lnTo>
                    <a:pt x="72" y="5"/>
                  </a:lnTo>
                  <a:lnTo>
                    <a:pt x="73" y="7"/>
                  </a:lnTo>
                  <a:lnTo>
                    <a:pt x="75" y="5"/>
                  </a:lnTo>
                  <a:lnTo>
                    <a:pt x="77" y="5"/>
                  </a:lnTo>
                  <a:lnTo>
                    <a:pt x="77" y="4"/>
                  </a:lnTo>
                  <a:lnTo>
                    <a:pt x="77" y="7"/>
                  </a:lnTo>
                  <a:lnTo>
                    <a:pt x="78" y="5"/>
                  </a:lnTo>
                  <a:lnTo>
                    <a:pt x="78" y="4"/>
                  </a:lnTo>
                  <a:lnTo>
                    <a:pt x="80" y="2"/>
                  </a:lnTo>
                  <a:lnTo>
                    <a:pt x="82" y="2"/>
                  </a:lnTo>
                  <a:lnTo>
                    <a:pt x="83" y="4"/>
                  </a:lnTo>
                  <a:lnTo>
                    <a:pt x="85" y="2"/>
                  </a:lnTo>
                  <a:lnTo>
                    <a:pt x="85" y="0"/>
                  </a:lnTo>
                  <a:lnTo>
                    <a:pt x="87" y="2"/>
                  </a:lnTo>
                  <a:lnTo>
                    <a:pt x="89" y="0"/>
                  </a:lnTo>
                  <a:lnTo>
                    <a:pt x="90" y="0"/>
                  </a:lnTo>
                  <a:lnTo>
                    <a:pt x="90" y="2"/>
                  </a:lnTo>
                  <a:lnTo>
                    <a:pt x="90" y="4"/>
                  </a:lnTo>
                  <a:lnTo>
                    <a:pt x="89" y="4"/>
                  </a:lnTo>
                  <a:lnTo>
                    <a:pt x="89" y="5"/>
                  </a:lnTo>
                  <a:lnTo>
                    <a:pt x="89" y="7"/>
                  </a:lnTo>
                  <a:lnTo>
                    <a:pt x="87" y="7"/>
                  </a:lnTo>
                  <a:lnTo>
                    <a:pt x="89" y="7"/>
                  </a:lnTo>
                  <a:lnTo>
                    <a:pt x="90" y="7"/>
                  </a:lnTo>
                  <a:lnTo>
                    <a:pt x="90" y="4"/>
                  </a:lnTo>
                  <a:lnTo>
                    <a:pt x="90" y="5"/>
                  </a:lnTo>
                  <a:lnTo>
                    <a:pt x="92" y="5"/>
                  </a:lnTo>
                  <a:lnTo>
                    <a:pt x="92" y="4"/>
                  </a:lnTo>
                  <a:lnTo>
                    <a:pt x="94" y="4"/>
                  </a:lnTo>
                  <a:lnTo>
                    <a:pt x="97" y="4"/>
                  </a:lnTo>
                  <a:lnTo>
                    <a:pt x="99" y="2"/>
                  </a:lnTo>
                  <a:lnTo>
                    <a:pt x="99" y="0"/>
                  </a:lnTo>
                  <a:lnTo>
                    <a:pt x="100" y="2"/>
                  </a:lnTo>
                  <a:lnTo>
                    <a:pt x="99" y="4"/>
                  </a:lnTo>
                  <a:lnTo>
                    <a:pt x="99" y="5"/>
                  </a:lnTo>
                  <a:lnTo>
                    <a:pt x="97" y="5"/>
                  </a:lnTo>
                  <a:lnTo>
                    <a:pt x="99" y="7"/>
                  </a:lnTo>
                  <a:lnTo>
                    <a:pt x="99" y="5"/>
                  </a:lnTo>
                  <a:lnTo>
                    <a:pt x="99" y="4"/>
                  </a:lnTo>
                  <a:lnTo>
                    <a:pt x="102" y="4"/>
                  </a:lnTo>
                  <a:lnTo>
                    <a:pt x="102" y="7"/>
                  </a:lnTo>
                  <a:lnTo>
                    <a:pt x="102" y="9"/>
                  </a:lnTo>
                  <a:lnTo>
                    <a:pt x="102" y="10"/>
                  </a:lnTo>
                  <a:lnTo>
                    <a:pt x="102" y="9"/>
                  </a:lnTo>
                  <a:lnTo>
                    <a:pt x="104" y="9"/>
                  </a:lnTo>
                  <a:lnTo>
                    <a:pt x="104" y="7"/>
                  </a:lnTo>
                  <a:lnTo>
                    <a:pt x="106" y="7"/>
                  </a:lnTo>
                  <a:lnTo>
                    <a:pt x="107" y="7"/>
                  </a:lnTo>
                  <a:lnTo>
                    <a:pt x="109" y="9"/>
                  </a:lnTo>
                  <a:lnTo>
                    <a:pt x="109" y="10"/>
                  </a:lnTo>
                  <a:lnTo>
                    <a:pt x="111" y="10"/>
                  </a:lnTo>
                  <a:lnTo>
                    <a:pt x="112" y="12"/>
                  </a:lnTo>
                  <a:lnTo>
                    <a:pt x="114" y="14"/>
                  </a:lnTo>
                  <a:lnTo>
                    <a:pt x="114" y="15"/>
                  </a:lnTo>
                  <a:lnTo>
                    <a:pt x="116" y="17"/>
                  </a:lnTo>
                  <a:lnTo>
                    <a:pt x="116" y="19"/>
                  </a:lnTo>
                  <a:lnTo>
                    <a:pt x="117" y="21"/>
                  </a:lnTo>
                  <a:lnTo>
                    <a:pt x="117" y="22"/>
                  </a:lnTo>
                  <a:lnTo>
                    <a:pt x="121" y="22"/>
                  </a:lnTo>
                  <a:lnTo>
                    <a:pt x="123" y="24"/>
                  </a:lnTo>
                  <a:lnTo>
                    <a:pt x="124" y="24"/>
                  </a:lnTo>
                  <a:lnTo>
                    <a:pt x="126" y="24"/>
                  </a:lnTo>
                  <a:lnTo>
                    <a:pt x="128" y="24"/>
                  </a:lnTo>
                  <a:lnTo>
                    <a:pt x="128" y="26"/>
                  </a:lnTo>
                  <a:lnTo>
                    <a:pt x="126" y="29"/>
                  </a:lnTo>
                  <a:lnTo>
                    <a:pt x="126" y="31"/>
                  </a:lnTo>
                  <a:lnTo>
                    <a:pt x="124" y="31"/>
                  </a:lnTo>
                  <a:lnTo>
                    <a:pt x="126" y="31"/>
                  </a:lnTo>
                  <a:lnTo>
                    <a:pt x="128" y="29"/>
                  </a:lnTo>
                  <a:lnTo>
                    <a:pt x="128" y="27"/>
                  </a:lnTo>
                  <a:lnTo>
                    <a:pt x="129" y="27"/>
                  </a:lnTo>
                  <a:lnTo>
                    <a:pt x="128" y="26"/>
                  </a:lnTo>
                  <a:lnTo>
                    <a:pt x="128" y="24"/>
                  </a:lnTo>
                  <a:lnTo>
                    <a:pt x="131" y="26"/>
                  </a:lnTo>
                  <a:lnTo>
                    <a:pt x="133" y="24"/>
                  </a:lnTo>
                  <a:lnTo>
                    <a:pt x="136" y="26"/>
                  </a:lnTo>
                  <a:lnTo>
                    <a:pt x="138" y="26"/>
                  </a:lnTo>
                  <a:lnTo>
                    <a:pt x="140" y="27"/>
                  </a:lnTo>
                  <a:lnTo>
                    <a:pt x="141" y="27"/>
                  </a:lnTo>
                  <a:lnTo>
                    <a:pt x="143" y="27"/>
                  </a:lnTo>
                  <a:lnTo>
                    <a:pt x="143" y="31"/>
                  </a:lnTo>
                  <a:lnTo>
                    <a:pt x="143" y="29"/>
                  </a:lnTo>
                  <a:lnTo>
                    <a:pt x="145" y="27"/>
                  </a:lnTo>
                  <a:lnTo>
                    <a:pt x="146" y="29"/>
                  </a:lnTo>
                  <a:lnTo>
                    <a:pt x="148" y="29"/>
                  </a:lnTo>
                  <a:lnTo>
                    <a:pt x="150" y="31"/>
                  </a:lnTo>
                  <a:lnTo>
                    <a:pt x="153" y="31"/>
                  </a:lnTo>
                  <a:lnTo>
                    <a:pt x="157" y="32"/>
                  </a:lnTo>
                  <a:lnTo>
                    <a:pt x="157" y="31"/>
                  </a:lnTo>
                  <a:lnTo>
                    <a:pt x="158" y="32"/>
                  </a:lnTo>
                  <a:lnTo>
                    <a:pt x="160" y="32"/>
                  </a:lnTo>
                  <a:lnTo>
                    <a:pt x="162" y="32"/>
                  </a:lnTo>
                  <a:lnTo>
                    <a:pt x="163" y="32"/>
                  </a:lnTo>
                  <a:lnTo>
                    <a:pt x="165" y="32"/>
                  </a:lnTo>
                  <a:lnTo>
                    <a:pt x="167" y="32"/>
                  </a:lnTo>
                  <a:lnTo>
                    <a:pt x="168" y="31"/>
                  </a:lnTo>
                  <a:lnTo>
                    <a:pt x="170" y="34"/>
                  </a:lnTo>
                  <a:lnTo>
                    <a:pt x="170" y="32"/>
                  </a:lnTo>
                  <a:lnTo>
                    <a:pt x="170" y="34"/>
                  </a:lnTo>
                  <a:lnTo>
                    <a:pt x="172" y="34"/>
                  </a:lnTo>
                  <a:lnTo>
                    <a:pt x="174" y="36"/>
                  </a:lnTo>
                  <a:lnTo>
                    <a:pt x="175" y="36"/>
                  </a:lnTo>
                  <a:lnTo>
                    <a:pt x="175" y="38"/>
                  </a:lnTo>
                  <a:lnTo>
                    <a:pt x="175" y="36"/>
                  </a:lnTo>
                  <a:lnTo>
                    <a:pt x="177" y="36"/>
                  </a:lnTo>
                  <a:lnTo>
                    <a:pt x="179" y="34"/>
                  </a:lnTo>
                  <a:lnTo>
                    <a:pt x="180" y="36"/>
                  </a:lnTo>
                  <a:lnTo>
                    <a:pt x="182" y="36"/>
                  </a:lnTo>
                  <a:lnTo>
                    <a:pt x="184" y="36"/>
                  </a:lnTo>
                  <a:lnTo>
                    <a:pt x="184" y="38"/>
                  </a:lnTo>
                  <a:lnTo>
                    <a:pt x="184" y="36"/>
                  </a:lnTo>
                  <a:lnTo>
                    <a:pt x="184" y="34"/>
                  </a:lnTo>
                  <a:lnTo>
                    <a:pt x="185" y="34"/>
                  </a:lnTo>
                  <a:lnTo>
                    <a:pt x="185" y="32"/>
                  </a:lnTo>
                  <a:lnTo>
                    <a:pt x="187" y="32"/>
                  </a:lnTo>
                  <a:lnTo>
                    <a:pt x="189" y="31"/>
                  </a:lnTo>
                  <a:lnTo>
                    <a:pt x="189" y="32"/>
                  </a:lnTo>
                  <a:lnTo>
                    <a:pt x="192" y="34"/>
                  </a:lnTo>
                  <a:lnTo>
                    <a:pt x="191" y="36"/>
                  </a:lnTo>
                  <a:lnTo>
                    <a:pt x="192" y="36"/>
                  </a:lnTo>
                  <a:lnTo>
                    <a:pt x="194" y="39"/>
                  </a:lnTo>
                  <a:lnTo>
                    <a:pt x="196" y="39"/>
                  </a:lnTo>
                  <a:lnTo>
                    <a:pt x="196" y="38"/>
                  </a:lnTo>
                  <a:lnTo>
                    <a:pt x="196" y="39"/>
                  </a:lnTo>
                  <a:lnTo>
                    <a:pt x="194" y="39"/>
                  </a:lnTo>
                  <a:lnTo>
                    <a:pt x="196" y="41"/>
                  </a:lnTo>
                  <a:lnTo>
                    <a:pt x="197" y="41"/>
                  </a:lnTo>
                  <a:lnTo>
                    <a:pt x="199" y="41"/>
                  </a:lnTo>
                  <a:lnTo>
                    <a:pt x="199" y="43"/>
                  </a:lnTo>
                  <a:lnTo>
                    <a:pt x="202" y="43"/>
                  </a:lnTo>
                  <a:lnTo>
                    <a:pt x="204" y="43"/>
                  </a:lnTo>
                  <a:lnTo>
                    <a:pt x="206" y="43"/>
                  </a:lnTo>
                  <a:lnTo>
                    <a:pt x="208" y="44"/>
                  </a:lnTo>
                  <a:lnTo>
                    <a:pt x="209" y="44"/>
                  </a:lnTo>
                  <a:lnTo>
                    <a:pt x="209" y="46"/>
                  </a:lnTo>
                  <a:lnTo>
                    <a:pt x="211" y="44"/>
                  </a:lnTo>
                  <a:lnTo>
                    <a:pt x="211" y="46"/>
                  </a:lnTo>
                  <a:lnTo>
                    <a:pt x="214" y="46"/>
                  </a:lnTo>
                  <a:lnTo>
                    <a:pt x="216" y="50"/>
                  </a:lnTo>
                  <a:lnTo>
                    <a:pt x="218" y="51"/>
                  </a:lnTo>
                  <a:lnTo>
                    <a:pt x="219" y="51"/>
                  </a:lnTo>
                  <a:lnTo>
                    <a:pt x="223" y="51"/>
                  </a:lnTo>
                  <a:lnTo>
                    <a:pt x="223" y="53"/>
                  </a:lnTo>
                  <a:lnTo>
                    <a:pt x="225" y="53"/>
                  </a:lnTo>
                  <a:lnTo>
                    <a:pt x="225" y="55"/>
                  </a:lnTo>
                  <a:lnTo>
                    <a:pt x="226" y="53"/>
                  </a:lnTo>
                  <a:lnTo>
                    <a:pt x="225" y="53"/>
                  </a:lnTo>
                  <a:lnTo>
                    <a:pt x="228" y="55"/>
                  </a:lnTo>
                  <a:lnTo>
                    <a:pt x="230" y="55"/>
                  </a:lnTo>
                  <a:lnTo>
                    <a:pt x="231" y="55"/>
                  </a:lnTo>
                  <a:lnTo>
                    <a:pt x="235" y="56"/>
                  </a:lnTo>
                  <a:lnTo>
                    <a:pt x="236" y="56"/>
                  </a:lnTo>
                  <a:lnTo>
                    <a:pt x="236" y="58"/>
                  </a:lnTo>
                  <a:lnTo>
                    <a:pt x="238" y="58"/>
                  </a:lnTo>
                  <a:lnTo>
                    <a:pt x="240" y="60"/>
                  </a:lnTo>
                  <a:lnTo>
                    <a:pt x="242" y="60"/>
                  </a:lnTo>
                  <a:lnTo>
                    <a:pt x="242" y="61"/>
                  </a:lnTo>
                  <a:lnTo>
                    <a:pt x="243" y="61"/>
                  </a:lnTo>
                  <a:lnTo>
                    <a:pt x="245" y="61"/>
                  </a:lnTo>
                  <a:lnTo>
                    <a:pt x="247" y="63"/>
                  </a:lnTo>
                  <a:lnTo>
                    <a:pt x="248" y="63"/>
                  </a:lnTo>
                  <a:lnTo>
                    <a:pt x="250" y="63"/>
                  </a:lnTo>
                  <a:lnTo>
                    <a:pt x="252" y="65"/>
                  </a:lnTo>
                  <a:lnTo>
                    <a:pt x="253" y="65"/>
                  </a:lnTo>
                  <a:lnTo>
                    <a:pt x="257" y="65"/>
                  </a:lnTo>
                  <a:lnTo>
                    <a:pt x="259" y="65"/>
                  </a:lnTo>
                  <a:lnTo>
                    <a:pt x="259" y="67"/>
                  </a:lnTo>
                  <a:lnTo>
                    <a:pt x="260" y="65"/>
                  </a:lnTo>
                  <a:lnTo>
                    <a:pt x="262" y="67"/>
                  </a:lnTo>
                  <a:lnTo>
                    <a:pt x="264" y="67"/>
                  </a:lnTo>
                  <a:lnTo>
                    <a:pt x="265" y="67"/>
                  </a:lnTo>
                  <a:lnTo>
                    <a:pt x="269" y="67"/>
                  </a:lnTo>
                  <a:lnTo>
                    <a:pt x="270" y="67"/>
                  </a:lnTo>
                  <a:lnTo>
                    <a:pt x="272" y="67"/>
                  </a:lnTo>
                  <a:lnTo>
                    <a:pt x="274" y="65"/>
                  </a:lnTo>
                  <a:lnTo>
                    <a:pt x="277" y="67"/>
                  </a:lnTo>
                  <a:lnTo>
                    <a:pt x="277" y="65"/>
                  </a:lnTo>
                  <a:lnTo>
                    <a:pt x="279" y="67"/>
                  </a:lnTo>
                  <a:lnTo>
                    <a:pt x="281" y="67"/>
                  </a:lnTo>
                  <a:lnTo>
                    <a:pt x="279" y="67"/>
                  </a:lnTo>
                  <a:lnTo>
                    <a:pt x="282" y="65"/>
                  </a:lnTo>
                  <a:lnTo>
                    <a:pt x="284" y="65"/>
                  </a:lnTo>
                  <a:lnTo>
                    <a:pt x="286" y="65"/>
                  </a:lnTo>
                  <a:lnTo>
                    <a:pt x="287" y="65"/>
                  </a:lnTo>
                  <a:lnTo>
                    <a:pt x="289" y="65"/>
                  </a:lnTo>
                  <a:lnTo>
                    <a:pt x="291" y="67"/>
                  </a:lnTo>
                  <a:lnTo>
                    <a:pt x="287" y="67"/>
                  </a:lnTo>
                  <a:lnTo>
                    <a:pt x="287" y="68"/>
                  </a:lnTo>
                  <a:lnTo>
                    <a:pt x="286" y="70"/>
                  </a:lnTo>
                  <a:lnTo>
                    <a:pt x="287" y="72"/>
                  </a:lnTo>
                  <a:lnTo>
                    <a:pt x="289" y="72"/>
                  </a:lnTo>
                  <a:lnTo>
                    <a:pt x="287" y="70"/>
                  </a:lnTo>
                  <a:lnTo>
                    <a:pt x="289" y="70"/>
                  </a:lnTo>
                  <a:lnTo>
                    <a:pt x="289" y="68"/>
                  </a:lnTo>
                  <a:lnTo>
                    <a:pt x="291" y="70"/>
                  </a:lnTo>
                  <a:lnTo>
                    <a:pt x="291" y="68"/>
                  </a:lnTo>
                  <a:lnTo>
                    <a:pt x="289" y="67"/>
                  </a:lnTo>
                  <a:lnTo>
                    <a:pt x="293" y="68"/>
                  </a:lnTo>
                  <a:lnTo>
                    <a:pt x="293" y="67"/>
                  </a:lnTo>
                  <a:lnTo>
                    <a:pt x="294" y="67"/>
                  </a:lnTo>
                  <a:lnTo>
                    <a:pt x="298" y="65"/>
                  </a:lnTo>
                  <a:lnTo>
                    <a:pt x="299" y="67"/>
                  </a:lnTo>
                  <a:lnTo>
                    <a:pt x="299" y="65"/>
                  </a:lnTo>
                  <a:lnTo>
                    <a:pt x="299" y="67"/>
                  </a:lnTo>
                  <a:lnTo>
                    <a:pt x="303" y="67"/>
                  </a:lnTo>
                  <a:lnTo>
                    <a:pt x="304" y="68"/>
                  </a:lnTo>
                  <a:lnTo>
                    <a:pt x="306" y="70"/>
                  </a:lnTo>
                  <a:lnTo>
                    <a:pt x="308" y="70"/>
                  </a:lnTo>
                  <a:lnTo>
                    <a:pt x="306" y="72"/>
                  </a:lnTo>
                  <a:lnTo>
                    <a:pt x="304" y="70"/>
                  </a:lnTo>
                  <a:lnTo>
                    <a:pt x="306" y="72"/>
                  </a:lnTo>
                  <a:lnTo>
                    <a:pt x="304" y="70"/>
                  </a:lnTo>
                  <a:lnTo>
                    <a:pt x="304" y="72"/>
                  </a:lnTo>
                  <a:lnTo>
                    <a:pt x="303" y="72"/>
                  </a:lnTo>
                  <a:lnTo>
                    <a:pt x="304" y="72"/>
                  </a:lnTo>
                  <a:lnTo>
                    <a:pt x="304" y="75"/>
                  </a:lnTo>
                  <a:lnTo>
                    <a:pt x="306" y="72"/>
                  </a:lnTo>
                  <a:lnTo>
                    <a:pt x="306" y="73"/>
                  </a:lnTo>
                  <a:lnTo>
                    <a:pt x="308" y="73"/>
                  </a:lnTo>
                  <a:lnTo>
                    <a:pt x="310" y="75"/>
                  </a:lnTo>
                  <a:lnTo>
                    <a:pt x="313" y="75"/>
                  </a:lnTo>
                  <a:lnTo>
                    <a:pt x="315" y="75"/>
                  </a:lnTo>
                  <a:lnTo>
                    <a:pt x="316" y="77"/>
                  </a:lnTo>
                  <a:lnTo>
                    <a:pt x="318" y="78"/>
                  </a:lnTo>
                  <a:lnTo>
                    <a:pt x="320" y="80"/>
                  </a:lnTo>
                  <a:lnTo>
                    <a:pt x="321" y="82"/>
                  </a:lnTo>
                  <a:lnTo>
                    <a:pt x="323" y="80"/>
                  </a:lnTo>
                  <a:lnTo>
                    <a:pt x="323" y="78"/>
                  </a:lnTo>
                  <a:lnTo>
                    <a:pt x="323" y="80"/>
                  </a:lnTo>
                  <a:lnTo>
                    <a:pt x="323" y="82"/>
                  </a:lnTo>
                  <a:lnTo>
                    <a:pt x="325" y="80"/>
                  </a:lnTo>
                  <a:lnTo>
                    <a:pt x="325" y="82"/>
                  </a:lnTo>
                  <a:lnTo>
                    <a:pt x="327" y="82"/>
                  </a:lnTo>
                  <a:lnTo>
                    <a:pt x="325" y="82"/>
                  </a:lnTo>
                  <a:lnTo>
                    <a:pt x="327" y="84"/>
                  </a:lnTo>
                  <a:lnTo>
                    <a:pt x="328" y="85"/>
                  </a:lnTo>
                  <a:lnTo>
                    <a:pt x="327" y="84"/>
                  </a:lnTo>
                  <a:lnTo>
                    <a:pt x="327" y="82"/>
                  </a:lnTo>
                  <a:lnTo>
                    <a:pt x="327" y="80"/>
                  </a:lnTo>
                  <a:lnTo>
                    <a:pt x="328" y="78"/>
                  </a:lnTo>
                  <a:lnTo>
                    <a:pt x="330" y="78"/>
                  </a:lnTo>
                  <a:lnTo>
                    <a:pt x="332" y="78"/>
                  </a:lnTo>
                  <a:lnTo>
                    <a:pt x="332" y="77"/>
                  </a:lnTo>
                  <a:lnTo>
                    <a:pt x="333" y="77"/>
                  </a:lnTo>
                  <a:lnTo>
                    <a:pt x="335" y="77"/>
                  </a:lnTo>
                  <a:lnTo>
                    <a:pt x="335" y="78"/>
                  </a:lnTo>
                  <a:lnTo>
                    <a:pt x="338" y="78"/>
                  </a:lnTo>
                  <a:lnTo>
                    <a:pt x="340" y="77"/>
                  </a:lnTo>
                  <a:lnTo>
                    <a:pt x="342" y="77"/>
                  </a:lnTo>
                  <a:lnTo>
                    <a:pt x="342" y="78"/>
                  </a:lnTo>
                  <a:lnTo>
                    <a:pt x="344" y="80"/>
                  </a:lnTo>
                  <a:lnTo>
                    <a:pt x="344" y="84"/>
                  </a:lnTo>
                  <a:lnTo>
                    <a:pt x="344" y="85"/>
                  </a:lnTo>
                  <a:lnTo>
                    <a:pt x="344" y="82"/>
                  </a:lnTo>
                  <a:lnTo>
                    <a:pt x="347" y="80"/>
                  </a:lnTo>
                  <a:lnTo>
                    <a:pt x="347" y="82"/>
                  </a:lnTo>
                  <a:lnTo>
                    <a:pt x="350" y="84"/>
                  </a:lnTo>
                  <a:lnTo>
                    <a:pt x="350" y="85"/>
                  </a:lnTo>
                  <a:lnTo>
                    <a:pt x="352" y="85"/>
                  </a:lnTo>
                  <a:lnTo>
                    <a:pt x="354" y="85"/>
                  </a:lnTo>
                  <a:lnTo>
                    <a:pt x="355" y="89"/>
                  </a:lnTo>
                  <a:lnTo>
                    <a:pt x="357" y="89"/>
                  </a:lnTo>
                  <a:lnTo>
                    <a:pt x="359" y="90"/>
                  </a:lnTo>
                  <a:lnTo>
                    <a:pt x="359" y="92"/>
                  </a:lnTo>
                  <a:lnTo>
                    <a:pt x="360" y="90"/>
                  </a:lnTo>
                  <a:lnTo>
                    <a:pt x="364" y="92"/>
                  </a:lnTo>
                  <a:lnTo>
                    <a:pt x="366" y="92"/>
                  </a:lnTo>
                  <a:lnTo>
                    <a:pt x="367" y="92"/>
                  </a:lnTo>
                  <a:lnTo>
                    <a:pt x="367" y="94"/>
                  </a:lnTo>
                  <a:lnTo>
                    <a:pt x="371" y="94"/>
                  </a:lnTo>
                  <a:lnTo>
                    <a:pt x="372" y="94"/>
                  </a:lnTo>
                  <a:lnTo>
                    <a:pt x="376" y="94"/>
                  </a:lnTo>
                  <a:lnTo>
                    <a:pt x="376" y="92"/>
                  </a:lnTo>
                  <a:lnTo>
                    <a:pt x="379" y="94"/>
                  </a:lnTo>
                  <a:lnTo>
                    <a:pt x="379" y="92"/>
                  </a:lnTo>
                  <a:lnTo>
                    <a:pt x="383" y="94"/>
                  </a:lnTo>
                  <a:lnTo>
                    <a:pt x="383" y="92"/>
                  </a:lnTo>
                  <a:lnTo>
                    <a:pt x="384" y="92"/>
                  </a:lnTo>
                  <a:lnTo>
                    <a:pt x="386" y="90"/>
                  </a:lnTo>
                  <a:lnTo>
                    <a:pt x="389" y="90"/>
                  </a:lnTo>
                  <a:lnTo>
                    <a:pt x="389" y="92"/>
                  </a:lnTo>
                  <a:close/>
                  <a:moveTo>
                    <a:pt x="621" y="366"/>
                  </a:moveTo>
                  <a:lnTo>
                    <a:pt x="621" y="368"/>
                  </a:lnTo>
                  <a:lnTo>
                    <a:pt x="617" y="368"/>
                  </a:lnTo>
                  <a:lnTo>
                    <a:pt x="615" y="369"/>
                  </a:lnTo>
                  <a:lnTo>
                    <a:pt x="614" y="369"/>
                  </a:lnTo>
                  <a:lnTo>
                    <a:pt x="614" y="371"/>
                  </a:lnTo>
                  <a:lnTo>
                    <a:pt x="615" y="373"/>
                  </a:lnTo>
                  <a:lnTo>
                    <a:pt x="617" y="373"/>
                  </a:lnTo>
                  <a:lnTo>
                    <a:pt x="619" y="371"/>
                  </a:lnTo>
                  <a:lnTo>
                    <a:pt x="621" y="371"/>
                  </a:lnTo>
                  <a:lnTo>
                    <a:pt x="619" y="371"/>
                  </a:lnTo>
                  <a:lnTo>
                    <a:pt x="621" y="373"/>
                  </a:lnTo>
                  <a:lnTo>
                    <a:pt x="619" y="374"/>
                  </a:lnTo>
                  <a:lnTo>
                    <a:pt x="617" y="374"/>
                  </a:lnTo>
                  <a:lnTo>
                    <a:pt x="615" y="374"/>
                  </a:lnTo>
                  <a:lnTo>
                    <a:pt x="615" y="376"/>
                  </a:lnTo>
                  <a:lnTo>
                    <a:pt x="615" y="378"/>
                  </a:lnTo>
                  <a:lnTo>
                    <a:pt x="617" y="380"/>
                  </a:lnTo>
                  <a:lnTo>
                    <a:pt x="619" y="381"/>
                  </a:lnTo>
                  <a:lnTo>
                    <a:pt x="621" y="381"/>
                  </a:lnTo>
                  <a:lnTo>
                    <a:pt x="622" y="383"/>
                  </a:lnTo>
                  <a:lnTo>
                    <a:pt x="624" y="381"/>
                  </a:lnTo>
                  <a:lnTo>
                    <a:pt x="626" y="381"/>
                  </a:lnTo>
                  <a:lnTo>
                    <a:pt x="627" y="380"/>
                  </a:lnTo>
                  <a:lnTo>
                    <a:pt x="629" y="380"/>
                  </a:lnTo>
                  <a:lnTo>
                    <a:pt x="631" y="381"/>
                  </a:lnTo>
                  <a:lnTo>
                    <a:pt x="632" y="383"/>
                  </a:lnTo>
                  <a:lnTo>
                    <a:pt x="634" y="383"/>
                  </a:lnTo>
                  <a:lnTo>
                    <a:pt x="632" y="385"/>
                  </a:lnTo>
                  <a:lnTo>
                    <a:pt x="634" y="385"/>
                  </a:lnTo>
                  <a:lnTo>
                    <a:pt x="632" y="385"/>
                  </a:lnTo>
                  <a:lnTo>
                    <a:pt x="632" y="386"/>
                  </a:lnTo>
                  <a:lnTo>
                    <a:pt x="632" y="388"/>
                  </a:lnTo>
                  <a:lnTo>
                    <a:pt x="631" y="390"/>
                  </a:lnTo>
                  <a:lnTo>
                    <a:pt x="629" y="390"/>
                  </a:lnTo>
                  <a:lnTo>
                    <a:pt x="629" y="393"/>
                  </a:lnTo>
                  <a:lnTo>
                    <a:pt x="629" y="395"/>
                  </a:lnTo>
                  <a:lnTo>
                    <a:pt x="627" y="395"/>
                  </a:lnTo>
                  <a:lnTo>
                    <a:pt x="627" y="397"/>
                  </a:lnTo>
                  <a:lnTo>
                    <a:pt x="626" y="397"/>
                  </a:lnTo>
                  <a:lnTo>
                    <a:pt x="624" y="398"/>
                  </a:lnTo>
                  <a:lnTo>
                    <a:pt x="622" y="400"/>
                  </a:lnTo>
                  <a:lnTo>
                    <a:pt x="622" y="402"/>
                  </a:lnTo>
                  <a:lnTo>
                    <a:pt x="621" y="403"/>
                  </a:lnTo>
                  <a:lnTo>
                    <a:pt x="621" y="405"/>
                  </a:lnTo>
                  <a:lnTo>
                    <a:pt x="619" y="407"/>
                  </a:lnTo>
                  <a:lnTo>
                    <a:pt x="617" y="408"/>
                  </a:lnTo>
                  <a:lnTo>
                    <a:pt x="619" y="408"/>
                  </a:lnTo>
                  <a:lnTo>
                    <a:pt x="615" y="408"/>
                  </a:lnTo>
                  <a:lnTo>
                    <a:pt x="615" y="410"/>
                  </a:lnTo>
                  <a:lnTo>
                    <a:pt x="614" y="410"/>
                  </a:lnTo>
                  <a:lnTo>
                    <a:pt x="612" y="412"/>
                  </a:lnTo>
                  <a:lnTo>
                    <a:pt x="610" y="414"/>
                  </a:lnTo>
                  <a:lnTo>
                    <a:pt x="609" y="415"/>
                  </a:lnTo>
                  <a:lnTo>
                    <a:pt x="607" y="415"/>
                  </a:lnTo>
                  <a:lnTo>
                    <a:pt x="607" y="412"/>
                  </a:lnTo>
                  <a:lnTo>
                    <a:pt x="605" y="412"/>
                  </a:lnTo>
                  <a:lnTo>
                    <a:pt x="605" y="410"/>
                  </a:lnTo>
                  <a:lnTo>
                    <a:pt x="605" y="408"/>
                  </a:lnTo>
                  <a:lnTo>
                    <a:pt x="604" y="407"/>
                  </a:lnTo>
                  <a:lnTo>
                    <a:pt x="600" y="408"/>
                  </a:lnTo>
                  <a:lnTo>
                    <a:pt x="598" y="407"/>
                  </a:lnTo>
                  <a:lnTo>
                    <a:pt x="597" y="407"/>
                  </a:lnTo>
                  <a:lnTo>
                    <a:pt x="593" y="407"/>
                  </a:lnTo>
                  <a:lnTo>
                    <a:pt x="593" y="405"/>
                  </a:lnTo>
                  <a:lnTo>
                    <a:pt x="592" y="403"/>
                  </a:lnTo>
                  <a:lnTo>
                    <a:pt x="592" y="400"/>
                  </a:lnTo>
                  <a:lnTo>
                    <a:pt x="592" y="398"/>
                  </a:lnTo>
                  <a:lnTo>
                    <a:pt x="593" y="395"/>
                  </a:lnTo>
                  <a:lnTo>
                    <a:pt x="592" y="393"/>
                  </a:lnTo>
                  <a:lnTo>
                    <a:pt x="588" y="391"/>
                  </a:lnTo>
                  <a:lnTo>
                    <a:pt x="587" y="391"/>
                  </a:lnTo>
                  <a:lnTo>
                    <a:pt x="587" y="393"/>
                  </a:lnTo>
                  <a:lnTo>
                    <a:pt x="585" y="391"/>
                  </a:lnTo>
                  <a:lnTo>
                    <a:pt x="585" y="393"/>
                  </a:lnTo>
                  <a:lnTo>
                    <a:pt x="583" y="393"/>
                  </a:lnTo>
                  <a:lnTo>
                    <a:pt x="581" y="393"/>
                  </a:lnTo>
                  <a:lnTo>
                    <a:pt x="581" y="395"/>
                  </a:lnTo>
                  <a:lnTo>
                    <a:pt x="580" y="397"/>
                  </a:lnTo>
                  <a:lnTo>
                    <a:pt x="580" y="398"/>
                  </a:lnTo>
                  <a:lnTo>
                    <a:pt x="578" y="397"/>
                  </a:lnTo>
                  <a:lnTo>
                    <a:pt x="578" y="395"/>
                  </a:lnTo>
                  <a:lnTo>
                    <a:pt x="576" y="395"/>
                  </a:lnTo>
                  <a:lnTo>
                    <a:pt x="578" y="393"/>
                  </a:lnTo>
                  <a:lnTo>
                    <a:pt x="576" y="391"/>
                  </a:lnTo>
                  <a:lnTo>
                    <a:pt x="575" y="393"/>
                  </a:lnTo>
                  <a:lnTo>
                    <a:pt x="575" y="391"/>
                  </a:lnTo>
                  <a:lnTo>
                    <a:pt x="573" y="393"/>
                  </a:lnTo>
                  <a:lnTo>
                    <a:pt x="573" y="391"/>
                  </a:lnTo>
                  <a:lnTo>
                    <a:pt x="571" y="391"/>
                  </a:lnTo>
                  <a:lnTo>
                    <a:pt x="573" y="391"/>
                  </a:lnTo>
                  <a:lnTo>
                    <a:pt x="571" y="390"/>
                  </a:lnTo>
                  <a:lnTo>
                    <a:pt x="571" y="386"/>
                  </a:lnTo>
                  <a:lnTo>
                    <a:pt x="575" y="386"/>
                  </a:lnTo>
                  <a:lnTo>
                    <a:pt x="576" y="385"/>
                  </a:lnTo>
                  <a:lnTo>
                    <a:pt x="578" y="383"/>
                  </a:lnTo>
                  <a:lnTo>
                    <a:pt x="580" y="383"/>
                  </a:lnTo>
                  <a:lnTo>
                    <a:pt x="581" y="381"/>
                  </a:lnTo>
                  <a:lnTo>
                    <a:pt x="583" y="381"/>
                  </a:lnTo>
                  <a:lnTo>
                    <a:pt x="585" y="380"/>
                  </a:lnTo>
                  <a:lnTo>
                    <a:pt x="588" y="378"/>
                  </a:lnTo>
                  <a:lnTo>
                    <a:pt x="590" y="376"/>
                  </a:lnTo>
                  <a:lnTo>
                    <a:pt x="590" y="374"/>
                  </a:lnTo>
                  <a:lnTo>
                    <a:pt x="592" y="374"/>
                  </a:lnTo>
                  <a:lnTo>
                    <a:pt x="593" y="374"/>
                  </a:lnTo>
                  <a:lnTo>
                    <a:pt x="595" y="373"/>
                  </a:lnTo>
                  <a:lnTo>
                    <a:pt x="597" y="371"/>
                  </a:lnTo>
                  <a:lnTo>
                    <a:pt x="597" y="373"/>
                  </a:lnTo>
                  <a:lnTo>
                    <a:pt x="597" y="371"/>
                  </a:lnTo>
                  <a:lnTo>
                    <a:pt x="598" y="371"/>
                  </a:lnTo>
                  <a:lnTo>
                    <a:pt x="600" y="371"/>
                  </a:lnTo>
                  <a:lnTo>
                    <a:pt x="602" y="369"/>
                  </a:lnTo>
                  <a:lnTo>
                    <a:pt x="604" y="369"/>
                  </a:lnTo>
                  <a:lnTo>
                    <a:pt x="605" y="368"/>
                  </a:lnTo>
                  <a:lnTo>
                    <a:pt x="607" y="368"/>
                  </a:lnTo>
                  <a:lnTo>
                    <a:pt x="609" y="368"/>
                  </a:lnTo>
                  <a:lnTo>
                    <a:pt x="610" y="366"/>
                  </a:lnTo>
                  <a:lnTo>
                    <a:pt x="614" y="368"/>
                  </a:lnTo>
                  <a:lnTo>
                    <a:pt x="612" y="368"/>
                  </a:lnTo>
                  <a:lnTo>
                    <a:pt x="615" y="368"/>
                  </a:lnTo>
                  <a:lnTo>
                    <a:pt x="619" y="366"/>
                  </a:lnTo>
                  <a:lnTo>
                    <a:pt x="621" y="366"/>
                  </a:lnTo>
                  <a:close/>
                  <a:moveTo>
                    <a:pt x="670" y="361"/>
                  </a:moveTo>
                  <a:lnTo>
                    <a:pt x="670" y="364"/>
                  </a:lnTo>
                  <a:lnTo>
                    <a:pt x="672" y="362"/>
                  </a:lnTo>
                  <a:lnTo>
                    <a:pt x="672" y="366"/>
                  </a:lnTo>
                  <a:lnTo>
                    <a:pt x="673" y="364"/>
                  </a:lnTo>
                  <a:lnTo>
                    <a:pt x="672" y="362"/>
                  </a:lnTo>
                  <a:lnTo>
                    <a:pt x="673" y="362"/>
                  </a:lnTo>
                  <a:lnTo>
                    <a:pt x="675" y="362"/>
                  </a:lnTo>
                  <a:lnTo>
                    <a:pt x="673" y="366"/>
                  </a:lnTo>
                  <a:lnTo>
                    <a:pt x="675" y="366"/>
                  </a:lnTo>
                  <a:lnTo>
                    <a:pt x="675" y="368"/>
                  </a:lnTo>
                  <a:lnTo>
                    <a:pt x="677" y="368"/>
                  </a:lnTo>
                  <a:lnTo>
                    <a:pt x="680" y="368"/>
                  </a:lnTo>
                  <a:lnTo>
                    <a:pt x="678" y="369"/>
                  </a:lnTo>
                  <a:lnTo>
                    <a:pt x="678" y="371"/>
                  </a:lnTo>
                  <a:lnTo>
                    <a:pt x="680" y="371"/>
                  </a:lnTo>
                  <a:lnTo>
                    <a:pt x="678" y="373"/>
                  </a:lnTo>
                  <a:lnTo>
                    <a:pt x="680" y="376"/>
                  </a:lnTo>
                  <a:lnTo>
                    <a:pt x="682" y="378"/>
                  </a:lnTo>
                  <a:lnTo>
                    <a:pt x="680" y="378"/>
                  </a:lnTo>
                  <a:lnTo>
                    <a:pt x="680" y="376"/>
                  </a:lnTo>
                  <a:lnTo>
                    <a:pt x="678" y="376"/>
                  </a:lnTo>
                  <a:lnTo>
                    <a:pt x="680" y="376"/>
                  </a:lnTo>
                  <a:lnTo>
                    <a:pt x="680" y="378"/>
                  </a:lnTo>
                  <a:lnTo>
                    <a:pt x="680" y="380"/>
                  </a:lnTo>
                  <a:lnTo>
                    <a:pt x="678" y="381"/>
                  </a:lnTo>
                  <a:lnTo>
                    <a:pt x="677" y="381"/>
                  </a:lnTo>
                  <a:lnTo>
                    <a:pt x="675" y="380"/>
                  </a:lnTo>
                  <a:lnTo>
                    <a:pt x="673" y="380"/>
                  </a:lnTo>
                  <a:lnTo>
                    <a:pt x="672" y="378"/>
                  </a:lnTo>
                  <a:lnTo>
                    <a:pt x="670" y="376"/>
                  </a:lnTo>
                  <a:lnTo>
                    <a:pt x="668" y="376"/>
                  </a:lnTo>
                  <a:lnTo>
                    <a:pt x="666" y="374"/>
                  </a:lnTo>
                  <a:lnTo>
                    <a:pt x="665" y="373"/>
                  </a:lnTo>
                  <a:lnTo>
                    <a:pt x="663" y="373"/>
                  </a:lnTo>
                  <a:lnTo>
                    <a:pt x="663" y="371"/>
                  </a:lnTo>
                  <a:lnTo>
                    <a:pt x="661" y="371"/>
                  </a:lnTo>
                  <a:lnTo>
                    <a:pt x="658" y="373"/>
                  </a:lnTo>
                  <a:lnTo>
                    <a:pt x="658" y="371"/>
                  </a:lnTo>
                  <a:lnTo>
                    <a:pt x="658" y="373"/>
                  </a:lnTo>
                  <a:lnTo>
                    <a:pt x="655" y="371"/>
                  </a:lnTo>
                  <a:lnTo>
                    <a:pt x="655" y="369"/>
                  </a:lnTo>
                  <a:lnTo>
                    <a:pt x="655" y="368"/>
                  </a:lnTo>
                  <a:lnTo>
                    <a:pt x="656" y="368"/>
                  </a:lnTo>
                  <a:lnTo>
                    <a:pt x="655" y="366"/>
                  </a:lnTo>
                  <a:lnTo>
                    <a:pt x="656" y="366"/>
                  </a:lnTo>
                  <a:lnTo>
                    <a:pt x="653" y="366"/>
                  </a:lnTo>
                  <a:lnTo>
                    <a:pt x="653" y="364"/>
                  </a:lnTo>
                  <a:lnTo>
                    <a:pt x="655" y="362"/>
                  </a:lnTo>
                  <a:lnTo>
                    <a:pt x="658" y="362"/>
                  </a:lnTo>
                  <a:lnTo>
                    <a:pt x="660" y="362"/>
                  </a:lnTo>
                  <a:lnTo>
                    <a:pt x="661" y="362"/>
                  </a:lnTo>
                  <a:lnTo>
                    <a:pt x="663" y="362"/>
                  </a:lnTo>
                  <a:lnTo>
                    <a:pt x="666" y="362"/>
                  </a:lnTo>
                  <a:lnTo>
                    <a:pt x="668" y="364"/>
                  </a:lnTo>
                  <a:lnTo>
                    <a:pt x="670" y="362"/>
                  </a:lnTo>
                  <a:lnTo>
                    <a:pt x="670" y="361"/>
                  </a:lnTo>
                  <a:close/>
                  <a:moveTo>
                    <a:pt x="524" y="417"/>
                  </a:moveTo>
                  <a:lnTo>
                    <a:pt x="524" y="419"/>
                  </a:lnTo>
                  <a:lnTo>
                    <a:pt x="527" y="419"/>
                  </a:lnTo>
                  <a:lnTo>
                    <a:pt x="525" y="420"/>
                  </a:lnTo>
                  <a:lnTo>
                    <a:pt x="527" y="424"/>
                  </a:lnTo>
                  <a:lnTo>
                    <a:pt x="525" y="424"/>
                  </a:lnTo>
                  <a:lnTo>
                    <a:pt x="524" y="425"/>
                  </a:lnTo>
                  <a:lnTo>
                    <a:pt x="522" y="425"/>
                  </a:lnTo>
                  <a:lnTo>
                    <a:pt x="520" y="429"/>
                  </a:lnTo>
                  <a:lnTo>
                    <a:pt x="519" y="431"/>
                  </a:lnTo>
                  <a:lnTo>
                    <a:pt x="517" y="431"/>
                  </a:lnTo>
                  <a:lnTo>
                    <a:pt x="515" y="431"/>
                  </a:lnTo>
                  <a:lnTo>
                    <a:pt x="513" y="432"/>
                  </a:lnTo>
                  <a:lnTo>
                    <a:pt x="513" y="436"/>
                  </a:lnTo>
                  <a:lnTo>
                    <a:pt x="512" y="434"/>
                  </a:lnTo>
                  <a:lnTo>
                    <a:pt x="512" y="436"/>
                  </a:lnTo>
                  <a:lnTo>
                    <a:pt x="512" y="434"/>
                  </a:lnTo>
                  <a:lnTo>
                    <a:pt x="510" y="432"/>
                  </a:lnTo>
                  <a:lnTo>
                    <a:pt x="508" y="434"/>
                  </a:lnTo>
                  <a:lnTo>
                    <a:pt x="508" y="432"/>
                  </a:lnTo>
                  <a:lnTo>
                    <a:pt x="507" y="432"/>
                  </a:lnTo>
                  <a:lnTo>
                    <a:pt x="505" y="432"/>
                  </a:lnTo>
                  <a:lnTo>
                    <a:pt x="503" y="432"/>
                  </a:lnTo>
                  <a:lnTo>
                    <a:pt x="503" y="429"/>
                  </a:lnTo>
                  <a:lnTo>
                    <a:pt x="505" y="427"/>
                  </a:lnTo>
                  <a:lnTo>
                    <a:pt x="503" y="425"/>
                  </a:lnTo>
                  <a:lnTo>
                    <a:pt x="505" y="424"/>
                  </a:lnTo>
                  <a:lnTo>
                    <a:pt x="505" y="425"/>
                  </a:lnTo>
                  <a:lnTo>
                    <a:pt x="508" y="425"/>
                  </a:lnTo>
                  <a:lnTo>
                    <a:pt x="508" y="424"/>
                  </a:lnTo>
                  <a:lnTo>
                    <a:pt x="508" y="422"/>
                  </a:lnTo>
                  <a:lnTo>
                    <a:pt x="508" y="420"/>
                  </a:lnTo>
                  <a:lnTo>
                    <a:pt x="512" y="419"/>
                  </a:lnTo>
                  <a:lnTo>
                    <a:pt x="513" y="419"/>
                  </a:lnTo>
                  <a:lnTo>
                    <a:pt x="515" y="419"/>
                  </a:lnTo>
                  <a:lnTo>
                    <a:pt x="517" y="419"/>
                  </a:lnTo>
                  <a:lnTo>
                    <a:pt x="517" y="417"/>
                  </a:lnTo>
                  <a:lnTo>
                    <a:pt x="517" y="419"/>
                  </a:lnTo>
                  <a:lnTo>
                    <a:pt x="519" y="417"/>
                  </a:lnTo>
                  <a:lnTo>
                    <a:pt x="520" y="417"/>
                  </a:lnTo>
                  <a:lnTo>
                    <a:pt x="522" y="417"/>
                  </a:lnTo>
                  <a:lnTo>
                    <a:pt x="524" y="417"/>
                  </a:lnTo>
                  <a:close/>
                  <a:moveTo>
                    <a:pt x="515" y="441"/>
                  </a:moveTo>
                  <a:lnTo>
                    <a:pt x="515" y="444"/>
                  </a:lnTo>
                  <a:lnTo>
                    <a:pt x="517" y="444"/>
                  </a:lnTo>
                  <a:lnTo>
                    <a:pt x="517" y="446"/>
                  </a:lnTo>
                  <a:lnTo>
                    <a:pt x="519" y="448"/>
                  </a:lnTo>
                  <a:lnTo>
                    <a:pt x="522" y="446"/>
                  </a:lnTo>
                  <a:lnTo>
                    <a:pt x="522" y="448"/>
                  </a:lnTo>
                  <a:lnTo>
                    <a:pt x="520" y="449"/>
                  </a:lnTo>
                  <a:lnTo>
                    <a:pt x="519" y="449"/>
                  </a:lnTo>
                  <a:lnTo>
                    <a:pt x="517" y="448"/>
                  </a:lnTo>
                  <a:lnTo>
                    <a:pt x="515" y="446"/>
                  </a:lnTo>
                  <a:lnTo>
                    <a:pt x="513" y="448"/>
                  </a:lnTo>
                  <a:lnTo>
                    <a:pt x="512" y="449"/>
                  </a:lnTo>
                  <a:lnTo>
                    <a:pt x="510" y="449"/>
                  </a:lnTo>
                  <a:lnTo>
                    <a:pt x="510" y="448"/>
                  </a:lnTo>
                  <a:lnTo>
                    <a:pt x="510" y="446"/>
                  </a:lnTo>
                  <a:lnTo>
                    <a:pt x="512" y="444"/>
                  </a:lnTo>
                  <a:lnTo>
                    <a:pt x="512" y="442"/>
                  </a:lnTo>
                  <a:lnTo>
                    <a:pt x="513" y="444"/>
                  </a:lnTo>
                  <a:lnTo>
                    <a:pt x="513" y="442"/>
                  </a:lnTo>
                  <a:lnTo>
                    <a:pt x="515" y="441"/>
                  </a:lnTo>
                  <a:lnTo>
                    <a:pt x="513" y="441"/>
                  </a:lnTo>
                  <a:lnTo>
                    <a:pt x="515" y="441"/>
                  </a:lnTo>
                  <a:close/>
                  <a:moveTo>
                    <a:pt x="95" y="579"/>
                  </a:moveTo>
                  <a:lnTo>
                    <a:pt x="97" y="580"/>
                  </a:lnTo>
                  <a:lnTo>
                    <a:pt x="99" y="580"/>
                  </a:lnTo>
                  <a:lnTo>
                    <a:pt x="97" y="580"/>
                  </a:lnTo>
                  <a:lnTo>
                    <a:pt x="99" y="582"/>
                  </a:lnTo>
                  <a:lnTo>
                    <a:pt x="100" y="580"/>
                  </a:lnTo>
                  <a:lnTo>
                    <a:pt x="100" y="582"/>
                  </a:lnTo>
                  <a:lnTo>
                    <a:pt x="97" y="582"/>
                  </a:lnTo>
                  <a:lnTo>
                    <a:pt x="95" y="582"/>
                  </a:lnTo>
                  <a:lnTo>
                    <a:pt x="95" y="579"/>
                  </a:lnTo>
                  <a:close/>
                  <a:moveTo>
                    <a:pt x="29" y="473"/>
                  </a:moveTo>
                  <a:lnTo>
                    <a:pt x="31" y="473"/>
                  </a:lnTo>
                  <a:lnTo>
                    <a:pt x="31" y="475"/>
                  </a:lnTo>
                  <a:lnTo>
                    <a:pt x="31" y="473"/>
                  </a:lnTo>
                  <a:lnTo>
                    <a:pt x="29" y="473"/>
                  </a:lnTo>
                  <a:lnTo>
                    <a:pt x="29" y="471"/>
                  </a:lnTo>
                  <a:lnTo>
                    <a:pt x="27" y="470"/>
                  </a:lnTo>
                  <a:lnTo>
                    <a:pt x="26" y="470"/>
                  </a:lnTo>
                  <a:lnTo>
                    <a:pt x="26" y="468"/>
                  </a:lnTo>
                  <a:lnTo>
                    <a:pt x="26" y="466"/>
                  </a:lnTo>
                  <a:lnTo>
                    <a:pt x="27" y="468"/>
                  </a:lnTo>
                  <a:lnTo>
                    <a:pt x="27" y="470"/>
                  </a:lnTo>
                  <a:lnTo>
                    <a:pt x="29" y="471"/>
                  </a:lnTo>
                  <a:lnTo>
                    <a:pt x="29" y="473"/>
                  </a:lnTo>
                  <a:close/>
                  <a:moveTo>
                    <a:pt x="573" y="179"/>
                  </a:moveTo>
                  <a:lnTo>
                    <a:pt x="576" y="180"/>
                  </a:lnTo>
                  <a:lnTo>
                    <a:pt x="575" y="182"/>
                  </a:lnTo>
                  <a:lnTo>
                    <a:pt x="573" y="182"/>
                  </a:lnTo>
                  <a:lnTo>
                    <a:pt x="573" y="179"/>
                  </a:lnTo>
                  <a:close/>
                  <a:moveTo>
                    <a:pt x="228" y="650"/>
                  </a:moveTo>
                  <a:lnTo>
                    <a:pt x="228" y="652"/>
                  </a:lnTo>
                  <a:lnTo>
                    <a:pt x="226" y="653"/>
                  </a:lnTo>
                  <a:lnTo>
                    <a:pt x="226" y="652"/>
                  </a:lnTo>
                  <a:lnTo>
                    <a:pt x="228" y="650"/>
                  </a:lnTo>
                  <a:close/>
                  <a:moveTo>
                    <a:pt x="602" y="420"/>
                  </a:moveTo>
                  <a:lnTo>
                    <a:pt x="604" y="422"/>
                  </a:lnTo>
                  <a:lnTo>
                    <a:pt x="602" y="422"/>
                  </a:lnTo>
                  <a:lnTo>
                    <a:pt x="602" y="424"/>
                  </a:lnTo>
                  <a:lnTo>
                    <a:pt x="600" y="424"/>
                  </a:lnTo>
                  <a:lnTo>
                    <a:pt x="600" y="422"/>
                  </a:lnTo>
                  <a:lnTo>
                    <a:pt x="602" y="420"/>
                  </a:lnTo>
                  <a:close/>
                  <a:moveTo>
                    <a:pt x="4" y="463"/>
                  </a:moveTo>
                  <a:lnTo>
                    <a:pt x="5" y="465"/>
                  </a:lnTo>
                  <a:lnTo>
                    <a:pt x="2" y="463"/>
                  </a:lnTo>
                  <a:lnTo>
                    <a:pt x="0" y="463"/>
                  </a:lnTo>
                  <a:lnTo>
                    <a:pt x="2" y="463"/>
                  </a:lnTo>
                  <a:lnTo>
                    <a:pt x="0" y="461"/>
                  </a:lnTo>
                  <a:lnTo>
                    <a:pt x="4" y="463"/>
                  </a:lnTo>
                  <a:lnTo>
                    <a:pt x="4" y="461"/>
                  </a:lnTo>
                  <a:lnTo>
                    <a:pt x="4" y="463"/>
                  </a:lnTo>
                  <a:close/>
                  <a:moveTo>
                    <a:pt x="17" y="68"/>
                  </a:moveTo>
                  <a:lnTo>
                    <a:pt x="21" y="70"/>
                  </a:lnTo>
                  <a:lnTo>
                    <a:pt x="19" y="72"/>
                  </a:lnTo>
                  <a:lnTo>
                    <a:pt x="17" y="72"/>
                  </a:lnTo>
                  <a:lnTo>
                    <a:pt x="17" y="68"/>
                  </a:lnTo>
                  <a:close/>
                  <a:moveTo>
                    <a:pt x="24" y="463"/>
                  </a:moveTo>
                  <a:lnTo>
                    <a:pt x="26" y="465"/>
                  </a:lnTo>
                  <a:lnTo>
                    <a:pt x="26" y="466"/>
                  </a:lnTo>
                  <a:lnTo>
                    <a:pt x="24" y="466"/>
                  </a:lnTo>
                  <a:lnTo>
                    <a:pt x="24" y="463"/>
                  </a:lnTo>
                  <a:close/>
                  <a:moveTo>
                    <a:pt x="383" y="497"/>
                  </a:moveTo>
                  <a:lnTo>
                    <a:pt x="384" y="497"/>
                  </a:lnTo>
                  <a:lnTo>
                    <a:pt x="383" y="499"/>
                  </a:lnTo>
                  <a:lnTo>
                    <a:pt x="383" y="502"/>
                  </a:lnTo>
                  <a:lnTo>
                    <a:pt x="383" y="504"/>
                  </a:lnTo>
                  <a:lnTo>
                    <a:pt x="383" y="500"/>
                  </a:lnTo>
                  <a:lnTo>
                    <a:pt x="383" y="497"/>
                  </a:lnTo>
                  <a:close/>
                  <a:moveTo>
                    <a:pt x="12" y="80"/>
                  </a:moveTo>
                  <a:lnTo>
                    <a:pt x="14" y="80"/>
                  </a:lnTo>
                  <a:lnTo>
                    <a:pt x="12" y="84"/>
                  </a:lnTo>
                  <a:lnTo>
                    <a:pt x="10" y="84"/>
                  </a:lnTo>
                  <a:lnTo>
                    <a:pt x="12" y="80"/>
                  </a:lnTo>
                  <a:close/>
                  <a:moveTo>
                    <a:pt x="32" y="461"/>
                  </a:moveTo>
                  <a:lnTo>
                    <a:pt x="34" y="461"/>
                  </a:lnTo>
                  <a:lnTo>
                    <a:pt x="32" y="463"/>
                  </a:lnTo>
                  <a:lnTo>
                    <a:pt x="32" y="461"/>
                  </a:lnTo>
                  <a:close/>
                  <a:moveTo>
                    <a:pt x="10" y="90"/>
                  </a:moveTo>
                  <a:lnTo>
                    <a:pt x="12" y="90"/>
                  </a:lnTo>
                  <a:lnTo>
                    <a:pt x="10" y="94"/>
                  </a:lnTo>
                  <a:lnTo>
                    <a:pt x="10" y="90"/>
                  </a:lnTo>
                  <a:close/>
                  <a:moveTo>
                    <a:pt x="26" y="463"/>
                  </a:moveTo>
                  <a:lnTo>
                    <a:pt x="27" y="465"/>
                  </a:lnTo>
                  <a:lnTo>
                    <a:pt x="26" y="466"/>
                  </a:lnTo>
                  <a:lnTo>
                    <a:pt x="26" y="463"/>
                  </a:lnTo>
                  <a:close/>
                  <a:moveTo>
                    <a:pt x="570" y="386"/>
                  </a:moveTo>
                  <a:lnTo>
                    <a:pt x="571" y="386"/>
                  </a:lnTo>
                  <a:lnTo>
                    <a:pt x="571" y="388"/>
                  </a:lnTo>
                  <a:lnTo>
                    <a:pt x="570" y="388"/>
                  </a:lnTo>
                  <a:lnTo>
                    <a:pt x="570" y="386"/>
                  </a:lnTo>
                  <a:close/>
                  <a:moveTo>
                    <a:pt x="10" y="73"/>
                  </a:moveTo>
                  <a:lnTo>
                    <a:pt x="10" y="75"/>
                  </a:lnTo>
                  <a:lnTo>
                    <a:pt x="10" y="73"/>
                  </a:lnTo>
                  <a:close/>
                  <a:moveTo>
                    <a:pt x="383" y="493"/>
                  </a:moveTo>
                  <a:lnTo>
                    <a:pt x="384" y="495"/>
                  </a:lnTo>
                  <a:lnTo>
                    <a:pt x="384" y="497"/>
                  </a:lnTo>
                  <a:lnTo>
                    <a:pt x="383" y="497"/>
                  </a:lnTo>
                  <a:lnTo>
                    <a:pt x="383" y="493"/>
                  </a:lnTo>
                  <a:close/>
                  <a:moveTo>
                    <a:pt x="10" y="94"/>
                  </a:moveTo>
                  <a:lnTo>
                    <a:pt x="10" y="95"/>
                  </a:lnTo>
                  <a:lnTo>
                    <a:pt x="10" y="94"/>
                  </a:lnTo>
                  <a:close/>
                  <a:moveTo>
                    <a:pt x="513" y="439"/>
                  </a:moveTo>
                  <a:lnTo>
                    <a:pt x="515" y="439"/>
                  </a:lnTo>
                  <a:lnTo>
                    <a:pt x="513" y="439"/>
                  </a:lnTo>
                  <a:close/>
                  <a:moveTo>
                    <a:pt x="19" y="73"/>
                  </a:moveTo>
                  <a:lnTo>
                    <a:pt x="19" y="75"/>
                  </a:lnTo>
                  <a:lnTo>
                    <a:pt x="19" y="7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187" name="Freeform 17">
              <a:extLst>
                <a:ext uri="{FF2B5EF4-FFF2-40B4-BE49-F238E27FC236}">
                  <a16:creationId xmlns:a16="http://schemas.microsoft.com/office/drawing/2014/main" id="{2EF69C90-7328-4A79-AE67-071A5D69B628}"/>
                </a:ext>
              </a:extLst>
            </p:cNvPr>
            <p:cNvSpPr>
              <a:spLocks noEditPoints="1"/>
            </p:cNvSpPr>
            <p:nvPr/>
          </p:nvSpPr>
          <p:spPr bwMode="gray">
            <a:xfrm>
              <a:off x="13702369" y="4407833"/>
              <a:ext cx="882897" cy="776238"/>
            </a:xfrm>
            <a:custGeom>
              <a:avLst/>
              <a:gdLst>
                <a:gd name="T0" fmla="*/ 181 w 298"/>
                <a:gd name="T1" fmla="*/ 14 h 262"/>
                <a:gd name="T2" fmla="*/ 208 w 298"/>
                <a:gd name="T3" fmla="*/ 34 h 262"/>
                <a:gd name="T4" fmla="*/ 235 w 298"/>
                <a:gd name="T5" fmla="*/ 48 h 262"/>
                <a:gd name="T6" fmla="*/ 260 w 298"/>
                <a:gd name="T7" fmla="*/ 36 h 262"/>
                <a:gd name="T8" fmla="*/ 277 w 298"/>
                <a:gd name="T9" fmla="*/ 36 h 262"/>
                <a:gd name="T10" fmla="*/ 286 w 298"/>
                <a:gd name="T11" fmla="*/ 45 h 262"/>
                <a:gd name="T12" fmla="*/ 262 w 298"/>
                <a:gd name="T13" fmla="*/ 53 h 262"/>
                <a:gd name="T14" fmla="*/ 252 w 298"/>
                <a:gd name="T15" fmla="*/ 80 h 262"/>
                <a:gd name="T16" fmla="*/ 262 w 298"/>
                <a:gd name="T17" fmla="*/ 111 h 262"/>
                <a:gd name="T18" fmla="*/ 272 w 298"/>
                <a:gd name="T19" fmla="*/ 128 h 262"/>
                <a:gd name="T20" fmla="*/ 271 w 298"/>
                <a:gd name="T21" fmla="*/ 138 h 262"/>
                <a:gd name="T22" fmla="*/ 267 w 298"/>
                <a:gd name="T23" fmla="*/ 148 h 262"/>
                <a:gd name="T24" fmla="*/ 262 w 298"/>
                <a:gd name="T25" fmla="*/ 155 h 262"/>
                <a:gd name="T26" fmla="*/ 267 w 298"/>
                <a:gd name="T27" fmla="*/ 177 h 262"/>
                <a:gd name="T28" fmla="*/ 274 w 298"/>
                <a:gd name="T29" fmla="*/ 182 h 262"/>
                <a:gd name="T30" fmla="*/ 277 w 298"/>
                <a:gd name="T31" fmla="*/ 211 h 262"/>
                <a:gd name="T32" fmla="*/ 250 w 298"/>
                <a:gd name="T33" fmla="*/ 205 h 262"/>
                <a:gd name="T34" fmla="*/ 226 w 298"/>
                <a:gd name="T35" fmla="*/ 198 h 262"/>
                <a:gd name="T36" fmla="*/ 226 w 298"/>
                <a:gd name="T37" fmla="*/ 176 h 262"/>
                <a:gd name="T38" fmla="*/ 208 w 298"/>
                <a:gd name="T39" fmla="*/ 150 h 262"/>
                <a:gd name="T40" fmla="*/ 186 w 298"/>
                <a:gd name="T41" fmla="*/ 167 h 262"/>
                <a:gd name="T42" fmla="*/ 174 w 298"/>
                <a:gd name="T43" fmla="*/ 193 h 262"/>
                <a:gd name="T44" fmla="*/ 162 w 298"/>
                <a:gd name="T45" fmla="*/ 216 h 262"/>
                <a:gd name="T46" fmla="*/ 152 w 298"/>
                <a:gd name="T47" fmla="*/ 237 h 262"/>
                <a:gd name="T48" fmla="*/ 145 w 298"/>
                <a:gd name="T49" fmla="*/ 222 h 262"/>
                <a:gd name="T50" fmla="*/ 141 w 298"/>
                <a:gd name="T51" fmla="*/ 215 h 262"/>
                <a:gd name="T52" fmla="*/ 133 w 298"/>
                <a:gd name="T53" fmla="*/ 201 h 262"/>
                <a:gd name="T54" fmla="*/ 118 w 298"/>
                <a:gd name="T55" fmla="*/ 201 h 262"/>
                <a:gd name="T56" fmla="*/ 90 w 298"/>
                <a:gd name="T57" fmla="*/ 198 h 262"/>
                <a:gd name="T58" fmla="*/ 75 w 298"/>
                <a:gd name="T59" fmla="*/ 189 h 262"/>
                <a:gd name="T60" fmla="*/ 82 w 298"/>
                <a:gd name="T61" fmla="*/ 170 h 262"/>
                <a:gd name="T62" fmla="*/ 56 w 298"/>
                <a:gd name="T63" fmla="*/ 169 h 262"/>
                <a:gd name="T64" fmla="*/ 39 w 298"/>
                <a:gd name="T65" fmla="*/ 152 h 262"/>
                <a:gd name="T66" fmla="*/ 33 w 298"/>
                <a:gd name="T67" fmla="*/ 136 h 262"/>
                <a:gd name="T68" fmla="*/ 14 w 298"/>
                <a:gd name="T69" fmla="*/ 140 h 262"/>
                <a:gd name="T70" fmla="*/ 5 w 298"/>
                <a:gd name="T71" fmla="*/ 130 h 262"/>
                <a:gd name="T72" fmla="*/ 9 w 298"/>
                <a:gd name="T73" fmla="*/ 109 h 262"/>
                <a:gd name="T74" fmla="*/ 33 w 298"/>
                <a:gd name="T75" fmla="*/ 109 h 262"/>
                <a:gd name="T76" fmla="*/ 60 w 298"/>
                <a:gd name="T77" fmla="*/ 104 h 262"/>
                <a:gd name="T78" fmla="*/ 82 w 298"/>
                <a:gd name="T79" fmla="*/ 99 h 262"/>
                <a:gd name="T80" fmla="*/ 75 w 298"/>
                <a:gd name="T81" fmla="*/ 80 h 262"/>
                <a:gd name="T82" fmla="*/ 60 w 298"/>
                <a:gd name="T83" fmla="*/ 80 h 262"/>
                <a:gd name="T84" fmla="*/ 43 w 298"/>
                <a:gd name="T85" fmla="*/ 74 h 262"/>
                <a:gd name="T86" fmla="*/ 51 w 298"/>
                <a:gd name="T87" fmla="*/ 53 h 262"/>
                <a:gd name="T88" fmla="*/ 73 w 298"/>
                <a:gd name="T89" fmla="*/ 53 h 262"/>
                <a:gd name="T90" fmla="*/ 94 w 298"/>
                <a:gd name="T91" fmla="*/ 60 h 262"/>
                <a:gd name="T92" fmla="*/ 118 w 298"/>
                <a:gd name="T93" fmla="*/ 65 h 262"/>
                <a:gd name="T94" fmla="*/ 136 w 298"/>
                <a:gd name="T95" fmla="*/ 51 h 262"/>
                <a:gd name="T96" fmla="*/ 143 w 298"/>
                <a:gd name="T97" fmla="*/ 26 h 262"/>
                <a:gd name="T98" fmla="*/ 45 w 298"/>
                <a:gd name="T99" fmla="*/ 159 h 262"/>
                <a:gd name="T100" fmla="*/ 126 w 298"/>
                <a:gd name="T101" fmla="*/ 257 h 262"/>
                <a:gd name="T102" fmla="*/ 97 w 298"/>
                <a:gd name="T103" fmla="*/ 257 h 262"/>
                <a:gd name="T104" fmla="*/ 73 w 298"/>
                <a:gd name="T105" fmla="*/ 250 h 262"/>
                <a:gd name="T106" fmla="*/ 51 w 298"/>
                <a:gd name="T107" fmla="*/ 237 h 262"/>
                <a:gd name="T108" fmla="*/ 48 w 298"/>
                <a:gd name="T109" fmla="*/ 230 h 262"/>
                <a:gd name="T110" fmla="*/ 68 w 298"/>
                <a:gd name="T111" fmla="*/ 230 h 262"/>
                <a:gd name="T112" fmla="*/ 85 w 298"/>
                <a:gd name="T113" fmla="*/ 223 h 262"/>
                <a:gd name="T114" fmla="*/ 107 w 298"/>
                <a:gd name="T115" fmla="*/ 228 h 262"/>
                <a:gd name="T116" fmla="*/ 130 w 298"/>
                <a:gd name="T117" fmla="*/ 244 h 262"/>
                <a:gd name="T118" fmla="*/ 277 w 298"/>
                <a:gd name="T119" fmla="*/ 164 h 262"/>
                <a:gd name="T120" fmla="*/ 294 w 298"/>
                <a:gd name="T121" fmla="*/ 40 h 262"/>
                <a:gd name="T122" fmla="*/ 266 w 298"/>
                <a:gd name="T123" fmla="*/ 84 h 262"/>
                <a:gd name="T124" fmla="*/ 262 w 298"/>
                <a:gd name="T125" fmla="*/ 15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8" h="262">
                  <a:moveTo>
                    <a:pt x="148" y="0"/>
                  </a:moveTo>
                  <a:lnTo>
                    <a:pt x="152" y="0"/>
                  </a:lnTo>
                  <a:lnTo>
                    <a:pt x="153" y="2"/>
                  </a:lnTo>
                  <a:lnTo>
                    <a:pt x="155" y="2"/>
                  </a:lnTo>
                  <a:lnTo>
                    <a:pt x="158" y="4"/>
                  </a:lnTo>
                  <a:lnTo>
                    <a:pt x="162" y="5"/>
                  </a:lnTo>
                  <a:lnTo>
                    <a:pt x="164" y="5"/>
                  </a:lnTo>
                  <a:lnTo>
                    <a:pt x="167" y="7"/>
                  </a:lnTo>
                  <a:lnTo>
                    <a:pt x="169" y="9"/>
                  </a:lnTo>
                  <a:lnTo>
                    <a:pt x="170" y="9"/>
                  </a:lnTo>
                  <a:lnTo>
                    <a:pt x="172" y="11"/>
                  </a:lnTo>
                  <a:lnTo>
                    <a:pt x="174" y="11"/>
                  </a:lnTo>
                  <a:lnTo>
                    <a:pt x="177" y="11"/>
                  </a:lnTo>
                  <a:lnTo>
                    <a:pt x="179" y="12"/>
                  </a:lnTo>
                  <a:lnTo>
                    <a:pt x="181" y="14"/>
                  </a:lnTo>
                  <a:lnTo>
                    <a:pt x="182" y="14"/>
                  </a:lnTo>
                  <a:lnTo>
                    <a:pt x="184" y="16"/>
                  </a:lnTo>
                  <a:lnTo>
                    <a:pt x="186" y="16"/>
                  </a:lnTo>
                  <a:lnTo>
                    <a:pt x="189" y="17"/>
                  </a:lnTo>
                  <a:lnTo>
                    <a:pt x="191" y="19"/>
                  </a:lnTo>
                  <a:lnTo>
                    <a:pt x="192" y="19"/>
                  </a:lnTo>
                  <a:lnTo>
                    <a:pt x="194" y="21"/>
                  </a:lnTo>
                  <a:lnTo>
                    <a:pt x="194" y="23"/>
                  </a:lnTo>
                  <a:lnTo>
                    <a:pt x="196" y="24"/>
                  </a:lnTo>
                  <a:lnTo>
                    <a:pt x="198" y="26"/>
                  </a:lnTo>
                  <a:lnTo>
                    <a:pt x="199" y="28"/>
                  </a:lnTo>
                  <a:lnTo>
                    <a:pt x="201" y="29"/>
                  </a:lnTo>
                  <a:lnTo>
                    <a:pt x="203" y="31"/>
                  </a:lnTo>
                  <a:lnTo>
                    <a:pt x="206" y="33"/>
                  </a:lnTo>
                  <a:lnTo>
                    <a:pt x="208" y="34"/>
                  </a:lnTo>
                  <a:lnTo>
                    <a:pt x="209" y="34"/>
                  </a:lnTo>
                  <a:lnTo>
                    <a:pt x="213" y="36"/>
                  </a:lnTo>
                  <a:lnTo>
                    <a:pt x="215" y="36"/>
                  </a:lnTo>
                  <a:lnTo>
                    <a:pt x="218" y="38"/>
                  </a:lnTo>
                  <a:lnTo>
                    <a:pt x="221" y="38"/>
                  </a:lnTo>
                  <a:lnTo>
                    <a:pt x="223" y="38"/>
                  </a:lnTo>
                  <a:lnTo>
                    <a:pt x="226" y="38"/>
                  </a:lnTo>
                  <a:lnTo>
                    <a:pt x="228" y="38"/>
                  </a:lnTo>
                  <a:lnTo>
                    <a:pt x="230" y="40"/>
                  </a:lnTo>
                  <a:lnTo>
                    <a:pt x="228" y="38"/>
                  </a:lnTo>
                  <a:lnTo>
                    <a:pt x="230" y="40"/>
                  </a:lnTo>
                  <a:lnTo>
                    <a:pt x="230" y="41"/>
                  </a:lnTo>
                  <a:lnTo>
                    <a:pt x="232" y="45"/>
                  </a:lnTo>
                  <a:lnTo>
                    <a:pt x="233" y="46"/>
                  </a:lnTo>
                  <a:lnTo>
                    <a:pt x="235" y="48"/>
                  </a:lnTo>
                  <a:lnTo>
                    <a:pt x="237" y="48"/>
                  </a:lnTo>
                  <a:lnTo>
                    <a:pt x="240" y="46"/>
                  </a:lnTo>
                  <a:lnTo>
                    <a:pt x="242" y="46"/>
                  </a:lnTo>
                  <a:lnTo>
                    <a:pt x="245" y="46"/>
                  </a:lnTo>
                  <a:lnTo>
                    <a:pt x="249" y="46"/>
                  </a:lnTo>
                  <a:lnTo>
                    <a:pt x="249" y="45"/>
                  </a:lnTo>
                  <a:lnTo>
                    <a:pt x="250" y="45"/>
                  </a:lnTo>
                  <a:lnTo>
                    <a:pt x="252" y="43"/>
                  </a:lnTo>
                  <a:lnTo>
                    <a:pt x="254" y="43"/>
                  </a:lnTo>
                  <a:lnTo>
                    <a:pt x="254" y="41"/>
                  </a:lnTo>
                  <a:lnTo>
                    <a:pt x="255" y="41"/>
                  </a:lnTo>
                  <a:lnTo>
                    <a:pt x="257" y="40"/>
                  </a:lnTo>
                  <a:lnTo>
                    <a:pt x="257" y="38"/>
                  </a:lnTo>
                  <a:lnTo>
                    <a:pt x="259" y="38"/>
                  </a:lnTo>
                  <a:lnTo>
                    <a:pt x="260" y="36"/>
                  </a:lnTo>
                  <a:lnTo>
                    <a:pt x="262" y="36"/>
                  </a:lnTo>
                  <a:lnTo>
                    <a:pt x="264" y="38"/>
                  </a:lnTo>
                  <a:lnTo>
                    <a:pt x="266" y="38"/>
                  </a:lnTo>
                  <a:lnTo>
                    <a:pt x="267" y="38"/>
                  </a:lnTo>
                  <a:lnTo>
                    <a:pt x="269" y="38"/>
                  </a:lnTo>
                  <a:lnTo>
                    <a:pt x="272" y="36"/>
                  </a:lnTo>
                  <a:lnTo>
                    <a:pt x="274" y="38"/>
                  </a:lnTo>
                  <a:lnTo>
                    <a:pt x="276" y="38"/>
                  </a:lnTo>
                  <a:lnTo>
                    <a:pt x="277" y="38"/>
                  </a:lnTo>
                  <a:lnTo>
                    <a:pt x="277" y="40"/>
                  </a:lnTo>
                  <a:lnTo>
                    <a:pt x="279" y="40"/>
                  </a:lnTo>
                  <a:lnTo>
                    <a:pt x="281" y="40"/>
                  </a:lnTo>
                  <a:lnTo>
                    <a:pt x="281" y="38"/>
                  </a:lnTo>
                  <a:lnTo>
                    <a:pt x="279" y="36"/>
                  </a:lnTo>
                  <a:lnTo>
                    <a:pt x="277" y="36"/>
                  </a:lnTo>
                  <a:lnTo>
                    <a:pt x="276" y="36"/>
                  </a:lnTo>
                  <a:lnTo>
                    <a:pt x="277" y="34"/>
                  </a:lnTo>
                  <a:lnTo>
                    <a:pt x="279" y="34"/>
                  </a:lnTo>
                  <a:lnTo>
                    <a:pt x="281" y="36"/>
                  </a:lnTo>
                  <a:lnTo>
                    <a:pt x="281" y="38"/>
                  </a:lnTo>
                  <a:lnTo>
                    <a:pt x="283" y="40"/>
                  </a:lnTo>
                  <a:lnTo>
                    <a:pt x="281" y="40"/>
                  </a:lnTo>
                  <a:lnTo>
                    <a:pt x="284" y="41"/>
                  </a:lnTo>
                  <a:lnTo>
                    <a:pt x="286" y="43"/>
                  </a:lnTo>
                  <a:lnTo>
                    <a:pt x="286" y="45"/>
                  </a:lnTo>
                  <a:lnTo>
                    <a:pt x="288" y="46"/>
                  </a:lnTo>
                  <a:lnTo>
                    <a:pt x="289" y="48"/>
                  </a:lnTo>
                  <a:lnTo>
                    <a:pt x="288" y="48"/>
                  </a:lnTo>
                  <a:lnTo>
                    <a:pt x="286" y="46"/>
                  </a:lnTo>
                  <a:lnTo>
                    <a:pt x="286" y="45"/>
                  </a:lnTo>
                  <a:lnTo>
                    <a:pt x="283" y="45"/>
                  </a:lnTo>
                  <a:lnTo>
                    <a:pt x="281" y="45"/>
                  </a:lnTo>
                  <a:lnTo>
                    <a:pt x="279" y="46"/>
                  </a:lnTo>
                  <a:lnTo>
                    <a:pt x="276" y="46"/>
                  </a:lnTo>
                  <a:lnTo>
                    <a:pt x="272" y="48"/>
                  </a:lnTo>
                  <a:lnTo>
                    <a:pt x="271" y="48"/>
                  </a:lnTo>
                  <a:lnTo>
                    <a:pt x="271" y="50"/>
                  </a:lnTo>
                  <a:lnTo>
                    <a:pt x="269" y="51"/>
                  </a:lnTo>
                  <a:lnTo>
                    <a:pt x="267" y="53"/>
                  </a:lnTo>
                  <a:lnTo>
                    <a:pt x="271" y="55"/>
                  </a:lnTo>
                  <a:lnTo>
                    <a:pt x="269" y="55"/>
                  </a:lnTo>
                  <a:lnTo>
                    <a:pt x="267" y="53"/>
                  </a:lnTo>
                  <a:lnTo>
                    <a:pt x="266" y="55"/>
                  </a:lnTo>
                  <a:lnTo>
                    <a:pt x="264" y="53"/>
                  </a:lnTo>
                  <a:lnTo>
                    <a:pt x="262" y="53"/>
                  </a:lnTo>
                  <a:lnTo>
                    <a:pt x="260" y="55"/>
                  </a:lnTo>
                  <a:lnTo>
                    <a:pt x="259" y="57"/>
                  </a:lnTo>
                  <a:lnTo>
                    <a:pt x="260" y="57"/>
                  </a:lnTo>
                  <a:lnTo>
                    <a:pt x="260" y="58"/>
                  </a:lnTo>
                  <a:lnTo>
                    <a:pt x="262" y="60"/>
                  </a:lnTo>
                  <a:lnTo>
                    <a:pt x="259" y="62"/>
                  </a:lnTo>
                  <a:lnTo>
                    <a:pt x="257" y="65"/>
                  </a:lnTo>
                  <a:lnTo>
                    <a:pt x="255" y="65"/>
                  </a:lnTo>
                  <a:lnTo>
                    <a:pt x="255" y="68"/>
                  </a:lnTo>
                  <a:lnTo>
                    <a:pt x="254" y="68"/>
                  </a:lnTo>
                  <a:lnTo>
                    <a:pt x="254" y="72"/>
                  </a:lnTo>
                  <a:lnTo>
                    <a:pt x="252" y="74"/>
                  </a:lnTo>
                  <a:lnTo>
                    <a:pt x="250" y="77"/>
                  </a:lnTo>
                  <a:lnTo>
                    <a:pt x="250" y="80"/>
                  </a:lnTo>
                  <a:lnTo>
                    <a:pt x="252" y="80"/>
                  </a:lnTo>
                  <a:lnTo>
                    <a:pt x="250" y="84"/>
                  </a:lnTo>
                  <a:lnTo>
                    <a:pt x="250" y="85"/>
                  </a:lnTo>
                  <a:lnTo>
                    <a:pt x="254" y="87"/>
                  </a:lnTo>
                  <a:lnTo>
                    <a:pt x="257" y="89"/>
                  </a:lnTo>
                  <a:lnTo>
                    <a:pt x="255" y="92"/>
                  </a:lnTo>
                  <a:lnTo>
                    <a:pt x="255" y="94"/>
                  </a:lnTo>
                  <a:lnTo>
                    <a:pt x="257" y="96"/>
                  </a:lnTo>
                  <a:lnTo>
                    <a:pt x="259" y="97"/>
                  </a:lnTo>
                  <a:lnTo>
                    <a:pt x="259" y="101"/>
                  </a:lnTo>
                  <a:lnTo>
                    <a:pt x="259" y="104"/>
                  </a:lnTo>
                  <a:lnTo>
                    <a:pt x="262" y="106"/>
                  </a:lnTo>
                  <a:lnTo>
                    <a:pt x="262" y="108"/>
                  </a:lnTo>
                  <a:lnTo>
                    <a:pt x="266" y="108"/>
                  </a:lnTo>
                  <a:lnTo>
                    <a:pt x="264" y="109"/>
                  </a:lnTo>
                  <a:lnTo>
                    <a:pt x="262" y="111"/>
                  </a:lnTo>
                  <a:lnTo>
                    <a:pt x="262" y="114"/>
                  </a:lnTo>
                  <a:lnTo>
                    <a:pt x="262" y="116"/>
                  </a:lnTo>
                  <a:lnTo>
                    <a:pt x="264" y="118"/>
                  </a:lnTo>
                  <a:lnTo>
                    <a:pt x="264" y="119"/>
                  </a:lnTo>
                  <a:lnTo>
                    <a:pt x="264" y="123"/>
                  </a:lnTo>
                  <a:lnTo>
                    <a:pt x="266" y="125"/>
                  </a:lnTo>
                  <a:lnTo>
                    <a:pt x="267" y="126"/>
                  </a:lnTo>
                  <a:lnTo>
                    <a:pt x="269" y="126"/>
                  </a:lnTo>
                  <a:lnTo>
                    <a:pt x="271" y="128"/>
                  </a:lnTo>
                  <a:lnTo>
                    <a:pt x="271" y="130"/>
                  </a:lnTo>
                  <a:lnTo>
                    <a:pt x="272" y="130"/>
                  </a:lnTo>
                  <a:lnTo>
                    <a:pt x="271" y="128"/>
                  </a:lnTo>
                  <a:lnTo>
                    <a:pt x="272" y="128"/>
                  </a:lnTo>
                  <a:lnTo>
                    <a:pt x="272" y="130"/>
                  </a:lnTo>
                  <a:lnTo>
                    <a:pt x="272" y="128"/>
                  </a:lnTo>
                  <a:lnTo>
                    <a:pt x="276" y="128"/>
                  </a:lnTo>
                  <a:lnTo>
                    <a:pt x="276" y="131"/>
                  </a:lnTo>
                  <a:lnTo>
                    <a:pt x="277" y="131"/>
                  </a:lnTo>
                  <a:lnTo>
                    <a:pt x="279" y="133"/>
                  </a:lnTo>
                  <a:lnTo>
                    <a:pt x="277" y="133"/>
                  </a:lnTo>
                  <a:lnTo>
                    <a:pt x="281" y="133"/>
                  </a:lnTo>
                  <a:lnTo>
                    <a:pt x="277" y="133"/>
                  </a:lnTo>
                  <a:lnTo>
                    <a:pt x="277" y="135"/>
                  </a:lnTo>
                  <a:lnTo>
                    <a:pt x="277" y="133"/>
                  </a:lnTo>
                  <a:lnTo>
                    <a:pt x="276" y="135"/>
                  </a:lnTo>
                  <a:lnTo>
                    <a:pt x="276" y="133"/>
                  </a:lnTo>
                  <a:lnTo>
                    <a:pt x="272" y="133"/>
                  </a:lnTo>
                  <a:lnTo>
                    <a:pt x="271" y="133"/>
                  </a:lnTo>
                  <a:lnTo>
                    <a:pt x="271" y="136"/>
                  </a:lnTo>
                  <a:lnTo>
                    <a:pt x="271" y="138"/>
                  </a:lnTo>
                  <a:lnTo>
                    <a:pt x="272" y="140"/>
                  </a:lnTo>
                  <a:lnTo>
                    <a:pt x="272" y="142"/>
                  </a:lnTo>
                  <a:lnTo>
                    <a:pt x="274" y="143"/>
                  </a:lnTo>
                  <a:lnTo>
                    <a:pt x="276" y="147"/>
                  </a:lnTo>
                  <a:lnTo>
                    <a:pt x="276" y="148"/>
                  </a:lnTo>
                  <a:lnTo>
                    <a:pt x="276" y="150"/>
                  </a:lnTo>
                  <a:lnTo>
                    <a:pt x="274" y="147"/>
                  </a:lnTo>
                  <a:lnTo>
                    <a:pt x="272" y="145"/>
                  </a:lnTo>
                  <a:lnTo>
                    <a:pt x="272" y="147"/>
                  </a:lnTo>
                  <a:lnTo>
                    <a:pt x="272" y="150"/>
                  </a:lnTo>
                  <a:lnTo>
                    <a:pt x="274" y="150"/>
                  </a:lnTo>
                  <a:lnTo>
                    <a:pt x="272" y="152"/>
                  </a:lnTo>
                  <a:lnTo>
                    <a:pt x="271" y="152"/>
                  </a:lnTo>
                  <a:lnTo>
                    <a:pt x="269" y="152"/>
                  </a:lnTo>
                  <a:lnTo>
                    <a:pt x="267" y="148"/>
                  </a:lnTo>
                  <a:lnTo>
                    <a:pt x="269" y="147"/>
                  </a:lnTo>
                  <a:lnTo>
                    <a:pt x="267" y="147"/>
                  </a:lnTo>
                  <a:lnTo>
                    <a:pt x="269" y="147"/>
                  </a:lnTo>
                  <a:lnTo>
                    <a:pt x="269" y="145"/>
                  </a:lnTo>
                  <a:lnTo>
                    <a:pt x="267" y="145"/>
                  </a:lnTo>
                  <a:lnTo>
                    <a:pt x="266" y="147"/>
                  </a:lnTo>
                  <a:lnTo>
                    <a:pt x="266" y="148"/>
                  </a:lnTo>
                  <a:lnTo>
                    <a:pt x="264" y="148"/>
                  </a:lnTo>
                  <a:lnTo>
                    <a:pt x="266" y="150"/>
                  </a:lnTo>
                  <a:lnTo>
                    <a:pt x="264" y="150"/>
                  </a:lnTo>
                  <a:lnTo>
                    <a:pt x="266" y="150"/>
                  </a:lnTo>
                  <a:lnTo>
                    <a:pt x="264" y="150"/>
                  </a:lnTo>
                  <a:lnTo>
                    <a:pt x="264" y="152"/>
                  </a:lnTo>
                  <a:lnTo>
                    <a:pt x="262" y="153"/>
                  </a:lnTo>
                  <a:lnTo>
                    <a:pt x="262" y="155"/>
                  </a:lnTo>
                  <a:lnTo>
                    <a:pt x="262" y="159"/>
                  </a:lnTo>
                  <a:lnTo>
                    <a:pt x="264" y="155"/>
                  </a:lnTo>
                  <a:lnTo>
                    <a:pt x="264" y="159"/>
                  </a:lnTo>
                  <a:lnTo>
                    <a:pt x="264" y="160"/>
                  </a:lnTo>
                  <a:lnTo>
                    <a:pt x="264" y="159"/>
                  </a:lnTo>
                  <a:lnTo>
                    <a:pt x="266" y="160"/>
                  </a:lnTo>
                  <a:lnTo>
                    <a:pt x="266" y="162"/>
                  </a:lnTo>
                  <a:lnTo>
                    <a:pt x="267" y="164"/>
                  </a:lnTo>
                  <a:lnTo>
                    <a:pt x="267" y="165"/>
                  </a:lnTo>
                  <a:lnTo>
                    <a:pt x="269" y="165"/>
                  </a:lnTo>
                  <a:lnTo>
                    <a:pt x="269" y="167"/>
                  </a:lnTo>
                  <a:lnTo>
                    <a:pt x="269" y="169"/>
                  </a:lnTo>
                  <a:lnTo>
                    <a:pt x="271" y="172"/>
                  </a:lnTo>
                  <a:lnTo>
                    <a:pt x="271" y="174"/>
                  </a:lnTo>
                  <a:lnTo>
                    <a:pt x="267" y="177"/>
                  </a:lnTo>
                  <a:lnTo>
                    <a:pt x="269" y="174"/>
                  </a:lnTo>
                  <a:lnTo>
                    <a:pt x="269" y="172"/>
                  </a:lnTo>
                  <a:lnTo>
                    <a:pt x="267" y="174"/>
                  </a:lnTo>
                  <a:lnTo>
                    <a:pt x="269" y="172"/>
                  </a:lnTo>
                  <a:lnTo>
                    <a:pt x="269" y="169"/>
                  </a:lnTo>
                  <a:lnTo>
                    <a:pt x="267" y="167"/>
                  </a:lnTo>
                  <a:lnTo>
                    <a:pt x="266" y="167"/>
                  </a:lnTo>
                  <a:lnTo>
                    <a:pt x="266" y="170"/>
                  </a:lnTo>
                  <a:lnTo>
                    <a:pt x="266" y="174"/>
                  </a:lnTo>
                  <a:lnTo>
                    <a:pt x="266" y="176"/>
                  </a:lnTo>
                  <a:lnTo>
                    <a:pt x="267" y="177"/>
                  </a:lnTo>
                  <a:lnTo>
                    <a:pt x="269" y="179"/>
                  </a:lnTo>
                  <a:lnTo>
                    <a:pt x="271" y="181"/>
                  </a:lnTo>
                  <a:lnTo>
                    <a:pt x="272" y="182"/>
                  </a:lnTo>
                  <a:lnTo>
                    <a:pt x="274" y="182"/>
                  </a:lnTo>
                  <a:lnTo>
                    <a:pt x="274" y="184"/>
                  </a:lnTo>
                  <a:lnTo>
                    <a:pt x="276" y="186"/>
                  </a:lnTo>
                  <a:lnTo>
                    <a:pt x="276" y="188"/>
                  </a:lnTo>
                  <a:lnTo>
                    <a:pt x="277" y="188"/>
                  </a:lnTo>
                  <a:lnTo>
                    <a:pt x="277" y="189"/>
                  </a:lnTo>
                  <a:lnTo>
                    <a:pt x="279" y="191"/>
                  </a:lnTo>
                  <a:lnTo>
                    <a:pt x="281" y="194"/>
                  </a:lnTo>
                  <a:lnTo>
                    <a:pt x="283" y="196"/>
                  </a:lnTo>
                  <a:lnTo>
                    <a:pt x="284" y="199"/>
                  </a:lnTo>
                  <a:lnTo>
                    <a:pt x="286" y="201"/>
                  </a:lnTo>
                  <a:lnTo>
                    <a:pt x="284" y="201"/>
                  </a:lnTo>
                  <a:lnTo>
                    <a:pt x="281" y="203"/>
                  </a:lnTo>
                  <a:lnTo>
                    <a:pt x="281" y="205"/>
                  </a:lnTo>
                  <a:lnTo>
                    <a:pt x="279" y="208"/>
                  </a:lnTo>
                  <a:lnTo>
                    <a:pt x="277" y="211"/>
                  </a:lnTo>
                  <a:lnTo>
                    <a:pt x="274" y="211"/>
                  </a:lnTo>
                  <a:lnTo>
                    <a:pt x="272" y="211"/>
                  </a:lnTo>
                  <a:lnTo>
                    <a:pt x="271" y="208"/>
                  </a:lnTo>
                  <a:lnTo>
                    <a:pt x="271" y="210"/>
                  </a:lnTo>
                  <a:lnTo>
                    <a:pt x="269" y="208"/>
                  </a:lnTo>
                  <a:lnTo>
                    <a:pt x="266" y="206"/>
                  </a:lnTo>
                  <a:lnTo>
                    <a:pt x="264" y="206"/>
                  </a:lnTo>
                  <a:lnTo>
                    <a:pt x="260" y="206"/>
                  </a:lnTo>
                  <a:lnTo>
                    <a:pt x="260" y="205"/>
                  </a:lnTo>
                  <a:lnTo>
                    <a:pt x="259" y="203"/>
                  </a:lnTo>
                  <a:lnTo>
                    <a:pt x="257" y="203"/>
                  </a:lnTo>
                  <a:lnTo>
                    <a:pt x="257" y="205"/>
                  </a:lnTo>
                  <a:lnTo>
                    <a:pt x="255" y="206"/>
                  </a:lnTo>
                  <a:lnTo>
                    <a:pt x="252" y="208"/>
                  </a:lnTo>
                  <a:lnTo>
                    <a:pt x="250" y="205"/>
                  </a:lnTo>
                  <a:lnTo>
                    <a:pt x="247" y="206"/>
                  </a:lnTo>
                  <a:lnTo>
                    <a:pt x="247" y="205"/>
                  </a:lnTo>
                  <a:lnTo>
                    <a:pt x="247" y="203"/>
                  </a:lnTo>
                  <a:lnTo>
                    <a:pt x="245" y="201"/>
                  </a:lnTo>
                  <a:lnTo>
                    <a:pt x="242" y="203"/>
                  </a:lnTo>
                  <a:lnTo>
                    <a:pt x="240" y="201"/>
                  </a:lnTo>
                  <a:lnTo>
                    <a:pt x="238" y="203"/>
                  </a:lnTo>
                  <a:lnTo>
                    <a:pt x="237" y="203"/>
                  </a:lnTo>
                  <a:lnTo>
                    <a:pt x="235" y="201"/>
                  </a:lnTo>
                  <a:lnTo>
                    <a:pt x="235" y="203"/>
                  </a:lnTo>
                  <a:lnTo>
                    <a:pt x="233" y="201"/>
                  </a:lnTo>
                  <a:lnTo>
                    <a:pt x="232" y="203"/>
                  </a:lnTo>
                  <a:lnTo>
                    <a:pt x="230" y="201"/>
                  </a:lnTo>
                  <a:lnTo>
                    <a:pt x="228" y="199"/>
                  </a:lnTo>
                  <a:lnTo>
                    <a:pt x="226" y="198"/>
                  </a:lnTo>
                  <a:lnTo>
                    <a:pt x="228" y="198"/>
                  </a:lnTo>
                  <a:lnTo>
                    <a:pt x="230" y="196"/>
                  </a:lnTo>
                  <a:lnTo>
                    <a:pt x="230" y="193"/>
                  </a:lnTo>
                  <a:lnTo>
                    <a:pt x="232" y="191"/>
                  </a:lnTo>
                  <a:lnTo>
                    <a:pt x="235" y="189"/>
                  </a:lnTo>
                  <a:lnTo>
                    <a:pt x="235" y="188"/>
                  </a:lnTo>
                  <a:lnTo>
                    <a:pt x="237" y="186"/>
                  </a:lnTo>
                  <a:lnTo>
                    <a:pt x="238" y="184"/>
                  </a:lnTo>
                  <a:lnTo>
                    <a:pt x="238" y="181"/>
                  </a:lnTo>
                  <a:lnTo>
                    <a:pt x="237" y="179"/>
                  </a:lnTo>
                  <a:lnTo>
                    <a:pt x="235" y="177"/>
                  </a:lnTo>
                  <a:lnTo>
                    <a:pt x="233" y="176"/>
                  </a:lnTo>
                  <a:lnTo>
                    <a:pt x="232" y="176"/>
                  </a:lnTo>
                  <a:lnTo>
                    <a:pt x="230" y="177"/>
                  </a:lnTo>
                  <a:lnTo>
                    <a:pt x="226" y="176"/>
                  </a:lnTo>
                  <a:lnTo>
                    <a:pt x="223" y="176"/>
                  </a:lnTo>
                  <a:lnTo>
                    <a:pt x="220" y="174"/>
                  </a:lnTo>
                  <a:lnTo>
                    <a:pt x="220" y="170"/>
                  </a:lnTo>
                  <a:lnTo>
                    <a:pt x="220" y="169"/>
                  </a:lnTo>
                  <a:lnTo>
                    <a:pt x="221" y="167"/>
                  </a:lnTo>
                  <a:lnTo>
                    <a:pt x="221" y="165"/>
                  </a:lnTo>
                  <a:lnTo>
                    <a:pt x="223" y="164"/>
                  </a:lnTo>
                  <a:lnTo>
                    <a:pt x="225" y="160"/>
                  </a:lnTo>
                  <a:lnTo>
                    <a:pt x="226" y="159"/>
                  </a:lnTo>
                  <a:lnTo>
                    <a:pt x="225" y="157"/>
                  </a:lnTo>
                  <a:lnTo>
                    <a:pt x="223" y="157"/>
                  </a:lnTo>
                  <a:lnTo>
                    <a:pt x="213" y="153"/>
                  </a:lnTo>
                  <a:lnTo>
                    <a:pt x="211" y="152"/>
                  </a:lnTo>
                  <a:lnTo>
                    <a:pt x="209" y="152"/>
                  </a:lnTo>
                  <a:lnTo>
                    <a:pt x="208" y="150"/>
                  </a:lnTo>
                  <a:lnTo>
                    <a:pt x="199" y="148"/>
                  </a:lnTo>
                  <a:lnTo>
                    <a:pt x="198" y="148"/>
                  </a:lnTo>
                  <a:lnTo>
                    <a:pt x="196" y="150"/>
                  </a:lnTo>
                  <a:lnTo>
                    <a:pt x="196" y="152"/>
                  </a:lnTo>
                  <a:lnTo>
                    <a:pt x="194" y="152"/>
                  </a:lnTo>
                  <a:lnTo>
                    <a:pt x="196" y="153"/>
                  </a:lnTo>
                  <a:lnTo>
                    <a:pt x="192" y="153"/>
                  </a:lnTo>
                  <a:lnTo>
                    <a:pt x="192" y="155"/>
                  </a:lnTo>
                  <a:lnTo>
                    <a:pt x="191" y="157"/>
                  </a:lnTo>
                  <a:lnTo>
                    <a:pt x="189" y="159"/>
                  </a:lnTo>
                  <a:lnTo>
                    <a:pt x="189" y="160"/>
                  </a:lnTo>
                  <a:lnTo>
                    <a:pt x="189" y="162"/>
                  </a:lnTo>
                  <a:lnTo>
                    <a:pt x="187" y="164"/>
                  </a:lnTo>
                  <a:lnTo>
                    <a:pt x="186" y="165"/>
                  </a:lnTo>
                  <a:lnTo>
                    <a:pt x="186" y="167"/>
                  </a:lnTo>
                  <a:lnTo>
                    <a:pt x="186" y="169"/>
                  </a:lnTo>
                  <a:lnTo>
                    <a:pt x="184" y="170"/>
                  </a:lnTo>
                  <a:lnTo>
                    <a:pt x="184" y="172"/>
                  </a:lnTo>
                  <a:lnTo>
                    <a:pt x="182" y="174"/>
                  </a:lnTo>
                  <a:lnTo>
                    <a:pt x="181" y="174"/>
                  </a:lnTo>
                  <a:lnTo>
                    <a:pt x="181" y="176"/>
                  </a:lnTo>
                  <a:lnTo>
                    <a:pt x="179" y="177"/>
                  </a:lnTo>
                  <a:lnTo>
                    <a:pt x="179" y="179"/>
                  </a:lnTo>
                  <a:lnTo>
                    <a:pt x="177" y="181"/>
                  </a:lnTo>
                  <a:lnTo>
                    <a:pt x="177" y="182"/>
                  </a:lnTo>
                  <a:lnTo>
                    <a:pt x="177" y="184"/>
                  </a:lnTo>
                  <a:lnTo>
                    <a:pt x="177" y="188"/>
                  </a:lnTo>
                  <a:lnTo>
                    <a:pt x="175" y="188"/>
                  </a:lnTo>
                  <a:lnTo>
                    <a:pt x="175" y="189"/>
                  </a:lnTo>
                  <a:lnTo>
                    <a:pt x="174" y="193"/>
                  </a:lnTo>
                  <a:lnTo>
                    <a:pt x="172" y="194"/>
                  </a:lnTo>
                  <a:lnTo>
                    <a:pt x="172" y="196"/>
                  </a:lnTo>
                  <a:lnTo>
                    <a:pt x="170" y="199"/>
                  </a:lnTo>
                  <a:lnTo>
                    <a:pt x="169" y="201"/>
                  </a:lnTo>
                  <a:lnTo>
                    <a:pt x="169" y="203"/>
                  </a:lnTo>
                  <a:lnTo>
                    <a:pt x="169" y="205"/>
                  </a:lnTo>
                  <a:lnTo>
                    <a:pt x="170" y="206"/>
                  </a:lnTo>
                  <a:lnTo>
                    <a:pt x="170" y="208"/>
                  </a:lnTo>
                  <a:lnTo>
                    <a:pt x="169" y="210"/>
                  </a:lnTo>
                  <a:lnTo>
                    <a:pt x="167" y="211"/>
                  </a:lnTo>
                  <a:lnTo>
                    <a:pt x="165" y="211"/>
                  </a:lnTo>
                  <a:lnTo>
                    <a:pt x="164" y="213"/>
                  </a:lnTo>
                  <a:lnTo>
                    <a:pt x="164" y="215"/>
                  </a:lnTo>
                  <a:lnTo>
                    <a:pt x="162" y="215"/>
                  </a:lnTo>
                  <a:lnTo>
                    <a:pt x="162" y="216"/>
                  </a:lnTo>
                  <a:lnTo>
                    <a:pt x="162" y="220"/>
                  </a:lnTo>
                  <a:lnTo>
                    <a:pt x="160" y="222"/>
                  </a:lnTo>
                  <a:lnTo>
                    <a:pt x="162" y="225"/>
                  </a:lnTo>
                  <a:lnTo>
                    <a:pt x="160" y="227"/>
                  </a:lnTo>
                  <a:lnTo>
                    <a:pt x="158" y="227"/>
                  </a:lnTo>
                  <a:lnTo>
                    <a:pt x="160" y="228"/>
                  </a:lnTo>
                  <a:lnTo>
                    <a:pt x="158" y="228"/>
                  </a:lnTo>
                  <a:lnTo>
                    <a:pt x="160" y="232"/>
                  </a:lnTo>
                  <a:lnTo>
                    <a:pt x="158" y="233"/>
                  </a:lnTo>
                  <a:lnTo>
                    <a:pt x="158" y="237"/>
                  </a:lnTo>
                  <a:lnTo>
                    <a:pt x="157" y="239"/>
                  </a:lnTo>
                  <a:lnTo>
                    <a:pt x="157" y="240"/>
                  </a:lnTo>
                  <a:lnTo>
                    <a:pt x="155" y="239"/>
                  </a:lnTo>
                  <a:lnTo>
                    <a:pt x="155" y="237"/>
                  </a:lnTo>
                  <a:lnTo>
                    <a:pt x="152" y="237"/>
                  </a:lnTo>
                  <a:lnTo>
                    <a:pt x="152" y="235"/>
                  </a:lnTo>
                  <a:lnTo>
                    <a:pt x="152" y="233"/>
                  </a:lnTo>
                  <a:lnTo>
                    <a:pt x="152" y="232"/>
                  </a:lnTo>
                  <a:lnTo>
                    <a:pt x="150" y="230"/>
                  </a:lnTo>
                  <a:lnTo>
                    <a:pt x="152" y="228"/>
                  </a:lnTo>
                  <a:lnTo>
                    <a:pt x="148" y="228"/>
                  </a:lnTo>
                  <a:lnTo>
                    <a:pt x="150" y="227"/>
                  </a:lnTo>
                  <a:lnTo>
                    <a:pt x="147" y="227"/>
                  </a:lnTo>
                  <a:lnTo>
                    <a:pt x="147" y="225"/>
                  </a:lnTo>
                  <a:lnTo>
                    <a:pt x="145" y="225"/>
                  </a:lnTo>
                  <a:lnTo>
                    <a:pt x="145" y="223"/>
                  </a:lnTo>
                  <a:lnTo>
                    <a:pt x="141" y="225"/>
                  </a:lnTo>
                  <a:lnTo>
                    <a:pt x="140" y="223"/>
                  </a:lnTo>
                  <a:lnTo>
                    <a:pt x="141" y="222"/>
                  </a:lnTo>
                  <a:lnTo>
                    <a:pt x="145" y="222"/>
                  </a:lnTo>
                  <a:lnTo>
                    <a:pt x="143" y="222"/>
                  </a:lnTo>
                  <a:lnTo>
                    <a:pt x="143" y="220"/>
                  </a:lnTo>
                  <a:lnTo>
                    <a:pt x="145" y="220"/>
                  </a:lnTo>
                  <a:lnTo>
                    <a:pt x="147" y="222"/>
                  </a:lnTo>
                  <a:lnTo>
                    <a:pt x="147" y="220"/>
                  </a:lnTo>
                  <a:lnTo>
                    <a:pt x="147" y="218"/>
                  </a:lnTo>
                  <a:lnTo>
                    <a:pt x="148" y="218"/>
                  </a:lnTo>
                  <a:lnTo>
                    <a:pt x="147" y="218"/>
                  </a:lnTo>
                  <a:lnTo>
                    <a:pt x="148" y="216"/>
                  </a:lnTo>
                  <a:lnTo>
                    <a:pt x="148" y="215"/>
                  </a:lnTo>
                  <a:lnTo>
                    <a:pt x="147" y="216"/>
                  </a:lnTo>
                  <a:lnTo>
                    <a:pt x="145" y="215"/>
                  </a:lnTo>
                  <a:lnTo>
                    <a:pt x="143" y="216"/>
                  </a:lnTo>
                  <a:lnTo>
                    <a:pt x="143" y="215"/>
                  </a:lnTo>
                  <a:lnTo>
                    <a:pt x="141" y="215"/>
                  </a:lnTo>
                  <a:lnTo>
                    <a:pt x="141" y="213"/>
                  </a:lnTo>
                  <a:lnTo>
                    <a:pt x="140" y="213"/>
                  </a:lnTo>
                  <a:lnTo>
                    <a:pt x="138" y="211"/>
                  </a:lnTo>
                  <a:lnTo>
                    <a:pt x="138" y="213"/>
                  </a:lnTo>
                  <a:lnTo>
                    <a:pt x="136" y="213"/>
                  </a:lnTo>
                  <a:lnTo>
                    <a:pt x="133" y="213"/>
                  </a:lnTo>
                  <a:lnTo>
                    <a:pt x="131" y="211"/>
                  </a:lnTo>
                  <a:lnTo>
                    <a:pt x="130" y="210"/>
                  </a:lnTo>
                  <a:lnTo>
                    <a:pt x="130" y="208"/>
                  </a:lnTo>
                  <a:lnTo>
                    <a:pt x="133" y="206"/>
                  </a:lnTo>
                  <a:lnTo>
                    <a:pt x="133" y="205"/>
                  </a:lnTo>
                  <a:lnTo>
                    <a:pt x="133" y="203"/>
                  </a:lnTo>
                  <a:lnTo>
                    <a:pt x="136" y="203"/>
                  </a:lnTo>
                  <a:lnTo>
                    <a:pt x="135" y="201"/>
                  </a:lnTo>
                  <a:lnTo>
                    <a:pt x="133" y="201"/>
                  </a:lnTo>
                  <a:lnTo>
                    <a:pt x="133" y="199"/>
                  </a:lnTo>
                  <a:lnTo>
                    <a:pt x="133" y="198"/>
                  </a:lnTo>
                  <a:lnTo>
                    <a:pt x="136" y="198"/>
                  </a:lnTo>
                  <a:lnTo>
                    <a:pt x="135" y="196"/>
                  </a:lnTo>
                  <a:lnTo>
                    <a:pt x="133" y="196"/>
                  </a:lnTo>
                  <a:lnTo>
                    <a:pt x="130" y="196"/>
                  </a:lnTo>
                  <a:lnTo>
                    <a:pt x="128" y="198"/>
                  </a:lnTo>
                  <a:lnTo>
                    <a:pt x="128" y="199"/>
                  </a:lnTo>
                  <a:lnTo>
                    <a:pt x="126" y="199"/>
                  </a:lnTo>
                  <a:lnTo>
                    <a:pt x="126" y="198"/>
                  </a:lnTo>
                  <a:lnTo>
                    <a:pt x="124" y="196"/>
                  </a:lnTo>
                  <a:lnTo>
                    <a:pt x="123" y="198"/>
                  </a:lnTo>
                  <a:lnTo>
                    <a:pt x="121" y="198"/>
                  </a:lnTo>
                  <a:lnTo>
                    <a:pt x="119" y="198"/>
                  </a:lnTo>
                  <a:lnTo>
                    <a:pt x="118" y="201"/>
                  </a:lnTo>
                  <a:lnTo>
                    <a:pt x="118" y="203"/>
                  </a:lnTo>
                  <a:lnTo>
                    <a:pt x="114" y="203"/>
                  </a:lnTo>
                  <a:lnTo>
                    <a:pt x="114" y="206"/>
                  </a:lnTo>
                  <a:lnTo>
                    <a:pt x="113" y="203"/>
                  </a:lnTo>
                  <a:lnTo>
                    <a:pt x="111" y="201"/>
                  </a:lnTo>
                  <a:lnTo>
                    <a:pt x="109" y="201"/>
                  </a:lnTo>
                  <a:lnTo>
                    <a:pt x="107" y="201"/>
                  </a:lnTo>
                  <a:lnTo>
                    <a:pt x="106" y="201"/>
                  </a:lnTo>
                  <a:lnTo>
                    <a:pt x="102" y="199"/>
                  </a:lnTo>
                  <a:lnTo>
                    <a:pt x="101" y="199"/>
                  </a:lnTo>
                  <a:lnTo>
                    <a:pt x="97" y="198"/>
                  </a:lnTo>
                  <a:lnTo>
                    <a:pt x="96" y="199"/>
                  </a:lnTo>
                  <a:lnTo>
                    <a:pt x="94" y="199"/>
                  </a:lnTo>
                  <a:lnTo>
                    <a:pt x="92" y="199"/>
                  </a:lnTo>
                  <a:lnTo>
                    <a:pt x="90" y="198"/>
                  </a:lnTo>
                  <a:lnTo>
                    <a:pt x="89" y="199"/>
                  </a:lnTo>
                  <a:lnTo>
                    <a:pt x="89" y="198"/>
                  </a:lnTo>
                  <a:lnTo>
                    <a:pt x="87" y="198"/>
                  </a:lnTo>
                  <a:lnTo>
                    <a:pt x="87" y="196"/>
                  </a:lnTo>
                  <a:lnTo>
                    <a:pt x="85" y="196"/>
                  </a:lnTo>
                  <a:lnTo>
                    <a:pt x="85" y="194"/>
                  </a:lnTo>
                  <a:lnTo>
                    <a:pt x="84" y="193"/>
                  </a:lnTo>
                  <a:lnTo>
                    <a:pt x="80" y="194"/>
                  </a:lnTo>
                  <a:lnTo>
                    <a:pt x="79" y="194"/>
                  </a:lnTo>
                  <a:lnTo>
                    <a:pt x="75" y="194"/>
                  </a:lnTo>
                  <a:lnTo>
                    <a:pt x="73" y="196"/>
                  </a:lnTo>
                  <a:lnTo>
                    <a:pt x="72" y="193"/>
                  </a:lnTo>
                  <a:lnTo>
                    <a:pt x="73" y="193"/>
                  </a:lnTo>
                  <a:lnTo>
                    <a:pt x="75" y="191"/>
                  </a:lnTo>
                  <a:lnTo>
                    <a:pt x="75" y="189"/>
                  </a:lnTo>
                  <a:lnTo>
                    <a:pt x="77" y="191"/>
                  </a:lnTo>
                  <a:lnTo>
                    <a:pt x="79" y="189"/>
                  </a:lnTo>
                  <a:lnTo>
                    <a:pt x="80" y="188"/>
                  </a:lnTo>
                  <a:lnTo>
                    <a:pt x="82" y="188"/>
                  </a:lnTo>
                  <a:lnTo>
                    <a:pt x="84" y="189"/>
                  </a:lnTo>
                  <a:lnTo>
                    <a:pt x="84" y="186"/>
                  </a:lnTo>
                  <a:lnTo>
                    <a:pt x="85" y="186"/>
                  </a:lnTo>
                  <a:lnTo>
                    <a:pt x="85" y="182"/>
                  </a:lnTo>
                  <a:lnTo>
                    <a:pt x="85" y="181"/>
                  </a:lnTo>
                  <a:lnTo>
                    <a:pt x="84" y="179"/>
                  </a:lnTo>
                  <a:lnTo>
                    <a:pt x="85" y="177"/>
                  </a:lnTo>
                  <a:lnTo>
                    <a:pt x="85" y="176"/>
                  </a:lnTo>
                  <a:lnTo>
                    <a:pt x="84" y="174"/>
                  </a:lnTo>
                  <a:lnTo>
                    <a:pt x="84" y="170"/>
                  </a:lnTo>
                  <a:lnTo>
                    <a:pt x="82" y="170"/>
                  </a:lnTo>
                  <a:lnTo>
                    <a:pt x="80" y="169"/>
                  </a:lnTo>
                  <a:lnTo>
                    <a:pt x="80" y="167"/>
                  </a:lnTo>
                  <a:lnTo>
                    <a:pt x="79" y="167"/>
                  </a:lnTo>
                  <a:lnTo>
                    <a:pt x="77" y="169"/>
                  </a:lnTo>
                  <a:lnTo>
                    <a:pt x="75" y="167"/>
                  </a:lnTo>
                  <a:lnTo>
                    <a:pt x="73" y="169"/>
                  </a:lnTo>
                  <a:lnTo>
                    <a:pt x="72" y="169"/>
                  </a:lnTo>
                  <a:lnTo>
                    <a:pt x="70" y="169"/>
                  </a:lnTo>
                  <a:lnTo>
                    <a:pt x="67" y="169"/>
                  </a:lnTo>
                  <a:lnTo>
                    <a:pt x="65" y="169"/>
                  </a:lnTo>
                  <a:lnTo>
                    <a:pt x="63" y="170"/>
                  </a:lnTo>
                  <a:lnTo>
                    <a:pt x="62" y="169"/>
                  </a:lnTo>
                  <a:lnTo>
                    <a:pt x="58" y="169"/>
                  </a:lnTo>
                  <a:lnTo>
                    <a:pt x="58" y="167"/>
                  </a:lnTo>
                  <a:lnTo>
                    <a:pt x="56" y="169"/>
                  </a:lnTo>
                  <a:lnTo>
                    <a:pt x="55" y="169"/>
                  </a:lnTo>
                  <a:lnTo>
                    <a:pt x="51" y="167"/>
                  </a:lnTo>
                  <a:lnTo>
                    <a:pt x="50" y="167"/>
                  </a:lnTo>
                  <a:lnTo>
                    <a:pt x="48" y="167"/>
                  </a:lnTo>
                  <a:lnTo>
                    <a:pt x="46" y="164"/>
                  </a:lnTo>
                  <a:lnTo>
                    <a:pt x="46" y="162"/>
                  </a:lnTo>
                  <a:lnTo>
                    <a:pt x="45" y="160"/>
                  </a:lnTo>
                  <a:lnTo>
                    <a:pt x="43" y="162"/>
                  </a:lnTo>
                  <a:lnTo>
                    <a:pt x="41" y="160"/>
                  </a:lnTo>
                  <a:lnTo>
                    <a:pt x="39" y="159"/>
                  </a:lnTo>
                  <a:lnTo>
                    <a:pt x="39" y="157"/>
                  </a:lnTo>
                  <a:lnTo>
                    <a:pt x="38" y="155"/>
                  </a:lnTo>
                  <a:lnTo>
                    <a:pt x="39" y="155"/>
                  </a:lnTo>
                  <a:lnTo>
                    <a:pt x="38" y="153"/>
                  </a:lnTo>
                  <a:lnTo>
                    <a:pt x="39" y="152"/>
                  </a:lnTo>
                  <a:lnTo>
                    <a:pt x="41" y="150"/>
                  </a:lnTo>
                  <a:lnTo>
                    <a:pt x="41" y="148"/>
                  </a:lnTo>
                  <a:lnTo>
                    <a:pt x="43" y="147"/>
                  </a:lnTo>
                  <a:lnTo>
                    <a:pt x="45" y="145"/>
                  </a:lnTo>
                  <a:lnTo>
                    <a:pt x="43" y="143"/>
                  </a:lnTo>
                  <a:lnTo>
                    <a:pt x="45" y="143"/>
                  </a:lnTo>
                  <a:lnTo>
                    <a:pt x="45" y="140"/>
                  </a:lnTo>
                  <a:lnTo>
                    <a:pt x="43" y="138"/>
                  </a:lnTo>
                  <a:lnTo>
                    <a:pt x="41" y="140"/>
                  </a:lnTo>
                  <a:lnTo>
                    <a:pt x="39" y="138"/>
                  </a:lnTo>
                  <a:lnTo>
                    <a:pt x="39" y="140"/>
                  </a:lnTo>
                  <a:lnTo>
                    <a:pt x="36" y="138"/>
                  </a:lnTo>
                  <a:lnTo>
                    <a:pt x="36" y="140"/>
                  </a:lnTo>
                  <a:lnTo>
                    <a:pt x="34" y="138"/>
                  </a:lnTo>
                  <a:lnTo>
                    <a:pt x="33" y="136"/>
                  </a:lnTo>
                  <a:lnTo>
                    <a:pt x="31" y="138"/>
                  </a:lnTo>
                  <a:lnTo>
                    <a:pt x="29" y="136"/>
                  </a:lnTo>
                  <a:lnTo>
                    <a:pt x="29" y="135"/>
                  </a:lnTo>
                  <a:lnTo>
                    <a:pt x="28" y="135"/>
                  </a:lnTo>
                  <a:lnTo>
                    <a:pt x="28" y="138"/>
                  </a:lnTo>
                  <a:lnTo>
                    <a:pt x="24" y="138"/>
                  </a:lnTo>
                  <a:lnTo>
                    <a:pt x="22" y="136"/>
                  </a:lnTo>
                  <a:lnTo>
                    <a:pt x="21" y="138"/>
                  </a:lnTo>
                  <a:lnTo>
                    <a:pt x="22" y="140"/>
                  </a:lnTo>
                  <a:lnTo>
                    <a:pt x="19" y="140"/>
                  </a:lnTo>
                  <a:lnTo>
                    <a:pt x="19" y="138"/>
                  </a:lnTo>
                  <a:lnTo>
                    <a:pt x="16" y="140"/>
                  </a:lnTo>
                  <a:lnTo>
                    <a:pt x="16" y="138"/>
                  </a:lnTo>
                  <a:lnTo>
                    <a:pt x="14" y="136"/>
                  </a:lnTo>
                  <a:lnTo>
                    <a:pt x="14" y="140"/>
                  </a:lnTo>
                  <a:lnTo>
                    <a:pt x="14" y="142"/>
                  </a:lnTo>
                  <a:lnTo>
                    <a:pt x="12" y="140"/>
                  </a:lnTo>
                  <a:lnTo>
                    <a:pt x="11" y="142"/>
                  </a:lnTo>
                  <a:lnTo>
                    <a:pt x="11" y="140"/>
                  </a:lnTo>
                  <a:lnTo>
                    <a:pt x="11" y="138"/>
                  </a:lnTo>
                  <a:lnTo>
                    <a:pt x="11" y="136"/>
                  </a:lnTo>
                  <a:lnTo>
                    <a:pt x="14" y="135"/>
                  </a:lnTo>
                  <a:lnTo>
                    <a:pt x="14" y="131"/>
                  </a:lnTo>
                  <a:lnTo>
                    <a:pt x="12" y="131"/>
                  </a:lnTo>
                  <a:lnTo>
                    <a:pt x="9" y="131"/>
                  </a:lnTo>
                  <a:lnTo>
                    <a:pt x="9" y="130"/>
                  </a:lnTo>
                  <a:lnTo>
                    <a:pt x="9" y="131"/>
                  </a:lnTo>
                  <a:lnTo>
                    <a:pt x="5" y="133"/>
                  </a:lnTo>
                  <a:lnTo>
                    <a:pt x="4" y="133"/>
                  </a:lnTo>
                  <a:lnTo>
                    <a:pt x="5" y="130"/>
                  </a:lnTo>
                  <a:lnTo>
                    <a:pt x="4" y="130"/>
                  </a:lnTo>
                  <a:lnTo>
                    <a:pt x="2" y="128"/>
                  </a:lnTo>
                  <a:lnTo>
                    <a:pt x="0" y="128"/>
                  </a:lnTo>
                  <a:lnTo>
                    <a:pt x="2" y="125"/>
                  </a:lnTo>
                  <a:lnTo>
                    <a:pt x="2" y="123"/>
                  </a:lnTo>
                  <a:lnTo>
                    <a:pt x="4" y="123"/>
                  </a:lnTo>
                  <a:lnTo>
                    <a:pt x="4" y="121"/>
                  </a:lnTo>
                  <a:lnTo>
                    <a:pt x="4" y="119"/>
                  </a:lnTo>
                  <a:lnTo>
                    <a:pt x="4" y="118"/>
                  </a:lnTo>
                  <a:lnTo>
                    <a:pt x="4" y="116"/>
                  </a:lnTo>
                  <a:lnTo>
                    <a:pt x="5" y="116"/>
                  </a:lnTo>
                  <a:lnTo>
                    <a:pt x="5" y="114"/>
                  </a:lnTo>
                  <a:lnTo>
                    <a:pt x="7" y="113"/>
                  </a:lnTo>
                  <a:lnTo>
                    <a:pt x="7" y="111"/>
                  </a:lnTo>
                  <a:lnTo>
                    <a:pt x="9" y="109"/>
                  </a:lnTo>
                  <a:lnTo>
                    <a:pt x="12" y="109"/>
                  </a:lnTo>
                  <a:lnTo>
                    <a:pt x="14" y="109"/>
                  </a:lnTo>
                  <a:lnTo>
                    <a:pt x="16" y="109"/>
                  </a:lnTo>
                  <a:lnTo>
                    <a:pt x="17" y="106"/>
                  </a:lnTo>
                  <a:lnTo>
                    <a:pt x="21" y="108"/>
                  </a:lnTo>
                  <a:lnTo>
                    <a:pt x="22" y="106"/>
                  </a:lnTo>
                  <a:lnTo>
                    <a:pt x="24" y="108"/>
                  </a:lnTo>
                  <a:lnTo>
                    <a:pt x="26" y="108"/>
                  </a:lnTo>
                  <a:lnTo>
                    <a:pt x="28" y="106"/>
                  </a:lnTo>
                  <a:lnTo>
                    <a:pt x="31" y="108"/>
                  </a:lnTo>
                  <a:lnTo>
                    <a:pt x="31" y="106"/>
                  </a:lnTo>
                  <a:lnTo>
                    <a:pt x="34" y="106"/>
                  </a:lnTo>
                  <a:lnTo>
                    <a:pt x="33" y="106"/>
                  </a:lnTo>
                  <a:lnTo>
                    <a:pt x="33" y="108"/>
                  </a:lnTo>
                  <a:lnTo>
                    <a:pt x="33" y="109"/>
                  </a:lnTo>
                  <a:lnTo>
                    <a:pt x="36" y="111"/>
                  </a:lnTo>
                  <a:lnTo>
                    <a:pt x="38" y="111"/>
                  </a:lnTo>
                  <a:lnTo>
                    <a:pt x="39" y="113"/>
                  </a:lnTo>
                  <a:lnTo>
                    <a:pt x="41" y="113"/>
                  </a:lnTo>
                  <a:lnTo>
                    <a:pt x="45" y="111"/>
                  </a:lnTo>
                  <a:lnTo>
                    <a:pt x="46" y="111"/>
                  </a:lnTo>
                  <a:lnTo>
                    <a:pt x="50" y="111"/>
                  </a:lnTo>
                  <a:lnTo>
                    <a:pt x="51" y="109"/>
                  </a:lnTo>
                  <a:lnTo>
                    <a:pt x="53" y="108"/>
                  </a:lnTo>
                  <a:lnTo>
                    <a:pt x="56" y="108"/>
                  </a:lnTo>
                  <a:lnTo>
                    <a:pt x="56" y="104"/>
                  </a:lnTo>
                  <a:lnTo>
                    <a:pt x="56" y="106"/>
                  </a:lnTo>
                  <a:lnTo>
                    <a:pt x="56" y="104"/>
                  </a:lnTo>
                  <a:lnTo>
                    <a:pt x="58" y="104"/>
                  </a:lnTo>
                  <a:lnTo>
                    <a:pt x="60" y="104"/>
                  </a:lnTo>
                  <a:lnTo>
                    <a:pt x="62" y="104"/>
                  </a:lnTo>
                  <a:lnTo>
                    <a:pt x="62" y="102"/>
                  </a:lnTo>
                  <a:lnTo>
                    <a:pt x="63" y="102"/>
                  </a:lnTo>
                  <a:lnTo>
                    <a:pt x="65" y="102"/>
                  </a:lnTo>
                  <a:lnTo>
                    <a:pt x="68" y="104"/>
                  </a:lnTo>
                  <a:lnTo>
                    <a:pt x="70" y="104"/>
                  </a:lnTo>
                  <a:lnTo>
                    <a:pt x="72" y="104"/>
                  </a:lnTo>
                  <a:lnTo>
                    <a:pt x="73" y="104"/>
                  </a:lnTo>
                  <a:lnTo>
                    <a:pt x="75" y="102"/>
                  </a:lnTo>
                  <a:lnTo>
                    <a:pt x="77" y="104"/>
                  </a:lnTo>
                  <a:lnTo>
                    <a:pt x="79" y="104"/>
                  </a:lnTo>
                  <a:lnTo>
                    <a:pt x="79" y="101"/>
                  </a:lnTo>
                  <a:lnTo>
                    <a:pt x="79" y="99"/>
                  </a:lnTo>
                  <a:lnTo>
                    <a:pt x="80" y="99"/>
                  </a:lnTo>
                  <a:lnTo>
                    <a:pt x="82" y="99"/>
                  </a:lnTo>
                  <a:lnTo>
                    <a:pt x="84" y="97"/>
                  </a:lnTo>
                  <a:lnTo>
                    <a:pt x="84" y="96"/>
                  </a:lnTo>
                  <a:lnTo>
                    <a:pt x="82" y="94"/>
                  </a:lnTo>
                  <a:lnTo>
                    <a:pt x="82" y="92"/>
                  </a:lnTo>
                  <a:lnTo>
                    <a:pt x="82" y="89"/>
                  </a:lnTo>
                  <a:lnTo>
                    <a:pt x="80" y="87"/>
                  </a:lnTo>
                  <a:lnTo>
                    <a:pt x="82" y="84"/>
                  </a:lnTo>
                  <a:lnTo>
                    <a:pt x="80" y="84"/>
                  </a:lnTo>
                  <a:lnTo>
                    <a:pt x="79" y="84"/>
                  </a:lnTo>
                  <a:lnTo>
                    <a:pt x="79" y="82"/>
                  </a:lnTo>
                  <a:lnTo>
                    <a:pt x="75" y="82"/>
                  </a:lnTo>
                  <a:lnTo>
                    <a:pt x="75" y="80"/>
                  </a:lnTo>
                  <a:lnTo>
                    <a:pt x="75" y="82"/>
                  </a:lnTo>
                  <a:lnTo>
                    <a:pt x="73" y="82"/>
                  </a:lnTo>
                  <a:lnTo>
                    <a:pt x="75" y="80"/>
                  </a:lnTo>
                  <a:lnTo>
                    <a:pt x="73" y="82"/>
                  </a:lnTo>
                  <a:lnTo>
                    <a:pt x="73" y="80"/>
                  </a:lnTo>
                  <a:lnTo>
                    <a:pt x="73" y="82"/>
                  </a:lnTo>
                  <a:lnTo>
                    <a:pt x="72" y="80"/>
                  </a:lnTo>
                  <a:lnTo>
                    <a:pt x="70" y="80"/>
                  </a:lnTo>
                  <a:lnTo>
                    <a:pt x="68" y="82"/>
                  </a:lnTo>
                  <a:lnTo>
                    <a:pt x="67" y="82"/>
                  </a:lnTo>
                  <a:lnTo>
                    <a:pt x="65" y="82"/>
                  </a:lnTo>
                  <a:lnTo>
                    <a:pt x="63" y="82"/>
                  </a:lnTo>
                  <a:lnTo>
                    <a:pt x="62" y="80"/>
                  </a:lnTo>
                  <a:lnTo>
                    <a:pt x="62" y="82"/>
                  </a:lnTo>
                  <a:lnTo>
                    <a:pt x="62" y="80"/>
                  </a:lnTo>
                  <a:lnTo>
                    <a:pt x="60" y="80"/>
                  </a:lnTo>
                  <a:lnTo>
                    <a:pt x="60" y="82"/>
                  </a:lnTo>
                  <a:lnTo>
                    <a:pt x="60" y="80"/>
                  </a:lnTo>
                  <a:lnTo>
                    <a:pt x="56" y="82"/>
                  </a:lnTo>
                  <a:lnTo>
                    <a:pt x="56" y="80"/>
                  </a:lnTo>
                  <a:lnTo>
                    <a:pt x="56" y="82"/>
                  </a:lnTo>
                  <a:lnTo>
                    <a:pt x="55" y="80"/>
                  </a:lnTo>
                  <a:lnTo>
                    <a:pt x="53" y="80"/>
                  </a:lnTo>
                  <a:lnTo>
                    <a:pt x="51" y="77"/>
                  </a:lnTo>
                  <a:lnTo>
                    <a:pt x="53" y="77"/>
                  </a:lnTo>
                  <a:lnTo>
                    <a:pt x="51" y="75"/>
                  </a:lnTo>
                  <a:lnTo>
                    <a:pt x="50" y="77"/>
                  </a:lnTo>
                  <a:lnTo>
                    <a:pt x="48" y="75"/>
                  </a:lnTo>
                  <a:lnTo>
                    <a:pt x="48" y="77"/>
                  </a:lnTo>
                  <a:lnTo>
                    <a:pt x="46" y="77"/>
                  </a:lnTo>
                  <a:lnTo>
                    <a:pt x="45" y="77"/>
                  </a:lnTo>
                  <a:lnTo>
                    <a:pt x="45" y="74"/>
                  </a:lnTo>
                  <a:lnTo>
                    <a:pt x="43" y="74"/>
                  </a:lnTo>
                  <a:lnTo>
                    <a:pt x="41" y="72"/>
                  </a:lnTo>
                  <a:lnTo>
                    <a:pt x="41" y="68"/>
                  </a:lnTo>
                  <a:lnTo>
                    <a:pt x="43" y="68"/>
                  </a:lnTo>
                  <a:lnTo>
                    <a:pt x="43" y="67"/>
                  </a:lnTo>
                  <a:lnTo>
                    <a:pt x="45" y="65"/>
                  </a:lnTo>
                  <a:lnTo>
                    <a:pt x="45" y="63"/>
                  </a:lnTo>
                  <a:lnTo>
                    <a:pt x="45" y="62"/>
                  </a:lnTo>
                  <a:lnTo>
                    <a:pt x="46" y="60"/>
                  </a:lnTo>
                  <a:lnTo>
                    <a:pt x="46" y="58"/>
                  </a:lnTo>
                  <a:lnTo>
                    <a:pt x="46" y="57"/>
                  </a:lnTo>
                  <a:lnTo>
                    <a:pt x="46" y="55"/>
                  </a:lnTo>
                  <a:lnTo>
                    <a:pt x="46" y="53"/>
                  </a:lnTo>
                  <a:lnTo>
                    <a:pt x="48" y="53"/>
                  </a:lnTo>
                  <a:lnTo>
                    <a:pt x="50" y="53"/>
                  </a:lnTo>
                  <a:lnTo>
                    <a:pt x="51" y="53"/>
                  </a:lnTo>
                  <a:lnTo>
                    <a:pt x="53" y="53"/>
                  </a:lnTo>
                  <a:lnTo>
                    <a:pt x="55" y="55"/>
                  </a:lnTo>
                  <a:lnTo>
                    <a:pt x="56" y="57"/>
                  </a:lnTo>
                  <a:lnTo>
                    <a:pt x="58" y="55"/>
                  </a:lnTo>
                  <a:lnTo>
                    <a:pt x="58" y="53"/>
                  </a:lnTo>
                  <a:lnTo>
                    <a:pt x="60" y="51"/>
                  </a:lnTo>
                  <a:lnTo>
                    <a:pt x="63" y="51"/>
                  </a:lnTo>
                  <a:lnTo>
                    <a:pt x="62" y="50"/>
                  </a:lnTo>
                  <a:lnTo>
                    <a:pt x="63" y="48"/>
                  </a:lnTo>
                  <a:lnTo>
                    <a:pt x="65" y="50"/>
                  </a:lnTo>
                  <a:lnTo>
                    <a:pt x="65" y="51"/>
                  </a:lnTo>
                  <a:lnTo>
                    <a:pt x="68" y="53"/>
                  </a:lnTo>
                  <a:lnTo>
                    <a:pt x="70" y="51"/>
                  </a:lnTo>
                  <a:lnTo>
                    <a:pt x="70" y="53"/>
                  </a:lnTo>
                  <a:lnTo>
                    <a:pt x="73" y="53"/>
                  </a:lnTo>
                  <a:lnTo>
                    <a:pt x="75" y="51"/>
                  </a:lnTo>
                  <a:lnTo>
                    <a:pt x="77" y="53"/>
                  </a:lnTo>
                  <a:lnTo>
                    <a:pt x="77" y="55"/>
                  </a:lnTo>
                  <a:lnTo>
                    <a:pt x="80" y="55"/>
                  </a:lnTo>
                  <a:lnTo>
                    <a:pt x="82" y="55"/>
                  </a:lnTo>
                  <a:lnTo>
                    <a:pt x="84" y="57"/>
                  </a:lnTo>
                  <a:lnTo>
                    <a:pt x="84" y="58"/>
                  </a:lnTo>
                  <a:lnTo>
                    <a:pt x="85" y="58"/>
                  </a:lnTo>
                  <a:lnTo>
                    <a:pt x="85" y="60"/>
                  </a:lnTo>
                  <a:lnTo>
                    <a:pt x="89" y="58"/>
                  </a:lnTo>
                  <a:lnTo>
                    <a:pt x="87" y="58"/>
                  </a:lnTo>
                  <a:lnTo>
                    <a:pt x="89" y="55"/>
                  </a:lnTo>
                  <a:lnTo>
                    <a:pt x="90" y="57"/>
                  </a:lnTo>
                  <a:lnTo>
                    <a:pt x="94" y="58"/>
                  </a:lnTo>
                  <a:lnTo>
                    <a:pt x="94" y="60"/>
                  </a:lnTo>
                  <a:lnTo>
                    <a:pt x="96" y="60"/>
                  </a:lnTo>
                  <a:lnTo>
                    <a:pt x="99" y="62"/>
                  </a:lnTo>
                  <a:lnTo>
                    <a:pt x="101" y="62"/>
                  </a:lnTo>
                  <a:lnTo>
                    <a:pt x="101" y="63"/>
                  </a:lnTo>
                  <a:lnTo>
                    <a:pt x="101" y="65"/>
                  </a:lnTo>
                  <a:lnTo>
                    <a:pt x="102" y="63"/>
                  </a:lnTo>
                  <a:lnTo>
                    <a:pt x="104" y="67"/>
                  </a:lnTo>
                  <a:lnTo>
                    <a:pt x="106" y="67"/>
                  </a:lnTo>
                  <a:lnTo>
                    <a:pt x="107" y="68"/>
                  </a:lnTo>
                  <a:lnTo>
                    <a:pt x="109" y="68"/>
                  </a:lnTo>
                  <a:lnTo>
                    <a:pt x="113" y="68"/>
                  </a:lnTo>
                  <a:lnTo>
                    <a:pt x="114" y="67"/>
                  </a:lnTo>
                  <a:lnTo>
                    <a:pt x="116" y="67"/>
                  </a:lnTo>
                  <a:lnTo>
                    <a:pt x="118" y="67"/>
                  </a:lnTo>
                  <a:lnTo>
                    <a:pt x="118" y="65"/>
                  </a:lnTo>
                  <a:lnTo>
                    <a:pt x="119" y="67"/>
                  </a:lnTo>
                  <a:lnTo>
                    <a:pt x="123" y="68"/>
                  </a:lnTo>
                  <a:lnTo>
                    <a:pt x="124" y="67"/>
                  </a:lnTo>
                  <a:lnTo>
                    <a:pt x="124" y="65"/>
                  </a:lnTo>
                  <a:lnTo>
                    <a:pt x="124" y="63"/>
                  </a:lnTo>
                  <a:lnTo>
                    <a:pt x="126" y="63"/>
                  </a:lnTo>
                  <a:lnTo>
                    <a:pt x="130" y="62"/>
                  </a:lnTo>
                  <a:lnTo>
                    <a:pt x="131" y="63"/>
                  </a:lnTo>
                  <a:lnTo>
                    <a:pt x="135" y="63"/>
                  </a:lnTo>
                  <a:lnTo>
                    <a:pt x="135" y="60"/>
                  </a:lnTo>
                  <a:lnTo>
                    <a:pt x="136" y="58"/>
                  </a:lnTo>
                  <a:lnTo>
                    <a:pt x="138" y="58"/>
                  </a:lnTo>
                  <a:lnTo>
                    <a:pt x="138" y="57"/>
                  </a:lnTo>
                  <a:lnTo>
                    <a:pt x="136" y="53"/>
                  </a:lnTo>
                  <a:lnTo>
                    <a:pt x="136" y="51"/>
                  </a:lnTo>
                  <a:lnTo>
                    <a:pt x="138" y="50"/>
                  </a:lnTo>
                  <a:lnTo>
                    <a:pt x="136" y="48"/>
                  </a:lnTo>
                  <a:lnTo>
                    <a:pt x="138" y="46"/>
                  </a:lnTo>
                  <a:lnTo>
                    <a:pt x="138" y="45"/>
                  </a:lnTo>
                  <a:lnTo>
                    <a:pt x="136" y="45"/>
                  </a:lnTo>
                  <a:lnTo>
                    <a:pt x="136" y="41"/>
                  </a:lnTo>
                  <a:lnTo>
                    <a:pt x="138" y="38"/>
                  </a:lnTo>
                  <a:lnTo>
                    <a:pt x="136" y="38"/>
                  </a:lnTo>
                  <a:lnTo>
                    <a:pt x="136" y="36"/>
                  </a:lnTo>
                  <a:lnTo>
                    <a:pt x="138" y="34"/>
                  </a:lnTo>
                  <a:lnTo>
                    <a:pt x="140" y="33"/>
                  </a:lnTo>
                  <a:lnTo>
                    <a:pt x="141" y="31"/>
                  </a:lnTo>
                  <a:lnTo>
                    <a:pt x="143" y="31"/>
                  </a:lnTo>
                  <a:lnTo>
                    <a:pt x="143" y="28"/>
                  </a:lnTo>
                  <a:lnTo>
                    <a:pt x="143" y="26"/>
                  </a:lnTo>
                  <a:lnTo>
                    <a:pt x="145" y="24"/>
                  </a:lnTo>
                  <a:lnTo>
                    <a:pt x="147" y="23"/>
                  </a:lnTo>
                  <a:lnTo>
                    <a:pt x="147" y="21"/>
                  </a:lnTo>
                  <a:lnTo>
                    <a:pt x="147" y="17"/>
                  </a:lnTo>
                  <a:lnTo>
                    <a:pt x="147" y="16"/>
                  </a:lnTo>
                  <a:lnTo>
                    <a:pt x="147" y="12"/>
                  </a:lnTo>
                  <a:lnTo>
                    <a:pt x="148" y="9"/>
                  </a:lnTo>
                  <a:lnTo>
                    <a:pt x="147" y="9"/>
                  </a:lnTo>
                  <a:lnTo>
                    <a:pt x="148" y="9"/>
                  </a:lnTo>
                  <a:lnTo>
                    <a:pt x="148" y="5"/>
                  </a:lnTo>
                  <a:lnTo>
                    <a:pt x="148" y="4"/>
                  </a:lnTo>
                  <a:lnTo>
                    <a:pt x="148" y="0"/>
                  </a:lnTo>
                  <a:close/>
                  <a:moveTo>
                    <a:pt x="45" y="155"/>
                  </a:moveTo>
                  <a:lnTo>
                    <a:pt x="45" y="157"/>
                  </a:lnTo>
                  <a:lnTo>
                    <a:pt x="45" y="159"/>
                  </a:lnTo>
                  <a:lnTo>
                    <a:pt x="48" y="160"/>
                  </a:lnTo>
                  <a:lnTo>
                    <a:pt x="48" y="157"/>
                  </a:lnTo>
                  <a:lnTo>
                    <a:pt x="50" y="157"/>
                  </a:lnTo>
                  <a:lnTo>
                    <a:pt x="48" y="155"/>
                  </a:lnTo>
                  <a:lnTo>
                    <a:pt x="46" y="153"/>
                  </a:lnTo>
                  <a:lnTo>
                    <a:pt x="45" y="155"/>
                  </a:lnTo>
                  <a:close/>
                  <a:moveTo>
                    <a:pt x="138" y="252"/>
                  </a:moveTo>
                  <a:lnTo>
                    <a:pt x="136" y="252"/>
                  </a:lnTo>
                  <a:lnTo>
                    <a:pt x="135" y="252"/>
                  </a:lnTo>
                  <a:lnTo>
                    <a:pt x="133" y="252"/>
                  </a:lnTo>
                  <a:lnTo>
                    <a:pt x="133" y="254"/>
                  </a:lnTo>
                  <a:lnTo>
                    <a:pt x="131" y="254"/>
                  </a:lnTo>
                  <a:lnTo>
                    <a:pt x="130" y="256"/>
                  </a:lnTo>
                  <a:lnTo>
                    <a:pt x="126" y="254"/>
                  </a:lnTo>
                  <a:lnTo>
                    <a:pt x="126" y="257"/>
                  </a:lnTo>
                  <a:lnTo>
                    <a:pt x="124" y="257"/>
                  </a:lnTo>
                  <a:lnTo>
                    <a:pt x="123" y="257"/>
                  </a:lnTo>
                  <a:lnTo>
                    <a:pt x="121" y="256"/>
                  </a:lnTo>
                  <a:lnTo>
                    <a:pt x="119" y="257"/>
                  </a:lnTo>
                  <a:lnTo>
                    <a:pt x="118" y="257"/>
                  </a:lnTo>
                  <a:lnTo>
                    <a:pt x="116" y="259"/>
                  </a:lnTo>
                  <a:lnTo>
                    <a:pt x="113" y="257"/>
                  </a:lnTo>
                  <a:lnTo>
                    <a:pt x="111" y="259"/>
                  </a:lnTo>
                  <a:lnTo>
                    <a:pt x="109" y="261"/>
                  </a:lnTo>
                  <a:lnTo>
                    <a:pt x="106" y="259"/>
                  </a:lnTo>
                  <a:lnTo>
                    <a:pt x="104" y="261"/>
                  </a:lnTo>
                  <a:lnTo>
                    <a:pt x="102" y="261"/>
                  </a:lnTo>
                  <a:lnTo>
                    <a:pt x="99" y="262"/>
                  </a:lnTo>
                  <a:lnTo>
                    <a:pt x="97" y="261"/>
                  </a:lnTo>
                  <a:lnTo>
                    <a:pt x="97" y="257"/>
                  </a:lnTo>
                  <a:lnTo>
                    <a:pt x="96" y="259"/>
                  </a:lnTo>
                  <a:lnTo>
                    <a:pt x="94" y="257"/>
                  </a:lnTo>
                  <a:lnTo>
                    <a:pt x="90" y="256"/>
                  </a:lnTo>
                  <a:lnTo>
                    <a:pt x="89" y="254"/>
                  </a:lnTo>
                  <a:lnTo>
                    <a:pt x="87" y="254"/>
                  </a:lnTo>
                  <a:lnTo>
                    <a:pt x="85" y="254"/>
                  </a:lnTo>
                  <a:lnTo>
                    <a:pt x="84" y="254"/>
                  </a:lnTo>
                  <a:lnTo>
                    <a:pt x="82" y="254"/>
                  </a:lnTo>
                  <a:lnTo>
                    <a:pt x="80" y="254"/>
                  </a:lnTo>
                  <a:lnTo>
                    <a:pt x="79" y="254"/>
                  </a:lnTo>
                  <a:lnTo>
                    <a:pt x="77" y="256"/>
                  </a:lnTo>
                  <a:lnTo>
                    <a:pt x="77" y="254"/>
                  </a:lnTo>
                  <a:lnTo>
                    <a:pt x="75" y="252"/>
                  </a:lnTo>
                  <a:lnTo>
                    <a:pt x="73" y="252"/>
                  </a:lnTo>
                  <a:lnTo>
                    <a:pt x="73" y="250"/>
                  </a:lnTo>
                  <a:lnTo>
                    <a:pt x="70" y="249"/>
                  </a:lnTo>
                  <a:lnTo>
                    <a:pt x="70" y="250"/>
                  </a:lnTo>
                  <a:lnTo>
                    <a:pt x="68" y="249"/>
                  </a:lnTo>
                  <a:lnTo>
                    <a:pt x="67" y="249"/>
                  </a:lnTo>
                  <a:lnTo>
                    <a:pt x="67" y="247"/>
                  </a:lnTo>
                  <a:lnTo>
                    <a:pt x="63" y="247"/>
                  </a:lnTo>
                  <a:lnTo>
                    <a:pt x="62" y="247"/>
                  </a:lnTo>
                  <a:lnTo>
                    <a:pt x="60" y="245"/>
                  </a:lnTo>
                  <a:lnTo>
                    <a:pt x="58" y="245"/>
                  </a:lnTo>
                  <a:lnTo>
                    <a:pt x="58" y="244"/>
                  </a:lnTo>
                  <a:lnTo>
                    <a:pt x="56" y="242"/>
                  </a:lnTo>
                  <a:lnTo>
                    <a:pt x="55" y="242"/>
                  </a:lnTo>
                  <a:lnTo>
                    <a:pt x="53" y="239"/>
                  </a:lnTo>
                  <a:lnTo>
                    <a:pt x="51" y="239"/>
                  </a:lnTo>
                  <a:lnTo>
                    <a:pt x="51" y="237"/>
                  </a:lnTo>
                  <a:lnTo>
                    <a:pt x="51" y="239"/>
                  </a:lnTo>
                  <a:lnTo>
                    <a:pt x="50" y="237"/>
                  </a:lnTo>
                  <a:lnTo>
                    <a:pt x="50" y="239"/>
                  </a:lnTo>
                  <a:lnTo>
                    <a:pt x="48" y="239"/>
                  </a:lnTo>
                  <a:lnTo>
                    <a:pt x="46" y="237"/>
                  </a:lnTo>
                  <a:lnTo>
                    <a:pt x="45" y="237"/>
                  </a:lnTo>
                  <a:lnTo>
                    <a:pt x="45" y="235"/>
                  </a:lnTo>
                  <a:lnTo>
                    <a:pt x="41" y="235"/>
                  </a:lnTo>
                  <a:lnTo>
                    <a:pt x="41" y="233"/>
                  </a:lnTo>
                  <a:lnTo>
                    <a:pt x="43" y="232"/>
                  </a:lnTo>
                  <a:lnTo>
                    <a:pt x="45" y="232"/>
                  </a:lnTo>
                  <a:lnTo>
                    <a:pt x="45" y="230"/>
                  </a:lnTo>
                  <a:lnTo>
                    <a:pt x="46" y="230"/>
                  </a:lnTo>
                  <a:lnTo>
                    <a:pt x="46" y="228"/>
                  </a:lnTo>
                  <a:lnTo>
                    <a:pt x="48" y="230"/>
                  </a:lnTo>
                  <a:lnTo>
                    <a:pt x="50" y="228"/>
                  </a:lnTo>
                  <a:lnTo>
                    <a:pt x="51" y="227"/>
                  </a:lnTo>
                  <a:lnTo>
                    <a:pt x="51" y="225"/>
                  </a:lnTo>
                  <a:lnTo>
                    <a:pt x="51" y="223"/>
                  </a:lnTo>
                  <a:lnTo>
                    <a:pt x="53" y="223"/>
                  </a:lnTo>
                  <a:lnTo>
                    <a:pt x="53" y="222"/>
                  </a:lnTo>
                  <a:lnTo>
                    <a:pt x="55" y="222"/>
                  </a:lnTo>
                  <a:lnTo>
                    <a:pt x="56" y="222"/>
                  </a:lnTo>
                  <a:lnTo>
                    <a:pt x="58" y="222"/>
                  </a:lnTo>
                  <a:lnTo>
                    <a:pt x="60" y="223"/>
                  </a:lnTo>
                  <a:lnTo>
                    <a:pt x="63" y="225"/>
                  </a:lnTo>
                  <a:lnTo>
                    <a:pt x="63" y="227"/>
                  </a:lnTo>
                  <a:lnTo>
                    <a:pt x="65" y="228"/>
                  </a:lnTo>
                  <a:lnTo>
                    <a:pt x="65" y="232"/>
                  </a:lnTo>
                  <a:lnTo>
                    <a:pt x="68" y="230"/>
                  </a:lnTo>
                  <a:lnTo>
                    <a:pt x="68" y="228"/>
                  </a:lnTo>
                  <a:lnTo>
                    <a:pt x="70" y="227"/>
                  </a:lnTo>
                  <a:lnTo>
                    <a:pt x="72" y="227"/>
                  </a:lnTo>
                  <a:lnTo>
                    <a:pt x="72" y="228"/>
                  </a:lnTo>
                  <a:lnTo>
                    <a:pt x="73" y="230"/>
                  </a:lnTo>
                  <a:lnTo>
                    <a:pt x="75" y="230"/>
                  </a:lnTo>
                  <a:lnTo>
                    <a:pt x="77" y="228"/>
                  </a:lnTo>
                  <a:lnTo>
                    <a:pt x="80" y="228"/>
                  </a:lnTo>
                  <a:lnTo>
                    <a:pt x="82" y="230"/>
                  </a:lnTo>
                  <a:lnTo>
                    <a:pt x="82" y="228"/>
                  </a:lnTo>
                  <a:lnTo>
                    <a:pt x="84" y="230"/>
                  </a:lnTo>
                  <a:lnTo>
                    <a:pt x="84" y="228"/>
                  </a:lnTo>
                  <a:lnTo>
                    <a:pt x="85" y="227"/>
                  </a:lnTo>
                  <a:lnTo>
                    <a:pt x="85" y="225"/>
                  </a:lnTo>
                  <a:lnTo>
                    <a:pt x="85" y="223"/>
                  </a:lnTo>
                  <a:lnTo>
                    <a:pt x="85" y="222"/>
                  </a:lnTo>
                  <a:lnTo>
                    <a:pt x="89" y="222"/>
                  </a:lnTo>
                  <a:lnTo>
                    <a:pt x="89" y="220"/>
                  </a:lnTo>
                  <a:lnTo>
                    <a:pt x="90" y="218"/>
                  </a:lnTo>
                  <a:lnTo>
                    <a:pt x="90" y="216"/>
                  </a:lnTo>
                  <a:lnTo>
                    <a:pt x="92" y="216"/>
                  </a:lnTo>
                  <a:lnTo>
                    <a:pt x="96" y="215"/>
                  </a:lnTo>
                  <a:lnTo>
                    <a:pt x="97" y="216"/>
                  </a:lnTo>
                  <a:lnTo>
                    <a:pt x="99" y="218"/>
                  </a:lnTo>
                  <a:lnTo>
                    <a:pt x="101" y="222"/>
                  </a:lnTo>
                  <a:lnTo>
                    <a:pt x="102" y="222"/>
                  </a:lnTo>
                  <a:lnTo>
                    <a:pt x="102" y="225"/>
                  </a:lnTo>
                  <a:lnTo>
                    <a:pt x="102" y="228"/>
                  </a:lnTo>
                  <a:lnTo>
                    <a:pt x="104" y="228"/>
                  </a:lnTo>
                  <a:lnTo>
                    <a:pt x="107" y="228"/>
                  </a:lnTo>
                  <a:lnTo>
                    <a:pt x="109" y="228"/>
                  </a:lnTo>
                  <a:lnTo>
                    <a:pt x="111" y="228"/>
                  </a:lnTo>
                  <a:lnTo>
                    <a:pt x="113" y="228"/>
                  </a:lnTo>
                  <a:lnTo>
                    <a:pt x="116" y="228"/>
                  </a:lnTo>
                  <a:lnTo>
                    <a:pt x="118" y="230"/>
                  </a:lnTo>
                  <a:lnTo>
                    <a:pt x="118" y="232"/>
                  </a:lnTo>
                  <a:lnTo>
                    <a:pt x="118" y="233"/>
                  </a:lnTo>
                  <a:lnTo>
                    <a:pt x="121" y="235"/>
                  </a:lnTo>
                  <a:lnTo>
                    <a:pt x="121" y="237"/>
                  </a:lnTo>
                  <a:lnTo>
                    <a:pt x="123" y="237"/>
                  </a:lnTo>
                  <a:lnTo>
                    <a:pt x="123" y="239"/>
                  </a:lnTo>
                  <a:lnTo>
                    <a:pt x="124" y="240"/>
                  </a:lnTo>
                  <a:lnTo>
                    <a:pt x="126" y="240"/>
                  </a:lnTo>
                  <a:lnTo>
                    <a:pt x="128" y="242"/>
                  </a:lnTo>
                  <a:lnTo>
                    <a:pt x="130" y="244"/>
                  </a:lnTo>
                  <a:lnTo>
                    <a:pt x="131" y="245"/>
                  </a:lnTo>
                  <a:lnTo>
                    <a:pt x="133" y="247"/>
                  </a:lnTo>
                  <a:lnTo>
                    <a:pt x="135" y="249"/>
                  </a:lnTo>
                  <a:lnTo>
                    <a:pt x="136" y="249"/>
                  </a:lnTo>
                  <a:lnTo>
                    <a:pt x="138" y="250"/>
                  </a:lnTo>
                  <a:lnTo>
                    <a:pt x="138" y="252"/>
                  </a:lnTo>
                  <a:close/>
                  <a:moveTo>
                    <a:pt x="277" y="157"/>
                  </a:moveTo>
                  <a:lnTo>
                    <a:pt x="279" y="159"/>
                  </a:lnTo>
                  <a:lnTo>
                    <a:pt x="279" y="160"/>
                  </a:lnTo>
                  <a:lnTo>
                    <a:pt x="279" y="164"/>
                  </a:lnTo>
                  <a:lnTo>
                    <a:pt x="277" y="164"/>
                  </a:lnTo>
                  <a:lnTo>
                    <a:pt x="279" y="162"/>
                  </a:lnTo>
                  <a:lnTo>
                    <a:pt x="279" y="159"/>
                  </a:lnTo>
                  <a:lnTo>
                    <a:pt x="279" y="162"/>
                  </a:lnTo>
                  <a:lnTo>
                    <a:pt x="277" y="164"/>
                  </a:lnTo>
                  <a:lnTo>
                    <a:pt x="279" y="162"/>
                  </a:lnTo>
                  <a:lnTo>
                    <a:pt x="276" y="162"/>
                  </a:lnTo>
                  <a:lnTo>
                    <a:pt x="277" y="159"/>
                  </a:lnTo>
                  <a:lnTo>
                    <a:pt x="277" y="157"/>
                  </a:lnTo>
                  <a:close/>
                  <a:moveTo>
                    <a:pt x="7" y="140"/>
                  </a:moveTo>
                  <a:lnTo>
                    <a:pt x="11" y="142"/>
                  </a:lnTo>
                  <a:lnTo>
                    <a:pt x="11" y="143"/>
                  </a:lnTo>
                  <a:lnTo>
                    <a:pt x="9" y="143"/>
                  </a:lnTo>
                  <a:lnTo>
                    <a:pt x="7" y="143"/>
                  </a:lnTo>
                  <a:lnTo>
                    <a:pt x="5" y="143"/>
                  </a:lnTo>
                  <a:lnTo>
                    <a:pt x="7" y="140"/>
                  </a:lnTo>
                  <a:close/>
                  <a:moveTo>
                    <a:pt x="294" y="36"/>
                  </a:moveTo>
                  <a:lnTo>
                    <a:pt x="298" y="36"/>
                  </a:lnTo>
                  <a:lnTo>
                    <a:pt x="296" y="38"/>
                  </a:lnTo>
                  <a:lnTo>
                    <a:pt x="294" y="40"/>
                  </a:lnTo>
                  <a:lnTo>
                    <a:pt x="296" y="36"/>
                  </a:lnTo>
                  <a:lnTo>
                    <a:pt x="294" y="36"/>
                  </a:lnTo>
                  <a:close/>
                  <a:moveTo>
                    <a:pt x="19" y="142"/>
                  </a:moveTo>
                  <a:lnTo>
                    <a:pt x="21" y="140"/>
                  </a:lnTo>
                  <a:lnTo>
                    <a:pt x="22" y="142"/>
                  </a:lnTo>
                  <a:lnTo>
                    <a:pt x="19" y="143"/>
                  </a:lnTo>
                  <a:lnTo>
                    <a:pt x="19" y="142"/>
                  </a:lnTo>
                  <a:close/>
                  <a:moveTo>
                    <a:pt x="46" y="223"/>
                  </a:moveTo>
                  <a:lnTo>
                    <a:pt x="48" y="223"/>
                  </a:lnTo>
                  <a:lnTo>
                    <a:pt x="50" y="225"/>
                  </a:lnTo>
                  <a:lnTo>
                    <a:pt x="48" y="225"/>
                  </a:lnTo>
                  <a:lnTo>
                    <a:pt x="46" y="223"/>
                  </a:lnTo>
                  <a:close/>
                  <a:moveTo>
                    <a:pt x="262" y="84"/>
                  </a:moveTo>
                  <a:lnTo>
                    <a:pt x="264" y="84"/>
                  </a:lnTo>
                  <a:lnTo>
                    <a:pt x="266" y="84"/>
                  </a:lnTo>
                  <a:lnTo>
                    <a:pt x="264" y="85"/>
                  </a:lnTo>
                  <a:lnTo>
                    <a:pt x="262" y="84"/>
                  </a:lnTo>
                  <a:close/>
                  <a:moveTo>
                    <a:pt x="293" y="36"/>
                  </a:moveTo>
                  <a:lnTo>
                    <a:pt x="294" y="36"/>
                  </a:lnTo>
                  <a:lnTo>
                    <a:pt x="294" y="38"/>
                  </a:lnTo>
                  <a:lnTo>
                    <a:pt x="293" y="38"/>
                  </a:lnTo>
                  <a:lnTo>
                    <a:pt x="293" y="36"/>
                  </a:lnTo>
                  <a:close/>
                  <a:moveTo>
                    <a:pt x="266" y="58"/>
                  </a:moveTo>
                  <a:lnTo>
                    <a:pt x="267" y="57"/>
                  </a:lnTo>
                  <a:lnTo>
                    <a:pt x="267" y="58"/>
                  </a:lnTo>
                  <a:lnTo>
                    <a:pt x="266" y="58"/>
                  </a:lnTo>
                  <a:close/>
                  <a:moveTo>
                    <a:pt x="262" y="153"/>
                  </a:moveTo>
                  <a:lnTo>
                    <a:pt x="264" y="152"/>
                  </a:lnTo>
                  <a:lnTo>
                    <a:pt x="264" y="153"/>
                  </a:lnTo>
                  <a:lnTo>
                    <a:pt x="262" y="155"/>
                  </a:lnTo>
                  <a:lnTo>
                    <a:pt x="262" y="153"/>
                  </a:lnTo>
                  <a:close/>
                  <a:moveTo>
                    <a:pt x="266" y="148"/>
                  </a:moveTo>
                  <a:lnTo>
                    <a:pt x="266" y="150"/>
                  </a:lnTo>
                  <a:lnTo>
                    <a:pt x="266" y="148"/>
                  </a:lnTo>
                  <a:close/>
                  <a:moveTo>
                    <a:pt x="288" y="48"/>
                  </a:moveTo>
                  <a:lnTo>
                    <a:pt x="289" y="48"/>
                  </a:lnTo>
                  <a:lnTo>
                    <a:pt x="291" y="50"/>
                  </a:lnTo>
                  <a:lnTo>
                    <a:pt x="289" y="50"/>
                  </a:lnTo>
                  <a:lnTo>
                    <a:pt x="288" y="48"/>
                  </a:lnTo>
                  <a:close/>
                  <a:moveTo>
                    <a:pt x="257" y="92"/>
                  </a:moveTo>
                  <a:lnTo>
                    <a:pt x="259" y="91"/>
                  </a:lnTo>
                  <a:lnTo>
                    <a:pt x="259" y="92"/>
                  </a:lnTo>
                  <a:lnTo>
                    <a:pt x="257" y="9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188" name="Freeform 18">
              <a:extLst>
                <a:ext uri="{FF2B5EF4-FFF2-40B4-BE49-F238E27FC236}">
                  <a16:creationId xmlns:a16="http://schemas.microsoft.com/office/drawing/2014/main" id="{9A593FC6-06D0-4CDD-A6BC-0BD9ECD5D1AA}"/>
                </a:ext>
              </a:extLst>
            </p:cNvPr>
            <p:cNvSpPr>
              <a:spLocks noEditPoints="1"/>
            </p:cNvSpPr>
            <p:nvPr/>
          </p:nvSpPr>
          <p:spPr bwMode="gray">
            <a:xfrm>
              <a:off x="12810585" y="4508566"/>
              <a:ext cx="1140655" cy="479964"/>
            </a:xfrm>
            <a:custGeom>
              <a:avLst/>
              <a:gdLst>
                <a:gd name="T0" fmla="*/ 344 w 385"/>
                <a:gd name="T1" fmla="*/ 34 h 162"/>
                <a:gd name="T2" fmla="*/ 352 w 385"/>
                <a:gd name="T3" fmla="*/ 41 h 162"/>
                <a:gd name="T4" fmla="*/ 361 w 385"/>
                <a:gd name="T5" fmla="*/ 46 h 162"/>
                <a:gd name="T6" fmla="*/ 374 w 385"/>
                <a:gd name="T7" fmla="*/ 48 h 162"/>
                <a:gd name="T8" fmla="*/ 381 w 385"/>
                <a:gd name="T9" fmla="*/ 50 h 162"/>
                <a:gd name="T10" fmla="*/ 380 w 385"/>
                <a:gd name="T11" fmla="*/ 65 h 162"/>
                <a:gd name="T12" fmla="*/ 364 w 385"/>
                <a:gd name="T13" fmla="*/ 68 h 162"/>
                <a:gd name="T14" fmla="*/ 352 w 385"/>
                <a:gd name="T15" fmla="*/ 75 h 162"/>
                <a:gd name="T16" fmla="*/ 334 w 385"/>
                <a:gd name="T17" fmla="*/ 72 h 162"/>
                <a:gd name="T18" fmla="*/ 317 w 385"/>
                <a:gd name="T19" fmla="*/ 75 h 162"/>
                <a:gd name="T20" fmla="*/ 305 w 385"/>
                <a:gd name="T21" fmla="*/ 85 h 162"/>
                <a:gd name="T22" fmla="*/ 295 w 385"/>
                <a:gd name="T23" fmla="*/ 99 h 162"/>
                <a:gd name="T24" fmla="*/ 296 w 385"/>
                <a:gd name="T25" fmla="*/ 102 h 162"/>
                <a:gd name="T26" fmla="*/ 286 w 385"/>
                <a:gd name="T27" fmla="*/ 111 h 162"/>
                <a:gd name="T28" fmla="*/ 272 w 385"/>
                <a:gd name="T29" fmla="*/ 116 h 162"/>
                <a:gd name="T30" fmla="*/ 261 w 385"/>
                <a:gd name="T31" fmla="*/ 123 h 162"/>
                <a:gd name="T32" fmla="*/ 245 w 385"/>
                <a:gd name="T33" fmla="*/ 136 h 162"/>
                <a:gd name="T34" fmla="*/ 232 w 385"/>
                <a:gd name="T35" fmla="*/ 140 h 162"/>
                <a:gd name="T36" fmla="*/ 216 w 385"/>
                <a:gd name="T37" fmla="*/ 142 h 162"/>
                <a:gd name="T38" fmla="*/ 208 w 385"/>
                <a:gd name="T39" fmla="*/ 136 h 162"/>
                <a:gd name="T40" fmla="*/ 193 w 385"/>
                <a:gd name="T41" fmla="*/ 135 h 162"/>
                <a:gd name="T42" fmla="*/ 177 w 385"/>
                <a:gd name="T43" fmla="*/ 135 h 162"/>
                <a:gd name="T44" fmla="*/ 169 w 385"/>
                <a:gd name="T45" fmla="*/ 147 h 162"/>
                <a:gd name="T46" fmla="*/ 147 w 385"/>
                <a:gd name="T47" fmla="*/ 155 h 162"/>
                <a:gd name="T48" fmla="*/ 131 w 385"/>
                <a:gd name="T49" fmla="*/ 162 h 162"/>
                <a:gd name="T50" fmla="*/ 131 w 385"/>
                <a:gd name="T51" fmla="*/ 142 h 162"/>
                <a:gd name="T52" fmla="*/ 125 w 385"/>
                <a:gd name="T53" fmla="*/ 125 h 162"/>
                <a:gd name="T54" fmla="*/ 118 w 385"/>
                <a:gd name="T55" fmla="*/ 118 h 162"/>
                <a:gd name="T56" fmla="*/ 108 w 385"/>
                <a:gd name="T57" fmla="*/ 108 h 162"/>
                <a:gd name="T58" fmla="*/ 96 w 385"/>
                <a:gd name="T59" fmla="*/ 96 h 162"/>
                <a:gd name="T60" fmla="*/ 79 w 385"/>
                <a:gd name="T61" fmla="*/ 85 h 162"/>
                <a:gd name="T62" fmla="*/ 65 w 385"/>
                <a:gd name="T63" fmla="*/ 80 h 162"/>
                <a:gd name="T64" fmla="*/ 45 w 385"/>
                <a:gd name="T65" fmla="*/ 79 h 162"/>
                <a:gd name="T66" fmla="*/ 26 w 385"/>
                <a:gd name="T67" fmla="*/ 80 h 162"/>
                <a:gd name="T68" fmla="*/ 12 w 385"/>
                <a:gd name="T69" fmla="*/ 74 h 162"/>
                <a:gd name="T70" fmla="*/ 0 w 385"/>
                <a:gd name="T71" fmla="*/ 60 h 162"/>
                <a:gd name="T72" fmla="*/ 23 w 385"/>
                <a:gd name="T73" fmla="*/ 55 h 162"/>
                <a:gd name="T74" fmla="*/ 43 w 385"/>
                <a:gd name="T75" fmla="*/ 51 h 162"/>
                <a:gd name="T76" fmla="*/ 62 w 385"/>
                <a:gd name="T77" fmla="*/ 50 h 162"/>
                <a:gd name="T78" fmla="*/ 77 w 385"/>
                <a:gd name="T79" fmla="*/ 50 h 162"/>
                <a:gd name="T80" fmla="*/ 92 w 385"/>
                <a:gd name="T81" fmla="*/ 43 h 162"/>
                <a:gd name="T82" fmla="*/ 109 w 385"/>
                <a:gd name="T83" fmla="*/ 38 h 162"/>
                <a:gd name="T84" fmla="*/ 126 w 385"/>
                <a:gd name="T85" fmla="*/ 33 h 162"/>
                <a:gd name="T86" fmla="*/ 145 w 385"/>
                <a:gd name="T87" fmla="*/ 28 h 162"/>
                <a:gd name="T88" fmla="*/ 162 w 385"/>
                <a:gd name="T89" fmla="*/ 33 h 162"/>
                <a:gd name="T90" fmla="*/ 184 w 385"/>
                <a:gd name="T91" fmla="*/ 31 h 162"/>
                <a:gd name="T92" fmla="*/ 199 w 385"/>
                <a:gd name="T93" fmla="*/ 34 h 162"/>
                <a:gd name="T94" fmla="*/ 211 w 385"/>
                <a:gd name="T95" fmla="*/ 40 h 162"/>
                <a:gd name="T96" fmla="*/ 221 w 385"/>
                <a:gd name="T97" fmla="*/ 23 h 162"/>
                <a:gd name="T98" fmla="*/ 233 w 385"/>
                <a:gd name="T99" fmla="*/ 12 h 162"/>
                <a:gd name="T100" fmla="*/ 247 w 385"/>
                <a:gd name="T101" fmla="*/ 11 h 162"/>
                <a:gd name="T102" fmla="*/ 262 w 385"/>
                <a:gd name="T103" fmla="*/ 2 h 162"/>
                <a:gd name="T104" fmla="*/ 281 w 385"/>
                <a:gd name="T105" fmla="*/ 4 h 162"/>
                <a:gd name="T106" fmla="*/ 300 w 385"/>
                <a:gd name="T107" fmla="*/ 2 h 162"/>
                <a:gd name="T108" fmla="*/ 298 w 385"/>
                <a:gd name="T109" fmla="*/ 19 h 162"/>
                <a:gd name="T110" fmla="*/ 315 w 385"/>
                <a:gd name="T111" fmla="*/ 21 h 162"/>
                <a:gd name="T112" fmla="*/ 329 w 385"/>
                <a:gd name="T113" fmla="*/ 23 h 162"/>
                <a:gd name="T114" fmla="*/ 342 w 385"/>
                <a:gd name="T115" fmla="*/ 21 h 162"/>
                <a:gd name="T116" fmla="*/ 119 w 385"/>
                <a:gd name="T117"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5" h="162">
                  <a:moveTo>
                    <a:pt x="347" y="19"/>
                  </a:moveTo>
                  <a:lnTo>
                    <a:pt x="347" y="21"/>
                  </a:lnTo>
                  <a:lnTo>
                    <a:pt x="347" y="23"/>
                  </a:lnTo>
                  <a:lnTo>
                    <a:pt x="347" y="24"/>
                  </a:lnTo>
                  <a:lnTo>
                    <a:pt x="347" y="26"/>
                  </a:lnTo>
                  <a:lnTo>
                    <a:pt x="346" y="28"/>
                  </a:lnTo>
                  <a:lnTo>
                    <a:pt x="346" y="29"/>
                  </a:lnTo>
                  <a:lnTo>
                    <a:pt x="346" y="31"/>
                  </a:lnTo>
                  <a:lnTo>
                    <a:pt x="344" y="33"/>
                  </a:lnTo>
                  <a:lnTo>
                    <a:pt x="344" y="34"/>
                  </a:lnTo>
                  <a:lnTo>
                    <a:pt x="342" y="34"/>
                  </a:lnTo>
                  <a:lnTo>
                    <a:pt x="342" y="38"/>
                  </a:lnTo>
                  <a:lnTo>
                    <a:pt x="344" y="40"/>
                  </a:lnTo>
                  <a:lnTo>
                    <a:pt x="346" y="40"/>
                  </a:lnTo>
                  <a:lnTo>
                    <a:pt x="346" y="43"/>
                  </a:lnTo>
                  <a:lnTo>
                    <a:pt x="347" y="43"/>
                  </a:lnTo>
                  <a:lnTo>
                    <a:pt x="349" y="43"/>
                  </a:lnTo>
                  <a:lnTo>
                    <a:pt x="349" y="41"/>
                  </a:lnTo>
                  <a:lnTo>
                    <a:pt x="351" y="43"/>
                  </a:lnTo>
                  <a:lnTo>
                    <a:pt x="352" y="41"/>
                  </a:lnTo>
                  <a:lnTo>
                    <a:pt x="354" y="43"/>
                  </a:lnTo>
                  <a:lnTo>
                    <a:pt x="352" y="43"/>
                  </a:lnTo>
                  <a:lnTo>
                    <a:pt x="354" y="46"/>
                  </a:lnTo>
                  <a:lnTo>
                    <a:pt x="356" y="46"/>
                  </a:lnTo>
                  <a:lnTo>
                    <a:pt x="357" y="48"/>
                  </a:lnTo>
                  <a:lnTo>
                    <a:pt x="357" y="46"/>
                  </a:lnTo>
                  <a:lnTo>
                    <a:pt x="357" y="48"/>
                  </a:lnTo>
                  <a:lnTo>
                    <a:pt x="361" y="46"/>
                  </a:lnTo>
                  <a:lnTo>
                    <a:pt x="361" y="48"/>
                  </a:lnTo>
                  <a:lnTo>
                    <a:pt x="361" y="46"/>
                  </a:lnTo>
                  <a:lnTo>
                    <a:pt x="363" y="46"/>
                  </a:lnTo>
                  <a:lnTo>
                    <a:pt x="363" y="48"/>
                  </a:lnTo>
                  <a:lnTo>
                    <a:pt x="363" y="46"/>
                  </a:lnTo>
                  <a:lnTo>
                    <a:pt x="364" y="48"/>
                  </a:lnTo>
                  <a:lnTo>
                    <a:pt x="366" y="48"/>
                  </a:lnTo>
                  <a:lnTo>
                    <a:pt x="368" y="48"/>
                  </a:lnTo>
                  <a:lnTo>
                    <a:pt x="369" y="48"/>
                  </a:lnTo>
                  <a:lnTo>
                    <a:pt x="371" y="46"/>
                  </a:lnTo>
                  <a:lnTo>
                    <a:pt x="373" y="46"/>
                  </a:lnTo>
                  <a:lnTo>
                    <a:pt x="374" y="48"/>
                  </a:lnTo>
                  <a:lnTo>
                    <a:pt x="374" y="46"/>
                  </a:lnTo>
                  <a:lnTo>
                    <a:pt x="374" y="48"/>
                  </a:lnTo>
                  <a:lnTo>
                    <a:pt x="376" y="46"/>
                  </a:lnTo>
                  <a:lnTo>
                    <a:pt x="374" y="48"/>
                  </a:lnTo>
                  <a:lnTo>
                    <a:pt x="376" y="48"/>
                  </a:lnTo>
                  <a:lnTo>
                    <a:pt x="376" y="46"/>
                  </a:lnTo>
                  <a:lnTo>
                    <a:pt x="376" y="48"/>
                  </a:lnTo>
                  <a:lnTo>
                    <a:pt x="380" y="48"/>
                  </a:lnTo>
                  <a:lnTo>
                    <a:pt x="380" y="50"/>
                  </a:lnTo>
                  <a:lnTo>
                    <a:pt x="381" y="50"/>
                  </a:lnTo>
                  <a:lnTo>
                    <a:pt x="383" y="50"/>
                  </a:lnTo>
                  <a:lnTo>
                    <a:pt x="381" y="53"/>
                  </a:lnTo>
                  <a:lnTo>
                    <a:pt x="383" y="55"/>
                  </a:lnTo>
                  <a:lnTo>
                    <a:pt x="383" y="58"/>
                  </a:lnTo>
                  <a:lnTo>
                    <a:pt x="383" y="60"/>
                  </a:lnTo>
                  <a:lnTo>
                    <a:pt x="385" y="62"/>
                  </a:lnTo>
                  <a:lnTo>
                    <a:pt x="385" y="63"/>
                  </a:lnTo>
                  <a:lnTo>
                    <a:pt x="383" y="65"/>
                  </a:lnTo>
                  <a:lnTo>
                    <a:pt x="381" y="65"/>
                  </a:lnTo>
                  <a:lnTo>
                    <a:pt x="380" y="65"/>
                  </a:lnTo>
                  <a:lnTo>
                    <a:pt x="380" y="67"/>
                  </a:lnTo>
                  <a:lnTo>
                    <a:pt x="380" y="70"/>
                  </a:lnTo>
                  <a:lnTo>
                    <a:pt x="378" y="70"/>
                  </a:lnTo>
                  <a:lnTo>
                    <a:pt x="376" y="68"/>
                  </a:lnTo>
                  <a:lnTo>
                    <a:pt x="374" y="70"/>
                  </a:lnTo>
                  <a:lnTo>
                    <a:pt x="373" y="70"/>
                  </a:lnTo>
                  <a:lnTo>
                    <a:pt x="371" y="70"/>
                  </a:lnTo>
                  <a:lnTo>
                    <a:pt x="369" y="70"/>
                  </a:lnTo>
                  <a:lnTo>
                    <a:pt x="366" y="68"/>
                  </a:lnTo>
                  <a:lnTo>
                    <a:pt x="364" y="68"/>
                  </a:lnTo>
                  <a:lnTo>
                    <a:pt x="363" y="68"/>
                  </a:lnTo>
                  <a:lnTo>
                    <a:pt x="363" y="70"/>
                  </a:lnTo>
                  <a:lnTo>
                    <a:pt x="361" y="70"/>
                  </a:lnTo>
                  <a:lnTo>
                    <a:pt x="359" y="70"/>
                  </a:lnTo>
                  <a:lnTo>
                    <a:pt x="357" y="70"/>
                  </a:lnTo>
                  <a:lnTo>
                    <a:pt x="357" y="72"/>
                  </a:lnTo>
                  <a:lnTo>
                    <a:pt x="357" y="70"/>
                  </a:lnTo>
                  <a:lnTo>
                    <a:pt x="357" y="74"/>
                  </a:lnTo>
                  <a:lnTo>
                    <a:pt x="354" y="74"/>
                  </a:lnTo>
                  <a:lnTo>
                    <a:pt x="352" y="75"/>
                  </a:lnTo>
                  <a:lnTo>
                    <a:pt x="351" y="77"/>
                  </a:lnTo>
                  <a:lnTo>
                    <a:pt x="347" y="77"/>
                  </a:lnTo>
                  <a:lnTo>
                    <a:pt x="346" y="77"/>
                  </a:lnTo>
                  <a:lnTo>
                    <a:pt x="342" y="79"/>
                  </a:lnTo>
                  <a:lnTo>
                    <a:pt x="340" y="79"/>
                  </a:lnTo>
                  <a:lnTo>
                    <a:pt x="339" y="77"/>
                  </a:lnTo>
                  <a:lnTo>
                    <a:pt x="337" y="77"/>
                  </a:lnTo>
                  <a:lnTo>
                    <a:pt x="334" y="75"/>
                  </a:lnTo>
                  <a:lnTo>
                    <a:pt x="334" y="74"/>
                  </a:lnTo>
                  <a:lnTo>
                    <a:pt x="334" y="72"/>
                  </a:lnTo>
                  <a:lnTo>
                    <a:pt x="335" y="72"/>
                  </a:lnTo>
                  <a:lnTo>
                    <a:pt x="332" y="72"/>
                  </a:lnTo>
                  <a:lnTo>
                    <a:pt x="332" y="74"/>
                  </a:lnTo>
                  <a:lnTo>
                    <a:pt x="329" y="72"/>
                  </a:lnTo>
                  <a:lnTo>
                    <a:pt x="327" y="74"/>
                  </a:lnTo>
                  <a:lnTo>
                    <a:pt x="325" y="74"/>
                  </a:lnTo>
                  <a:lnTo>
                    <a:pt x="323" y="72"/>
                  </a:lnTo>
                  <a:lnTo>
                    <a:pt x="322" y="74"/>
                  </a:lnTo>
                  <a:lnTo>
                    <a:pt x="318" y="72"/>
                  </a:lnTo>
                  <a:lnTo>
                    <a:pt x="317" y="75"/>
                  </a:lnTo>
                  <a:lnTo>
                    <a:pt x="315" y="75"/>
                  </a:lnTo>
                  <a:lnTo>
                    <a:pt x="313" y="75"/>
                  </a:lnTo>
                  <a:lnTo>
                    <a:pt x="310" y="75"/>
                  </a:lnTo>
                  <a:lnTo>
                    <a:pt x="308" y="77"/>
                  </a:lnTo>
                  <a:lnTo>
                    <a:pt x="308" y="79"/>
                  </a:lnTo>
                  <a:lnTo>
                    <a:pt x="306" y="80"/>
                  </a:lnTo>
                  <a:lnTo>
                    <a:pt x="306" y="82"/>
                  </a:lnTo>
                  <a:lnTo>
                    <a:pt x="305" y="82"/>
                  </a:lnTo>
                  <a:lnTo>
                    <a:pt x="305" y="84"/>
                  </a:lnTo>
                  <a:lnTo>
                    <a:pt x="305" y="85"/>
                  </a:lnTo>
                  <a:lnTo>
                    <a:pt x="305" y="87"/>
                  </a:lnTo>
                  <a:lnTo>
                    <a:pt x="305" y="89"/>
                  </a:lnTo>
                  <a:lnTo>
                    <a:pt x="303" y="89"/>
                  </a:lnTo>
                  <a:lnTo>
                    <a:pt x="303" y="91"/>
                  </a:lnTo>
                  <a:lnTo>
                    <a:pt x="301" y="94"/>
                  </a:lnTo>
                  <a:lnTo>
                    <a:pt x="300" y="96"/>
                  </a:lnTo>
                  <a:lnTo>
                    <a:pt x="301" y="97"/>
                  </a:lnTo>
                  <a:lnTo>
                    <a:pt x="300" y="97"/>
                  </a:lnTo>
                  <a:lnTo>
                    <a:pt x="296" y="97"/>
                  </a:lnTo>
                  <a:lnTo>
                    <a:pt x="295" y="99"/>
                  </a:lnTo>
                  <a:lnTo>
                    <a:pt x="293" y="97"/>
                  </a:lnTo>
                  <a:lnTo>
                    <a:pt x="293" y="99"/>
                  </a:lnTo>
                  <a:lnTo>
                    <a:pt x="293" y="101"/>
                  </a:lnTo>
                  <a:lnTo>
                    <a:pt x="295" y="102"/>
                  </a:lnTo>
                  <a:lnTo>
                    <a:pt x="296" y="102"/>
                  </a:lnTo>
                  <a:lnTo>
                    <a:pt x="298" y="102"/>
                  </a:lnTo>
                  <a:lnTo>
                    <a:pt x="298" y="101"/>
                  </a:lnTo>
                  <a:lnTo>
                    <a:pt x="300" y="102"/>
                  </a:lnTo>
                  <a:lnTo>
                    <a:pt x="298" y="102"/>
                  </a:lnTo>
                  <a:lnTo>
                    <a:pt x="296" y="102"/>
                  </a:lnTo>
                  <a:lnTo>
                    <a:pt x="295" y="104"/>
                  </a:lnTo>
                  <a:lnTo>
                    <a:pt x="293" y="102"/>
                  </a:lnTo>
                  <a:lnTo>
                    <a:pt x="295" y="104"/>
                  </a:lnTo>
                  <a:lnTo>
                    <a:pt x="291" y="104"/>
                  </a:lnTo>
                  <a:lnTo>
                    <a:pt x="291" y="106"/>
                  </a:lnTo>
                  <a:lnTo>
                    <a:pt x="289" y="106"/>
                  </a:lnTo>
                  <a:lnTo>
                    <a:pt x="288" y="106"/>
                  </a:lnTo>
                  <a:lnTo>
                    <a:pt x="286" y="106"/>
                  </a:lnTo>
                  <a:lnTo>
                    <a:pt x="284" y="108"/>
                  </a:lnTo>
                  <a:lnTo>
                    <a:pt x="286" y="111"/>
                  </a:lnTo>
                  <a:lnTo>
                    <a:pt x="284" y="109"/>
                  </a:lnTo>
                  <a:lnTo>
                    <a:pt x="283" y="111"/>
                  </a:lnTo>
                  <a:lnTo>
                    <a:pt x="283" y="109"/>
                  </a:lnTo>
                  <a:lnTo>
                    <a:pt x="281" y="109"/>
                  </a:lnTo>
                  <a:lnTo>
                    <a:pt x="281" y="113"/>
                  </a:lnTo>
                  <a:lnTo>
                    <a:pt x="279" y="114"/>
                  </a:lnTo>
                  <a:lnTo>
                    <a:pt x="276" y="114"/>
                  </a:lnTo>
                  <a:lnTo>
                    <a:pt x="274" y="114"/>
                  </a:lnTo>
                  <a:lnTo>
                    <a:pt x="272" y="114"/>
                  </a:lnTo>
                  <a:lnTo>
                    <a:pt x="272" y="116"/>
                  </a:lnTo>
                  <a:lnTo>
                    <a:pt x="271" y="116"/>
                  </a:lnTo>
                  <a:lnTo>
                    <a:pt x="269" y="118"/>
                  </a:lnTo>
                  <a:lnTo>
                    <a:pt x="267" y="116"/>
                  </a:lnTo>
                  <a:lnTo>
                    <a:pt x="266" y="118"/>
                  </a:lnTo>
                  <a:lnTo>
                    <a:pt x="264" y="118"/>
                  </a:lnTo>
                  <a:lnTo>
                    <a:pt x="264" y="119"/>
                  </a:lnTo>
                  <a:lnTo>
                    <a:pt x="264" y="121"/>
                  </a:lnTo>
                  <a:lnTo>
                    <a:pt x="264" y="123"/>
                  </a:lnTo>
                  <a:lnTo>
                    <a:pt x="262" y="123"/>
                  </a:lnTo>
                  <a:lnTo>
                    <a:pt x="261" y="123"/>
                  </a:lnTo>
                  <a:lnTo>
                    <a:pt x="259" y="125"/>
                  </a:lnTo>
                  <a:lnTo>
                    <a:pt x="257" y="125"/>
                  </a:lnTo>
                  <a:lnTo>
                    <a:pt x="255" y="128"/>
                  </a:lnTo>
                  <a:lnTo>
                    <a:pt x="254" y="130"/>
                  </a:lnTo>
                  <a:lnTo>
                    <a:pt x="250" y="130"/>
                  </a:lnTo>
                  <a:lnTo>
                    <a:pt x="249" y="133"/>
                  </a:lnTo>
                  <a:lnTo>
                    <a:pt x="249" y="135"/>
                  </a:lnTo>
                  <a:lnTo>
                    <a:pt x="249" y="136"/>
                  </a:lnTo>
                  <a:lnTo>
                    <a:pt x="247" y="136"/>
                  </a:lnTo>
                  <a:lnTo>
                    <a:pt x="245" y="136"/>
                  </a:lnTo>
                  <a:lnTo>
                    <a:pt x="244" y="136"/>
                  </a:lnTo>
                  <a:lnTo>
                    <a:pt x="242" y="138"/>
                  </a:lnTo>
                  <a:lnTo>
                    <a:pt x="240" y="138"/>
                  </a:lnTo>
                  <a:lnTo>
                    <a:pt x="238" y="138"/>
                  </a:lnTo>
                  <a:lnTo>
                    <a:pt x="237" y="138"/>
                  </a:lnTo>
                  <a:lnTo>
                    <a:pt x="237" y="140"/>
                  </a:lnTo>
                  <a:lnTo>
                    <a:pt x="235" y="142"/>
                  </a:lnTo>
                  <a:lnTo>
                    <a:pt x="233" y="142"/>
                  </a:lnTo>
                  <a:lnTo>
                    <a:pt x="233" y="140"/>
                  </a:lnTo>
                  <a:lnTo>
                    <a:pt x="232" y="140"/>
                  </a:lnTo>
                  <a:lnTo>
                    <a:pt x="230" y="140"/>
                  </a:lnTo>
                  <a:lnTo>
                    <a:pt x="227" y="140"/>
                  </a:lnTo>
                  <a:lnTo>
                    <a:pt x="225" y="140"/>
                  </a:lnTo>
                  <a:lnTo>
                    <a:pt x="223" y="142"/>
                  </a:lnTo>
                  <a:lnTo>
                    <a:pt x="223" y="143"/>
                  </a:lnTo>
                  <a:lnTo>
                    <a:pt x="221" y="143"/>
                  </a:lnTo>
                  <a:lnTo>
                    <a:pt x="221" y="145"/>
                  </a:lnTo>
                  <a:lnTo>
                    <a:pt x="221" y="143"/>
                  </a:lnTo>
                  <a:lnTo>
                    <a:pt x="218" y="142"/>
                  </a:lnTo>
                  <a:lnTo>
                    <a:pt x="216" y="142"/>
                  </a:lnTo>
                  <a:lnTo>
                    <a:pt x="215" y="142"/>
                  </a:lnTo>
                  <a:lnTo>
                    <a:pt x="213" y="142"/>
                  </a:lnTo>
                  <a:lnTo>
                    <a:pt x="215" y="140"/>
                  </a:lnTo>
                  <a:lnTo>
                    <a:pt x="215" y="138"/>
                  </a:lnTo>
                  <a:lnTo>
                    <a:pt x="216" y="138"/>
                  </a:lnTo>
                  <a:lnTo>
                    <a:pt x="216" y="136"/>
                  </a:lnTo>
                  <a:lnTo>
                    <a:pt x="215" y="138"/>
                  </a:lnTo>
                  <a:lnTo>
                    <a:pt x="211" y="138"/>
                  </a:lnTo>
                  <a:lnTo>
                    <a:pt x="210" y="136"/>
                  </a:lnTo>
                  <a:lnTo>
                    <a:pt x="208" y="136"/>
                  </a:lnTo>
                  <a:lnTo>
                    <a:pt x="206" y="136"/>
                  </a:lnTo>
                  <a:lnTo>
                    <a:pt x="204" y="136"/>
                  </a:lnTo>
                  <a:lnTo>
                    <a:pt x="201" y="135"/>
                  </a:lnTo>
                  <a:lnTo>
                    <a:pt x="199" y="135"/>
                  </a:lnTo>
                  <a:lnTo>
                    <a:pt x="199" y="133"/>
                  </a:lnTo>
                  <a:lnTo>
                    <a:pt x="198" y="133"/>
                  </a:lnTo>
                  <a:lnTo>
                    <a:pt x="196" y="133"/>
                  </a:lnTo>
                  <a:lnTo>
                    <a:pt x="194" y="131"/>
                  </a:lnTo>
                  <a:lnTo>
                    <a:pt x="193" y="133"/>
                  </a:lnTo>
                  <a:lnTo>
                    <a:pt x="193" y="135"/>
                  </a:lnTo>
                  <a:lnTo>
                    <a:pt x="191" y="135"/>
                  </a:lnTo>
                  <a:lnTo>
                    <a:pt x="189" y="133"/>
                  </a:lnTo>
                  <a:lnTo>
                    <a:pt x="189" y="130"/>
                  </a:lnTo>
                  <a:lnTo>
                    <a:pt x="189" y="128"/>
                  </a:lnTo>
                  <a:lnTo>
                    <a:pt x="186" y="130"/>
                  </a:lnTo>
                  <a:lnTo>
                    <a:pt x="184" y="130"/>
                  </a:lnTo>
                  <a:lnTo>
                    <a:pt x="182" y="130"/>
                  </a:lnTo>
                  <a:lnTo>
                    <a:pt x="181" y="131"/>
                  </a:lnTo>
                  <a:lnTo>
                    <a:pt x="177" y="133"/>
                  </a:lnTo>
                  <a:lnTo>
                    <a:pt x="177" y="135"/>
                  </a:lnTo>
                  <a:lnTo>
                    <a:pt x="177" y="138"/>
                  </a:lnTo>
                  <a:lnTo>
                    <a:pt x="179" y="138"/>
                  </a:lnTo>
                  <a:lnTo>
                    <a:pt x="177" y="142"/>
                  </a:lnTo>
                  <a:lnTo>
                    <a:pt x="177" y="143"/>
                  </a:lnTo>
                  <a:lnTo>
                    <a:pt x="179" y="145"/>
                  </a:lnTo>
                  <a:lnTo>
                    <a:pt x="177" y="145"/>
                  </a:lnTo>
                  <a:lnTo>
                    <a:pt x="176" y="147"/>
                  </a:lnTo>
                  <a:lnTo>
                    <a:pt x="174" y="147"/>
                  </a:lnTo>
                  <a:lnTo>
                    <a:pt x="172" y="145"/>
                  </a:lnTo>
                  <a:lnTo>
                    <a:pt x="169" y="147"/>
                  </a:lnTo>
                  <a:lnTo>
                    <a:pt x="165" y="147"/>
                  </a:lnTo>
                  <a:lnTo>
                    <a:pt x="162" y="148"/>
                  </a:lnTo>
                  <a:lnTo>
                    <a:pt x="160" y="148"/>
                  </a:lnTo>
                  <a:lnTo>
                    <a:pt x="159" y="148"/>
                  </a:lnTo>
                  <a:lnTo>
                    <a:pt x="157" y="150"/>
                  </a:lnTo>
                  <a:lnTo>
                    <a:pt x="155" y="150"/>
                  </a:lnTo>
                  <a:lnTo>
                    <a:pt x="153" y="152"/>
                  </a:lnTo>
                  <a:lnTo>
                    <a:pt x="152" y="152"/>
                  </a:lnTo>
                  <a:lnTo>
                    <a:pt x="148" y="152"/>
                  </a:lnTo>
                  <a:lnTo>
                    <a:pt x="147" y="155"/>
                  </a:lnTo>
                  <a:lnTo>
                    <a:pt x="147" y="159"/>
                  </a:lnTo>
                  <a:lnTo>
                    <a:pt x="145" y="160"/>
                  </a:lnTo>
                  <a:lnTo>
                    <a:pt x="145" y="162"/>
                  </a:lnTo>
                  <a:lnTo>
                    <a:pt x="142" y="160"/>
                  </a:lnTo>
                  <a:lnTo>
                    <a:pt x="140" y="160"/>
                  </a:lnTo>
                  <a:lnTo>
                    <a:pt x="138" y="160"/>
                  </a:lnTo>
                  <a:lnTo>
                    <a:pt x="136" y="162"/>
                  </a:lnTo>
                  <a:lnTo>
                    <a:pt x="135" y="162"/>
                  </a:lnTo>
                  <a:lnTo>
                    <a:pt x="133" y="162"/>
                  </a:lnTo>
                  <a:lnTo>
                    <a:pt x="131" y="162"/>
                  </a:lnTo>
                  <a:lnTo>
                    <a:pt x="130" y="162"/>
                  </a:lnTo>
                  <a:lnTo>
                    <a:pt x="130" y="160"/>
                  </a:lnTo>
                  <a:lnTo>
                    <a:pt x="128" y="157"/>
                  </a:lnTo>
                  <a:lnTo>
                    <a:pt x="128" y="155"/>
                  </a:lnTo>
                  <a:lnTo>
                    <a:pt x="128" y="154"/>
                  </a:lnTo>
                  <a:lnTo>
                    <a:pt x="130" y="152"/>
                  </a:lnTo>
                  <a:lnTo>
                    <a:pt x="131" y="148"/>
                  </a:lnTo>
                  <a:lnTo>
                    <a:pt x="131" y="147"/>
                  </a:lnTo>
                  <a:lnTo>
                    <a:pt x="131" y="143"/>
                  </a:lnTo>
                  <a:lnTo>
                    <a:pt x="131" y="142"/>
                  </a:lnTo>
                  <a:lnTo>
                    <a:pt x="131" y="138"/>
                  </a:lnTo>
                  <a:lnTo>
                    <a:pt x="131" y="136"/>
                  </a:lnTo>
                  <a:lnTo>
                    <a:pt x="130" y="135"/>
                  </a:lnTo>
                  <a:lnTo>
                    <a:pt x="130" y="133"/>
                  </a:lnTo>
                  <a:lnTo>
                    <a:pt x="128" y="131"/>
                  </a:lnTo>
                  <a:lnTo>
                    <a:pt x="126" y="130"/>
                  </a:lnTo>
                  <a:lnTo>
                    <a:pt x="126" y="128"/>
                  </a:lnTo>
                  <a:lnTo>
                    <a:pt x="125" y="128"/>
                  </a:lnTo>
                  <a:lnTo>
                    <a:pt x="125" y="126"/>
                  </a:lnTo>
                  <a:lnTo>
                    <a:pt x="125" y="125"/>
                  </a:lnTo>
                  <a:lnTo>
                    <a:pt x="123" y="125"/>
                  </a:lnTo>
                  <a:lnTo>
                    <a:pt x="121" y="123"/>
                  </a:lnTo>
                  <a:lnTo>
                    <a:pt x="119" y="121"/>
                  </a:lnTo>
                  <a:lnTo>
                    <a:pt x="121" y="123"/>
                  </a:lnTo>
                  <a:lnTo>
                    <a:pt x="121" y="121"/>
                  </a:lnTo>
                  <a:lnTo>
                    <a:pt x="119" y="121"/>
                  </a:lnTo>
                  <a:lnTo>
                    <a:pt x="121" y="119"/>
                  </a:lnTo>
                  <a:lnTo>
                    <a:pt x="121" y="118"/>
                  </a:lnTo>
                  <a:lnTo>
                    <a:pt x="119" y="118"/>
                  </a:lnTo>
                  <a:lnTo>
                    <a:pt x="118" y="118"/>
                  </a:lnTo>
                  <a:lnTo>
                    <a:pt x="119" y="121"/>
                  </a:lnTo>
                  <a:lnTo>
                    <a:pt x="116" y="119"/>
                  </a:lnTo>
                  <a:lnTo>
                    <a:pt x="116" y="118"/>
                  </a:lnTo>
                  <a:lnTo>
                    <a:pt x="114" y="118"/>
                  </a:lnTo>
                  <a:lnTo>
                    <a:pt x="114" y="116"/>
                  </a:lnTo>
                  <a:lnTo>
                    <a:pt x="113" y="116"/>
                  </a:lnTo>
                  <a:lnTo>
                    <a:pt x="111" y="113"/>
                  </a:lnTo>
                  <a:lnTo>
                    <a:pt x="111" y="111"/>
                  </a:lnTo>
                  <a:lnTo>
                    <a:pt x="109" y="109"/>
                  </a:lnTo>
                  <a:lnTo>
                    <a:pt x="108" y="108"/>
                  </a:lnTo>
                  <a:lnTo>
                    <a:pt x="106" y="108"/>
                  </a:lnTo>
                  <a:lnTo>
                    <a:pt x="106" y="106"/>
                  </a:lnTo>
                  <a:lnTo>
                    <a:pt x="102" y="106"/>
                  </a:lnTo>
                  <a:lnTo>
                    <a:pt x="102" y="104"/>
                  </a:lnTo>
                  <a:lnTo>
                    <a:pt x="101" y="102"/>
                  </a:lnTo>
                  <a:lnTo>
                    <a:pt x="101" y="101"/>
                  </a:lnTo>
                  <a:lnTo>
                    <a:pt x="99" y="99"/>
                  </a:lnTo>
                  <a:lnTo>
                    <a:pt x="99" y="97"/>
                  </a:lnTo>
                  <a:lnTo>
                    <a:pt x="97" y="96"/>
                  </a:lnTo>
                  <a:lnTo>
                    <a:pt x="96" y="96"/>
                  </a:lnTo>
                  <a:lnTo>
                    <a:pt x="96" y="94"/>
                  </a:lnTo>
                  <a:lnTo>
                    <a:pt x="94" y="91"/>
                  </a:lnTo>
                  <a:lnTo>
                    <a:pt x="92" y="91"/>
                  </a:lnTo>
                  <a:lnTo>
                    <a:pt x="91" y="89"/>
                  </a:lnTo>
                  <a:lnTo>
                    <a:pt x="89" y="87"/>
                  </a:lnTo>
                  <a:lnTo>
                    <a:pt x="87" y="85"/>
                  </a:lnTo>
                  <a:lnTo>
                    <a:pt x="84" y="85"/>
                  </a:lnTo>
                  <a:lnTo>
                    <a:pt x="82" y="85"/>
                  </a:lnTo>
                  <a:lnTo>
                    <a:pt x="80" y="85"/>
                  </a:lnTo>
                  <a:lnTo>
                    <a:pt x="79" y="85"/>
                  </a:lnTo>
                  <a:lnTo>
                    <a:pt x="75" y="87"/>
                  </a:lnTo>
                  <a:lnTo>
                    <a:pt x="74" y="89"/>
                  </a:lnTo>
                  <a:lnTo>
                    <a:pt x="72" y="89"/>
                  </a:lnTo>
                  <a:lnTo>
                    <a:pt x="70" y="87"/>
                  </a:lnTo>
                  <a:lnTo>
                    <a:pt x="68" y="87"/>
                  </a:lnTo>
                  <a:lnTo>
                    <a:pt x="68" y="85"/>
                  </a:lnTo>
                  <a:lnTo>
                    <a:pt x="67" y="85"/>
                  </a:lnTo>
                  <a:lnTo>
                    <a:pt x="67" y="84"/>
                  </a:lnTo>
                  <a:lnTo>
                    <a:pt x="65" y="82"/>
                  </a:lnTo>
                  <a:lnTo>
                    <a:pt x="65" y="80"/>
                  </a:lnTo>
                  <a:lnTo>
                    <a:pt x="63" y="79"/>
                  </a:lnTo>
                  <a:lnTo>
                    <a:pt x="62" y="79"/>
                  </a:lnTo>
                  <a:lnTo>
                    <a:pt x="60" y="79"/>
                  </a:lnTo>
                  <a:lnTo>
                    <a:pt x="58" y="79"/>
                  </a:lnTo>
                  <a:lnTo>
                    <a:pt x="58" y="80"/>
                  </a:lnTo>
                  <a:lnTo>
                    <a:pt x="55" y="79"/>
                  </a:lnTo>
                  <a:lnTo>
                    <a:pt x="53" y="79"/>
                  </a:lnTo>
                  <a:lnTo>
                    <a:pt x="50" y="77"/>
                  </a:lnTo>
                  <a:lnTo>
                    <a:pt x="46" y="77"/>
                  </a:lnTo>
                  <a:lnTo>
                    <a:pt x="45" y="79"/>
                  </a:lnTo>
                  <a:lnTo>
                    <a:pt x="43" y="79"/>
                  </a:lnTo>
                  <a:lnTo>
                    <a:pt x="41" y="80"/>
                  </a:lnTo>
                  <a:lnTo>
                    <a:pt x="40" y="80"/>
                  </a:lnTo>
                  <a:lnTo>
                    <a:pt x="38" y="80"/>
                  </a:lnTo>
                  <a:lnTo>
                    <a:pt x="36" y="82"/>
                  </a:lnTo>
                  <a:lnTo>
                    <a:pt x="34" y="82"/>
                  </a:lnTo>
                  <a:lnTo>
                    <a:pt x="33" y="80"/>
                  </a:lnTo>
                  <a:lnTo>
                    <a:pt x="29" y="80"/>
                  </a:lnTo>
                  <a:lnTo>
                    <a:pt x="28" y="80"/>
                  </a:lnTo>
                  <a:lnTo>
                    <a:pt x="26" y="80"/>
                  </a:lnTo>
                  <a:lnTo>
                    <a:pt x="24" y="82"/>
                  </a:lnTo>
                  <a:lnTo>
                    <a:pt x="24" y="84"/>
                  </a:lnTo>
                  <a:lnTo>
                    <a:pt x="21" y="82"/>
                  </a:lnTo>
                  <a:lnTo>
                    <a:pt x="19" y="82"/>
                  </a:lnTo>
                  <a:lnTo>
                    <a:pt x="19" y="80"/>
                  </a:lnTo>
                  <a:lnTo>
                    <a:pt x="17" y="79"/>
                  </a:lnTo>
                  <a:lnTo>
                    <a:pt x="16" y="77"/>
                  </a:lnTo>
                  <a:lnTo>
                    <a:pt x="14" y="75"/>
                  </a:lnTo>
                  <a:lnTo>
                    <a:pt x="14" y="74"/>
                  </a:lnTo>
                  <a:lnTo>
                    <a:pt x="12" y="74"/>
                  </a:lnTo>
                  <a:lnTo>
                    <a:pt x="9" y="75"/>
                  </a:lnTo>
                  <a:lnTo>
                    <a:pt x="7" y="74"/>
                  </a:lnTo>
                  <a:lnTo>
                    <a:pt x="4" y="74"/>
                  </a:lnTo>
                  <a:lnTo>
                    <a:pt x="0" y="75"/>
                  </a:lnTo>
                  <a:lnTo>
                    <a:pt x="0" y="72"/>
                  </a:lnTo>
                  <a:lnTo>
                    <a:pt x="0" y="70"/>
                  </a:lnTo>
                  <a:lnTo>
                    <a:pt x="0" y="68"/>
                  </a:lnTo>
                  <a:lnTo>
                    <a:pt x="0" y="65"/>
                  </a:lnTo>
                  <a:lnTo>
                    <a:pt x="0" y="63"/>
                  </a:lnTo>
                  <a:lnTo>
                    <a:pt x="0" y="60"/>
                  </a:lnTo>
                  <a:lnTo>
                    <a:pt x="2" y="60"/>
                  </a:lnTo>
                  <a:lnTo>
                    <a:pt x="6" y="58"/>
                  </a:lnTo>
                  <a:lnTo>
                    <a:pt x="7" y="57"/>
                  </a:lnTo>
                  <a:lnTo>
                    <a:pt x="9" y="57"/>
                  </a:lnTo>
                  <a:lnTo>
                    <a:pt x="11" y="57"/>
                  </a:lnTo>
                  <a:lnTo>
                    <a:pt x="14" y="57"/>
                  </a:lnTo>
                  <a:lnTo>
                    <a:pt x="16" y="55"/>
                  </a:lnTo>
                  <a:lnTo>
                    <a:pt x="17" y="55"/>
                  </a:lnTo>
                  <a:lnTo>
                    <a:pt x="21" y="55"/>
                  </a:lnTo>
                  <a:lnTo>
                    <a:pt x="23" y="55"/>
                  </a:lnTo>
                  <a:lnTo>
                    <a:pt x="24" y="51"/>
                  </a:lnTo>
                  <a:lnTo>
                    <a:pt x="26" y="50"/>
                  </a:lnTo>
                  <a:lnTo>
                    <a:pt x="29" y="51"/>
                  </a:lnTo>
                  <a:lnTo>
                    <a:pt x="31" y="50"/>
                  </a:lnTo>
                  <a:lnTo>
                    <a:pt x="33" y="51"/>
                  </a:lnTo>
                  <a:lnTo>
                    <a:pt x="36" y="51"/>
                  </a:lnTo>
                  <a:lnTo>
                    <a:pt x="38" y="50"/>
                  </a:lnTo>
                  <a:lnTo>
                    <a:pt x="40" y="50"/>
                  </a:lnTo>
                  <a:lnTo>
                    <a:pt x="40" y="51"/>
                  </a:lnTo>
                  <a:lnTo>
                    <a:pt x="43" y="51"/>
                  </a:lnTo>
                  <a:lnTo>
                    <a:pt x="45" y="53"/>
                  </a:lnTo>
                  <a:lnTo>
                    <a:pt x="46" y="51"/>
                  </a:lnTo>
                  <a:lnTo>
                    <a:pt x="50" y="51"/>
                  </a:lnTo>
                  <a:lnTo>
                    <a:pt x="51" y="51"/>
                  </a:lnTo>
                  <a:lnTo>
                    <a:pt x="51" y="50"/>
                  </a:lnTo>
                  <a:lnTo>
                    <a:pt x="53" y="50"/>
                  </a:lnTo>
                  <a:lnTo>
                    <a:pt x="55" y="50"/>
                  </a:lnTo>
                  <a:lnTo>
                    <a:pt x="58" y="50"/>
                  </a:lnTo>
                  <a:lnTo>
                    <a:pt x="60" y="50"/>
                  </a:lnTo>
                  <a:lnTo>
                    <a:pt x="62" y="50"/>
                  </a:lnTo>
                  <a:lnTo>
                    <a:pt x="62" y="51"/>
                  </a:lnTo>
                  <a:lnTo>
                    <a:pt x="65" y="48"/>
                  </a:lnTo>
                  <a:lnTo>
                    <a:pt x="65" y="46"/>
                  </a:lnTo>
                  <a:lnTo>
                    <a:pt x="67" y="46"/>
                  </a:lnTo>
                  <a:lnTo>
                    <a:pt x="68" y="46"/>
                  </a:lnTo>
                  <a:lnTo>
                    <a:pt x="68" y="50"/>
                  </a:lnTo>
                  <a:lnTo>
                    <a:pt x="72" y="48"/>
                  </a:lnTo>
                  <a:lnTo>
                    <a:pt x="72" y="50"/>
                  </a:lnTo>
                  <a:lnTo>
                    <a:pt x="75" y="50"/>
                  </a:lnTo>
                  <a:lnTo>
                    <a:pt x="77" y="50"/>
                  </a:lnTo>
                  <a:lnTo>
                    <a:pt x="79" y="50"/>
                  </a:lnTo>
                  <a:lnTo>
                    <a:pt x="82" y="51"/>
                  </a:lnTo>
                  <a:lnTo>
                    <a:pt x="82" y="50"/>
                  </a:lnTo>
                  <a:lnTo>
                    <a:pt x="85" y="50"/>
                  </a:lnTo>
                  <a:lnTo>
                    <a:pt x="85" y="46"/>
                  </a:lnTo>
                  <a:lnTo>
                    <a:pt x="89" y="48"/>
                  </a:lnTo>
                  <a:lnTo>
                    <a:pt x="91" y="48"/>
                  </a:lnTo>
                  <a:lnTo>
                    <a:pt x="92" y="46"/>
                  </a:lnTo>
                  <a:lnTo>
                    <a:pt x="92" y="45"/>
                  </a:lnTo>
                  <a:lnTo>
                    <a:pt x="92" y="43"/>
                  </a:lnTo>
                  <a:lnTo>
                    <a:pt x="94" y="45"/>
                  </a:lnTo>
                  <a:lnTo>
                    <a:pt x="96" y="43"/>
                  </a:lnTo>
                  <a:lnTo>
                    <a:pt x="97" y="45"/>
                  </a:lnTo>
                  <a:lnTo>
                    <a:pt x="99" y="43"/>
                  </a:lnTo>
                  <a:lnTo>
                    <a:pt x="102" y="43"/>
                  </a:lnTo>
                  <a:lnTo>
                    <a:pt x="104" y="41"/>
                  </a:lnTo>
                  <a:lnTo>
                    <a:pt x="106" y="40"/>
                  </a:lnTo>
                  <a:lnTo>
                    <a:pt x="106" y="38"/>
                  </a:lnTo>
                  <a:lnTo>
                    <a:pt x="108" y="38"/>
                  </a:lnTo>
                  <a:lnTo>
                    <a:pt x="109" y="38"/>
                  </a:lnTo>
                  <a:lnTo>
                    <a:pt x="111" y="36"/>
                  </a:lnTo>
                  <a:lnTo>
                    <a:pt x="111" y="38"/>
                  </a:lnTo>
                  <a:lnTo>
                    <a:pt x="113" y="36"/>
                  </a:lnTo>
                  <a:lnTo>
                    <a:pt x="114" y="34"/>
                  </a:lnTo>
                  <a:lnTo>
                    <a:pt x="114" y="33"/>
                  </a:lnTo>
                  <a:lnTo>
                    <a:pt x="118" y="31"/>
                  </a:lnTo>
                  <a:lnTo>
                    <a:pt x="119" y="31"/>
                  </a:lnTo>
                  <a:lnTo>
                    <a:pt x="121" y="33"/>
                  </a:lnTo>
                  <a:lnTo>
                    <a:pt x="123" y="33"/>
                  </a:lnTo>
                  <a:lnTo>
                    <a:pt x="126" y="33"/>
                  </a:lnTo>
                  <a:lnTo>
                    <a:pt x="130" y="33"/>
                  </a:lnTo>
                  <a:lnTo>
                    <a:pt x="133" y="33"/>
                  </a:lnTo>
                  <a:lnTo>
                    <a:pt x="133" y="29"/>
                  </a:lnTo>
                  <a:lnTo>
                    <a:pt x="135" y="29"/>
                  </a:lnTo>
                  <a:lnTo>
                    <a:pt x="136" y="28"/>
                  </a:lnTo>
                  <a:lnTo>
                    <a:pt x="138" y="28"/>
                  </a:lnTo>
                  <a:lnTo>
                    <a:pt x="140" y="26"/>
                  </a:lnTo>
                  <a:lnTo>
                    <a:pt x="142" y="28"/>
                  </a:lnTo>
                  <a:lnTo>
                    <a:pt x="145" y="26"/>
                  </a:lnTo>
                  <a:lnTo>
                    <a:pt x="145" y="28"/>
                  </a:lnTo>
                  <a:lnTo>
                    <a:pt x="147" y="28"/>
                  </a:lnTo>
                  <a:lnTo>
                    <a:pt x="148" y="26"/>
                  </a:lnTo>
                  <a:lnTo>
                    <a:pt x="152" y="28"/>
                  </a:lnTo>
                  <a:lnTo>
                    <a:pt x="150" y="29"/>
                  </a:lnTo>
                  <a:lnTo>
                    <a:pt x="153" y="31"/>
                  </a:lnTo>
                  <a:lnTo>
                    <a:pt x="155" y="31"/>
                  </a:lnTo>
                  <a:lnTo>
                    <a:pt x="157" y="33"/>
                  </a:lnTo>
                  <a:lnTo>
                    <a:pt x="157" y="31"/>
                  </a:lnTo>
                  <a:lnTo>
                    <a:pt x="160" y="33"/>
                  </a:lnTo>
                  <a:lnTo>
                    <a:pt x="162" y="33"/>
                  </a:lnTo>
                  <a:lnTo>
                    <a:pt x="164" y="34"/>
                  </a:lnTo>
                  <a:lnTo>
                    <a:pt x="165" y="33"/>
                  </a:lnTo>
                  <a:lnTo>
                    <a:pt x="169" y="33"/>
                  </a:lnTo>
                  <a:lnTo>
                    <a:pt x="170" y="33"/>
                  </a:lnTo>
                  <a:lnTo>
                    <a:pt x="174" y="31"/>
                  </a:lnTo>
                  <a:lnTo>
                    <a:pt x="176" y="31"/>
                  </a:lnTo>
                  <a:lnTo>
                    <a:pt x="177" y="29"/>
                  </a:lnTo>
                  <a:lnTo>
                    <a:pt x="181" y="31"/>
                  </a:lnTo>
                  <a:lnTo>
                    <a:pt x="182" y="29"/>
                  </a:lnTo>
                  <a:lnTo>
                    <a:pt x="184" y="31"/>
                  </a:lnTo>
                  <a:lnTo>
                    <a:pt x="186" y="31"/>
                  </a:lnTo>
                  <a:lnTo>
                    <a:pt x="187" y="31"/>
                  </a:lnTo>
                  <a:lnTo>
                    <a:pt x="189" y="33"/>
                  </a:lnTo>
                  <a:lnTo>
                    <a:pt x="191" y="31"/>
                  </a:lnTo>
                  <a:lnTo>
                    <a:pt x="193" y="31"/>
                  </a:lnTo>
                  <a:lnTo>
                    <a:pt x="194" y="31"/>
                  </a:lnTo>
                  <a:lnTo>
                    <a:pt x="198" y="31"/>
                  </a:lnTo>
                  <a:lnTo>
                    <a:pt x="199" y="33"/>
                  </a:lnTo>
                  <a:lnTo>
                    <a:pt x="198" y="34"/>
                  </a:lnTo>
                  <a:lnTo>
                    <a:pt x="199" y="34"/>
                  </a:lnTo>
                  <a:lnTo>
                    <a:pt x="199" y="38"/>
                  </a:lnTo>
                  <a:lnTo>
                    <a:pt x="198" y="41"/>
                  </a:lnTo>
                  <a:lnTo>
                    <a:pt x="199" y="41"/>
                  </a:lnTo>
                  <a:lnTo>
                    <a:pt x="201" y="43"/>
                  </a:lnTo>
                  <a:lnTo>
                    <a:pt x="203" y="41"/>
                  </a:lnTo>
                  <a:lnTo>
                    <a:pt x="204" y="40"/>
                  </a:lnTo>
                  <a:lnTo>
                    <a:pt x="206" y="40"/>
                  </a:lnTo>
                  <a:lnTo>
                    <a:pt x="208" y="40"/>
                  </a:lnTo>
                  <a:lnTo>
                    <a:pt x="210" y="40"/>
                  </a:lnTo>
                  <a:lnTo>
                    <a:pt x="211" y="40"/>
                  </a:lnTo>
                  <a:lnTo>
                    <a:pt x="213" y="38"/>
                  </a:lnTo>
                  <a:lnTo>
                    <a:pt x="213" y="36"/>
                  </a:lnTo>
                  <a:lnTo>
                    <a:pt x="215" y="34"/>
                  </a:lnTo>
                  <a:lnTo>
                    <a:pt x="216" y="33"/>
                  </a:lnTo>
                  <a:lnTo>
                    <a:pt x="218" y="33"/>
                  </a:lnTo>
                  <a:lnTo>
                    <a:pt x="220" y="29"/>
                  </a:lnTo>
                  <a:lnTo>
                    <a:pt x="221" y="29"/>
                  </a:lnTo>
                  <a:lnTo>
                    <a:pt x="221" y="28"/>
                  </a:lnTo>
                  <a:lnTo>
                    <a:pt x="220" y="24"/>
                  </a:lnTo>
                  <a:lnTo>
                    <a:pt x="221" y="23"/>
                  </a:lnTo>
                  <a:lnTo>
                    <a:pt x="221" y="21"/>
                  </a:lnTo>
                  <a:lnTo>
                    <a:pt x="225" y="21"/>
                  </a:lnTo>
                  <a:lnTo>
                    <a:pt x="225" y="19"/>
                  </a:lnTo>
                  <a:lnTo>
                    <a:pt x="227" y="19"/>
                  </a:lnTo>
                  <a:lnTo>
                    <a:pt x="228" y="17"/>
                  </a:lnTo>
                  <a:lnTo>
                    <a:pt x="232" y="17"/>
                  </a:lnTo>
                  <a:lnTo>
                    <a:pt x="230" y="16"/>
                  </a:lnTo>
                  <a:lnTo>
                    <a:pt x="230" y="14"/>
                  </a:lnTo>
                  <a:lnTo>
                    <a:pt x="232" y="12"/>
                  </a:lnTo>
                  <a:lnTo>
                    <a:pt x="233" y="12"/>
                  </a:lnTo>
                  <a:lnTo>
                    <a:pt x="235" y="12"/>
                  </a:lnTo>
                  <a:lnTo>
                    <a:pt x="237" y="11"/>
                  </a:lnTo>
                  <a:lnTo>
                    <a:pt x="238" y="11"/>
                  </a:lnTo>
                  <a:lnTo>
                    <a:pt x="240" y="11"/>
                  </a:lnTo>
                  <a:lnTo>
                    <a:pt x="242" y="11"/>
                  </a:lnTo>
                  <a:lnTo>
                    <a:pt x="244" y="12"/>
                  </a:lnTo>
                  <a:lnTo>
                    <a:pt x="245" y="16"/>
                  </a:lnTo>
                  <a:lnTo>
                    <a:pt x="249" y="16"/>
                  </a:lnTo>
                  <a:lnTo>
                    <a:pt x="249" y="14"/>
                  </a:lnTo>
                  <a:lnTo>
                    <a:pt x="247" y="11"/>
                  </a:lnTo>
                  <a:lnTo>
                    <a:pt x="249" y="9"/>
                  </a:lnTo>
                  <a:lnTo>
                    <a:pt x="247" y="7"/>
                  </a:lnTo>
                  <a:lnTo>
                    <a:pt x="249" y="6"/>
                  </a:lnTo>
                  <a:lnTo>
                    <a:pt x="250" y="4"/>
                  </a:lnTo>
                  <a:lnTo>
                    <a:pt x="252" y="4"/>
                  </a:lnTo>
                  <a:lnTo>
                    <a:pt x="254" y="4"/>
                  </a:lnTo>
                  <a:lnTo>
                    <a:pt x="257" y="6"/>
                  </a:lnTo>
                  <a:lnTo>
                    <a:pt x="257" y="4"/>
                  </a:lnTo>
                  <a:lnTo>
                    <a:pt x="259" y="2"/>
                  </a:lnTo>
                  <a:lnTo>
                    <a:pt x="262" y="2"/>
                  </a:lnTo>
                  <a:lnTo>
                    <a:pt x="266" y="2"/>
                  </a:lnTo>
                  <a:lnTo>
                    <a:pt x="267" y="4"/>
                  </a:lnTo>
                  <a:lnTo>
                    <a:pt x="269" y="6"/>
                  </a:lnTo>
                  <a:lnTo>
                    <a:pt x="271" y="4"/>
                  </a:lnTo>
                  <a:lnTo>
                    <a:pt x="272" y="7"/>
                  </a:lnTo>
                  <a:lnTo>
                    <a:pt x="274" y="6"/>
                  </a:lnTo>
                  <a:lnTo>
                    <a:pt x="276" y="9"/>
                  </a:lnTo>
                  <a:lnTo>
                    <a:pt x="278" y="7"/>
                  </a:lnTo>
                  <a:lnTo>
                    <a:pt x="279" y="6"/>
                  </a:lnTo>
                  <a:lnTo>
                    <a:pt x="281" y="4"/>
                  </a:lnTo>
                  <a:lnTo>
                    <a:pt x="283" y="4"/>
                  </a:lnTo>
                  <a:lnTo>
                    <a:pt x="284" y="2"/>
                  </a:lnTo>
                  <a:lnTo>
                    <a:pt x="286" y="0"/>
                  </a:lnTo>
                  <a:lnTo>
                    <a:pt x="288" y="2"/>
                  </a:lnTo>
                  <a:lnTo>
                    <a:pt x="289" y="2"/>
                  </a:lnTo>
                  <a:lnTo>
                    <a:pt x="291" y="2"/>
                  </a:lnTo>
                  <a:lnTo>
                    <a:pt x="293" y="0"/>
                  </a:lnTo>
                  <a:lnTo>
                    <a:pt x="295" y="2"/>
                  </a:lnTo>
                  <a:lnTo>
                    <a:pt x="298" y="0"/>
                  </a:lnTo>
                  <a:lnTo>
                    <a:pt x="300" y="2"/>
                  </a:lnTo>
                  <a:lnTo>
                    <a:pt x="300" y="4"/>
                  </a:lnTo>
                  <a:lnTo>
                    <a:pt x="300" y="6"/>
                  </a:lnTo>
                  <a:lnTo>
                    <a:pt x="300" y="7"/>
                  </a:lnTo>
                  <a:lnTo>
                    <a:pt x="301" y="11"/>
                  </a:lnTo>
                  <a:lnTo>
                    <a:pt x="303" y="12"/>
                  </a:lnTo>
                  <a:lnTo>
                    <a:pt x="301" y="14"/>
                  </a:lnTo>
                  <a:lnTo>
                    <a:pt x="300" y="16"/>
                  </a:lnTo>
                  <a:lnTo>
                    <a:pt x="298" y="16"/>
                  </a:lnTo>
                  <a:lnTo>
                    <a:pt x="298" y="17"/>
                  </a:lnTo>
                  <a:lnTo>
                    <a:pt x="298" y="19"/>
                  </a:lnTo>
                  <a:lnTo>
                    <a:pt x="298" y="21"/>
                  </a:lnTo>
                  <a:lnTo>
                    <a:pt x="301" y="23"/>
                  </a:lnTo>
                  <a:lnTo>
                    <a:pt x="303" y="21"/>
                  </a:lnTo>
                  <a:lnTo>
                    <a:pt x="305" y="21"/>
                  </a:lnTo>
                  <a:lnTo>
                    <a:pt x="308" y="23"/>
                  </a:lnTo>
                  <a:lnTo>
                    <a:pt x="310" y="23"/>
                  </a:lnTo>
                  <a:lnTo>
                    <a:pt x="310" y="24"/>
                  </a:lnTo>
                  <a:lnTo>
                    <a:pt x="312" y="23"/>
                  </a:lnTo>
                  <a:lnTo>
                    <a:pt x="313" y="21"/>
                  </a:lnTo>
                  <a:lnTo>
                    <a:pt x="315" y="21"/>
                  </a:lnTo>
                  <a:lnTo>
                    <a:pt x="318" y="21"/>
                  </a:lnTo>
                  <a:lnTo>
                    <a:pt x="318" y="23"/>
                  </a:lnTo>
                  <a:lnTo>
                    <a:pt x="320" y="23"/>
                  </a:lnTo>
                  <a:lnTo>
                    <a:pt x="320" y="24"/>
                  </a:lnTo>
                  <a:lnTo>
                    <a:pt x="322" y="24"/>
                  </a:lnTo>
                  <a:lnTo>
                    <a:pt x="322" y="23"/>
                  </a:lnTo>
                  <a:lnTo>
                    <a:pt x="323" y="21"/>
                  </a:lnTo>
                  <a:lnTo>
                    <a:pt x="325" y="23"/>
                  </a:lnTo>
                  <a:lnTo>
                    <a:pt x="327" y="21"/>
                  </a:lnTo>
                  <a:lnTo>
                    <a:pt x="329" y="23"/>
                  </a:lnTo>
                  <a:lnTo>
                    <a:pt x="330" y="23"/>
                  </a:lnTo>
                  <a:lnTo>
                    <a:pt x="330" y="21"/>
                  </a:lnTo>
                  <a:lnTo>
                    <a:pt x="332" y="21"/>
                  </a:lnTo>
                  <a:lnTo>
                    <a:pt x="334" y="19"/>
                  </a:lnTo>
                  <a:lnTo>
                    <a:pt x="334" y="17"/>
                  </a:lnTo>
                  <a:lnTo>
                    <a:pt x="335" y="17"/>
                  </a:lnTo>
                  <a:lnTo>
                    <a:pt x="335" y="19"/>
                  </a:lnTo>
                  <a:lnTo>
                    <a:pt x="337" y="19"/>
                  </a:lnTo>
                  <a:lnTo>
                    <a:pt x="339" y="21"/>
                  </a:lnTo>
                  <a:lnTo>
                    <a:pt x="342" y="21"/>
                  </a:lnTo>
                  <a:lnTo>
                    <a:pt x="342" y="19"/>
                  </a:lnTo>
                  <a:lnTo>
                    <a:pt x="344" y="17"/>
                  </a:lnTo>
                  <a:lnTo>
                    <a:pt x="347" y="19"/>
                  </a:lnTo>
                  <a:close/>
                  <a:moveTo>
                    <a:pt x="113" y="116"/>
                  </a:moveTo>
                  <a:lnTo>
                    <a:pt x="113" y="114"/>
                  </a:lnTo>
                  <a:lnTo>
                    <a:pt x="114" y="116"/>
                  </a:lnTo>
                  <a:lnTo>
                    <a:pt x="113" y="116"/>
                  </a:lnTo>
                  <a:close/>
                  <a:moveTo>
                    <a:pt x="119" y="121"/>
                  </a:moveTo>
                  <a:lnTo>
                    <a:pt x="121" y="123"/>
                  </a:lnTo>
                  <a:lnTo>
                    <a:pt x="119" y="123"/>
                  </a:lnTo>
                  <a:lnTo>
                    <a:pt x="119" y="12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189" name="Freeform 19">
              <a:extLst>
                <a:ext uri="{FF2B5EF4-FFF2-40B4-BE49-F238E27FC236}">
                  <a16:creationId xmlns:a16="http://schemas.microsoft.com/office/drawing/2014/main" id="{6911A59A-FD94-4792-AEF1-324DC7FBC0A1}"/>
                </a:ext>
              </a:extLst>
            </p:cNvPr>
            <p:cNvSpPr>
              <a:spLocks/>
            </p:cNvSpPr>
            <p:nvPr/>
          </p:nvSpPr>
          <p:spPr bwMode="gray">
            <a:xfrm>
              <a:off x="10233000" y="5204809"/>
              <a:ext cx="936226" cy="711058"/>
            </a:xfrm>
            <a:custGeom>
              <a:avLst/>
              <a:gdLst>
                <a:gd name="T0" fmla="*/ 315 w 316"/>
                <a:gd name="T1" fmla="*/ 29 h 240"/>
                <a:gd name="T2" fmla="*/ 303 w 316"/>
                <a:gd name="T3" fmla="*/ 36 h 240"/>
                <a:gd name="T4" fmla="*/ 291 w 316"/>
                <a:gd name="T5" fmla="*/ 53 h 240"/>
                <a:gd name="T6" fmla="*/ 289 w 316"/>
                <a:gd name="T7" fmla="*/ 70 h 240"/>
                <a:gd name="T8" fmla="*/ 296 w 316"/>
                <a:gd name="T9" fmla="*/ 90 h 240"/>
                <a:gd name="T10" fmla="*/ 284 w 316"/>
                <a:gd name="T11" fmla="*/ 97 h 240"/>
                <a:gd name="T12" fmla="*/ 277 w 316"/>
                <a:gd name="T13" fmla="*/ 111 h 240"/>
                <a:gd name="T14" fmla="*/ 287 w 316"/>
                <a:gd name="T15" fmla="*/ 111 h 240"/>
                <a:gd name="T16" fmla="*/ 296 w 316"/>
                <a:gd name="T17" fmla="*/ 118 h 240"/>
                <a:gd name="T18" fmla="*/ 308 w 316"/>
                <a:gd name="T19" fmla="*/ 131 h 240"/>
                <a:gd name="T20" fmla="*/ 308 w 316"/>
                <a:gd name="T21" fmla="*/ 140 h 240"/>
                <a:gd name="T22" fmla="*/ 299 w 316"/>
                <a:gd name="T23" fmla="*/ 141 h 240"/>
                <a:gd name="T24" fmla="*/ 286 w 316"/>
                <a:gd name="T25" fmla="*/ 146 h 240"/>
                <a:gd name="T26" fmla="*/ 267 w 316"/>
                <a:gd name="T27" fmla="*/ 143 h 240"/>
                <a:gd name="T28" fmla="*/ 253 w 316"/>
                <a:gd name="T29" fmla="*/ 153 h 240"/>
                <a:gd name="T30" fmla="*/ 242 w 316"/>
                <a:gd name="T31" fmla="*/ 163 h 240"/>
                <a:gd name="T32" fmla="*/ 233 w 316"/>
                <a:gd name="T33" fmla="*/ 177 h 240"/>
                <a:gd name="T34" fmla="*/ 218 w 316"/>
                <a:gd name="T35" fmla="*/ 182 h 240"/>
                <a:gd name="T36" fmla="*/ 226 w 316"/>
                <a:gd name="T37" fmla="*/ 196 h 240"/>
                <a:gd name="T38" fmla="*/ 218 w 316"/>
                <a:gd name="T39" fmla="*/ 209 h 240"/>
                <a:gd name="T40" fmla="*/ 201 w 316"/>
                <a:gd name="T41" fmla="*/ 214 h 240"/>
                <a:gd name="T42" fmla="*/ 179 w 316"/>
                <a:gd name="T43" fmla="*/ 220 h 240"/>
                <a:gd name="T44" fmla="*/ 158 w 316"/>
                <a:gd name="T45" fmla="*/ 220 h 240"/>
                <a:gd name="T46" fmla="*/ 143 w 316"/>
                <a:gd name="T47" fmla="*/ 213 h 240"/>
                <a:gd name="T48" fmla="*/ 128 w 316"/>
                <a:gd name="T49" fmla="*/ 211 h 240"/>
                <a:gd name="T50" fmla="*/ 116 w 316"/>
                <a:gd name="T51" fmla="*/ 220 h 240"/>
                <a:gd name="T52" fmla="*/ 102 w 316"/>
                <a:gd name="T53" fmla="*/ 228 h 240"/>
                <a:gd name="T54" fmla="*/ 83 w 316"/>
                <a:gd name="T55" fmla="*/ 232 h 240"/>
                <a:gd name="T56" fmla="*/ 70 w 316"/>
                <a:gd name="T57" fmla="*/ 240 h 240"/>
                <a:gd name="T58" fmla="*/ 60 w 316"/>
                <a:gd name="T59" fmla="*/ 230 h 240"/>
                <a:gd name="T60" fmla="*/ 60 w 316"/>
                <a:gd name="T61" fmla="*/ 211 h 240"/>
                <a:gd name="T62" fmla="*/ 48 w 316"/>
                <a:gd name="T63" fmla="*/ 194 h 240"/>
                <a:gd name="T64" fmla="*/ 32 w 316"/>
                <a:gd name="T65" fmla="*/ 189 h 240"/>
                <a:gd name="T66" fmla="*/ 17 w 316"/>
                <a:gd name="T67" fmla="*/ 177 h 240"/>
                <a:gd name="T68" fmla="*/ 26 w 316"/>
                <a:gd name="T69" fmla="*/ 163 h 240"/>
                <a:gd name="T70" fmla="*/ 21 w 316"/>
                <a:gd name="T71" fmla="*/ 146 h 240"/>
                <a:gd name="T72" fmla="*/ 26 w 316"/>
                <a:gd name="T73" fmla="*/ 135 h 240"/>
                <a:gd name="T74" fmla="*/ 34 w 316"/>
                <a:gd name="T75" fmla="*/ 123 h 240"/>
                <a:gd name="T76" fmla="*/ 39 w 316"/>
                <a:gd name="T77" fmla="*/ 109 h 240"/>
                <a:gd name="T78" fmla="*/ 24 w 316"/>
                <a:gd name="T79" fmla="*/ 99 h 240"/>
                <a:gd name="T80" fmla="*/ 9 w 316"/>
                <a:gd name="T81" fmla="*/ 89 h 240"/>
                <a:gd name="T82" fmla="*/ 0 w 316"/>
                <a:gd name="T83" fmla="*/ 73 h 240"/>
                <a:gd name="T84" fmla="*/ 5 w 316"/>
                <a:gd name="T85" fmla="*/ 55 h 240"/>
                <a:gd name="T86" fmla="*/ 17 w 316"/>
                <a:gd name="T87" fmla="*/ 44 h 240"/>
                <a:gd name="T88" fmla="*/ 26 w 316"/>
                <a:gd name="T89" fmla="*/ 55 h 240"/>
                <a:gd name="T90" fmla="*/ 34 w 316"/>
                <a:gd name="T91" fmla="*/ 67 h 240"/>
                <a:gd name="T92" fmla="*/ 55 w 316"/>
                <a:gd name="T93" fmla="*/ 61 h 240"/>
                <a:gd name="T94" fmla="*/ 80 w 316"/>
                <a:gd name="T95" fmla="*/ 63 h 240"/>
                <a:gd name="T96" fmla="*/ 100 w 316"/>
                <a:gd name="T97" fmla="*/ 61 h 240"/>
                <a:gd name="T98" fmla="*/ 121 w 316"/>
                <a:gd name="T99" fmla="*/ 58 h 240"/>
                <a:gd name="T100" fmla="*/ 141 w 316"/>
                <a:gd name="T101" fmla="*/ 53 h 240"/>
                <a:gd name="T102" fmla="*/ 162 w 316"/>
                <a:gd name="T103" fmla="*/ 53 h 240"/>
                <a:gd name="T104" fmla="*/ 177 w 316"/>
                <a:gd name="T105" fmla="*/ 36 h 240"/>
                <a:gd name="T106" fmla="*/ 189 w 316"/>
                <a:gd name="T107" fmla="*/ 22 h 240"/>
                <a:gd name="T108" fmla="*/ 204 w 316"/>
                <a:gd name="T109" fmla="*/ 14 h 240"/>
                <a:gd name="T110" fmla="*/ 221 w 316"/>
                <a:gd name="T111" fmla="*/ 4 h 240"/>
                <a:gd name="T112" fmla="*/ 243 w 316"/>
                <a:gd name="T113" fmla="*/ 4 h 240"/>
                <a:gd name="T114" fmla="*/ 260 w 316"/>
                <a:gd name="T115" fmla="*/ 2 h 240"/>
                <a:gd name="T116" fmla="*/ 276 w 316"/>
                <a:gd name="T117" fmla="*/ 2 h 240"/>
                <a:gd name="T118" fmla="*/ 294 w 316"/>
                <a:gd name="T119" fmla="*/ 14 h 240"/>
                <a:gd name="T120" fmla="*/ 311 w 316"/>
                <a:gd name="T121" fmla="*/ 1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6" h="240">
                  <a:moveTo>
                    <a:pt x="311" y="10"/>
                  </a:moveTo>
                  <a:lnTo>
                    <a:pt x="311" y="12"/>
                  </a:lnTo>
                  <a:lnTo>
                    <a:pt x="311" y="14"/>
                  </a:lnTo>
                  <a:lnTo>
                    <a:pt x="311" y="15"/>
                  </a:lnTo>
                  <a:lnTo>
                    <a:pt x="313" y="17"/>
                  </a:lnTo>
                  <a:lnTo>
                    <a:pt x="313" y="19"/>
                  </a:lnTo>
                  <a:lnTo>
                    <a:pt x="313" y="21"/>
                  </a:lnTo>
                  <a:lnTo>
                    <a:pt x="316" y="24"/>
                  </a:lnTo>
                  <a:lnTo>
                    <a:pt x="316" y="27"/>
                  </a:lnTo>
                  <a:lnTo>
                    <a:pt x="315" y="29"/>
                  </a:lnTo>
                  <a:lnTo>
                    <a:pt x="315" y="31"/>
                  </a:lnTo>
                  <a:lnTo>
                    <a:pt x="315" y="32"/>
                  </a:lnTo>
                  <a:lnTo>
                    <a:pt x="313" y="34"/>
                  </a:lnTo>
                  <a:lnTo>
                    <a:pt x="311" y="36"/>
                  </a:lnTo>
                  <a:lnTo>
                    <a:pt x="311" y="38"/>
                  </a:lnTo>
                  <a:lnTo>
                    <a:pt x="311" y="36"/>
                  </a:lnTo>
                  <a:lnTo>
                    <a:pt x="310" y="36"/>
                  </a:lnTo>
                  <a:lnTo>
                    <a:pt x="308" y="36"/>
                  </a:lnTo>
                  <a:lnTo>
                    <a:pt x="306" y="36"/>
                  </a:lnTo>
                  <a:lnTo>
                    <a:pt x="303" y="36"/>
                  </a:lnTo>
                  <a:lnTo>
                    <a:pt x="301" y="38"/>
                  </a:lnTo>
                  <a:lnTo>
                    <a:pt x="298" y="38"/>
                  </a:lnTo>
                  <a:lnTo>
                    <a:pt x="296" y="38"/>
                  </a:lnTo>
                  <a:lnTo>
                    <a:pt x="294" y="41"/>
                  </a:lnTo>
                  <a:lnTo>
                    <a:pt x="293" y="41"/>
                  </a:lnTo>
                  <a:lnTo>
                    <a:pt x="293" y="44"/>
                  </a:lnTo>
                  <a:lnTo>
                    <a:pt x="293" y="48"/>
                  </a:lnTo>
                  <a:lnTo>
                    <a:pt x="293" y="51"/>
                  </a:lnTo>
                  <a:lnTo>
                    <a:pt x="293" y="53"/>
                  </a:lnTo>
                  <a:lnTo>
                    <a:pt x="291" y="53"/>
                  </a:lnTo>
                  <a:lnTo>
                    <a:pt x="287" y="55"/>
                  </a:lnTo>
                  <a:lnTo>
                    <a:pt x="287" y="56"/>
                  </a:lnTo>
                  <a:lnTo>
                    <a:pt x="286" y="56"/>
                  </a:lnTo>
                  <a:lnTo>
                    <a:pt x="287" y="58"/>
                  </a:lnTo>
                  <a:lnTo>
                    <a:pt x="289" y="58"/>
                  </a:lnTo>
                  <a:lnTo>
                    <a:pt x="289" y="60"/>
                  </a:lnTo>
                  <a:lnTo>
                    <a:pt x="289" y="61"/>
                  </a:lnTo>
                  <a:lnTo>
                    <a:pt x="289" y="65"/>
                  </a:lnTo>
                  <a:lnTo>
                    <a:pt x="289" y="67"/>
                  </a:lnTo>
                  <a:lnTo>
                    <a:pt x="289" y="70"/>
                  </a:lnTo>
                  <a:lnTo>
                    <a:pt x="291" y="72"/>
                  </a:lnTo>
                  <a:lnTo>
                    <a:pt x="291" y="73"/>
                  </a:lnTo>
                  <a:lnTo>
                    <a:pt x="291" y="75"/>
                  </a:lnTo>
                  <a:lnTo>
                    <a:pt x="293" y="78"/>
                  </a:lnTo>
                  <a:lnTo>
                    <a:pt x="293" y="80"/>
                  </a:lnTo>
                  <a:lnTo>
                    <a:pt x="293" y="82"/>
                  </a:lnTo>
                  <a:lnTo>
                    <a:pt x="294" y="85"/>
                  </a:lnTo>
                  <a:lnTo>
                    <a:pt x="294" y="87"/>
                  </a:lnTo>
                  <a:lnTo>
                    <a:pt x="294" y="89"/>
                  </a:lnTo>
                  <a:lnTo>
                    <a:pt x="296" y="90"/>
                  </a:lnTo>
                  <a:lnTo>
                    <a:pt x="294" y="90"/>
                  </a:lnTo>
                  <a:lnTo>
                    <a:pt x="293" y="90"/>
                  </a:lnTo>
                  <a:lnTo>
                    <a:pt x="291" y="90"/>
                  </a:lnTo>
                  <a:lnTo>
                    <a:pt x="287" y="90"/>
                  </a:lnTo>
                  <a:lnTo>
                    <a:pt x="286" y="92"/>
                  </a:lnTo>
                  <a:lnTo>
                    <a:pt x="286" y="94"/>
                  </a:lnTo>
                  <a:lnTo>
                    <a:pt x="287" y="95"/>
                  </a:lnTo>
                  <a:lnTo>
                    <a:pt x="286" y="95"/>
                  </a:lnTo>
                  <a:lnTo>
                    <a:pt x="286" y="97"/>
                  </a:lnTo>
                  <a:lnTo>
                    <a:pt x="284" y="97"/>
                  </a:lnTo>
                  <a:lnTo>
                    <a:pt x="284" y="99"/>
                  </a:lnTo>
                  <a:lnTo>
                    <a:pt x="284" y="101"/>
                  </a:lnTo>
                  <a:lnTo>
                    <a:pt x="284" y="102"/>
                  </a:lnTo>
                  <a:lnTo>
                    <a:pt x="286" y="102"/>
                  </a:lnTo>
                  <a:lnTo>
                    <a:pt x="284" y="102"/>
                  </a:lnTo>
                  <a:lnTo>
                    <a:pt x="282" y="104"/>
                  </a:lnTo>
                  <a:lnTo>
                    <a:pt x="281" y="104"/>
                  </a:lnTo>
                  <a:lnTo>
                    <a:pt x="279" y="106"/>
                  </a:lnTo>
                  <a:lnTo>
                    <a:pt x="277" y="107"/>
                  </a:lnTo>
                  <a:lnTo>
                    <a:pt x="277" y="111"/>
                  </a:lnTo>
                  <a:lnTo>
                    <a:pt x="276" y="112"/>
                  </a:lnTo>
                  <a:lnTo>
                    <a:pt x="277" y="112"/>
                  </a:lnTo>
                  <a:lnTo>
                    <a:pt x="277" y="114"/>
                  </a:lnTo>
                  <a:lnTo>
                    <a:pt x="279" y="114"/>
                  </a:lnTo>
                  <a:lnTo>
                    <a:pt x="279" y="112"/>
                  </a:lnTo>
                  <a:lnTo>
                    <a:pt x="281" y="114"/>
                  </a:lnTo>
                  <a:lnTo>
                    <a:pt x="281" y="111"/>
                  </a:lnTo>
                  <a:lnTo>
                    <a:pt x="284" y="111"/>
                  </a:lnTo>
                  <a:lnTo>
                    <a:pt x="286" y="111"/>
                  </a:lnTo>
                  <a:lnTo>
                    <a:pt x="287" y="111"/>
                  </a:lnTo>
                  <a:lnTo>
                    <a:pt x="287" y="112"/>
                  </a:lnTo>
                  <a:lnTo>
                    <a:pt x="289" y="111"/>
                  </a:lnTo>
                  <a:lnTo>
                    <a:pt x="291" y="112"/>
                  </a:lnTo>
                  <a:lnTo>
                    <a:pt x="293" y="112"/>
                  </a:lnTo>
                  <a:lnTo>
                    <a:pt x="291" y="114"/>
                  </a:lnTo>
                  <a:lnTo>
                    <a:pt x="293" y="114"/>
                  </a:lnTo>
                  <a:lnTo>
                    <a:pt x="293" y="116"/>
                  </a:lnTo>
                  <a:lnTo>
                    <a:pt x="294" y="118"/>
                  </a:lnTo>
                  <a:lnTo>
                    <a:pt x="296" y="116"/>
                  </a:lnTo>
                  <a:lnTo>
                    <a:pt x="296" y="118"/>
                  </a:lnTo>
                  <a:lnTo>
                    <a:pt x="298" y="118"/>
                  </a:lnTo>
                  <a:lnTo>
                    <a:pt x="296" y="121"/>
                  </a:lnTo>
                  <a:lnTo>
                    <a:pt x="296" y="123"/>
                  </a:lnTo>
                  <a:lnTo>
                    <a:pt x="298" y="123"/>
                  </a:lnTo>
                  <a:lnTo>
                    <a:pt x="298" y="124"/>
                  </a:lnTo>
                  <a:lnTo>
                    <a:pt x="301" y="126"/>
                  </a:lnTo>
                  <a:lnTo>
                    <a:pt x="303" y="128"/>
                  </a:lnTo>
                  <a:lnTo>
                    <a:pt x="304" y="128"/>
                  </a:lnTo>
                  <a:lnTo>
                    <a:pt x="306" y="129"/>
                  </a:lnTo>
                  <a:lnTo>
                    <a:pt x="308" y="131"/>
                  </a:lnTo>
                  <a:lnTo>
                    <a:pt x="310" y="133"/>
                  </a:lnTo>
                  <a:lnTo>
                    <a:pt x="311" y="133"/>
                  </a:lnTo>
                  <a:lnTo>
                    <a:pt x="313" y="135"/>
                  </a:lnTo>
                  <a:lnTo>
                    <a:pt x="313" y="136"/>
                  </a:lnTo>
                  <a:lnTo>
                    <a:pt x="315" y="136"/>
                  </a:lnTo>
                  <a:lnTo>
                    <a:pt x="315" y="138"/>
                  </a:lnTo>
                  <a:lnTo>
                    <a:pt x="311" y="138"/>
                  </a:lnTo>
                  <a:lnTo>
                    <a:pt x="311" y="140"/>
                  </a:lnTo>
                  <a:lnTo>
                    <a:pt x="310" y="138"/>
                  </a:lnTo>
                  <a:lnTo>
                    <a:pt x="308" y="140"/>
                  </a:lnTo>
                  <a:lnTo>
                    <a:pt x="308" y="138"/>
                  </a:lnTo>
                  <a:lnTo>
                    <a:pt x="306" y="138"/>
                  </a:lnTo>
                  <a:lnTo>
                    <a:pt x="306" y="140"/>
                  </a:lnTo>
                  <a:lnTo>
                    <a:pt x="304" y="138"/>
                  </a:lnTo>
                  <a:lnTo>
                    <a:pt x="303" y="140"/>
                  </a:lnTo>
                  <a:lnTo>
                    <a:pt x="304" y="143"/>
                  </a:lnTo>
                  <a:lnTo>
                    <a:pt x="303" y="143"/>
                  </a:lnTo>
                  <a:lnTo>
                    <a:pt x="303" y="141"/>
                  </a:lnTo>
                  <a:lnTo>
                    <a:pt x="299" y="143"/>
                  </a:lnTo>
                  <a:lnTo>
                    <a:pt x="299" y="141"/>
                  </a:lnTo>
                  <a:lnTo>
                    <a:pt x="298" y="143"/>
                  </a:lnTo>
                  <a:lnTo>
                    <a:pt x="296" y="145"/>
                  </a:lnTo>
                  <a:lnTo>
                    <a:pt x="294" y="145"/>
                  </a:lnTo>
                  <a:lnTo>
                    <a:pt x="294" y="146"/>
                  </a:lnTo>
                  <a:lnTo>
                    <a:pt x="293" y="146"/>
                  </a:lnTo>
                  <a:lnTo>
                    <a:pt x="293" y="150"/>
                  </a:lnTo>
                  <a:lnTo>
                    <a:pt x="291" y="148"/>
                  </a:lnTo>
                  <a:lnTo>
                    <a:pt x="289" y="146"/>
                  </a:lnTo>
                  <a:lnTo>
                    <a:pt x="287" y="146"/>
                  </a:lnTo>
                  <a:lnTo>
                    <a:pt x="286" y="146"/>
                  </a:lnTo>
                  <a:lnTo>
                    <a:pt x="284" y="145"/>
                  </a:lnTo>
                  <a:lnTo>
                    <a:pt x="282" y="145"/>
                  </a:lnTo>
                  <a:lnTo>
                    <a:pt x="281" y="141"/>
                  </a:lnTo>
                  <a:lnTo>
                    <a:pt x="277" y="141"/>
                  </a:lnTo>
                  <a:lnTo>
                    <a:pt x="277" y="140"/>
                  </a:lnTo>
                  <a:lnTo>
                    <a:pt x="276" y="140"/>
                  </a:lnTo>
                  <a:lnTo>
                    <a:pt x="274" y="140"/>
                  </a:lnTo>
                  <a:lnTo>
                    <a:pt x="270" y="140"/>
                  </a:lnTo>
                  <a:lnTo>
                    <a:pt x="270" y="143"/>
                  </a:lnTo>
                  <a:lnTo>
                    <a:pt x="267" y="143"/>
                  </a:lnTo>
                  <a:lnTo>
                    <a:pt x="265" y="141"/>
                  </a:lnTo>
                  <a:lnTo>
                    <a:pt x="264" y="143"/>
                  </a:lnTo>
                  <a:lnTo>
                    <a:pt x="262" y="143"/>
                  </a:lnTo>
                  <a:lnTo>
                    <a:pt x="262" y="145"/>
                  </a:lnTo>
                  <a:lnTo>
                    <a:pt x="260" y="146"/>
                  </a:lnTo>
                  <a:lnTo>
                    <a:pt x="260" y="150"/>
                  </a:lnTo>
                  <a:lnTo>
                    <a:pt x="259" y="150"/>
                  </a:lnTo>
                  <a:lnTo>
                    <a:pt x="257" y="152"/>
                  </a:lnTo>
                  <a:lnTo>
                    <a:pt x="255" y="152"/>
                  </a:lnTo>
                  <a:lnTo>
                    <a:pt x="253" y="153"/>
                  </a:lnTo>
                  <a:lnTo>
                    <a:pt x="250" y="153"/>
                  </a:lnTo>
                  <a:lnTo>
                    <a:pt x="250" y="155"/>
                  </a:lnTo>
                  <a:lnTo>
                    <a:pt x="247" y="155"/>
                  </a:lnTo>
                  <a:lnTo>
                    <a:pt x="245" y="157"/>
                  </a:lnTo>
                  <a:lnTo>
                    <a:pt x="242" y="155"/>
                  </a:lnTo>
                  <a:lnTo>
                    <a:pt x="242" y="157"/>
                  </a:lnTo>
                  <a:lnTo>
                    <a:pt x="242" y="158"/>
                  </a:lnTo>
                  <a:lnTo>
                    <a:pt x="240" y="160"/>
                  </a:lnTo>
                  <a:lnTo>
                    <a:pt x="242" y="162"/>
                  </a:lnTo>
                  <a:lnTo>
                    <a:pt x="242" y="163"/>
                  </a:lnTo>
                  <a:lnTo>
                    <a:pt x="242" y="165"/>
                  </a:lnTo>
                  <a:lnTo>
                    <a:pt x="240" y="167"/>
                  </a:lnTo>
                  <a:lnTo>
                    <a:pt x="238" y="169"/>
                  </a:lnTo>
                  <a:lnTo>
                    <a:pt x="236" y="169"/>
                  </a:lnTo>
                  <a:lnTo>
                    <a:pt x="235" y="169"/>
                  </a:lnTo>
                  <a:lnTo>
                    <a:pt x="233" y="169"/>
                  </a:lnTo>
                  <a:lnTo>
                    <a:pt x="231" y="170"/>
                  </a:lnTo>
                  <a:lnTo>
                    <a:pt x="231" y="172"/>
                  </a:lnTo>
                  <a:lnTo>
                    <a:pt x="231" y="175"/>
                  </a:lnTo>
                  <a:lnTo>
                    <a:pt x="233" y="177"/>
                  </a:lnTo>
                  <a:lnTo>
                    <a:pt x="231" y="177"/>
                  </a:lnTo>
                  <a:lnTo>
                    <a:pt x="230" y="179"/>
                  </a:lnTo>
                  <a:lnTo>
                    <a:pt x="228" y="177"/>
                  </a:lnTo>
                  <a:lnTo>
                    <a:pt x="226" y="177"/>
                  </a:lnTo>
                  <a:lnTo>
                    <a:pt x="225" y="177"/>
                  </a:lnTo>
                  <a:lnTo>
                    <a:pt x="223" y="177"/>
                  </a:lnTo>
                  <a:lnTo>
                    <a:pt x="221" y="179"/>
                  </a:lnTo>
                  <a:lnTo>
                    <a:pt x="221" y="180"/>
                  </a:lnTo>
                  <a:lnTo>
                    <a:pt x="219" y="180"/>
                  </a:lnTo>
                  <a:lnTo>
                    <a:pt x="218" y="182"/>
                  </a:lnTo>
                  <a:lnTo>
                    <a:pt x="219" y="184"/>
                  </a:lnTo>
                  <a:lnTo>
                    <a:pt x="219" y="186"/>
                  </a:lnTo>
                  <a:lnTo>
                    <a:pt x="221" y="186"/>
                  </a:lnTo>
                  <a:lnTo>
                    <a:pt x="223" y="186"/>
                  </a:lnTo>
                  <a:lnTo>
                    <a:pt x="225" y="187"/>
                  </a:lnTo>
                  <a:lnTo>
                    <a:pt x="225" y="191"/>
                  </a:lnTo>
                  <a:lnTo>
                    <a:pt x="226" y="191"/>
                  </a:lnTo>
                  <a:lnTo>
                    <a:pt x="228" y="192"/>
                  </a:lnTo>
                  <a:lnTo>
                    <a:pt x="226" y="194"/>
                  </a:lnTo>
                  <a:lnTo>
                    <a:pt x="226" y="196"/>
                  </a:lnTo>
                  <a:lnTo>
                    <a:pt x="228" y="197"/>
                  </a:lnTo>
                  <a:lnTo>
                    <a:pt x="230" y="197"/>
                  </a:lnTo>
                  <a:lnTo>
                    <a:pt x="228" y="199"/>
                  </a:lnTo>
                  <a:lnTo>
                    <a:pt x="228" y="203"/>
                  </a:lnTo>
                  <a:lnTo>
                    <a:pt x="226" y="204"/>
                  </a:lnTo>
                  <a:lnTo>
                    <a:pt x="225" y="206"/>
                  </a:lnTo>
                  <a:lnTo>
                    <a:pt x="223" y="206"/>
                  </a:lnTo>
                  <a:lnTo>
                    <a:pt x="221" y="208"/>
                  </a:lnTo>
                  <a:lnTo>
                    <a:pt x="219" y="209"/>
                  </a:lnTo>
                  <a:lnTo>
                    <a:pt x="218" y="209"/>
                  </a:lnTo>
                  <a:lnTo>
                    <a:pt x="214" y="211"/>
                  </a:lnTo>
                  <a:lnTo>
                    <a:pt x="214" y="209"/>
                  </a:lnTo>
                  <a:lnTo>
                    <a:pt x="211" y="209"/>
                  </a:lnTo>
                  <a:lnTo>
                    <a:pt x="209" y="211"/>
                  </a:lnTo>
                  <a:lnTo>
                    <a:pt x="208" y="211"/>
                  </a:lnTo>
                  <a:lnTo>
                    <a:pt x="206" y="213"/>
                  </a:lnTo>
                  <a:lnTo>
                    <a:pt x="206" y="214"/>
                  </a:lnTo>
                  <a:lnTo>
                    <a:pt x="204" y="213"/>
                  </a:lnTo>
                  <a:lnTo>
                    <a:pt x="202" y="213"/>
                  </a:lnTo>
                  <a:lnTo>
                    <a:pt x="201" y="214"/>
                  </a:lnTo>
                  <a:lnTo>
                    <a:pt x="197" y="214"/>
                  </a:lnTo>
                  <a:lnTo>
                    <a:pt x="197" y="218"/>
                  </a:lnTo>
                  <a:lnTo>
                    <a:pt x="194" y="216"/>
                  </a:lnTo>
                  <a:lnTo>
                    <a:pt x="192" y="220"/>
                  </a:lnTo>
                  <a:lnTo>
                    <a:pt x="189" y="220"/>
                  </a:lnTo>
                  <a:lnTo>
                    <a:pt x="187" y="221"/>
                  </a:lnTo>
                  <a:lnTo>
                    <a:pt x="185" y="223"/>
                  </a:lnTo>
                  <a:lnTo>
                    <a:pt x="182" y="223"/>
                  </a:lnTo>
                  <a:lnTo>
                    <a:pt x="180" y="220"/>
                  </a:lnTo>
                  <a:lnTo>
                    <a:pt x="179" y="220"/>
                  </a:lnTo>
                  <a:lnTo>
                    <a:pt x="175" y="218"/>
                  </a:lnTo>
                  <a:lnTo>
                    <a:pt x="172" y="218"/>
                  </a:lnTo>
                  <a:lnTo>
                    <a:pt x="170" y="216"/>
                  </a:lnTo>
                  <a:lnTo>
                    <a:pt x="167" y="216"/>
                  </a:lnTo>
                  <a:lnTo>
                    <a:pt x="165" y="216"/>
                  </a:lnTo>
                  <a:lnTo>
                    <a:pt x="163" y="214"/>
                  </a:lnTo>
                  <a:lnTo>
                    <a:pt x="160" y="216"/>
                  </a:lnTo>
                  <a:lnTo>
                    <a:pt x="158" y="216"/>
                  </a:lnTo>
                  <a:lnTo>
                    <a:pt x="158" y="218"/>
                  </a:lnTo>
                  <a:lnTo>
                    <a:pt x="158" y="220"/>
                  </a:lnTo>
                  <a:lnTo>
                    <a:pt x="158" y="221"/>
                  </a:lnTo>
                  <a:lnTo>
                    <a:pt x="155" y="220"/>
                  </a:lnTo>
                  <a:lnTo>
                    <a:pt x="155" y="218"/>
                  </a:lnTo>
                  <a:lnTo>
                    <a:pt x="153" y="216"/>
                  </a:lnTo>
                  <a:lnTo>
                    <a:pt x="150" y="216"/>
                  </a:lnTo>
                  <a:lnTo>
                    <a:pt x="150" y="218"/>
                  </a:lnTo>
                  <a:lnTo>
                    <a:pt x="150" y="216"/>
                  </a:lnTo>
                  <a:lnTo>
                    <a:pt x="146" y="218"/>
                  </a:lnTo>
                  <a:lnTo>
                    <a:pt x="145" y="214"/>
                  </a:lnTo>
                  <a:lnTo>
                    <a:pt x="143" y="213"/>
                  </a:lnTo>
                  <a:lnTo>
                    <a:pt x="141" y="209"/>
                  </a:lnTo>
                  <a:lnTo>
                    <a:pt x="140" y="208"/>
                  </a:lnTo>
                  <a:lnTo>
                    <a:pt x="138" y="209"/>
                  </a:lnTo>
                  <a:lnTo>
                    <a:pt x="138" y="213"/>
                  </a:lnTo>
                  <a:lnTo>
                    <a:pt x="134" y="211"/>
                  </a:lnTo>
                  <a:lnTo>
                    <a:pt x="133" y="213"/>
                  </a:lnTo>
                  <a:lnTo>
                    <a:pt x="131" y="213"/>
                  </a:lnTo>
                  <a:lnTo>
                    <a:pt x="129" y="214"/>
                  </a:lnTo>
                  <a:lnTo>
                    <a:pt x="129" y="213"/>
                  </a:lnTo>
                  <a:lnTo>
                    <a:pt x="128" y="211"/>
                  </a:lnTo>
                  <a:lnTo>
                    <a:pt x="126" y="211"/>
                  </a:lnTo>
                  <a:lnTo>
                    <a:pt x="124" y="213"/>
                  </a:lnTo>
                  <a:lnTo>
                    <a:pt x="123" y="214"/>
                  </a:lnTo>
                  <a:lnTo>
                    <a:pt x="121" y="214"/>
                  </a:lnTo>
                  <a:lnTo>
                    <a:pt x="117" y="214"/>
                  </a:lnTo>
                  <a:lnTo>
                    <a:pt x="116" y="216"/>
                  </a:lnTo>
                  <a:lnTo>
                    <a:pt x="117" y="218"/>
                  </a:lnTo>
                  <a:lnTo>
                    <a:pt x="117" y="220"/>
                  </a:lnTo>
                  <a:lnTo>
                    <a:pt x="117" y="221"/>
                  </a:lnTo>
                  <a:lnTo>
                    <a:pt x="116" y="220"/>
                  </a:lnTo>
                  <a:lnTo>
                    <a:pt x="114" y="223"/>
                  </a:lnTo>
                  <a:lnTo>
                    <a:pt x="112" y="223"/>
                  </a:lnTo>
                  <a:lnTo>
                    <a:pt x="111" y="223"/>
                  </a:lnTo>
                  <a:lnTo>
                    <a:pt x="109" y="220"/>
                  </a:lnTo>
                  <a:lnTo>
                    <a:pt x="109" y="223"/>
                  </a:lnTo>
                  <a:lnTo>
                    <a:pt x="107" y="223"/>
                  </a:lnTo>
                  <a:lnTo>
                    <a:pt x="106" y="225"/>
                  </a:lnTo>
                  <a:lnTo>
                    <a:pt x="104" y="225"/>
                  </a:lnTo>
                  <a:lnTo>
                    <a:pt x="104" y="226"/>
                  </a:lnTo>
                  <a:lnTo>
                    <a:pt x="102" y="228"/>
                  </a:lnTo>
                  <a:lnTo>
                    <a:pt x="100" y="228"/>
                  </a:lnTo>
                  <a:lnTo>
                    <a:pt x="97" y="228"/>
                  </a:lnTo>
                  <a:lnTo>
                    <a:pt x="97" y="230"/>
                  </a:lnTo>
                  <a:lnTo>
                    <a:pt x="94" y="232"/>
                  </a:lnTo>
                  <a:lnTo>
                    <a:pt x="94" y="230"/>
                  </a:lnTo>
                  <a:lnTo>
                    <a:pt x="92" y="232"/>
                  </a:lnTo>
                  <a:lnTo>
                    <a:pt x="90" y="230"/>
                  </a:lnTo>
                  <a:lnTo>
                    <a:pt x="89" y="230"/>
                  </a:lnTo>
                  <a:lnTo>
                    <a:pt x="85" y="230"/>
                  </a:lnTo>
                  <a:lnTo>
                    <a:pt x="83" y="232"/>
                  </a:lnTo>
                  <a:lnTo>
                    <a:pt x="82" y="233"/>
                  </a:lnTo>
                  <a:lnTo>
                    <a:pt x="82" y="235"/>
                  </a:lnTo>
                  <a:lnTo>
                    <a:pt x="80" y="232"/>
                  </a:lnTo>
                  <a:lnTo>
                    <a:pt x="78" y="232"/>
                  </a:lnTo>
                  <a:lnTo>
                    <a:pt x="77" y="233"/>
                  </a:lnTo>
                  <a:lnTo>
                    <a:pt x="75" y="235"/>
                  </a:lnTo>
                  <a:lnTo>
                    <a:pt x="75" y="237"/>
                  </a:lnTo>
                  <a:lnTo>
                    <a:pt x="73" y="238"/>
                  </a:lnTo>
                  <a:lnTo>
                    <a:pt x="72" y="238"/>
                  </a:lnTo>
                  <a:lnTo>
                    <a:pt x="70" y="240"/>
                  </a:lnTo>
                  <a:lnTo>
                    <a:pt x="68" y="240"/>
                  </a:lnTo>
                  <a:lnTo>
                    <a:pt x="66" y="240"/>
                  </a:lnTo>
                  <a:lnTo>
                    <a:pt x="65" y="240"/>
                  </a:lnTo>
                  <a:lnTo>
                    <a:pt x="63" y="240"/>
                  </a:lnTo>
                  <a:lnTo>
                    <a:pt x="60" y="240"/>
                  </a:lnTo>
                  <a:lnTo>
                    <a:pt x="61" y="238"/>
                  </a:lnTo>
                  <a:lnTo>
                    <a:pt x="61" y="237"/>
                  </a:lnTo>
                  <a:lnTo>
                    <a:pt x="60" y="235"/>
                  </a:lnTo>
                  <a:lnTo>
                    <a:pt x="61" y="232"/>
                  </a:lnTo>
                  <a:lnTo>
                    <a:pt x="60" y="230"/>
                  </a:lnTo>
                  <a:lnTo>
                    <a:pt x="60" y="228"/>
                  </a:lnTo>
                  <a:lnTo>
                    <a:pt x="58" y="226"/>
                  </a:lnTo>
                  <a:lnTo>
                    <a:pt x="60" y="225"/>
                  </a:lnTo>
                  <a:lnTo>
                    <a:pt x="58" y="223"/>
                  </a:lnTo>
                  <a:lnTo>
                    <a:pt x="56" y="220"/>
                  </a:lnTo>
                  <a:lnTo>
                    <a:pt x="58" y="218"/>
                  </a:lnTo>
                  <a:lnTo>
                    <a:pt x="60" y="216"/>
                  </a:lnTo>
                  <a:lnTo>
                    <a:pt x="60" y="214"/>
                  </a:lnTo>
                  <a:lnTo>
                    <a:pt x="60" y="213"/>
                  </a:lnTo>
                  <a:lnTo>
                    <a:pt x="60" y="211"/>
                  </a:lnTo>
                  <a:lnTo>
                    <a:pt x="58" y="209"/>
                  </a:lnTo>
                  <a:lnTo>
                    <a:pt x="56" y="209"/>
                  </a:lnTo>
                  <a:lnTo>
                    <a:pt x="56" y="208"/>
                  </a:lnTo>
                  <a:lnTo>
                    <a:pt x="55" y="206"/>
                  </a:lnTo>
                  <a:lnTo>
                    <a:pt x="53" y="204"/>
                  </a:lnTo>
                  <a:lnTo>
                    <a:pt x="51" y="203"/>
                  </a:lnTo>
                  <a:lnTo>
                    <a:pt x="51" y="201"/>
                  </a:lnTo>
                  <a:lnTo>
                    <a:pt x="49" y="199"/>
                  </a:lnTo>
                  <a:lnTo>
                    <a:pt x="49" y="196"/>
                  </a:lnTo>
                  <a:lnTo>
                    <a:pt x="48" y="194"/>
                  </a:lnTo>
                  <a:lnTo>
                    <a:pt x="48" y="192"/>
                  </a:lnTo>
                  <a:lnTo>
                    <a:pt x="46" y="194"/>
                  </a:lnTo>
                  <a:lnTo>
                    <a:pt x="44" y="192"/>
                  </a:lnTo>
                  <a:lnTo>
                    <a:pt x="41" y="192"/>
                  </a:lnTo>
                  <a:lnTo>
                    <a:pt x="39" y="191"/>
                  </a:lnTo>
                  <a:lnTo>
                    <a:pt x="38" y="192"/>
                  </a:lnTo>
                  <a:lnTo>
                    <a:pt x="36" y="191"/>
                  </a:lnTo>
                  <a:lnTo>
                    <a:pt x="34" y="191"/>
                  </a:lnTo>
                  <a:lnTo>
                    <a:pt x="32" y="191"/>
                  </a:lnTo>
                  <a:lnTo>
                    <a:pt x="32" y="189"/>
                  </a:lnTo>
                  <a:lnTo>
                    <a:pt x="31" y="189"/>
                  </a:lnTo>
                  <a:lnTo>
                    <a:pt x="29" y="187"/>
                  </a:lnTo>
                  <a:lnTo>
                    <a:pt x="27" y="187"/>
                  </a:lnTo>
                  <a:lnTo>
                    <a:pt x="27" y="184"/>
                  </a:lnTo>
                  <a:lnTo>
                    <a:pt x="26" y="184"/>
                  </a:lnTo>
                  <a:lnTo>
                    <a:pt x="24" y="182"/>
                  </a:lnTo>
                  <a:lnTo>
                    <a:pt x="22" y="180"/>
                  </a:lnTo>
                  <a:lnTo>
                    <a:pt x="21" y="179"/>
                  </a:lnTo>
                  <a:lnTo>
                    <a:pt x="19" y="177"/>
                  </a:lnTo>
                  <a:lnTo>
                    <a:pt x="17" y="177"/>
                  </a:lnTo>
                  <a:lnTo>
                    <a:pt x="19" y="177"/>
                  </a:lnTo>
                  <a:lnTo>
                    <a:pt x="21" y="175"/>
                  </a:lnTo>
                  <a:lnTo>
                    <a:pt x="22" y="175"/>
                  </a:lnTo>
                  <a:lnTo>
                    <a:pt x="22" y="172"/>
                  </a:lnTo>
                  <a:lnTo>
                    <a:pt x="24" y="172"/>
                  </a:lnTo>
                  <a:lnTo>
                    <a:pt x="22" y="170"/>
                  </a:lnTo>
                  <a:lnTo>
                    <a:pt x="26" y="170"/>
                  </a:lnTo>
                  <a:lnTo>
                    <a:pt x="26" y="169"/>
                  </a:lnTo>
                  <a:lnTo>
                    <a:pt x="26" y="165"/>
                  </a:lnTo>
                  <a:lnTo>
                    <a:pt x="26" y="163"/>
                  </a:lnTo>
                  <a:lnTo>
                    <a:pt x="26" y="162"/>
                  </a:lnTo>
                  <a:lnTo>
                    <a:pt x="22" y="160"/>
                  </a:lnTo>
                  <a:lnTo>
                    <a:pt x="21" y="158"/>
                  </a:lnTo>
                  <a:lnTo>
                    <a:pt x="19" y="158"/>
                  </a:lnTo>
                  <a:lnTo>
                    <a:pt x="19" y="157"/>
                  </a:lnTo>
                  <a:lnTo>
                    <a:pt x="19" y="153"/>
                  </a:lnTo>
                  <a:lnTo>
                    <a:pt x="19" y="152"/>
                  </a:lnTo>
                  <a:lnTo>
                    <a:pt x="19" y="150"/>
                  </a:lnTo>
                  <a:lnTo>
                    <a:pt x="21" y="148"/>
                  </a:lnTo>
                  <a:lnTo>
                    <a:pt x="21" y="146"/>
                  </a:lnTo>
                  <a:lnTo>
                    <a:pt x="19" y="145"/>
                  </a:lnTo>
                  <a:lnTo>
                    <a:pt x="17" y="143"/>
                  </a:lnTo>
                  <a:lnTo>
                    <a:pt x="15" y="141"/>
                  </a:lnTo>
                  <a:lnTo>
                    <a:pt x="17" y="140"/>
                  </a:lnTo>
                  <a:lnTo>
                    <a:pt x="19" y="138"/>
                  </a:lnTo>
                  <a:lnTo>
                    <a:pt x="21" y="136"/>
                  </a:lnTo>
                  <a:lnTo>
                    <a:pt x="22" y="136"/>
                  </a:lnTo>
                  <a:lnTo>
                    <a:pt x="22" y="135"/>
                  </a:lnTo>
                  <a:lnTo>
                    <a:pt x="24" y="135"/>
                  </a:lnTo>
                  <a:lnTo>
                    <a:pt x="26" y="135"/>
                  </a:lnTo>
                  <a:lnTo>
                    <a:pt x="27" y="136"/>
                  </a:lnTo>
                  <a:lnTo>
                    <a:pt x="29" y="135"/>
                  </a:lnTo>
                  <a:lnTo>
                    <a:pt x="31" y="135"/>
                  </a:lnTo>
                  <a:lnTo>
                    <a:pt x="31" y="131"/>
                  </a:lnTo>
                  <a:lnTo>
                    <a:pt x="32" y="131"/>
                  </a:lnTo>
                  <a:lnTo>
                    <a:pt x="31" y="129"/>
                  </a:lnTo>
                  <a:lnTo>
                    <a:pt x="31" y="126"/>
                  </a:lnTo>
                  <a:lnTo>
                    <a:pt x="34" y="126"/>
                  </a:lnTo>
                  <a:lnTo>
                    <a:pt x="34" y="124"/>
                  </a:lnTo>
                  <a:lnTo>
                    <a:pt x="34" y="123"/>
                  </a:lnTo>
                  <a:lnTo>
                    <a:pt x="36" y="123"/>
                  </a:lnTo>
                  <a:lnTo>
                    <a:pt x="36" y="121"/>
                  </a:lnTo>
                  <a:lnTo>
                    <a:pt x="38" y="119"/>
                  </a:lnTo>
                  <a:lnTo>
                    <a:pt x="39" y="118"/>
                  </a:lnTo>
                  <a:lnTo>
                    <a:pt x="39" y="116"/>
                  </a:lnTo>
                  <a:lnTo>
                    <a:pt x="41" y="114"/>
                  </a:lnTo>
                  <a:lnTo>
                    <a:pt x="41" y="112"/>
                  </a:lnTo>
                  <a:lnTo>
                    <a:pt x="39" y="112"/>
                  </a:lnTo>
                  <a:lnTo>
                    <a:pt x="41" y="111"/>
                  </a:lnTo>
                  <a:lnTo>
                    <a:pt x="39" y="109"/>
                  </a:lnTo>
                  <a:lnTo>
                    <a:pt x="36" y="109"/>
                  </a:lnTo>
                  <a:lnTo>
                    <a:pt x="34" y="109"/>
                  </a:lnTo>
                  <a:lnTo>
                    <a:pt x="32" y="107"/>
                  </a:lnTo>
                  <a:lnTo>
                    <a:pt x="32" y="106"/>
                  </a:lnTo>
                  <a:lnTo>
                    <a:pt x="31" y="106"/>
                  </a:lnTo>
                  <a:lnTo>
                    <a:pt x="31" y="104"/>
                  </a:lnTo>
                  <a:lnTo>
                    <a:pt x="29" y="102"/>
                  </a:lnTo>
                  <a:lnTo>
                    <a:pt x="27" y="101"/>
                  </a:lnTo>
                  <a:lnTo>
                    <a:pt x="26" y="99"/>
                  </a:lnTo>
                  <a:lnTo>
                    <a:pt x="24" y="99"/>
                  </a:lnTo>
                  <a:lnTo>
                    <a:pt x="21" y="99"/>
                  </a:lnTo>
                  <a:lnTo>
                    <a:pt x="19" y="97"/>
                  </a:lnTo>
                  <a:lnTo>
                    <a:pt x="17" y="97"/>
                  </a:lnTo>
                  <a:lnTo>
                    <a:pt x="15" y="97"/>
                  </a:lnTo>
                  <a:lnTo>
                    <a:pt x="15" y="95"/>
                  </a:lnTo>
                  <a:lnTo>
                    <a:pt x="12" y="95"/>
                  </a:lnTo>
                  <a:lnTo>
                    <a:pt x="12" y="94"/>
                  </a:lnTo>
                  <a:lnTo>
                    <a:pt x="10" y="92"/>
                  </a:lnTo>
                  <a:lnTo>
                    <a:pt x="10" y="90"/>
                  </a:lnTo>
                  <a:lnTo>
                    <a:pt x="9" y="89"/>
                  </a:lnTo>
                  <a:lnTo>
                    <a:pt x="9" y="87"/>
                  </a:lnTo>
                  <a:lnTo>
                    <a:pt x="9" y="85"/>
                  </a:lnTo>
                  <a:lnTo>
                    <a:pt x="9" y="84"/>
                  </a:lnTo>
                  <a:lnTo>
                    <a:pt x="7" y="82"/>
                  </a:lnTo>
                  <a:lnTo>
                    <a:pt x="5" y="82"/>
                  </a:lnTo>
                  <a:lnTo>
                    <a:pt x="4" y="80"/>
                  </a:lnTo>
                  <a:lnTo>
                    <a:pt x="2" y="78"/>
                  </a:lnTo>
                  <a:lnTo>
                    <a:pt x="2" y="77"/>
                  </a:lnTo>
                  <a:lnTo>
                    <a:pt x="2" y="75"/>
                  </a:lnTo>
                  <a:lnTo>
                    <a:pt x="0" y="73"/>
                  </a:lnTo>
                  <a:lnTo>
                    <a:pt x="0" y="70"/>
                  </a:lnTo>
                  <a:lnTo>
                    <a:pt x="0" y="68"/>
                  </a:lnTo>
                  <a:lnTo>
                    <a:pt x="0" y="65"/>
                  </a:lnTo>
                  <a:lnTo>
                    <a:pt x="0" y="63"/>
                  </a:lnTo>
                  <a:lnTo>
                    <a:pt x="0" y="61"/>
                  </a:lnTo>
                  <a:lnTo>
                    <a:pt x="0" y="60"/>
                  </a:lnTo>
                  <a:lnTo>
                    <a:pt x="0" y="58"/>
                  </a:lnTo>
                  <a:lnTo>
                    <a:pt x="2" y="58"/>
                  </a:lnTo>
                  <a:lnTo>
                    <a:pt x="5" y="56"/>
                  </a:lnTo>
                  <a:lnTo>
                    <a:pt x="5" y="55"/>
                  </a:lnTo>
                  <a:lnTo>
                    <a:pt x="9" y="55"/>
                  </a:lnTo>
                  <a:lnTo>
                    <a:pt x="10" y="53"/>
                  </a:lnTo>
                  <a:lnTo>
                    <a:pt x="9" y="49"/>
                  </a:lnTo>
                  <a:lnTo>
                    <a:pt x="9" y="46"/>
                  </a:lnTo>
                  <a:lnTo>
                    <a:pt x="9" y="44"/>
                  </a:lnTo>
                  <a:lnTo>
                    <a:pt x="9" y="43"/>
                  </a:lnTo>
                  <a:lnTo>
                    <a:pt x="10" y="41"/>
                  </a:lnTo>
                  <a:lnTo>
                    <a:pt x="12" y="43"/>
                  </a:lnTo>
                  <a:lnTo>
                    <a:pt x="14" y="43"/>
                  </a:lnTo>
                  <a:lnTo>
                    <a:pt x="17" y="44"/>
                  </a:lnTo>
                  <a:lnTo>
                    <a:pt x="19" y="44"/>
                  </a:lnTo>
                  <a:lnTo>
                    <a:pt x="21" y="44"/>
                  </a:lnTo>
                  <a:lnTo>
                    <a:pt x="22" y="46"/>
                  </a:lnTo>
                  <a:lnTo>
                    <a:pt x="24" y="48"/>
                  </a:lnTo>
                  <a:lnTo>
                    <a:pt x="26" y="48"/>
                  </a:lnTo>
                  <a:lnTo>
                    <a:pt x="27" y="48"/>
                  </a:lnTo>
                  <a:lnTo>
                    <a:pt x="29" y="48"/>
                  </a:lnTo>
                  <a:lnTo>
                    <a:pt x="31" y="49"/>
                  </a:lnTo>
                  <a:lnTo>
                    <a:pt x="29" y="53"/>
                  </a:lnTo>
                  <a:lnTo>
                    <a:pt x="26" y="55"/>
                  </a:lnTo>
                  <a:lnTo>
                    <a:pt x="24" y="56"/>
                  </a:lnTo>
                  <a:lnTo>
                    <a:pt x="24" y="58"/>
                  </a:lnTo>
                  <a:lnTo>
                    <a:pt x="24" y="60"/>
                  </a:lnTo>
                  <a:lnTo>
                    <a:pt x="22" y="63"/>
                  </a:lnTo>
                  <a:lnTo>
                    <a:pt x="24" y="65"/>
                  </a:lnTo>
                  <a:lnTo>
                    <a:pt x="26" y="67"/>
                  </a:lnTo>
                  <a:lnTo>
                    <a:pt x="27" y="67"/>
                  </a:lnTo>
                  <a:lnTo>
                    <a:pt x="29" y="67"/>
                  </a:lnTo>
                  <a:lnTo>
                    <a:pt x="31" y="67"/>
                  </a:lnTo>
                  <a:lnTo>
                    <a:pt x="34" y="67"/>
                  </a:lnTo>
                  <a:lnTo>
                    <a:pt x="34" y="68"/>
                  </a:lnTo>
                  <a:lnTo>
                    <a:pt x="36" y="67"/>
                  </a:lnTo>
                  <a:lnTo>
                    <a:pt x="39" y="67"/>
                  </a:lnTo>
                  <a:lnTo>
                    <a:pt x="41" y="65"/>
                  </a:lnTo>
                  <a:lnTo>
                    <a:pt x="43" y="63"/>
                  </a:lnTo>
                  <a:lnTo>
                    <a:pt x="44" y="61"/>
                  </a:lnTo>
                  <a:lnTo>
                    <a:pt x="48" y="61"/>
                  </a:lnTo>
                  <a:lnTo>
                    <a:pt x="49" y="61"/>
                  </a:lnTo>
                  <a:lnTo>
                    <a:pt x="53" y="60"/>
                  </a:lnTo>
                  <a:lnTo>
                    <a:pt x="55" y="61"/>
                  </a:lnTo>
                  <a:lnTo>
                    <a:pt x="56" y="61"/>
                  </a:lnTo>
                  <a:lnTo>
                    <a:pt x="60" y="61"/>
                  </a:lnTo>
                  <a:lnTo>
                    <a:pt x="61" y="63"/>
                  </a:lnTo>
                  <a:lnTo>
                    <a:pt x="63" y="63"/>
                  </a:lnTo>
                  <a:lnTo>
                    <a:pt x="66" y="61"/>
                  </a:lnTo>
                  <a:lnTo>
                    <a:pt x="70" y="61"/>
                  </a:lnTo>
                  <a:lnTo>
                    <a:pt x="73" y="61"/>
                  </a:lnTo>
                  <a:lnTo>
                    <a:pt x="77" y="63"/>
                  </a:lnTo>
                  <a:lnTo>
                    <a:pt x="78" y="63"/>
                  </a:lnTo>
                  <a:lnTo>
                    <a:pt x="80" y="63"/>
                  </a:lnTo>
                  <a:lnTo>
                    <a:pt x="82" y="63"/>
                  </a:lnTo>
                  <a:lnTo>
                    <a:pt x="83" y="63"/>
                  </a:lnTo>
                  <a:lnTo>
                    <a:pt x="87" y="63"/>
                  </a:lnTo>
                  <a:lnTo>
                    <a:pt x="89" y="65"/>
                  </a:lnTo>
                  <a:lnTo>
                    <a:pt x="90" y="65"/>
                  </a:lnTo>
                  <a:lnTo>
                    <a:pt x="92" y="65"/>
                  </a:lnTo>
                  <a:lnTo>
                    <a:pt x="95" y="63"/>
                  </a:lnTo>
                  <a:lnTo>
                    <a:pt x="97" y="63"/>
                  </a:lnTo>
                  <a:lnTo>
                    <a:pt x="99" y="61"/>
                  </a:lnTo>
                  <a:lnTo>
                    <a:pt x="100" y="61"/>
                  </a:lnTo>
                  <a:lnTo>
                    <a:pt x="102" y="60"/>
                  </a:lnTo>
                  <a:lnTo>
                    <a:pt x="104" y="58"/>
                  </a:lnTo>
                  <a:lnTo>
                    <a:pt x="106" y="58"/>
                  </a:lnTo>
                  <a:lnTo>
                    <a:pt x="107" y="56"/>
                  </a:lnTo>
                  <a:lnTo>
                    <a:pt x="109" y="56"/>
                  </a:lnTo>
                  <a:lnTo>
                    <a:pt x="112" y="56"/>
                  </a:lnTo>
                  <a:lnTo>
                    <a:pt x="114" y="56"/>
                  </a:lnTo>
                  <a:lnTo>
                    <a:pt x="117" y="58"/>
                  </a:lnTo>
                  <a:lnTo>
                    <a:pt x="119" y="58"/>
                  </a:lnTo>
                  <a:lnTo>
                    <a:pt x="121" y="58"/>
                  </a:lnTo>
                  <a:lnTo>
                    <a:pt x="123" y="56"/>
                  </a:lnTo>
                  <a:lnTo>
                    <a:pt x="124" y="56"/>
                  </a:lnTo>
                  <a:lnTo>
                    <a:pt x="128" y="56"/>
                  </a:lnTo>
                  <a:lnTo>
                    <a:pt x="129" y="55"/>
                  </a:lnTo>
                  <a:lnTo>
                    <a:pt x="131" y="53"/>
                  </a:lnTo>
                  <a:lnTo>
                    <a:pt x="134" y="53"/>
                  </a:lnTo>
                  <a:lnTo>
                    <a:pt x="134" y="55"/>
                  </a:lnTo>
                  <a:lnTo>
                    <a:pt x="136" y="55"/>
                  </a:lnTo>
                  <a:lnTo>
                    <a:pt x="140" y="55"/>
                  </a:lnTo>
                  <a:lnTo>
                    <a:pt x="141" y="53"/>
                  </a:lnTo>
                  <a:lnTo>
                    <a:pt x="143" y="53"/>
                  </a:lnTo>
                  <a:lnTo>
                    <a:pt x="145" y="53"/>
                  </a:lnTo>
                  <a:lnTo>
                    <a:pt x="146" y="53"/>
                  </a:lnTo>
                  <a:lnTo>
                    <a:pt x="148" y="55"/>
                  </a:lnTo>
                  <a:lnTo>
                    <a:pt x="151" y="56"/>
                  </a:lnTo>
                  <a:lnTo>
                    <a:pt x="155" y="56"/>
                  </a:lnTo>
                  <a:lnTo>
                    <a:pt x="157" y="55"/>
                  </a:lnTo>
                  <a:lnTo>
                    <a:pt x="158" y="55"/>
                  </a:lnTo>
                  <a:lnTo>
                    <a:pt x="160" y="53"/>
                  </a:lnTo>
                  <a:lnTo>
                    <a:pt x="162" y="53"/>
                  </a:lnTo>
                  <a:lnTo>
                    <a:pt x="165" y="51"/>
                  </a:lnTo>
                  <a:lnTo>
                    <a:pt x="167" y="49"/>
                  </a:lnTo>
                  <a:lnTo>
                    <a:pt x="167" y="48"/>
                  </a:lnTo>
                  <a:lnTo>
                    <a:pt x="170" y="48"/>
                  </a:lnTo>
                  <a:lnTo>
                    <a:pt x="172" y="46"/>
                  </a:lnTo>
                  <a:lnTo>
                    <a:pt x="174" y="43"/>
                  </a:lnTo>
                  <a:lnTo>
                    <a:pt x="175" y="41"/>
                  </a:lnTo>
                  <a:lnTo>
                    <a:pt x="177" y="39"/>
                  </a:lnTo>
                  <a:lnTo>
                    <a:pt x="177" y="38"/>
                  </a:lnTo>
                  <a:lnTo>
                    <a:pt x="177" y="36"/>
                  </a:lnTo>
                  <a:lnTo>
                    <a:pt x="179" y="34"/>
                  </a:lnTo>
                  <a:lnTo>
                    <a:pt x="180" y="32"/>
                  </a:lnTo>
                  <a:lnTo>
                    <a:pt x="180" y="31"/>
                  </a:lnTo>
                  <a:lnTo>
                    <a:pt x="182" y="29"/>
                  </a:lnTo>
                  <a:lnTo>
                    <a:pt x="184" y="27"/>
                  </a:lnTo>
                  <a:lnTo>
                    <a:pt x="184" y="26"/>
                  </a:lnTo>
                  <a:lnTo>
                    <a:pt x="184" y="24"/>
                  </a:lnTo>
                  <a:lnTo>
                    <a:pt x="185" y="24"/>
                  </a:lnTo>
                  <a:lnTo>
                    <a:pt x="187" y="22"/>
                  </a:lnTo>
                  <a:lnTo>
                    <a:pt x="189" y="22"/>
                  </a:lnTo>
                  <a:lnTo>
                    <a:pt x="191" y="21"/>
                  </a:lnTo>
                  <a:lnTo>
                    <a:pt x="192" y="19"/>
                  </a:lnTo>
                  <a:lnTo>
                    <a:pt x="194" y="17"/>
                  </a:lnTo>
                  <a:lnTo>
                    <a:pt x="194" y="19"/>
                  </a:lnTo>
                  <a:lnTo>
                    <a:pt x="194" y="17"/>
                  </a:lnTo>
                  <a:lnTo>
                    <a:pt x="197" y="15"/>
                  </a:lnTo>
                  <a:lnTo>
                    <a:pt x="199" y="15"/>
                  </a:lnTo>
                  <a:lnTo>
                    <a:pt x="201" y="15"/>
                  </a:lnTo>
                  <a:lnTo>
                    <a:pt x="202" y="14"/>
                  </a:lnTo>
                  <a:lnTo>
                    <a:pt x="204" y="14"/>
                  </a:lnTo>
                  <a:lnTo>
                    <a:pt x="206" y="14"/>
                  </a:lnTo>
                  <a:lnTo>
                    <a:pt x="208" y="14"/>
                  </a:lnTo>
                  <a:lnTo>
                    <a:pt x="208" y="12"/>
                  </a:lnTo>
                  <a:lnTo>
                    <a:pt x="211" y="12"/>
                  </a:lnTo>
                  <a:lnTo>
                    <a:pt x="213" y="10"/>
                  </a:lnTo>
                  <a:lnTo>
                    <a:pt x="216" y="9"/>
                  </a:lnTo>
                  <a:lnTo>
                    <a:pt x="218" y="7"/>
                  </a:lnTo>
                  <a:lnTo>
                    <a:pt x="219" y="5"/>
                  </a:lnTo>
                  <a:lnTo>
                    <a:pt x="221" y="5"/>
                  </a:lnTo>
                  <a:lnTo>
                    <a:pt x="221" y="4"/>
                  </a:lnTo>
                  <a:lnTo>
                    <a:pt x="225" y="4"/>
                  </a:lnTo>
                  <a:lnTo>
                    <a:pt x="226" y="2"/>
                  </a:lnTo>
                  <a:lnTo>
                    <a:pt x="228" y="2"/>
                  </a:lnTo>
                  <a:lnTo>
                    <a:pt x="230" y="2"/>
                  </a:lnTo>
                  <a:lnTo>
                    <a:pt x="233" y="0"/>
                  </a:lnTo>
                  <a:lnTo>
                    <a:pt x="235" y="2"/>
                  </a:lnTo>
                  <a:lnTo>
                    <a:pt x="236" y="2"/>
                  </a:lnTo>
                  <a:lnTo>
                    <a:pt x="240" y="0"/>
                  </a:lnTo>
                  <a:lnTo>
                    <a:pt x="242" y="4"/>
                  </a:lnTo>
                  <a:lnTo>
                    <a:pt x="243" y="4"/>
                  </a:lnTo>
                  <a:lnTo>
                    <a:pt x="245" y="4"/>
                  </a:lnTo>
                  <a:lnTo>
                    <a:pt x="247" y="5"/>
                  </a:lnTo>
                  <a:lnTo>
                    <a:pt x="248" y="5"/>
                  </a:lnTo>
                  <a:lnTo>
                    <a:pt x="250" y="5"/>
                  </a:lnTo>
                  <a:lnTo>
                    <a:pt x="252" y="5"/>
                  </a:lnTo>
                  <a:lnTo>
                    <a:pt x="252" y="4"/>
                  </a:lnTo>
                  <a:lnTo>
                    <a:pt x="255" y="4"/>
                  </a:lnTo>
                  <a:lnTo>
                    <a:pt x="259" y="4"/>
                  </a:lnTo>
                  <a:lnTo>
                    <a:pt x="259" y="0"/>
                  </a:lnTo>
                  <a:lnTo>
                    <a:pt x="260" y="2"/>
                  </a:lnTo>
                  <a:lnTo>
                    <a:pt x="262" y="2"/>
                  </a:lnTo>
                  <a:lnTo>
                    <a:pt x="262" y="4"/>
                  </a:lnTo>
                  <a:lnTo>
                    <a:pt x="264" y="4"/>
                  </a:lnTo>
                  <a:lnTo>
                    <a:pt x="264" y="5"/>
                  </a:lnTo>
                  <a:lnTo>
                    <a:pt x="265" y="5"/>
                  </a:lnTo>
                  <a:lnTo>
                    <a:pt x="267" y="5"/>
                  </a:lnTo>
                  <a:lnTo>
                    <a:pt x="270" y="4"/>
                  </a:lnTo>
                  <a:lnTo>
                    <a:pt x="272" y="2"/>
                  </a:lnTo>
                  <a:lnTo>
                    <a:pt x="274" y="0"/>
                  </a:lnTo>
                  <a:lnTo>
                    <a:pt x="276" y="2"/>
                  </a:lnTo>
                  <a:lnTo>
                    <a:pt x="276" y="4"/>
                  </a:lnTo>
                  <a:lnTo>
                    <a:pt x="277" y="4"/>
                  </a:lnTo>
                  <a:lnTo>
                    <a:pt x="279" y="7"/>
                  </a:lnTo>
                  <a:lnTo>
                    <a:pt x="279" y="9"/>
                  </a:lnTo>
                  <a:lnTo>
                    <a:pt x="281" y="10"/>
                  </a:lnTo>
                  <a:lnTo>
                    <a:pt x="284" y="10"/>
                  </a:lnTo>
                  <a:lnTo>
                    <a:pt x="287" y="12"/>
                  </a:lnTo>
                  <a:lnTo>
                    <a:pt x="289" y="12"/>
                  </a:lnTo>
                  <a:lnTo>
                    <a:pt x="291" y="12"/>
                  </a:lnTo>
                  <a:lnTo>
                    <a:pt x="294" y="14"/>
                  </a:lnTo>
                  <a:lnTo>
                    <a:pt x="294" y="12"/>
                  </a:lnTo>
                  <a:lnTo>
                    <a:pt x="298" y="12"/>
                  </a:lnTo>
                  <a:lnTo>
                    <a:pt x="299" y="12"/>
                  </a:lnTo>
                  <a:lnTo>
                    <a:pt x="301" y="12"/>
                  </a:lnTo>
                  <a:lnTo>
                    <a:pt x="303" y="12"/>
                  </a:lnTo>
                  <a:lnTo>
                    <a:pt x="304" y="12"/>
                  </a:lnTo>
                  <a:lnTo>
                    <a:pt x="306" y="12"/>
                  </a:lnTo>
                  <a:lnTo>
                    <a:pt x="308" y="10"/>
                  </a:lnTo>
                  <a:lnTo>
                    <a:pt x="310" y="10"/>
                  </a:lnTo>
                  <a:lnTo>
                    <a:pt x="311" y="1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190" name="Freeform 20">
              <a:extLst>
                <a:ext uri="{FF2B5EF4-FFF2-40B4-BE49-F238E27FC236}">
                  <a16:creationId xmlns:a16="http://schemas.microsoft.com/office/drawing/2014/main" id="{1E12F6F8-CDBF-4215-8F02-585E4AB54908}"/>
                </a:ext>
              </a:extLst>
            </p:cNvPr>
            <p:cNvSpPr>
              <a:spLocks noEditPoints="1"/>
            </p:cNvSpPr>
            <p:nvPr/>
          </p:nvSpPr>
          <p:spPr bwMode="gray">
            <a:xfrm>
              <a:off x="9895247" y="5729215"/>
              <a:ext cx="1842825" cy="1522848"/>
            </a:xfrm>
            <a:custGeom>
              <a:avLst/>
              <a:gdLst>
                <a:gd name="T0" fmla="*/ 344 w 622"/>
                <a:gd name="T1" fmla="*/ 66 h 514"/>
                <a:gd name="T2" fmla="*/ 254 w 622"/>
                <a:gd name="T3" fmla="*/ 80 h 514"/>
                <a:gd name="T4" fmla="*/ 264 w 622"/>
                <a:gd name="T5" fmla="*/ 134 h 514"/>
                <a:gd name="T6" fmla="*/ 218 w 622"/>
                <a:gd name="T7" fmla="*/ 133 h 514"/>
                <a:gd name="T8" fmla="*/ 170 w 622"/>
                <a:gd name="T9" fmla="*/ 145 h 514"/>
                <a:gd name="T10" fmla="*/ 213 w 622"/>
                <a:gd name="T11" fmla="*/ 216 h 514"/>
                <a:gd name="T12" fmla="*/ 184 w 622"/>
                <a:gd name="T13" fmla="*/ 242 h 514"/>
                <a:gd name="T14" fmla="*/ 257 w 622"/>
                <a:gd name="T15" fmla="*/ 267 h 514"/>
                <a:gd name="T16" fmla="*/ 262 w 622"/>
                <a:gd name="T17" fmla="*/ 296 h 514"/>
                <a:gd name="T18" fmla="*/ 247 w 622"/>
                <a:gd name="T19" fmla="*/ 323 h 514"/>
                <a:gd name="T20" fmla="*/ 214 w 622"/>
                <a:gd name="T21" fmla="*/ 344 h 514"/>
                <a:gd name="T22" fmla="*/ 237 w 622"/>
                <a:gd name="T23" fmla="*/ 402 h 514"/>
                <a:gd name="T24" fmla="*/ 199 w 622"/>
                <a:gd name="T25" fmla="*/ 395 h 514"/>
                <a:gd name="T26" fmla="*/ 153 w 622"/>
                <a:gd name="T27" fmla="*/ 354 h 514"/>
                <a:gd name="T28" fmla="*/ 160 w 622"/>
                <a:gd name="T29" fmla="*/ 286 h 514"/>
                <a:gd name="T30" fmla="*/ 223 w 622"/>
                <a:gd name="T31" fmla="*/ 284 h 514"/>
                <a:gd name="T32" fmla="*/ 163 w 622"/>
                <a:gd name="T33" fmla="*/ 279 h 514"/>
                <a:gd name="T34" fmla="*/ 111 w 622"/>
                <a:gd name="T35" fmla="*/ 289 h 514"/>
                <a:gd name="T36" fmla="*/ 102 w 622"/>
                <a:gd name="T37" fmla="*/ 254 h 514"/>
                <a:gd name="T38" fmla="*/ 80 w 622"/>
                <a:gd name="T39" fmla="*/ 245 h 514"/>
                <a:gd name="T40" fmla="*/ 53 w 622"/>
                <a:gd name="T41" fmla="*/ 194 h 514"/>
                <a:gd name="T42" fmla="*/ 80 w 622"/>
                <a:gd name="T43" fmla="*/ 114 h 514"/>
                <a:gd name="T44" fmla="*/ 165 w 622"/>
                <a:gd name="T45" fmla="*/ 66 h 514"/>
                <a:gd name="T46" fmla="*/ 260 w 622"/>
                <a:gd name="T47" fmla="*/ 41 h 514"/>
                <a:gd name="T48" fmla="*/ 335 w 622"/>
                <a:gd name="T49" fmla="*/ 2 h 514"/>
                <a:gd name="T50" fmla="*/ 361 w 622"/>
                <a:gd name="T51" fmla="*/ 461 h 514"/>
                <a:gd name="T52" fmla="*/ 442 w 622"/>
                <a:gd name="T53" fmla="*/ 458 h 514"/>
                <a:gd name="T54" fmla="*/ 367 w 622"/>
                <a:gd name="T55" fmla="*/ 495 h 514"/>
                <a:gd name="T56" fmla="*/ 288 w 622"/>
                <a:gd name="T57" fmla="*/ 461 h 514"/>
                <a:gd name="T58" fmla="*/ 284 w 622"/>
                <a:gd name="T59" fmla="*/ 262 h 514"/>
                <a:gd name="T60" fmla="*/ 271 w 622"/>
                <a:gd name="T61" fmla="*/ 259 h 514"/>
                <a:gd name="T62" fmla="*/ 384 w 622"/>
                <a:gd name="T63" fmla="*/ 165 h 514"/>
                <a:gd name="T64" fmla="*/ 374 w 622"/>
                <a:gd name="T65" fmla="*/ 187 h 514"/>
                <a:gd name="T66" fmla="*/ 519 w 622"/>
                <a:gd name="T67" fmla="*/ 386 h 514"/>
                <a:gd name="T68" fmla="*/ 376 w 622"/>
                <a:gd name="T69" fmla="*/ 247 h 514"/>
                <a:gd name="T70" fmla="*/ 73 w 622"/>
                <a:gd name="T71" fmla="*/ 310 h 514"/>
                <a:gd name="T72" fmla="*/ 36 w 622"/>
                <a:gd name="T73" fmla="*/ 225 h 514"/>
                <a:gd name="T74" fmla="*/ 313 w 622"/>
                <a:gd name="T75" fmla="*/ 143 h 514"/>
                <a:gd name="T76" fmla="*/ 427 w 622"/>
                <a:gd name="T77" fmla="*/ 277 h 514"/>
                <a:gd name="T78" fmla="*/ 102 w 622"/>
                <a:gd name="T79" fmla="*/ 344 h 514"/>
                <a:gd name="T80" fmla="*/ 328 w 622"/>
                <a:gd name="T81" fmla="*/ 294 h 514"/>
                <a:gd name="T82" fmla="*/ 85 w 622"/>
                <a:gd name="T83" fmla="*/ 274 h 514"/>
                <a:gd name="T84" fmla="*/ 492 w 622"/>
                <a:gd name="T85" fmla="*/ 402 h 514"/>
                <a:gd name="T86" fmla="*/ 408 w 622"/>
                <a:gd name="T87" fmla="*/ 288 h 514"/>
                <a:gd name="T88" fmla="*/ 347 w 622"/>
                <a:gd name="T89" fmla="*/ 299 h 514"/>
                <a:gd name="T90" fmla="*/ 320 w 622"/>
                <a:gd name="T91" fmla="*/ 371 h 514"/>
                <a:gd name="T92" fmla="*/ 391 w 622"/>
                <a:gd name="T93" fmla="*/ 352 h 514"/>
                <a:gd name="T94" fmla="*/ 311 w 622"/>
                <a:gd name="T95" fmla="*/ 327 h 514"/>
                <a:gd name="T96" fmla="*/ 254 w 622"/>
                <a:gd name="T97" fmla="*/ 296 h 514"/>
                <a:gd name="T98" fmla="*/ 332 w 622"/>
                <a:gd name="T99" fmla="*/ 311 h 514"/>
                <a:gd name="T100" fmla="*/ 376 w 622"/>
                <a:gd name="T101" fmla="*/ 379 h 514"/>
                <a:gd name="T102" fmla="*/ 488 w 622"/>
                <a:gd name="T103" fmla="*/ 357 h 514"/>
                <a:gd name="T104" fmla="*/ 252 w 622"/>
                <a:gd name="T105" fmla="*/ 344 h 514"/>
                <a:gd name="T106" fmla="*/ 350 w 622"/>
                <a:gd name="T107" fmla="*/ 345 h 514"/>
                <a:gd name="T108" fmla="*/ 507 w 622"/>
                <a:gd name="T109" fmla="*/ 366 h 514"/>
                <a:gd name="T110" fmla="*/ 264 w 622"/>
                <a:gd name="T111" fmla="*/ 444 h 514"/>
                <a:gd name="T112" fmla="*/ 442 w 622"/>
                <a:gd name="T113" fmla="*/ 305 h 514"/>
                <a:gd name="T114" fmla="*/ 393 w 622"/>
                <a:gd name="T115" fmla="*/ 328 h 514"/>
                <a:gd name="T116" fmla="*/ 374 w 622"/>
                <a:gd name="T117" fmla="*/ 381 h 514"/>
                <a:gd name="T118" fmla="*/ 418 w 622"/>
                <a:gd name="T119" fmla="*/ 488 h 514"/>
                <a:gd name="T120" fmla="*/ 282 w 622"/>
                <a:gd name="T121" fmla="*/ 223 h 514"/>
                <a:gd name="T122" fmla="*/ 401 w 622"/>
                <a:gd name="T123" fmla="*/ 344 h 514"/>
                <a:gd name="T124" fmla="*/ 366 w 622"/>
                <a:gd name="T125" fmla="*/ 308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2" h="514">
                  <a:moveTo>
                    <a:pt x="347" y="0"/>
                  </a:moveTo>
                  <a:lnTo>
                    <a:pt x="349" y="2"/>
                  </a:lnTo>
                  <a:lnTo>
                    <a:pt x="350" y="2"/>
                  </a:lnTo>
                  <a:lnTo>
                    <a:pt x="352" y="2"/>
                  </a:lnTo>
                  <a:lnTo>
                    <a:pt x="354" y="2"/>
                  </a:lnTo>
                  <a:lnTo>
                    <a:pt x="357" y="3"/>
                  </a:lnTo>
                  <a:lnTo>
                    <a:pt x="359" y="5"/>
                  </a:lnTo>
                  <a:lnTo>
                    <a:pt x="361" y="5"/>
                  </a:lnTo>
                  <a:lnTo>
                    <a:pt x="361" y="7"/>
                  </a:lnTo>
                  <a:lnTo>
                    <a:pt x="362" y="7"/>
                  </a:lnTo>
                  <a:lnTo>
                    <a:pt x="362" y="10"/>
                  </a:lnTo>
                  <a:lnTo>
                    <a:pt x="364" y="12"/>
                  </a:lnTo>
                  <a:lnTo>
                    <a:pt x="364" y="14"/>
                  </a:lnTo>
                  <a:lnTo>
                    <a:pt x="366" y="17"/>
                  </a:lnTo>
                  <a:lnTo>
                    <a:pt x="367" y="19"/>
                  </a:lnTo>
                  <a:lnTo>
                    <a:pt x="367" y="22"/>
                  </a:lnTo>
                  <a:lnTo>
                    <a:pt x="366" y="24"/>
                  </a:lnTo>
                  <a:lnTo>
                    <a:pt x="362" y="24"/>
                  </a:lnTo>
                  <a:lnTo>
                    <a:pt x="361" y="24"/>
                  </a:lnTo>
                  <a:lnTo>
                    <a:pt x="361" y="27"/>
                  </a:lnTo>
                  <a:lnTo>
                    <a:pt x="359" y="27"/>
                  </a:lnTo>
                  <a:lnTo>
                    <a:pt x="359" y="29"/>
                  </a:lnTo>
                  <a:lnTo>
                    <a:pt x="357" y="29"/>
                  </a:lnTo>
                  <a:lnTo>
                    <a:pt x="357" y="31"/>
                  </a:lnTo>
                  <a:lnTo>
                    <a:pt x="354" y="32"/>
                  </a:lnTo>
                  <a:lnTo>
                    <a:pt x="352" y="32"/>
                  </a:lnTo>
                  <a:lnTo>
                    <a:pt x="354" y="34"/>
                  </a:lnTo>
                  <a:lnTo>
                    <a:pt x="354" y="37"/>
                  </a:lnTo>
                  <a:lnTo>
                    <a:pt x="356" y="39"/>
                  </a:lnTo>
                  <a:lnTo>
                    <a:pt x="354" y="43"/>
                  </a:lnTo>
                  <a:lnTo>
                    <a:pt x="356" y="43"/>
                  </a:lnTo>
                  <a:lnTo>
                    <a:pt x="356" y="46"/>
                  </a:lnTo>
                  <a:lnTo>
                    <a:pt x="356" y="48"/>
                  </a:lnTo>
                  <a:lnTo>
                    <a:pt x="359" y="48"/>
                  </a:lnTo>
                  <a:lnTo>
                    <a:pt x="359" y="49"/>
                  </a:lnTo>
                  <a:lnTo>
                    <a:pt x="357" y="51"/>
                  </a:lnTo>
                  <a:lnTo>
                    <a:pt x="359" y="53"/>
                  </a:lnTo>
                  <a:lnTo>
                    <a:pt x="357" y="55"/>
                  </a:lnTo>
                  <a:lnTo>
                    <a:pt x="356" y="55"/>
                  </a:lnTo>
                  <a:lnTo>
                    <a:pt x="357" y="56"/>
                  </a:lnTo>
                  <a:lnTo>
                    <a:pt x="357" y="58"/>
                  </a:lnTo>
                  <a:lnTo>
                    <a:pt x="356" y="56"/>
                  </a:lnTo>
                  <a:lnTo>
                    <a:pt x="356" y="60"/>
                  </a:lnTo>
                  <a:lnTo>
                    <a:pt x="354" y="60"/>
                  </a:lnTo>
                  <a:lnTo>
                    <a:pt x="354" y="61"/>
                  </a:lnTo>
                  <a:lnTo>
                    <a:pt x="352" y="61"/>
                  </a:lnTo>
                  <a:lnTo>
                    <a:pt x="354" y="63"/>
                  </a:lnTo>
                  <a:lnTo>
                    <a:pt x="350" y="65"/>
                  </a:lnTo>
                  <a:lnTo>
                    <a:pt x="350" y="68"/>
                  </a:lnTo>
                  <a:lnTo>
                    <a:pt x="350" y="70"/>
                  </a:lnTo>
                  <a:lnTo>
                    <a:pt x="349" y="72"/>
                  </a:lnTo>
                  <a:lnTo>
                    <a:pt x="345" y="72"/>
                  </a:lnTo>
                  <a:lnTo>
                    <a:pt x="347" y="70"/>
                  </a:lnTo>
                  <a:lnTo>
                    <a:pt x="345" y="72"/>
                  </a:lnTo>
                  <a:lnTo>
                    <a:pt x="345" y="68"/>
                  </a:lnTo>
                  <a:lnTo>
                    <a:pt x="344" y="68"/>
                  </a:lnTo>
                  <a:lnTo>
                    <a:pt x="344" y="70"/>
                  </a:lnTo>
                  <a:lnTo>
                    <a:pt x="344" y="68"/>
                  </a:lnTo>
                  <a:lnTo>
                    <a:pt x="342" y="68"/>
                  </a:lnTo>
                  <a:lnTo>
                    <a:pt x="344" y="68"/>
                  </a:lnTo>
                  <a:lnTo>
                    <a:pt x="344" y="66"/>
                  </a:lnTo>
                  <a:lnTo>
                    <a:pt x="342" y="66"/>
                  </a:lnTo>
                  <a:lnTo>
                    <a:pt x="340" y="65"/>
                  </a:lnTo>
                  <a:lnTo>
                    <a:pt x="337" y="66"/>
                  </a:lnTo>
                  <a:lnTo>
                    <a:pt x="335" y="66"/>
                  </a:lnTo>
                  <a:lnTo>
                    <a:pt x="332" y="66"/>
                  </a:lnTo>
                  <a:lnTo>
                    <a:pt x="330" y="66"/>
                  </a:lnTo>
                  <a:lnTo>
                    <a:pt x="328" y="68"/>
                  </a:lnTo>
                  <a:lnTo>
                    <a:pt x="327" y="68"/>
                  </a:lnTo>
                  <a:lnTo>
                    <a:pt x="325" y="68"/>
                  </a:lnTo>
                  <a:lnTo>
                    <a:pt x="322" y="68"/>
                  </a:lnTo>
                  <a:lnTo>
                    <a:pt x="320" y="68"/>
                  </a:lnTo>
                  <a:lnTo>
                    <a:pt x="318" y="70"/>
                  </a:lnTo>
                  <a:lnTo>
                    <a:pt x="316" y="68"/>
                  </a:lnTo>
                  <a:lnTo>
                    <a:pt x="315" y="68"/>
                  </a:lnTo>
                  <a:lnTo>
                    <a:pt x="313" y="68"/>
                  </a:lnTo>
                  <a:lnTo>
                    <a:pt x="310" y="68"/>
                  </a:lnTo>
                  <a:lnTo>
                    <a:pt x="308" y="68"/>
                  </a:lnTo>
                  <a:lnTo>
                    <a:pt x="306" y="66"/>
                  </a:lnTo>
                  <a:lnTo>
                    <a:pt x="303" y="66"/>
                  </a:lnTo>
                  <a:lnTo>
                    <a:pt x="303" y="68"/>
                  </a:lnTo>
                  <a:lnTo>
                    <a:pt x="301" y="66"/>
                  </a:lnTo>
                  <a:lnTo>
                    <a:pt x="299" y="66"/>
                  </a:lnTo>
                  <a:lnTo>
                    <a:pt x="298" y="68"/>
                  </a:lnTo>
                  <a:lnTo>
                    <a:pt x="294" y="66"/>
                  </a:lnTo>
                  <a:lnTo>
                    <a:pt x="294" y="65"/>
                  </a:lnTo>
                  <a:lnTo>
                    <a:pt x="294" y="63"/>
                  </a:lnTo>
                  <a:lnTo>
                    <a:pt x="296" y="63"/>
                  </a:lnTo>
                  <a:lnTo>
                    <a:pt x="294" y="61"/>
                  </a:lnTo>
                  <a:lnTo>
                    <a:pt x="293" y="61"/>
                  </a:lnTo>
                  <a:lnTo>
                    <a:pt x="293" y="58"/>
                  </a:lnTo>
                  <a:lnTo>
                    <a:pt x="291" y="58"/>
                  </a:lnTo>
                  <a:lnTo>
                    <a:pt x="291" y="61"/>
                  </a:lnTo>
                  <a:lnTo>
                    <a:pt x="291" y="63"/>
                  </a:lnTo>
                  <a:lnTo>
                    <a:pt x="294" y="63"/>
                  </a:lnTo>
                  <a:lnTo>
                    <a:pt x="293" y="63"/>
                  </a:lnTo>
                  <a:lnTo>
                    <a:pt x="294" y="65"/>
                  </a:lnTo>
                  <a:lnTo>
                    <a:pt x="291" y="65"/>
                  </a:lnTo>
                  <a:lnTo>
                    <a:pt x="289" y="66"/>
                  </a:lnTo>
                  <a:lnTo>
                    <a:pt x="288" y="68"/>
                  </a:lnTo>
                  <a:lnTo>
                    <a:pt x="288" y="70"/>
                  </a:lnTo>
                  <a:lnTo>
                    <a:pt x="286" y="70"/>
                  </a:lnTo>
                  <a:lnTo>
                    <a:pt x="284" y="72"/>
                  </a:lnTo>
                  <a:lnTo>
                    <a:pt x="282" y="73"/>
                  </a:lnTo>
                  <a:lnTo>
                    <a:pt x="281" y="75"/>
                  </a:lnTo>
                  <a:lnTo>
                    <a:pt x="281" y="77"/>
                  </a:lnTo>
                  <a:lnTo>
                    <a:pt x="279" y="78"/>
                  </a:lnTo>
                  <a:lnTo>
                    <a:pt x="277" y="78"/>
                  </a:lnTo>
                  <a:lnTo>
                    <a:pt x="274" y="78"/>
                  </a:lnTo>
                  <a:lnTo>
                    <a:pt x="272" y="78"/>
                  </a:lnTo>
                  <a:lnTo>
                    <a:pt x="274" y="78"/>
                  </a:lnTo>
                  <a:lnTo>
                    <a:pt x="272" y="78"/>
                  </a:lnTo>
                  <a:lnTo>
                    <a:pt x="269" y="80"/>
                  </a:lnTo>
                  <a:lnTo>
                    <a:pt x="269" y="77"/>
                  </a:lnTo>
                  <a:lnTo>
                    <a:pt x="265" y="75"/>
                  </a:lnTo>
                  <a:lnTo>
                    <a:pt x="264" y="73"/>
                  </a:lnTo>
                  <a:lnTo>
                    <a:pt x="262" y="73"/>
                  </a:lnTo>
                  <a:lnTo>
                    <a:pt x="260" y="75"/>
                  </a:lnTo>
                  <a:lnTo>
                    <a:pt x="259" y="75"/>
                  </a:lnTo>
                  <a:lnTo>
                    <a:pt x="257" y="77"/>
                  </a:lnTo>
                  <a:lnTo>
                    <a:pt x="255" y="78"/>
                  </a:lnTo>
                  <a:lnTo>
                    <a:pt x="254" y="80"/>
                  </a:lnTo>
                  <a:lnTo>
                    <a:pt x="254" y="82"/>
                  </a:lnTo>
                  <a:lnTo>
                    <a:pt x="254" y="83"/>
                  </a:lnTo>
                  <a:lnTo>
                    <a:pt x="254" y="85"/>
                  </a:lnTo>
                  <a:lnTo>
                    <a:pt x="255" y="85"/>
                  </a:lnTo>
                  <a:lnTo>
                    <a:pt x="254" y="85"/>
                  </a:lnTo>
                  <a:lnTo>
                    <a:pt x="252" y="87"/>
                  </a:lnTo>
                  <a:lnTo>
                    <a:pt x="250" y="89"/>
                  </a:lnTo>
                  <a:lnTo>
                    <a:pt x="248" y="90"/>
                  </a:lnTo>
                  <a:lnTo>
                    <a:pt x="245" y="94"/>
                  </a:lnTo>
                  <a:lnTo>
                    <a:pt x="243" y="95"/>
                  </a:lnTo>
                  <a:lnTo>
                    <a:pt x="242" y="95"/>
                  </a:lnTo>
                  <a:lnTo>
                    <a:pt x="238" y="95"/>
                  </a:lnTo>
                  <a:lnTo>
                    <a:pt x="237" y="95"/>
                  </a:lnTo>
                  <a:lnTo>
                    <a:pt x="233" y="94"/>
                  </a:lnTo>
                  <a:lnTo>
                    <a:pt x="231" y="94"/>
                  </a:lnTo>
                  <a:lnTo>
                    <a:pt x="230" y="94"/>
                  </a:lnTo>
                  <a:lnTo>
                    <a:pt x="230" y="92"/>
                  </a:lnTo>
                  <a:lnTo>
                    <a:pt x="228" y="94"/>
                  </a:lnTo>
                  <a:lnTo>
                    <a:pt x="226" y="95"/>
                  </a:lnTo>
                  <a:lnTo>
                    <a:pt x="225" y="95"/>
                  </a:lnTo>
                  <a:lnTo>
                    <a:pt x="223" y="97"/>
                  </a:lnTo>
                  <a:lnTo>
                    <a:pt x="223" y="100"/>
                  </a:lnTo>
                  <a:lnTo>
                    <a:pt x="223" y="102"/>
                  </a:lnTo>
                  <a:lnTo>
                    <a:pt x="226" y="102"/>
                  </a:lnTo>
                  <a:lnTo>
                    <a:pt x="226" y="104"/>
                  </a:lnTo>
                  <a:lnTo>
                    <a:pt x="228" y="106"/>
                  </a:lnTo>
                  <a:lnTo>
                    <a:pt x="228" y="107"/>
                  </a:lnTo>
                  <a:lnTo>
                    <a:pt x="231" y="107"/>
                  </a:lnTo>
                  <a:lnTo>
                    <a:pt x="231" y="109"/>
                  </a:lnTo>
                  <a:lnTo>
                    <a:pt x="235" y="109"/>
                  </a:lnTo>
                  <a:lnTo>
                    <a:pt x="237" y="109"/>
                  </a:lnTo>
                  <a:lnTo>
                    <a:pt x="235" y="111"/>
                  </a:lnTo>
                  <a:lnTo>
                    <a:pt x="233" y="112"/>
                  </a:lnTo>
                  <a:lnTo>
                    <a:pt x="231" y="112"/>
                  </a:lnTo>
                  <a:lnTo>
                    <a:pt x="233" y="116"/>
                  </a:lnTo>
                  <a:lnTo>
                    <a:pt x="233" y="117"/>
                  </a:lnTo>
                  <a:lnTo>
                    <a:pt x="235" y="119"/>
                  </a:lnTo>
                  <a:lnTo>
                    <a:pt x="237" y="119"/>
                  </a:lnTo>
                  <a:lnTo>
                    <a:pt x="240" y="121"/>
                  </a:lnTo>
                  <a:lnTo>
                    <a:pt x="242" y="121"/>
                  </a:lnTo>
                  <a:lnTo>
                    <a:pt x="243" y="119"/>
                  </a:lnTo>
                  <a:lnTo>
                    <a:pt x="242" y="116"/>
                  </a:lnTo>
                  <a:lnTo>
                    <a:pt x="243" y="114"/>
                  </a:lnTo>
                  <a:lnTo>
                    <a:pt x="243" y="116"/>
                  </a:lnTo>
                  <a:lnTo>
                    <a:pt x="245" y="117"/>
                  </a:lnTo>
                  <a:lnTo>
                    <a:pt x="247" y="119"/>
                  </a:lnTo>
                  <a:lnTo>
                    <a:pt x="250" y="119"/>
                  </a:lnTo>
                  <a:lnTo>
                    <a:pt x="250" y="121"/>
                  </a:lnTo>
                  <a:lnTo>
                    <a:pt x="252" y="119"/>
                  </a:lnTo>
                  <a:lnTo>
                    <a:pt x="254" y="121"/>
                  </a:lnTo>
                  <a:lnTo>
                    <a:pt x="254" y="123"/>
                  </a:lnTo>
                  <a:lnTo>
                    <a:pt x="257" y="123"/>
                  </a:lnTo>
                  <a:lnTo>
                    <a:pt x="259" y="123"/>
                  </a:lnTo>
                  <a:lnTo>
                    <a:pt x="260" y="126"/>
                  </a:lnTo>
                  <a:lnTo>
                    <a:pt x="262" y="128"/>
                  </a:lnTo>
                  <a:lnTo>
                    <a:pt x="264" y="128"/>
                  </a:lnTo>
                  <a:lnTo>
                    <a:pt x="265" y="129"/>
                  </a:lnTo>
                  <a:lnTo>
                    <a:pt x="267" y="131"/>
                  </a:lnTo>
                  <a:lnTo>
                    <a:pt x="267" y="133"/>
                  </a:lnTo>
                  <a:lnTo>
                    <a:pt x="265" y="134"/>
                  </a:lnTo>
                  <a:lnTo>
                    <a:pt x="264" y="134"/>
                  </a:lnTo>
                  <a:lnTo>
                    <a:pt x="262" y="134"/>
                  </a:lnTo>
                  <a:lnTo>
                    <a:pt x="260" y="131"/>
                  </a:lnTo>
                  <a:lnTo>
                    <a:pt x="257" y="129"/>
                  </a:lnTo>
                  <a:lnTo>
                    <a:pt x="255" y="128"/>
                  </a:lnTo>
                  <a:lnTo>
                    <a:pt x="254" y="126"/>
                  </a:lnTo>
                  <a:lnTo>
                    <a:pt x="254" y="124"/>
                  </a:lnTo>
                  <a:lnTo>
                    <a:pt x="250" y="124"/>
                  </a:lnTo>
                  <a:lnTo>
                    <a:pt x="248" y="126"/>
                  </a:lnTo>
                  <a:lnTo>
                    <a:pt x="247" y="124"/>
                  </a:lnTo>
                  <a:lnTo>
                    <a:pt x="247" y="126"/>
                  </a:lnTo>
                  <a:lnTo>
                    <a:pt x="245" y="124"/>
                  </a:lnTo>
                  <a:lnTo>
                    <a:pt x="243" y="124"/>
                  </a:lnTo>
                  <a:lnTo>
                    <a:pt x="242" y="123"/>
                  </a:lnTo>
                  <a:lnTo>
                    <a:pt x="238" y="121"/>
                  </a:lnTo>
                  <a:lnTo>
                    <a:pt x="238" y="123"/>
                  </a:lnTo>
                  <a:lnTo>
                    <a:pt x="235" y="123"/>
                  </a:lnTo>
                  <a:lnTo>
                    <a:pt x="233" y="123"/>
                  </a:lnTo>
                  <a:lnTo>
                    <a:pt x="231" y="124"/>
                  </a:lnTo>
                  <a:lnTo>
                    <a:pt x="230" y="124"/>
                  </a:lnTo>
                  <a:lnTo>
                    <a:pt x="230" y="126"/>
                  </a:lnTo>
                  <a:lnTo>
                    <a:pt x="228" y="126"/>
                  </a:lnTo>
                  <a:lnTo>
                    <a:pt x="228" y="129"/>
                  </a:lnTo>
                  <a:lnTo>
                    <a:pt x="230" y="131"/>
                  </a:lnTo>
                  <a:lnTo>
                    <a:pt x="231" y="133"/>
                  </a:lnTo>
                  <a:lnTo>
                    <a:pt x="233" y="133"/>
                  </a:lnTo>
                  <a:lnTo>
                    <a:pt x="233" y="134"/>
                  </a:lnTo>
                  <a:lnTo>
                    <a:pt x="235" y="134"/>
                  </a:lnTo>
                  <a:lnTo>
                    <a:pt x="237" y="136"/>
                  </a:lnTo>
                  <a:lnTo>
                    <a:pt x="240" y="136"/>
                  </a:lnTo>
                  <a:lnTo>
                    <a:pt x="242" y="136"/>
                  </a:lnTo>
                  <a:lnTo>
                    <a:pt x="243" y="138"/>
                  </a:lnTo>
                  <a:lnTo>
                    <a:pt x="245" y="138"/>
                  </a:lnTo>
                  <a:lnTo>
                    <a:pt x="247" y="140"/>
                  </a:lnTo>
                  <a:lnTo>
                    <a:pt x="247" y="141"/>
                  </a:lnTo>
                  <a:lnTo>
                    <a:pt x="248" y="143"/>
                  </a:lnTo>
                  <a:lnTo>
                    <a:pt x="247" y="143"/>
                  </a:lnTo>
                  <a:lnTo>
                    <a:pt x="248" y="143"/>
                  </a:lnTo>
                  <a:lnTo>
                    <a:pt x="250" y="145"/>
                  </a:lnTo>
                  <a:lnTo>
                    <a:pt x="248" y="148"/>
                  </a:lnTo>
                  <a:lnTo>
                    <a:pt x="247" y="150"/>
                  </a:lnTo>
                  <a:lnTo>
                    <a:pt x="248" y="150"/>
                  </a:lnTo>
                  <a:lnTo>
                    <a:pt x="247" y="150"/>
                  </a:lnTo>
                  <a:lnTo>
                    <a:pt x="245" y="151"/>
                  </a:lnTo>
                  <a:lnTo>
                    <a:pt x="245" y="150"/>
                  </a:lnTo>
                  <a:lnTo>
                    <a:pt x="243" y="150"/>
                  </a:lnTo>
                  <a:lnTo>
                    <a:pt x="243" y="148"/>
                  </a:lnTo>
                  <a:lnTo>
                    <a:pt x="242" y="148"/>
                  </a:lnTo>
                  <a:lnTo>
                    <a:pt x="240" y="146"/>
                  </a:lnTo>
                  <a:lnTo>
                    <a:pt x="238" y="146"/>
                  </a:lnTo>
                  <a:lnTo>
                    <a:pt x="238" y="145"/>
                  </a:lnTo>
                  <a:lnTo>
                    <a:pt x="237" y="143"/>
                  </a:lnTo>
                  <a:lnTo>
                    <a:pt x="235" y="141"/>
                  </a:lnTo>
                  <a:lnTo>
                    <a:pt x="235" y="140"/>
                  </a:lnTo>
                  <a:lnTo>
                    <a:pt x="231" y="140"/>
                  </a:lnTo>
                  <a:lnTo>
                    <a:pt x="231" y="138"/>
                  </a:lnTo>
                  <a:lnTo>
                    <a:pt x="228" y="136"/>
                  </a:lnTo>
                  <a:lnTo>
                    <a:pt x="226" y="134"/>
                  </a:lnTo>
                  <a:lnTo>
                    <a:pt x="225" y="134"/>
                  </a:lnTo>
                  <a:lnTo>
                    <a:pt x="223" y="134"/>
                  </a:lnTo>
                  <a:lnTo>
                    <a:pt x="220" y="134"/>
                  </a:lnTo>
                  <a:lnTo>
                    <a:pt x="218" y="133"/>
                  </a:lnTo>
                  <a:lnTo>
                    <a:pt x="216" y="133"/>
                  </a:lnTo>
                  <a:lnTo>
                    <a:pt x="214" y="133"/>
                  </a:lnTo>
                  <a:lnTo>
                    <a:pt x="213" y="133"/>
                  </a:lnTo>
                  <a:lnTo>
                    <a:pt x="211" y="134"/>
                  </a:lnTo>
                  <a:lnTo>
                    <a:pt x="211" y="136"/>
                  </a:lnTo>
                  <a:lnTo>
                    <a:pt x="209" y="138"/>
                  </a:lnTo>
                  <a:lnTo>
                    <a:pt x="209" y="140"/>
                  </a:lnTo>
                  <a:lnTo>
                    <a:pt x="209" y="138"/>
                  </a:lnTo>
                  <a:lnTo>
                    <a:pt x="208" y="136"/>
                  </a:lnTo>
                  <a:lnTo>
                    <a:pt x="206" y="138"/>
                  </a:lnTo>
                  <a:lnTo>
                    <a:pt x="204" y="136"/>
                  </a:lnTo>
                  <a:lnTo>
                    <a:pt x="203" y="136"/>
                  </a:lnTo>
                  <a:lnTo>
                    <a:pt x="201" y="136"/>
                  </a:lnTo>
                  <a:lnTo>
                    <a:pt x="199" y="136"/>
                  </a:lnTo>
                  <a:lnTo>
                    <a:pt x="197" y="134"/>
                  </a:lnTo>
                  <a:lnTo>
                    <a:pt x="194" y="134"/>
                  </a:lnTo>
                  <a:lnTo>
                    <a:pt x="191" y="133"/>
                  </a:lnTo>
                  <a:lnTo>
                    <a:pt x="189" y="131"/>
                  </a:lnTo>
                  <a:lnTo>
                    <a:pt x="186" y="131"/>
                  </a:lnTo>
                  <a:lnTo>
                    <a:pt x="184" y="131"/>
                  </a:lnTo>
                  <a:lnTo>
                    <a:pt x="184" y="129"/>
                  </a:lnTo>
                  <a:lnTo>
                    <a:pt x="182" y="128"/>
                  </a:lnTo>
                  <a:lnTo>
                    <a:pt x="180" y="124"/>
                  </a:lnTo>
                  <a:lnTo>
                    <a:pt x="179" y="124"/>
                  </a:lnTo>
                  <a:lnTo>
                    <a:pt x="179" y="123"/>
                  </a:lnTo>
                  <a:lnTo>
                    <a:pt x="180" y="123"/>
                  </a:lnTo>
                  <a:lnTo>
                    <a:pt x="184" y="123"/>
                  </a:lnTo>
                  <a:lnTo>
                    <a:pt x="186" y="121"/>
                  </a:lnTo>
                  <a:lnTo>
                    <a:pt x="186" y="119"/>
                  </a:lnTo>
                  <a:lnTo>
                    <a:pt x="186" y="117"/>
                  </a:lnTo>
                  <a:lnTo>
                    <a:pt x="184" y="116"/>
                  </a:lnTo>
                  <a:lnTo>
                    <a:pt x="184" y="114"/>
                  </a:lnTo>
                  <a:lnTo>
                    <a:pt x="182" y="112"/>
                  </a:lnTo>
                  <a:lnTo>
                    <a:pt x="180" y="112"/>
                  </a:lnTo>
                  <a:lnTo>
                    <a:pt x="179" y="114"/>
                  </a:lnTo>
                  <a:lnTo>
                    <a:pt x="177" y="114"/>
                  </a:lnTo>
                  <a:lnTo>
                    <a:pt x="179" y="114"/>
                  </a:lnTo>
                  <a:lnTo>
                    <a:pt x="179" y="116"/>
                  </a:lnTo>
                  <a:lnTo>
                    <a:pt x="179" y="117"/>
                  </a:lnTo>
                  <a:lnTo>
                    <a:pt x="177" y="119"/>
                  </a:lnTo>
                  <a:lnTo>
                    <a:pt x="175" y="119"/>
                  </a:lnTo>
                  <a:lnTo>
                    <a:pt x="174" y="119"/>
                  </a:lnTo>
                  <a:lnTo>
                    <a:pt x="174" y="123"/>
                  </a:lnTo>
                  <a:lnTo>
                    <a:pt x="172" y="123"/>
                  </a:lnTo>
                  <a:lnTo>
                    <a:pt x="170" y="123"/>
                  </a:lnTo>
                  <a:lnTo>
                    <a:pt x="169" y="124"/>
                  </a:lnTo>
                  <a:lnTo>
                    <a:pt x="169" y="123"/>
                  </a:lnTo>
                  <a:lnTo>
                    <a:pt x="170" y="126"/>
                  </a:lnTo>
                  <a:lnTo>
                    <a:pt x="169" y="126"/>
                  </a:lnTo>
                  <a:lnTo>
                    <a:pt x="167" y="126"/>
                  </a:lnTo>
                  <a:lnTo>
                    <a:pt x="167" y="128"/>
                  </a:lnTo>
                  <a:lnTo>
                    <a:pt x="169" y="129"/>
                  </a:lnTo>
                  <a:lnTo>
                    <a:pt x="169" y="131"/>
                  </a:lnTo>
                  <a:lnTo>
                    <a:pt x="169" y="133"/>
                  </a:lnTo>
                  <a:lnTo>
                    <a:pt x="170" y="133"/>
                  </a:lnTo>
                  <a:lnTo>
                    <a:pt x="172" y="134"/>
                  </a:lnTo>
                  <a:lnTo>
                    <a:pt x="170" y="136"/>
                  </a:lnTo>
                  <a:lnTo>
                    <a:pt x="170" y="138"/>
                  </a:lnTo>
                  <a:lnTo>
                    <a:pt x="170" y="140"/>
                  </a:lnTo>
                  <a:lnTo>
                    <a:pt x="170" y="141"/>
                  </a:lnTo>
                  <a:lnTo>
                    <a:pt x="170" y="145"/>
                  </a:lnTo>
                  <a:lnTo>
                    <a:pt x="170" y="146"/>
                  </a:lnTo>
                  <a:lnTo>
                    <a:pt x="169" y="148"/>
                  </a:lnTo>
                  <a:lnTo>
                    <a:pt x="169" y="150"/>
                  </a:lnTo>
                  <a:lnTo>
                    <a:pt x="169" y="151"/>
                  </a:lnTo>
                  <a:lnTo>
                    <a:pt x="170" y="153"/>
                  </a:lnTo>
                  <a:lnTo>
                    <a:pt x="170" y="157"/>
                  </a:lnTo>
                  <a:lnTo>
                    <a:pt x="172" y="158"/>
                  </a:lnTo>
                  <a:lnTo>
                    <a:pt x="172" y="160"/>
                  </a:lnTo>
                  <a:lnTo>
                    <a:pt x="174" y="160"/>
                  </a:lnTo>
                  <a:lnTo>
                    <a:pt x="175" y="162"/>
                  </a:lnTo>
                  <a:lnTo>
                    <a:pt x="177" y="162"/>
                  </a:lnTo>
                  <a:lnTo>
                    <a:pt x="179" y="163"/>
                  </a:lnTo>
                  <a:lnTo>
                    <a:pt x="180" y="165"/>
                  </a:lnTo>
                  <a:lnTo>
                    <a:pt x="182" y="168"/>
                  </a:lnTo>
                  <a:lnTo>
                    <a:pt x="184" y="168"/>
                  </a:lnTo>
                  <a:lnTo>
                    <a:pt x="186" y="170"/>
                  </a:lnTo>
                  <a:lnTo>
                    <a:pt x="187" y="172"/>
                  </a:lnTo>
                  <a:lnTo>
                    <a:pt x="189" y="172"/>
                  </a:lnTo>
                  <a:lnTo>
                    <a:pt x="191" y="174"/>
                  </a:lnTo>
                  <a:lnTo>
                    <a:pt x="191" y="175"/>
                  </a:lnTo>
                  <a:lnTo>
                    <a:pt x="191" y="177"/>
                  </a:lnTo>
                  <a:lnTo>
                    <a:pt x="192" y="180"/>
                  </a:lnTo>
                  <a:lnTo>
                    <a:pt x="194" y="184"/>
                  </a:lnTo>
                  <a:lnTo>
                    <a:pt x="196" y="185"/>
                  </a:lnTo>
                  <a:lnTo>
                    <a:pt x="196" y="187"/>
                  </a:lnTo>
                  <a:lnTo>
                    <a:pt x="199" y="187"/>
                  </a:lnTo>
                  <a:lnTo>
                    <a:pt x="199" y="189"/>
                  </a:lnTo>
                  <a:lnTo>
                    <a:pt x="201" y="189"/>
                  </a:lnTo>
                  <a:lnTo>
                    <a:pt x="203" y="189"/>
                  </a:lnTo>
                  <a:lnTo>
                    <a:pt x="204" y="189"/>
                  </a:lnTo>
                  <a:lnTo>
                    <a:pt x="206" y="191"/>
                  </a:lnTo>
                  <a:lnTo>
                    <a:pt x="208" y="194"/>
                  </a:lnTo>
                  <a:lnTo>
                    <a:pt x="211" y="196"/>
                  </a:lnTo>
                  <a:lnTo>
                    <a:pt x="213" y="197"/>
                  </a:lnTo>
                  <a:lnTo>
                    <a:pt x="214" y="199"/>
                  </a:lnTo>
                  <a:lnTo>
                    <a:pt x="216" y="201"/>
                  </a:lnTo>
                  <a:lnTo>
                    <a:pt x="218" y="202"/>
                  </a:lnTo>
                  <a:lnTo>
                    <a:pt x="220" y="204"/>
                  </a:lnTo>
                  <a:lnTo>
                    <a:pt x="221" y="206"/>
                  </a:lnTo>
                  <a:lnTo>
                    <a:pt x="221" y="208"/>
                  </a:lnTo>
                  <a:lnTo>
                    <a:pt x="223" y="208"/>
                  </a:lnTo>
                  <a:lnTo>
                    <a:pt x="225" y="211"/>
                  </a:lnTo>
                  <a:lnTo>
                    <a:pt x="223" y="213"/>
                  </a:lnTo>
                  <a:lnTo>
                    <a:pt x="223" y="214"/>
                  </a:lnTo>
                  <a:lnTo>
                    <a:pt x="221" y="214"/>
                  </a:lnTo>
                  <a:lnTo>
                    <a:pt x="220" y="216"/>
                  </a:lnTo>
                  <a:lnTo>
                    <a:pt x="218" y="216"/>
                  </a:lnTo>
                  <a:lnTo>
                    <a:pt x="218" y="218"/>
                  </a:lnTo>
                  <a:lnTo>
                    <a:pt x="216" y="218"/>
                  </a:lnTo>
                  <a:lnTo>
                    <a:pt x="213" y="220"/>
                  </a:lnTo>
                  <a:lnTo>
                    <a:pt x="211" y="220"/>
                  </a:lnTo>
                  <a:lnTo>
                    <a:pt x="209" y="220"/>
                  </a:lnTo>
                  <a:lnTo>
                    <a:pt x="209" y="218"/>
                  </a:lnTo>
                  <a:lnTo>
                    <a:pt x="209" y="216"/>
                  </a:lnTo>
                  <a:lnTo>
                    <a:pt x="211" y="216"/>
                  </a:lnTo>
                  <a:lnTo>
                    <a:pt x="211" y="214"/>
                  </a:lnTo>
                  <a:lnTo>
                    <a:pt x="213" y="216"/>
                  </a:lnTo>
                  <a:lnTo>
                    <a:pt x="211" y="218"/>
                  </a:lnTo>
                  <a:lnTo>
                    <a:pt x="211" y="220"/>
                  </a:lnTo>
                  <a:lnTo>
                    <a:pt x="213" y="218"/>
                  </a:lnTo>
                  <a:lnTo>
                    <a:pt x="213" y="216"/>
                  </a:lnTo>
                  <a:lnTo>
                    <a:pt x="214" y="216"/>
                  </a:lnTo>
                  <a:lnTo>
                    <a:pt x="216" y="216"/>
                  </a:lnTo>
                  <a:lnTo>
                    <a:pt x="216" y="214"/>
                  </a:lnTo>
                  <a:lnTo>
                    <a:pt x="218" y="214"/>
                  </a:lnTo>
                  <a:lnTo>
                    <a:pt x="218" y="213"/>
                  </a:lnTo>
                  <a:lnTo>
                    <a:pt x="214" y="211"/>
                  </a:lnTo>
                  <a:lnTo>
                    <a:pt x="214" y="208"/>
                  </a:lnTo>
                  <a:lnTo>
                    <a:pt x="213" y="206"/>
                  </a:lnTo>
                  <a:lnTo>
                    <a:pt x="211" y="204"/>
                  </a:lnTo>
                  <a:lnTo>
                    <a:pt x="209" y="204"/>
                  </a:lnTo>
                  <a:lnTo>
                    <a:pt x="208" y="204"/>
                  </a:lnTo>
                  <a:lnTo>
                    <a:pt x="204" y="204"/>
                  </a:lnTo>
                  <a:lnTo>
                    <a:pt x="203" y="202"/>
                  </a:lnTo>
                  <a:lnTo>
                    <a:pt x="199" y="202"/>
                  </a:lnTo>
                  <a:lnTo>
                    <a:pt x="199" y="206"/>
                  </a:lnTo>
                  <a:lnTo>
                    <a:pt x="201" y="206"/>
                  </a:lnTo>
                  <a:lnTo>
                    <a:pt x="197" y="208"/>
                  </a:lnTo>
                  <a:lnTo>
                    <a:pt x="196" y="208"/>
                  </a:lnTo>
                  <a:lnTo>
                    <a:pt x="194" y="209"/>
                  </a:lnTo>
                  <a:lnTo>
                    <a:pt x="194" y="211"/>
                  </a:lnTo>
                  <a:lnTo>
                    <a:pt x="196" y="214"/>
                  </a:lnTo>
                  <a:lnTo>
                    <a:pt x="197" y="216"/>
                  </a:lnTo>
                  <a:lnTo>
                    <a:pt x="197" y="218"/>
                  </a:lnTo>
                  <a:lnTo>
                    <a:pt x="199" y="216"/>
                  </a:lnTo>
                  <a:lnTo>
                    <a:pt x="197" y="214"/>
                  </a:lnTo>
                  <a:lnTo>
                    <a:pt x="199" y="214"/>
                  </a:lnTo>
                  <a:lnTo>
                    <a:pt x="199" y="216"/>
                  </a:lnTo>
                  <a:lnTo>
                    <a:pt x="201" y="216"/>
                  </a:lnTo>
                  <a:lnTo>
                    <a:pt x="201" y="218"/>
                  </a:lnTo>
                  <a:lnTo>
                    <a:pt x="203" y="220"/>
                  </a:lnTo>
                  <a:lnTo>
                    <a:pt x="203" y="218"/>
                  </a:lnTo>
                  <a:lnTo>
                    <a:pt x="204" y="220"/>
                  </a:lnTo>
                  <a:lnTo>
                    <a:pt x="206" y="220"/>
                  </a:lnTo>
                  <a:lnTo>
                    <a:pt x="206" y="223"/>
                  </a:lnTo>
                  <a:lnTo>
                    <a:pt x="206" y="225"/>
                  </a:lnTo>
                  <a:lnTo>
                    <a:pt x="204" y="225"/>
                  </a:lnTo>
                  <a:lnTo>
                    <a:pt x="206" y="226"/>
                  </a:lnTo>
                  <a:lnTo>
                    <a:pt x="208" y="226"/>
                  </a:lnTo>
                  <a:lnTo>
                    <a:pt x="208" y="225"/>
                  </a:lnTo>
                  <a:lnTo>
                    <a:pt x="209" y="223"/>
                  </a:lnTo>
                  <a:lnTo>
                    <a:pt x="211" y="223"/>
                  </a:lnTo>
                  <a:lnTo>
                    <a:pt x="211" y="225"/>
                  </a:lnTo>
                  <a:lnTo>
                    <a:pt x="209" y="226"/>
                  </a:lnTo>
                  <a:lnTo>
                    <a:pt x="208" y="228"/>
                  </a:lnTo>
                  <a:lnTo>
                    <a:pt x="208" y="230"/>
                  </a:lnTo>
                  <a:lnTo>
                    <a:pt x="208" y="231"/>
                  </a:lnTo>
                  <a:lnTo>
                    <a:pt x="204" y="231"/>
                  </a:lnTo>
                  <a:lnTo>
                    <a:pt x="204" y="233"/>
                  </a:lnTo>
                  <a:lnTo>
                    <a:pt x="203" y="233"/>
                  </a:lnTo>
                  <a:lnTo>
                    <a:pt x="201" y="233"/>
                  </a:lnTo>
                  <a:lnTo>
                    <a:pt x="199" y="237"/>
                  </a:lnTo>
                  <a:lnTo>
                    <a:pt x="197" y="238"/>
                  </a:lnTo>
                  <a:lnTo>
                    <a:pt x="196" y="238"/>
                  </a:lnTo>
                  <a:lnTo>
                    <a:pt x="192" y="238"/>
                  </a:lnTo>
                  <a:lnTo>
                    <a:pt x="191" y="238"/>
                  </a:lnTo>
                  <a:lnTo>
                    <a:pt x="189" y="237"/>
                  </a:lnTo>
                  <a:lnTo>
                    <a:pt x="187" y="237"/>
                  </a:lnTo>
                  <a:lnTo>
                    <a:pt x="186" y="238"/>
                  </a:lnTo>
                  <a:lnTo>
                    <a:pt x="184" y="240"/>
                  </a:lnTo>
                  <a:lnTo>
                    <a:pt x="186" y="240"/>
                  </a:lnTo>
                  <a:lnTo>
                    <a:pt x="184" y="242"/>
                  </a:lnTo>
                  <a:lnTo>
                    <a:pt x="186" y="240"/>
                  </a:lnTo>
                  <a:lnTo>
                    <a:pt x="184" y="242"/>
                  </a:lnTo>
                  <a:lnTo>
                    <a:pt x="186" y="243"/>
                  </a:lnTo>
                  <a:lnTo>
                    <a:pt x="187" y="243"/>
                  </a:lnTo>
                  <a:lnTo>
                    <a:pt x="187" y="242"/>
                  </a:lnTo>
                  <a:lnTo>
                    <a:pt x="187" y="243"/>
                  </a:lnTo>
                  <a:lnTo>
                    <a:pt x="189" y="242"/>
                  </a:lnTo>
                  <a:lnTo>
                    <a:pt x="192" y="242"/>
                  </a:lnTo>
                  <a:lnTo>
                    <a:pt x="192" y="240"/>
                  </a:lnTo>
                  <a:lnTo>
                    <a:pt x="194" y="242"/>
                  </a:lnTo>
                  <a:lnTo>
                    <a:pt x="197" y="245"/>
                  </a:lnTo>
                  <a:lnTo>
                    <a:pt x="199" y="245"/>
                  </a:lnTo>
                  <a:lnTo>
                    <a:pt x="201" y="243"/>
                  </a:lnTo>
                  <a:lnTo>
                    <a:pt x="201" y="245"/>
                  </a:lnTo>
                  <a:lnTo>
                    <a:pt x="203" y="245"/>
                  </a:lnTo>
                  <a:lnTo>
                    <a:pt x="204" y="243"/>
                  </a:lnTo>
                  <a:lnTo>
                    <a:pt x="208" y="245"/>
                  </a:lnTo>
                  <a:lnTo>
                    <a:pt x="209" y="245"/>
                  </a:lnTo>
                  <a:lnTo>
                    <a:pt x="211" y="245"/>
                  </a:lnTo>
                  <a:lnTo>
                    <a:pt x="213" y="243"/>
                  </a:lnTo>
                  <a:lnTo>
                    <a:pt x="214" y="247"/>
                  </a:lnTo>
                  <a:lnTo>
                    <a:pt x="214" y="248"/>
                  </a:lnTo>
                  <a:lnTo>
                    <a:pt x="218" y="252"/>
                  </a:lnTo>
                  <a:lnTo>
                    <a:pt x="216" y="252"/>
                  </a:lnTo>
                  <a:lnTo>
                    <a:pt x="220" y="250"/>
                  </a:lnTo>
                  <a:lnTo>
                    <a:pt x="218" y="252"/>
                  </a:lnTo>
                  <a:lnTo>
                    <a:pt x="220" y="252"/>
                  </a:lnTo>
                  <a:lnTo>
                    <a:pt x="220" y="250"/>
                  </a:lnTo>
                  <a:lnTo>
                    <a:pt x="223" y="250"/>
                  </a:lnTo>
                  <a:lnTo>
                    <a:pt x="221" y="248"/>
                  </a:lnTo>
                  <a:lnTo>
                    <a:pt x="223" y="247"/>
                  </a:lnTo>
                  <a:lnTo>
                    <a:pt x="225" y="248"/>
                  </a:lnTo>
                  <a:lnTo>
                    <a:pt x="226" y="250"/>
                  </a:lnTo>
                  <a:lnTo>
                    <a:pt x="228" y="248"/>
                  </a:lnTo>
                  <a:lnTo>
                    <a:pt x="230" y="248"/>
                  </a:lnTo>
                  <a:lnTo>
                    <a:pt x="231" y="252"/>
                  </a:lnTo>
                  <a:lnTo>
                    <a:pt x="230" y="254"/>
                  </a:lnTo>
                  <a:lnTo>
                    <a:pt x="228" y="255"/>
                  </a:lnTo>
                  <a:lnTo>
                    <a:pt x="230" y="254"/>
                  </a:lnTo>
                  <a:lnTo>
                    <a:pt x="231" y="257"/>
                  </a:lnTo>
                  <a:lnTo>
                    <a:pt x="235" y="257"/>
                  </a:lnTo>
                  <a:lnTo>
                    <a:pt x="231" y="257"/>
                  </a:lnTo>
                  <a:lnTo>
                    <a:pt x="231" y="259"/>
                  </a:lnTo>
                  <a:lnTo>
                    <a:pt x="233" y="259"/>
                  </a:lnTo>
                  <a:lnTo>
                    <a:pt x="237" y="257"/>
                  </a:lnTo>
                  <a:lnTo>
                    <a:pt x="237" y="259"/>
                  </a:lnTo>
                  <a:lnTo>
                    <a:pt x="240" y="257"/>
                  </a:lnTo>
                  <a:lnTo>
                    <a:pt x="243" y="259"/>
                  </a:lnTo>
                  <a:lnTo>
                    <a:pt x="243" y="255"/>
                  </a:lnTo>
                  <a:lnTo>
                    <a:pt x="245" y="255"/>
                  </a:lnTo>
                  <a:lnTo>
                    <a:pt x="245" y="257"/>
                  </a:lnTo>
                  <a:lnTo>
                    <a:pt x="247" y="259"/>
                  </a:lnTo>
                  <a:lnTo>
                    <a:pt x="247" y="260"/>
                  </a:lnTo>
                  <a:lnTo>
                    <a:pt x="248" y="260"/>
                  </a:lnTo>
                  <a:lnTo>
                    <a:pt x="248" y="262"/>
                  </a:lnTo>
                  <a:lnTo>
                    <a:pt x="250" y="262"/>
                  </a:lnTo>
                  <a:lnTo>
                    <a:pt x="250" y="264"/>
                  </a:lnTo>
                  <a:lnTo>
                    <a:pt x="252" y="265"/>
                  </a:lnTo>
                  <a:lnTo>
                    <a:pt x="255" y="267"/>
                  </a:lnTo>
                  <a:lnTo>
                    <a:pt x="257" y="265"/>
                  </a:lnTo>
                  <a:lnTo>
                    <a:pt x="257" y="267"/>
                  </a:lnTo>
                  <a:lnTo>
                    <a:pt x="259" y="265"/>
                  </a:lnTo>
                  <a:lnTo>
                    <a:pt x="260" y="267"/>
                  </a:lnTo>
                  <a:lnTo>
                    <a:pt x="260" y="265"/>
                  </a:lnTo>
                  <a:lnTo>
                    <a:pt x="262" y="267"/>
                  </a:lnTo>
                  <a:lnTo>
                    <a:pt x="264" y="267"/>
                  </a:lnTo>
                  <a:lnTo>
                    <a:pt x="265" y="267"/>
                  </a:lnTo>
                  <a:lnTo>
                    <a:pt x="267" y="267"/>
                  </a:lnTo>
                  <a:lnTo>
                    <a:pt x="269" y="267"/>
                  </a:lnTo>
                  <a:lnTo>
                    <a:pt x="271" y="269"/>
                  </a:lnTo>
                  <a:lnTo>
                    <a:pt x="272" y="271"/>
                  </a:lnTo>
                  <a:lnTo>
                    <a:pt x="274" y="271"/>
                  </a:lnTo>
                  <a:lnTo>
                    <a:pt x="276" y="271"/>
                  </a:lnTo>
                  <a:lnTo>
                    <a:pt x="276" y="272"/>
                  </a:lnTo>
                  <a:lnTo>
                    <a:pt x="277" y="272"/>
                  </a:lnTo>
                  <a:lnTo>
                    <a:pt x="277" y="274"/>
                  </a:lnTo>
                  <a:lnTo>
                    <a:pt x="277" y="276"/>
                  </a:lnTo>
                  <a:lnTo>
                    <a:pt x="277" y="277"/>
                  </a:lnTo>
                  <a:lnTo>
                    <a:pt x="277" y="276"/>
                  </a:lnTo>
                  <a:lnTo>
                    <a:pt x="276" y="277"/>
                  </a:lnTo>
                  <a:lnTo>
                    <a:pt x="274" y="277"/>
                  </a:lnTo>
                  <a:lnTo>
                    <a:pt x="274" y="279"/>
                  </a:lnTo>
                  <a:lnTo>
                    <a:pt x="276" y="282"/>
                  </a:lnTo>
                  <a:lnTo>
                    <a:pt x="276" y="284"/>
                  </a:lnTo>
                  <a:lnTo>
                    <a:pt x="276" y="286"/>
                  </a:lnTo>
                  <a:lnTo>
                    <a:pt x="277" y="288"/>
                  </a:lnTo>
                  <a:lnTo>
                    <a:pt x="277" y="291"/>
                  </a:lnTo>
                  <a:lnTo>
                    <a:pt x="277" y="293"/>
                  </a:lnTo>
                  <a:lnTo>
                    <a:pt x="279" y="293"/>
                  </a:lnTo>
                  <a:lnTo>
                    <a:pt x="281" y="294"/>
                  </a:lnTo>
                  <a:lnTo>
                    <a:pt x="277" y="294"/>
                  </a:lnTo>
                  <a:lnTo>
                    <a:pt x="279" y="296"/>
                  </a:lnTo>
                  <a:lnTo>
                    <a:pt x="281" y="296"/>
                  </a:lnTo>
                  <a:lnTo>
                    <a:pt x="281" y="298"/>
                  </a:lnTo>
                  <a:lnTo>
                    <a:pt x="282" y="298"/>
                  </a:lnTo>
                  <a:lnTo>
                    <a:pt x="281" y="299"/>
                  </a:lnTo>
                  <a:lnTo>
                    <a:pt x="284" y="301"/>
                  </a:lnTo>
                  <a:lnTo>
                    <a:pt x="284" y="303"/>
                  </a:lnTo>
                  <a:lnTo>
                    <a:pt x="284" y="305"/>
                  </a:lnTo>
                  <a:lnTo>
                    <a:pt x="282" y="306"/>
                  </a:lnTo>
                  <a:lnTo>
                    <a:pt x="284" y="308"/>
                  </a:lnTo>
                  <a:lnTo>
                    <a:pt x="284" y="310"/>
                  </a:lnTo>
                  <a:lnTo>
                    <a:pt x="282" y="311"/>
                  </a:lnTo>
                  <a:lnTo>
                    <a:pt x="279" y="311"/>
                  </a:lnTo>
                  <a:lnTo>
                    <a:pt x="277" y="311"/>
                  </a:lnTo>
                  <a:lnTo>
                    <a:pt x="277" y="308"/>
                  </a:lnTo>
                  <a:lnTo>
                    <a:pt x="276" y="308"/>
                  </a:lnTo>
                  <a:lnTo>
                    <a:pt x="274" y="306"/>
                  </a:lnTo>
                  <a:lnTo>
                    <a:pt x="274" y="305"/>
                  </a:lnTo>
                  <a:lnTo>
                    <a:pt x="272" y="303"/>
                  </a:lnTo>
                  <a:lnTo>
                    <a:pt x="269" y="301"/>
                  </a:lnTo>
                  <a:lnTo>
                    <a:pt x="269" y="303"/>
                  </a:lnTo>
                  <a:lnTo>
                    <a:pt x="269" y="301"/>
                  </a:lnTo>
                  <a:lnTo>
                    <a:pt x="267" y="303"/>
                  </a:lnTo>
                  <a:lnTo>
                    <a:pt x="265" y="303"/>
                  </a:lnTo>
                  <a:lnTo>
                    <a:pt x="265" y="305"/>
                  </a:lnTo>
                  <a:lnTo>
                    <a:pt x="265" y="303"/>
                  </a:lnTo>
                  <a:lnTo>
                    <a:pt x="265" y="301"/>
                  </a:lnTo>
                  <a:lnTo>
                    <a:pt x="264" y="301"/>
                  </a:lnTo>
                  <a:lnTo>
                    <a:pt x="264" y="299"/>
                  </a:lnTo>
                  <a:lnTo>
                    <a:pt x="262" y="299"/>
                  </a:lnTo>
                  <a:lnTo>
                    <a:pt x="262" y="296"/>
                  </a:lnTo>
                  <a:lnTo>
                    <a:pt x="259" y="296"/>
                  </a:lnTo>
                  <a:lnTo>
                    <a:pt x="259" y="294"/>
                  </a:lnTo>
                  <a:lnTo>
                    <a:pt x="257" y="296"/>
                  </a:lnTo>
                  <a:lnTo>
                    <a:pt x="255" y="296"/>
                  </a:lnTo>
                  <a:lnTo>
                    <a:pt x="257" y="294"/>
                  </a:lnTo>
                  <a:lnTo>
                    <a:pt x="255" y="296"/>
                  </a:lnTo>
                  <a:lnTo>
                    <a:pt x="254" y="294"/>
                  </a:lnTo>
                  <a:lnTo>
                    <a:pt x="255" y="294"/>
                  </a:lnTo>
                  <a:lnTo>
                    <a:pt x="254" y="294"/>
                  </a:lnTo>
                  <a:lnTo>
                    <a:pt x="252" y="294"/>
                  </a:lnTo>
                  <a:lnTo>
                    <a:pt x="252" y="293"/>
                  </a:lnTo>
                  <a:lnTo>
                    <a:pt x="254" y="291"/>
                  </a:lnTo>
                  <a:lnTo>
                    <a:pt x="254" y="289"/>
                  </a:lnTo>
                  <a:lnTo>
                    <a:pt x="252" y="289"/>
                  </a:lnTo>
                  <a:lnTo>
                    <a:pt x="250" y="289"/>
                  </a:lnTo>
                  <a:lnTo>
                    <a:pt x="248" y="289"/>
                  </a:lnTo>
                  <a:lnTo>
                    <a:pt x="247" y="291"/>
                  </a:lnTo>
                  <a:lnTo>
                    <a:pt x="245" y="291"/>
                  </a:lnTo>
                  <a:lnTo>
                    <a:pt x="243" y="294"/>
                  </a:lnTo>
                  <a:lnTo>
                    <a:pt x="242" y="294"/>
                  </a:lnTo>
                  <a:lnTo>
                    <a:pt x="243" y="296"/>
                  </a:lnTo>
                  <a:lnTo>
                    <a:pt x="240" y="296"/>
                  </a:lnTo>
                  <a:lnTo>
                    <a:pt x="238" y="296"/>
                  </a:lnTo>
                  <a:lnTo>
                    <a:pt x="237" y="296"/>
                  </a:lnTo>
                  <a:lnTo>
                    <a:pt x="235" y="296"/>
                  </a:lnTo>
                  <a:lnTo>
                    <a:pt x="231" y="299"/>
                  </a:lnTo>
                  <a:lnTo>
                    <a:pt x="230" y="299"/>
                  </a:lnTo>
                  <a:lnTo>
                    <a:pt x="230" y="301"/>
                  </a:lnTo>
                  <a:lnTo>
                    <a:pt x="226" y="303"/>
                  </a:lnTo>
                  <a:lnTo>
                    <a:pt x="225" y="303"/>
                  </a:lnTo>
                  <a:lnTo>
                    <a:pt x="223" y="303"/>
                  </a:lnTo>
                  <a:lnTo>
                    <a:pt x="223" y="305"/>
                  </a:lnTo>
                  <a:lnTo>
                    <a:pt x="221" y="306"/>
                  </a:lnTo>
                  <a:lnTo>
                    <a:pt x="223" y="308"/>
                  </a:lnTo>
                  <a:lnTo>
                    <a:pt x="226" y="308"/>
                  </a:lnTo>
                  <a:lnTo>
                    <a:pt x="228" y="308"/>
                  </a:lnTo>
                  <a:lnTo>
                    <a:pt x="230" y="308"/>
                  </a:lnTo>
                  <a:lnTo>
                    <a:pt x="231" y="310"/>
                  </a:lnTo>
                  <a:lnTo>
                    <a:pt x="233" y="310"/>
                  </a:lnTo>
                  <a:lnTo>
                    <a:pt x="233" y="311"/>
                  </a:lnTo>
                  <a:lnTo>
                    <a:pt x="231" y="313"/>
                  </a:lnTo>
                  <a:lnTo>
                    <a:pt x="230" y="313"/>
                  </a:lnTo>
                  <a:lnTo>
                    <a:pt x="230" y="315"/>
                  </a:lnTo>
                  <a:lnTo>
                    <a:pt x="233" y="316"/>
                  </a:lnTo>
                  <a:lnTo>
                    <a:pt x="233" y="320"/>
                  </a:lnTo>
                  <a:lnTo>
                    <a:pt x="235" y="320"/>
                  </a:lnTo>
                  <a:lnTo>
                    <a:pt x="235" y="323"/>
                  </a:lnTo>
                  <a:lnTo>
                    <a:pt x="238" y="325"/>
                  </a:lnTo>
                  <a:lnTo>
                    <a:pt x="240" y="325"/>
                  </a:lnTo>
                  <a:lnTo>
                    <a:pt x="242" y="327"/>
                  </a:lnTo>
                  <a:lnTo>
                    <a:pt x="243" y="327"/>
                  </a:lnTo>
                  <a:lnTo>
                    <a:pt x="245" y="327"/>
                  </a:lnTo>
                  <a:lnTo>
                    <a:pt x="247" y="325"/>
                  </a:lnTo>
                  <a:lnTo>
                    <a:pt x="247" y="323"/>
                  </a:lnTo>
                  <a:lnTo>
                    <a:pt x="243" y="322"/>
                  </a:lnTo>
                  <a:lnTo>
                    <a:pt x="242" y="322"/>
                  </a:lnTo>
                  <a:lnTo>
                    <a:pt x="243" y="322"/>
                  </a:lnTo>
                  <a:lnTo>
                    <a:pt x="245" y="320"/>
                  </a:lnTo>
                  <a:lnTo>
                    <a:pt x="247" y="320"/>
                  </a:lnTo>
                  <a:lnTo>
                    <a:pt x="248" y="322"/>
                  </a:lnTo>
                  <a:lnTo>
                    <a:pt x="247" y="323"/>
                  </a:lnTo>
                  <a:lnTo>
                    <a:pt x="248" y="325"/>
                  </a:lnTo>
                  <a:lnTo>
                    <a:pt x="247" y="325"/>
                  </a:lnTo>
                  <a:lnTo>
                    <a:pt x="250" y="327"/>
                  </a:lnTo>
                  <a:lnTo>
                    <a:pt x="248" y="328"/>
                  </a:lnTo>
                  <a:lnTo>
                    <a:pt x="252" y="328"/>
                  </a:lnTo>
                  <a:lnTo>
                    <a:pt x="254" y="328"/>
                  </a:lnTo>
                  <a:lnTo>
                    <a:pt x="257" y="330"/>
                  </a:lnTo>
                  <a:lnTo>
                    <a:pt x="257" y="332"/>
                  </a:lnTo>
                  <a:lnTo>
                    <a:pt x="255" y="333"/>
                  </a:lnTo>
                  <a:lnTo>
                    <a:pt x="254" y="335"/>
                  </a:lnTo>
                  <a:lnTo>
                    <a:pt x="252" y="335"/>
                  </a:lnTo>
                  <a:lnTo>
                    <a:pt x="250" y="335"/>
                  </a:lnTo>
                  <a:lnTo>
                    <a:pt x="247" y="335"/>
                  </a:lnTo>
                  <a:lnTo>
                    <a:pt x="245" y="337"/>
                  </a:lnTo>
                  <a:lnTo>
                    <a:pt x="243" y="337"/>
                  </a:lnTo>
                  <a:lnTo>
                    <a:pt x="242" y="339"/>
                  </a:lnTo>
                  <a:lnTo>
                    <a:pt x="243" y="339"/>
                  </a:lnTo>
                  <a:lnTo>
                    <a:pt x="242" y="340"/>
                  </a:lnTo>
                  <a:lnTo>
                    <a:pt x="243" y="340"/>
                  </a:lnTo>
                  <a:lnTo>
                    <a:pt x="245" y="342"/>
                  </a:lnTo>
                  <a:lnTo>
                    <a:pt x="242" y="342"/>
                  </a:lnTo>
                  <a:lnTo>
                    <a:pt x="240" y="342"/>
                  </a:lnTo>
                  <a:lnTo>
                    <a:pt x="240" y="344"/>
                  </a:lnTo>
                  <a:lnTo>
                    <a:pt x="240" y="345"/>
                  </a:lnTo>
                  <a:lnTo>
                    <a:pt x="240" y="347"/>
                  </a:lnTo>
                  <a:lnTo>
                    <a:pt x="237" y="345"/>
                  </a:lnTo>
                  <a:lnTo>
                    <a:pt x="238" y="344"/>
                  </a:lnTo>
                  <a:lnTo>
                    <a:pt x="237" y="345"/>
                  </a:lnTo>
                  <a:lnTo>
                    <a:pt x="235" y="344"/>
                  </a:lnTo>
                  <a:lnTo>
                    <a:pt x="237" y="344"/>
                  </a:lnTo>
                  <a:lnTo>
                    <a:pt x="235" y="342"/>
                  </a:lnTo>
                  <a:lnTo>
                    <a:pt x="233" y="344"/>
                  </a:lnTo>
                  <a:lnTo>
                    <a:pt x="231" y="340"/>
                  </a:lnTo>
                  <a:lnTo>
                    <a:pt x="233" y="340"/>
                  </a:lnTo>
                  <a:lnTo>
                    <a:pt x="235" y="337"/>
                  </a:lnTo>
                  <a:lnTo>
                    <a:pt x="237" y="337"/>
                  </a:lnTo>
                  <a:lnTo>
                    <a:pt x="235" y="335"/>
                  </a:lnTo>
                  <a:lnTo>
                    <a:pt x="233" y="335"/>
                  </a:lnTo>
                  <a:lnTo>
                    <a:pt x="231" y="335"/>
                  </a:lnTo>
                  <a:lnTo>
                    <a:pt x="230" y="333"/>
                  </a:lnTo>
                  <a:lnTo>
                    <a:pt x="228" y="335"/>
                  </a:lnTo>
                  <a:lnTo>
                    <a:pt x="226" y="335"/>
                  </a:lnTo>
                  <a:lnTo>
                    <a:pt x="225" y="332"/>
                  </a:lnTo>
                  <a:lnTo>
                    <a:pt x="223" y="332"/>
                  </a:lnTo>
                  <a:lnTo>
                    <a:pt x="221" y="332"/>
                  </a:lnTo>
                  <a:lnTo>
                    <a:pt x="223" y="332"/>
                  </a:lnTo>
                  <a:lnTo>
                    <a:pt x="221" y="332"/>
                  </a:lnTo>
                  <a:lnTo>
                    <a:pt x="218" y="333"/>
                  </a:lnTo>
                  <a:lnTo>
                    <a:pt x="216" y="333"/>
                  </a:lnTo>
                  <a:lnTo>
                    <a:pt x="216" y="332"/>
                  </a:lnTo>
                  <a:lnTo>
                    <a:pt x="214" y="330"/>
                  </a:lnTo>
                  <a:lnTo>
                    <a:pt x="213" y="328"/>
                  </a:lnTo>
                  <a:lnTo>
                    <a:pt x="211" y="330"/>
                  </a:lnTo>
                  <a:lnTo>
                    <a:pt x="209" y="332"/>
                  </a:lnTo>
                  <a:lnTo>
                    <a:pt x="211" y="333"/>
                  </a:lnTo>
                  <a:lnTo>
                    <a:pt x="211" y="335"/>
                  </a:lnTo>
                  <a:lnTo>
                    <a:pt x="211" y="337"/>
                  </a:lnTo>
                  <a:lnTo>
                    <a:pt x="213" y="339"/>
                  </a:lnTo>
                  <a:lnTo>
                    <a:pt x="213" y="340"/>
                  </a:lnTo>
                  <a:lnTo>
                    <a:pt x="214" y="340"/>
                  </a:lnTo>
                  <a:lnTo>
                    <a:pt x="214" y="344"/>
                  </a:lnTo>
                  <a:lnTo>
                    <a:pt x="216" y="344"/>
                  </a:lnTo>
                  <a:lnTo>
                    <a:pt x="218" y="345"/>
                  </a:lnTo>
                  <a:lnTo>
                    <a:pt x="218" y="347"/>
                  </a:lnTo>
                  <a:lnTo>
                    <a:pt x="220" y="347"/>
                  </a:lnTo>
                  <a:lnTo>
                    <a:pt x="220" y="349"/>
                  </a:lnTo>
                  <a:lnTo>
                    <a:pt x="221" y="350"/>
                  </a:lnTo>
                  <a:lnTo>
                    <a:pt x="221" y="352"/>
                  </a:lnTo>
                  <a:lnTo>
                    <a:pt x="223" y="352"/>
                  </a:lnTo>
                  <a:lnTo>
                    <a:pt x="225" y="354"/>
                  </a:lnTo>
                  <a:lnTo>
                    <a:pt x="225" y="356"/>
                  </a:lnTo>
                  <a:lnTo>
                    <a:pt x="226" y="356"/>
                  </a:lnTo>
                  <a:lnTo>
                    <a:pt x="225" y="357"/>
                  </a:lnTo>
                  <a:lnTo>
                    <a:pt x="225" y="359"/>
                  </a:lnTo>
                  <a:lnTo>
                    <a:pt x="226" y="361"/>
                  </a:lnTo>
                  <a:lnTo>
                    <a:pt x="226" y="362"/>
                  </a:lnTo>
                  <a:lnTo>
                    <a:pt x="230" y="361"/>
                  </a:lnTo>
                  <a:lnTo>
                    <a:pt x="230" y="362"/>
                  </a:lnTo>
                  <a:lnTo>
                    <a:pt x="231" y="362"/>
                  </a:lnTo>
                  <a:lnTo>
                    <a:pt x="231" y="364"/>
                  </a:lnTo>
                  <a:lnTo>
                    <a:pt x="230" y="364"/>
                  </a:lnTo>
                  <a:lnTo>
                    <a:pt x="233" y="366"/>
                  </a:lnTo>
                  <a:lnTo>
                    <a:pt x="233" y="368"/>
                  </a:lnTo>
                  <a:lnTo>
                    <a:pt x="233" y="369"/>
                  </a:lnTo>
                  <a:lnTo>
                    <a:pt x="233" y="371"/>
                  </a:lnTo>
                  <a:lnTo>
                    <a:pt x="235" y="373"/>
                  </a:lnTo>
                  <a:lnTo>
                    <a:pt x="237" y="374"/>
                  </a:lnTo>
                  <a:lnTo>
                    <a:pt x="237" y="376"/>
                  </a:lnTo>
                  <a:lnTo>
                    <a:pt x="238" y="378"/>
                  </a:lnTo>
                  <a:lnTo>
                    <a:pt x="237" y="378"/>
                  </a:lnTo>
                  <a:lnTo>
                    <a:pt x="238" y="379"/>
                  </a:lnTo>
                  <a:lnTo>
                    <a:pt x="240" y="381"/>
                  </a:lnTo>
                  <a:lnTo>
                    <a:pt x="242" y="383"/>
                  </a:lnTo>
                  <a:lnTo>
                    <a:pt x="240" y="383"/>
                  </a:lnTo>
                  <a:lnTo>
                    <a:pt x="243" y="383"/>
                  </a:lnTo>
                  <a:lnTo>
                    <a:pt x="242" y="385"/>
                  </a:lnTo>
                  <a:lnTo>
                    <a:pt x="242" y="388"/>
                  </a:lnTo>
                  <a:lnTo>
                    <a:pt x="240" y="386"/>
                  </a:lnTo>
                  <a:lnTo>
                    <a:pt x="238" y="388"/>
                  </a:lnTo>
                  <a:lnTo>
                    <a:pt x="240" y="390"/>
                  </a:lnTo>
                  <a:lnTo>
                    <a:pt x="240" y="391"/>
                  </a:lnTo>
                  <a:lnTo>
                    <a:pt x="240" y="393"/>
                  </a:lnTo>
                  <a:lnTo>
                    <a:pt x="240" y="395"/>
                  </a:lnTo>
                  <a:lnTo>
                    <a:pt x="242" y="396"/>
                  </a:lnTo>
                  <a:lnTo>
                    <a:pt x="243" y="398"/>
                  </a:lnTo>
                  <a:lnTo>
                    <a:pt x="245" y="398"/>
                  </a:lnTo>
                  <a:lnTo>
                    <a:pt x="247" y="398"/>
                  </a:lnTo>
                  <a:lnTo>
                    <a:pt x="248" y="400"/>
                  </a:lnTo>
                  <a:lnTo>
                    <a:pt x="247" y="403"/>
                  </a:lnTo>
                  <a:lnTo>
                    <a:pt x="250" y="403"/>
                  </a:lnTo>
                  <a:lnTo>
                    <a:pt x="250" y="405"/>
                  </a:lnTo>
                  <a:lnTo>
                    <a:pt x="252" y="405"/>
                  </a:lnTo>
                  <a:lnTo>
                    <a:pt x="252" y="407"/>
                  </a:lnTo>
                  <a:lnTo>
                    <a:pt x="248" y="407"/>
                  </a:lnTo>
                  <a:lnTo>
                    <a:pt x="248" y="408"/>
                  </a:lnTo>
                  <a:lnTo>
                    <a:pt x="245" y="408"/>
                  </a:lnTo>
                  <a:lnTo>
                    <a:pt x="243" y="405"/>
                  </a:lnTo>
                  <a:lnTo>
                    <a:pt x="243" y="403"/>
                  </a:lnTo>
                  <a:lnTo>
                    <a:pt x="242" y="402"/>
                  </a:lnTo>
                  <a:lnTo>
                    <a:pt x="240" y="402"/>
                  </a:lnTo>
                  <a:lnTo>
                    <a:pt x="238" y="403"/>
                  </a:lnTo>
                  <a:lnTo>
                    <a:pt x="237" y="402"/>
                  </a:lnTo>
                  <a:lnTo>
                    <a:pt x="235" y="400"/>
                  </a:lnTo>
                  <a:lnTo>
                    <a:pt x="233" y="398"/>
                  </a:lnTo>
                  <a:lnTo>
                    <a:pt x="231" y="398"/>
                  </a:lnTo>
                  <a:lnTo>
                    <a:pt x="231" y="396"/>
                  </a:lnTo>
                  <a:lnTo>
                    <a:pt x="231" y="395"/>
                  </a:lnTo>
                  <a:lnTo>
                    <a:pt x="230" y="395"/>
                  </a:lnTo>
                  <a:lnTo>
                    <a:pt x="228" y="393"/>
                  </a:lnTo>
                  <a:lnTo>
                    <a:pt x="228" y="395"/>
                  </a:lnTo>
                  <a:lnTo>
                    <a:pt x="226" y="395"/>
                  </a:lnTo>
                  <a:lnTo>
                    <a:pt x="226" y="391"/>
                  </a:lnTo>
                  <a:lnTo>
                    <a:pt x="225" y="388"/>
                  </a:lnTo>
                  <a:lnTo>
                    <a:pt x="225" y="386"/>
                  </a:lnTo>
                  <a:lnTo>
                    <a:pt x="223" y="385"/>
                  </a:lnTo>
                  <a:lnTo>
                    <a:pt x="221" y="385"/>
                  </a:lnTo>
                  <a:lnTo>
                    <a:pt x="218" y="386"/>
                  </a:lnTo>
                  <a:lnTo>
                    <a:pt x="216" y="386"/>
                  </a:lnTo>
                  <a:lnTo>
                    <a:pt x="214" y="386"/>
                  </a:lnTo>
                  <a:lnTo>
                    <a:pt x="213" y="388"/>
                  </a:lnTo>
                  <a:lnTo>
                    <a:pt x="211" y="390"/>
                  </a:lnTo>
                  <a:lnTo>
                    <a:pt x="213" y="391"/>
                  </a:lnTo>
                  <a:lnTo>
                    <a:pt x="211" y="393"/>
                  </a:lnTo>
                  <a:lnTo>
                    <a:pt x="209" y="395"/>
                  </a:lnTo>
                  <a:lnTo>
                    <a:pt x="209" y="396"/>
                  </a:lnTo>
                  <a:lnTo>
                    <a:pt x="211" y="396"/>
                  </a:lnTo>
                  <a:lnTo>
                    <a:pt x="213" y="398"/>
                  </a:lnTo>
                  <a:lnTo>
                    <a:pt x="211" y="398"/>
                  </a:lnTo>
                  <a:lnTo>
                    <a:pt x="209" y="396"/>
                  </a:lnTo>
                  <a:lnTo>
                    <a:pt x="209" y="398"/>
                  </a:lnTo>
                  <a:lnTo>
                    <a:pt x="211" y="400"/>
                  </a:lnTo>
                  <a:lnTo>
                    <a:pt x="211" y="402"/>
                  </a:lnTo>
                  <a:lnTo>
                    <a:pt x="209" y="402"/>
                  </a:lnTo>
                  <a:lnTo>
                    <a:pt x="208" y="402"/>
                  </a:lnTo>
                  <a:lnTo>
                    <a:pt x="208" y="403"/>
                  </a:lnTo>
                  <a:lnTo>
                    <a:pt x="209" y="405"/>
                  </a:lnTo>
                  <a:lnTo>
                    <a:pt x="209" y="408"/>
                  </a:lnTo>
                  <a:lnTo>
                    <a:pt x="211" y="410"/>
                  </a:lnTo>
                  <a:lnTo>
                    <a:pt x="211" y="413"/>
                  </a:lnTo>
                  <a:lnTo>
                    <a:pt x="211" y="415"/>
                  </a:lnTo>
                  <a:lnTo>
                    <a:pt x="213" y="417"/>
                  </a:lnTo>
                  <a:lnTo>
                    <a:pt x="211" y="419"/>
                  </a:lnTo>
                  <a:lnTo>
                    <a:pt x="211" y="417"/>
                  </a:lnTo>
                  <a:lnTo>
                    <a:pt x="211" y="415"/>
                  </a:lnTo>
                  <a:lnTo>
                    <a:pt x="209" y="413"/>
                  </a:lnTo>
                  <a:lnTo>
                    <a:pt x="208" y="413"/>
                  </a:lnTo>
                  <a:lnTo>
                    <a:pt x="206" y="412"/>
                  </a:lnTo>
                  <a:lnTo>
                    <a:pt x="206" y="413"/>
                  </a:lnTo>
                  <a:lnTo>
                    <a:pt x="204" y="412"/>
                  </a:lnTo>
                  <a:lnTo>
                    <a:pt x="203" y="410"/>
                  </a:lnTo>
                  <a:lnTo>
                    <a:pt x="203" y="407"/>
                  </a:lnTo>
                  <a:lnTo>
                    <a:pt x="204" y="408"/>
                  </a:lnTo>
                  <a:lnTo>
                    <a:pt x="204" y="405"/>
                  </a:lnTo>
                  <a:lnTo>
                    <a:pt x="203" y="405"/>
                  </a:lnTo>
                  <a:lnTo>
                    <a:pt x="204" y="403"/>
                  </a:lnTo>
                  <a:lnTo>
                    <a:pt x="203" y="403"/>
                  </a:lnTo>
                  <a:lnTo>
                    <a:pt x="203" y="402"/>
                  </a:lnTo>
                  <a:lnTo>
                    <a:pt x="201" y="402"/>
                  </a:lnTo>
                  <a:lnTo>
                    <a:pt x="203" y="400"/>
                  </a:lnTo>
                  <a:lnTo>
                    <a:pt x="201" y="400"/>
                  </a:lnTo>
                  <a:lnTo>
                    <a:pt x="203" y="396"/>
                  </a:lnTo>
                  <a:lnTo>
                    <a:pt x="199" y="396"/>
                  </a:lnTo>
                  <a:lnTo>
                    <a:pt x="199" y="395"/>
                  </a:lnTo>
                  <a:lnTo>
                    <a:pt x="197" y="391"/>
                  </a:lnTo>
                  <a:lnTo>
                    <a:pt x="196" y="391"/>
                  </a:lnTo>
                  <a:lnTo>
                    <a:pt x="196" y="390"/>
                  </a:lnTo>
                  <a:lnTo>
                    <a:pt x="192" y="388"/>
                  </a:lnTo>
                  <a:lnTo>
                    <a:pt x="192" y="386"/>
                  </a:lnTo>
                  <a:lnTo>
                    <a:pt x="191" y="385"/>
                  </a:lnTo>
                  <a:lnTo>
                    <a:pt x="189" y="383"/>
                  </a:lnTo>
                  <a:lnTo>
                    <a:pt x="187" y="385"/>
                  </a:lnTo>
                  <a:lnTo>
                    <a:pt x="184" y="383"/>
                  </a:lnTo>
                  <a:lnTo>
                    <a:pt x="186" y="383"/>
                  </a:lnTo>
                  <a:lnTo>
                    <a:pt x="186" y="379"/>
                  </a:lnTo>
                  <a:lnTo>
                    <a:pt x="186" y="378"/>
                  </a:lnTo>
                  <a:lnTo>
                    <a:pt x="184" y="376"/>
                  </a:lnTo>
                  <a:lnTo>
                    <a:pt x="182" y="376"/>
                  </a:lnTo>
                  <a:lnTo>
                    <a:pt x="180" y="376"/>
                  </a:lnTo>
                  <a:lnTo>
                    <a:pt x="179" y="376"/>
                  </a:lnTo>
                  <a:lnTo>
                    <a:pt x="177" y="378"/>
                  </a:lnTo>
                  <a:lnTo>
                    <a:pt x="175" y="378"/>
                  </a:lnTo>
                  <a:lnTo>
                    <a:pt x="174" y="379"/>
                  </a:lnTo>
                  <a:lnTo>
                    <a:pt x="172" y="381"/>
                  </a:lnTo>
                  <a:lnTo>
                    <a:pt x="172" y="383"/>
                  </a:lnTo>
                  <a:lnTo>
                    <a:pt x="174" y="385"/>
                  </a:lnTo>
                  <a:lnTo>
                    <a:pt x="174" y="386"/>
                  </a:lnTo>
                  <a:lnTo>
                    <a:pt x="174" y="390"/>
                  </a:lnTo>
                  <a:lnTo>
                    <a:pt x="174" y="391"/>
                  </a:lnTo>
                  <a:lnTo>
                    <a:pt x="175" y="393"/>
                  </a:lnTo>
                  <a:lnTo>
                    <a:pt x="177" y="393"/>
                  </a:lnTo>
                  <a:lnTo>
                    <a:pt x="175" y="395"/>
                  </a:lnTo>
                  <a:lnTo>
                    <a:pt x="175" y="396"/>
                  </a:lnTo>
                  <a:lnTo>
                    <a:pt x="174" y="398"/>
                  </a:lnTo>
                  <a:lnTo>
                    <a:pt x="172" y="400"/>
                  </a:lnTo>
                  <a:lnTo>
                    <a:pt x="172" y="398"/>
                  </a:lnTo>
                  <a:lnTo>
                    <a:pt x="170" y="396"/>
                  </a:lnTo>
                  <a:lnTo>
                    <a:pt x="169" y="395"/>
                  </a:lnTo>
                  <a:lnTo>
                    <a:pt x="165" y="395"/>
                  </a:lnTo>
                  <a:lnTo>
                    <a:pt x="165" y="396"/>
                  </a:lnTo>
                  <a:lnTo>
                    <a:pt x="163" y="395"/>
                  </a:lnTo>
                  <a:lnTo>
                    <a:pt x="162" y="395"/>
                  </a:lnTo>
                  <a:lnTo>
                    <a:pt x="160" y="393"/>
                  </a:lnTo>
                  <a:lnTo>
                    <a:pt x="160" y="391"/>
                  </a:lnTo>
                  <a:lnTo>
                    <a:pt x="160" y="390"/>
                  </a:lnTo>
                  <a:lnTo>
                    <a:pt x="160" y="388"/>
                  </a:lnTo>
                  <a:lnTo>
                    <a:pt x="160" y="386"/>
                  </a:lnTo>
                  <a:lnTo>
                    <a:pt x="158" y="385"/>
                  </a:lnTo>
                  <a:lnTo>
                    <a:pt x="157" y="386"/>
                  </a:lnTo>
                  <a:lnTo>
                    <a:pt x="158" y="385"/>
                  </a:lnTo>
                  <a:lnTo>
                    <a:pt x="157" y="381"/>
                  </a:lnTo>
                  <a:lnTo>
                    <a:pt x="155" y="381"/>
                  </a:lnTo>
                  <a:lnTo>
                    <a:pt x="153" y="379"/>
                  </a:lnTo>
                  <a:lnTo>
                    <a:pt x="152" y="378"/>
                  </a:lnTo>
                  <a:lnTo>
                    <a:pt x="152" y="376"/>
                  </a:lnTo>
                  <a:lnTo>
                    <a:pt x="152" y="374"/>
                  </a:lnTo>
                  <a:lnTo>
                    <a:pt x="150" y="371"/>
                  </a:lnTo>
                  <a:lnTo>
                    <a:pt x="150" y="369"/>
                  </a:lnTo>
                  <a:lnTo>
                    <a:pt x="152" y="368"/>
                  </a:lnTo>
                  <a:lnTo>
                    <a:pt x="153" y="366"/>
                  </a:lnTo>
                  <a:lnTo>
                    <a:pt x="155" y="364"/>
                  </a:lnTo>
                  <a:lnTo>
                    <a:pt x="155" y="361"/>
                  </a:lnTo>
                  <a:lnTo>
                    <a:pt x="155" y="359"/>
                  </a:lnTo>
                  <a:lnTo>
                    <a:pt x="155" y="356"/>
                  </a:lnTo>
                  <a:lnTo>
                    <a:pt x="153" y="354"/>
                  </a:lnTo>
                  <a:lnTo>
                    <a:pt x="152" y="352"/>
                  </a:lnTo>
                  <a:lnTo>
                    <a:pt x="150" y="349"/>
                  </a:lnTo>
                  <a:lnTo>
                    <a:pt x="148" y="347"/>
                  </a:lnTo>
                  <a:lnTo>
                    <a:pt x="146" y="345"/>
                  </a:lnTo>
                  <a:lnTo>
                    <a:pt x="145" y="344"/>
                  </a:lnTo>
                  <a:lnTo>
                    <a:pt x="143" y="342"/>
                  </a:lnTo>
                  <a:lnTo>
                    <a:pt x="140" y="340"/>
                  </a:lnTo>
                  <a:lnTo>
                    <a:pt x="138" y="340"/>
                  </a:lnTo>
                  <a:lnTo>
                    <a:pt x="135" y="339"/>
                  </a:lnTo>
                  <a:lnTo>
                    <a:pt x="133" y="337"/>
                  </a:lnTo>
                  <a:lnTo>
                    <a:pt x="131" y="337"/>
                  </a:lnTo>
                  <a:lnTo>
                    <a:pt x="129" y="340"/>
                  </a:lnTo>
                  <a:lnTo>
                    <a:pt x="129" y="337"/>
                  </a:lnTo>
                  <a:lnTo>
                    <a:pt x="129" y="335"/>
                  </a:lnTo>
                  <a:lnTo>
                    <a:pt x="129" y="333"/>
                  </a:lnTo>
                  <a:lnTo>
                    <a:pt x="128" y="332"/>
                  </a:lnTo>
                  <a:lnTo>
                    <a:pt x="126" y="330"/>
                  </a:lnTo>
                  <a:lnTo>
                    <a:pt x="126" y="328"/>
                  </a:lnTo>
                  <a:lnTo>
                    <a:pt x="123" y="328"/>
                  </a:lnTo>
                  <a:lnTo>
                    <a:pt x="121" y="327"/>
                  </a:lnTo>
                  <a:lnTo>
                    <a:pt x="119" y="327"/>
                  </a:lnTo>
                  <a:lnTo>
                    <a:pt x="118" y="327"/>
                  </a:lnTo>
                  <a:lnTo>
                    <a:pt x="116" y="327"/>
                  </a:lnTo>
                  <a:lnTo>
                    <a:pt x="116" y="325"/>
                  </a:lnTo>
                  <a:lnTo>
                    <a:pt x="116" y="322"/>
                  </a:lnTo>
                  <a:lnTo>
                    <a:pt x="116" y="320"/>
                  </a:lnTo>
                  <a:lnTo>
                    <a:pt x="118" y="320"/>
                  </a:lnTo>
                  <a:lnTo>
                    <a:pt x="119" y="320"/>
                  </a:lnTo>
                  <a:lnTo>
                    <a:pt x="121" y="318"/>
                  </a:lnTo>
                  <a:lnTo>
                    <a:pt x="123" y="316"/>
                  </a:lnTo>
                  <a:lnTo>
                    <a:pt x="124" y="313"/>
                  </a:lnTo>
                  <a:lnTo>
                    <a:pt x="124" y="315"/>
                  </a:lnTo>
                  <a:lnTo>
                    <a:pt x="126" y="313"/>
                  </a:lnTo>
                  <a:lnTo>
                    <a:pt x="124" y="313"/>
                  </a:lnTo>
                  <a:lnTo>
                    <a:pt x="124" y="311"/>
                  </a:lnTo>
                  <a:lnTo>
                    <a:pt x="126" y="310"/>
                  </a:lnTo>
                  <a:lnTo>
                    <a:pt x="126" y="308"/>
                  </a:lnTo>
                  <a:lnTo>
                    <a:pt x="126" y="306"/>
                  </a:lnTo>
                  <a:lnTo>
                    <a:pt x="128" y="305"/>
                  </a:lnTo>
                  <a:lnTo>
                    <a:pt x="128" y="303"/>
                  </a:lnTo>
                  <a:lnTo>
                    <a:pt x="126" y="301"/>
                  </a:lnTo>
                  <a:lnTo>
                    <a:pt x="126" y="298"/>
                  </a:lnTo>
                  <a:lnTo>
                    <a:pt x="129" y="299"/>
                  </a:lnTo>
                  <a:lnTo>
                    <a:pt x="131" y="298"/>
                  </a:lnTo>
                  <a:lnTo>
                    <a:pt x="133" y="299"/>
                  </a:lnTo>
                  <a:lnTo>
                    <a:pt x="136" y="301"/>
                  </a:lnTo>
                  <a:lnTo>
                    <a:pt x="138" y="301"/>
                  </a:lnTo>
                  <a:lnTo>
                    <a:pt x="141" y="301"/>
                  </a:lnTo>
                  <a:lnTo>
                    <a:pt x="141" y="299"/>
                  </a:lnTo>
                  <a:lnTo>
                    <a:pt x="145" y="299"/>
                  </a:lnTo>
                  <a:lnTo>
                    <a:pt x="145" y="298"/>
                  </a:lnTo>
                  <a:lnTo>
                    <a:pt x="146" y="294"/>
                  </a:lnTo>
                  <a:lnTo>
                    <a:pt x="146" y="293"/>
                  </a:lnTo>
                  <a:lnTo>
                    <a:pt x="146" y="289"/>
                  </a:lnTo>
                  <a:lnTo>
                    <a:pt x="148" y="288"/>
                  </a:lnTo>
                  <a:lnTo>
                    <a:pt x="152" y="286"/>
                  </a:lnTo>
                  <a:lnTo>
                    <a:pt x="152" y="284"/>
                  </a:lnTo>
                  <a:lnTo>
                    <a:pt x="153" y="286"/>
                  </a:lnTo>
                  <a:lnTo>
                    <a:pt x="155" y="286"/>
                  </a:lnTo>
                  <a:lnTo>
                    <a:pt x="158" y="284"/>
                  </a:lnTo>
                  <a:lnTo>
                    <a:pt x="160" y="286"/>
                  </a:lnTo>
                  <a:lnTo>
                    <a:pt x="162" y="286"/>
                  </a:lnTo>
                  <a:lnTo>
                    <a:pt x="162" y="288"/>
                  </a:lnTo>
                  <a:lnTo>
                    <a:pt x="165" y="288"/>
                  </a:lnTo>
                  <a:lnTo>
                    <a:pt x="165" y="289"/>
                  </a:lnTo>
                  <a:lnTo>
                    <a:pt x="167" y="288"/>
                  </a:lnTo>
                  <a:lnTo>
                    <a:pt x="169" y="289"/>
                  </a:lnTo>
                  <a:lnTo>
                    <a:pt x="170" y="291"/>
                  </a:lnTo>
                  <a:lnTo>
                    <a:pt x="174" y="291"/>
                  </a:lnTo>
                  <a:lnTo>
                    <a:pt x="174" y="293"/>
                  </a:lnTo>
                  <a:lnTo>
                    <a:pt x="177" y="293"/>
                  </a:lnTo>
                  <a:lnTo>
                    <a:pt x="180" y="293"/>
                  </a:lnTo>
                  <a:lnTo>
                    <a:pt x="180" y="291"/>
                  </a:lnTo>
                  <a:lnTo>
                    <a:pt x="182" y="293"/>
                  </a:lnTo>
                  <a:lnTo>
                    <a:pt x="184" y="294"/>
                  </a:lnTo>
                  <a:lnTo>
                    <a:pt x="187" y="294"/>
                  </a:lnTo>
                  <a:lnTo>
                    <a:pt x="191" y="293"/>
                  </a:lnTo>
                  <a:lnTo>
                    <a:pt x="194" y="294"/>
                  </a:lnTo>
                  <a:lnTo>
                    <a:pt x="196" y="294"/>
                  </a:lnTo>
                  <a:lnTo>
                    <a:pt x="197" y="296"/>
                  </a:lnTo>
                  <a:lnTo>
                    <a:pt x="199" y="296"/>
                  </a:lnTo>
                  <a:lnTo>
                    <a:pt x="201" y="296"/>
                  </a:lnTo>
                  <a:lnTo>
                    <a:pt x="201" y="298"/>
                  </a:lnTo>
                  <a:lnTo>
                    <a:pt x="204" y="298"/>
                  </a:lnTo>
                  <a:lnTo>
                    <a:pt x="206" y="299"/>
                  </a:lnTo>
                  <a:lnTo>
                    <a:pt x="208" y="299"/>
                  </a:lnTo>
                  <a:lnTo>
                    <a:pt x="209" y="303"/>
                  </a:lnTo>
                  <a:lnTo>
                    <a:pt x="211" y="303"/>
                  </a:lnTo>
                  <a:lnTo>
                    <a:pt x="213" y="303"/>
                  </a:lnTo>
                  <a:lnTo>
                    <a:pt x="214" y="303"/>
                  </a:lnTo>
                  <a:lnTo>
                    <a:pt x="216" y="303"/>
                  </a:lnTo>
                  <a:lnTo>
                    <a:pt x="218" y="303"/>
                  </a:lnTo>
                  <a:lnTo>
                    <a:pt x="218" y="301"/>
                  </a:lnTo>
                  <a:lnTo>
                    <a:pt x="220" y="301"/>
                  </a:lnTo>
                  <a:lnTo>
                    <a:pt x="220" y="299"/>
                  </a:lnTo>
                  <a:lnTo>
                    <a:pt x="216" y="298"/>
                  </a:lnTo>
                  <a:lnTo>
                    <a:pt x="214" y="298"/>
                  </a:lnTo>
                  <a:lnTo>
                    <a:pt x="213" y="298"/>
                  </a:lnTo>
                  <a:lnTo>
                    <a:pt x="211" y="298"/>
                  </a:lnTo>
                  <a:lnTo>
                    <a:pt x="213" y="294"/>
                  </a:lnTo>
                  <a:lnTo>
                    <a:pt x="214" y="294"/>
                  </a:lnTo>
                  <a:lnTo>
                    <a:pt x="216" y="294"/>
                  </a:lnTo>
                  <a:lnTo>
                    <a:pt x="216" y="293"/>
                  </a:lnTo>
                  <a:lnTo>
                    <a:pt x="220" y="293"/>
                  </a:lnTo>
                  <a:lnTo>
                    <a:pt x="221" y="294"/>
                  </a:lnTo>
                  <a:lnTo>
                    <a:pt x="221" y="293"/>
                  </a:lnTo>
                  <a:lnTo>
                    <a:pt x="223" y="293"/>
                  </a:lnTo>
                  <a:lnTo>
                    <a:pt x="226" y="293"/>
                  </a:lnTo>
                  <a:lnTo>
                    <a:pt x="228" y="291"/>
                  </a:lnTo>
                  <a:lnTo>
                    <a:pt x="231" y="288"/>
                  </a:lnTo>
                  <a:lnTo>
                    <a:pt x="230" y="286"/>
                  </a:lnTo>
                  <a:lnTo>
                    <a:pt x="228" y="288"/>
                  </a:lnTo>
                  <a:lnTo>
                    <a:pt x="228" y="286"/>
                  </a:lnTo>
                  <a:lnTo>
                    <a:pt x="231" y="286"/>
                  </a:lnTo>
                  <a:lnTo>
                    <a:pt x="231" y="284"/>
                  </a:lnTo>
                  <a:lnTo>
                    <a:pt x="230" y="284"/>
                  </a:lnTo>
                  <a:lnTo>
                    <a:pt x="228" y="284"/>
                  </a:lnTo>
                  <a:lnTo>
                    <a:pt x="225" y="284"/>
                  </a:lnTo>
                  <a:lnTo>
                    <a:pt x="226" y="282"/>
                  </a:lnTo>
                  <a:lnTo>
                    <a:pt x="225" y="282"/>
                  </a:lnTo>
                  <a:lnTo>
                    <a:pt x="223" y="282"/>
                  </a:lnTo>
                  <a:lnTo>
                    <a:pt x="223" y="284"/>
                  </a:lnTo>
                  <a:lnTo>
                    <a:pt x="221" y="284"/>
                  </a:lnTo>
                  <a:lnTo>
                    <a:pt x="220" y="284"/>
                  </a:lnTo>
                  <a:lnTo>
                    <a:pt x="221" y="284"/>
                  </a:lnTo>
                  <a:lnTo>
                    <a:pt x="220" y="282"/>
                  </a:lnTo>
                  <a:lnTo>
                    <a:pt x="216" y="282"/>
                  </a:lnTo>
                  <a:lnTo>
                    <a:pt x="214" y="282"/>
                  </a:lnTo>
                  <a:lnTo>
                    <a:pt x="213" y="284"/>
                  </a:lnTo>
                  <a:lnTo>
                    <a:pt x="214" y="284"/>
                  </a:lnTo>
                  <a:lnTo>
                    <a:pt x="216" y="284"/>
                  </a:lnTo>
                  <a:lnTo>
                    <a:pt x="213" y="284"/>
                  </a:lnTo>
                  <a:lnTo>
                    <a:pt x="213" y="286"/>
                  </a:lnTo>
                  <a:lnTo>
                    <a:pt x="211" y="282"/>
                  </a:lnTo>
                  <a:lnTo>
                    <a:pt x="209" y="282"/>
                  </a:lnTo>
                  <a:lnTo>
                    <a:pt x="208" y="284"/>
                  </a:lnTo>
                  <a:lnTo>
                    <a:pt x="206" y="284"/>
                  </a:lnTo>
                  <a:lnTo>
                    <a:pt x="204" y="284"/>
                  </a:lnTo>
                  <a:lnTo>
                    <a:pt x="204" y="282"/>
                  </a:lnTo>
                  <a:lnTo>
                    <a:pt x="206" y="281"/>
                  </a:lnTo>
                  <a:lnTo>
                    <a:pt x="203" y="279"/>
                  </a:lnTo>
                  <a:lnTo>
                    <a:pt x="201" y="279"/>
                  </a:lnTo>
                  <a:lnTo>
                    <a:pt x="199" y="279"/>
                  </a:lnTo>
                  <a:lnTo>
                    <a:pt x="197" y="277"/>
                  </a:lnTo>
                  <a:lnTo>
                    <a:pt x="199" y="276"/>
                  </a:lnTo>
                  <a:lnTo>
                    <a:pt x="197" y="276"/>
                  </a:lnTo>
                  <a:lnTo>
                    <a:pt x="196" y="274"/>
                  </a:lnTo>
                  <a:lnTo>
                    <a:pt x="194" y="276"/>
                  </a:lnTo>
                  <a:lnTo>
                    <a:pt x="196" y="276"/>
                  </a:lnTo>
                  <a:lnTo>
                    <a:pt x="196" y="277"/>
                  </a:lnTo>
                  <a:lnTo>
                    <a:pt x="194" y="276"/>
                  </a:lnTo>
                  <a:lnTo>
                    <a:pt x="194" y="277"/>
                  </a:lnTo>
                  <a:lnTo>
                    <a:pt x="192" y="279"/>
                  </a:lnTo>
                  <a:lnTo>
                    <a:pt x="194" y="279"/>
                  </a:lnTo>
                  <a:lnTo>
                    <a:pt x="194" y="282"/>
                  </a:lnTo>
                  <a:lnTo>
                    <a:pt x="192" y="282"/>
                  </a:lnTo>
                  <a:lnTo>
                    <a:pt x="191" y="281"/>
                  </a:lnTo>
                  <a:lnTo>
                    <a:pt x="189" y="279"/>
                  </a:lnTo>
                  <a:lnTo>
                    <a:pt x="191" y="277"/>
                  </a:lnTo>
                  <a:lnTo>
                    <a:pt x="189" y="277"/>
                  </a:lnTo>
                  <a:lnTo>
                    <a:pt x="187" y="276"/>
                  </a:lnTo>
                  <a:lnTo>
                    <a:pt x="186" y="274"/>
                  </a:lnTo>
                  <a:lnTo>
                    <a:pt x="184" y="272"/>
                  </a:lnTo>
                  <a:lnTo>
                    <a:pt x="182" y="272"/>
                  </a:lnTo>
                  <a:lnTo>
                    <a:pt x="182" y="274"/>
                  </a:lnTo>
                  <a:lnTo>
                    <a:pt x="180" y="276"/>
                  </a:lnTo>
                  <a:lnTo>
                    <a:pt x="182" y="277"/>
                  </a:lnTo>
                  <a:lnTo>
                    <a:pt x="182" y="279"/>
                  </a:lnTo>
                  <a:lnTo>
                    <a:pt x="182" y="281"/>
                  </a:lnTo>
                  <a:lnTo>
                    <a:pt x="180" y="279"/>
                  </a:lnTo>
                  <a:lnTo>
                    <a:pt x="179" y="281"/>
                  </a:lnTo>
                  <a:lnTo>
                    <a:pt x="177" y="279"/>
                  </a:lnTo>
                  <a:lnTo>
                    <a:pt x="177" y="281"/>
                  </a:lnTo>
                  <a:lnTo>
                    <a:pt x="174" y="279"/>
                  </a:lnTo>
                  <a:lnTo>
                    <a:pt x="174" y="281"/>
                  </a:lnTo>
                  <a:lnTo>
                    <a:pt x="174" y="279"/>
                  </a:lnTo>
                  <a:lnTo>
                    <a:pt x="172" y="282"/>
                  </a:lnTo>
                  <a:lnTo>
                    <a:pt x="170" y="282"/>
                  </a:lnTo>
                  <a:lnTo>
                    <a:pt x="170" y="281"/>
                  </a:lnTo>
                  <a:lnTo>
                    <a:pt x="169" y="281"/>
                  </a:lnTo>
                  <a:lnTo>
                    <a:pt x="167" y="281"/>
                  </a:lnTo>
                  <a:lnTo>
                    <a:pt x="165" y="281"/>
                  </a:lnTo>
                  <a:lnTo>
                    <a:pt x="163" y="279"/>
                  </a:lnTo>
                  <a:lnTo>
                    <a:pt x="162" y="279"/>
                  </a:lnTo>
                  <a:lnTo>
                    <a:pt x="160" y="279"/>
                  </a:lnTo>
                  <a:lnTo>
                    <a:pt x="158" y="279"/>
                  </a:lnTo>
                  <a:lnTo>
                    <a:pt x="157" y="279"/>
                  </a:lnTo>
                  <a:lnTo>
                    <a:pt x="155" y="281"/>
                  </a:lnTo>
                  <a:lnTo>
                    <a:pt x="153" y="282"/>
                  </a:lnTo>
                  <a:lnTo>
                    <a:pt x="152" y="282"/>
                  </a:lnTo>
                  <a:lnTo>
                    <a:pt x="150" y="281"/>
                  </a:lnTo>
                  <a:lnTo>
                    <a:pt x="148" y="282"/>
                  </a:lnTo>
                  <a:lnTo>
                    <a:pt x="148" y="284"/>
                  </a:lnTo>
                  <a:lnTo>
                    <a:pt x="148" y="286"/>
                  </a:lnTo>
                  <a:lnTo>
                    <a:pt x="145" y="286"/>
                  </a:lnTo>
                  <a:lnTo>
                    <a:pt x="143" y="286"/>
                  </a:lnTo>
                  <a:lnTo>
                    <a:pt x="140" y="286"/>
                  </a:lnTo>
                  <a:lnTo>
                    <a:pt x="138" y="288"/>
                  </a:lnTo>
                  <a:lnTo>
                    <a:pt x="136" y="288"/>
                  </a:lnTo>
                  <a:lnTo>
                    <a:pt x="135" y="289"/>
                  </a:lnTo>
                  <a:lnTo>
                    <a:pt x="133" y="291"/>
                  </a:lnTo>
                  <a:lnTo>
                    <a:pt x="129" y="289"/>
                  </a:lnTo>
                  <a:lnTo>
                    <a:pt x="128" y="289"/>
                  </a:lnTo>
                  <a:lnTo>
                    <a:pt x="128" y="288"/>
                  </a:lnTo>
                  <a:lnTo>
                    <a:pt x="126" y="286"/>
                  </a:lnTo>
                  <a:lnTo>
                    <a:pt x="124" y="286"/>
                  </a:lnTo>
                  <a:lnTo>
                    <a:pt x="124" y="284"/>
                  </a:lnTo>
                  <a:lnTo>
                    <a:pt x="124" y="281"/>
                  </a:lnTo>
                  <a:lnTo>
                    <a:pt x="123" y="281"/>
                  </a:lnTo>
                  <a:lnTo>
                    <a:pt x="121" y="279"/>
                  </a:lnTo>
                  <a:lnTo>
                    <a:pt x="119" y="279"/>
                  </a:lnTo>
                  <a:lnTo>
                    <a:pt x="123" y="281"/>
                  </a:lnTo>
                  <a:lnTo>
                    <a:pt x="123" y="282"/>
                  </a:lnTo>
                  <a:lnTo>
                    <a:pt x="124" y="284"/>
                  </a:lnTo>
                  <a:lnTo>
                    <a:pt x="124" y="286"/>
                  </a:lnTo>
                  <a:lnTo>
                    <a:pt x="126" y="286"/>
                  </a:lnTo>
                  <a:lnTo>
                    <a:pt x="128" y="288"/>
                  </a:lnTo>
                  <a:lnTo>
                    <a:pt x="128" y="289"/>
                  </a:lnTo>
                  <a:lnTo>
                    <a:pt x="128" y="288"/>
                  </a:lnTo>
                  <a:lnTo>
                    <a:pt x="126" y="286"/>
                  </a:lnTo>
                  <a:lnTo>
                    <a:pt x="124" y="286"/>
                  </a:lnTo>
                  <a:lnTo>
                    <a:pt x="124" y="284"/>
                  </a:lnTo>
                  <a:lnTo>
                    <a:pt x="123" y="282"/>
                  </a:lnTo>
                  <a:lnTo>
                    <a:pt x="123" y="286"/>
                  </a:lnTo>
                  <a:lnTo>
                    <a:pt x="121" y="288"/>
                  </a:lnTo>
                  <a:lnTo>
                    <a:pt x="121" y="291"/>
                  </a:lnTo>
                  <a:lnTo>
                    <a:pt x="121" y="289"/>
                  </a:lnTo>
                  <a:lnTo>
                    <a:pt x="121" y="288"/>
                  </a:lnTo>
                  <a:lnTo>
                    <a:pt x="119" y="288"/>
                  </a:lnTo>
                  <a:lnTo>
                    <a:pt x="119" y="289"/>
                  </a:lnTo>
                  <a:lnTo>
                    <a:pt x="118" y="291"/>
                  </a:lnTo>
                  <a:lnTo>
                    <a:pt x="118" y="293"/>
                  </a:lnTo>
                  <a:lnTo>
                    <a:pt x="119" y="293"/>
                  </a:lnTo>
                  <a:lnTo>
                    <a:pt x="121" y="293"/>
                  </a:lnTo>
                  <a:lnTo>
                    <a:pt x="118" y="293"/>
                  </a:lnTo>
                  <a:lnTo>
                    <a:pt x="116" y="293"/>
                  </a:lnTo>
                  <a:lnTo>
                    <a:pt x="114" y="294"/>
                  </a:lnTo>
                  <a:lnTo>
                    <a:pt x="112" y="294"/>
                  </a:lnTo>
                  <a:lnTo>
                    <a:pt x="112" y="291"/>
                  </a:lnTo>
                  <a:lnTo>
                    <a:pt x="111" y="291"/>
                  </a:lnTo>
                  <a:lnTo>
                    <a:pt x="111" y="289"/>
                  </a:lnTo>
                  <a:lnTo>
                    <a:pt x="109" y="289"/>
                  </a:lnTo>
                  <a:lnTo>
                    <a:pt x="109" y="288"/>
                  </a:lnTo>
                  <a:lnTo>
                    <a:pt x="111" y="289"/>
                  </a:lnTo>
                  <a:lnTo>
                    <a:pt x="111" y="288"/>
                  </a:lnTo>
                  <a:lnTo>
                    <a:pt x="111" y="286"/>
                  </a:lnTo>
                  <a:lnTo>
                    <a:pt x="112" y="286"/>
                  </a:lnTo>
                  <a:lnTo>
                    <a:pt x="111" y="286"/>
                  </a:lnTo>
                  <a:lnTo>
                    <a:pt x="111" y="284"/>
                  </a:lnTo>
                  <a:lnTo>
                    <a:pt x="109" y="284"/>
                  </a:lnTo>
                  <a:lnTo>
                    <a:pt x="109" y="282"/>
                  </a:lnTo>
                  <a:lnTo>
                    <a:pt x="107" y="281"/>
                  </a:lnTo>
                  <a:lnTo>
                    <a:pt x="109" y="281"/>
                  </a:lnTo>
                  <a:lnTo>
                    <a:pt x="107" y="281"/>
                  </a:lnTo>
                  <a:lnTo>
                    <a:pt x="107" y="277"/>
                  </a:lnTo>
                  <a:lnTo>
                    <a:pt x="106" y="281"/>
                  </a:lnTo>
                  <a:lnTo>
                    <a:pt x="104" y="281"/>
                  </a:lnTo>
                  <a:lnTo>
                    <a:pt x="102" y="279"/>
                  </a:lnTo>
                  <a:lnTo>
                    <a:pt x="104" y="279"/>
                  </a:lnTo>
                  <a:lnTo>
                    <a:pt x="102" y="277"/>
                  </a:lnTo>
                  <a:lnTo>
                    <a:pt x="104" y="277"/>
                  </a:lnTo>
                  <a:lnTo>
                    <a:pt x="104" y="274"/>
                  </a:lnTo>
                  <a:lnTo>
                    <a:pt x="102" y="274"/>
                  </a:lnTo>
                  <a:lnTo>
                    <a:pt x="102" y="272"/>
                  </a:lnTo>
                  <a:lnTo>
                    <a:pt x="101" y="271"/>
                  </a:lnTo>
                  <a:lnTo>
                    <a:pt x="101" y="269"/>
                  </a:lnTo>
                  <a:lnTo>
                    <a:pt x="99" y="269"/>
                  </a:lnTo>
                  <a:lnTo>
                    <a:pt x="97" y="269"/>
                  </a:lnTo>
                  <a:lnTo>
                    <a:pt x="95" y="267"/>
                  </a:lnTo>
                  <a:lnTo>
                    <a:pt x="94" y="265"/>
                  </a:lnTo>
                  <a:lnTo>
                    <a:pt x="94" y="264"/>
                  </a:lnTo>
                  <a:lnTo>
                    <a:pt x="94" y="262"/>
                  </a:lnTo>
                  <a:lnTo>
                    <a:pt x="92" y="260"/>
                  </a:lnTo>
                  <a:lnTo>
                    <a:pt x="90" y="262"/>
                  </a:lnTo>
                  <a:lnTo>
                    <a:pt x="89" y="264"/>
                  </a:lnTo>
                  <a:lnTo>
                    <a:pt x="87" y="265"/>
                  </a:lnTo>
                  <a:lnTo>
                    <a:pt x="87" y="262"/>
                  </a:lnTo>
                  <a:lnTo>
                    <a:pt x="85" y="262"/>
                  </a:lnTo>
                  <a:lnTo>
                    <a:pt x="85" y="259"/>
                  </a:lnTo>
                  <a:lnTo>
                    <a:pt x="84" y="259"/>
                  </a:lnTo>
                  <a:lnTo>
                    <a:pt x="84" y="260"/>
                  </a:lnTo>
                  <a:lnTo>
                    <a:pt x="84" y="259"/>
                  </a:lnTo>
                  <a:lnTo>
                    <a:pt x="85" y="257"/>
                  </a:lnTo>
                  <a:lnTo>
                    <a:pt x="84" y="259"/>
                  </a:lnTo>
                  <a:lnTo>
                    <a:pt x="85" y="257"/>
                  </a:lnTo>
                  <a:lnTo>
                    <a:pt x="89" y="257"/>
                  </a:lnTo>
                  <a:lnTo>
                    <a:pt x="87" y="257"/>
                  </a:lnTo>
                  <a:lnTo>
                    <a:pt x="87" y="255"/>
                  </a:lnTo>
                  <a:lnTo>
                    <a:pt x="84" y="254"/>
                  </a:lnTo>
                  <a:lnTo>
                    <a:pt x="85" y="250"/>
                  </a:lnTo>
                  <a:lnTo>
                    <a:pt x="87" y="252"/>
                  </a:lnTo>
                  <a:lnTo>
                    <a:pt x="89" y="254"/>
                  </a:lnTo>
                  <a:lnTo>
                    <a:pt x="90" y="252"/>
                  </a:lnTo>
                  <a:lnTo>
                    <a:pt x="90" y="250"/>
                  </a:lnTo>
                  <a:lnTo>
                    <a:pt x="90" y="252"/>
                  </a:lnTo>
                  <a:lnTo>
                    <a:pt x="92" y="252"/>
                  </a:lnTo>
                  <a:lnTo>
                    <a:pt x="90" y="252"/>
                  </a:lnTo>
                  <a:lnTo>
                    <a:pt x="94" y="252"/>
                  </a:lnTo>
                  <a:lnTo>
                    <a:pt x="94" y="250"/>
                  </a:lnTo>
                  <a:lnTo>
                    <a:pt x="95" y="250"/>
                  </a:lnTo>
                  <a:lnTo>
                    <a:pt x="97" y="250"/>
                  </a:lnTo>
                  <a:lnTo>
                    <a:pt x="97" y="252"/>
                  </a:lnTo>
                  <a:lnTo>
                    <a:pt x="99" y="250"/>
                  </a:lnTo>
                  <a:lnTo>
                    <a:pt x="99" y="252"/>
                  </a:lnTo>
                  <a:lnTo>
                    <a:pt x="102" y="254"/>
                  </a:lnTo>
                  <a:lnTo>
                    <a:pt x="104" y="255"/>
                  </a:lnTo>
                  <a:lnTo>
                    <a:pt x="104" y="252"/>
                  </a:lnTo>
                  <a:lnTo>
                    <a:pt x="104" y="250"/>
                  </a:lnTo>
                  <a:lnTo>
                    <a:pt x="107" y="252"/>
                  </a:lnTo>
                  <a:lnTo>
                    <a:pt x="109" y="254"/>
                  </a:lnTo>
                  <a:lnTo>
                    <a:pt x="107" y="250"/>
                  </a:lnTo>
                  <a:lnTo>
                    <a:pt x="106" y="250"/>
                  </a:lnTo>
                  <a:lnTo>
                    <a:pt x="106" y="247"/>
                  </a:lnTo>
                  <a:lnTo>
                    <a:pt x="106" y="245"/>
                  </a:lnTo>
                  <a:lnTo>
                    <a:pt x="106" y="243"/>
                  </a:lnTo>
                  <a:lnTo>
                    <a:pt x="104" y="242"/>
                  </a:lnTo>
                  <a:lnTo>
                    <a:pt x="101" y="242"/>
                  </a:lnTo>
                  <a:lnTo>
                    <a:pt x="101" y="243"/>
                  </a:lnTo>
                  <a:lnTo>
                    <a:pt x="101" y="242"/>
                  </a:lnTo>
                  <a:lnTo>
                    <a:pt x="99" y="243"/>
                  </a:lnTo>
                  <a:lnTo>
                    <a:pt x="101" y="243"/>
                  </a:lnTo>
                  <a:lnTo>
                    <a:pt x="99" y="243"/>
                  </a:lnTo>
                  <a:lnTo>
                    <a:pt x="101" y="243"/>
                  </a:lnTo>
                  <a:lnTo>
                    <a:pt x="99" y="243"/>
                  </a:lnTo>
                  <a:lnTo>
                    <a:pt x="97" y="245"/>
                  </a:lnTo>
                  <a:lnTo>
                    <a:pt x="95" y="243"/>
                  </a:lnTo>
                  <a:lnTo>
                    <a:pt x="94" y="243"/>
                  </a:lnTo>
                  <a:lnTo>
                    <a:pt x="94" y="242"/>
                  </a:lnTo>
                  <a:lnTo>
                    <a:pt x="90" y="242"/>
                  </a:lnTo>
                  <a:lnTo>
                    <a:pt x="90" y="243"/>
                  </a:lnTo>
                  <a:lnTo>
                    <a:pt x="92" y="243"/>
                  </a:lnTo>
                  <a:lnTo>
                    <a:pt x="94" y="245"/>
                  </a:lnTo>
                  <a:lnTo>
                    <a:pt x="94" y="243"/>
                  </a:lnTo>
                  <a:lnTo>
                    <a:pt x="94" y="245"/>
                  </a:lnTo>
                  <a:lnTo>
                    <a:pt x="92" y="243"/>
                  </a:lnTo>
                  <a:lnTo>
                    <a:pt x="89" y="245"/>
                  </a:lnTo>
                  <a:lnTo>
                    <a:pt x="89" y="242"/>
                  </a:lnTo>
                  <a:lnTo>
                    <a:pt x="87" y="242"/>
                  </a:lnTo>
                  <a:lnTo>
                    <a:pt x="87" y="240"/>
                  </a:lnTo>
                  <a:lnTo>
                    <a:pt x="87" y="238"/>
                  </a:lnTo>
                  <a:lnTo>
                    <a:pt x="85" y="240"/>
                  </a:lnTo>
                  <a:lnTo>
                    <a:pt x="85" y="242"/>
                  </a:lnTo>
                  <a:lnTo>
                    <a:pt x="84" y="242"/>
                  </a:lnTo>
                  <a:lnTo>
                    <a:pt x="87" y="242"/>
                  </a:lnTo>
                  <a:lnTo>
                    <a:pt x="85" y="243"/>
                  </a:lnTo>
                  <a:lnTo>
                    <a:pt x="87" y="243"/>
                  </a:lnTo>
                  <a:lnTo>
                    <a:pt x="89" y="245"/>
                  </a:lnTo>
                  <a:lnTo>
                    <a:pt x="87" y="245"/>
                  </a:lnTo>
                  <a:lnTo>
                    <a:pt x="87" y="243"/>
                  </a:lnTo>
                  <a:lnTo>
                    <a:pt x="85" y="243"/>
                  </a:lnTo>
                  <a:lnTo>
                    <a:pt x="84" y="245"/>
                  </a:lnTo>
                  <a:lnTo>
                    <a:pt x="84" y="247"/>
                  </a:lnTo>
                  <a:lnTo>
                    <a:pt x="85" y="248"/>
                  </a:lnTo>
                  <a:lnTo>
                    <a:pt x="85" y="247"/>
                  </a:lnTo>
                  <a:lnTo>
                    <a:pt x="87" y="248"/>
                  </a:lnTo>
                  <a:lnTo>
                    <a:pt x="89" y="248"/>
                  </a:lnTo>
                  <a:lnTo>
                    <a:pt x="89" y="250"/>
                  </a:lnTo>
                  <a:lnTo>
                    <a:pt x="85" y="248"/>
                  </a:lnTo>
                  <a:lnTo>
                    <a:pt x="85" y="250"/>
                  </a:lnTo>
                  <a:lnTo>
                    <a:pt x="84" y="248"/>
                  </a:lnTo>
                  <a:lnTo>
                    <a:pt x="85" y="250"/>
                  </a:lnTo>
                  <a:lnTo>
                    <a:pt x="84" y="252"/>
                  </a:lnTo>
                  <a:lnTo>
                    <a:pt x="82" y="250"/>
                  </a:lnTo>
                  <a:lnTo>
                    <a:pt x="80" y="248"/>
                  </a:lnTo>
                  <a:lnTo>
                    <a:pt x="82" y="247"/>
                  </a:lnTo>
                  <a:lnTo>
                    <a:pt x="80" y="245"/>
                  </a:lnTo>
                  <a:lnTo>
                    <a:pt x="80" y="243"/>
                  </a:lnTo>
                  <a:lnTo>
                    <a:pt x="78" y="242"/>
                  </a:lnTo>
                  <a:lnTo>
                    <a:pt x="77" y="242"/>
                  </a:lnTo>
                  <a:lnTo>
                    <a:pt x="73" y="240"/>
                  </a:lnTo>
                  <a:lnTo>
                    <a:pt x="72" y="238"/>
                  </a:lnTo>
                  <a:lnTo>
                    <a:pt x="70" y="237"/>
                  </a:lnTo>
                  <a:lnTo>
                    <a:pt x="67" y="235"/>
                  </a:lnTo>
                  <a:lnTo>
                    <a:pt x="67" y="233"/>
                  </a:lnTo>
                  <a:lnTo>
                    <a:pt x="65" y="231"/>
                  </a:lnTo>
                  <a:lnTo>
                    <a:pt x="67" y="230"/>
                  </a:lnTo>
                  <a:lnTo>
                    <a:pt x="65" y="231"/>
                  </a:lnTo>
                  <a:lnTo>
                    <a:pt x="63" y="230"/>
                  </a:lnTo>
                  <a:lnTo>
                    <a:pt x="63" y="231"/>
                  </a:lnTo>
                  <a:lnTo>
                    <a:pt x="61" y="230"/>
                  </a:lnTo>
                  <a:lnTo>
                    <a:pt x="58" y="231"/>
                  </a:lnTo>
                  <a:lnTo>
                    <a:pt x="58" y="230"/>
                  </a:lnTo>
                  <a:lnTo>
                    <a:pt x="56" y="230"/>
                  </a:lnTo>
                  <a:lnTo>
                    <a:pt x="55" y="228"/>
                  </a:lnTo>
                  <a:lnTo>
                    <a:pt x="53" y="225"/>
                  </a:lnTo>
                  <a:lnTo>
                    <a:pt x="55" y="225"/>
                  </a:lnTo>
                  <a:lnTo>
                    <a:pt x="51" y="223"/>
                  </a:lnTo>
                  <a:lnTo>
                    <a:pt x="50" y="220"/>
                  </a:lnTo>
                  <a:lnTo>
                    <a:pt x="51" y="220"/>
                  </a:lnTo>
                  <a:lnTo>
                    <a:pt x="53" y="220"/>
                  </a:lnTo>
                  <a:lnTo>
                    <a:pt x="51" y="218"/>
                  </a:lnTo>
                  <a:lnTo>
                    <a:pt x="50" y="216"/>
                  </a:lnTo>
                  <a:lnTo>
                    <a:pt x="51" y="218"/>
                  </a:lnTo>
                  <a:lnTo>
                    <a:pt x="51" y="216"/>
                  </a:lnTo>
                  <a:lnTo>
                    <a:pt x="50" y="214"/>
                  </a:lnTo>
                  <a:lnTo>
                    <a:pt x="50" y="216"/>
                  </a:lnTo>
                  <a:lnTo>
                    <a:pt x="46" y="216"/>
                  </a:lnTo>
                  <a:lnTo>
                    <a:pt x="46" y="214"/>
                  </a:lnTo>
                  <a:lnTo>
                    <a:pt x="48" y="214"/>
                  </a:lnTo>
                  <a:lnTo>
                    <a:pt x="44" y="214"/>
                  </a:lnTo>
                  <a:lnTo>
                    <a:pt x="46" y="213"/>
                  </a:lnTo>
                  <a:lnTo>
                    <a:pt x="46" y="211"/>
                  </a:lnTo>
                  <a:lnTo>
                    <a:pt x="44" y="211"/>
                  </a:lnTo>
                  <a:lnTo>
                    <a:pt x="46" y="209"/>
                  </a:lnTo>
                  <a:lnTo>
                    <a:pt x="46" y="208"/>
                  </a:lnTo>
                  <a:lnTo>
                    <a:pt x="44" y="208"/>
                  </a:lnTo>
                  <a:lnTo>
                    <a:pt x="43" y="206"/>
                  </a:lnTo>
                  <a:lnTo>
                    <a:pt x="41" y="206"/>
                  </a:lnTo>
                  <a:lnTo>
                    <a:pt x="39" y="204"/>
                  </a:lnTo>
                  <a:lnTo>
                    <a:pt x="38" y="206"/>
                  </a:lnTo>
                  <a:lnTo>
                    <a:pt x="36" y="204"/>
                  </a:lnTo>
                  <a:lnTo>
                    <a:pt x="38" y="204"/>
                  </a:lnTo>
                  <a:lnTo>
                    <a:pt x="41" y="204"/>
                  </a:lnTo>
                  <a:lnTo>
                    <a:pt x="43" y="206"/>
                  </a:lnTo>
                  <a:lnTo>
                    <a:pt x="44" y="206"/>
                  </a:lnTo>
                  <a:lnTo>
                    <a:pt x="46" y="206"/>
                  </a:lnTo>
                  <a:lnTo>
                    <a:pt x="48" y="206"/>
                  </a:lnTo>
                  <a:lnTo>
                    <a:pt x="48" y="202"/>
                  </a:lnTo>
                  <a:lnTo>
                    <a:pt x="50" y="204"/>
                  </a:lnTo>
                  <a:lnTo>
                    <a:pt x="50" y="202"/>
                  </a:lnTo>
                  <a:lnTo>
                    <a:pt x="51" y="201"/>
                  </a:lnTo>
                  <a:lnTo>
                    <a:pt x="53" y="199"/>
                  </a:lnTo>
                  <a:lnTo>
                    <a:pt x="51" y="197"/>
                  </a:lnTo>
                  <a:lnTo>
                    <a:pt x="51" y="196"/>
                  </a:lnTo>
                  <a:lnTo>
                    <a:pt x="50" y="194"/>
                  </a:lnTo>
                  <a:lnTo>
                    <a:pt x="51" y="194"/>
                  </a:lnTo>
                  <a:lnTo>
                    <a:pt x="53" y="194"/>
                  </a:lnTo>
                  <a:lnTo>
                    <a:pt x="55" y="196"/>
                  </a:lnTo>
                  <a:lnTo>
                    <a:pt x="56" y="192"/>
                  </a:lnTo>
                  <a:lnTo>
                    <a:pt x="56" y="191"/>
                  </a:lnTo>
                  <a:lnTo>
                    <a:pt x="55" y="189"/>
                  </a:lnTo>
                  <a:lnTo>
                    <a:pt x="55" y="187"/>
                  </a:lnTo>
                  <a:lnTo>
                    <a:pt x="53" y="185"/>
                  </a:lnTo>
                  <a:lnTo>
                    <a:pt x="51" y="185"/>
                  </a:lnTo>
                  <a:lnTo>
                    <a:pt x="51" y="184"/>
                  </a:lnTo>
                  <a:lnTo>
                    <a:pt x="50" y="182"/>
                  </a:lnTo>
                  <a:lnTo>
                    <a:pt x="50" y="180"/>
                  </a:lnTo>
                  <a:lnTo>
                    <a:pt x="53" y="180"/>
                  </a:lnTo>
                  <a:lnTo>
                    <a:pt x="55" y="180"/>
                  </a:lnTo>
                  <a:lnTo>
                    <a:pt x="53" y="179"/>
                  </a:lnTo>
                  <a:lnTo>
                    <a:pt x="55" y="177"/>
                  </a:lnTo>
                  <a:lnTo>
                    <a:pt x="55" y="175"/>
                  </a:lnTo>
                  <a:lnTo>
                    <a:pt x="56" y="174"/>
                  </a:lnTo>
                  <a:lnTo>
                    <a:pt x="58" y="174"/>
                  </a:lnTo>
                  <a:lnTo>
                    <a:pt x="60" y="172"/>
                  </a:lnTo>
                  <a:lnTo>
                    <a:pt x="61" y="174"/>
                  </a:lnTo>
                  <a:lnTo>
                    <a:pt x="63" y="174"/>
                  </a:lnTo>
                  <a:lnTo>
                    <a:pt x="65" y="174"/>
                  </a:lnTo>
                  <a:lnTo>
                    <a:pt x="65" y="172"/>
                  </a:lnTo>
                  <a:lnTo>
                    <a:pt x="68" y="170"/>
                  </a:lnTo>
                  <a:lnTo>
                    <a:pt x="68" y="168"/>
                  </a:lnTo>
                  <a:lnTo>
                    <a:pt x="68" y="167"/>
                  </a:lnTo>
                  <a:lnTo>
                    <a:pt x="67" y="165"/>
                  </a:lnTo>
                  <a:lnTo>
                    <a:pt x="67" y="163"/>
                  </a:lnTo>
                  <a:lnTo>
                    <a:pt x="68" y="163"/>
                  </a:lnTo>
                  <a:lnTo>
                    <a:pt x="70" y="162"/>
                  </a:lnTo>
                  <a:lnTo>
                    <a:pt x="68" y="158"/>
                  </a:lnTo>
                  <a:lnTo>
                    <a:pt x="68" y="157"/>
                  </a:lnTo>
                  <a:lnTo>
                    <a:pt x="68" y="155"/>
                  </a:lnTo>
                  <a:lnTo>
                    <a:pt x="70" y="153"/>
                  </a:lnTo>
                  <a:lnTo>
                    <a:pt x="72" y="151"/>
                  </a:lnTo>
                  <a:lnTo>
                    <a:pt x="70" y="148"/>
                  </a:lnTo>
                  <a:lnTo>
                    <a:pt x="72" y="146"/>
                  </a:lnTo>
                  <a:lnTo>
                    <a:pt x="70" y="146"/>
                  </a:lnTo>
                  <a:lnTo>
                    <a:pt x="72" y="145"/>
                  </a:lnTo>
                  <a:lnTo>
                    <a:pt x="73" y="141"/>
                  </a:lnTo>
                  <a:lnTo>
                    <a:pt x="75" y="143"/>
                  </a:lnTo>
                  <a:lnTo>
                    <a:pt x="77" y="141"/>
                  </a:lnTo>
                  <a:lnTo>
                    <a:pt x="78" y="143"/>
                  </a:lnTo>
                  <a:lnTo>
                    <a:pt x="78" y="141"/>
                  </a:lnTo>
                  <a:lnTo>
                    <a:pt x="80" y="140"/>
                  </a:lnTo>
                  <a:lnTo>
                    <a:pt x="78" y="138"/>
                  </a:lnTo>
                  <a:lnTo>
                    <a:pt x="80" y="136"/>
                  </a:lnTo>
                  <a:lnTo>
                    <a:pt x="84" y="134"/>
                  </a:lnTo>
                  <a:lnTo>
                    <a:pt x="82" y="131"/>
                  </a:lnTo>
                  <a:lnTo>
                    <a:pt x="84" y="131"/>
                  </a:lnTo>
                  <a:lnTo>
                    <a:pt x="82" y="129"/>
                  </a:lnTo>
                  <a:lnTo>
                    <a:pt x="82" y="128"/>
                  </a:lnTo>
                  <a:lnTo>
                    <a:pt x="82" y="126"/>
                  </a:lnTo>
                  <a:lnTo>
                    <a:pt x="80" y="124"/>
                  </a:lnTo>
                  <a:lnTo>
                    <a:pt x="78" y="123"/>
                  </a:lnTo>
                  <a:lnTo>
                    <a:pt x="77" y="121"/>
                  </a:lnTo>
                  <a:lnTo>
                    <a:pt x="75" y="121"/>
                  </a:lnTo>
                  <a:lnTo>
                    <a:pt x="77" y="119"/>
                  </a:lnTo>
                  <a:lnTo>
                    <a:pt x="77" y="117"/>
                  </a:lnTo>
                  <a:lnTo>
                    <a:pt x="77" y="116"/>
                  </a:lnTo>
                  <a:lnTo>
                    <a:pt x="77" y="114"/>
                  </a:lnTo>
                  <a:lnTo>
                    <a:pt x="80" y="114"/>
                  </a:lnTo>
                  <a:lnTo>
                    <a:pt x="84" y="114"/>
                  </a:lnTo>
                  <a:lnTo>
                    <a:pt x="85" y="112"/>
                  </a:lnTo>
                  <a:lnTo>
                    <a:pt x="87" y="111"/>
                  </a:lnTo>
                  <a:lnTo>
                    <a:pt x="89" y="111"/>
                  </a:lnTo>
                  <a:lnTo>
                    <a:pt x="90" y="111"/>
                  </a:lnTo>
                  <a:lnTo>
                    <a:pt x="90" y="112"/>
                  </a:lnTo>
                  <a:lnTo>
                    <a:pt x="94" y="111"/>
                  </a:lnTo>
                  <a:lnTo>
                    <a:pt x="95" y="109"/>
                  </a:lnTo>
                  <a:lnTo>
                    <a:pt x="97" y="107"/>
                  </a:lnTo>
                  <a:lnTo>
                    <a:pt x="99" y="107"/>
                  </a:lnTo>
                  <a:lnTo>
                    <a:pt x="99" y="106"/>
                  </a:lnTo>
                  <a:lnTo>
                    <a:pt x="101" y="107"/>
                  </a:lnTo>
                  <a:lnTo>
                    <a:pt x="102" y="106"/>
                  </a:lnTo>
                  <a:lnTo>
                    <a:pt x="104" y="106"/>
                  </a:lnTo>
                  <a:lnTo>
                    <a:pt x="107" y="107"/>
                  </a:lnTo>
                  <a:lnTo>
                    <a:pt x="107" y="109"/>
                  </a:lnTo>
                  <a:lnTo>
                    <a:pt x="109" y="109"/>
                  </a:lnTo>
                  <a:lnTo>
                    <a:pt x="111" y="106"/>
                  </a:lnTo>
                  <a:lnTo>
                    <a:pt x="112" y="106"/>
                  </a:lnTo>
                  <a:lnTo>
                    <a:pt x="112" y="102"/>
                  </a:lnTo>
                  <a:lnTo>
                    <a:pt x="114" y="102"/>
                  </a:lnTo>
                  <a:lnTo>
                    <a:pt x="118" y="102"/>
                  </a:lnTo>
                  <a:lnTo>
                    <a:pt x="119" y="100"/>
                  </a:lnTo>
                  <a:lnTo>
                    <a:pt x="119" y="99"/>
                  </a:lnTo>
                  <a:lnTo>
                    <a:pt x="121" y="97"/>
                  </a:lnTo>
                  <a:lnTo>
                    <a:pt x="123" y="95"/>
                  </a:lnTo>
                  <a:lnTo>
                    <a:pt x="123" y="94"/>
                  </a:lnTo>
                  <a:lnTo>
                    <a:pt x="124" y="94"/>
                  </a:lnTo>
                  <a:lnTo>
                    <a:pt x="123" y="90"/>
                  </a:lnTo>
                  <a:lnTo>
                    <a:pt x="124" y="89"/>
                  </a:lnTo>
                  <a:lnTo>
                    <a:pt x="126" y="87"/>
                  </a:lnTo>
                  <a:lnTo>
                    <a:pt x="129" y="85"/>
                  </a:lnTo>
                  <a:lnTo>
                    <a:pt x="129" y="83"/>
                  </a:lnTo>
                  <a:lnTo>
                    <a:pt x="131" y="85"/>
                  </a:lnTo>
                  <a:lnTo>
                    <a:pt x="135" y="85"/>
                  </a:lnTo>
                  <a:lnTo>
                    <a:pt x="136" y="83"/>
                  </a:lnTo>
                  <a:lnTo>
                    <a:pt x="138" y="82"/>
                  </a:lnTo>
                  <a:lnTo>
                    <a:pt x="141" y="82"/>
                  </a:lnTo>
                  <a:lnTo>
                    <a:pt x="143" y="82"/>
                  </a:lnTo>
                  <a:lnTo>
                    <a:pt x="145" y="82"/>
                  </a:lnTo>
                  <a:lnTo>
                    <a:pt x="145" y="83"/>
                  </a:lnTo>
                  <a:lnTo>
                    <a:pt x="148" y="82"/>
                  </a:lnTo>
                  <a:lnTo>
                    <a:pt x="150" y="83"/>
                  </a:lnTo>
                  <a:lnTo>
                    <a:pt x="152" y="83"/>
                  </a:lnTo>
                  <a:lnTo>
                    <a:pt x="153" y="83"/>
                  </a:lnTo>
                  <a:lnTo>
                    <a:pt x="155" y="82"/>
                  </a:lnTo>
                  <a:lnTo>
                    <a:pt x="157" y="82"/>
                  </a:lnTo>
                  <a:lnTo>
                    <a:pt x="158" y="82"/>
                  </a:lnTo>
                  <a:lnTo>
                    <a:pt x="160" y="80"/>
                  </a:lnTo>
                  <a:lnTo>
                    <a:pt x="160" y="78"/>
                  </a:lnTo>
                  <a:lnTo>
                    <a:pt x="160" y="77"/>
                  </a:lnTo>
                  <a:lnTo>
                    <a:pt x="162" y="77"/>
                  </a:lnTo>
                  <a:lnTo>
                    <a:pt x="163" y="78"/>
                  </a:lnTo>
                  <a:lnTo>
                    <a:pt x="165" y="78"/>
                  </a:lnTo>
                  <a:lnTo>
                    <a:pt x="167" y="77"/>
                  </a:lnTo>
                  <a:lnTo>
                    <a:pt x="167" y="75"/>
                  </a:lnTo>
                  <a:lnTo>
                    <a:pt x="165" y="73"/>
                  </a:lnTo>
                  <a:lnTo>
                    <a:pt x="165" y="72"/>
                  </a:lnTo>
                  <a:lnTo>
                    <a:pt x="165" y="70"/>
                  </a:lnTo>
                  <a:lnTo>
                    <a:pt x="165" y="68"/>
                  </a:lnTo>
                  <a:lnTo>
                    <a:pt x="165" y="66"/>
                  </a:lnTo>
                  <a:lnTo>
                    <a:pt x="167" y="65"/>
                  </a:lnTo>
                  <a:lnTo>
                    <a:pt x="169" y="65"/>
                  </a:lnTo>
                  <a:lnTo>
                    <a:pt x="170" y="63"/>
                  </a:lnTo>
                  <a:lnTo>
                    <a:pt x="174" y="63"/>
                  </a:lnTo>
                  <a:lnTo>
                    <a:pt x="177" y="63"/>
                  </a:lnTo>
                  <a:lnTo>
                    <a:pt x="179" y="63"/>
                  </a:lnTo>
                  <a:lnTo>
                    <a:pt x="180" y="63"/>
                  </a:lnTo>
                  <a:lnTo>
                    <a:pt x="182" y="63"/>
                  </a:lnTo>
                  <a:lnTo>
                    <a:pt x="184" y="63"/>
                  </a:lnTo>
                  <a:lnTo>
                    <a:pt x="186" y="61"/>
                  </a:lnTo>
                  <a:lnTo>
                    <a:pt x="187" y="61"/>
                  </a:lnTo>
                  <a:lnTo>
                    <a:pt x="189" y="60"/>
                  </a:lnTo>
                  <a:lnTo>
                    <a:pt x="189" y="58"/>
                  </a:lnTo>
                  <a:lnTo>
                    <a:pt x="191" y="56"/>
                  </a:lnTo>
                  <a:lnTo>
                    <a:pt x="192" y="55"/>
                  </a:lnTo>
                  <a:lnTo>
                    <a:pt x="194" y="55"/>
                  </a:lnTo>
                  <a:lnTo>
                    <a:pt x="196" y="58"/>
                  </a:lnTo>
                  <a:lnTo>
                    <a:pt x="196" y="56"/>
                  </a:lnTo>
                  <a:lnTo>
                    <a:pt x="197" y="55"/>
                  </a:lnTo>
                  <a:lnTo>
                    <a:pt x="199" y="53"/>
                  </a:lnTo>
                  <a:lnTo>
                    <a:pt x="203" y="53"/>
                  </a:lnTo>
                  <a:lnTo>
                    <a:pt x="204" y="53"/>
                  </a:lnTo>
                  <a:lnTo>
                    <a:pt x="206" y="55"/>
                  </a:lnTo>
                  <a:lnTo>
                    <a:pt x="208" y="53"/>
                  </a:lnTo>
                  <a:lnTo>
                    <a:pt x="208" y="55"/>
                  </a:lnTo>
                  <a:lnTo>
                    <a:pt x="211" y="53"/>
                  </a:lnTo>
                  <a:lnTo>
                    <a:pt x="211" y="51"/>
                  </a:lnTo>
                  <a:lnTo>
                    <a:pt x="214" y="51"/>
                  </a:lnTo>
                  <a:lnTo>
                    <a:pt x="216" y="51"/>
                  </a:lnTo>
                  <a:lnTo>
                    <a:pt x="218" y="49"/>
                  </a:lnTo>
                  <a:lnTo>
                    <a:pt x="218" y="48"/>
                  </a:lnTo>
                  <a:lnTo>
                    <a:pt x="220" y="48"/>
                  </a:lnTo>
                  <a:lnTo>
                    <a:pt x="221" y="46"/>
                  </a:lnTo>
                  <a:lnTo>
                    <a:pt x="223" y="46"/>
                  </a:lnTo>
                  <a:lnTo>
                    <a:pt x="223" y="43"/>
                  </a:lnTo>
                  <a:lnTo>
                    <a:pt x="225" y="46"/>
                  </a:lnTo>
                  <a:lnTo>
                    <a:pt x="226" y="46"/>
                  </a:lnTo>
                  <a:lnTo>
                    <a:pt x="228" y="46"/>
                  </a:lnTo>
                  <a:lnTo>
                    <a:pt x="230" y="43"/>
                  </a:lnTo>
                  <a:lnTo>
                    <a:pt x="231" y="44"/>
                  </a:lnTo>
                  <a:lnTo>
                    <a:pt x="231" y="43"/>
                  </a:lnTo>
                  <a:lnTo>
                    <a:pt x="231" y="41"/>
                  </a:lnTo>
                  <a:lnTo>
                    <a:pt x="230" y="39"/>
                  </a:lnTo>
                  <a:lnTo>
                    <a:pt x="231" y="37"/>
                  </a:lnTo>
                  <a:lnTo>
                    <a:pt x="235" y="37"/>
                  </a:lnTo>
                  <a:lnTo>
                    <a:pt x="237" y="37"/>
                  </a:lnTo>
                  <a:lnTo>
                    <a:pt x="238" y="36"/>
                  </a:lnTo>
                  <a:lnTo>
                    <a:pt x="240" y="34"/>
                  </a:lnTo>
                  <a:lnTo>
                    <a:pt x="242" y="34"/>
                  </a:lnTo>
                  <a:lnTo>
                    <a:pt x="243" y="36"/>
                  </a:lnTo>
                  <a:lnTo>
                    <a:pt x="243" y="37"/>
                  </a:lnTo>
                  <a:lnTo>
                    <a:pt x="245" y="36"/>
                  </a:lnTo>
                  <a:lnTo>
                    <a:pt x="247" y="36"/>
                  </a:lnTo>
                  <a:lnTo>
                    <a:pt x="248" y="34"/>
                  </a:lnTo>
                  <a:lnTo>
                    <a:pt x="252" y="36"/>
                  </a:lnTo>
                  <a:lnTo>
                    <a:pt x="252" y="32"/>
                  </a:lnTo>
                  <a:lnTo>
                    <a:pt x="254" y="31"/>
                  </a:lnTo>
                  <a:lnTo>
                    <a:pt x="255" y="32"/>
                  </a:lnTo>
                  <a:lnTo>
                    <a:pt x="257" y="36"/>
                  </a:lnTo>
                  <a:lnTo>
                    <a:pt x="259" y="37"/>
                  </a:lnTo>
                  <a:lnTo>
                    <a:pt x="260" y="41"/>
                  </a:lnTo>
                  <a:lnTo>
                    <a:pt x="264" y="39"/>
                  </a:lnTo>
                  <a:lnTo>
                    <a:pt x="264" y="41"/>
                  </a:lnTo>
                  <a:lnTo>
                    <a:pt x="264" y="39"/>
                  </a:lnTo>
                  <a:lnTo>
                    <a:pt x="267" y="39"/>
                  </a:lnTo>
                  <a:lnTo>
                    <a:pt x="269" y="41"/>
                  </a:lnTo>
                  <a:lnTo>
                    <a:pt x="269" y="43"/>
                  </a:lnTo>
                  <a:lnTo>
                    <a:pt x="272" y="44"/>
                  </a:lnTo>
                  <a:lnTo>
                    <a:pt x="272" y="43"/>
                  </a:lnTo>
                  <a:lnTo>
                    <a:pt x="272" y="41"/>
                  </a:lnTo>
                  <a:lnTo>
                    <a:pt x="272" y="39"/>
                  </a:lnTo>
                  <a:lnTo>
                    <a:pt x="274" y="39"/>
                  </a:lnTo>
                  <a:lnTo>
                    <a:pt x="277" y="37"/>
                  </a:lnTo>
                  <a:lnTo>
                    <a:pt x="279" y="39"/>
                  </a:lnTo>
                  <a:lnTo>
                    <a:pt x="281" y="39"/>
                  </a:lnTo>
                  <a:lnTo>
                    <a:pt x="284" y="39"/>
                  </a:lnTo>
                  <a:lnTo>
                    <a:pt x="286" y="41"/>
                  </a:lnTo>
                  <a:lnTo>
                    <a:pt x="289" y="41"/>
                  </a:lnTo>
                  <a:lnTo>
                    <a:pt x="293" y="43"/>
                  </a:lnTo>
                  <a:lnTo>
                    <a:pt x="294" y="43"/>
                  </a:lnTo>
                  <a:lnTo>
                    <a:pt x="296" y="46"/>
                  </a:lnTo>
                  <a:lnTo>
                    <a:pt x="299" y="46"/>
                  </a:lnTo>
                  <a:lnTo>
                    <a:pt x="301" y="44"/>
                  </a:lnTo>
                  <a:lnTo>
                    <a:pt x="303" y="43"/>
                  </a:lnTo>
                  <a:lnTo>
                    <a:pt x="306" y="43"/>
                  </a:lnTo>
                  <a:lnTo>
                    <a:pt x="308" y="39"/>
                  </a:lnTo>
                  <a:lnTo>
                    <a:pt x="311" y="41"/>
                  </a:lnTo>
                  <a:lnTo>
                    <a:pt x="311" y="37"/>
                  </a:lnTo>
                  <a:lnTo>
                    <a:pt x="315" y="37"/>
                  </a:lnTo>
                  <a:lnTo>
                    <a:pt x="316" y="36"/>
                  </a:lnTo>
                  <a:lnTo>
                    <a:pt x="318" y="36"/>
                  </a:lnTo>
                  <a:lnTo>
                    <a:pt x="320" y="37"/>
                  </a:lnTo>
                  <a:lnTo>
                    <a:pt x="320" y="36"/>
                  </a:lnTo>
                  <a:lnTo>
                    <a:pt x="322" y="34"/>
                  </a:lnTo>
                  <a:lnTo>
                    <a:pt x="323" y="34"/>
                  </a:lnTo>
                  <a:lnTo>
                    <a:pt x="325" y="32"/>
                  </a:lnTo>
                  <a:lnTo>
                    <a:pt x="328" y="32"/>
                  </a:lnTo>
                  <a:lnTo>
                    <a:pt x="328" y="34"/>
                  </a:lnTo>
                  <a:lnTo>
                    <a:pt x="332" y="32"/>
                  </a:lnTo>
                  <a:lnTo>
                    <a:pt x="333" y="32"/>
                  </a:lnTo>
                  <a:lnTo>
                    <a:pt x="335" y="31"/>
                  </a:lnTo>
                  <a:lnTo>
                    <a:pt x="337" y="29"/>
                  </a:lnTo>
                  <a:lnTo>
                    <a:pt x="339" y="29"/>
                  </a:lnTo>
                  <a:lnTo>
                    <a:pt x="340" y="27"/>
                  </a:lnTo>
                  <a:lnTo>
                    <a:pt x="342" y="26"/>
                  </a:lnTo>
                  <a:lnTo>
                    <a:pt x="342" y="22"/>
                  </a:lnTo>
                  <a:lnTo>
                    <a:pt x="344" y="20"/>
                  </a:lnTo>
                  <a:lnTo>
                    <a:pt x="342" y="20"/>
                  </a:lnTo>
                  <a:lnTo>
                    <a:pt x="340" y="19"/>
                  </a:lnTo>
                  <a:lnTo>
                    <a:pt x="340" y="17"/>
                  </a:lnTo>
                  <a:lnTo>
                    <a:pt x="342" y="15"/>
                  </a:lnTo>
                  <a:lnTo>
                    <a:pt x="340" y="14"/>
                  </a:lnTo>
                  <a:lnTo>
                    <a:pt x="339" y="14"/>
                  </a:lnTo>
                  <a:lnTo>
                    <a:pt x="339" y="10"/>
                  </a:lnTo>
                  <a:lnTo>
                    <a:pt x="337" y="9"/>
                  </a:lnTo>
                  <a:lnTo>
                    <a:pt x="335" y="9"/>
                  </a:lnTo>
                  <a:lnTo>
                    <a:pt x="333" y="9"/>
                  </a:lnTo>
                  <a:lnTo>
                    <a:pt x="333" y="7"/>
                  </a:lnTo>
                  <a:lnTo>
                    <a:pt x="332" y="5"/>
                  </a:lnTo>
                  <a:lnTo>
                    <a:pt x="333" y="3"/>
                  </a:lnTo>
                  <a:lnTo>
                    <a:pt x="335" y="3"/>
                  </a:lnTo>
                  <a:lnTo>
                    <a:pt x="335" y="2"/>
                  </a:lnTo>
                  <a:lnTo>
                    <a:pt x="337" y="0"/>
                  </a:lnTo>
                  <a:lnTo>
                    <a:pt x="339" y="0"/>
                  </a:lnTo>
                  <a:lnTo>
                    <a:pt x="340" y="0"/>
                  </a:lnTo>
                  <a:lnTo>
                    <a:pt x="342" y="0"/>
                  </a:lnTo>
                  <a:lnTo>
                    <a:pt x="344" y="2"/>
                  </a:lnTo>
                  <a:lnTo>
                    <a:pt x="345" y="0"/>
                  </a:lnTo>
                  <a:lnTo>
                    <a:pt x="347" y="0"/>
                  </a:lnTo>
                  <a:close/>
                  <a:moveTo>
                    <a:pt x="294" y="454"/>
                  </a:moveTo>
                  <a:lnTo>
                    <a:pt x="296" y="456"/>
                  </a:lnTo>
                  <a:lnTo>
                    <a:pt x="294" y="456"/>
                  </a:lnTo>
                  <a:lnTo>
                    <a:pt x="296" y="458"/>
                  </a:lnTo>
                  <a:lnTo>
                    <a:pt x="296" y="459"/>
                  </a:lnTo>
                  <a:lnTo>
                    <a:pt x="296" y="461"/>
                  </a:lnTo>
                  <a:lnTo>
                    <a:pt x="298" y="461"/>
                  </a:lnTo>
                  <a:lnTo>
                    <a:pt x="298" y="464"/>
                  </a:lnTo>
                  <a:lnTo>
                    <a:pt x="301" y="464"/>
                  </a:lnTo>
                  <a:lnTo>
                    <a:pt x="303" y="464"/>
                  </a:lnTo>
                  <a:lnTo>
                    <a:pt x="306" y="464"/>
                  </a:lnTo>
                  <a:lnTo>
                    <a:pt x="310" y="464"/>
                  </a:lnTo>
                  <a:lnTo>
                    <a:pt x="310" y="463"/>
                  </a:lnTo>
                  <a:lnTo>
                    <a:pt x="313" y="463"/>
                  </a:lnTo>
                  <a:lnTo>
                    <a:pt x="313" y="459"/>
                  </a:lnTo>
                  <a:lnTo>
                    <a:pt x="315" y="459"/>
                  </a:lnTo>
                  <a:lnTo>
                    <a:pt x="313" y="458"/>
                  </a:lnTo>
                  <a:lnTo>
                    <a:pt x="315" y="458"/>
                  </a:lnTo>
                  <a:lnTo>
                    <a:pt x="316" y="456"/>
                  </a:lnTo>
                  <a:lnTo>
                    <a:pt x="318" y="456"/>
                  </a:lnTo>
                  <a:lnTo>
                    <a:pt x="320" y="456"/>
                  </a:lnTo>
                  <a:lnTo>
                    <a:pt x="322" y="458"/>
                  </a:lnTo>
                  <a:lnTo>
                    <a:pt x="322" y="459"/>
                  </a:lnTo>
                  <a:lnTo>
                    <a:pt x="322" y="463"/>
                  </a:lnTo>
                  <a:lnTo>
                    <a:pt x="320" y="463"/>
                  </a:lnTo>
                  <a:lnTo>
                    <a:pt x="316" y="463"/>
                  </a:lnTo>
                  <a:lnTo>
                    <a:pt x="315" y="463"/>
                  </a:lnTo>
                  <a:lnTo>
                    <a:pt x="315" y="464"/>
                  </a:lnTo>
                  <a:lnTo>
                    <a:pt x="316" y="464"/>
                  </a:lnTo>
                  <a:lnTo>
                    <a:pt x="318" y="466"/>
                  </a:lnTo>
                  <a:lnTo>
                    <a:pt x="320" y="464"/>
                  </a:lnTo>
                  <a:lnTo>
                    <a:pt x="323" y="466"/>
                  </a:lnTo>
                  <a:lnTo>
                    <a:pt x="325" y="464"/>
                  </a:lnTo>
                  <a:lnTo>
                    <a:pt x="327" y="464"/>
                  </a:lnTo>
                  <a:lnTo>
                    <a:pt x="327" y="466"/>
                  </a:lnTo>
                  <a:lnTo>
                    <a:pt x="327" y="468"/>
                  </a:lnTo>
                  <a:lnTo>
                    <a:pt x="328" y="470"/>
                  </a:lnTo>
                  <a:lnTo>
                    <a:pt x="328" y="471"/>
                  </a:lnTo>
                  <a:lnTo>
                    <a:pt x="330" y="471"/>
                  </a:lnTo>
                  <a:lnTo>
                    <a:pt x="333" y="471"/>
                  </a:lnTo>
                  <a:lnTo>
                    <a:pt x="335" y="470"/>
                  </a:lnTo>
                  <a:lnTo>
                    <a:pt x="337" y="470"/>
                  </a:lnTo>
                  <a:lnTo>
                    <a:pt x="340" y="470"/>
                  </a:lnTo>
                  <a:lnTo>
                    <a:pt x="340" y="468"/>
                  </a:lnTo>
                  <a:lnTo>
                    <a:pt x="342" y="468"/>
                  </a:lnTo>
                  <a:lnTo>
                    <a:pt x="345" y="468"/>
                  </a:lnTo>
                  <a:lnTo>
                    <a:pt x="347" y="466"/>
                  </a:lnTo>
                  <a:lnTo>
                    <a:pt x="349" y="464"/>
                  </a:lnTo>
                  <a:lnTo>
                    <a:pt x="350" y="463"/>
                  </a:lnTo>
                  <a:lnTo>
                    <a:pt x="352" y="461"/>
                  </a:lnTo>
                  <a:lnTo>
                    <a:pt x="356" y="461"/>
                  </a:lnTo>
                  <a:lnTo>
                    <a:pt x="357" y="461"/>
                  </a:lnTo>
                  <a:lnTo>
                    <a:pt x="359" y="463"/>
                  </a:lnTo>
                  <a:lnTo>
                    <a:pt x="361" y="461"/>
                  </a:lnTo>
                  <a:lnTo>
                    <a:pt x="362" y="461"/>
                  </a:lnTo>
                  <a:lnTo>
                    <a:pt x="364" y="459"/>
                  </a:lnTo>
                  <a:lnTo>
                    <a:pt x="366" y="461"/>
                  </a:lnTo>
                  <a:lnTo>
                    <a:pt x="367" y="461"/>
                  </a:lnTo>
                  <a:lnTo>
                    <a:pt x="369" y="458"/>
                  </a:lnTo>
                  <a:lnTo>
                    <a:pt x="369" y="459"/>
                  </a:lnTo>
                  <a:lnTo>
                    <a:pt x="371" y="458"/>
                  </a:lnTo>
                  <a:lnTo>
                    <a:pt x="373" y="459"/>
                  </a:lnTo>
                  <a:lnTo>
                    <a:pt x="373" y="461"/>
                  </a:lnTo>
                  <a:lnTo>
                    <a:pt x="374" y="463"/>
                  </a:lnTo>
                  <a:lnTo>
                    <a:pt x="376" y="463"/>
                  </a:lnTo>
                  <a:lnTo>
                    <a:pt x="378" y="463"/>
                  </a:lnTo>
                  <a:lnTo>
                    <a:pt x="381" y="461"/>
                  </a:lnTo>
                  <a:lnTo>
                    <a:pt x="379" y="463"/>
                  </a:lnTo>
                  <a:lnTo>
                    <a:pt x="383" y="461"/>
                  </a:lnTo>
                  <a:lnTo>
                    <a:pt x="383" y="463"/>
                  </a:lnTo>
                  <a:lnTo>
                    <a:pt x="384" y="463"/>
                  </a:lnTo>
                  <a:lnTo>
                    <a:pt x="386" y="461"/>
                  </a:lnTo>
                  <a:lnTo>
                    <a:pt x="390" y="461"/>
                  </a:lnTo>
                  <a:lnTo>
                    <a:pt x="393" y="459"/>
                  </a:lnTo>
                  <a:lnTo>
                    <a:pt x="395" y="459"/>
                  </a:lnTo>
                  <a:lnTo>
                    <a:pt x="395" y="461"/>
                  </a:lnTo>
                  <a:lnTo>
                    <a:pt x="396" y="463"/>
                  </a:lnTo>
                  <a:lnTo>
                    <a:pt x="398" y="463"/>
                  </a:lnTo>
                  <a:lnTo>
                    <a:pt x="400" y="461"/>
                  </a:lnTo>
                  <a:lnTo>
                    <a:pt x="403" y="459"/>
                  </a:lnTo>
                  <a:lnTo>
                    <a:pt x="405" y="459"/>
                  </a:lnTo>
                  <a:lnTo>
                    <a:pt x="407" y="458"/>
                  </a:lnTo>
                  <a:lnTo>
                    <a:pt x="408" y="456"/>
                  </a:lnTo>
                  <a:lnTo>
                    <a:pt x="410" y="456"/>
                  </a:lnTo>
                  <a:lnTo>
                    <a:pt x="412" y="456"/>
                  </a:lnTo>
                  <a:lnTo>
                    <a:pt x="413" y="454"/>
                  </a:lnTo>
                  <a:lnTo>
                    <a:pt x="415" y="454"/>
                  </a:lnTo>
                  <a:lnTo>
                    <a:pt x="417" y="454"/>
                  </a:lnTo>
                  <a:lnTo>
                    <a:pt x="417" y="456"/>
                  </a:lnTo>
                  <a:lnTo>
                    <a:pt x="415" y="458"/>
                  </a:lnTo>
                  <a:lnTo>
                    <a:pt x="415" y="461"/>
                  </a:lnTo>
                  <a:lnTo>
                    <a:pt x="417" y="463"/>
                  </a:lnTo>
                  <a:lnTo>
                    <a:pt x="415" y="464"/>
                  </a:lnTo>
                  <a:lnTo>
                    <a:pt x="415" y="466"/>
                  </a:lnTo>
                  <a:lnTo>
                    <a:pt x="415" y="468"/>
                  </a:lnTo>
                  <a:lnTo>
                    <a:pt x="417" y="468"/>
                  </a:lnTo>
                  <a:lnTo>
                    <a:pt x="417" y="470"/>
                  </a:lnTo>
                  <a:lnTo>
                    <a:pt x="418" y="470"/>
                  </a:lnTo>
                  <a:lnTo>
                    <a:pt x="420" y="470"/>
                  </a:lnTo>
                  <a:lnTo>
                    <a:pt x="422" y="471"/>
                  </a:lnTo>
                  <a:lnTo>
                    <a:pt x="424" y="468"/>
                  </a:lnTo>
                  <a:lnTo>
                    <a:pt x="424" y="466"/>
                  </a:lnTo>
                  <a:lnTo>
                    <a:pt x="425" y="464"/>
                  </a:lnTo>
                  <a:lnTo>
                    <a:pt x="429" y="463"/>
                  </a:lnTo>
                  <a:lnTo>
                    <a:pt x="430" y="463"/>
                  </a:lnTo>
                  <a:lnTo>
                    <a:pt x="432" y="461"/>
                  </a:lnTo>
                  <a:lnTo>
                    <a:pt x="432" y="459"/>
                  </a:lnTo>
                  <a:lnTo>
                    <a:pt x="435" y="458"/>
                  </a:lnTo>
                  <a:lnTo>
                    <a:pt x="435" y="459"/>
                  </a:lnTo>
                  <a:lnTo>
                    <a:pt x="437" y="459"/>
                  </a:lnTo>
                  <a:lnTo>
                    <a:pt x="437" y="458"/>
                  </a:lnTo>
                  <a:lnTo>
                    <a:pt x="439" y="459"/>
                  </a:lnTo>
                  <a:lnTo>
                    <a:pt x="441" y="459"/>
                  </a:lnTo>
                  <a:lnTo>
                    <a:pt x="442" y="459"/>
                  </a:lnTo>
                  <a:lnTo>
                    <a:pt x="442" y="458"/>
                  </a:lnTo>
                  <a:lnTo>
                    <a:pt x="444" y="454"/>
                  </a:lnTo>
                  <a:lnTo>
                    <a:pt x="444" y="453"/>
                  </a:lnTo>
                  <a:lnTo>
                    <a:pt x="446" y="453"/>
                  </a:lnTo>
                  <a:lnTo>
                    <a:pt x="447" y="453"/>
                  </a:lnTo>
                  <a:lnTo>
                    <a:pt x="446" y="451"/>
                  </a:lnTo>
                  <a:lnTo>
                    <a:pt x="447" y="451"/>
                  </a:lnTo>
                  <a:lnTo>
                    <a:pt x="446" y="449"/>
                  </a:lnTo>
                  <a:lnTo>
                    <a:pt x="447" y="449"/>
                  </a:lnTo>
                  <a:lnTo>
                    <a:pt x="447" y="451"/>
                  </a:lnTo>
                  <a:lnTo>
                    <a:pt x="447" y="453"/>
                  </a:lnTo>
                  <a:lnTo>
                    <a:pt x="446" y="454"/>
                  </a:lnTo>
                  <a:lnTo>
                    <a:pt x="447" y="456"/>
                  </a:lnTo>
                  <a:lnTo>
                    <a:pt x="447" y="458"/>
                  </a:lnTo>
                  <a:lnTo>
                    <a:pt x="449" y="458"/>
                  </a:lnTo>
                  <a:lnTo>
                    <a:pt x="451" y="458"/>
                  </a:lnTo>
                  <a:lnTo>
                    <a:pt x="451" y="459"/>
                  </a:lnTo>
                  <a:lnTo>
                    <a:pt x="449" y="459"/>
                  </a:lnTo>
                  <a:lnTo>
                    <a:pt x="449" y="461"/>
                  </a:lnTo>
                  <a:lnTo>
                    <a:pt x="449" y="464"/>
                  </a:lnTo>
                  <a:lnTo>
                    <a:pt x="449" y="466"/>
                  </a:lnTo>
                  <a:lnTo>
                    <a:pt x="449" y="468"/>
                  </a:lnTo>
                  <a:lnTo>
                    <a:pt x="447" y="470"/>
                  </a:lnTo>
                  <a:lnTo>
                    <a:pt x="446" y="473"/>
                  </a:lnTo>
                  <a:lnTo>
                    <a:pt x="444" y="473"/>
                  </a:lnTo>
                  <a:lnTo>
                    <a:pt x="442" y="475"/>
                  </a:lnTo>
                  <a:lnTo>
                    <a:pt x="441" y="475"/>
                  </a:lnTo>
                  <a:lnTo>
                    <a:pt x="441" y="473"/>
                  </a:lnTo>
                  <a:lnTo>
                    <a:pt x="439" y="473"/>
                  </a:lnTo>
                  <a:lnTo>
                    <a:pt x="437" y="475"/>
                  </a:lnTo>
                  <a:lnTo>
                    <a:pt x="435" y="475"/>
                  </a:lnTo>
                  <a:lnTo>
                    <a:pt x="434" y="473"/>
                  </a:lnTo>
                  <a:lnTo>
                    <a:pt x="432" y="475"/>
                  </a:lnTo>
                  <a:lnTo>
                    <a:pt x="430" y="475"/>
                  </a:lnTo>
                  <a:lnTo>
                    <a:pt x="429" y="475"/>
                  </a:lnTo>
                  <a:lnTo>
                    <a:pt x="427" y="476"/>
                  </a:lnTo>
                  <a:lnTo>
                    <a:pt x="425" y="476"/>
                  </a:lnTo>
                  <a:lnTo>
                    <a:pt x="424" y="478"/>
                  </a:lnTo>
                  <a:lnTo>
                    <a:pt x="420" y="478"/>
                  </a:lnTo>
                  <a:lnTo>
                    <a:pt x="420" y="480"/>
                  </a:lnTo>
                  <a:lnTo>
                    <a:pt x="417" y="478"/>
                  </a:lnTo>
                  <a:lnTo>
                    <a:pt x="415" y="480"/>
                  </a:lnTo>
                  <a:lnTo>
                    <a:pt x="412" y="480"/>
                  </a:lnTo>
                  <a:lnTo>
                    <a:pt x="408" y="483"/>
                  </a:lnTo>
                  <a:lnTo>
                    <a:pt x="407" y="483"/>
                  </a:lnTo>
                  <a:lnTo>
                    <a:pt x="403" y="483"/>
                  </a:lnTo>
                  <a:lnTo>
                    <a:pt x="401" y="485"/>
                  </a:lnTo>
                  <a:lnTo>
                    <a:pt x="398" y="483"/>
                  </a:lnTo>
                  <a:lnTo>
                    <a:pt x="396" y="485"/>
                  </a:lnTo>
                  <a:lnTo>
                    <a:pt x="393" y="487"/>
                  </a:lnTo>
                  <a:lnTo>
                    <a:pt x="393" y="488"/>
                  </a:lnTo>
                  <a:lnTo>
                    <a:pt x="390" y="490"/>
                  </a:lnTo>
                  <a:lnTo>
                    <a:pt x="388" y="490"/>
                  </a:lnTo>
                  <a:lnTo>
                    <a:pt x="386" y="490"/>
                  </a:lnTo>
                  <a:lnTo>
                    <a:pt x="383" y="492"/>
                  </a:lnTo>
                  <a:lnTo>
                    <a:pt x="379" y="492"/>
                  </a:lnTo>
                  <a:lnTo>
                    <a:pt x="379" y="493"/>
                  </a:lnTo>
                  <a:lnTo>
                    <a:pt x="376" y="495"/>
                  </a:lnTo>
                  <a:lnTo>
                    <a:pt x="374" y="493"/>
                  </a:lnTo>
                  <a:lnTo>
                    <a:pt x="373" y="495"/>
                  </a:lnTo>
                  <a:lnTo>
                    <a:pt x="371" y="495"/>
                  </a:lnTo>
                  <a:lnTo>
                    <a:pt x="367" y="495"/>
                  </a:lnTo>
                  <a:lnTo>
                    <a:pt x="366" y="497"/>
                  </a:lnTo>
                  <a:lnTo>
                    <a:pt x="364" y="497"/>
                  </a:lnTo>
                  <a:lnTo>
                    <a:pt x="362" y="497"/>
                  </a:lnTo>
                  <a:lnTo>
                    <a:pt x="362" y="495"/>
                  </a:lnTo>
                  <a:lnTo>
                    <a:pt x="362" y="492"/>
                  </a:lnTo>
                  <a:lnTo>
                    <a:pt x="362" y="490"/>
                  </a:lnTo>
                  <a:lnTo>
                    <a:pt x="361" y="488"/>
                  </a:lnTo>
                  <a:lnTo>
                    <a:pt x="361" y="487"/>
                  </a:lnTo>
                  <a:lnTo>
                    <a:pt x="357" y="485"/>
                  </a:lnTo>
                  <a:lnTo>
                    <a:pt x="354" y="487"/>
                  </a:lnTo>
                  <a:lnTo>
                    <a:pt x="352" y="487"/>
                  </a:lnTo>
                  <a:lnTo>
                    <a:pt x="350" y="487"/>
                  </a:lnTo>
                  <a:lnTo>
                    <a:pt x="349" y="487"/>
                  </a:lnTo>
                  <a:lnTo>
                    <a:pt x="347" y="485"/>
                  </a:lnTo>
                  <a:lnTo>
                    <a:pt x="344" y="483"/>
                  </a:lnTo>
                  <a:lnTo>
                    <a:pt x="342" y="485"/>
                  </a:lnTo>
                  <a:lnTo>
                    <a:pt x="340" y="483"/>
                  </a:lnTo>
                  <a:lnTo>
                    <a:pt x="339" y="483"/>
                  </a:lnTo>
                  <a:lnTo>
                    <a:pt x="339" y="481"/>
                  </a:lnTo>
                  <a:lnTo>
                    <a:pt x="337" y="483"/>
                  </a:lnTo>
                  <a:lnTo>
                    <a:pt x="333" y="483"/>
                  </a:lnTo>
                  <a:lnTo>
                    <a:pt x="332" y="485"/>
                  </a:lnTo>
                  <a:lnTo>
                    <a:pt x="328" y="485"/>
                  </a:lnTo>
                  <a:lnTo>
                    <a:pt x="327" y="483"/>
                  </a:lnTo>
                  <a:lnTo>
                    <a:pt x="325" y="485"/>
                  </a:lnTo>
                  <a:lnTo>
                    <a:pt x="323" y="485"/>
                  </a:lnTo>
                  <a:lnTo>
                    <a:pt x="320" y="487"/>
                  </a:lnTo>
                  <a:lnTo>
                    <a:pt x="318" y="487"/>
                  </a:lnTo>
                  <a:lnTo>
                    <a:pt x="316" y="487"/>
                  </a:lnTo>
                  <a:lnTo>
                    <a:pt x="315" y="485"/>
                  </a:lnTo>
                  <a:lnTo>
                    <a:pt x="311" y="485"/>
                  </a:lnTo>
                  <a:lnTo>
                    <a:pt x="310" y="485"/>
                  </a:lnTo>
                  <a:lnTo>
                    <a:pt x="308" y="485"/>
                  </a:lnTo>
                  <a:lnTo>
                    <a:pt x="306" y="485"/>
                  </a:lnTo>
                  <a:lnTo>
                    <a:pt x="305" y="485"/>
                  </a:lnTo>
                  <a:lnTo>
                    <a:pt x="303" y="485"/>
                  </a:lnTo>
                  <a:lnTo>
                    <a:pt x="301" y="487"/>
                  </a:lnTo>
                  <a:lnTo>
                    <a:pt x="299" y="487"/>
                  </a:lnTo>
                  <a:lnTo>
                    <a:pt x="298" y="487"/>
                  </a:lnTo>
                  <a:lnTo>
                    <a:pt x="296" y="488"/>
                  </a:lnTo>
                  <a:lnTo>
                    <a:pt x="294" y="487"/>
                  </a:lnTo>
                  <a:lnTo>
                    <a:pt x="294" y="488"/>
                  </a:lnTo>
                  <a:lnTo>
                    <a:pt x="291" y="488"/>
                  </a:lnTo>
                  <a:lnTo>
                    <a:pt x="289" y="487"/>
                  </a:lnTo>
                  <a:lnTo>
                    <a:pt x="286" y="487"/>
                  </a:lnTo>
                  <a:lnTo>
                    <a:pt x="288" y="487"/>
                  </a:lnTo>
                  <a:lnTo>
                    <a:pt x="286" y="485"/>
                  </a:lnTo>
                  <a:lnTo>
                    <a:pt x="288" y="483"/>
                  </a:lnTo>
                  <a:lnTo>
                    <a:pt x="286" y="481"/>
                  </a:lnTo>
                  <a:lnTo>
                    <a:pt x="286" y="478"/>
                  </a:lnTo>
                  <a:lnTo>
                    <a:pt x="286" y="476"/>
                  </a:lnTo>
                  <a:lnTo>
                    <a:pt x="288" y="475"/>
                  </a:lnTo>
                  <a:lnTo>
                    <a:pt x="286" y="473"/>
                  </a:lnTo>
                  <a:lnTo>
                    <a:pt x="288" y="471"/>
                  </a:lnTo>
                  <a:lnTo>
                    <a:pt x="286" y="470"/>
                  </a:lnTo>
                  <a:lnTo>
                    <a:pt x="286" y="466"/>
                  </a:lnTo>
                  <a:lnTo>
                    <a:pt x="286" y="464"/>
                  </a:lnTo>
                  <a:lnTo>
                    <a:pt x="286" y="463"/>
                  </a:lnTo>
                  <a:lnTo>
                    <a:pt x="286" y="461"/>
                  </a:lnTo>
                  <a:lnTo>
                    <a:pt x="286" y="459"/>
                  </a:lnTo>
                  <a:lnTo>
                    <a:pt x="288" y="461"/>
                  </a:lnTo>
                  <a:lnTo>
                    <a:pt x="286" y="463"/>
                  </a:lnTo>
                  <a:lnTo>
                    <a:pt x="288" y="464"/>
                  </a:lnTo>
                  <a:lnTo>
                    <a:pt x="288" y="468"/>
                  </a:lnTo>
                  <a:lnTo>
                    <a:pt x="289" y="468"/>
                  </a:lnTo>
                  <a:lnTo>
                    <a:pt x="291" y="470"/>
                  </a:lnTo>
                  <a:lnTo>
                    <a:pt x="293" y="468"/>
                  </a:lnTo>
                  <a:lnTo>
                    <a:pt x="294" y="468"/>
                  </a:lnTo>
                  <a:lnTo>
                    <a:pt x="294" y="464"/>
                  </a:lnTo>
                  <a:lnTo>
                    <a:pt x="294" y="463"/>
                  </a:lnTo>
                  <a:lnTo>
                    <a:pt x="293" y="461"/>
                  </a:lnTo>
                  <a:lnTo>
                    <a:pt x="293" y="458"/>
                  </a:lnTo>
                  <a:lnTo>
                    <a:pt x="293" y="456"/>
                  </a:lnTo>
                  <a:lnTo>
                    <a:pt x="293" y="454"/>
                  </a:lnTo>
                  <a:lnTo>
                    <a:pt x="294" y="454"/>
                  </a:lnTo>
                  <a:close/>
                  <a:moveTo>
                    <a:pt x="223" y="221"/>
                  </a:moveTo>
                  <a:lnTo>
                    <a:pt x="226" y="223"/>
                  </a:lnTo>
                  <a:lnTo>
                    <a:pt x="228" y="223"/>
                  </a:lnTo>
                  <a:lnTo>
                    <a:pt x="230" y="226"/>
                  </a:lnTo>
                  <a:lnTo>
                    <a:pt x="231" y="226"/>
                  </a:lnTo>
                  <a:lnTo>
                    <a:pt x="231" y="230"/>
                  </a:lnTo>
                  <a:lnTo>
                    <a:pt x="233" y="230"/>
                  </a:lnTo>
                  <a:lnTo>
                    <a:pt x="233" y="231"/>
                  </a:lnTo>
                  <a:lnTo>
                    <a:pt x="235" y="233"/>
                  </a:lnTo>
                  <a:lnTo>
                    <a:pt x="238" y="235"/>
                  </a:lnTo>
                  <a:lnTo>
                    <a:pt x="242" y="237"/>
                  </a:lnTo>
                  <a:lnTo>
                    <a:pt x="243" y="237"/>
                  </a:lnTo>
                  <a:lnTo>
                    <a:pt x="243" y="238"/>
                  </a:lnTo>
                  <a:lnTo>
                    <a:pt x="243" y="237"/>
                  </a:lnTo>
                  <a:lnTo>
                    <a:pt x="245" y="238"/>
                  </a:lnTo>
                  <a:lnTo>
                    <a:pt x="247" y="238"/>
                  </a:lnTo>
                  <a:lnTo>
                    <a:pt x="248" y="237"/>
                  </a:lnTo>
                  <a:lnTo>
                    <a:pt x="252" y="238"/>
                  </a:lnTo>
                  <a:lnTo>
                    <a:pt x="254" y="240"/>
                  </a:lnTo>
                  <a:lnTo>
                    <a:pt x="255" y="240"/>
                  </a:lnTo>
                  <a:lnTo>
                    <a:pt x="257" y="240"/>
                  </a:lnTo>
                  <a:lnTo>
                    <a:pt x="259" y="242"/>
                  </a:lnTo>
                  <a:lnTo>
                    <a:pt x="260" y="240"/>
                  </a:lnTo>
                  <a:lnTo>
                    <a:pt x="264" y="242"/>
                  </a:lnTo>
                  <a:lnTo>
                    <a:pt x="265" y="240"/>
                  </a:lnTo>
                  <a:lnTo>
                    <a:pt x="267" y="240"/>
                  </a:lnTo>
                  <a:lnTo>
                    <a:pt x="269" y="238"/>
                  </a:lnTo>
                  <a:lnTo>
                    <a:pt x="271" y="240"/>
                  </a:lnTo>
                  <a:lnTo>
                    <a:pt x="271" y="238"/>
                  </a:lnTo>
                  <a:lnTo>
                    <a:pt x="272" y="238"/>
                  </a:lnTo>
                  <a:lnTo>
                    <a:pt x="274" y="238"/>
                  </a:lnTo>
                  <a:lnTo>
                    <a:pt x="276" y="240"/>
                  </a:lnTo>
                  <a:lnTo>
                    <a:pt x="274" y="242"/>
                  </a:lnTo>
                  <a:lnTo>
                    <a:pt x="274" y="243"/>
                  </a:lnTo>
                  <a:lnTo>
                    <a:pt x="277" y="245"/>
                  </a:lnTo>
                  <a:lnTo>
                    <a:pt x="279" y="247"/>
                  </a:lnTo>
                  <a:lnTo>
                    <a:pt x="281" y="247"/>
                  </a:lnTo>
                  <a:lnTo>
                    <a:pt x="281" y="250"/>
                  </a:lnTo>
                  <a:lnTo>
                    <a:pt x="279" y="250"/>
                  </a:lnTo>
                  <a:lnTo>
                    <a:pt x="281" y="254"/>
                  </a:lnTo>
                  <a:lnTo>
                    <a:pt x="281" y="255"/>
                  </a:lnTo>
                  <a:lnTo>
                    <a:pt x="282" y="255"/>
                  </a:lnTo>
                  <a:lnTo>
                    <a:pt x="281" y="255"/>
                  </a:lnTo>
                  <a:lnTo>
                    <a:pt x="281" y="257"/>
                  </a:lnTo>
                  <a:lnTo>
                    <a:pt x="282" y="259"/>
                  </a:lnTo>
                  <a:lnTo>
                    <a:pt x="282" y="260"/>
                  </a:lnTo>
                  <a:lnTo>
                    <a:pt x="284" y="262"/>
                  </a:lnTo>
                  <a:lnTo>
                    <a:pt x="286" y="264"/>
                  </a:lnTo>
                  <a:lnTo>
                    <a:pt x="288" y="267"/>
                  </a:lnTo>
                  <a:lnTo>
                    <a:pt x="286" y="269"/>
                  </a:lnTo>
                  <a:lnTo>
                    <a:pt x="288" y="271"/>
                  </a:lnTo>
                  <a:lnTo>
                    <a:pt x="291" y="271"/>
                  </a:lnTo>
                  <a:lnTo>
                    <a:pt x="293" y="272"/>
                  </a:lnTo>
                  <a:lnTo>
                    <a:pt x="296" y="271"/>
                  </a:lnTo>
                  <a:lnTo>
                    <a:pt x="298" y="272"/>
                  </a:lnTo>
                  <a:lnTo>
                    <a:pt x="299" y="272"/>
                  </a:lnTo>
                  <a:lnTo>
                    <a:pt x="303" y="271"/>
                  </a:lnTo>
                  <a:lnTo>
                    <a:pt x="305" y="271"/>
                  </a:lnTo>
                  <a:lnTo>
                    <a:pt x="306" y="269"/>
                  </a:lnTo>
                  <a:lnTo>
                    <a:pt x="306" y="271"/>
                  </a:lnTo>
                  <a:lnTo>
                    <a:pt x="306" y="274"/>
                  </a:lnTo>
                  <a:lnTo>
                    <a:pt x="306" y="276"/>
                  </a:lnTo>
                  <a:lnTo>
                    <a:pt x="308" y="276"/>
                  </a:lnTo>
                  <a:lnTo>
                    <a:pt x="308" y="279"/>
                  </a:lnTo>
                  <a:lnTo>
                    <a:pt x="308" y="281"/>
                  </a:lnTo>
                  <a:lnTo>
                    <a:pt x="308" y="282"/>
                  </a:lnTo>
                  <a:lnTo>
                    <a:pt x="306" y="282"/>
                  </a:lnTo>
                  <a:lnTo>
                    <a:pt x="305" y="284"/>
                  </a:lnTo>
                  <a:lnTo>
                    <a:pt x="305" y="286"/>
                  </a:lnTo>
                  <a:lnTo>
                    <a:pt x="303" y="284"/>
                  </a:lnTo>
                  <a:lnTo>
                    <a:pt x="301" y="282"/>
                  </a:lnTo>
                  <a:lnTo>
                    <a:pt x="299" y="281"/>
                  </a:lnTo>
                  <a:lnTo>
                    <a:pt x="298" y="282"/>
                  </a:lnTo>
                  <a:lnTo>
                    <a:pt x="298" y="284"/>
                  </a:lnTo>
                  <a:lnTo>
                    <a:pt x="299" y="284"/>
                  </a:lnTo>
                  <a:lnTo>
                    <a:pt x="298" y="286"/>
                  </a:lnTo>
                  <a:lnTo>
                    <a:pt x="294" y="284"/>
                  </a:lnTo>
                  <a:lnTo>
                    <a:pt x="294" y="282"/>
                  </a:lnTo>
                  <a:lnTo>
                    <a:pt x="293" y="282"/>
                  </a:lnTo>
                  <a:lnTo>
                    <a:pt x="293" y="281"/>
                  </a:lnTo>
                  <a:lnTo>
                    <a:pt x="293" y="279"/>
                  </a:lnTo>
                  <a:lnTo>
                    <a:pt x="291" y="279"/>
                  </a:lnTo>
                  <a:lnTo>
                    <a:pt x="291" y="277"/>
                  </a:lnTo>
                  <a:lnTo>
                    <a:pt x="289" y="277"/>
                  </a:lnTo>
                  <a:lnTo>
                    <a:pt x="286" y="279"/>
                  </a:lnTo>
                  <a:lnTo>
                    <a:pt x="286" y="276"/>
                  </a:lnTo>
                  <a:lnTo>
                    <a:pt x="284" y="276"/>
                  </a:lnTo>
                  <a:lnTo>
                    <a:pt x="286" y="272"/>
                  </a:lnTo>
                  <a:lnTo>
                    <a:pt x="284" y="272"/>
                  </a:lnTo>
                  <a:lnTo>
                    <a:pt x="284" y="271"/>
                  </a:lnTo>
                  <a:lnTo>
                    <a:pt x="281" y="269"/>
                  </a:lnTo>
                  <a:lnTo>
                    <a:pt x="281" y="271"/>
                  </a:lnTo>
                  <a:lnTo>
                    <a:pt x="279" y="271"/>
                  </a:lnTo>
                  <a:lnTo>
                    <a:pt x="281" y="269"/>
                  </a:lnTo>
                  <a:lnTo>
                    <a:pt x="281" y="267"/>
                  </a:lnTo>
                  <a:lnTo>
                    <a:pt x="281" y="265"/>
                  </a:lnTo>
                  <a:lnTo>
                    <a:pt x="279" y="265"/>
                  </a:lnTo>
                  <a:lnTo>
                    <a:pt x="279" y="269"/>
                  </a:lnTo>
                  <a:lnTo>
                    <a:pt x="277" y="265"/>
                  </a:lnTo>
                  <a:lnTo>
                    <a:pt x="279" y="265"/>
                  </a:lnTo>
                  <a:lnTo>
                    <a:pt x="277" y="264"/>
                  </a:lnTo>
                  <a:lnTo>
                    <a:pt x="276" y="264"/>
                  </a:lnTo>
                  <a:lnTo>
                    <a:pt x="272" y="264"/>
                  </a:lnTo>
                  <a:lnTo>
                    <a:pt x="274" y="262"/>
                  </a:lnTo>
                  <a:lnTo>
                    <a:pt x="274" y="260"/>
                  </a:lnTo>
                  <a:lnTo>
                    <a:pt x="274" y="259"/>
                  </a:lnTo>
                  <a:lnTo>
                    <a:pt x="272" y="259"/>
                  </a:lnTo>
                  <a:lnTo>
                    <a:pt x="271" y="259"/>
                  </a:lnTo>
                  <a:lnTo>
                    <a:pt x="269" y="260"/>
                  </a:lnTo>
                  <a:lnTo>
                    <a:pt x="267" y="260"/>
                  </a:lnTo>
                  <a:lnTo>
                    <a:pt x="265" y="260"/>
                  </a:lnTo>
                  <a:lnTo>
                    <a:pt x="262" y="260"/>
                  </a:lnTo>
                  <a:lnTo>
                    <a:pt x="260" y="260"/>
                  </a:lnTo>
                  <a:lnTo>
                    <a:pt x="260" y="262"/>
                  </a:lnTo>
                  <a:lnTo>
                    <a:pt x="259" y="262"/>
                  </a:lnTo>
                  <a:lnTo>
                    <a:pt x="255" y="262"/>
                  </a:lnTo>
                  <a:lnTo>
                    <a:pt x="255" y="260"/>
                  </a:lnTo>
                  <a:lnTo>
                    <a:pt x="252" y="262"/>
                  </a:lnTo>
                  <a:lnTo>
                    <a:pt x="250" y="262"/>
                  </a:lnTo>
                  <a:lnTo>
                    <a:pt x="248" y="260"/>
                  </a:lnTo>
                  <a:lnTo>
                    <a:pt x="248" y="259"/>
                  </a:lnTo>
                  <a:lnTo>
                    <a:pt x="247" y="260"/>
                  </a:lnTo>
                  <a:lnTo>
                    <a:pt x="247" y="257"/>
                  </a:lnTo>
                  <a:lnTo>
                    <a:pt x="248" y="257"/>
                  </a:lnTo>
                  <a:lnTo>
                    <a:pt x="248" y="255"/>
                  </a:lnTo>
                  <a:lnTo>
                    <a:pt x="248" y="254"/>
                  </a:lnTo>
                  <a:lnTo>
                    <a:pt x="247" y="252"/>
                  </a:lnTo>
                  <a:lnTo>
                    <a:pt x="243" y="250"/>
                  </a:lnTo>
                  <a:lnTo>
                    <a:pt x="242" y="252"/>
                  </a:lnTo>
                  <a:lnTo>
                    <a:pt x="242" y="250"/>
                  </a:lnTo>
                  <a:lnTo>
                    <a:pt x="240" y="250"/>
                  </a:lnTo>
                  <a:lnTo>
                    <a:pt x="240" y="248"/>
                  </a:lnTo>
                  <a:lnTo>
                    <a:pt x="237" y="247"/>
                  </a:lnTo>
                  <a:lnTo>
                    <a:pt x="235" y="245"/>
                  </a:lnTo>
                  <a:lnTo>
                    <a:pt x="233" y="245"/>
                  </a:lnTo>
                  <a:lnTo>
                    <a:pt x="230" y="243"/>
                  </a:lnTo>
                  <a:lnTo>
                    <a:pt x="228" y="240"/>
                  </a:lnTo>
                  <a:lnTo>
                    <a:pt x="226" y="240"/>
                  </a:lnTo>
                  <a:lnTo>
                    <a:pt x="223" y="238"/>
                  </a:lnTo>
                  <a:lnTo>
                    <a:pt x="220" y="237"/>
                  </a:lnTo>
                  <a:lnTo>
                    <a:pt x="216" y="237"/>
                  </a:lnTo>
                  <a:lnTo>
                    <a:pt x="214" y="238"/>
                  </a:lnTo>
                  <a:lnTo>
                    <a:pt x="211" y="237"/>
                  </a:lnTo>
                  <a:lnTo>
                    <a:pt x="211" y="235"/>
                  </a:lnTo>
                  <a:lnTo>
                    <a:pt x="208" y="235"/>
                  </a:lnTo>
                  <a:lnTo>
                    <a:pt x="206" y="237"/>
                  </a:lnTo>
                  <a:lnTo>
                    <a:pt x="208" y="237"/>
                  </a:lnTo>
                  <a:lnTo>
                    <a:pt x="209" y="238"/>
                  </a:lnTo>
                  <a:lnTo>
                    <a:pt x="208" y="238"/>
                  </a:lnTo>
                  <a:lnTo>
                    <a:pt x="206" y="240"/>
                  </a:lnTo>
                  <a:lnTo>
                    <a:pt x="203" y="240"/>
                  </a:lnTo>
                  <a:lnTo>
                    <a:pt x="201" y="242"/>
                  </a:lnTo>
                  <a:lnTo>
                    <a:pt x="201" y="240"/>
                  </a:lnTo>
                  <a:lnTo>
                    <a:pt x="201" y="238"/>
                  </a:lnTo>
                  <a:lnTo>
                    <a:pt x="204" y="237"/>
                  </a:lnTo>
                  <a:lnTo>
                    <a:pt x="206" y="235"/>
                  </a:lnTo>
                  <a:lnTo>
                    <a:pt x="208" y="233"/>
                  </a:lnTo>
                  <a:lnTo>
                    <a:pt x="209" y="233"/>
                  </a:lnTo>
                  <a:lnTo>
                    <a:pt x="211" y="231"/>
                  </a:lnTo>
                  <a:lnTo>
                    <a:pt x="211" y="230"/>
                  </a:lnTo>
                  <a:lnTo>
                    <a:pt x="213" y="230"/>
                  </a:lnTo>
                  <a:lnTo>
                    <a:pt x="213" y="228"/>
                  </a:lnTo>
                  <a:lnTo>
                    <a:pt x="214" y="225"/>
                  </a:lnTo>
                  <a:lnTo>
                    <a:pt x="216" y="225"/>
                  </a:lnTo>
                  <a:lnTo>
                    <a:pt x="218" y="225"/>
                  </a:lnTo>
                  <a:lnTo>
                    <a:pt x="220" y="223"/>
                  </a:lnTo>
                  <a:lnTo>
                    <a:pt x="223" y="221"/>
                  </a:lnTo>
                  <a:close/>
                  <a:moveTo>
                    <a:pt x="384" y="162"/>
                  </a:moveTo>
                  <a:lnTo>
                    <a:pt x="384" y="165"/>
                  </a:lnTo>
                  <a:lnTo>
                    <a:pt x="388" y="165"/>
                  </a:lnTo>
                  <a:lnTo>
                    <a:pt x="390" y="165"/>
                  </a:lnTo>
                  <a:lnTo>
                    <a:pt x="390" y="167"/>
                  </a:lnTo>
                  <a:lnTo>
                    <a:pt x="388" y="167"/>
                  </a:lnTo>
                  <a:lnTo>
                    <a:pt x="388" y="168"/>
                  </a:lnTo>
                  <a:lnTo>
                    <a:pt x="388" y="170"/>
                  </a:lnTo>
                  <a:lnTo>
                    <a:pt x="390" y="170"/>
                  </a:lnTo>
                  <a:lnTo>
                    <a:pt x="391" y="172"/>
                  </a:lnTo>
                  <a:lnTo>
                    <a:pt x="393" y="172"/>
                  </a:lnTo>
                  <a:lnTo>
                    <a:pt x="395" y="175"/>
                  </a:lnTo>
                  <a:lnTo>
                    <a:pt x="398" y="175"/>
                  </a:lnTo>
                  <a:lnTo>
                    <a:pt x="398" y="177"/>
                  </a:lnTo>
                  <a:lnTo>
                    <a:pt x="400" y="179"/>
                  </a:lnTo>
                  <a:lnTo>
                    <a:pt x="400" y="180"/>
                  </a:lnTo>
                  <a:lnTo>
                    <a:pt x="403" y="182"/>
                  </a:lnTo>
                  <a:lnTo>
                    <a:pt x="405" y="185"/>
                  </a:lnTo>
                  <a:lnTo>
                    <a:pt x="401" y="185"/>
                  </a:lnTo>
                  <a:lnTo>
                    <a:pt x="400" y="185"/>
                  </a:lnTo>
                  <a:lnTo>
                    <a:pt x="400" y="184"/>
                  </a:lnTo>
                  <a:lnTo>
                    <a:pt x="398" y="184"/>
                  </a:lnTo>
                  <a:lnTo>
                    <a:pt x="400" y="182"/>
                  </a:lnTo>
                  <a:lnTo>
                    <a:pt x="398" y="180"/>
                  </a:lnTo>
                  <a:lnTo>
                    <a:pt x="396" y="179"/>
                  </a:lnTo>
                  <a:lnTo>
                    <a:pt x="395" y="179"/>
                  </a:lnTo>
                  <a:lnTo>
                    <a:pt x="393" y="180"/>
                  </a:lnTo>
                  <a:lnTo>
                    <a:pt x="395" y="182"/>
                  </a:lnTo>
                  <a:lnTo>
                    <a:pt x="396" y="184"/>
                  </a:lnTo>
                  <a:lnTo>
                    <a:pt x="398" y="185"/>
                  </a:lnTo>
                  <a:lnTo>
                    <a:pt x="400" y="185"/>
                  </a:lnTo>
                  <a:lnTo>
                    <a:pt x="400" y="187"/>
                  </a:lnTo>
                  <a:lnTo>
                    <a:pt x="401" y="187"/>
                  </a:lnTo>
                  <a:lnTo>
                    <a:pt x="400" y="189"/>
                  </a:lnTo>
                  <a:lnTo>
                    <a:pt x="398" y="189"/>
                  </a:lnTo>
                  <a:lnTo>
                    <a:pt x="395" y="191"/>
                  </a:lnTo>
                  <a:lnTo>
                    <a:pt x="393" y="191"/>
                  </a:lnTo>
                  <a:lnTo>
                    <a:pt x="391" y="191"/>
                  </a:lnTo>
                  <a:lnTo>
                    <a:pt x="390" y="191"/>
                  </a:lnTo>
                  <a:lnTo>
                    <a:pt x="386" y="191"/>
                  </a:lnTo>
                  <a:lnTo>
                    <a:pt x="384" y="189"/>
                  </a:lnTo>
                  <a:lnTo>
                    <a:pt x="381" y="191"/>
                  </a:lnTo>
                  <a:lnTo>
                    <a:pt x="379" y="191"/>
                  </a:lnTo>
                  <a:lnTo>
                    <a:pt x="378" y="189"/>
                  </a:lnTo>
                  <a:lnTo>
                    <a:pt x="376" y="187"/>
                  </a:lnTo>
                  <a:lnTo>
                    <a:pt x="374" y="187"/>
                  </a:lnTo>
                  <a:lnTo>
                    <a:pt x="376" y="185"/>
                  </a:lnTo>
                  <a:lnTo>
                    <a:pt x="378" y="185"/>
                  </a:lnTo>
                  <a:lnTo>
                    <a:pt x="379" y="184"/>
                  </a:lnTo>
                  <a:lnTo>
                    <a:pt x="379" y="182"/>
                  </a:lnTo>
                  <a:lnTo>
                    <a:pt x="381" y="182"/>
                  </a:lnTo>
                  <a:lnTo>
                    <a:pt x="383" y="180"/>
                  </a:lnTo>
                  <a:lnTo>
                    <a:pt x="384" y="179"/>
                  </a:lnTo>
                  <a:lnTo>
                    <a:pt x="384" y="177"/>
                  </a:lnTo>
                  <a:lnTo>
                    <a:pt x="383" y="177"/>
                  </a:lnTo>
                  <a:lnTo>
                    <a:pt x="381" y="175"/>
                  </a:lnTo>
                  <a:lnTo>
                    <a:pt x="379" y="177"/>
                  </a:lnTo>
                  <a:lnTo>
                    <a:pt x="378" y="177"/>
                  </a:lnTo>
                  <a:lnTo>
                    <a:pt x="378" y="180"/>
                  </a:lnTo>
                  <a:lnTo>
                    <a:pt x="376" y="182"/>
                  </a:lnTo>
                  <a:lnTo>
                    <a:pt x="376" y="185"/>
                  </a:lnTo>
                  <a:lnTo>
                    <a:pt x="374" y="184"/>
                  </a:lnTo>
                  <a:lnTo>
                    <a:pt x="374" y="187"/>
                  </a:lnTo>
                  <a:lnTo>
                    <a:pt x="373" y="187"/>
                  </a:lnTo>
                  <a:lnTo>
                    <a:pt x="373" y="185"/>
                  </a:lnTo>
                  <a:lnTo>
                    <a:pt x="369" y="185"/>
                  </a:lnTo>
                  <a:lnTo>
                    <a:pt x="367" y="187"/>
                  </a:lnTo>
                  <a:lnTo>
                    <a:pt x="366" y="185"/>
                  </a:lnTo>
                  <a:lnTo>
                    <a:pt x="364" y="185"/>
                  </a:lnTo>
                  <a:lnTo>
                    <a:pt x="362" y="184"/>
                  </a:lnTo>
                  <a:lnTo>
                    <a:pt x="361" y="184"/>
                  </a:lnTo>
                  <a:lnTo>
                    <a:pt x="359" y="182"/>
                  </a:lnTo>
                  <a:lnTo>
                    <a:pt x="361" y="182"/>
                  </a:lnTo>
                  <a:lnTo>
                    <a:pt x="361" y="179"/>
                  </a:lnTo>
                  <a:lnTo>
                    <a:pt x="359" y="179"/>
                  </a:lnTo>
                  <a:lnTo>
                    <a:pt x="359" y="177"/>
                  </a:lnTo>
                  <a:lnTo>
                    <a:pt x="361" y="175"/>
                  </a:lnTo>
                  <a:lnTo>
                    <a:pt x="362" y="175"/>
                  </a:lnTo>
                  <a:lnTo>
                    <a:pt x="361" y="174"/>
                  </a:lnTo>
                  <a:lnTo>
                    <a:pt x="364" y="175"/>
                  </a:lnTo>
                  <a:lnTo>
                    <a:pt x="366" y="174"/>
                  </a:lnTo>
                  <a:lnTo>
                    <a:pt x="367" y="174"/>
                  </a:lnTo>
                  <a:lnTo>
                    <a:pt x="369" y="172"/>
                  </a:lnTo>
                  <a:lnTo>
                    <a:pt x="371" y="172"/>
                  </a:lnTo>
                  <a:lnTo>
                    <a:pt x="371" y="170"/>
                  </a:lnTo>
                  <a:lnTo>
                    <a:pt x="373" y="170"/>
                  </a:lnTo>
                  <a:lnTo>
                    <a:pt x="374" y="168"/>
                  </a:lnTo>
                  <a:lnTo>
                    <a:pt x="376" y="168"/>
                  </a:lnTo>
                  <a:lnTo>
                    <a:pt x="374" y="165"/>
                  </a:lnTo>
                  <a:lnTo>
                    <a:pt x="376" y="165"/>
                  </a:lnTo>
                  <a:lnTo>
                    <a:pt x="378" y="163"/>
                  </a:lnTo>
                  <a:lnTo>
                    <a:pt x="379" y="163"/>
                  </a:lnTo>
                  <a:lnTo>
                    <a:pt x="383" y="163"/>
                  </a:lnTo>
                  <a:lnTo>
                    <a:pt x="383" y="162"/>
                  </a:lnTo>
                  <a:lnTo>
                    <a:pt x="384" y="162"/>
                  </a:lnTo>
                  <a:close/>
                  <a:moveTo>
                    <a:pt x="537" y="342"/>
                  </a:moveTo>
                  <a:lnTo>
                    <a:pt x="539" y="344"/>
                  </a:lnTo>
                  <a:lnTo>
                    <a:pt x="539" y="345"/>
                  </a:lnTo>
                  <a:lnTo>
                    <a:pt x="541" y="347"/>
                  </a:lnTo>
                  <a:lnTo>
                    <a:pt x="539" y="349"/>
                  </a:lnTo>
                  <a:lnTo>
                    <a:pt x="539" y="350"/>
                  </a:lnTo>
                  <a:lnTo>
                    <a:pt x="539" y="352"/>
                  </a:lnTo>
                  <a:lnTo>
                    <a:pt x="537" y="356"/>
                  </a:lnTo>
                  <a:lnTo>
                    <a:pt x="539" y="357"/>
                  </a:lnTo>
                  <a:lnTo>
                    <a:pt x="537" y="359"/>
                  </a:lnTo>
                  <a:lnTo>
                    <a:pt x="537" y="362"/>
                  </a:lnTo>
                  <a:lnTo>
                    <a:pt x="536" y="362"/>
                  </a:lnTo>
                  <a:lnTo>
                    <a:pt x="536" y="366"/>
                  </a:lnTo>
                  <a:lnTo>
                    <a:pt x="536" y="369"/>
                  </a:lnTo>
                  <a:lnTo>
                    <a:pt x="537" y="369"/>
                  </a:lnTo>
                  <a:lnTo>
                    <a:pt x="536" y="371"/>
                  </a:lnTo>
                  <a:lnTo>
                    <a:pt x="537" y="373"/>
                  </a:lnTo>
                  <a:lnTo>
                    <a:pt x="536" y="373"/>
                  </a:lnTo>
                  <a:lnTo>
                    <a:pt x="534" y="371"/>
                  </a:lnTo>
                  <a:lnTo>
                    <a:pt x="532" y="373"/>
                  </a:lnTo>
                  <a:lnTo>
                    <a:pt x="531" y="374"/>
                  </a:lnTo>
                  <a:lnTo>
                    <a:pt x="529" y="374"/>
                  </a:lnTo>
                  <a:lnTo>
                    <a:pt x="529" y="378"/>
                  </a:lnTo>
                  <a:lnTo>
                    <a:pt x="527" y="381"/>
                  </a:lnTo>
                  <a:lnTo>
                    <a:pt x="527" y="385"/>
                  </a:lnTo>
                  <a:lnTo>
                    <a:pt x="526" y="386"/>
                  </a:lnTo>
                  <a:lnTo>
                    <a:pt x="524" y="388"/>
                  </a:lnTo>
                  <a:lnTo>
                    <a:pt x="522" y="388"/>
                  </a:lnTo>
                  <a:lnTo>
                    <a:pt x="519" y="386"/>
                  </a:lnTo>
                  <a:lnTo>
                    <a:pt x="519" y="385"/>
                  </a:lnTo>
                  <a:lnTo>
                    <a:pt x="519" y="381"/>
                  </a:lnTo>
                  <a:lnTo>
                    <a:pt x="519" y="379"/>
                  </a:lnTo>
                  <a:lnTo>
                    <a:pt x="519" y="378"/>
                  </a:lnTo>
                  <a:lnTo>
                    <a:pt x="519" y="374"/>
                  </a:lnTo>
                  <a:lnTo>
                    <a:pt x="517" y="374"/>
                  </a:lnTo>
                  <a:lnTo>
                    <a:pt x="515" y="373"/>
                  </a:lnTo>
                  <a:lnTo>
                    <a:pt x="514" y="371"/>
                  </a:lnTo>
                  <a:lnTo>
                    <a:pt x="512" y="371"/>
                  </a:lnTo>
                  <a:lnTo>
                    <a:pt x="515" y="369"/>
                  </a:lnTo>
                  <a:lnTo>
                    <a:pt x="517" y="368"/>
                  </a:lnTo>
                  <a:lnTo>
                    <a:pt x="517" y="364"/>
                  </a:lnTo>
                  <a:lnTo>
                    <a:pt x="517" y="362"/>
                  </a:lnTo>
                  <a:lnTo>
                    <a:pt x="517" y="361"/>
                  </a:lnTo>
                  <a:lnTo>
                    <a:pt x="519" y="359"/>
                  </a:lnTo>
                  <a:lnTo>
                    <a:pt x="520" y="357"/>
                  </a:lnTo>
                  <a:lnTo>
                    <a:pt x="520" y="356"/>
                  </a:lnTo>
                  <a:lnTo>
                    <a:pt x="522" y="356"/>
                  </a:lnTo>
                  <a:lnTo>
                    <a:pt x="522" y="354"/>
                  </a:lnTo>
                  <a:lnTo>
                    <a:pt x="524" y="352"/>
                  </a:lnTo>
                  <a:lnTo>
                    <a:pt x="526" y="352"/>
                  </a:lnTo>
                  <a:lnTo>
                    <a:pt x="527" y="350"/>
                  </a:lnTo>
                  <a:lnTo>
                    <a:pt x="529" y="349"/>
                  </a:lnTo>
                  <a:lnTo>
                    <a:pt x="531" y="347"/>
                  </a:lnTo>
                  <a:lnTo>
                    <a:pt x="532" y="345"/>
                  </a:lnTo>
                  <a:lnTo>
                    <a:pt x="534" y="345"/>
                  </a:lnTo>
                  <a:lnTo>
                    <a:pt x="536" y="345"/>
                  </a:lnTo>
                  <a:lnTo>
                    <a:pt x="537" y="342"/>
                  </a:lnTo>
                  <a:close/>
                  <a:moveTo>
                    <a:pt x="378" y="221"/>
                  </a:moveTo>
                  <a:lnTo>
                    <a:pt x="381" y="221"/>
                  </a:lnTo>
                  <a:lnTo>
                    <a:pt x="383" y="223"/>
                  </a:lnTo>
                  <a:lnTo>
                    <a:pt x="384" y="223"/>
                  </a:lnTo>
                  <a:lnTo>
                    <a:pt x="384" y="225"/>
                  </a:lnTo>
                  <a:lnTo>
                    <a:pt x="384" y="223"/>
                  </a:lnTo>
                  <a:lnTo>
                    <a:pt x="386" y="225"/>
                  </a:lnTo>
                  <a:lnTo>
                    <a:pt x="386" y="223"/>
                  </a:lnTo>
                  <a:lnTo>
                    <a:pt x="388" y="225"/>
                  </a:lnTo>
                  <a:lnTo>
                    <a:pt x="388" y="226"/>
                  </a:lnTo>
                  <a:lnTo>
                    <a:pt x="386" y="228"/>
                  </a:lnTo>
                  <a:lnTo>
                    <a:pt x="388" y="228"/>
                  </a:lnTo>
                  <a:lnTo>
                    <a:pt x="388" y="230"/>
                  </a:lnTo>
                  <a:lnTo>
                    <a:pt x="388" y="233"/>
                  </a:lnTo>
                  <a:lnTo>
                    <a:pt x="390" y="237"/>
                  </a:lnTo>
                  <a:lnTo>
                    <a:pt x="390" y="238"/>
                  </a:lnTo>
                  <a:lnTo>
                    <a:pt x="391" y="238"/>
                  </a:lnTo>
                  <a:lnTo>
                    <a:pt x="391" y="240"/>
                  </a:lnTo>
                  <a:lnTo>
                    <a:pt x="388" y="243"/>
                  </a:lnTo>
                  <a:lnTo>
                    <a:pt x="390" y="245"/>
                  </a:lnTo>
                  <a:lnTo>
                    <a:pt x="390" y="247"/>
                  </a:lnTo>
                  <a:lnTo>
                    <a:pt x="388" y="248"/>
                  </a:lnTo>
                  <a:lnTo>
                    <a:pt x="386" y="248"/>
                  </a:lnTo>
                  <a:lnTo>
                    <a:pt x="386" y="252"/>
                  </a:lnTo>
                  <a:lnTo>
                    <a:pt x="386" y="254"/>
                  </a:lnTo>
                  <a:lnTo>
                    <a:pt x="383" y="252"/>
                  </a:lnTo>
                  <a:lnTo>
                    <a:pt x="381" y="250"/>
                  </a:lnTo>
                  <a:lnTo>
                    <a:pt x="379" y="252"/>
                  </a:lnTo>
                  <a:lnTo>
                    <a:pt x="379" y="248"/>
                  </a:lnTo>
                  <a:lnTo>
                    <a:pt x="378" y="250"/>
                  </a:lnTo>
                  <a:lnTo>
                    <a:pt x="378" y="248"/>
                  </a:lnTo>
                  <a:lnTo>
                    <a:pt x="376" y="248"/>
                  </a:lnTo>
                  <a:lnTo>
                    <a:pt x="376" y="247"/>
                  </a:lnTo>
                  <a:lnTo>
                    <a:pt x="378" y="243"/>
                  </a:lnTo>
                  <a:lnTo>
                    <a:pt x="379" y="245"/>
                  </a:lnTo>
                  <a:lnTo>
                    <a:pt x="379" y="243"/>
                  </a:lnTo>
                  <a:lnTo>
                    <a:pt x="381" y="243"/>
                  </a:lnTo>
                  <a:lnTo>
                    <a:pt x="381" y="242"/>
                  </a:lnTo>
                  <a:lnTo>
                    <a:pt x="381" y="240"/>
                  </a:lnTo>
                  <a:lnTo>
                    <a:pt x="381" y="238"/>
                  </a:lnTo>
                  <a:lnTo>
                    <a:pt x="381" y="237"/>
                  </a:lnTo>
                  <a:lnTo>
                    <a:pt x="378" y="237"/>
                  </a:lnTo>
                  <a:lnTo>
                    <a:pt x="378" y="233"/>
                  </a:lnTo>
                  <a:lnTo>
                    <a:pt x="376" y="231"/>
                  </a:lnTo>
                  <a:lnTo>
                    <a:pt x="374" y="231"/>
                  </a:lnTo>
                  <a:lnTo>
                    <a:pt x="373" y="231"/>
                  </a:lnTo>
                  <a:lnTo>
                    <a:pt x="371" y="228"/>
                  </a:lnTo>
                  <a:lnTo>
                    <a:pt x="369" y="228"/>
                  </a:lnTo>
                  <a:lnTo>
                    <a:pt x="371" y="225"/>
                  </a:lnTo>
                  <a:lnTo>
                    <a:pt x="373" y="223"/>
                  </a:lnTo>
                  <a:lnTo>
                    <a:pt x="374" y="223"/>
                  </a:lnTo>
                  <a:lnTo>
                    <a:pt x="378" y="221"/>
                  </a:lnTo>
                  <a:close/>
                  <a:moveTo>
                    <a:pt x="78" y="286"/>
                  </a:moveTo>
                  <a:lnTo>
                    <a:pt x="80" y="288"/>
                  </a:lnTo>
                  <a:lnTo>
                    <a:pt x="82" y="289"/>
                  </a:lnTo>
                  <a:lnTo>
                    <a:pt x="82" y="291"/>
                  </a:lnTo>
                  <a:lnTo>
                    <a:pt x="84" y="293"/>
                  </a:lnTo>
                  <a:lnTo>
                    <a:pt x="84" y="294"/>
                  </a:lnTo>
                  <a:lnTo>
                    <a:pt x="84" y="298"/>
                  </a:lnTo>
                  <a:lnTo>
                    <a:pt x="82" y="298"/>
                  </a:lnTo>
                  <a:lnTo>
                    <a:pt x="84" y="299"/>
                  </a:lnTo>
                  <a:lnTo>
                    <a:pt x="85" y="301"/>
                  </a:lnTo>
                  <a:lnTo>
                    <a:pt x="87" y="299"/>
                  </a:lnTo>
                  <a:lnTo>
                    <a:pt x="87" y="301"/>
                  </a:lnTo>
                  <a:lnTo>
                    <a:pt x="89" y="301"/>
                  </a:lnTo>
                  <a:lnTo>
                    <a:pt x="90" y="303"/>
                  </a:lnTo>
                  <a:lnTo>
                    <a:pt x="92" y="306"/>
                  </a:lnTo>
                  <a:lnTo>
                    <a:pt x="94" y="306"/>
                  </a:lnTo>
                  <a:lnTo>
                    <a:pt x="94" y="308"/>
                  </a:lnTo>
                  <a:lnTo>
                    <a:pt x="95" y="308"/>
                  </a:lnTo>
                  <a:lnTo>
                    <a:pt x="95" y="310"/>
                  </a:lnTo>
                  <a:lnTo>
                    <a:pt x="97" y="310"/>
                  </a:lnTo>
                  <a:lnTo>
                    <a:pt x="97" y="313"/>
                  </a:lnTo>
                  <a:lnTo>
                    <a:pt x="95" y="315"/>
                  </a:lnTo>
                  <a:lnTo>
                    <a:pt x="94" y="313"/>
                  </a:lnTo>
                  <a:lnTo>
                    <a:pt x="94" y="315"/>
                  </a:lnTo>
                  <a:lnTo>
                    <a:pt x="90" y="315"/>
                  </a:lnTo>
                  <a:lnTo>
                    <a:pt x="89" y="313"/>
                  </a:lnTo>
                  <a:lnTo>
                    <a:pt x="87" y="311"/>
                  </a:lnTo>
                  <a:lnTo>
                    <a:pt x="85" y="311"/>
                  </a:lnTo>
                  <a:lnTo>
                    <a:pt x="84" y="313"/>
                  </a:lnTo>
                  <a:lnTo>
                    <a:pt x="80" y="313"/>
                  </a:lnTo>
                  <a:lnTo>
                    <a:pt x="78" y="311"/>
                  </a:lnTo>
                  <a:lnTo>
                    <a:pt x="77" y="310"/>
                  </a:lnTo>
                  <a:lnTo>
                    <a:pt x="77" y="308"/>
                  </a:lnTo>
                  <a:lnTo>
                    <a:pt x="78" y="308"/>
                  </a:lnTo>
                  <a:lnTo>
                    <a:pt x="77" y="306"/>
                  </a:lnTo>
                  <a:lnTo>
                    <a:pt x="75" y="303"/>
                  </a:lnTo>
                  <a:lnTo>
                    <a:pt x="75" y="301"/>
                  </a:lnTo>
                  <a:lnTo>
                    <a:pt x="73" y="303"/>
                  </a:lnTo>
                  <a:lnTo>
                    <a:pt x="75" y="305"/>
                  </a:lnTo>
                  <a:lnTo>
                    <a:pt x="75" y="306"/>
                  </a:lnTo>
                  <a:lnTo>
                    <a:pt x="75" y="310"/>
                  </a:lnTo>
                  <a:lnTo>
                    <a:pt x="73" y="310"/>
                  </a:lnTo>
                  <a:lnTo>
                    <a:pt x="72" y="311"/>
                  </a:lnTo>
                  <a:lnTo>
                    <a:pt x="72" y="310"/>
                  </a:lnTo>
                  <a:lnTo>
                    <a:pt x="70" y="310"/>
                  </a:lnTo>
                  <a:lnTo>
                    <a:pt x="70" y="308"/>
                  </a:lnTo>
                  <a:lnTo>
                    <a:pt x="70" y="306"/>
                  </a:lnTo>
                  <a:lnTo>
                    <a:pt x="70" y="303"/>
                  </a:lnTo>
                  <a:lnTo>
                    <a:pt x="72" y="303"/>
                  </a:lnTo>
                  <a:lnTo>
                    <a:pt x="72" y="301"/>
                  </a:lnTo>
                  <a:lnTo>
                    <a:pt x="72" y="299"/>
                  </a:lnTo>
                  <a:lnTo>
                    <a:pt x="72" y="298"/>
                  </a:lnTo>
                  <a:lnTo>
                    <a:pt x="72" y="296"/>
                  </a:lnTo>
                  <a:lnTo>
                    <a:pt x="72" y="298"/>
                  </a:lnTo>
                  <a:lnTo>
                    <a:pt x="73" y="296"/>
                  </a:lnTo>
                  <a:lnTo>
                    <a:pt x="73" y="298"/>
                  </a:lnTo>
                  <a:lnTo>
                    <a:pt x="75" y="298"/>
                  </a:lnTo>
                  <a:lnTo>
                    <a:pt x="75" y="299"/>
                  </a:lnTo>
                  <a:lnTo>
                    <a:pt x="77" y="298"/>
                  </a:lnTo>
                  <a:lnTo>
                    <a:pt x="78" y="296"/>
                  </a:lnTo>
                  <a:lnTo>
                    <a:pt x="78" y="294"/>
                  </a:lnTo>
                  <a:lnTo>
                    <a:pt x="78" y="293"/>
                  </a:lnTo>
                  <a:lnTo>
                    <a:pt x="78" y="289"/>
                  </a:lnTo>
                  <a:lnTo>
                    <a:pt x="77" y="288"/>
                  </a:lnTo>
                  <a:lnTo>
                    <a:pt x="78" y="286"/>
                  </a:lnTo>
                  <a:close/>
                  <a:moveTo>
                    <a:pt x="26" y="196"/>
                  </a:moveTo>
                  <a:lnTo>
                    <a:pt x="27" y="197"/>
                  </a:lnTo>
                  <a:lnTo>
                    <a:pt x="31" y="199"/>
                  </a:lnTo>
                  <a:lnTo>
                    <a:pt x="31" y="197"/>
                  </a:lnTo>
                  <a:lnTo>
                    <a:pt x="33" y="199"/>
                  </a:lnTo>
                  <a:lnTo>
                    <a:pt x="31" y="202"/>
                  </a:lnTo>
                  <a:lnTo>
                    <a:pt x="29" y="202"/>
                  </a:lnTo>
                  <a:lnTo>
                    <a:pt x="27" y="204"/>
                  </a:lnTo>
                  <a:lnTo>
                    <a:pt x="26" y="206"/>
                  </a:lnTo>
                  <a:lnTo>
                    <a:pt x="27" y="208"/>
                  </a:lnTo>
                  <a:lnTo>
                    <a:pt x="27" y="209"/>
                  </a:lnTo>
                  <a:lnTo>
                    <a:pt x="27" y="208"/>
                  </a:lnTo>
                  <a:lnTo>
                    <a:pt x="29" y="209"/>
                  </a:lnTo>
                  <a:lnTo>
                    <a:pt x="31" y="209"/>
                  </a:lnTo>
                  <a:lnTo>
                    <a:pt x="33" y="209"/>
                  </a:lnTo>
                  <a:lnTo>
                    <a:pt x="33" y="211"/>
                  </a:lnTo>
                  <a:lnTo>
                    <a:pt x="31" y="211"/>
                  </a:lnTo>
                  <a:lnTo>
                    <a:pt x="33" y="213"/>
                  </a:lnTo>
                  <a:lnTo>
                    <a:pt x="33" y="214"/>
                  </a:lnTo>
                  <a:lnTo>
                    <a:pt x="33" y="216"/>
                  </a:lnTo>
                  <a:lnTo>
                    <a:pt x="34" y="220"/>
                  </a:lnTo>
                  <a:lnTo>
                    <a:pt x="34" y="221"/>
                  </a:lnTo>
                  <a:lnTo>
                    <a:pt x="36" y="221"/>
                  </a:lnTo>
                  <a:lnTo>
                    <a:pt x="38" y="221"/>
                  </a:lnTo>
                  <a:lnTo>
                    <a:pt x="39" y="223"/>
                  </a:lnTo>
                  <a:lnTo>
                    <a:pt x="41" y="221"/>
                  </a:lnTo>
                  <a:lnTo>
                    <a:pt x="41" y="220"/>
                  </a:lnTo>
                  <a:lnTo>
                    <a:pt x="43" y="221"/>
                  </a:lnTo>
                  <a:lnTo>
                    <a:pt x="44" y="223"/>
                  </a:lnTo>
                  <a:lnTo>
                    <a:pt x="43" y="223"/>
                  </a:lnTo>
                  <a:lnTo>
                    <a:pt x="44" y="223"/>
                  </a:lnTo>
                  <a:lnTo>
                    <a:pt x="44" y="225"/>
                  </a:lnTo>
                  <a:lnTo>
                    <a:pt x="44" y="226"/>
                  </a:lnTo>
                  <a:lnTo>
                    <a:pt x="43" y="226"/>
                  </a:lnTo>
                  <a:lnTo>
                    <a:pt x="41" y="226"/>
                  </a:lnTo>
                  <a:lnTo>
                    <a:pt x="39" y="225"/>
                  </a:lnTo>
                  <a:lnTo>
                    <a:pt x="38" y="225"/>
                  </a:lnTo>
                  <a:lnTo>
                    <a:pt x="36" y="225"/>
                  </a:lnTo>
                  <a:lnTo>
                    <a:pt x="34" y="223"/>
                  </a:lnTo>
                  <a:lnTo>
                    <a:pt x="33" y="223"/>
                  </a:lnTo>
                  <a:lnTo>
                    <a:pt x="31" y="223"/>
                  </a:lnTo>
                  <a:lnTo>
                    <a:pt x="29" y="220"/>
                  </a:lnTo>
                  <a:lnTo>
                    <a:pt x="29" y="218"/>
                  </a:lnTo>
                  <a:lnTo>
                    <a:pt x="29" y="216"/>
                  </a:lnTo>
                  <a:lnTo>
                    <a:pt x="27" y="214"/>
                  </a:lnTo>
                  <a:lnTo>
                    <a:pt x="26" y="213"/>
                  </a:lnTo>
                  <a:lnTo>
                    <a:pt x="24" y="213"/>
                  </a:lnTo>
                  <a:lnTo>
                    <a:pt x="24" y="211"/>
                  </a:lnTo>
                  <a:lnTo>
                    <a:pt x="22" y="211"/>
                  </a:lnTo>
                  <a:lnTo>
                    <a:pt x="21" y="209"/>
                  </a:lnTo>
                  <a:lnTo>
                    <a:pt x="21" y="208"/>
                  </a:lnTo>
                  <a:lnTo>
                    <a:pt x="17" y="208"/>
                  </a:lnTo>
                  <a:lnTo>
                    <a:pt x="17" y="206"/>
                  </a:lnTo>
                  <a:lnTo>
                    <a:pt x="17" y="204"/>
                  </a:lnTo>
                  <a:lnTo>
                    <a:pt x="16" y="206"/>
                  </a:lnTo>
                  <a:lnTo>
                    <a:pt x="16" y="204"/>
                  </a:lnTo>
                  <a:lnTo>
                    <a:pt x="14" y="202"/>
                  </a:lnTo>
                  <a:lnTo>
                    <a:pt x="16" y="202"/>
                  </a:lnTo>
                  <a:lnTo>
                    <a:pt x="16" y="201"/>
                  </a:lnTo>
                  <a:lnTo>
                    <a:pt x="17" y="199"/>
                  </a:lnTo>
                  <a:lnTo>
                    <a:pt x="19" y="199"/>
                  </a:lnTo>
                  <a:lnTo>
                    <a:pt x="21" y="199"/>
                  </a:lnTo>
                  <a:lnTo>
                    <a:pt x="22" y="199"/>
                  </a:lnTo>
                  <a:lnTo>
                    <a:pt x="24" y="199"/>
                  </a:lnTo>
                  <a:lnTo>
                    <a:pt x="24" y="197"/>
                  </a:lnTo>
                  <a:lnTo>
                    <a:pt x="26" y="196"/>
                  </a:lnTo>
                  <a:close/>
                  <a:moveTo>
                    <a:pt x="325" y="129"/>
                  </a:moveTo>
                  <a:lnTo>
                    <a:pt x="327" y="131"/>
                  </a:lnTo>
                  <a:lnTo>
                    <a:pt x="325" y="133"/>
                  </a:lnTo>
                  <a:lnTo>
                    <a:pt x="323" y="134"/>
                  </a:lnTo>
                  <a:lnTo>
                    <a:pt x="323" y="138"/>
                  </a:lnTo>
                  <a:lnTo>
                    <a:pt x="323" y="140"/>
                  </a:lnTo>
                  <a:lnTo>
                    <a:pt x="322" y="140"/>
                  </a:lnTo>
                  <a:lnTo>
                    <a:pt x="323" y="141"/>
                  </a:lnTo>
                  <a:lnTo>
                    <a:pt x="323" y="143"/>
                  </a:lnTo>
                  <a:lnTo>
                    <a:pt x="325" y="145"/>
                  </a:lnTo>
                  <a:lnTo>
                    <a:pt x="323" y="145"/>
                  </a:lnTo>
                  <a:lnTo>
                    <a:pt x="325" y="146"/>
                  </a:lnTo>
                  <a:lnTo>
                    <a:pt x="322" y="146"/>
                  </a:lnTo>
                  <a:lnTo>
                    <a:pt x="320" y="145"/>
                  </a:lnTo>
                  <a:lnTo>
                    <a:pt x="318" y="145"/>
                  </a:lnTo>
                  <a:lnTo>
                    <a:pt x="318" y="143"/>
                  </a:lnTo>
                  <a:lnTo>
                    <a:pt x="316" y="143"/>
                  </a:lnTo>
                  <a:lnTo>
                    <a:pt x="318" y="141"/>
                  </a:lnTo>
                  <a:lnTo>
                    <a:pt x="318" y="140"/>
                  </a:lnTo>
                  <a:lnTo>
                    <a:pt x="316" y="138"/>
                  </a:lnTo>
                  <a:lnTo>
                    <a:pt x="316" y="140"/>
                  </a:lnTo>
                  <a:lnTo>
                    <a:pt x="315" y="141"/>
                  </a:lnTo>
                  <a:lnTo>
                    <a:pt x="316" y="141"/>
                  </a:lnTo>
                  <a:lnTo>
                    <a:pt x="315" y="141"/>
                  </a:lnTo>
                  <a:lnTo>
                    <a:pt x="313" y="143"/>
                  </a:lnTo>
                  <a:lnTo>
                    <a:pt x="316" y="145"/>
                  </a:lnTo>
                  <a:lnTo>
                    <a:pt x="316" y="146"/>
                  </a:lnTo>
                  <a:lnTo>
                    <a:pt x="313" y="148"/>
                  </a:lnTo>
                  <a:lnTo>
                    <a:pt x="313" y="146"/>
                  </a:lnTo>
                  <a:lnTo>
                    <a:pt x="313" y="148"/>
                  </a:lnTo>
                  <a:lnTo>
                    <a:pt x="311" y="146"/>
                  </a:lnTo>
                  <a:lnTo>
                    <a:pt x="313" y="145"/>
                  </a:lnTo>
                  <a:lnTo>
                    <a:pt x="313" y="143"/>
                  </a:lnTo>
                  <a:lnTo>
                    <a:pt x="311" y="145"/>
                  </a:lnTo>
                  <a:lnTo>
                    <a:pt x="310" y="145"/>
                  </a:lnTo>
                  <a:lnTo>
                    <a:pt x="310" y="146"/>
                  </a:lnTo>
                  <a:lnTo>
                    <a:pt x="308" y="146"/>
                  </a:lnTo>
                  <a:lnTo>
                    <a:pt x="306" y="146"/>
                  </a:lnTo>
                  <a:lnTo>
                    <a:pt x="308" y="145"/>
                  </a:lnTo>
                  <a:lnTo>
                    <a:pt x="306" y="145"/>
                  </a:lnTo>
                  <a:lnTo>
                    <a:pt x="308" y="143"/>
                  </a:lnTo>
                  <a:lnTo>
                    <a:pt x="306" y="143"/>
                  </a:lnTo>
                  <a:lnTo>
                    <a:pt x="306" y="140"/>
                  </a:lnTo>
                  <a:lnTo>
                    <a:pt x="305" y="136"/>
                  </a:lnTo>
                  <a:lnTo>
                    <a:pt x="308" y="134"/>
                  </a:lnTo>
                  <a:lnTo>
                    <a:pt x="310" y="133"/>
                  </a:lnTo>
                  <a:lnTo>
                    <a:pt x="311" y="134"/>
                  </a:lnTo>
                  <a:lnTo>
                    <a:pt x="313" y="133"/>
                  </a:lnTo>
                  <a:lnTo>
                    <a:pt x="315" y="133"/>
                  </a:lnTo>
                  <a:lnTo>
                    <a:pt x="316" y="133"/>
                  </a:lnTo>
                  <a:lnTo>
                    <a:pt x="316" y="134"/>
                  </a:lnTo>
                  <a:lnTo>
                    <a:pt x="318" y="136"/>
                  </a:lnTo>
                  <a:lnTo>
                    <a:pt x="320" y="134"/>
                  </a:lnTo>
                  <a:lnTo>
                    <a:pt x="322" y="134"/>
                  </a:lnTo>
                  <a:lnTo>
                    <a:pt x="320" y="133"/>
                  </a:lnTo>
                  <a:lnTo>
                    <a:pt x="322" y="131"/>
                  </a:lnTo>
                  <a:lnTo>
                    <a:pt x="322" y="129"/>
                  </a:lnTo>
                  <a:lnTo>
                    <a:pt x="323" y="131"/>
                  </a:lnTo>
                  <a:lnTo>
                    <a:pt x="323" y="129"/>
                  </a:lnTo>
                  <a:lnTo>
                    <a:pt x="325" y="128"/>
                  </a:lnTo>
                  <a:lnTo>
                    <a:pt x="325" y="129"/>
                  </a:lnTo>
                  <a:close/>
                  <a:moveTo>
                    <a:pt x="432" y="267"/>
                  </a:moveTo>
                  <a:lnTo>
                    <a:pt x="434" y="267"/>
                  </a:lnTo>
                  <a:lnTo>
                    <a:pt x="435" y="267"/>
                  </a:lnTo>
                  <a:lnTo>
                    <a:pt x="437" y="267"/>
                  </a:lnTo>
                  <a:lnTo>
                    <a:pt x="439" y="267"/>
                  </a:lnTo>
                  <a:lnTo>
                    <a:pt x="442" y="267"/>
                  </a:lnTo>
                  <a:lnTo>
                    <a:pt x="444" y="269"/>
                  </a:lnTo>
                  <a:lnTo>
                    <a:pt x="446" y="269"/>
                  </a:lnTo>
                  <a:lnTo>
                    <a:pt x="444" y="265"/>
                  </a:lnTo>
                  <a:lnTo>
                    <a:pt x="446" y="267"/>
                  </a:lnTo>
                  <a:lnTo>
                    <a:pt x="446" y="265"/>
                  </a:lnTo>
                  <a:lnTo>
                    <a:pt x="446" y="267"/>
                  </a:lnTo>
                  <a:lnTo>
                    <a:pt x="447" y="265"/>
                  </a:lnTo>
                  <a:lnTo>
                    <a:pt x="449" y="265"/>
                  </a:lnTo>
                  <a:lnTo>
                    <a:pt x="447" y="267"/>
                  </a:lnTo>
                  <a:lnTo>
                    <a:pt x="449" y="269"/>
                  </a:lnTo>
                  <a:lnTo>
                    <a:pt x="451" y="269"/>
                  </a:lnTo>
                  <a:lnTo>
                    <a:pt x="451" y="271"/>
                  </a:lnTo>
                  <a:lnTo>
                    <a:pt x="449" y="271"/>
                  </a:lnTo>
                  <a:lnTo>
                    <a:pt x="446" y="272"/>
                  </a:lnTo>
                  <a:lnTo>
                    <a:pt x="446" y="274"/>
                  </a:lnTo>
                  <a:lnTo>
                    <a:pt x="442" y="274"/>
                  </a:lnTo>
                  <a:lnTo>
                    <a:pt x="442" y="276"/>
                  </a:lnTo>
                  <a:lnTo>
                    <a:pt x="442" y="277"/>
                  </a:lnTo>
                  <a:lnTo>
                    <a:pt x="441" y="277"/>
                  </a:lnTo>
                  <a:lnTo>
                    <a:pt x="439" y="279"/>
                  </a:lnTo>
                  <a:lnTo>
                    <a:pt x="437" y="279"/>
                  </a:lnTo>
                  <a:lnTo>
                    <a:pt x="435" y="276"/>
                  </a:lnTo>
                  <a:lnTo>
                    <a:pt x="434" y="276"/>
                  </a:lnTo>
                  <a:lnTo>
                    <a:pt x="432" y="274"/>
                  </a:lnTo>
                  <a:lnTo>
                    <a:pt x="430" y="276"/>
                  </a:lnTo>
                  <a:lnTo>
                    <a:pt x="427" y="276"/>
                  </a:lnTo>
                  <a:lnTo>
                    <a:pt x="427" y="277"/>
                  </a:lnTo>
                  <a:lnTo>
                    <a:pt x="425" y="279"/>
                  </a:lnTo>
                  <a:lnTo>
                    <a:pt x="424" y="277"/>
                  </a:lnTo>
                  <a:lnTo>
                    <a:pt x="424" y="276"/>
                  </a:lnTo>
                  <a:lnTo>
                    <a:pt x="424" y="272"/>
                  </a:lnTo>
                  <a:lnTo>
                    <a:pt x="427" y="272"/>
                  </a:lnTo>
                  <a:lnTo>
                    <a:pt x="427" y="269"/>
                  </a:lnTo>
                  <a:lnTo>
                    <a:pt x="429" y="269"/>
                  </a:lnTo>
                  <a:lnTo>
                    <a:pt x="430" y="267"/>
                  </a:lnTo>
                  <a:lnTo>
                    <a:pt x="432" y="267"/>
                  </a:lnTo>
                  <a:close/>
                  <a:moveTo>
                    <a:pt x="374" y="325"/>
                  </a:moveTo>
                  <a:lnTo>
                    <a:pt x="374" y="327"/>
                  </a:lnTo>
                  <a:lnTo>
                    <a:pt x="376" y="327"/>
                  </a:lnTo>
                  <a:lnTo>
                    <a:pt x="378" y="328"/>
                  </a:lnTo>
                  <a:lnTo>
                    <a:pt x="379" y="330"/>
                  </a:lnTo>
                  <a:lnTo>
                    <a:pt x="379" y="333"/>
                  </a:lnTo>
                  <a:lnTo>
                    <a:pt x="378" y="333"/>
                  </a:lnTo>
                  <a:lnTo>
                    <a:pt x="379" y="335"/>
                  </a:lnTo>
                  <a:lnTo>
                    <a:pt x="379" y="339"/>
                  </a:lnTo>
                  <a:lnTo>
                    <a:pt x="378" y="339"/>
                  </a:lnTo>
                  <a:lnTo>
                    <a:pt x="379" y="340"/>
                  </a:lnTo>
                  <a:lnTo>
                    <a:pt x="378" y="342"/>
                  </a:lnTo>
                  <a:lnTo>
                    <a:pt x="376" y="344"/>
                  </a:lnTo>
                  <a:lnTo>
                    <a:pt x="374" y="345"/>
                  </a:lnTo>
                  <a:lnTo>
                    <a:pt x="373" y="347"/>
                  </a:lnTo>
                  <a:lnTo>
                    <a:pt x="371" y="345"/>
                  </a:lnTo>
                  <a:lnTo>
                    <a:pt x="371" y="344"/>
                  </a:lnTo>
                  <a:lnTo>
                    <a:pt x="369" y="344"/>
                  </a:lnTo>
                  <a:lnTo>
                    <a:pt x="369" y="342"/>
                  </a:lnTo>
                  <a:lnTo>
                    <a:pt x="367" y="340"/>
                  </a:lnTo>
                  <a:lnTo>
                    <a:pt x="367" y="339"/>
                  </a:lnTo>
                  <a:lnTo>
                    <a:pt x="366" y="337"/>
                  </a:lnTo>
                  <a:lnTo>
                    <a:pt x="364" y="337"/>
                  </a:lnTo>
                  <a:lnTo>
                    <a:pt x="364" y="335"/>
                  </a:lnTo>
                  <a:lnTo>
                    <a:pt x="366" y="335"/>
                  </a:lnTo>
                  <a:lnTo>
                    <a:pt x="366" y="333"/>
                  </a:lnTo>
                  <a:lnTo>
                    <a:pt x="367" y="332"/>
                  </a:lnTo>
                  <a:lnTo>
                    <a:pt x="371" y="330"/>
                  </a:lnTo>
                  <a:lnTo>
                    <a:pt x="371" y="328"/>
                  </a:lnTo>
                  <a:lnTo>
                    <a:pt x="371" y="327"/>
                  </a:lnTo>
                  <a:lnTo>
                    <a:pt x="374" y="325"/>
                  </a:lnTo>
                  <a:close/>
                  <a:moveTo>
                    <a:pt x="92" y="323"/>
                  </a:moveTo>
                  <a:lnTo>
                    <a:pt x="94" y="325"/>
                  </a:lnTo>
                  <a:lnTo>
                    <a:pt x="95" y="327"/>
                  </a:lnTo>
                  <a:lnTo>
                    <a:pt x="95" y="328"/>
                  </a:lnTo>
                  <a:lnTo>
                    <a:pt x="97" y="330"/>
                  </a:lnTo>
                  <a:lnTo>
                    <a:pt x="101" y="330"/>
                  </a:lnTo>
                  <a:lnTo>
                    <a:pt x="102" y="330"/>
                  </a:lnTo>
                  <a:lnTo>
                    <a:pt x="106" y="332"/>
                  </a:lnTo>
                  <a:lnTo>
                    <a:pt x="106" y="333"/>
                  </a:lnTo>
                  <a:lnTo>
                    <a:pt x="107" y="333"/>
                  </a:lnTo>
                  <a:lnTo>
                    <a:pt x="109" y="335"/>
                  </a:lnTo>
                  <a:lnTo>
                    <a:pt x="111" y="335"/>
                  </a:lnTo>
                  <a:lnTo>
                    <a:pt x="111" y="339"/>
                  </a:lnTo>
                  <a:lnTo>
                    <a:pt x="111" y="337"/>
                  </a:lnTo>
                  <a:lnTo>
                    <a:pt x="109" y="337"/>
                  </a:lnTo>
                  <a:lnTo>
                    <a:pt x="107" y="337"/>
                  </a:lnTo>
                  <a:lnTo>
                    <a:pt x="107" y="335"/>
                  </a:lnTo>
                  <a:lnTo>
                    <a:pt x="104" y="337"/>
                  </a:lnTo>
                  <a:lnTo>
                    <a:pt x="102" y="340"/>
                  </a:lnTo>
                  <a:lnTo>
                    <a:pt x="104" y="342"/>
                  </a:lnTo>
                  <a:lnTo>
                    <a:pt x="102" y="344"/>
                  </a:lnTo>
                  <a:lnTo>
                    <a:pt x="101" y="342"/>
                  </a:lnTo>
                  <a:lnTo>
                    <a:pt x="99" y="340"/>
                  </a:lnTo>
                  <a:lnTo>
                    <a:pt x="97" y="339"/>
                  </a:lnTo>
                  <a:lnTo>
                    <a:pt x="95" y="339"/>
                  </a:lnTo>
                  <a:lnTo>
                    <a:pt x="94" y="337"/>
                  </a:lnTo>
                  <a:lnTo>
                    <a:pt x="92" y="335"/>
                  </a:lnTo>
                  <a:lnTo>
                    <a:pt x="92" y="333"/>
                  </a:lnTo>
                  <a:lnTo>
                    <a:pt x="90" y="333"/>
                  </a:lnTo>
                  <a:lnTo>
                    <a:pt x="89" y="330"/>
                  </a:lnTo>
                  <a:lnTo>
                    <a:pt x="90" y="327"/>
                  </a:lnTo>
                  <a:lnTo>
                    <a:pt x="92" y="325"/>
                  </a:lnTo>
                  <a:lnTo>
                    <a:pt x="92" y="323"/>
                  </a:lnTo>
                  <a:close/>
                  <a:moveTo>
                    <a:pt x="272" y="83"/>
                  </a:moveTo>
                  <a:lnTo>
                    <a:pt x="274" y="85"/>
                  </a:lnTo>
                  <a:lnTo>
                    <a:pt x="276" y="83"/>
                  </a:lnTo>
                  <a:lnTo>
                    <a:pt x="277" y="85"/>
                  </a:lnTo>
                  <a:lnTo>
                    <a:pt x="279" y="85"/>
                  </a:lnTo>
                  <a:lnTo>
                    <a:pt x="279" y="87"/>
                  </a:lnTo>
                  <a:lnTo>
                    <a:pt x="279" y="89"/>
                  </a:lnTo>
                  <a:lnTo>
                    <a:pt x="281" y="89"/>
                  </a:lnTo>
                  <a:lnTo>
                    <a:pt x="281" y="90"/>
                  </a:lnTo>
                  <a:lnTo>
                    <a:pt x="279" y="90"/>
                  </a:lnTo>
                  <a:lnTo>
                    <a:pt x="281" y="94"/>
                  </a:lnTo>
                  <a:lnTo>
                    <a:pt x="281" y="95"/>
                  </a:lnTo>
                  <a:lnTo>
                    <a:pt x="279" y="95"/>
                  </a:lnTo>
                  <a:lnTo>
                    <a:pt x="277" y="97"/>
                  </a:lnTo>
                  <a:lnTo>
                    <a:pt x="276" y="99"/>
                  </a:lnTo>
                  <a:lnTo>
                    <a:pt x="274" y="99"/>
                  </a:lnTo>
                  <a:lnTo>
                    <a:pt x="272" y="99"/>
                  </a:lnTo>
                  <a:lnTo>
                    <a:pt x="271" y="97"/>
                  </a:lnTo>
                  <a:lnTo>
                    <a:pt x="267" y="97"/>
                  </a:lnTo>
                  <a:lnTo>
                    <a:pt x="267" y="94"/>
                  </a:lnTo>
                  <a:lnTo>
                    <a:pt x="267" y="92"/>
                  </a:lnTo>
                  <a:lnTo>
                    <a:pt x="267" y="90"/>
                  </a:lnTo>
                  <a:lnTo>
                    <a:pt x="267" y="89"/>
                  </a:lnTo>
                  <a:lnTo>
                    <a:pt x="267" y="87"/>
                  </a:lnTo>
                  <a:lnTo>
                    <a:pt x="269" y="87"/>
                  </a:lnTo>
                  <a:lnTo>
                    <a:pt x="269" y="85"/>
                  </a:lnTo>
                  <a:lnTo>
                    <a:pt x="271" y="83"/>
                  </a:lnTo>
                  <a:lnTo>
                    <a:pt x="272" y="83"/>
                  </a:lnTo>
                  <a:close/>
                  <a:moveTo>
                    <a:pt x="320" y="279"/>
                  </a:moveTo>
                  <a:lnTo>
                    <a:pt x="320" y="281"/>
                  </a:lnTo>
                  <a:lnTo>
                    <a:pt x="323" y="281"/>
                  </a:lnTo>
                  <a:lnTo>
                    <a:pt x="323" y="282"/>
                  </a:lnTo>
                  <a:lnTo>
                    <a:pt x="323" y="284"/>
                  </a:lnTo>
                  <a:lnTo>
                    <a:pt x="327" y="284"/>
                  </a:lnTo>
                  <a:lnTo>
                    <a:pt x="330" y="284"/>
                  </a:lnTo>
                  <a:lnTo>
                    <a:pt x="330" y="282"/>
                  </a:lnTo>
                  <a:lnTo>
                    <a:pt x="330" y="284"/>
                  </a:lnTo>
                  <a:lnTo>
                    <a:pt x="332" y="286"/>
                  </a:lnTo>
                  <a:lnTo>
                    <a:pt x="330" y="288"/>
                  </a:lnTo>
                  <a:lnTo>
                    <a:pt x="332" y="288"/>
                  </a:lnTo>
                  <a:lnTo>
                    <a:pt x="333" y="289"/>
                  </a:lnTo>
                  <a:lnTo>
                    <a:pt x="333" y="291"/>
                  </a:lnTo>
                  <a:lnTo>
                    <a:pt x="332" y="293"/>
                  </a:lnTo>
                  <a:lnTo>
                    <a:pt x="335" y="293"/>
                  </a:lnTo>
                  <a:lnTo>
                    <a:pt x="335" y="296"/>
                  </a:lnTo>
                  <a:lnTo>
                    <a:pt x="333" y="298"/>
                  </a:lnTo>
                  <a:lnTo>
                    <a:pt x="332" y="298"/>
                  </a:lnTo>
                  <a:lnTo>
                    <a:pt x="330" y="296"/>
                  </a:lnTo>
                  <a:lnTo>
                    <a:pt x="328" y="294"/>
                  </a:lnTo>
                  <a:lnTo>
                    <a:pt x="327" y="293"/>
                  </a:lnTo>
                  <a:lnTo>
                    <a:pt x="325" y="293"/>
                  </a:lnTo>
                  <a:lnTo>
                    <a:pt x="325" y="291"/>
                  </a:lnTo>
                  <a:lnTo>
                    <a:pt x="323" y="291"/>
                  </a:lnTo>
                  <a:lnTo>
                    <a:pt x="323" y="289"/>
                  </a:lnTo>
                  <a:lnTo>
                    <a:pt x="322" y="289"/>
                  </a:lnTo>
                  <a:lnTo>
                    <a:pt x="320" y="288"/>
                  </a:lnTo>
                  <a:lnTo>
                    <a:pt x="318" y="288"/>
                  </a:lnTo>
                  <a:lnTo>
                    <a:pt x="316" y="286"/>
                  </a:lnTo>
                  <a:lnTo>
                    <a:pt x="315" y="284"/>
                  </a:lnTo>
                  <a:lnTo>
                    <a:pt x="315" y="282"/>
                  </a:lnTo>
                  <a:lnTo>
                    <a:pt x="316" y="281"/>
                  </a:lnTo>
                  <a:lnTo>
                    <a:pt x="318" y="279"/>
                  </a:lnTo>
                  <a:lnTo>
                    <a:pt x="320" y="279"/>
                  </a:lnTo>
                  <a:close/>
                  <a:moveTo>
                    <a:pt x="209" y="140"/>
                  </a:moveTo>
                  <a:lnTo>
                    <a:pt x="211" y="140"/>
                  </a:lnTo>
                  <a:lnTo>
                    <a:pt x="213" y="143"/>
                  </a:lnTo>
                  <a:lnTo>
                    <a:pt x="214" y="143"/>
                  </a:lnTo>
                  <a:lnTo>
                    <a:pt x="216" y="145"/>
                  </a:lnTo>
                  <a:lnTo>
                    <a:pt x="218" y="146"/>
                  </a:lnTo>
                  <a:lnTo>
                    <a:pt x="220" y="148"/>
                  </a:lnTo>
                  <a:lnTo>
                    <a:pt x="221" y="150"/>
                  </a:lnTo>
                  <a:lnTo>
                    <a:pt x="223" y="150"/>
                  </a:lnTo>
                  <a:lnTo>
                    <a:pt x="226" y="151"/>
                  </a:lnTo>
                  <a:lnTo>
                    <a:pt x="230" y="151"/>
                  </a:lnTo>
                  <a:lnTo>
                    <a:pt x="231" y="151"/>
                  </a:lnTo>
                  <a:lnTo>
                    <a:pt x="233" y="155"/>
                  </a:lnTo>
                  <a:lnTo>
                    <a:pt x="235" y="153"/>
                  </a:lnTo>
                  <a:lnTo>
                    <a:pt x="237" y="155"/>
                  </a:lnTo>
                  <a:lnTo>
                    <a:pt x="235" y="155"/>
                  </a:lnTo>
                  <a:lnTo>
                    <a:pt x="233" y="155"/>
                  </a:lnTo>
                  <a:lnTo>
                    <a:pt x="231" y="157"/>
                  </a:lnTo>
                  <a:lnTo>
                    <a:pt x="228" y="157"/>
                  </a:lnTo>
                  <a:lnTo>
                    <a:pt x="226" y="155"/>
                  </a:lnTo>
                  <a:lnTo>
                    <a:pt x="225" y="155"/>
                  </a:lnTo>
                  <a:lnTo>
                    <a:pt x="221" y="155"/>
                  </a:lnTo>
                  <a:lnTo>
                    <a:pt x="220" y="153"/>
                  </a:lnTo>
                  <a:lnTo>
                    <a:pt x="218" y="155"/>
                  </a:lnTo>
                  <a:lnTo>
                    <a:pt x="216" y="155"/>
                  </a:lnTo>
                  <a:lnTo>
                    <a:pt x="214" y="157"/>
                  </a:lnTo>
                  <a:lnTo>
                    <a:pt x="214" y="153"/>
                  </a:lnTo>
                  <a:lnTo>
                    <a:pt x="214" y="151"/>
                  </a:lnTo>
                  <a:lnTo>
                    <a:pt x="213" y="150"/>
                  </a:lnTo>
                  <a:lnTo>
                    <a:pt x="213" y="148"/>
                  </a:lnTo>
                  <a:lnTo>
                    <a:pt x="209" y="146"/>
                  </a:lnTo>
                  <a:lnTo>
                    <a:pt x="211" y="145"/>
                  </a:lnTo>
                  <a:lnTo>
                    <a:pt x="209" y="143"/>
                  </a:lnTo>
                  <a:lnTo>
                    <a:pt x="209" y="140"/>
                  </a:lnTo>
                  <a:close/>
                  <a:moveTo>
                    <a:pt x="82" y="259"/>
                  </a:moveTo>
                  <a:lnTo>
                    <a:pt x="84" y="259"/>
                  </a:lnTo>
                  <a:lnTo>
                    <a:pt x="84" y="260"/>
                  </a:lnTo>
                  <a:lnTo>
                    <a:pt x="85" y="262"/>
                  </a:lnTo>
                  <a:lnTo>
                    <a:pt x="85" y="265"/>
                  </a:lnTo>
                  <a:lnTo>
                    <a:pt x="85" y="267"/>
                  </a:lnTo>
                  <a:lnTo>
                    <a:pt x="84" y="271"/>
                  </a:lnTo>
                  <a:lnTo>
                    <a:pt x="85" y="271"/>
                  </a:lnTo>
                  <a:lnTo>
                    <a:pt x="85" y="269"/>
                  </a:lnTo>
                  <a:lnTo>
                    <a:pt x="85" y="271"/>
                  </a:lnTo>
                  <a:lnTo>
                    <a:pt x="85" y="272"/>
                  </a:lnTo>
                  <a:lnTo>
                    <a:pt x="87" y="274"/>
                  </a:lnTo>
                  <a:lnTo>
                    <a:pt x="85" y="274"/>
                  </a:lnTo>
                  <a:lnTo>
                    <a:pt x="85" y="276"/>
                  </a:lnTo>
                  <a:lnTo>
                    <a:pt x="84" y="274"/>
                  </a:lnTo>
                  <a:lnTo>
                    <a:pt x="84" y="276"/>
                  </a:lnTo>
                  <a:lnTo>
                    <a:pt x="82" y="276"/>
                  </a:lnTo>
                  <a:lnTo>
                    <a:pt x="82" y="279"/>
                  </a:lnTo>
                  <a:lnTo>
                    <a:pt x="82" y="277"/>
                  </a:lnTo>
                  <a:lnTo>
                    <a:pt x="80" y="277"/>
                  </a:lnTo>
                  <a:lnTo>
                    <a:pt x="78" y="276"/>
                  </a:lnTo>
                  <a:lnTo>
                    <a:pt x="78" y="277"/>
                  </a:lnTo>
                  <a:lnTo>
                    <a:pt x="78" y="279"/>
                  </a:lnTo>
                  <a:lnTo>
                    <a:pt x="77" y="281"/>
                  </a:lnTo>
                  <a:lnTo>
                    <a:pt x="77" y="279"/>
                  </a:lnTo>
                  <a:lnTo>
                    <a:pt x="77" y="277"/>
                  </a:lnTo>
                  <a:lnTo>
                    <a:pt x="77" y="276"/>
                  </a:lnTo>
                  <a:lnTo>
                    <a:pt x="77" y="274"/>
                  </a:lnTo>
                  <a:lnTo>
                    <a:pt x="77" y="272"/>
                  </a:lnTo>
                  <a:lnTo>
                    <a:pt x="77" y="271"/>
                  </a:lnTo>
                  <a:lnTo>
                    <a:pt x="77" y="267"/>
                  </a:lnTo>
                  <a:lnTo>
                    <a:pt x="78" y="264"/>
                  </a:lnTo>
                  <a:lnTo>
                    <a:pt x="80" y="260"/>
                  </a:lnTo>
                  <a:lnTo>
                    <a:pt x="82" y="260"/>
                  </a:lnTo>
                  <a:lnTo>
                    <a:pt x="82" y="259"/>
                  </a:lnTo>
                  <a:close/>
                  <a:moveTo>
                    <a:pt x="492" y="400"/>
                  </a:moveTo>
                  <a:lnTo>
                    <a:pt x="493" y="400"/>
                  </a:lnTo>
                  <a:lnTo>
                    <a:pt x="493" y="403"/>
                  </a:lnTo>
                  <a:lnTo>
                    <a:pt x="492" y="405"/>
                  </a:lnTo>
                  <a:lnTo>
                    <a:pt x="493" y="407"/>
                  </a:lnTo>
                  <a:lnTo>
                    <a:pt x="492" y="410"/>
                  </a:lnTo>
                  <a:lnTo>
                    <a:pt x="493" y="412"/>
                  </a:lnTo>
                  <a:lnTo>
                    <a:pt x="492" y="413"/>
                  </a:lnTo>
                  <a:lnTo>
                    <a:pt x="492" y="417"/>
                  </a:lnTo>
                  <a:lnTo>
                    <a:pt x="493" y="417"/>
                  </a:lnTo>
                  <a:lnTo>
                    <a:pt x="495" y="419"/>
                  </a:lnTo>
                  <a:lnTo>
                    <a:pt x="497" y="420"/>
                  </a:lnTo>
                  <a:lnTo>
                    <a:pt x="497" y="424"/>
                  </a:lnTo>
                  <a:lnTo>
                    <a:pt x="498" y="424"/>
                  </a:lnTo>
                  <a:lnTo>
                    <a:pt x="498" y="425"/>
                  </a:lnTo>
                  <a:lnTo>
                    <a:pt x="497" y="425"/>
                  </a:lnTo>
                  <a:lnTo>
                    <a:pt x="497" y="427"/>
                  </a:lnTo>
                  <a:lnTo>
                    <a:pt x="495" y="427"/>
                  </a:lnTo>
                  <a:lnTo>
                    <a:pt x="495" y="430"/>
                  </a:lnTo>
                  <a:lnTo>
                    <a:pt x="497" y="430"/>
                  </a:lnTo>
                  <a:lnTo>
                    <a:pt x="495" y="432"/>
                  </a:lnTo>
                  <a:lnTo>
                    <a:pt x="495" y="430"/>
                  </a:lnTo>
                  <a:lnTo>
                    <a:pt x="493" y="430"/>
                  </a:lnTo>
                  <a:lnTo>
                    <a:pt x="490" y="429"/>
                  </a:lnTo>
                  <a:lnTo>
                    <a:pt x="492" y="427"/>
                  </a:lnTo>
                  <a:lnTo>
                    <a:pt x="490" y="424"/>
                  </a:lnTo>
                  <a:lnTo>
                    <a:pt x="490" y="422"/>
                  </a:lnTo>
                  <a:lnTo>
                    <a:pt x="488" y="420"/>
                  </a:lnTo>
                  <a:lnTo>
                    <a:pt x="486" y="419"/>
                  </a:lnTo>
                  <a:lnTo>
                    <a:pt x="488" y="417"/>
                  </a:lnTo>
                  <a:lnTo>
                    <a:pt x="490" y="415"/>
                  </a:lnTo>
                  <a:lnTo>
                    <a:pt x="488" y="412"/>
                  </a:lnTo>
                  <a:lnTo>
                    <a:pt x="490" y="410"/>
                  </a:lnTo>
                  <a:lnTo>
                    <a:pt x="490" y="408"/>
                  </a:lnTo>
                  <a:lnTo>
                    <a:pt x="490" y="407"/>
                  </a:lnTo>
                  <a:lnTo>
                    <a:pt x="490" y="403"/>
                  </a:lnTo>
                  <a:lnTo>
                    <a:pt x="488" y="403"/>
                  </a:lnTo>
                  <a:lnTo>
                    <a:pt x="490" y="403"/>
                  </a:lnTo>
                  <a:lnTo>
                    <a:pt x="492" y="402"/>
                  </a:lnTo>
                  <a:lnTo>
                    <a:pt x="492" y="400"/>
                  </a:lnTo>
                  <a:close/>
                  <a:moveTo>
                    <a:pt x="478" y="325"/>
                  </a:moveTo>
                  <a:lnTo>
                    <a:pt x="480" y="323"/>
                  </a:lnTo>
                  <a:lnTo>
                    <a:pt x="481" y="327"/>
                  </a:lnTo>
                  <a:lnTo>
                    <a:pt x="480" y="327"/>
                  </a:lnTo>
                  <a:lnTo>
                    <a:pt x="478" y="328"/>
                  </a:lnTo>
                  <a:lnTo>
                    <a:pt x="476" y="328"/>
                  </a:lnTo>
                  <a:lnTo>
                    <a:pt x="475" y="330"/>
                  </a:lnTo>
                  <a:lnTo>
                    <a:pt x="473" y="332"/>
                  </a:lnTo>
                  <a:lnTo>
                    <a:pt x="471" y="335"/>
                  </a:lnTo>
                  <a:lnTo>
                    <a:pt x="469" y="337"/>
                  </a:lnTo>
                  <a:lnTo>
                    <a:pt x="466" y="337"/>
                  </a:lnTo>
                  <a:lnTo>
                    <a:pt x="464" y="337"/>
                  </a:lnTo>
                  <a:lnTo>
                    <a:pt x="463" y="339"/>
                  </a:lnTo>
                  <a:lnTo>
                    <a:pt x="463" y="342"/>
                  </a:lnTo>
                  <a:lnTo>
                    <a:pt x="463" y="344"/>
                  </a:lnTo>
                  <a:lnTo>
                    <a:pt x="459" y="342"/>
                  </a:lnTo>
                  <a:lnTo>
                    <a:pt x="459" y="340"/>
                  </a:lnTo>
                  <a:lnTo>
                    <a:pt x="459" y="339"/>
                  </a:lnTo>
                  <a:lnTo>
                    <a:pt x="461" y="337"/>
                  </a:lnTo>
                  <a:lnTo>
                    <a:pt x="463" y="337"/>
                  </a:lnTo>
                  <a:lnTo>
                    <a:pt x="464" y="335"/>
                  </a:lnTo>
                  <a:lnTo>
                    <a:pt x="464" y="333"/>
                  </a:lnTo>
                  <a:lnTo>
                    <a:pt x="466" y="330"/>
                  </a:lnTo>
                  <a:lnTo>
                    <a:pt x="468" y="330"/>
                  </a:lnTo>
                  <a:lnTo>
                    <a:pt x="469" y="327"/>
                  </a:lnTo>
                  <a:lnTo>
                    <a:pt x="471" y="327"/>
                  </a:lnTo>
                  <a:lnTo>
                    <a:pt x="473" y="325"/>
                  </a:lnTo>
                  <a:lnTo>
                    <a:pt x="475" y="325"/>
                  </a:lnTo>
                  <a:lnTo>
                    <a:pt x="476" y="323"/>
                  </a:lnTo>
                  <a:lnTo>
                    <a:pt x="478" y="325"/>
                  </a:lnTo>
                  <a:close/>
                  <a:moveTo>
                    <a:pt x="238" y="413"/>
                  </a:moveTo>
                  <a:lnTo>
                    <a:pt x="240" y="415"/>
                  </a:lnTo>
                  <a:lnTo>
                    <a:pt x="242" y="417"/>
                  </a:lnTo>
                  <a:lnTo>
                    <a:pt x="242" y="419"/>
                  </a:lnTo>
                  <a:lnTo>
                    <a:pt x="245" y="419"/>
                  </a:lnTo>
                  <a:lnTo>
                    <a:pt x="248" y="420"/>
                  </a:lnTo>
                  <a:lnTo>
                    <a:pt x="248" y="422"/>
                  </a:lnTo>
                  <a:lnTo>
                    <a:pt x="248" y="424"/>
                  </a:lnTo>
                  <a:lnTo>
                    <a:pt x="247" y="424"/>
                  </a:lnTo>
                  <a:lnTo>
                    <a:pt x="247" y="427"/>
                  </a:lnTo>
                  <a:lnTo>
                    <a:pt x="248" y="429"/>
                  </a:lnTo>
                  <a:lnTo>
                    <a:pt x="247" y="430"/>
                  </a:lnTo>
                  <a:lnTo>
                    <a:pt x="245" y="430"/>
                  </a:lnTo>
                  <a:lnTo>
                    <a:pt x="243" y="430"/>
                  </a:lnTo>
                  <a:lnTo>
                    <a:pt x="242" y="429"/>
                  </a:lnTo>
                  <a:lnTo>
                    <a:pt x="240" y="429"/>
                  </a:lnTo>
                  <a:lnTo>
                    <a:pt x="238" y="427"/>
                  </a:lnTo>
                  <a:lnTo>
                    <a:pt x="238" y="425"/>
                  </a:lnTo>
                  <a:lnTo>
                    <a:pt x="238" y="424"/>
                  </a:lnTo>
                  <a:lnTo>
                    <a:pt x="238" y="420"/>
                  </a:lnTo>
                  <a:lnTo>
                    <a:pt x="237" y="419"/>
                  </a:lnTo>
                  <a:lnTo>
                    <a:pt x="237" y="415"/>
                  </a:lnTo>
                  <a:lnTo>
                    <a:pt x="237" y="413"/>
                  </a:lnTo>
                  <a:lnTo>
                    <a:pt x="238" y="413"/>
                  </a:lnTo>
                  <a:close/>
                  <a:moveTo>
                    <a:pt x="412" y="281"/>
                  </a:moveTo>
                  <a:lnTo>
                    <a:pt x="412" y="282"/>
                  </a:lnTo>
                  <a:lnTo>
                    <a:pt x="412" y="286"/>
                  </a:lnTo>
                  <a:lnTo>
                    <a:pt x="410" y="286"/>
                  </a:lnTo>
                  <a:lnTo>
                    <a:pt x="410" y="288"/>
                  </a:lnTo>
                  <a:lnTo>
                    <a:pt x="408" y="288"/>
                  </a:lnTo>
                  <a:lnTo>
                    <a:pt x="408" y="289"/>
                  </a:lnTo>
                  <a:lnTo>
                    <a:pt x="407" y="289"/>
                  </a:lnTo>
                  <a:lnTo>
                    <a:pt x="407" y="291"/>
                  </a:lnTo>
                  <a:lnTo>
                    <a:pt x="405" y="293"/>
                  </a:lnTo>
                  <a:lnTo>
                    <a:pt x="403" y="293"/>
                  </a:lnTo>
                  <a:lnTo>
                    <a:pt x="401" y="293"/>
                  </a:lnTo>
                  <a:lnTo>
                    <a:pt x="400" y="294"/>
                  </a:lnTo>
                  <a:lnTo>
                    <a:pt x="398" y="296"/>
                  </a:lnTo>
                  <a:lnTo>
                    <a:pt x="398" y="298"/>
                  </a:lnTo>
                  <a:lnTo>
                    <a:pt x="396" y="298"/>
                  </a:lnTo>
                  <a:lnTo>
                    <a:pt x="393" y="298"/>
                  </a:lnTo>
                  <a:lnTo>
                    <a:pt x="393" y="296"/>
                  </a:lnTo>
                  <a:lnTo>
                    <a:pt x="395" y="293"/>
                  </a:lnTo>
                  <a:lnTo>
                    <a:pt x="396" y="291"/>
                  </a:lnTo>
                  <a:lnTo>
                    <a:pt x="396" y="289"/>
                  </a:lnTo>
                  <a:lnTo>
                    <a:pt x="398" y="288"/>
                  </a:lnTo>
                  <a:lnTo>
                    <a:pt x="401" y="288"/>
                  </a:lnTo>
                  <a:lnTo>
                    <a:pt x="405" y="288"/>
                  </a:lnTo>
                  <a:lnTo>
                    <a:pt x="405" y="286"/>
                  </a:lnTo>
                  <a:lnTo>
                    <a:pt x="407" y="284"/>
                  </a:lnTo>
                  <a:lnTo>
                    <a:pt x="408" y="282"/>
                  </a:lnTo>
                  <a:lnTo>
                    <a:pt x="410" y="282"/>
                  </a:lnTo>
                  <a:lnTo>
                    <a:pt x="412" y="281"/>
                  </a:lnTo>
                  <a:close/>
                  <a:moveTo>
                    <a:pt x="289" y="213"/>
                  </a:moveTo>
                  <a:lnTo>
                    <a:pt x="291" y="214"/>
                  </a:lnTo>
                  <a:lnTo>
                    <a:pt x="293" y="214"/>
                  </a:lnTo>
                  <a:lnTo>
                    <a:pt x="294" y="216"/>
                  </a:lnTo>
                  <a:lnTo>
                    <a:pt x="296" y="218"/>
                  </a:lnTo>
                  <a:lnTo>
                    <a:pt x="294" y="220"/>
                  </a:lnTo>
                  <a:lnTo>
                    <a:pt x="296" y="220"/>
                  </a:lnTo>
                  <a:lnTo>
                    <a:pt x="298" y="220"/>
                  </a:lnTo>
                  <a:lnTo>
                    <a:pt x="301" y="221"/>
                  </a:lnTo>
                  <a:lnTo>
                    <a:pt x="303" y="223"/>
                  </a:lnTo>
                  <a:lnTo>
                    <a:pt x="303" y="225"/>
                  </a:lnTo>
                  <a:lnTo>
                    <a:pt x="301" y="226"/>
                  </a:lnTo>
                  <a:lnTo>
                    <a:pt x="299" y="225"/>
                  </a:lnTo>
                  <a:lnTo>
                    <a:pt x="299" y="226"/>
                  </a:lnTo>
                  <a:lnTo>
                    <a:pt x="298" y="225"/>
                  </a:lnTo>
                  <a:lnTo>
                    <a:pt x="296" y="226"/>
                  </a:lnTo>
                  <a:lnTo>
                    <a:pt x="294" y="226"/>
                  </a:lnTo>
                  <a:lnTo>
                    <a:pt x="296" y="225"/>
                  </a:lnTo>
                  <a:lnTo>
                    <a:pt x="296" y="221"/>
                  </a:lnTo>
                  <a:lnTo>
                    <a:pt x="294" y="223"/>
                  </a:lnTo>
                  <a:lnTo>
                    <a:pt x="293" y="221"/>
                  </a:lnTo>
                  <a:lnTo>
                    <a:pt x="293" y="223"/>
                  </a:lnTo>
                  <a:lnTo>
                    <a:pt x="293" y="221"/>
                  </a:lnTo>
                  <a:lnTo>
                    <a:pt x="291" y="221"/>
                  </a:lnTo>
                  <a:lnTo>
                    <a:pt x="289" y="220"/>
                  </a:lnTo>
                  <a:lnTo>
                    <a:pt x="288" y="221"/>
                  </a:lnTo>
                  <a:lnTo>
                    <a:pt x="288" y="218"/>
                  </a:lnTo>
                  <a:lnTo>
                    <a:pt x="289" y="218"/>
                  </a:lnTo>
                  <a:lnTo>
                    <a:pt x="288" y="216"/>
                  </a:lnTo>
                  <a:lnTo>
                    <a:pt x="288" y="214"/>
                  </a:lnTo>
                  <a:lnTo>
                    <a:pt x="289" y="213"/>
                  </a:lnTo>
                  <a:close/>
                  <a:moveTo>
                    <a:pt x="337" y="298"/>
                  </a:moveTo>
                  <a:lnTo>
                    <a:pt x="340" y="298"/>
                  </a:lnTo>
                  <a:lnTo>
                    <a:pt x="340" y="299"/>
                  </a:lnTo>
                  <a:lnTo>
                    <a:pt x="342" y="299"/>
                  </a:lnTo>
                  <a:lnTo>
                    <a:pt x="344" y="299"/>
                  </a:lnTo>
                  <a:lnTo>
                    <a:pt x="345" y="299"/>
                  </a:lnTo>
                  <a:lnTo>
                    <a:pt x="347" y="299"/>
                  </a:lnTo>
                  <a:lnTo>
                    <a:pt x="350" y="299"/>
                  </a:lnTo>
                  <a:lnTo>
                    <a:pt x="350" y="301"/>
                  </a:lnTo>
                  <a:lnTo>
                    <a:pt x="352" y="299"/>
                  </a:lnTo>
                  <a:lnTo>
                    <a:pt x="352" y="303"/>
                  </a:lnTo>
                  <a:lnTo>
                    <a:pt x="350" y="305"/>
                  </a:lnTo>
                  <a:lnTo>
                    <a:pt x="352" y="306"/>
                  </a:lnTo>
                  <a:lnTo>
                    <a:pt x="349" y="306"/>
                  </a:lnTo>
                  <a:lnTo>
                    <a:pt x="347" y="306"/>
                  </a:lnTo>
                  <a:lnTo>
                    <a:pt x="345" y="306"/>
                  </a:lnTo>
                  <a:lnTo>
                    <a:pt x="344" y="305"/>
                  </a:lnTo>
                  <a:lnTo>
                    <a:pt x="342" y="305"/>
                  </a:lnTo>
                  <a:lnTo>
                    <a:pt x="340" y="303"/>
                  </a:lnTo>
                  <a:lnTo>
                    <a:pt x="339" y="303"/>
                  </a:lnTo>
                  <a:lnTo>
                    <a:pt x="339" y="301"/>
                  </a:lnTo>
                  <a:lnTo>
                    <a:pt x="335" y="299"/>
                  </a:lnTo>
                  <a:lnTo>
                    <a:pt x="337" y="299"/>
                  </a:lnTo>
                  <a:lnTo>
                    <a:pt x="337" y="298"/>
                  </a:lnTo>
                  <a:close/>
                  <a:moveTo>
                    <a:pt x="357" y="333"/>
                  </a:moveTo>
                  <a:lnTo>
                    <a:pt x="357" y="335"/>
                  </a:lnTo>
                  <a:lnTo>
                    <a:pt x="359" y="335"/>
                  </a:lnTo>
                  <a:lnTo>
                    <a:pt x="359" y="333"/>
                  </a:lnTo>
                  <a:lnTo>
                    <a:pt x="359" y="332"/>
                  </a:lnTo>
                  <a:lnTo>
                    <a:pt x="361" y="333"/>
                  </a:lnTo>
                  <a:lnTo>
                    <a:pt x="361" y="335"/>
                  </a:lnTo>
                  <a:lnTo>
                    <a:pt x="359" y="337"/>
                  </a:lnTo>
                  <a:lnTo>
                    <a:pt x="361" y="340"/>
                  </a:lnTo>
                  <a:lnTo>
                    <a:pt x="361" y="342"/>
                  </a:lnTo>
                  <a:lnTo>
                    <a:pt x="359" y="344"/>
                  </a:lnTo>
                  <a:lnTo>
                    <a:pt x="357" y="345"/>
                  </a:lnTo>
                  <a:lnTo>
                    <a:pt x="356" y="345"/>
                  </a:lnTo>
                  <a:lnTo>
                    <a:pt x="354" y="345"/>
                  </a:lnTo>
                  <a:lnTo>
                    <a:pt x="352" y="344"/>
                  </a:lnTo>
                  <a:lnTo>
                    <a:pt x="352" y="342"/>
                  </a:lnTo>
                  <a:lnTo>
                    <a:pt x="352" y="340"/>
                  </a:lnTo>
                  <a:lnTo>
                    <a:pt x="354" y="339"/>
                  </a:lnTo>
                  <a:lnTo>
                    <a:pt x="352" y="339"/>
                  </a:lnTo>
                  <a:lnTo>
                    <a:pt x="354" y="335"/>
                  </a:lnTo>
                  <a:lnTo>
                    <a:pt x="356" y="333"/>
                  </a:lnTo>
                  <a:lnTo>
                    <a:pt x="357" y="333"/>
                  </a:lnTo>
                  <a:close/>
                  <a:moveTo>
                    <a:pt x="325" y="94"/>
                  </a:moveTo>
                  <a:lnTo>
                    <a:pt x="327" y="94"/>
                  </a:lnTo>
                  <a:lnTo>
                    <a:pt x="328" y="94"/>
                  </a:lnTo>
                  <a:lnTo>
                    <a:pt x="330" y="94"/>
                  </a:lnTo>
                  <a:lnTo>
                    <a:pt x="332" y="94"/>
                  </a:lnTo>
                  <a:lnTo>
                    <a:pt x="332" y="95"/>
                  </a:lnTo>
                  <a:lnTo>
                    <a:pt x="333" y="97"/>
                  </a:lnTo>
                  <a:lnTo>
                    <a:pt x="332" y="99"/>
                  </a:lnTo>
                  <a:lnTo>
                    <a:pt x="330" y="99"/>
                  </a:lnTo>
                  <a:lnTo>
                    <a:pt x="328" y="100"/>
                  </a:lnTo>
                  <a:lnTo>
                    <a:pt x="327" y="100"/>
                  </a:lnTo>
                  <a:lnTo>
                    <a:pt x="325" y="100"/>
                  </a:lnTo>
                  <a:lnTo>
                    <a:pt x="323" y="100"/>
                  </a:lnTo>
                  <a:lnTo>
                    <a:pt x="320" y="99"/>
                  </a:lnTo>
                  <a:lnTo>
                    <a:pt x="318" y="97"/>
                  </a:lnTo>
                  <a:lnTo>
                    <a:pt x="320" y="97"/>
                  </a:lnTo>
                  <a:lnTo>
                    <a:pt x="322" y="95"/>
                  </a:lnTo>
                  <a:lnTo>
                    <a:pt x="322" y="94"/>
                  </a:lnTo>
                  <a:lnTo>
                    <a:pt x="325" y="94"/>
                  </a:lnTo>
                  <a:close/>
                  <a:moveTo>
                    <a:pt x="318" y="369"/>
                  </a:moveTo>
                  <a:lnTo>
                    <a:pt x="318" y="371"/>
                  </a:lnTo>
                  <a:lnTo>
                    <a:pt x="320" y="371"/>
                  </a:lnTo>
                  <a:lnTo>
                    <a:pt x="322" y="369"/>
                  </a:lnTo>
                  <a:lnTo>
                    <a:pt x="325" y="369"/>
                  </a:lnTo>
                  <a:lnTo>
                    <a:pt x="323" y="371"/>
                  </a:lnTo>
                  <a:lnTo>
                    <a:pt x="325" y="373"/>
                  </a:lnTo>
                  <a:lnTo>
                    <a:pt x="325" y="374"/>
                  </a:lnTo>
                  <a:lnTo>
                    <a:pt x="325" y="376"/>
                  </a:lnTo>
                  <a:lnTo>
                    <a:pt x="323" y="374"/>
                  </a:lnTo>
                  <a:lnTo>
                    <a:pt x="322" y="376"/>
                  </a:lnTo>
                  <a:lnTo>
                    <a:pt x="320" y="376"/>
                  </a:lnTo>
                  <a:lnTo>
                    <a:pt x="320" y="378"/>
                  </a:lnTo>
                  <a:lnTo>
                    <a:pt x="318" y="378"/>
                  </a:lnTo>
                  <a:lnTo>
                    <a:pt x="316" y="378"/>
                  </a:lnTo>
                  <a:lnTo>
                    <a:pt x="315" y="379"/>
                  </a:lnTo>
                  <a:lnTo>
                    <a:pt x="313" y="379"/>
                  </a:lnTo>
                  <a:lnTo>
                    <a:pt x="313" y="376"/>
                  </a:lnTo>
                  <a:lnTo>
                    <a:pt x="313" y="374"/>
                  </a:lnTo>
                  <a:lnTo>
                    <a:pt x="313" y="371"/>
                  </a:lnTo>
                  <a:lnTo>
                    <a:pt x="315" y="373"/>
                  </a:lnTo>
                  <a:lnTo>
                    <a:pt x="316" y="373"/>
                  </a:lnTo>
                  <a:lnTo>
                    <a:pt x="316" y="374"/>
                  </a:lnTo>
                  <a:lnTo>
                    <a:pt x="320" y="374"/>
                  </a:lnTo>
                  <a:lnTo>
                    <a:pt x="322" y="374"/>
                  </a:lnTo>
                  <a:lnTo>
                    <a:pt x="320" y="373"/>
                  </a:lnTo>
                  <a:lnTo>
                    <a:pt x="318" y="373"/>
                  </a:lnTo>
                  <a:lnTo>
                    <a:pt x="316" y="371"/>
                  </a:lnTo>
                  <a:lnTo>
                    <a:pt x="316" y="369"/>
                  </a:lnTo>
                  <a:lnTo>
                    <a:pt x="318" y="369"/>
                  </a:lnTo>
                  <a:close/>
                  <a:moveTo>
                    <a:pt x="299" y="306"/>
                  </a:moveTo>
                  <a:lnTo>
                    <a:pt x="303" y="306"/>
                  </a:lnTo>
                  <a:lnTo>
                    <a:pt x="305" y="308"/>
                  </a:lnTo>
                  <a:lnTo>
                    <a:pt x="303" y="308"/>
                  </a:lnTo>
                  <a:lnTo>
                    <a:pt x="303" y="310"/>
                  </a:lnTo>
                  <a:lnTo>
                    <a:pt x="303" y="311"/>
                  </a:lnTo>
                  <a:lnTo>
                    <a:pt x="301" y="313"/>
                  </a:lnTo>
                  <a:lnTo>
                    <a:pt x="301" y="315"/>
                  </a:lnTo>
                  <a:lnTo>
                    <a:pt x="299" y="316"/>
                  </a:lnTo>
                  <a:lnTo>
                    <a:pt x="298" y="318"/>
                  </a:lnTo>
                  <a:lnTo>
                    <a:pt x="298" y="316"/>
                  </a:lnTo>
                  <a:lnTo>
                    <a:pt x="298" y="313"/>
                  </a:lnTo>
                  <a:lnTo>
                    <a:pt x="296" y="313"/>
                  </a:lnTo>
                  <a:lnTo>
                    <a:pt x="296" y="311"/>
                  </a:lnTo>
                  <a:lnTo>
                    <a:pt x="298" y="310"/>
                  </a:lnTo>
                  <a:lnTo>
                    <a:pt x="298" y="308"/>
                  </a:lnTo>
                  <a:lnTo>
                    <a:pt x="299" y="306"/>
                  </a:lnTo>
                  <a:close/>
                  <a:moveTo>
                    <a:pt x="405" y="339"/>
                  </a:moveTo>
                  <a:lnTo>
                    <a:pt x="407" y="339"/>
                  </a:lnTo>
                  <a:lnTo>
                    <a:pt x="407" y="340"/>
                  </a:lnTo>
                  <a:lnTo>
                    <a:pt x="410" y="340"/>
                  </a:lnTo>
                  <a:lnTo>
                    <a:pt x="408" y="340"/>
                  </a:lnTo>
                  <a:lnTo>
                    <a:pt x="405" y="342"/>
                  </a:lnTo>
                  <a:lnTo>
                    <a:pt x="403" y="342"/>
                  </a:lnTo>
                  <a:lnTo>
                    <a:pt x="403" y="345"/>
                  </a:lnTo>
                  <a:lnTo>
                    <a:pt x="401" y="345"/>
                  </a:lnTo>
                  <a:lnTo>
                    <a:pt x="400" y="347"/>
                  </a:lnTo>
                  <a:lnTo>
                    <a:pt x="400" y="349"/>
                  </a:lnTo>
                  <a:lnTo>
                    <a:pt x="398" y="350"/>
                  </a:lnTo>
                  <a:lnTo>
                    <a:pt x="396" y="350"/>
                  </a:lnTo>
                  <a:lnTo>
                    <a:pt x="395" y="352"/>
                  </a:lnTo>
                  <a:lnTo>
                    <a:pt x="395" y="354"/>
                  </a:lnTo>
                  <a:lnTo>
                    <a:pt x="393" y="352"/>
                  </a:lnTo>
                  <a:lnTo>
                    <a:pt x="391" y="352"/>
                  </a:lnTo>
                  <a:lnTo>
                    <a:pt x="393" y="352"/>
                  </a:lnTo>
                  <a:lnTo>
                    <a:pt x="393" y="350"/>
                  </a:lnTo>
                  <a:lnTo>
                    <a:pt x="395" y="350"/>
                  </a:lnTo>
                  <a:lnTo>
                    <a:pt x="395" y="349"/>
                  </a:lnTo>
                  <a:lnTo>
                    <a:pt x="398" y="349"/>
                  </a:lnTo>
                  <a:lnTo>
                    <a:pt x="396" y="349"/>
                  </a:lnTo>
                  <a:lnTo>
                    <a:pt x="398" y="347"/>
                  </a:lnTo>
                  <a:lnTo>
                    <a:pt x="396" y="347"/>
                  </a:lnTo>
                  <a:lnTo>
                    <a:pt x="398" y="345"/>
                  </a:lnTo>
                  <a:lnTo>
                    <a:pt x="400" y="345"/>
                  </a:lnTo>
                  <a:lnTo>
                    <a:pt x="401" y="344"/>
                  </a:lnTo>
                  <a:lnTo>
                    <a:pt x="403" y="342"/>
                  </a:lnTo>
                  <a:lnTo>
                    <a:pt x="401" y="340"/>
                  </a:lnTo>
                  <a:lnTo>
                    <a:pt x="405" y="339"/>
                  </a:lnTo>
                  <a:close/>
                  <a:moveTo>
                    <a:pt x="452" y="316"/>
                  </a:moveTo>
                  <a:lnTo>
                    <a:pt x="454" y="316"/>
                  </a:lnTo>
                  <a:lnTo>
                    <a:pt x="456" y="318"/>
                  </a:lnTo>
                  <a:lnTo>
                    <a:pt x="456" y="316"/>
                  </a:lnTo>
                  <a:lnTo>
                    <a:pt x="458" y="318"/>
                  </a:lnTo>
                  <a:lnTo>
                    <a:pt x="459" y="320"/>
                  </a:lnTo>
                  <a:lnTo>
                    <a:pt x="461" y="320"/>
                  </a:lnTo>
                  <a:lnTo>
                    <a:pt x="463" y="320"/>
                  </a:lnTo>
                  <a:lnTo>
                    <a:pt x="461" y="323"/>
                  </a:lnTo>
                  <a:lnTo>
                    <a:pt x="463" y="323"/>
                  </a:lnTo>
                  <a:lnTo>
                    <a:pt x="459" y="325"/>
                  </a:lnTo>
                  <a:lnTo>
                    <a:pt x="459" y="327"/>
                  </a:lnTo>
                  <a:lnTo>
                    <a:pt x="458" y="327"/>
                  </a:lnTo>
                  <a:lnTo>
                    <a:pt x="454" y="325"/>
                  </a:lnTo>
                  <a:lnTo>
                    <a:pt x="456" y="323"/>
                  </a:lnTo>
                  <a:lnTo>
                    <a:pt x="456" y="320"/>
                  </a:lnTo>
                  <a:lnTo>
                    <a:pt x="458" y="320"/>
                  </a:lnTo>
                  <a:lnTo>
                    <a:pt x="456" y="318"/>
                  </a:lnTo>
                  <a:lnTo>
                    <a:pt x="454" y="320"/>
                  </a:lnTo>
                  <a:lnTo>
                    <a:pt x="454" y="318"/>
                  </a:lnTo>
                  <a:lnTo>
                    <a:pt x="451" y="318"/>
                  </a:lnTo>
                  <a:lnTo>
                    <a:pt x="452" y="316"/>
                  </a:lnTo>
                  <a:close/>
                  <a:moveTo>
                    <a:pt x="367" y="357"/>
                  </a:moveTo>
                  <a:lnTo>
                    <a:pt x="369" y="359"/>
                  </a:lnTo>
                  <a:lnTo>
                    <a:pt x="371" y="359"/>
                  </a:lnTo>
                  <a:lnTo>
                    <a:pt x="371" y="361"/>
                  </a:lnTo>
                  <a:lnTo>
                    <a:pt x="374" y="362"/>
                  </a:lnTo>
                  <a:lnTo>
                    <a:pt x="373" y="364"/>
                  </a:lnTo>
                  <a:lnTo>
                    <a:pt x="374" y="366"/>
                  </a:lnTo>
                  <a:lnTo>
                    <a:pt x="373" y="366"/>
                  </a:lnTo>
                  <a:lnTo>
                    <a:pt x="373" y="368"/>
                  </a:lnTo>
                  <a:lnTo>
                    <a:pt x="371" y="366"/>
                  </a:lnTo>
                  <a:lnTo>
                    <a:pt x="367" y="364"/>
                  </a:lnTo>
                  <a:lnTo>
                    <a:pt x="367" y="362"/>
                  </a:lnTo>
                  <a:lnTo>
                    <a:pt x="364" y="362"/>
                  </a:lnTo>
                  <a:lnTo>
                    <a:pt x="366" y="362"/>
                  </a:lnTo>
                  <a:lnTo>
                    <a:pt x="366" y="361"/>
                  </a:lnTo>
                  <a:lnTo>
                    <a:pt x="364" y="359"/>
                  </a:lnTo>
                  <a:lnTo>
                    <a:pt x="366" y="359"/>
                  </a:lnTo>
                  <a:lnTo>
                    <a:pt x="367" y="357"/>
                  </a:lnTo>
                  <a:close/>
                  <a:moveTo>
                    <a:pt x="308" y="318"/>
                  </a:moveTo>
                  <a:lnTo>
                    <a:pt x="308" y="322"/>
                  </a:lnTo>
                  <a:lnTo>
                    <a:pt x="310" y="322"/>
                  </a:lnTo>
                  <a:lnTo>
                    <a:pt x="311" y="323"/>
                  </a:lnTo>
                  <a:lnTo>
                    <a:pt x="311" y="325"/>
                  </a:lnTo>
                  <a:lnTo>
                    <a:pt x="310" y="325"/>
                  </a:lnTo>
                  <a:lnTo>
                    <a:pt x="311" y="327"/>
                  </a:lnTo>
                  <a:lnTo>
                    <a:pt x="310" y="328"/>
                  </a:lnTo>
                  <a:lnTo>
                    <a:pt x="310" y="330"/>
                  </a:lnTo>
                  <a:lnTo>
                    <a:pt x="308" y="332"/>
                  </a:lnTo>
                  <a:lnTo>
                    <a:pt x="306" y="332"/>
                  </a:lnTo>
                  <a:lnTo>
                    <a:pt x="306" y="328"/>
                  </a:lnTo>
                  <a:lnTo>
                    <a:pt x="308" y="327"/>
                  </a:lnTo>
                  <a:lnTo>
                    <a:pt x="306" y="327"/>
                  </a:lnTo>
                  <a:lnTo>
                    <a:pt x="306" y="323"/>
                  </a:lnTo>
                  <a:lnTo>
                    <a:pt x="305" y="325"/>
                  </a:lnTo>
                  <a:lnTo>
                    <a:pt x="306" y="325"/>
                  </a:lnTo>
                  <a:lnTo>
                    <a:pt x="305" y="323"/>
                  </a:lnTo>
                  <a:lnTo>
                    <a:pt x="306" y="320"/>
                  </a:lnTo>
                  <a:lnTo>
                    <a:pt x="308" y="318"/>
                  </a:lnTo>
                  <a:close/>
                  <a:moveTo>
                    <a:pt x="238" y="206"/>
                  </a:moveTo>
                  <a:lnTo>
                    <a:pt x="240" y="208"/>
                  </a:lnTo>
                  <a:lnTo>
                    <a:pt x="242" y="209"/>
                  </a:lnTo>
                  <a:lnTo>
                    <a:pt x="243" y="209"/>
                  </a:lnTo>
                  <a:lnTo>
                    <a:pt x="245" y="209"/>
                  </a:lnTo>
                  <a:lnTo>
                    <a:pt x="245" y="211"/>
                  </a:lnTo>
                  <a:lnTo>
                    <a:pt x="247" y="209"/>
                  </a:lnTo>
                  <a:lnTo>
                    <a:pt x="248" y="209"/>
                  </a:lnTo>
                  <a:lnTo>
                    <a:pt x="248" y="213"/>
                  </a:lnTo>
                  <a:lnTo>
                    <a:pt x="247" y="214"/>
                  </a:lnTo>
                  <a:lnTo>
                    <a:pt x="245" y="213"/>
                  </a:lnTo>
                  <a:lnTo>
                    <a:pt x="242" y="214"/>
                  </a:lnTo>
                  <a:lnTo>
                    <a:pt x="242" y="213"/>
                  </a:lnTo>
                  <a:lnTo>
                    <a:pt x="242" y="211"/>
                  </a:lnTo>
                  <a:lnTo>
                    <a:pt x="240" y="211"/>
                  </a:lnTo>
                  <a:lnTo>
                    <a:pt x="240" y="209"/>
                  </a:lnTo>
                  <a:lnTo>
                    <a:pt x="238" y="209"/>
                  </a:lnTo>
                  <a:lnTo>
                    <a:pt x="237" y="208"/>
                  </a:lnTo>
                  <a:lnTo>
                    <a:pt x="238" y="206"/>
                  </a:lnTo>
                  <a:close/>
                  <a:moveTo>
                    <a:pt x="84" y="284"/>
                  </a:moveTo>
                  <a:lnTo>
                    <a:pt x="85" y="284"/>
                  </a:lnTo>
                  <a:lnTo>
                    <a:pt x="85" y="286"/>
                  </a:lnTo>
                  <a:lnTo>
                    <a:pt x="87" y="286"/>
                  </a:lnTo>
                  <a:lnTo>
                    <a:pt x="87" y="288"/>
                  </a:lnTo>
                  <a:lnTo>
                    <a:pt x="87" y="289"/>
                  </a:lnTo>
                  <a:lnTo>
                    <a:pt x="87" y="293"/>
                  </a:lnTo>
                  <a:lnTo>
                    <a:pt x="89" y="293"/>
                  </a:lnTo>
                  <a:lnTo>
                    <a:pt x="87" y="293"/>
                  </a:lnTo>
                  <a:lnTo>
                    <a:pt x="89" y="291"/>
                  </a:lnTo>
                  <a:lnTo>
                    <a:pt x="90" y="293"/>
                  </a:lnTo>
                  <a:lnTo>
                    <a:pt x="90" y="294"/>
                  </a:lnTo>
                  <a:lnTo>
                    <a:pt x="92" y="296"/>
                  </a:lnTo>
                  <a:lnTo>
                    <a:pt x="90" y="298"/>
                  </a:lnTo>
                  <a:lnTo>
                    <a:pt x="89" y="296"/>
                  </a:lnTo>
                  <a:lnTo>
                    <a:pt x="87" y="294"/>
                  </a:lnTo>
                  <a:lnTo>
                    <a:pt x="85" y="294"/>
                  </a:lnTo>
                  <a:lnTo>
                    <a:pt x="85" y="291"/>
                  </a:lnTo>
                  <a:lnTo>
                    <a:pt x="84" y="289"/>
                  </a:lnTo>
                  <a:lnTo>
                    <a:pt x="84" y="288"/>
                  </a:lnTo>
                  <a:lnTo>
                    <a:pt x="82" y="286"/>
                  </a:lnTo>
                  <a:lnTo>
                    <a:pt x="84" y="286"/>
                  </a:lnTo>
                  <a:lnTo>
                    <a:pt x="84" y="284"/>
                  </a:lnTo>
                  <a:close/>
                  <a:moveTo>
                    <a:pt x="247" y="293"/>
                  </a:moveTo>
                  <a:lnTo>
                    <a:pt x="250" y="293"/>
                  </a:lnTo>
                  <a:lnTo>
                    <a:pt x="250" y="294"/>
                  </a:lnTo>
                  <a:lnTo>
                    <a:pt x="252" y="294"/>
                  </a:lnTo>
                  <a:lnTo>
                    <a:pt x="250" y="294"/>
                  </a:lnTo>
                  <a:lnTo>
                    <a:pt x="254" y="296"/>
                  </a:lnTo>
                  <a:lnTo>
                    <a:pt x="252" y="296"/>
                  </a:lnTo>
                  <a:lnTo>
                    <a:pt x="252" y="298"/>
                  </a:lnTo>
                  <a:lnTo>
                    <a:pt x="250" y="298"/>
                  </a:lnTo>
                  <a:lnTo>
                    <a:pt x="250" y="299"/>
                  </a:lnTo>
                  <a:lnTo>
                    <a:pt x="248" y="299"/>
                  </a:lnTo>
                  <a:lnTo>
                    <a:pt x="247" y="301"/>
                  </a:lnTo>
                  <a:lnTo>
                    <a:pt x="243" y="301"/>
                  </a:lnTo>
                  <a:lnTo>
                    <a:pt x="243" y="298"/>
                  </a:lnTo>
                  <a:lnTo>
                    <a:pt x="245" y="299"/>
                  </a:lnTo>
                  <a:lnTo>
                    <a:pt x="247" y="298"/>
                  </a:lnTo>
                  <a:lnTo>
                    <a:pt x="248" y="296"/>
                  </a:lnTo>
                  <a:lnTo>
                    <a:pt x="248" y="294"/>
                  </a:lnTo>
                  <a:lnTo>
                    <a:pt x="247" y="296"/>
                  </a:lnTo>
                  <a:lnTo>
                    <a:pt x="245" y="296"/>
                  </a:lnTo>
                  <a:lnTo>
                    <a:pt x="245" y="294"/>
                  </a:lnTo>
                  <a:lnTo>
                    <a:pt x="243" y="294"/>
                  </a:lnTo>
                  <a:lnTo>
                    <a:pt x="247" y="294"/>
                  </a:lnTo>
                  <a:lnTo>
                    <a:pt x="247" y="293"/>
                  </a:lnTo>
                  <a:close/>
                  <a:moveTo>
                    <a:pt x="430" y="354"/>
                  </a:moveTo>
                  <a:lnTo>
                    <a:pt x="432" y="354"/>
                  </a:lnTo>
                  <a:lnTo>
                    <a:pt x="434" y="356"/>
                  </a:lnTo>
                  <a:lnTo>
                    <a:pt x="435" y="357"/>
                  </a:lnTo>
                  <a:lnTo>
                    <a:pt x="437" y="357"/>
                  </a:lnTo>
                  <a:lnTo>
                    <a:pt x="435" y="357"/>
                  </a:lnTo>
                  <a:lnTo>
                    <a:pt x="432" y="359"/>
                  </a:lnTo>
                  <a:lnTo>
                    <a:pt x="430" y="359"/>
                  </a:lnTo>
                  <a:lnTo>
                    <a:pt x="430" y="362"/>
                  </a:lnTo>
                  <a:lnTo>
                    <a:pt x="432" y="364"/>
                  </a:lnTo>
                  <a:lnTo>
                    <a:pt x="429" y="364"/>
                  </a:lnTo>
                  <a:lnTo>
                    <a:pt x="427" y="364"/>
                  </a:lnTo>
                  <a:lnTo>
                    <a:pt x="425" y="362"/>
                  </a:lnTo>
                  <a:lnTo>
                    <a:pt x="425" y="361"/>
                  </a:lnTo>
                  <a:lnTo>
                    <a:pt x="424" y="359"/>
                  </a:lnTo>
                  <a:lnTo>
                    <a:pt x="427" y="359"/>
                  </a:lnTo>
                  <a:lnTo>
                    <a:pt x="429" y="361"/>
                  </a:lnTo>
                  <a:lnTo>
                    <a:pt x="430" y="357"/>
                  </a:lnTo>
                  <a:lnTo>
                    <a:pt x="432" y="359"/>
                  </a:lnTo>
                  <a:lnTo>
                    <a:pt x="432" y="357"/>
                  </a:lnTo>
                  <a:lnTo>
                    <a:pt x="432" y="356"/>
                  </a:lnTo>
                  <a:lnTo>
                    <a:pt x="430" y="356"/>
                  </a:lnTo>
                  <a:lnTo>
                    <a:pt x="430" y="354"/>
                  </a:lnTo>
                  <a:close/>
                  <a:moveTo>
                    <a:pt x="359" y="306"/>
                  </a:moveTo>
                  <a:lnTo>
                    <a:pt x="361" y="310"/>
                  </a:lnTo>
                  <a:lnTo>
                    <a:pt x="361" y="306"/>
                  </a:lnTo>
                  <a:lnTo>
                    <a:pt x="364" y="306"/>
                  </a:lnTo>
                  <a:lnTo>
                    <a:pt x="364" y="308"/>
                  </a:lnTo>
                  <a:lnTo>
                    <a:pt x="366" y="308"/>
                  </a:lnTo>
                  <a:lnTo>
                    <a:pt x="366" y="310"/>
                  </a:lnTo>
                  <a:lnTo>
                    <a:pt x="362" y="311"/>
                  </a:lnTo>
                  <a:lnTo>
                    <a:pt x="362" y="313"/>
                  </a:lnTo>
                  <a:lnTo>
                    <a:pt x="362" y="311"/>
                  </a:lnTo>
                  <a:lnTo>
                    <a:pt x="361" y="313"/>
                  </a:lnTo>
                  <a:lnTo>
                    <a:pt x="359" y="313"/>
                  </a:lnTo>
                  <a:lnTo>
                    <a:pt x="357" y="315"/>
                  </a:lnTo>
                  <a:lnTo>
                    <a:pt x="357" y="313"/>
                  </a:lnTo>
                  <a:lnTo>
                    <a:pt x="357" y="311"/>
                  </a:lnTo>
                  <a:lnTo>
                    <a:pt x="359" y="313"/>
                  </a:lnTo>
                  <a:lnTo>
                    <a:pt x="359" y="311"/>
                  </a:lnTo>
                  <a:lnTo>
                    <a:pt x="357" y="308"/>
                  </a:lnTo>
                  <a:lnTo>
                    <a:pt x="359" y="306"/>
                  </a:lnTo>
                  <a:close/>
                  <a:moveTo>
                    <a:pt x="332" y="311"/>
                  </a:moveTo>
                  <a:lnTo>
                    <a:pt x="335" y="311"/>
                  </a:lnTo>
                  <a:lnTo>
                    <a:pt x="337" y="313"/>
                  </a:lnTo>
                  <a:lnTo>
                    <a:pt x="337" y="315"/>
                  </a:lnTo>
                  <a:lnTo>
                    <a:pt x="337" y="316"/>
                  </a:lnTo>
                  <a:lnTo>
                    <a:pt x="339" y="318"/>
                  </a:lnTo>
                  <a:lnTo>
                    <a:pt x="339" y="320"/>
                  </a:lnTo>
                  <a:lnTo>
                    <a:pt x="337" y="320"/>
                  </a:lnTo>
                  <a:lnTo>
                    <a:pt x="333" y="322"/>
                  </a:lnTo>
                  <a:lnTo>
                    <a:pt x="333" y="320"/>
                  </a:lnTo>
                  <a:lnTo>
                    <a:pt x="332" y="320"/>
                  </a:lnTo>
                  <a:lnTo>
                    <a:pt x="333" y="318"/>
                  </a:lnTo>
                  <a:lnTo>
                    <a:pt x="332" y="318"/>
                  </a:lnTo>
                  <a:lnTo>
                    <a:pt x="335" y="316"/>
                  </a:lnTo>
                  <a:lnTo>
                    <a:pt x="333" y="315"/>
                  </a:lnTo>
                  <a:lnTo>
                    <a:pt x="333" y="313"/>
                  </a:lnTo>
                  <a:lnTo>
                    <a:pt x="332" y="311"/>
                  </a:lnTo>
                  <a:close/>
                  <a:moveTo>
                    <a:pt x="250" y="308"/>
                  </a:moveTo>
                  <a:lnTo>
                    <a:pt x="254" y="308"/>
                  </a:lnTo>
                  <a:lnTo>
                    <a:pt x="255" y="308"/>
                  </a:lnTo>
                  <a:lnTo>
                    <a:pt x="254" y="310"/>
                  </a:lnTo>
                  <a:lnTo>
                    <a:pt x="254" y="311"/>
                  </a:lnTo>
                  <a:lnTo>
                    <a:pt x="254" y="315"/>
                  </a:lnTo>
                  <a:lnTo>
                    <a:pt x="252" y="316"/>
                  </a:lnTo>
                  <a:lnTo>
                    <a:pt x="250" y="315"/>
                  </a:lnTo>
                  <a:lnTo>
                    <a:pt x="250" y="313"/>
                  </a:lnTo>
                  <a:lnTo>
                    <a:pt x="248" y="313"/>
                  </a:lnTo>
                  <a:lnTo>
                    <a:pt x="247" y="310"/>
                  </a:lnTo>
                  <a:lnTo>
                    <a:pt x="248" y="310"/>
                  </a:lnTo>
                  <a:lnTo>
                    <a:pt x="250" y="308"/>
                  </a:lnTo>
                  <a:close/>
                  <a:moveTo>
                    <a:pt x="325" y="347"/>
                  </a:moveTo>
                  <a:lnTo>
                    <a:pt x="328" y="349"/>
                  </a:lnTo>
                  <a:lnTo>
                    <a:pt x="330" y="349"/>
                  </a:lnTo>
                  <a:lnTo>
                    <a:pt x="330" y="350"/>
                  </a:lnTo>
                  <a:lnTo>
                    <a:pt x="332" y="350"/>
                  </a:lnTo>
                  <a:lnTo>
                    <a:pt x="333" y="352"/>
                  </a:lnTo>
                  <a:lnTo>
                    <a:pt x="333" y="354"/>
                  </a:lnTo>
                  <a:lnTo>
                    <a:pt x="332" y="354"/>
                  </a:lnTo>
                  <a:lnTo>
                    <a:pt x="332" y="357"/>
                  </a:lnTo>
                  <a:lnTo>
                    <a:pt x="330" y="356"/>
                  </a:lnTo>
                  <a:lnTo>
                    <a:pt x="328" y="354"/>
                  </a:lnTo>
                  <a:lnTo>
                    <a:pt x="327" y="352"/>
                  </a:lnTo>
                  <a:lnTo>
                    <a:pt x="328" y="350"/>
                  </a:lnTo>
                  <a:lnTo>
                    <a:pt x="327" y="350"/>
                  </a:lnTo>
                  <a:lnTo>
                    <a:pt x="325" y="349"/>
                  </a:lnTo>
                  <a:lnTo>
                    <a:pt x="327" y="349"/>
                  </a:lnTo>
                  <a:lnTo>
                    <a:pt x="325" y="347"/>
                  </a:lnTo>
                  <a:close/>
                  <a:moveTo>
                    <a:pt x="378" y="378"/>
                  </a:moveTo>
                  <a:lnTo>
                    <a:pt x="379" y="379"/>
                  </a:lnTo>
                  <a:lnTo>
                    <a:pt x="381" y="381"/>
                  </a:lnTo>
                  <a:lnTo>
                    <a:pt x="383" y="383"/>
                  </a:lnTo>
                  <a:lnTo>
                    <a:pt x="383" y="385"/>
                  </a:lnTo>
                  <a:lnTo>
                    <a:pt x="384" y="386"/>
                  </a:lnTo>
                  <a:lnTo>
                    <a:pt x="381" y="388"/>
                  </a:lnTo>
                  <a:lnTo>
                    <a:pt x="378" y="388"/>
                  </a:lnTo>
                  <a:lnTo>
                    <a:pt x="376" y="388"/>
                  </a:lnTo>
                  <a:lnTo>
                    <a:pt x="378" y="386"/>
                  </a:lnTo>
                  <a:lnTo>
                    <a:pt x="379" y="386"/>
                  </a:lnTo>
                  <a:lnTo>
                    <a:pt x="381" y="385"/>
                  </a:lnTo>
                  <a:lnTo>
                    <a:pt x="379" y="381"/>
                  </a:lnTo>
                  <a:lnTo>
                    <a:pt x="378" y="379"/>
                  </a:lnTo>
                  <a:lnTo>
                    <a:pt x="376" y="379"/>
                  </a:lnTo>
                  <a:lnTo>
                    <a:pt x="376" y="378"/>
                  </a:lnTo>
                  <a:lnTo>
                    <a:pt x="378" y="378"/>
                  </a:lnTo>
                  <a:close/>
                  <a:moveTo>
                    <a:pt x="315" y="337"/>
                  </a:moveTo>
                  <a:lnTo>
                    <a:pt x="318" y="339"/>
                  </a:lnTo>
                  <a:lnTo>
                    <a:pt x="316" y="340"/>
                  </a:lnTo>
                  <a:lnTo>
                    <a:pt x="318" y="342"/>
                  </a:lnTo>
                  <a:lnTo>
                    <a:pt x="316" y="342"/>
                  </a:lnTo>
                  <a:lnTo>
                    <a:pt x="318" y="344"/>
                  </a:lnTo>
                  <a:lnTo>
                    <a:pt x="316" y="345"/>
                  </a:lnTo>
                  <a:lnTo>
                    <a:pt x="316" y="344"/>
                  </a:lnTo>
                  <a:lnTo>
                    <a:pt x="315" y="344"/>
                  </a:lnTo>
                  <a:lnTo>
                    <a:pt x="311" y="345"/>
                  </a:lnTo>
                  <a:lnTo>
                    <a:pt x="313" y="344"/>
                  </a:lnTo>
                  <a:lnTo>
                    <a:pt x="311" y="342"/>
                  </a:lnTo>
                  <a:lnTo>
                    <a:pt x="313" y="340"/>
                  </a:lnTo>
                  <a:lnTo>
                    <a:pt x="315" y="339"/>
                  </a:lnTo>
                  <a:lnTo>
                    <a:pt x="315" y="337"/>
                  </a:lnTo>
                  <a:close/>
                  <a:moveTo>
                    <a:pt x="255" y="196"/>
                  </a:moveTo>
                  <a:lnTo>
                    <a:pt x="255" y="197"/>
                  </a:lnTo>
                  <a:lnTo>
                    <a:pt x="257" y="197"/>
                  </a:lnTo>
                  <a:lnTo>
                    <a:pt x="257" y="199"/>
                  </a:lnTo>
                  <a:lnTo>
                    <a:pt x="257" y="202"/>
                  </a:lnTo>
                  <a:lnTo>
                    <a:pt x="255" y="202"/>
                  </a:lnTo>
                  <a:lnTo>
                    <a:pt x="255" y="204"/>
                  </a:lnTo>
                  <a:lnTo>
                    <a:pt x="254" y="208"/>
                  </a:lnTo>
                  <a:lnTo>
                    <a:pt x="250" y="209"/>
                  </a:lnTo>
                  <a:lnTo>
                    <a:pt x="250" y="208"/>
                  </a:lnTo>
                  <a:lnTo>
                    <a:pt x="254" y="206"/>
                  </a:lnTo>
                  <a:lnTo>
                    <a:pt x="252" y="204"/>
                  </a:lnTo>
                  <a:lnTo>
                    <a:pt x="254" y="202"/>
                  </a:lnTo>
                  <a:lnTo>
                    <a:pt x="254" y="201"/>
                  </a:lnTo>
                  <a:lnTo>
                    <a:pt x="254" y="199"/>
                  </a:lnTo>
                  <a:lnTo>
                    <a:pt x="255" y="199"/>
                  </a:lnTo>
                  <a:lnTo>
                    <a:pt x="255" y="196"/>
                  </a:lnTo>
                  <a:close/>
                  <a:moveTo>
                    <a:pt x="486" y="432"/>
                  </a:moveTo>
                  <a:lnTo>
                    <a:pt x="486" y="434"/>
                  </a:lnTo>
                  <a:lnTo>
                    <a:pt x="485" y="436"/>
                  </a:lnTo>
                  <a:lnTo>
                    <a:pt x="483" y="437"/>
                  </a:lnTo>
                  <a:lnTo>
                    <a:pt x="481" y="437"/>
                  </a:lnTo>
                  <a:lnTo>
                    <a:pt x="481" y="439"/>
                  </a:lnTo>
                  <a:lnTo>
                    <a:pt x="478" y="439"/>
                  </a:lnTo>
                  <a:lnTo>
                    <a:pt x="478" y="437"/>
                  </a:lnTo>
                  <a:lnTo>
                    <a:pt x="480" y="436"/>
                  </a:lnTo>
                  <a:lnTo>
                    <a:pt x="480" y="434"/>
                  </a:lnTo>
                  <a:lnTo>
                    <a:pt x="483" y="434"/>
                  </a:lnTo>
                  <a:lnTo>
                    <a:pt x="485" y="432"/>
                  </a:lnTo>
                  <a:lnTo>
                    <a:pt x="486" y="432"/>
                  </a:lnTo>
                  <a:close/>
                  <a:moveTo>
                    <a:pt x="488" y="352"/>
                  </a:moveTo>
                  <a:lnTo>
                    <a:pt x="490" y="354"/>
                  </a:lnTo>
                  <a:lnTo>
                    <a:pt x="490" y="356"/>
                  </a:lnTo>
                  <a:lnTo>
                    <a:pt x="492" y="356"/>
                  </a:lnTo>
                  <a:lnTo>
                    <a:pt x="492" y="357"/>
                  </a:lnTo>
                  <a:lnTo>
                    <a:pt x="492" y="356"/>
                  </a:lnTo>
                  <a:lnTo>
                    <a:pt x="493" y="357"/>
                  </a:lnTo>
                  <a:lnTo>
                    <a:pt x="495" y="356"/>
                  </a:lnTo>
                  <a:lnTo>
                    <a:pt x="495" y="357"/>
                  </a:lnTo>
                  <a:lnTo>
                    <a:pt x="492" y="359"/>
                  </a:lnTo>
                  <a:lnTo>
                    <a:pt x="490" y="357"/>
                  </a:lnTo>
                  <a:lnTo>
                    <a:pt x="490" y="359"/>
                  </a:lnTo>
                  <a:lnTo>
                    <a:pt x="488" y="356"/>
                  </a:lnTo>
                  <a:lnTo>
                    <a:pt x="488" y="357"/>
                  </a:lnTo>
                  <a:lnTo>
                    <a:pt x="485" y="357"/>
                  </a:lnTo>
                  <a:lnTo>
                    <a:pt x="485" y="356"/>
                  </a:lnTo>
                  <a:lnTo>
                    <a:pt x="485" y="354"/>
                  </a:lnTo>
                  <a:lnTo>
                    <a:pt x="486" y="354"/>
                  </a:lnTo>
                  <a:lnTo>
                    <a:pt x="488" y="352"/>
                  </a:lnTo>
                  <a:close/>
                  <a:moveTo>
                    <a:pt x="512" y="335"/>
                  </a:moveTo>
                  <a:lnTo>
                    <a:pt x="512" y="337"/>
                  </a:lnTo>
                  <a:lnTo>
                    <a:pt x="514" y="337"/>
                  </a:lnTo>
                  <a:lnTo>
                    <a:pt x="515" y="335"/>
                  </a:lnTo>
                  <a:lnTo>
                    <a:pt x="514" y="337"/>
                  </a:lnTo>
                  <a:lnTo>
                    <a:pt x="515" y="335"/>
                  </a:lnTo>
                  <a:lnTo>
                    <a:pt x="515" y="337"/>
                  </a:lnTo>
                  <a:lnTo>
                    <a:pt x="515" y="339"/>
                  </a:lnTo>
                  <a:lnTo>
                    <a:pt x="517" y="340"/>
                  </a:lnTo>
                  <a:lnTo>
                    <a:pt x="515" y="342"/>
                  </a:lnTo>
                  <a:lnTo>
                    <a:pt x="514" y="342"/>
                  </a:lnTo>
                  <a:lnTo>
                    <a:pt x="514" y="340"/>
                  </a:lnTo>
                  <a:lnTo>
                    <a:pt x="512" y="340"/>
                  </a:lnTo>
                  <a:lnTo>
                    <a:pt x="512" y="339"/>
                  </a:lnTo>
                  <a:lnTo>
                    <a:pt x="510" y="340"/>
                  </a:lnTo>
                  <a:lnTo>
                    <a:pt x="509" y="337"/>
                  </a:lnTo>
                  <a:lnTo>
                    <a:pt x="510" y="339"/>
                  </a:lnTo>
                  <a:lnTo>
                    <a:pt x="510" y="335"/>
                  </a:lnTo>
                  <a:lnTo>
                    <a:pt x="512" y="335"/>
                  </a:lnTo>
                  <a:close/>
                  <a:moveTo>
                    <a:pt x="446" y="310"/>
                  </a:moveTo>
                  <a:lnTo>
                    <a:pt x="447" y="310"/>
                  </a:lnTo>
                  <a:lnTo>
                    <a:pt x="447" y="311"/>
                  </a:lnTo>
                  <a:lnTo>
                    <a:pt x="449" y="311"/>
                  </a:lnTo>
                  <a:lnTo>
                    <a:pt x="449" y="313"/>
                  </a:lnTo>
                  <a:lnTo>
                    <a:pt x="451" y="315"/>
                  </a:lnTo>
                  <a:lnTo>
                    <a:pt x="451" y="316"/>
                  </a:lnTo>
                  <a:lnTo>
                    <a:pt x="449" y="316"/>
                  </a:lnTo>
                  <a:lnTo>
                    <a:pt x="447" y="315"/>
                  </a:lnTo>
                  <a:lnTo>
                    <a:pt x="449" y="315"/>
                  </a:lnTo>
                  <a:lnTo>
                    <a:pt x="449" y="313"/>
                  </a:lnTo>
                  <a:lnTo>
                    <a:pt x="447" y="315"/>
                  </a:lnTo>
                  <a:lnTo>
                    <a:pt x="446" y="315"/>
                  </a:lnTo>
                  <a:lnTo>
                    <a:pt x="447" y="313"/>
                  </a:lnTo>
                  <a:lnTo>
                    <a:pt x="446" y="313"/>
                  </a:lnTo>
                  <a:lnTo>
                    <a:pt x="444" y="311"/>
                  </a:lnTo>
                  <a:lnTo>
                    <a:pt x="444" y="310"/>
                  </a:lnTo>
                  <a:lnTo>
                    <a:pt x="446" y="310"/>
                  </a:lnTo>
                  <a:lnTo>
                    <a:pt x="444" y="310"/>
                  </a:lnTo>
                  <a:lnTo>
                    <a:pt x="446" y="310"/>
                  </a:lnTo>
                  <a:close/>
                  <a:moveTo>
                    <a:pt x="230" y="208"/>
                  </a:moveTo>
                  <a:lnTo>
                    <a:pt x="233" y="209"/>
                  </a:lnTo>
                  <a:lnTo>
                    <a:pt x="233" y="211"/>
                  </a:lnTo>
                  <a:lnTo>
                    <a:pt x="233" y="209"/>
                  </a:lnTo>
                  <a:lnTo>
                    <a:pt x="231" y="211"/>
                  </a:lnTo>
                  <a:lnTo>
                    <a:pt x="231" y="213"/>
                  </a:lnTo>
                  <a:lnTo>
                    <a:pt x="230" y="213"/>
                  </a:lnTo>
                  <a:lnTo>
                    <a:pt x="226" y="213"/>
                  </a:lnTo>
                  <a:lnTo>
                    <a:pt x="226" y="211"/>
                  </a:lnTo>
                  <a:lnTo>
                    <a:pt x="230" y="209"/>
                  </a:lnTo>
                  <a:lnTo>
                    <a:pt x="230" y="208"/>
                  </a:lnTo>
                  <a:close/>
                  <a:moveTo>
                    <a:pt x="260" y="337"/>
                  </a:moveTo>
                  <a:lnTo>
                    <a:pt x="259" y="339"/>
                  </a:lnTo>
                  <a:lnTo>
                    <a:pt x="257" y="339"/>
                  </a:lnTo>
                  <a:lnTo>
                    <a:pt x="257" y="340"/>
                  </a:lnTo>
                  <a:lnTo>
                    <a:pt x="254" y="342"/>
                  </a:lnTo>
                  <a:lnTo>
                    <a:pt x="252" y="344"/>
                  </a:lnTo>
                  <a:lnTo>
                    <a:pt x="250" y="344"/>
                  </a:lnTo>
                  <a:lnTo>
                    <a:pt x="250" y="342"/>
                  </a:lnTo>
                  <a:lnTo>
                    <a:pt x="254" y="340"/>
                  </a:lnTo>
                  <a:lnTo>
                    <a:pt x="255" y="339"/>
                  </a:lnTo>
                  <a:lnTo>
                    <a:pt x="257" y="337"/>
                  </a:lnTo>
                  <a:lnTo>
                    <a:pt x="260" y="337"/>
                  </a:lnTo>
                  <a:close/>
                  <a:moveTo>
                    <a:pt x="310" y="167"/>
                  </a:moveTo>
                  <a:lnTo>
                    <a:pt x="311" y="167"/>
                  </a:lnTo>
                  <a:lnTo>
                    <a:pt x="311" y="170"/>
                  </a:lnTo>
                  <a:lnTo>
                    <a:pt x="310" y="172"/>
                  </a:lnTo>
                  <a:lnTo>
                    <a:pt x="310" y="174"/>
                  </a:lnTo>
                  <a:lnTo>
                    <a:pt x="308" y="172"/>
                  </a:lnTo>
                  <a:lnTo>
                    <a:pt x="308" y="170"/>
                  </a:lnTo>
                  <a:lnTo>
                    <a:pt x="308" y="167"/>
                  </a:lnTo>
                  <a:lnTo>
                    <a:pt x="310" y="167"/>
                  </a:lnTo>
                  <a:close/>
                  <a:moveTo>
                    <a:pt x="361" y="364"/>
                  </a:moveTo>
                  <a:lnTo>
                    <a:pt x="361" y="366"/>
                  </a:lnTo>
                  <a:lnTo>
                    <a:pt x="361" y="368"/>
                  </a:lnTo>
                  <a:lnTo>
                    <a:pt x="359" y="368"/>
                  </a:lnTo>
                  <a:lnTo>
                    <a:pt x="359" y="369"/>
                  </a:lnTo>
                  <a:lnTo>
                    <a:pt x="357" y="371"/>
                  </a:lnTo>
                  <a:lnTo>
                    <a:pt x="356" y="371"/>
                  </a:lnTo>
                  <a:lnTo>
                    <a:pt x="356" y="369"/>
                  </a:lnTo>
                  <a:lnTo>
                    <a:pt x="357" y="368"/>
                  </a:lnTo>
                  <a:lnTo>
                    <a:pt x="359" y="364"/>
                  </a:lnTo>
                  <a:lnTo>
                    <a:pt x="361" y="364"/>
                  </a:lnTo>
                  <a:close/>
                  <a:moveTo>
                    <a:pt x="476" y="345"/>
                  </a:moveTo>
                  <a:lnTo>
                    <a:pt x="478" y="347"/>
                  </a:lnTo>
                  <a:lnTo>
                    <a:pt x="478" y="349"/>
                  </a:lnTo>
                  <a:lnTo>
                    <a:pt x="475" y="349"/>
                  </a:lnTo>
                  <a:lnTo>
                    <a:pt x="475" y="350"/>
                  </a:lnTo>
                  <a:lnTo>
                    <a:pt x="473" y="349"/>
                  </a:lnTo>
                  <a:lnTo>
                    <a:pt x="473" y="347"/>
                  </a:lnTo>
                  <a:lnTo>
                    <a:pt x="476" y="345"/>
                  </a:lnTo>
                  <a:close/>
                  <a:moveTo>
                    <a:pt x="354" y="226"/>
                  </a:moveTo>
                  <a:lnTo>
                    <a:pt x="356" y="226"/>
                  </a:lnTo>
                  <a:lnTo>
                    <a:pt x="357" y="226"/>
                  </a:lnTo>
                  <a:lnTo>
                    <a:pt x="357" y="228"/>
                  </a:lnTo>
                  <a:lnTo>
                    <a:pt x="357" y="231"/>
                  </a:lnTo>
                  <a:lnTo>
                    <a:pt x="356" y="231"/>
                  </a:lnTo>
                  <a:lnTo>
                    <a:pt x="354" y="230"/>
                  </a:lnTo>
                  <a:lnTo>
                    <a:pt x="352" y="228"/>
                  </a:lnTo>
                  <a:lnTo>
                    <a:pt x="354" y="226"/>
                  </a:lnTo>
                  <a:close/>
                  <a:moveTo>
                    <a:pt x="400" y="379"/>
                  </a:moveTo>
                  <a:lnTo>
                    <a:pt x="403" y="381"/>
                  </a:lnTo>
                  <a:lnTo>
                    <a:pt x="405" y="381"/>
                  </a:lnTo>
                  <a:lnTo>
                    <a:pt x="403" y="381"/>
                  </a:lnTo>
                  <a:lnTo>
                    <a:pt x="401" y="383"/>
                  </a:lnTo>
                  <a:lnTo>
                    <a:pt x="398" y="383"/>
                  </a:lnTo>
                  <a:lnTo>
                    <a:pt x="400" y="379"/>
                  </a:lnTo>
                  <a:close/>
                  <a:moveTo>
                    <a:pt x="325" y="362"/>
                  </a:moveTo>
                  <a:lnTo>
                    <a:pt x="327" y="364"/>
                  </a:lnTo>
                  <a:lnTo>
                    <a:pt x="327" y="366"/>
                  </a:lnTo>
                  <a:lnTo>
                    <a:pt x="325" y="368"/>
                  </a:lnTo>
                  <a:lnTo>
                    <a:pt x="323" y="368"/>
                  </a:lnTo>
                  <a:lnTo>
                    <a:pt x="322" y="366"/>
                  </a:lnTo>
                  <a:lnTo>
                    <a:pt x="322" y="364"/>
                  </a:lnTo>
                  <a:lnTo>
                    <a:pt x="325" y="362"/>
                  </a:lnTo>
                  <a:close/>
                  <a:moveTo>
                    <a:pt x="350" y="342"/>
                  </a:moveTo>
                  <a:lnTo>
                    <a:pt x="350" y="344"/>
                  </a:lnTo>
                  <a:lnTo>
                    <a:pt x="350" y="345"/>
                  </a:lnTo>
                  <a:lnTo>
                    <a:pt x="350" y="347"/>
                  </a:lnTo>
                  <a:lnTo>
                    <a:pt x="352" y="350"/>
                  </a:lnTo>
                  <a:lnTo>
                    <a:pt x="349" y="347"/>
                  </a:lnTo>
                  <a:lnTo>
                    <a:pt x="347" y="347"/>
                  </a:lnTo>
                  <a:lnTo>
                    <a:pt x="347" y="345"/>
                  </a:lnTo>
                  <a:lnTo>
                    <a:pt x="349" y="344"/>
                  </a:lnTo>
                  <a:lnTo>
                    <a:pt x="350" y="342"/>
                  </a:lnTo>
                  <a:close/>
                  <a:moveTo>
                    <a:pt x="429" y="299"/>
                  </a:moveTo>
                  <a:lnTo>
                    <a:pt x="429" y="301"/>
                  </a:lnTo>
                  <a:lnTo>
                    <a:pt x="432" y="303"/>
                  </a:lnTo>
                  <a:lnTo>
                    <a:pt x="429" y="301"/>
                  </a:lnTo>
                  <a:lnTo>
                    <a:pt x="429" y="305"/>
                  </a:lnTo>
                  <a:lnTo>
                    <a:pt x="430" y="305"/>
                  </a:lnTo>
                  <a:lnTo>
                    <a:pt x="430" y="306"/>
                  </a:lnTo>
                  <a:lnTo>
                    <a:pt x="430" y="308"/>
                  </a:lnTo>
                  <a:lnTo>
                    <a:pt x="429" y="308"/>
                  </a:lnTo>
                  <a:lnTo>
                    <a:pt x="429" y="306"/>
                  </a:lnTo>
                  <a:lnTo>
                    <a:pt x="427" y="305"/>
                  </a:lnTo>
                  <a:lnTo>
                    <a:pt x="429" y="303"/>
                  </a:lnTo>
                  <a:lnTo>
                    <a:pt x="427" y="301"/>
                  </a:lnTo>
                  <a:lnTo>
                    <a:pt x="429" y="301"/>
                  </a:lnTo>
                  <a:lnTo>
                    <a:pt x="429" y="299"/>
                  </a:lnTo>
                  <a:close/>
                  <a:moveTo>
                    <a:pt x="323" y="509"/>
                  </a:moveTo>
                  <a:lnTo>
                    <a:pt x="327" y="509"/>
                  </a:lnTo>
                  <a:lnTo>
                    <a:pt x="327" y="512"/>
                  </a:lnTo>
                  <a:lnTo>
                    <a:pt x="328" y="512"/>
                  </a:lnTo>
                  <a:lnTo>
                    <a:pt x="328" y="514"/>
                  </a:lnTo>
                  <a:lnTo>
                    <a:pt x="327" y="514"/>
                  </a:lnTo>
                  <a:lnTo>
                    <a:pt x="325" y="512"/>
                  </a:lnTo>
                  <a:lnTo>
                    <a:pt x="323" y="512"/>
                  </a:lnTo>
                  <a:lnTo>
                    <a:pt x="322" y="510"/>
                  </a:lnTo>
                  <a:lnTo>
                    <a:pt x="323" y="509"/>
                  </a:lnTo>
                  <a:close/>
                  <a:moveTo>
                    <a:pt x="344" y="373"/>
                  </a:moveTo>
                  <a:lnTo>
                    <a:pt x="347" y="373"/>
                  </a:lnTo>
                  <a:lnTo>
                    <a:pt x="349" y="373"/>
                  </a:lnTo>
                  <a:lnTo>
                    <a:pt x="350" y="374"/>
                  </a:lnTo>
                  <a:lnTo>
                    <a:pt x="347" y="376"/>
                  </a:lnTo>
                  <a:lnTo>
                    <a:pt x="345" y="374"/>
                  </a:lnTo>
                  <a:lnTo>
                    <a:pt x="344" y="374"/>
                  </a:lnTo>
                  <a:lnTo>
                    <a:pt x="344" y="373"/>
                  </a:lnTo>
                  <a:lnTo>
                    <a:pt x="342" y="373"/>
                  </a:lnTo>
                  <a:lnTo>
                    <a:pt x="344" y="373"/>
                  </a:lnTo>
                  <a:close/>
                  <a:moveTo>
                    <a:pt x="422" y="281"/>
                  </a:moveTo>
                  <a:lnTo>
                    <a:pt x="422" y="282"/>
                  </a:lnTo>
                  <a:lnTo>
                    <a:pt x="422" y="284"/>
                  </a:lnTo>
                  <a:lnTo>
                    <a:pt x="424" y="284"/>
                  </a:lnTo>
                  <a:lnTo>
                    <a:pt x="424" y="286"/>
                  </a:lnTo>
                  <a:lnTo>
                    <a:pt x="422" y="288"/>
                  </a:lnTo>
                  <a:lnTo>
                    <a:pt x="424" y="289"/>
                  </a:lnTo>
                  <a:lnTo>
                    <a:pt x="422" y="291"/>
                  </a:lnTo>
                  <a:lnTo>
                    <a:pt x="422" y="288"/>
                  </a:lnTo>
                  <a:lnTo>
                    <a:pt x="420" y="289"/>
                  </a:lnTo>
                  <a:lnTo>
                    <a:pt x="420" y="288"/>
                  </a:lnTo>
                  <a:lnTo>
                    <a:pt x="420" y="289"/>
                  </a:lnTo>
                  <a:lnTo>
                    <a:pt x="420" y="288"/>
                  </a:lnTo>
                  <a:lnTo>
                    <a:pt x="420" y="286"/>
                  </a:lnTo>
                  <a:lnTo>
                    <a:pt x="422" y="286"/>
                  </a:lnTo>
                  <a:lnTo>
                    <a:pt x="422" y="284"/>
                  </a:lnTo>
                  <a:lnTo>
                    <a:pt x="420" y="282"/>
                  </a:lnTo>
                  <a:lnTo>
                    <a:pt x="422" y="281"/>
                  </a:lnTo>
                  <a:close/>
                  <a:moveTo>
                    <a:pt x="507" y="366"/>
                  </a:moveTo>
                  <a:lnTo>
                    <a:pt x="507" y="368"/>
                  </a:lnTo>
                  <a:lnTo>
                    <a:pt x="505" y="369"/>
                  </a:lnTo>
                  <a:lnTo>
                    <a:pt x="505" y="368"/>
                  </a:lnTo>
                  <a:lnTo>
                    <a:pt x="503" y="368"/>
                  </a:lnTo>
                  <a:lnTo>
                    <a:pt x="502" y="369"/>
                  </a:lnTo>
                  <a:lnTo>
                    <a:pt x="502" y="368"/>
                  </a:lnTo>
                  <a:lnTo>
                    <a:pt x="503" y="368"/>
                  </a:lnTo>
                  <a:lnTo>
                    <a:pt x="507" y="366"/>
                  </a:lnTo>
                  <a:close/>
                  <a:moveTo>
                    <a:pt x="262" y="191"/>
                  </a:moveTo>
                  <a:lnTo>
                    <a:pt x="260" y="192"/>
                  </a:lnTo>
                  <a:lnTo>
                    <a:pt x="262" y="191"/>
                  </a:lnTo>
                  <a:lnTo>
                    <a:pt x="264" y="194"/>
                  </a:lnTo>
                  <a:lnTo>
                    <a:pt x="262" y="196"/>
                  </a:lnTo>
                  <a:lnTo>
                    <a:pt x="260" y="194"/>
                  </a:lnTo>
                  <a:lnTo>
                    <a:pt x="262" y="194"/>
                  </a:lnTo>
                  <a:lnTo>
                    <a:pt x="260" y="194"/>
                  </a:lnTo>
                  <a:lnTo>
                    <a:pt x="260" y="191"/>
                  </a:lnTo>
                  <a:lnTo>
                    <a:pt x="262" y="191"/>
                  </a:lnTo>
                  <a:close/>
                  <a:moveTo>
                    <a:pt x="99" y="271"/>
                  </a:moveTo>
                  <a:lnTo>
                    <a:pt x="97" y="274"/>
                  </a:lnTo>
                  <a:lnTo>
                    <a:pt x="95" y="274"/>
                  </a:lnTo>
                  <a:lnTo>
                    <a:pt x="95" y="276"/>
                  </a:lnTo>
                  <a:lnTo>
                    <a:pt x="94" y="276"/>
                  </a:lnTo>
                  <a:lnTo>
                    <a:pt x="95" y="274"/>
                  </a:lnTo>
                  <a:lnTo>
                    <a:pt x="95" y="271"/>
                  </a:lnTo>
                  <a:lnTo>
                    <a:pt x="99" y="271"/>
                  </a:lnTo>
                  <a:close/>
                  <a:moveTo>
                    <a:pt x="254" y="323"/>
                  </a:moveTo>
                  <a:lnTo>
                    <a:pt x="254" y="327"/>
                  </a:lnTo>
                  <a:lnTo>
                    <a:pt x="255" y="327"/>
                  </a:lnTo>
                  <a:lnTo>
                    <a:pt x="255" y="328"/>
                  </a:lnTo>
                  <a:lnTo>
                    <a:pt x="252" y="328"/>
                  </a:lnTo>
                  <a:lnTo>
                    <a:pt x="254" y="328"/>
                  </a:lnTo>
                  <a:lnTo>
                    <a:pt x="250" y="327"/>
                  </a:lnTo>
                  <a:lnTo>
                    <a:pt x="254" y="325"/>
                  </a:lnTo>
                  <a:lnTo>
                    <a:pt x="254" y="323"/>
                  </a:lnTo>
                  <a:close/>
                  <a:moveTo>
                    <a:pt x="48" y="235"/>
                  </a:moveTo>
                  <a:lnTo>
                    <a:pt x="50" y="237"/>
                  </a:lnTo>
                  <a:lnTo>
                    <a:pt x="51" y="238"/>
                  </a:lnTo>
                  <a:lnTo>
                    <a:pt x="53" y="240"/>
                  </a:lnTo>
                  <a:lnTo>
                    <a:pt x="50" y="240"/>
                  </a:lnTo>
                  <a:lnTo>
                    <a:pt x="48" y="238"/>
                  </a:lnTo>
                  <a:lnTo>
                    <a:pt x="48" y="235"/>
                  </a:lnTo>
                  <a:close/>
                  <a:moveTo>
                    <a:pt x="89" y="271"/>
                  </a:moveTo>
                  <a:lnTo>
                    <a:pt x="90" y="271"/>
                  </a:lnTo>
                  <a:lnTo>
                    <a:pt x="90" y="272"/>
                  </a:lnTo>
                  <a:lnTo>
                    <a:pt x="89" y="272"/>
                  </a:lnTo>
                  <a:lnTo>
                    <a:pt x="89" y="274"/>
                  </a:lnTo>
                  <a:lnTo>
                    <a:pt x="90" y="276"/>
                  </a:lnTo>
                  <a:lnTo>
                    <a:pt x="92" y="276"/>
                  </a:lnTo>
                  <a:lnTo>
                    <a:pt x="89" y="276"/>
                  </a:lnTo>
                  <a:lnTo>
                    <a:pt x="87" y="274"/>
                  </a:lnTo>
                  <a:lnTo>
                    <a:pt x="87" y="271"/>
                  </a:lnTo>
                  <a:lnTo>
                    <a:pt x="89" y="271"/>
                  </a:lnTo>
                  <a:close/>
                  <a:moveTo>
                    <a:pt x="237" y="347"/>
                  </a:moveTo>
                  <a:lnTo>
                    <a:pt x="240" y="349"/>
                  </a:lnTo>
                  <a:lnTo>
                    <a:pt x="240" y="350"/>
                  </a:lnTo>
                  <a:lnTo>
                    <a:pt x="238" y="350"/>
                  </a:lnTo>
                  <a:lnTo>
                    <a:pt x="237" y="350"/>
                  </a:lnTo>
                  <a:lnTo>
                    <a:pt x="235" y="349"/>
                  </a:lnTo>
                  <a:lnTo>
                    <a:pt x="237" y="347"/>
                  </a:lnTo>
                  <a:close/>
                  <a:moveTo>
                    <a:pt x="264" y="444"/>
                  </a:moveTo>
                  <a:lnTo>
                    <a:pt x="264" y="446"/>
                  </a:lnTo>
                  <a:lnTo>
                    <a:pt x="265" y="444"/>
                  </a:lnTo>
                  <a:lnTo>
                    <a:pt x="265" y="446"/>
                  </a:lnTo>
                  <a:lnTo>
                    <a:pt x="267" y="447"/>
                  </a:lnTo>
                  <a:lnTo>
                    <a:pt x="267" y="449"/>
                  </a:lnTo>
                  <a:lnTo>
                    <a:pt x="265" y="447"/>
                  </a:lnTo>
                  <a:lnTo>
                    <a:pt x="264" y="446"/>
                  </a:lnTo>
                  <a:lnTo>
                    <a:pt x="264" y="444"/>
                  </a:lnTo>
                  <a:close/>
                  <a:moveTo>
                    <a:pt x="492" y="395"/>
                  </a:moveTo>
                  <a:lnTo>
                    <a:pt x="492" y="396"/>
                  </a:lnTo>
                  <a:lnTo>
                    <a:pt x="493" y="398"/>
                  </a:lnTo>
                  <a:lnTo>
                    <a:pt x="493" y="400"/>
                  </a:lnTo>
                  <a:lnTo>
                    <a:pt x="492" y="400"/>
                  </a:lnTo>
                  <a:lnTo>
                    <a:pt x="490" y="398"/>
                  </a:lnTo>
                  <a:lnTo>
                    <a:pt x="490" y="395"/>
                  </a:lnTo>
                  <a:lnTo>
                    <a:pt x="492" y="395"/>
                  </a:lnTo>
                  <a:close/>
                  <a:moveTo>
                    <a:pt x="288" y="303"/>
                  </a:moveTo>
                  <a:lnTo>
                    <a:pt x="288" y="305"/>
                  </a:lnTo>
                  <a:lnTo>
                    <a:pt x="288" y="306"/>
                  </a:lnTo>
                  <a:lnTo>
                    <a:pt x="288" y="308"/>
                  </a:lnTo>
                  <a:lnTo>
                    <a:pt x="288" y="311"/>
                  </a:lnTo>
                  <a:lnTo>
                    <a:pt x="286" y="308"/>
                  </a:lnTo>
                  <a:lnTo>
                    <a:pt x="288" y="306"/>
                  </a:lnTo>
                  <a:lnTo>
                    <a:pt x="288" y="305"/>
                  </a:lnTo>
                  <a:lnTo>
                    <a:pt x="288" y="303"/>
                  </a:lnTo>
                  <a:close/>
                  <a:moveTo>
                    <a:pt x="376" y="350"/>
                  </a:moveTo>
                  <a:lnTo>
                    <a:pt x="376" y="352"/>
                  </a:lnTo>
                  <a:lnTo>
                    <a:pt x="373" y="354"/>
                  </a:lnTo>
                  <a:lnTo>
                    <a:pt x="374" y="352"/>
                  </a:lnTo>
                  <a:lnTo>
                    <a:pt x="376" y="350"/>
                  </a:lnTo>
                  <a:close/>
                  <a:moveTo>
                    <a:pt x="238" y="403"/>
                  </a:moveTo>
                  <a:lnTo>
                    <a:pt x="240" y="407"/>
                  </a:lnTo>
                  <a:lnTo>
                    <a:pt x="240" y="408"/>
                  </a:lnTo>
                  <a:lnTo>
                    <a:pt x="238" y="407"/>
                  </a:lnTo>
                  <a:lnTo>
                    <a:pt x="237" y="408"/>
                  </a:lnTo>
                  <a:lnTo>
                    <a:pt x="237" y="407"/>
                  </a:lnTo>
                  <a:lnTo>
                    <a:pt x="238" y="403"/>
                  </a:lnTo>
                  <a:close/>
                  <a:moveTo>
                    <a:pt x="322" y="305"/>
                  </a:moveTo>
                  <a:lnTo>
                    <a:pt x="323" y="308"/>
                  </a:lnTo>
                  <a:lnTo>
                    <a:pt x="322" y="308"/>
                  </a:lnTo>
                  <a:lnTo>
                    <a:pt x="320" y="308"/>
                  </a:lnTo>
                  <a:lnTo>
                    <a:pt x="318" y="308"/>
                  </a:lnTo>
                  <a:lnTo>
                    <a:pt x="320" y="308"/>
                  </a:lnTo>
                  <a:lnTo>
                    <a:pt x="322" y="305"/>
                  </a:lnTo>
                  <a:close/>
                  <a:moveTo>
                    <a:pt x="328" y="366"/>
                  </a:moveTo>
                  <a:lnTo>
                    <a:pt x="330" y="366"/>
                  </a:lnTo>
                  <a:lnTo>
                    <a:pt x="332" y="368"/>
                  </a:lnTo>
                  <a:lnTo>
                    <a:pt x="330" y="369"/>
                  </a:lnTo>
                  <a:lnTo>
                    <a:pt x="328" y="368"/>
                  </a:lnTo>
                  <a:lnTo>
                    <a:pt x="327" y="366"/>
                  </a:lnTo>
                  <a:lnTo>
                    <a:pt x="328" y="366"/>
                  </a:lnTo>
                  <a:close/>
                  <a:moveTo>
                    <a:pt x="291" y="282"/>
                  </a:moveTo>
                  <a:lnTo>
                    <a:pt x="293" y="284"/>
                  </a:lnTo>
                  <a:lnTo>
                    <a:pt x="289" y="286"/>
                  </a:lnTo>
                  <a:lnTo>
                    <a:pt x="289" y="284"/>
                  </a:lnTo>
                  <a:lnTo>
                    <a:pt x="289" y="282"/>
                  </a:lnTo>
                  <a:lnTo>
                    <a:pt x="291" y="282"/>
                  </a:lnTo>
                  <a:close/>
                  <a:moveTo>
                    <a:pt x="439" y="301"/>
                  </a:moveTo>
                  <a:lnTo>
                    <a:pt x="441" y="303"/>
                  </a:lnTo>
                  <a:lnTo>
                    <a:pt x="442" y="303"/>
                  </a:lnTo>
                  <a:lnTo>
                    <a:pt x="442" y="305"/>
                  </a:lnTo>
                  <a:lnTo>
                    <a:pt x="441" y="305"/>
                  </a:lnTo>
                  <a:lnTo>
                    <a:pt x="441" y="303"/>
                  </a:lnTo>
                  <a:lnTo>
                    <a:pt x="439" y="303"/>
                  </a:lnTo>
                  <a:lnTo>
                    <a:pt x="439" y="301"/>
                  </a:lnTo>
                  <a:close/>
                  <a:moveTo>
                    <a:pt x="384" y="345"/>
                  </a:moveTo>
                  <a:lnTo>
                    <a:pt x="386" y="345"/>
                  </a:lnTo>
                  <a:lnTo>
                    <a:pt x="386" y="347"/>
                  </a:lnTo>
                  <a:lnTo>
                    <a:pt x="384" y="347"/>
                  </a:lnTo>
                  <a:lnTo>
                    <a:pt x="383" y="347"/>
                  </a:lnTo>
                  <a:lnTo>
                    <a:pt x="384" y="345"/>
                  </a:lnTo>
                  <a:close/>
                  <a:moveTo>
                    <a:pt x="257" y="201"/>
                  </a:moveTo>
                  <a:lnTo>
                    <a:pt x="259" y="202"/>
                  </a:lnTo>
                  <a:lnTo>
                    <a:pt x="259" y="201"/>
                  </a:lnTo>
                  <a:lnTo>
                    <a:pt x="259" y="204"/>
                  </a:lnTo>
                  <a:lnTo>
                    <a:pt x="259" y="206"/>
                  </a:lnTo>
                  <a:lnTo>
                    <a:pt x="257" y="206"/>
                  </a:lnTo>
                  <a:lnTo>
                    <a:pt x="257" y="204"/>
                  </a:lnTo>
                  <a:lnTo>
                    <a:pt x="259" y="202"/>
                  </a:lnTo>
                  <a:lnTo>
                    <a:pt x="257" y="201"/>
                  </a:lnTo>
                  <a:lnTo>
                    <a:pt x="257" y="199"/>
                  </a:lnTo>
                  <a:lnTo>
                    <a:pt x="257" y="201"/>
                  </a:lnTo>
                  <a:close/>
                  <a:moveTo>
                    <a:pt x="468" y="322"/>
                  </a:moveTo>
                  <a:lnTo>
                    <a:pt x="469" y="322"/>
                  </a:lnTo>
                  <a:lnTo>
                    <a:pt x="469" y="323"/>
                  </a:lnTo>
                  <a:lnTo>
                    <a:pt x="471" y="323"/>
                  </a:lnTo>
                  <a:lnTo>
                    <a:pt x="468" y="325"/>
                  </a:lnTo>
                  <a:lnTo>
                    <a:pt x="466" y="323"/>
                  </a:lnTo>
                  <a:lnTo>
                    <a:pt x="468" y="322"/>
                  </a:lnTo>
                  <a:close/>
                  <a:moveTo>
                    <a:pt x="390" y="223"/>
                  </a:moveTo>
                  <a:lnTo>
                    <a:pt x="391" y="223"/>
                  </a:lnTo>
                  <a:lnTo>
                    <a:pt x="393" y="225"/>
                  </a:lnTo>
                  <a:lnTo>
                    <a:pt x="393" y="223"/>
                  </a:lnTo>
                  <a:lnTo>
                    <a:pt x="393" y="225"/>
                  </a:lnTo>
                  <a:lnTo>
                    <a:pt x="390" y="225"/>
                  </a:lnTo>
                  <a:lnTo>
                    <a:pt x="390" y="223"/>
                  </a:lnTo>
                  <a:close/>
                  <a:moveTo>
                    <a:pt x="352" y="313"/>
                  </a:moveTo>
                  <a:lnTo>
                    <a:pt x="354" y="313"/>
                  </a:lnTo>
                  <a:lnTo>
                    <a:pt x="354" y="316"/>
                  </a:lnTo>
                  <a:lnTo>
                    <a:pt x="356" y="315"/>
                  </a:lnTo>
                  <a:lnTo>
                    <a:pt x="356" y="316"/>
                  </a:lnTo>
                  <a:lnTo>
                    <a:pt x="354" y="316"/>
                  </a:lnTo>
                  <a:lnTo>
                    <a:pt x="354" y="318"/>
                  </a:lnTo>
                  <a:lnTo>
                    <a:pt x="354" y="315"/>
                  </a:lnTo>
                  <a:lnTo>
                    <a:pt x="352" y="315"/>
                  </a:lnTo>
                  <a:lnTo>
                    <a:pt x="350" y="313"/>
                  </a:lnTo>
                  <a:lnTo>
                    <a:pt x="352" y="313"/>
                  </a:lnTo>
                  <a:close/>
                  <a:moveTo>
                    <a:pt x="451" y="288"/>
                  </a:moveTo>
                  <a:lnTo>
                    <a:pt x="452" y="289"/>
                  </a:lnTo>
                  <a:lnTo>
                    <a:pt x="451" y="288"/>
                  </a:lnTo>
                  <a:lnTo>
                    <a:pt x="449" y="291"/>
                  </a:lnTo>
                  <a:lnTo>
                    <a:pt x="447" y="289"/>
                  </a:lnTo>
                  <a:lnTo>
                    <a:pt x="451" y="288"/>
                  </a:lnTo>
                  <a:close/>
                  <a:moveTo>
                    <a:pt x="248" y="340"/>
                  </a:moveTo>
                  <a:lnTo>
                    <a:pt x="248" y="342"/>
                  </a:lnTo>
                  <a:lnTo>
                    <a:pt x="245" y="342"/>
                  </a:lnTo>
                  <a:lnTo>
                    <a:pt x="247" y="340"/>
                  </a:lnTo>
                  <a:lnTo>
                    <a:pt x="248" y="342"/>
                  </a:lnTo>
                  <a:lnTo>
                    <a:pt x="248" y="340"/>
                  </a:lnTo>
                  <a:close/>
                  <a:moveTo>
                    <a:pt x="391" y="327"/>
                  </a:moveTo>
                  <a:lnTo>
                    <a:pt x="391" y="328"/>
                  </a:lnTo>
                  <a:lnTo>
                    <a:pt x="393" y="328"/>
                  </a:lnTo>
                  <a:lnTo>
                    <a:pt x="393" y="330"/>
                  </a:lnTo>
                  <a:lnTo>
                    <a:pt x="390" y="330"/>
                  </a:lnTo>
                  <a:lnTo>
                    <a:pt x="388" y="328"/>
                  </a:lnTo>
                  <a:lnTo>
                    <a:pt x="390" y="328"/>
                  </a:lnTo>
                  <a:lnTo>
                    <a:pt x="390" y="327"/>
                  </a:lnTo>
                  <a:lnTo>
                    <a:pt x="391" y="327"/>
                  </a:lnTo>
                  <a:close/>
                  <a:moveTo>
                    <a:pt x="167" y="398"/>
                  </a:moveTo>
                  <a:lnTo>
                    <a:pt x="167" y="400"/>
                  </a:lnTo>
                  <a:lnTo>
                    <a:pt x="167" y="402"/>
                  </a:lnTo>
                  <a:lnTo>
                    <a:pt x="165" y="402"/>
                  </a:lnTo>
                  <a:lnTo>
                    <a:pt x="165" y="398"/>
                  </a:lnTo>
                  <a:lnTo>
                    <a:pt x="167" y="398"/>
                  </a:lnTo>
                  <a:close/>
                  <a:moveTo>
                    <a:pt x="243" y="315"/>
                  </a:moveTo>
                  <a:lnTo>
                    <a:pt x="245" y="315"/>
                  </a:lnTo>
                  <a:lnTo>
                    <a:pt x="243" y="316"/>
                  </a:lnTo>
                  <a:lnTo>
                    <a:pt x="242" y="316"/>
                  </a:lnTo>
                  <a:lnTo>
                    <a:pt x="243" y="315"/>
                  </a:lnTo>
                  <a:close/>
                  <a:moveTo>
                    <a:pt x="383" y="453"/>
                  </a:moveTo>
                  <a:lnTo>
                    <a:pt x="384" y="453"/>
                  </a:lnTo>
                  <a:lnTo>
                    <a:pt x="384" y="456"/>
                  </a:lnTo>
                  <a:lnTo>
                    <a:pt x="383" y="454"/>
                  </a:lnTo>
                  <a:lnTo>
                    <a:pt x="381" y="454"/>
                  </a:lnTo>
                  <a:lnTo>
                    <a:pt x="383" y="453"/>
                  </a:lnTo>
                  <a:close/>
                  <a:moveTo>
                    <a:pt x="265" y="184"/>
                  </a:moveTo>
                  <a:lnTo>
                    <a:pt x="267" y="187"/>
                  </a:lnTo>
                  <a:lnTo>
                    <a:pt x="265" y="189"/>
                  </a:lnTo>
                  <a:lnTo>
                    <a:pt x="264" y="189"/>
                  </a:lnTo>
                  <a:lnTo>
                    <a:pt x="265" y="187"/>
                  </a:lnTo>
                  <a:lnTo>
                    <a:pt x="265" y="184"/>
                  </a:lnTo>
                  <a:close/>
                  <a:moveTo>
                    <a:pt x="0" y="197"/>
                  </a:moveTo>
                  <a:lnTo>
                    <a:pt x="4" y="196"/>
                  </a:lnTo>
                  <a:lnTo>
                    <a:pt x="0" y="199"/>
                  </a:lnTo>
                  <a:lnTo>
                    <a:pt x="0" y="197"/>
                  </a:lnTo>
                  <a:close/>
                  <a:moveTo>
                    <a:pt x="418" y="286"/>
                  </a:moveTo>
                  <a:lnTo>
                    <a:pt x="420" y="288"/>
                  </a:lnTo>
                  <a:lnTo>
                    <a:pt x="418" y="289"/>
                  </a:lnTo>
                  <a:lnTo>
                    <a:pt x="418" y="288"/>
                  </a:lnTo>
                  <a:lnTo>
                    <a:pt x="417" y="289"/>
                  </a:lnTo>
                  <a:lnTo>
                    <a:pt x="418" y="286"/>
                  </a:lnTo>
                  <a:close/>
                  <a:moveTo>
                    <a:pt x="162" y="396"/>
                  </a:moveTo>
                  <a:lnTo>
                    <a:pt x="163" y="396"/>
                  </a:lnTo>
                  <a:lnTo>
                    <a:pt x="162" y="398"/>
                  </a:lnTo>
                  <a:lnTo>
                    <a:pt x="162" y="400"/>
                  </a:lnTo>
                  <a:lnTo>
                    <a:pt x="162" y="398"/>
                  </a:lnTo>
                  <a:lnTo>
                    <a:pt x="162" y="396"/>
                  </a:lnTo>
                  <a:close/>
                  <a:moveTo>
                    <a:pt x="619" y="342"/>
                  </a:moveTo>
                  <a:lnTo>
                    <a:pt x="621" y="342"/>
                  </a:lnTo>
                  <a:lnTo>
                    <a:pt x="622" y="345"/>
                  </a:lnTo>
                  <a:lnTo>
                    <a:pt x="619" y="345"/>
                  </a:lnTo>
                  <a:lnTo>
                    <a:pt x="619" y="342"/>
                  </a:lnTo>
                  <a:close/>
                  <a:moveTo>
                    <a:pt x="429" y="327"/>
                  </a:moveTo>
                  <a:lnTo>
                    <a:pt x="430" y="328"/>
                  </a:lnTo>
                  <a:lnTo>
                    <a:pt x="429" y="328"/>
                  </a:lnTo>
                  <a:lnTo>
                    <a:pt x="427" y="328"/>
                  </a:lnTo>
                  <a:lnTo>
                    <a:pt x="429" y="328"/>
                  </a:lnTo>
                  <a:lnTo>
                    <a:pt x="427" y="328"/>
                  </a:lnTo>
                  <a:lnTo>
                    <a:pt x="429" y="327"/>
                  </a:lnTo>
                  <a:close/>
                  <a:moveTo>
                    <a:pt x="374" y="381"/>
                  </a:moveTo>
                  <a:lnTo>
                    <a:pt x="376" y="385"/>
                  </a:lnTo>
                  <a:lnTo>
                    <a:pt x="374" y="383"/>
                  </a:lnTo>
                  <a:lnTo>
                    <a:pt x="374" y="381"/>
                  </a:lnTo>
                  <a:close/>
                  <a:moveTo>
                    <a:pt x="305" y="369"/>
                  </a:moveTo>
                  <a:lnTo>
                    <a:pt x="308" y="369"/>
                  </a:lnTo>
                  <a:lnTo>
                    <a:pt x="308" y="371"/>
                  </a:lnTo>
                  <a:lnTo>
                    <a:pt x="306" y="373"/>
                  </a:lnTo>
                  <a:lnTo>
                    <a:pt x="305" y="369"/>
                  </a:lnTo>
                  <a:close/>
                  <a:moveTo>
                    <a:pt x="451" y="371"/>
                  </a:moveTo>
                  <a:lnTo>
                    <a:pt x="452" y="371"/>
                  </a:lnTo>
                  <a:lnTo>
                    <a:pt x="454" y="373"/>
                  </a:lnTo>
                  <a:lnTo>
                    <a:pt x="451" y="373"/>
                  </a:lnTo>
                  <a:lnTo>
                    <a:pt x="451" y="371"/>
                  </a:lnTo>
                  <a:close/>
                  <a:moveTo>
                    <a:pt x="376" y="347"/>
                  </a:moveTo>
                  <a:lnTo>
                    <a:pt x="379" y="347"/>
                  </a:lnTo>
                  <a:lnTo>
                    <a:pt x="379" y="350"/>
                  </a:lnTo>
                  <a:lnTo>
                    <a:pt x="378" y="350"/>
                  </a:lnTo>
                  <a:lnTo>
                    <a:pt x="376" y="347"/>
                  </a:lnTo>
                  <a:close/>
                  <a:moveTo>
                    <a:pt x="347" y="349"/>
                  </a:moveTo>
                  <a:lnTo>
                    <a:pt x="349" y="349"/>
                  </a:lnTo>
                  <a:lnTo>
                    <a:pt x="347" y="350"/>
                  </a:lnTo>
                  <a:lnTo>
                    <a:pt x="345" y="349"/>
                  </a:lnTo>
                  <a:lnTo>
                    <a:pt x="347" y="349"/>
                  </a:lnTo>
                  <a:close/>
                  <a:moveTo>
                    <a:pt x="510" y="362"/>
                  </a:moveTo>
                  <a:lnTo>
                    <a:pt x="512" y="361"/>
                  </a:lnTo>
                  <a:lnTo>
                    <a:pt x="514" y="364"/>
                  </a:lnTo>
                  <a:lnTo>
                    <a:pt x="510" y="364"/>
                  </a:lnTo>
                  <a:lnTo>
                    <a:pt x="510" y="362"/>
                  </a:lnTo>
                  <a:close/>
                  <a:moveTo>
                    <a:pt x="240" y="123"/>
                  </a:moveTo>
                  <a:lnTo>
                    <a:pt x="240" y="124"/>
                  </a:lnTo>
                  <a:lnTo>
                    <a:pt x="242" y="126"/>
                  </a:lnTo>
                  <a:lnTo>
                    <a:pt x="240" y="126"/>
                  </a:lnTo>
                  <a:lnTo>
                    <a:pt x="238" y="124"/>
                  </a:lnTo>
                  <a:lnTo>
                    <a:pt x="240" y="123"/>
                  </a:lnTo>
                  <a:close/>
                  <a:moveTo>
                    <a:pt x="437" y="296"/>
                  </a:moveTo>
                  <a:lnTo>
                    <a:pt x="439" y="296"/>
                  </a:lnTo>
                  <a:lnTo>
                    <a:pt x="439" y="299"/>
                  </a:lnTo>
                  <a:lnTo>
                    <a:pt x="437" y="299"/>
                  </a:lnTo>
                  <a:lnTo>
                    <a:pt x="437" y="296"/>
                  </a:lnTo>
                  <a:close/>
                  <a:moveTo>
                    <a:pt x="265" y="208"/>
                  </a:moveTo>
                  <a:lnTo>
                    <a:pt x="267" y="208"/>
                  </a:lnTo>
                  <a:lnTo>
                    <a:pt x="269" y="211"/>
                  </a:lnTo>
                  <a:lnTo>
                    <a:pt x="267" y="211"/>
                  </a:lnTo>
                  <a:lnTo>
                    <a:pt x="265" y="208"/>
                  </a:lnTo>
                  <a:close/>
                  <a:moveTo>
                    <a:pt x="415" y="458"/>
                  </a:moveTo>
                  <a:lnTo>
                    <a:pt x="417" y="458"/>
                  </a:lnTo>
                  <a:lnTo>
                    <a:pt x="417" y="461"/>
                  </a:lnTo>
                  <a:lnTo>
                    <a:pt x="415" y="461"/>
                  </a:lnTo>
                  <a:lnTo>
                    <a:pt x="415" y="458"/>
                  </a:lnTo>
                  <a:close/>
                  <a:moveTo>
                    <a:pt x="99" y="274"/>
                  </a:moveTo>
                  <a:lnTo>
                    <a:pt x="97" y="277"/>
                  </a:lnTo>
                  <a:lnTo>
                    <a:pt x="97" y="279"/>
                  </a:lnTo>
                  <a:lnTo>
                    <a:pt x="97" y="277"/>
                  </a:lnTo>
                  <a:lnTo>
                    <a:pt x="99" y="274"/>
                  </a:lnTo>
                  <a:close/>
                  <a:moveTo>
                    <a:pt x="381" y="342"/>
                  </a:moveTo>
                  <a:lnTo>
                    <a:pt x="383" y="342"/>
                  </a:lnTo>
                  <a:lnTo>
                    <a:pt x="383" y="344"/>
                  </a:lnTo>
                  <a:lnTo>
                    <a:pt x="381" y="344"/>
                  </a:lnTo>
                  <a:lnTo>
                    <a:pt x="381" y="342"/>
                  </a:lnTo>
                  <a:close/>
                  <a:moveTo>
                    <a:pt x="109" y="284"/>
                  </a:moveTo>
                  <a:lnTo>
                    <a:pt x="111" y="288"/>
                  </a:lnTo>
                  <a:lnTo>
                    <a:pt x="109" y="288"/>
                  </a:lnTo>
                  <a:lnTo>
                    <a:pt x="109" y="284"/>
                  </a:lnTo>
                  <a:close/>
                  <a:moveTo>
                    <a:pt x="418" y="488"/>
                  </a:moveTo>
                  <a:lnTo>
                    <a:pt x="422" y="488"/>
                  </a:lnTo>
                  <a:lnTo>
                    <a:pt x="420" y="490"/>
                  </a:lnTo>
                  <a:lnTo>
                    <a:pt x="418" y="488"/>
                  </a:lnTo>
                  <a:close/>
                  <a:moveTo>
                    <a:pt x="452" y="322"/>
                  </a:moveTo>
                  <a:lnTo>
                    <a:pt x="454" y="322"/>
                  </a:lnTo>
                  <a:lnTo>
                    <a:pt x="454" y="323"/>
                  </a:lnTo>
                  <a:lnTo>
                    <a:pt x="452" y="323"/>
                  </a:lnTo>
                  <a:lnTo>
                    <a:pt x="452" y="322"/>
                  </a:lnTo>
                  <a:close/>
                  <a:moveTo>
                    <a:pt x="512" y="333"/>
                  </a:moveTo>
                  <a:lnTo>
                    <a:pt x="514" y="332"/>
                  </a:lnTo>
                  <a:lnTo>
                    <a:pt x="514" y="333"/>
                  </a:lnTo>
                  <a:lnTo>
                    <a:pt x="512" y="333"/>
                  </a:lnTo>
                  <a:close/>
                  <a:moveTo>
                    <a:pt x="471" y="342"/>
                  </a:moveTo>
                  <a:lnTo>
                    <a:pt x="473" y="342"/>
                  </a:lnTo>
                  <a:lnTo>
                    <a:pt x="473" y="344"/>
                  </a:lnTo>
                  <a:lnTo>
                    <a:pt x="471" y="345"/>
                  </a:lnTo>
                  <a:lnTo>
                    <a:pt x="471" y="342"/>
                  </a:lnTo>
                  <a:close/>
                  <a:moveTo>
                    <a:pt x="291" y="223"/>
                  </a:moveTo>
                  <a:lnTo>
                    <a:pt x="293" y="223"/>
                  </a:lnTo>
                  <a:lnTo>
                    <a:pt x="293" y="225"/>
                  </a:lnTo>
                  <a:lnTo>
                    <a:pt x="291" y="225"/>
                  </a:lnTo>
                  <a:lnTo>
                    <a:pt x="291" y="223"/>
                  </a:lnTo>
                  <a:close/>
                  <a:moveTo>
                    <a:pt x="92" y="282"/>
                  </a:moveTo>
                  <a:lnTo>
                    <a:pt x="94" y="282"/>
                  </a:lnTo>
                  <a:lnTo>
                    <a:pt x="94" y="284"/>
                  </a:lnTo>
                  <a:lnTo>
                    <a:pt x="92" y="284"/>
                  </a:lnTo>
                  <a:lnTo>
                    <a:pt x="92" y="282"/>
                  </a:lnTo>
                  <a:close/>
                  <a:moveTo>
                    <a:pt x="85" y="279"/>
                  </a:moveTo>
                  <a:lnTo>
                    <a:pt x="87" y="279"/>
                  </a:lnTo>
                  <a:lnTo>
                    <a:pt x="87" y="281"/>
                  </a:lnTo>
                  <a:lnTo>
                    <a:pt x="85" y="281"/>
                  </a:lnTo>
                  <a:lnTo>
                    <a:pt x="85" y="279"/>
                  </a:lnTo>
                  <a:close/>
                  <a:moveTo>
                    <a:pt x="418" y="332"/>
                  </a:moveTo>
                  <a:lnTo>
                    <a:pt x="420" y="330"/>
                  </a:lnTo>
                  <a:lnTo>
                    <a:pt x="420" y="332"/>
                  </a:lnTo>
                  <a:lnTo>
                    <a:pt x="418" y="333"/>
                  </a:lnTo>
                  <a:lnTo>
                    <a:pt x="418" y="332"/>
                  </a:lnTo>
                  <a:close/>
                  <a:moveTo>
                    <a:pt x="350" y="231"/>
                  </a:moveTo>
                  <a:lnTo>
                    <a:pt x="352" y="231"/>
                  </a:lnTo>
                  <a:lnTo>
                    <a:pt x="350" y="233"/>
                  </a:lnTo>
                  <a:lnTo>
                    <a:pt x="350" y="231"/>
                  </a:lnTo>
                  <a:close/>
                  <a:moveTo>
                    <a:pt x="274" y="187"/>
                  </a:moveTo>
                  <a:lnTo>
                    <a:pt x="276" y="187"/>
                  </a:lnTo>
                  <a:lnTo>
                    <a:pt x="276" y="189"/>
                  </a:lnTo>
                  <a:lnTo>
                    <a:pt x="274" y="189"/>
                  </a:lnTo>
                  <a:lnTo>
                    <a:pt x="274" y="187"/>
                  </a:lnTo>
                  <a:close/>
                  <a:moveTo>
                    <a:pt x="111" y="293"/>
                  </a:moveTo>
                  <a:lnTo>
                    <a:pt x="112" y="296"/>
                  </a:lnTo>
                  <a:lnTo>
                    <a:pt x="111" y="296"/>
                  </a:lnTo>
                  <a:lnTo>
                    <a:pt x="111" y="293"/>
                  </a:lnTo>
                  <a:close/>
                  <a:moveTo>
                    <a:pt x="277" y="325"/>
                  </a:moveTo>
                  <a:lnTo>
                    <a:pt x="279" y="323"/>
                  </a:lnTo>
                  <a:lnTo>
                    <a:pt x="281" y="327"/>
                  </a:lnTo>
                  <a:lnTo>
                    <a:pt x="277" y="327"/>
                  </a:lnTo>
                  <a:lnTo>
                    <a:pt x="277" y="325"/>
                  </a:lnTo>
                  <a:close/>
                  <a:moveTo>
                    <a:pt x="444" y="478"/>
                  </a:moveTo>
                  <a:lnTo>
                    <a:pt x="446" y="478"/>
                  </a:lnTo>
                  <a:lnTo>
                    <a:pt x="446" y="480"/>
                  </a:lnTo>
                  <a:lnTo>
                    <a:pt x="444" y="480"/>
                  </a:lnTo>
                  <a:lnTo>
                    <a:pt x="444" y="478"/>
                  </a:lnTo>
                  <a:close/>
                  <a:moveTo>
                    <a:pt x="282" y="223"/>
                  </a:moveTo>
                  <a:lnTo>
                    <a:pt x="284" y="223"/>
                  </a:lnTo>
                  <a:lnTo>
                    <a:pt x="286" y="225"/>
                  </a:lnTo>
                  <a:lnTo>
                    <a:pt x="284" y="225"/>
                  </a:lnTo>
                  <a:lnTo>
                    <a:pt x="282" y="223"/>
                  </a:lnTo>
                  <a:close/>
                  <a:moveTo>
                    <a:pt x="379" y="345"/>
                  </a:moveTo>
                  <a:lnTo>
                    <a:pt x="381" y="345"/>
                  </a:lnTo>
                  <a:lnTo>
                    <a:pt x="383" y="347"/>
                  </a:lnTo>
                  <a:lnTo>
                    <a:pt x="379" y="347"/>
                  </a:lnTo>
                  <a:lnTo>
                    <a:pt x="379" y="345"/>
                  </a:lnTo>
                  <a:close/>
                  <a:moveTo>
                    <a:pt x="459" y="298"/>
                  </a:moveTo>
                  <a:lnTo>
                    <a:pt x="461" y="299"/>
                  </a:lnTo>
                  <a:lnTo>
                    <a:pt x="459" y="301"/>
                  </a:lnTo>
                  <a:lnTo>
                    <a:pt x="459" y="298"/>
                  </a:lnTo>
                  <a:close/>
                  <a:moveTo>
                    <a:pt x="291" y="281"/>
                  </a:moveTo>
                  <a:lnTo>
                    <a:pt x="293" y="281"/>
                  </a:lnTo>
                  <a:lnTo>
                    <a:pt x="293" y="282"/>
                  </a:lnTo>
                  <a:lnTo>
                    <a:pt x="291" y="282"/>
                  </a:lnTo>
                  <a:lnTo>
                    <a:pt x="291" y="281"/>
                  </a:lnTo>
                  <a:close/>
                  <a:moveTo>
                    <a:pt x="53" y="240"/>
                  </a:moveTo>
                  <a:lnTo>
                    <a:pt x="55" y="240"/>
                  </a:lnTo>
                  <a:lnTo>
                    <a:pt x="55" y="242"/>
                  </a:lnTo>
                  <a:lnTo>
                    <a:pt x="53" y="242"/>
                  </a:lnTo>
                  <a:lnTo>
                    <a:pt x="53" y="240"/>
                  </a:lnTo>
                  <a:close/>
                  <a:moveTo>
                    <a:pt x="10" y="192"/>
                  </a:moveTo>
                  <a:lnTo>
                    <a:pt x="12" y="194"/>
                  </a:lnTo>
                  <a:lnTo>
                    <a:pt x="10" y="194"/>
                  </a:lnTo>
                  <a:lnTo>
                    <a:pt x="10" y="192"/>
                  </a:lnTo>
                  <a:close/>
                  <a:moveTo>
                    <a:pt x="356" y="315"/>
                  </a:moveTo>
                  <a:lnTo>
                    <a:pt x="356" y="313"/>
                  </a:lnTo>
                  <a:lnTo>
                    <a:pt x="357" y="316"/>
                  </a:lnTo>
                  <a:lnTo>
                    <a:pt x="356" y="316"/>
                  </a:lnTo>
                  <a:lnTo>
                    <a:pt x="356" y="315"/>
                  </a:lnTo>
                  <a:close/>
                  <a:moveTo>
                    <a:pt x="233" y="133"/>
                  </a:moveTo>
                  <a:lnTo>
                    <a:pt x="235" y="133"/>
                  </a:lnTo>
                  <a:lnTo>
                    <a:pt x="235" y="134"/>
                  </a:lnTo>
                  <a:lnTo>
                    <a:pt x="233" y="134"/>
                  </a:lnTo>
                  <a:lnTo>
                    <a:pt x="233" y="133"/>
                  </a:lnTo>
                  <a:close/>
                  <a:moveTo>
                    <a:pt x="298" y="226"/>
                  </a:moveTo>
                  <a:lnTo>
                    <a:pt x="299" y="226"/>
                  </a:lnTo>
                  <a:lnTo>
                    <a:pt x="299" y="228"/>
                  </a:lnTo>
                  <a:lnTo>
                    <a:pt x="298" y="228"/>
                  </a:lnTo>
                  <a:lnTo>
                    <a:pt x="298" y="226"/>
                  </a:lnTo>
                  <a:close/>
                  <a:moveTo>
                    <a:pt x="157" y="386"/>
                  </a:moveTo>
                  <a:lnTo>
                    <a:pt x="158" y="386"/>
                  </a:lnTo>
                  <a:lnTo>
                    <a:pt x="158" y="388"/>
                  </a:lnTo>
                  <a:lnTo>
                    <a:pt x="157" y="386"/>
                  </a:lnTo>
                  <a:close/>
                  <a:moveTo>
                    <a:pt x="282" y="272"/>
                  </a:moveTo>
                  <a:lnTo>
                    <a:pt x="284" y="272"/>
                  </a:lnTo>
                  <a:lnTo>
                    <a:pt x="284" y="274"/>
                  </a:lnTo>
                  <a:lnTo>
                    <a:pt x="282" y="274"/>
                  </a:lnTo>
                  <a:lnTo>
                    <a:pt x="282" y="272"/>
                  </a:lnTo>
                  <a:close/>
                  <a:moveTo>
                    <a:pt x="9" y="202"/>
                  </a:moveTo>
                  <a:lnTo>
                    <a:pt x="9" y="201"/>
                  </a:lnTo>
                  <a:lnTo>
                    <a:pt x="9" y="202"/>
                  </a:lnTo>
                  <a:close/>
                  <a:moveTo>
                    <a:pt x="439" y="449"/>
                  </a:moveTo>
                  <a:lnTo>
                    <a:pt x="441" y="447"/>
                  </a:lnTo>
                  <a:lnTo>
                    <a:pt x="441" y="449"/>
                  </a:lnTo>
                  <a:lnTo>
                    <a:pt x="439" y="449"/>
                  </a:lnTo>
                  <a:close/>
                  <a:moveTo>
                    <a:pt x="398" y="344"/>
                  </a:moveTo>
                  <a:lnTo>
                    <a:pt x="401" y="342"/>
                  </a:lnTo>
                  <a:lnTo>
                    <a:pt x="401" y="344"/>
                  </a:lnTo>
                  <a:lnTo>
                    <a:pt x="398" y="344"/>
                  </a:lnTo>
                  <a:close/>
                  <a:moveTo>
                    <a:pt x="476" y="434"/>
                  </a:moveTo>
                  <a:lnTo>
                    <a:pt x="478" y="432"/>
                  </a:lnTo>
                  <a:lnTo>
                    <a:pt x="478" y="434"/>
                  </a:lnTo>
                  <a:lnTo>
                    <a:pt x="476" y="434"/>
                  </a:lnTo>
                  <a:close/>
                  <a:moveTo>
                    <a:pt x="163" y="281"/>
                  </a:moveTo>
                  <a:lnTo>
                    <a:pt x="165" y="281"/>
                  </a:lnTo>
                  <a:lnTo>
                    <a:pt x="163" y="281"/>
                  </a:lnTo>
                  <a:close/>
                  <a:moveTo>
                    <a:pt x="424" y="284"/>
                  </a:moveTo>
                  <a:lnTo>
                    <a:pt x="425" y="284"/>
                  </a:lnTo>
                  <a:lnTo>
                    <a:pt x="424" y="286"/>
                  </a:lnTo>
                  <a:lnTo>
                    <a:pt x="424" y="284"/>
                  </a:lnTo>
                  <a:close/>
                  <a:moveTo>
                    <a:pt x="318" y="505"/>
                  </a:moveTo>
                  <a:lnTo>
                    <a:pt x="320" y="505"/>
                  </a:lnTo>
                  <a:lnTo>
                    <a:pt x="318" y="507"/>
                  </a:lnTo>
                  <a:lnTo>
                    <a:pt x="318" y="505"/>
                  </a:lnTo>
                  <a:close/>
                  <a:moveTo>
                    <a:pt x="439" y="451"/>
                  </a:moveTo>
                  <a:lnTo>
                    <a:pt x="441" y="449"/>
                  </a:lnTo>
                  <a:lnTo>
                    <a:pt x="441" y="451"/>
                  </a:lnTo>
                  <a:lnTo>
                    <a:pt x="439" y="451"/>
                  </a:lnTo>
                  <a:close/>
                  <a:moveTo>
                    <a:pt x="240" y="350"/>
                  </a:moveTo>
                  <a:lnTo>
                    <a:pt x="240" y="352"/>
                  </a:lnTo>
                  <a:lnTo>
                    <a:pt x="240" y="350"/>
                  </a:lnTo>
                  <a:close/>
                  <a:moveTo>
                    <a:pt x="277" y="269"/>
                  </a:moveTo>
                  <a:lnTo>
                    <a:pt x="279" y="269"/>
                  </a:lnTo>
                  <a:lnTo>
                    <a:pt x="279" y="271"/>
                  </a:lnTo>
                  <a:lnTo>
                    <a:pt x="277" y="269"/>
                  </a:lnTo>
                  <a:close/>
                  <a:moveTo>
                    <a:pt x="463" y="315"/>
                  </a:moveTo>
                  <a:lnTo>
                    <a:pt x="464" y="315"/>
                  </a:lnTo>
                  <a:lnTo>
                    <a:pt x="463" y="316"/>
                  </a:lnTo>
                  <a:lnTo>
                    <a:pt x="463" y="315"/>
                  </a:lnTo>
                  <a:close/>
                  <a:moveTo>
                    <a:pt x="221" y="333"/>
                  </a:moveTo>
                  <a:lnTo>
                    <a:pt x="223" y="333"/>
                  </a:lnTo>
                  <a:lnTo>
                    <a:pt x="223" y="335"/>
                  </a:lnTo>
                  <a:lnTo>
                    <a:pt x="221" y="335"/>
                  </a:lnTo>
                  <a:lnTo>
                    <a:pt x="221" y="333"/>
                  </a:lnTo>
                  <a:close/>
                  <a:moveTo>
                    <a:pt x="417" y="364"/>
                  </a:moveTo>
                  <a:lnTo>
                    <a:pt x="418" y="362"/>
                  </a:lnTo>
                  <a:lnTo>
                    <a:pt x="418" y="366"/>
                  </a:lnTo>
                  <a:lnTo>
                    <a:pt x="417" y="364"/>
                  </a:lnTo>
                  <a:close/>
                  <a:moveTo>
                    <a:pt x="260" y="369"/>
                  </a:moveTo>
                  <a:lnTo>
                    <a:pt x="260" y="371"/>
                  </a:lnTo>
                  <a:lnTo>
                    <a:pt x="260" y="369"/>
                  </a:lnTo>
                  <a:close/>
                  <a:moveTo>
                    <a:pt x="442" y="310"/>
                  </a:moveTo>
                  <a:lnTo>
                    <a:pt x="444" y="310"/>
                  </a:lnTo>
                  <a:lnTo>
                    <a:pt x="442" y="310"/>
                  </a:lnTo>
                  <a:close/>
                  <a:moveTo>
                    <a:pt x="424" y="464"/>
                  </a:moveTo>
                  <a:lnTo>
                    <a:pt x="424" y="463"/>
                  </a:lnTo>
                  <a:lnTo>
                    <a:pt x="425" y="464"/>
                  </a:lnTo>
                  <a:lnTo>
                    <a:pt x="424" y="464"/>
                  </a:lnTo>
                  <a:close/>
                  <a:moveTo>
                    <a:pt x="320" y="333"/>
                  </a:moveTo>
                  <a:lnTo>
                    <a:pt x="322" y="332"/>
                  </a:lnTo>
                  <a:lnTo>
                    <a:pt x="322" y="333"/>
                  </a:lnTo>
                  <a:lnTo>
                    <a:pt x="320" y="333"/>
                  </a:lnTo>
                  <a:close/>
                  <a:moveTo>
                    <a:pt x="466" y="356"/>
                  </a:moveTo>
                  <a:lnTo>
                    <a:pt x="466" y="357"/>
                  </a:lnTo>
                  <a:lnTo>
                    <a:pt x="466" y="356"/>
                  </a:lnTo>
                  <a:close/>
                  <a:moveTo>
                    <a:pt x="366" y="308"/>
                  </a:moveTo>
                  <a:lnTo>
                    <a:pt x="367" y="308"/>
                  </a:lnTo>
                  <a:lnTo>
                    <a:pt x="367" y="310"/>
                  </a:lnTo>
                  <a:lnTo>
                    <a:pt x="366" y="308"/>
                  </a:lnTo>
                  <a:close/>
                  <a:moveTo>
                    <a:pt x="468" y="349"/>
                  </a:moveTo>
                  <a:lnTo>
                    <a:pt x="469" y="349"/>
                  </a:lnTo>
                  <a:lnTo>
                    <a:pt x="469" y="350"/>
                  </a:lnTo>
                  <a:lnTo>
                    <a:pt x="468" y="350"/>
                  </a:lnTo>
                  <a:lnTo>
                    <a:pt x="468" y="349"/>
                  </a:lnTo>
                  <a:close/>
                  <a:moveTo>
                    <a:pt x="352" y="373"/>
                  </a:moveTo>
                  <a:lnTo>
                    <a:pt x="354" y="371"/>
                  </a:lnTo>
                  <a:lnTo>
                    <a:pt x="354" y="373"/>
                  </a:lnTo>
                  <a:lnTo>
                    <a:pt x="352" y="373"/>
                  </a:lnTo>
                  <a:close/>
                  <a:moveTo>
                    <a:pt x="441" y="395"/>
                  </a:moveTo>
                  <a:lnTo>
                    <a:pt x="441" y="393"/>
                  </a:lnTo>
                  <a:lnTo>
                    <a:pt x="441" y="395"/>
                  </a:lnTo>
                  <a:close/>
                  <a:moveTo>
                    <a:pt x="106" y="289"/>
                  </a:moveTo>
                  <a:lnTo>
                    <a:pt x="107" y="289"/>
                  </a:lnTo>
                  <a:lnTo>
                    <a:pt x="107" y="291"/>
                  </a:lnTo>
                  <a:lnTo>
                    <a:pt x="106" y="291"/>
                  </a:lnTo>
                  <a:lnTo>
                    <a:pt x="106" y="289"/>
                  </a:lnTo>
                  <a:close/>
                  <a:moveTo>
                    <a:pt x="429" y="357"/>
                  </a:moveTo>
                  <a:lnTo>
                    <a:pt x="430" y="357"/>
                  </a:lnTo>
                  <a:lnTo>
                    <a:pt x="429" y="359"/>
                  </a:lnTo>
                  <a:lnTo>
                    <a:pt x="429" y="357"/>
                  </a:lnTo>
                  <a:close/>
                  <a:moveTo>
                    <a:pt x="121" y="291"/>
                  </a:moveTo>
                  <a:lnTo>
                    <a:pt x="123" y="291"/>
                  </a:lnTo>
                  <a:lnTo>
                    <a:pt x="123" y="293"/>
                  </a:lnTo>
                  <a:lnTo>
                    <a:pt x="121" y="293"/>
                  </a:lnTo>
                  <a:lnTo>
                    <a:pt x="121" y="291"/>
                  </a:lnTo>
                  <a:close/>
                  <a:moveTo>
                    <a:pt x="44" y="214"/>
                  </a:moveTo>
                  <a:lnTo>
                    <a:pt x="44" y="213"/>
                  </a:lnTo>
                  <a:lnTo>
                    <a:pt x="44" y="21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191" name="Freeform 21">
              <a:extLst>
                <a:ext uri="{FF2B5EF4-FFF2-40B4-BE49-F238E27FC236}">
                  <a16:creationId xmlns:a16="http://schemas.microsoft.com/office/drawing/2014/main" id="{A5043A1A-7E60-48D2-895A-B5815DCBA91E}"/>
                </a:ext>
              </a:extLst>
            </p:cNvPr>
            <p:cNvSpPr>
              <a:spLocks/>
            </p:cNvSpPr>
            <p:nvPr/>
          </p:nvSpPr>
          <p:spPr bwMode="gray">
            <a:xfrm>
              <a:off x="12247664" y="6576559"/>
              <a:ext cx="346640" cy="322940"/>
            </a:xfrm>
            <a:custGeom>
              <a:avLst/>
              <a:gdLst>
                <a:gd name="T0" fmla="*/ 116 w 117"/>
                <a:gd name="T1" fmla="*/ 3 h 109"/>
                <a:gd name="T2" fmla="*/ 112 w 117"/>
                <a:gd name="T3" fmla="*/ 7 h 109"/>
                <a:gd name="T4" fmla="*/ 111 w 117"/>
                <a:gd name="T5" fmla="*/ 12 h 109"/>
                <a:gd name="T6" fmla="*/ 107 w 117"/>
                <a:gd name="T7" fmla="*/ 17 h 109"/>
                <a:gd name="T8" fmla="*/ 102 w 117"/>
                <a:gd name="T9" fmla="*/ 22 h 109"/>
                <a:gd name="T10" fmla="*/ 99 w 117"/>
                <a:gd name="T11" fmla="*/ 27 h 109"/>
                <a:gd name="T12" fmla="*/ 97 w 117"/>
                <a:gd name="T13" fmla="*/ 32 h 109"/>
                <a:gd name="T14" fmla="*/ 90 w 117"/>
                <a:gd name="T15" fmla="*/ 37 h 109"/>
                <a:gd name="T16" fmla="*/ 88 w 117"/>
                <a:gd name="T17" fmla="*/ 42 h 109"/>
                <a:gd name="T18" fmla="*/ 94 w 117"/>
                <a:gd name="T19" fmla="*/ 51 h 109"/>
                <a:gd name="T20" fmla="*/ 97 w 117"/>
                <a:gd name="T21" fmla="*/ 54 h 109"/>
                <a:gd name="T22" fmla="*/ 104 w 117"/>
                <a:gd name="T23" fmla="*/ 56 h 109"/>
                <a:gd name="T24" fmla="*/ 104 w 117"/>
                <a:gd name="T25" fmla="*/ 59 h 109"/>
                <a:gd name="T26" fmla="*/ 99 w 117"/>
                <a:gd name="T27" fmla="*/ 61 h 109"/>
                <a:gd name="T28" fmla="*/ 94 w 117"/>
                <a:gd name="T29" fmla="*/ 66 h 109"/>
                <a:gd name="T30" fmla="*/ 85 w 117"/>
                <a:gd name="T31" fmla="*/ 64 h 109"/>
                <a:gd name="T32" fmla="*/ 82 w 117"/>
                <a:gd name="T33" fmla="*/ 71 h 109"/>
                <a:gd name="T34" fmla="*/ 82 w 117"/>
                <a:gd name="T35" fmla="*/ 80 h 109"/>
                <a:gd name="T36" fmla="*/ 77 w 117"/>
                <a:gd name="T37" fmla="*/ 83 h 109"/>
                <a:gd name="T38" fmla="*/ 71 w 117"/>
                <a:gd name="T39" fmla="*/ 90 h 109"/>
                <a:gd name="T40" fmla="*/ 66 w 117"/>
                <a:gd name="T41" fmla="*/ 92 h 109"/>
                <a:gd name="T42" fmla="*/ 60 w 117"/>
                <a:gd name="T43" fmla="*/ 95 h 109"/>
                <a:gd name="T44" fmla="*/ 54 w 117"/>
                <a:gd name="T45" fmla="*/ 99 h 109"/>
                <a:gd name="T46" fmla="*/ 54 w 117"/>
                <a:gd name="T47" fmla="*/ 102 h 109"/>
                <a:gd name="T48" fmla="*/ 53 w 117"/>
                <a:gd name="T49" fmla="*/ 105 h 109"/>
                <a:gd name="T50" fmla="*/ 49 w 117"/>
                <a:gd name="T51" fmla="*/ 109 h 109"/>
                <a:gd name="T52" fmla="*/ 43 w 117"/>
                <a:gd name="T53" fmla="*/ 104 h 109"/>
                <a:gd name="T54" fmla="*/ 36 w 117"/>
                <a:gd name="T55" fmla="*/ 109 h 109"/>
                <a:gd name="T56" fmla="*/ 29 w 117"/>
                <a:gd name="T57" fmla="*/ 109 h 109"/>
                <a:gd name="T58" fmla="*/ 22 w 117"/>
                <a:gd name="T59" fmla="*/ 107 h 109"/>
                <a:gd name="T60" fmla="*/ 19 w 117"/>
                <a:gd name="T61" fmla="*/ 107 h 109"/>
                <a:gd name="T62" fmla="*/ 14 w 117"/>
                <a:gd name="T63" fmla="*/ 104 h 109"/>
                <a:gd name="T64" fmla="*/ 10 w 117"/>
                <a:gd name="T65" fmla="*/ 100 h 109"/>
                <a:gd name="T66" fmla="*/ 7 w 117"/>
                <a:gd name="T67" fmla="*/ 95 h 109"/>
                <a:gd name="T68" fmla="*/ 4 w 117"/>
                <a:gd name="T69" fmla="*/ 90 h 109"/>
                <a:gd name="T70" fmla="*/ 0 w 117"/>
                <a:gd name="T71" fmla="*/ 85 h 109"/>
                <a:gd name="T72" fmla="*/ 5 w 117"/>
                <a:gd name="T73" fmla="*/ 87 h 109"/>
                <a:gd name="T74" fmla="*/ 10 w 117"/>
                <a:gd name="T75" fmla="*/ 85 h 109"/>
                <a:gd name="T76" fmla="*/ 14 w 117"/>
                <a:gd name="T77" fmla="*/ 78 h 109"/>
                <a:gd name="T78" fmla="*/ 17 w 117"/>
                <a:gd name="T79" fmla="*/ 73 h 109"/>
                <a:gd name="T80" fmla="*/ 22 w 117"/>
                <a:gd name="T81" fmla="*/ 71 h 109"/>
                <a:gd name="T82" fmla="*/ 27 w 117"/>
                <a:gd name="T83" fmla="*/ 71 h 109"/>
                <a:gd name="T84" fmla="*/ 34 w 117"/>
                <a:gd name="T85" fmla="*/ 70 h 109"/>
                <a:gd name="T86" fmla="*/ 34 w 117"/>
                <a:gd name="T87" fmla="*/ 63 h 109"/>
                <a:gd name="T88" fmla="*/ 32 w 117"/>
                <a:gd name="T89" fmla="*/ 56 h 109"/>
                <a:gd name="T90" fmla="*/ 32 w 117"/>
                <a:gd name="T91" fmla="*/ 51 h 109"/>
                <a:gd name="T92" fmla="*/ 39 w 117"/>
                <a:gd name="T93" fmla="*/ 53 h 109"/>
                <a:gd name="T94" fmla="*/ 44 w 117"/>
                <a:gd name="T95" fmla="*/ 51 h 109"/>
                <a:gd name="T96" fmla="*/ 53 w 117"/>
                <a:gd name="T97" fmla="*/ 47 h 109"/>
                <a:gd name="T98" fmla="*/ 58 w 117"/>
                <a:gd name="T99" fmla="*/ 47 h 109"/>
                <a:gd name="T100" fmla="*/ 63 w 117"/>
                <a:gd name="T101" fmla="*/ 46 h 109"/>
                <a:gd name="T102" fmla="*/ 70 w 117"/>
                <a:gd name="T103" fmla="*/ 41 h 109"/>
                <a:gd name="T104" fmla="*/ 75 w 117"/>
                <a:gd name="T105" fmla="*/ 37 h 109"/>
                <a:gd name="T106" fmla="*/ 80 w 117"/>
                <a:gd name="T107" fmla="*/ 34 h 109"/>
                <a:gd name="T108" fmla="*/ 85 w 117"/>
                <a:gd name="T109" fmla="*/ 30 h 109"/>
                <a:gd name="T110" fmla="*/ 88 w 117"/>
                <a:gd name="T111" fmla="*/ 29 h 109"/>
                <a:gd name="T112" fmla="*/ 92 w 117"/>
                <a:gd name="T113" fmla="*/ 25 h 109"/>
                <a:gd name="T114" fmla="*/ 97 w 117"/>
                <a:gd name="T115" fmla="*/ 19 h 109"/>
                <a:gd name="T116" fmla="*/ 102 w 117"/>
                <a:gd name="T117" fmla="*/ 13 h 109"/>
                <a:gd name="T118" fmla="*/ 105 w 117"/>
                <a:gd name="T119" fmla="*/ 8 h 109"/>
                <a:gd name="T120" fmla="*/ 109 w 117"/>
                <a:gd name="T121" fmla="*/ 5 h 109"/>
                <a:gd name="T122" fmla="*/ 114 w 117"/>
                <a:gd name="T123" fmla="*/ 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7" h="109">
                  <a:moveTo>
                    <a:pt x="117" y="0"/>
                  </a:moveTo>
                  <a:lnTo>
                    <a:pt x="116" y="0"/>
                  </a:lnTo>
                  <a:lnTo>
                    <a:pt x="116" y="3"/>
                  </a:lnTo>
                  <a:lnTo>
                    <a:pt x="114" y="5"/>
                  </a:lnTo>
                  <a:lnTo>
                    <a:pt x="114" y="7"/>
                  </a:lnTo>
                  <a:lnTo>
                    <a:pt x="112" y="7"/>
                  </a:lnTo>
                  <a:lnTo>
                    <a:pt x="111" y="8"/>
                  </a:lnTo>
                  <a:lnTo>
                    <a:pt x="111" y="10"/>
                  </a:lnTo>
                  <a:lnTo>
                    <a:pt x="111" y="12"/>
                  </a:lnTo>
                  <a:lnTo>
                    <a:pt x="109" y="13"/>
                  </a:lnTo>
                  <a:lnTo>
                    <a:pt x="107" y="15"/>
                  </a:lnTo>
                  <a:lnTo>
                    <a:pt x="107" y="17"/>
                  </a:lnTo>
                  <a:lnTo>
                    <a:pt x="105" y="19"/>
                  </a:lnTo>
                  <a:lnTo>
                    <a:pt x="105" y="20"/>
                  </a:lnTo>
                  <a:lnTo>
                    <a:pt x="102" y="22"/>
                  </a:lnTo>
                  <a:lnTo>
                    <a:pt x="102" y="24"/>
                  </a:lnTo>
                  <a:lnTo>
                    <a:pt x="100" y="25"/>
                  </a:lnTo>
                  <a:lnTo>
                    <a:pt x="99" y="27"/>
                  </a:lnTo>
                  <a:lnTo>
                    <a:pt x="97" y="29"/>
                  </a:lnTo>
                  <a:lnTo>
                    <a:pt x="97" y="30"/>
                  </a:lnTo>
                  <a:lnTo>
                    <a:pt x="97" y="32"/>
                  </a:lnTo>
                  <a:lnTo>
                    <a:pt x="97" y="36"/>
                  </a:lnTo>
                  <a:lnTo>
                    <a:pt x="94" y="36"/>
                  </a:lnTo>
                  <a:lnTo>
                    <a:pt x="90" y="37"/>
                  </a:lnTo>
                  <a:lnTo>
                    <a:pt x="90" y="39"/>
                  </a:lnTo>
                  <a:lnTo>
                    <a:pt x="90" y="41"/>
                  </a:lnTo>
                  <a:lnTo>
                    <a:pt x="88" y="42"/>
                  </a:lnTo>
                  <a:lnTo>
                    <a:pt x="90" y="46"/>
                  </a:lnTo>
                  <a:lnTo>
                    <a:pt x="92" y="49"/>
                  </a:lnTo>
                  <a:lnTo>
                    <a:pt x="94" y="51"/>
                  </a:lnTo>
                  <a:lnTo>
                    <a:pt x="95" y="51"/>
                  </a:lnTo>
                  <a:lnTo>
                    <a:pt x="95" y="53"/>
                  </a:lnTo>
                  <a:lnTo>
                    <a:pt x="97" y="54"/>
                  </a:lnTo>
                  <a:lnTo>
                    <a:pt x="99" y="54"/>
                  </a:lnTo>
                  <a:lnTo>
                    <a:pt x="100" y="54"/>
                  </a:lnTo>
                  <a:lnTo>
                    <a:pt x="104" y="56"/>
                  </a:lnTo>
                  <a:lnTo>
                    <a:pt x="105" y="58"/>
                  </a:lnTo>
                  <a:lnTo>
                    <a:pt x="105" y="59"/>
                  </a:lnTo>
                  <a:lnTo>
                    <a:pt x="104" y="59"/>
                  </a:lnTo>
                  <a:lnTo>
                    <a:pt x="102" y="59"/>
                  </a:lnTo>
                  <a:lnTo>
                    <a:pt x="99" y="59"/>
                  </a:lnTo>
                  <a:lnTo>
                    <a:pt x="99" y="61"/>
                  </a:lnTo>
                  <a:lnTo>
                    <a:pt x="95" y="63"/>
                  </a:lnTo>
                  <a:lnTo>
                    <a:pt x="95" y="64"/>
                  </a:lnTo>
                  <a:lnTo>
                    <a:pt x="94" y="66"/>
                  </a:lnTo>
                  <a:lnTo>
                    <a:pt x="92" y="64"/>
                  </a:lnTo>
                  <a:lnTo>
                    <a:pt x="88" y="64"/>
                  </a:lnTo>
                  <a:lnTo>
                    <a:pt x="85" y="64"/>
                  </a:lnTo>
                  <a:lnTo>
                    <a:pt x="83" y="66"/>
                  </a:lnTo>
                  <a:lnTo>
                    <a:pt x="82" y="70"/>
                  </a:lnTo>
                  <a:lnTo>
                    <a:pt x="82" y="71"/>
                  </a:lnTo>
                  <a:lnTo>
                    <a:pt x="83" y="75"/>
                  </a:lnTo>
                  <a:lnTo>
                    <a:pt x="82" y="78"/>
                  </a:lnTo>
                  <a:lnTo>
                    <a:pt x="82" y="80"/>
                  </a:lnTo>
                  <a:lnTo>
                    <a:pt x="80" y="80"/>
                  </a:lnTo>
                  <a:lnTo>
                    <a:pt x="78" y="82"/>
                  </a:lnTo>
                  <a:lnTo>
                    <a:pt x="77" y="83"/>
                  </a:lnTo>
                  <a:lnTo>
                    <a:pt x="77" y="85"/>
                  </a:lnTo>
                  <a:lnTo>
                    <a:pt x="73" y="87"/>
                  </a:lnTo>
                  <a:lnTo>
                    <a:pt x="71" y="90"/>
                  </a:lnTo>
                  <a:lnTo>
                    <a:pt x="70" y="90"/>
                  </a:lnTo>
                  <a:lnTo>
                    <a:pt x="68" y="92"/>
                  </a:lnTo>
                  <a:lnTo>
                    <a:pt x="66" y="92"/>
                  </a:lnTo>
                  <a:lnTo>
                    <a:pt x="65" y="93"/>
                  </a:lnTo>
                  <a:lnTo>
                    <a:pt x="61" y="95"/>
                  </a:lnTo>
                  <a:lnTo>
                    <a:pt x="60" y="95"/>
                  </a:lnTo>
                  <a:lnTo>
                    <a:pt x="58" y="97"/>
                  </a:lnTo>
                  <a:lnTo>
                    <a:pt x="56" y="97"/>
                  </a:lnTo>
                  <a:lnTo>
                    <a:pt x="54" y="99"/>
                  </a:lnTo>
                  <a:lnTo>
                    <a:pt x="53" y="100"/>
                  </a:lnTo>
                  <a:lnTo>
                    <a:pt x="53" y="102"/>
                  </a:lnTo>
                  <a:lnTo>
                    <a:pt x="54" y="102"/>
                  </a:lnTo>
                  <a:lnTo>
                    <a:pt x="53" y="102"/>
                  </a:lnTo>
                  <a:lnTo>
                    <a:pt x="53" y="104"/>
                  </a:lnTo>
                  <a:lnTo>
                    <a:pt x="53" y="105"/>
                  </a:lnTo>
                  <a:lnTo>
                    <a:pt x="56" y="107"/>
                  </a:lnTo>
                  <a:lnTo>
                    <a:pt x="53" y="109"/>
                  </a:lnTo>
                  <a:lnTo>
                    <a:pt x="49" y="109"/>
                  </a:lnTo>
                  <a:lnTo>
                    <a:pt x="48" y="105"/>
                  </a:lnTo>
                  <a:lnTo>
                    <a:pt x="44" y="104"/>
                  </a:lnTo>
                  <a:lnTo>
                    <a:pt x="43" y="104"/>
                  </a:lnTo>
                  <a:lnTo>
                    <a:pt x="39" y="105"/>
                  </a:lnTo>
                  <a:lnTo>
                    <a:pt x="37" y="107"/>
                  </a:lnTo>
                  <a:lnTo>
                    <a:pt x="36" y="109"/>
                  </a:lnTo>
                  <a:lnTo>
                    <a:pt x="34" y="109"/>
                  </a:lnTo>
                  <a:lnTo>
                    <a:pt x="32" y="109"/>
                  </a:lnTo>
                  <a:lnTo>
                    <a:pt x="29" y="109"/>
                  </a:lnTo>
                  <a:lnTo>
                    <a:pt x="27" y="107"/>
                  </a:lnTo>
                  <a:lnTo>
                    <a:pt x="26" y="107"/>
                  </a:lnTo>
                  <a:lnTo>
                    <a:pt x="22" y="107"/>
                  </a:lnTo>
                  <a:lnTo>
                    <a:pt x="22" y="109"/>
                  </a:lnTo>
                  <a:lnTo>
                    <a:pt x="21" y="107"/>
                  </a:lnTo>
                  <a:lnTo>
                    <a:pt x="19" y="107"/>
                  </a:lnTo>
                  <a:lnTo>
                    <a:pt x="17" y="107"/>
                  </a:lnTo>
                  <a:lnTo>
                    <a:pt x="15" y="105"/>
                  </a:lnTo>
                  <a:lnTo>
                    <a:pt x="14" y="104"/>
                  </a:lnTo>
                  <a:lnTo>
                    <a:pt x="14" y="102"/>
                  </a:lnTo>
                  <a:lnTo>
                    <a:pt x="12" y="100"/>
                  </a:lnTo>
                  <a:lnTo>
                    <a:pt x="10" y="100"/>
                  </a:lnTo>
                  <a:lnTo>
                    <a:pt x="9" y="99"/>
                  </a:lnTo>
                  <a:lnTo>
                    <a:pt x="7" y="97"/>
                  </a:lnTo>
                  <a:lnTo>
                    <a:pt x="7" y="95"/>
                  </a:lnTo>
                  <a:lnTo>
                    <a:pt x="5" y="93"/>
                  </a:lnTo>
                  <a:lnTo>
                    <a:pt x="5" y="90"/>
                  </a:lnTo>
                  <a:lnTo>
                    <a:pt x="4" y="90"/>
                  </a:lnTo>
                  <a:lnTo>
                    <a:pt x="2" y="88"/>
                  </a:lnTo>
                  <a:lnTo>
                    <a:pt x="0" y="87"/>
                  </a:lnTo>
                  <a:lnTo>
                    <a:pt x="0" y="85"/>
                  </a:lnTo>
                  <a:lnTo>
                    <a:pt x="2" y="83"/>
                  </a:lnTo>
                  <a:lnTo>
                    <a:pt x="2" y="85"/>
                  </a:lnTo>
                  <a:lnTo>
                    <a:pt x="5" y="87"/>
                  </a:lnTo>
                  <a:lnTo>
                    <a:pt x="7" y="87"/>
                  </a:lnTo>
                  <a:lnTo>
                    <a:pt x="9" y="87"/>
                  </a:lnTo>
                  <a:lnTo>
                    <a:pt x="10" y="85"/>
                  </a:lnTo>
                  <a:lnTo>
                    <a:pt x="12" y="83"/>
                  </a:lnTo>
                  <a:lnTo>
                    <a:pt x="14" y="80"/>
                  </a:lnTo>
                  <a:lnTo>
                    <a:pt x="14" y="78"/>
                  </a:lnTo>
                  <a:lnTo>
                    <a:pt x="14" y="76"/>
                  </a:lnTo>
                  <a:lnTo>
                    <a:pt x="14" y="75"/>
                  </a:lnTo>
                  <a:lnTo>
                    <a:pt x="17" y="73"/>
                  </a:lnTo>
                  <a:lnTo>
                    <a:pt x="19" y="71"/>
                  </a:lnTo>
                  <a:lnTo>
                    <a:pt x="21" y="71"/>
                  </a:lnTo>
                  <a:lnTo>
                    <a:pt x="22" y="71"/>
                  </a:lnTo>
                  <a:lnTo>
                    <a:pt x="26" y="70"/>
                  </a:lnTo>
                  <a:lnTo>
                    <a:pt x="26" y="71"/>
                  </a:lnTo>
                  <a:lnTo>
                    <a:pt x="27" y="71"/>
                  </a:lnTo>
                  <a:lnTo>
                    <a:pt x="31" y="71"/>
                  </a:lnTo>
                  <a:lnTo>
                    <a:pt x="32" y="70"/>
                  </a:lnTo>
                  <a:lnTo>
                    <a:pt x="34" y="70"/>
                  </a:lnTo>
                  <a:lnTo>
                    <a:pt x="34" y="68"/>
                  </a:lnTo>
                  <a:lnTo>
                    <a:pt x="34" y="64"/>
                  </a:lnTo>
                  <a:lnTo>
                    <a:pt x="34" y="63"/>
                  </a:lnTo>
                  <a:lnTo>
                    <a:pt x="34" y="59"/>
                  </a:lnTo>
                  <a:lnTo>
                    <a:pt x="34" y="58"/>
                  </a:lnTo>
                  <a:lnTo>
                    <a:pt x="32" y="56"/>
                  </a:lnTo>
                  <a:lnTo>
                    <a:pt x="31" y="54"/>
                  </a:lnTo>
                  <a:lnTo>
                    <a:pt x="31" y="51"/>
                  </a:lnTo>
                  <a:lnTo>
                    <a:pt x="32" y="51"/>
                  </a:lnTo>
                  <a:lnTo>
                    <a:pt x="36" y="53"/>
                  </a:lnTo>
                  <a:lnTo>
                    <a:pt x="37" y="53"/>
                  </a:lnTo>
                  <a:lnTo>
                    <a:pt x="39" y="53"/>
                  </a:lnTo>
                  <a:lnTo>
                    <a:pt x="41" y="51"/>
                  </a:lnTo>
                  <a:lnTo>
                    <a:pt x="43" y="51"/>
                  </a:lnTo>
                  <a:lnTo>
                    <a:pt x="44" y="51"/>
                  </a:lnTo>
                  <a:lnTo>
                    <a:pt x="46" y="49"/>
                  </a:lnTo>
                  <a:lnTo>
                    <a:pt x="49" y="49"/>
                  </a:lnTo>
                  <a:lnTo>
                    <a:pt x="53" y="47"/>
                  </a:lnTo>
                  <a:lnTo>
                    <a:pt x="54" y="47"/>
                  </a:lnTo>
                  <a:lnTo>
                    <a:pt x="56" y="47"/>
                  </a:lnTo>
                  <a:lnTo>
                    <a:pt x="58" y="47"/>
                  </a:lnTo>
                  <a:lnTo>
                    <a:pt x="60" y="47"/>
                  </a:lnTo>
                  <a:lnTo>
                    <a:pt x="61" y="46"/>
                  </a:lnTo>
                  <a:lnTo>
                    <a:pt x="63" y="46"/>
                  </a:lnTo>
                  <a:lnTo>
                    <a:pt x="66" y="44"/>
                  </a:lnTo>
                  <a:lnTo>
                    <a:pt x="68" y="42"/>
                  </a:lnTo>
                  <a:lnTo>
                    <a:pt x="70" y="41"/>
                  </a:lnTo>
                  <a:lnTo>
                    <a:pt x="71" y="41"/>
                  </a:lnTo>
                  <a:lnTo>
                    <a:pt x="73" y="39"/>
                  </a:lnTo>
                  <a:lnTo>
                    <a:pt x="75" y="37"/>
                  </a:lnTo>
                  <a:lnTo>
                    <a:pt x="77" y="36"/>
                  </a:lnTo>
                  <a:lnTo>
                    <a:pt x="78" y="34"/>
                  </a:lnTo>
                  <a:lnTo>
                    <a:pt x="80" y="34"/>
                  </a:lnTo>
                  <a:lnTo>
                    <a:pt x="82" y="34"/>
                  </a:lnTo>
                  <a:lnTo>
                    <a:pt x="83" y="32"/>
                  </a:lnTo>
                  <a:lnTo>
                    <a:pt x="85" y="30"/>
                  </a:lnTo>
                  <a:lnTo>
                    <a:pt x="87" y="30"/>
                  </a:lnTo>
                  <a:lnTo>
                    <a:pt x="87" y="29"/>
                  </a:lnTo>
                  <a:lnTo>
                    <a:pt x="88" y="29"/>
                  </a:lnTo>
                  <a:lnTo>
                    <a:pt x="88" y="27"/>
                  </a:lnTo>
                  <a:lnTo>
                    <a:pt x="90" y="27"/>
                  </a:lnTo>
                  <a:lnTo>
                    <a:pt x="92" y="25"/>
                  </a:lnTo>
                  <a:lnTo>
                    <a:pt x="94" y="24"/>
                  </a:lnTo>
                  <a:lnTo>
                    <a:pt x="95" y="22"/>
                  </a:lnTo>
                  <a:lnTo>
                    <a:pt x="97" y="19"/>
                  </a:lnTo>
                  <a:lnTo>
                    <a:pt x="97" y="17"/>
                  </a:lnTo>
                  <a:lnTo>
                    <a:pt x="100" y="15"/>
                  </a:lnTo>
                  <a:lnTo>
                    <a:pt x="102" y="13"/>
                  </a:lnTo>
                  <a:lnTo>
                    <a:pt x="104" y="10"/>
                  </a:lnTo>
                  <a:lnTo>
                    <a:pt x="105" y="10"/>
                  </a:lnTo>
                  <a:lnTo>
                    <a:pt x="105" y="8"/>
                  </a:lnTo>
                  <a:lnTo>
                    <a:pt x="107" y="7"/>
                  </a:lnTo>
                  <a:lnTo>
                    <a:pt x="109" y="7"/>
                  </a:lnTo>
                  <a:lnTo>
                    <a:pt x="109" y="5"/>
                  </a:lnTo>
                  <a:lnTo>
                    <a:pt x="112" y="3"/>
                  </a:lnTo>
                  <a:lnTo>
                    <a:pt x="112" y="2"/>
                  </a:lnTo>
                  <a:lnTo>
                    <a:pt x="114" y="2"/>
                  </a:lnTo>
                  <a:lnTo>
                    <a:pt x="114" y="0"/>
                  </a:lnTo>
                  <a:lnTo>
                    <a:pt x="117"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192" name="Freeform 22">
              <a:extLst>
                <a:ext uri="{FF2B5EF4-FFF2-40B4-BE49-F238E27FC236}">
                  <a16:creationId xmlns:a16="http://schemas.microsoft.com/office/drawing/2014/main" id="{E824ED2B-988C-4A37-9ADA-E79DC7D63325}"/>
                </a:ext>
              </a:extLst>
            </p:cNvPr>
            <p:cNvSpPr>
              <a:spLocks noEditPoints="1"/>
            </p:cNvSpPr>
            <p:nvPr/>
          </p:nvSpPr>
          <p:spPr bwMode="gray">
            <a:xfrm>
              <a:off x="10887765" y="4887797"/>
              <a:ext cx="3193835" cy="1854675"/>
            </a:xfrm>
            <a:custGeom>
              <a:avLst/>
              <a:gdLst>
                <a:gd name="T0" fmla="*/ 842 w 1078"/>
                <a:gd name="T1" fmla="*/ 5 h 626"/>
                <a:gd name="T2" fmla="*/ 901 w 1078"/>
                <a:gd name="T3" fmla="*/ 26 h 626"/>
                <a:gd name="T4" fmla="*/ 944 w 1078"/>
                <a:gd name="T5" fmla="*/ 71 h 626"/>
                <a:gd name="T6" fmla="*/ 981 w 1078"/>
                <a:gd name="T7" fmla="*/ 88 h 626"/>
                <a:gd name="T8" fmla="*/ 998 w 1078"/>
                <a:gd name="T9" fmla="*/ 139 h 626"/>
                <a:gd name="T10" fmla="*/ 1023 w 1078"/>
                <a:gd name="T11" fmla="*/ 197 h 626"/>
                <a:gd name="T12" fmla="*/ 1076 w 1078"/>
                <a:gd name="T13" fmla="*/ 233 h 626"/>
                <a:gd name="T14" fmla="*/ 1030 w 1078"/>
                <a:gd name="T15" fmla="*/ 250 h 626"/>
                <a:gd name="T16" fmla="*/ 964 w 1078"/>
                <a:gd name="T17" fmla="*/ 287 h 626"/>
                <a:gd name="T18" fmla="*/ 910 w 1078"/>
                <a:gd name="T19" fmla="*/ 323 h 626"/>
                <a:gd name="T20" fmla="*/ 838 w 1078"/>
                <a:gd name="T21" fmla="*/ 376 h 626"/>
                <a:gd name="T22" fmla="*/ 748 w 1078"/>
                <a:gd name="T23" fmla="*/ 408 h 626"/>
                <a:gd name="T24" fmla="*/ 687 w 1078"/>
                <a:gd name="T25" fmla="*/ 452 h 626"/>
                <a:gd name="T26" fmla="*/ 670 w 1078"/>
                <a:gd name="T27" fmla="*/ 492 h 626"/>
                <a:gd name="T28" fmla="*/ 636 w 1078"/>
                <a:gd name="T29" fmla="*/ 512 h 626"/>
                <a:gd name="T30" fmla="*/ 615 w 1078"/>
                <a:gd name="T31" fmla="*/ 471 h 626"/>
                <a:gd name="T32" fmla="*/ 554 w 1078"/>
                <a:gd name="T33" fmla="*/ 492 h 626"/>
                <a:gd name="T34" fmla="*/ 519 w 1078"/>
                <a:gd name="T35" fmla="*/ 548 h 626"/>
                <a:gd name="T36" fmla="*/ 469 w 1078"/>
                <a:gd name="T37" fmla="*/ 582 h 626"/>
                <a:gd name="T38" fmla="*/ 391 w 1078"/>
                <a:gd name="T39" fmla="*/ 558 h 626"/>
                <a:gd name="T40" fmla="*/ 330 w 1078"/>
                <a:gd name="T41" fmla="*/ 578 h 626"/>
                <a:gd name="T42" fmla="*/ 298 w 1078"/>
                <a:gd name="T43" fmla="*/ 623 h 626"/>
                <a:gd name="T44" fmla="*/ 252 w 1078"/>
                <a:gd name="T45" fmla="*/ 611 h 626"/>
                <a:gd name="T46" fmla="*/ 231 w 1078"/>
                <a:gd name="T47" fmla="*/ 604 h 626"/>
                <a:gd name="T48" fmla="*/ 199 w 1078"/>
                <a:gd name="T49" fmla="*/ 606 h 626"/>
                <a:gd name="T50" fmla="*/ 189 w 1078"/>
                <a:gd name="T51" fmla="*/ 604 h 626"/>
                <a:gd name="T52" fmla="*/ 167 w 1078"/>
                <a:gd name="T53" fmla="*/ 611 h 626"/>
                <a:gd name="T54" fmla="*/ 185 w 1078"/>
                <a:gd name="T55" fmla="*/ 589 h 626"/>
                <a:gd name="T56" fmla="*/ 140 w 1078"/>
                <a:gd name="T57" fmla="*/ 589 h 626"/>
                <a:gd name="T58" fmla="*/ 145 w 1078"/>
                <a:gd name="T59" fmla="*/ 577 h 626"/>
                <a:gd name="T60" fmla="*/ 126 w 1078"/>
                <a:gd name="T61" fmla="*/ 548 h 626"/>
                <a:gd name="T62" fmla="*/ 77 w 1078"/>
                <a:gd name="T63" fmla="*/ 527 h 626"/>
                <a:gd name="T64" fmla="*/ 65 w 1078"/>
                <a:gd name="T65" fmla="*/ 505 h 626"/>
                <a:gd name="T66" fmla="*/ 106 w 1078"/>
                <a:gd name="T67" fmla="*/ 505 h 626"/>
                <a:gd name="T68" fmla="*/ 90 w 1078"/>
                <a:gd name="T69" fmla="*/ 476 h 626"/>
                <a:gd name="T70" fmla="*/ 68 w 1078"/>
                <a:gd name="T71" fmla="*/ 447 h 626"/>
                <a:gd name="T72" fmla="*/ 32 w 1078"/>
                <a:gd name="T73" fmla="*/ 435 h 626"/>
                <a:gd name="T74" fmla="*/ 63 w 1078"/>
                <a:gd name="T75" fmla="*/ 367 h 626"/>
                <a:gd name="T76" fmla="*/ 104 w 1078"/>
                <a:gd name="T77" fmla="*/ 349 h 626"/>
                <a:gd name="T78" fmla="*/ 172 w 1078"/>
                <a:gd name="T79" fmla="*/ 344 h 626"/>
                <a:gd name="T80" fmla="*/ 199 w 1078"/>
                <a:gd name="T81" fmla="*/ 311 h 626"/>
                <a:gd name="T82" fmla="*/ 168 w 1078"/>
                <a:gd name="T83" fmla="*/ 301 h 626"/>
                <a:gd name="T84" fmla="*/ 226 w 1078"/>
                <a:gd name="T85" fmla="*/ 265 h 626"/>
                <a:gd name="T86" fmla="*/ 296 w 1078"/>
                <a:gd name="T87" fmla="*/ 226 h 626"/>
                <a:gd name="T88" fmla="*/ 364 w 1078"/>
                <a:gd name="T89" fmla="*/ 162 h 626"/>
                <a:gd name="T90" fmla="*/ 440 w 1078"/>
                <a:gd name="T91" fmla="*/ 133 h 626"/>
                <a:gd name="T92" fmla="*/ 498 w 1078"/>
                <a:gd name="T93" fmla="*/ 136 h 626"/>
                <a:gd name="T94" fmla="*/ 566 w 1078"/>
                <a:gd name="T95" fmla="*/ 151 h 626"/>
                <a:gd name="T96" fmla="*/ 644 w 1078"/>
                <a:gd name="T97" fmla="*/ 139 h 626"/>
                <a:gd name="T98" fmla="*/ 723 w 1078"/>
                <a:gd name="T99" fmla="*/ 104 h 626"/>
                <a:gd name="T100" fmla="*/ 94 w 1078"/>
                <a:gd name="T101" fmla="*/ 245 h 626"/>
                <a:gd name="T102" fmla="*/ 160 w 1078"/>
                <a:gd name="T103" fmla="*/ 281 h 626"/>
                <a:gd name="T104" fmla="*/ 109 w 1078"/>
                <a:gd name="T105" fmla="*/ 311 h 626"/>
                <a:gd name="T106" fmla="*/ 55 w 1078"/>
                <a:gd name="T107" fmla="*/ 364 h 626"/>
                <a:gd name="T108" fmla="*/ 34 w 1078"/>
                <a:gd name="T109" fmla="*/ 376 h 626"/>
                <a:gd name="T110" fmla="*/ 10 w 1078"/>
                <a:gd name="T111" fmla="*/ 356 h 626"/>
                <a:gd name="T112" fmla="*/ 26 w 1078"/>
                <a:gd name="T113" fmla="*/ 291 h 626"/>
                <a:gd name="T114" fmla="*/ 56 w 1078"/>
                <a:gd name="T115" fmla="*/ 247 h 626"/>
                <a:gd name="T116" fmla="*/ 0 w 1078"/>
                <a:gd name="T117" fmla="*/ 403 h 626"/>
                <a:gd name="T118" fmla="*/ 66 w 1078"/>
                <a:gd name="T119" fmla="*/ 442 h 626"/>
                <a:gd name="T120" fmla="*/ 65 w 1078"/>
                <a:gd name="T121" fmla="*/ 510 h 626"/>
                <a:gd name="T122" fmla="*/ 87 w 1078"/>
                <a:gd name="T123" fmla="*/ 505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78" h="626">
                  <a:moveTo>
                    <a:pt x="779" y="34"/>
                  </a:moveTo>
                  <a:lnTo>
                    <a:pt x="780" y="34"/>
                  </a:lnTo>
                  <a:lnTo>
                    <a:pt x="782" y="34"/>
                  </a:lnTo>
                  <a:lnTo>
                    <a:pt x="784" y="34"/>
                  </a:lnTo>
                  <a:lnTo>
                    <a:pt x="785" y="34"/>
                  </a:lnTo>
                  <a:lnTo>
                    <a:pt x="787" y="32"/>
                  </a:lnTo>
                  <a:lnTo>
                    <a:pt x="789" y="32"/>
                  </a:lnTo>
                  <a:lnTo>
                    <a:pt x="791" y="32"/>
                  </a:lnTo>
                  <a:lnTo>
                    <a:pt x="794" y="34"/>
                  </a:lnTo>
                  <a:lnTo>
                    <a:pt x="794" y="32"/>
                  </a:lnTo>
                  <a:lnTo>
                    <a:pt x="796" y="31"/>
                  </a:lnTo>
                  <a:lnTo>
                    <a:pt x="796" y="27"/>
                  </a:lnTo>
                  <a:lnTo>
                    <a:pt x="797" y="24"/>
                  </a:lnTo>
                  <a:lnTo>
                    <a:pt x="801" y="24"/>
                  </a:lnTo>
                  <a:lnTo>
                    <a:pt x="802" y="24"/>
                  </a:lnTo>
                  <a:lnTo>
                    <a:pt x="804" y="22"/>
                  </a:lnTo>
                  <a:lnTo>
                    <a:pt x="806" y="22"/>
                  </a:lnTo>
                  <a:lnTo>
                    <a:pt x="808" y="20"/>
                  </a:lnTo>
                  <a:lnTo>
                    <a:pt x="809" y="20"/>
                  </a:lnTo>
                  <a:lnTo>
                    <a:pt x="811" y="20"/>
                  </a:lnTo>
                  <a:lnTo>
                    <a:pt x="814" y="19"/>
                  </a:lnTo>
                  <a:lnTo>
                    <a:pt x="818" y="19"/>
                  </a:lnTo>
                  <a:lnTo>
                    <a:pt x="821" y="17"/>
                  </a:lnTo>
                  <a:lnTo>
                    <a:pt x="823" y="19"/>
                  </a:lnTo>
                  <a:lnTo>
                    <a:pt x="825" y="19"/>
                  </a:lnTo>
                  <a:lnTo>
                    <a:pt x="826" y="17"/>
                  </a:lnTo>
                  <a:lnTo>
                    <a:pt x="828" y="17"/>
                  </a:lnTo>
                  <a:lnTo>
                    <a:pt x="826" y="15"/>
                  </a:lnTo>
                  <a:lnTo>
                    <a:pt x="826" y="14"/>
                  </a:lnTo>
                  <a:lnTo>
                    <a:pt x="828" y="10"/>
                  </a:lnTo>
                  <a:lnTo>
                    <a:pt x="826" y="10"/>
                  </a:lnTo>
                  <a:lnTo>
                    <a:pt x="826" y="7"/>
                  </a:lnTo>
                  <a:lnTo>
                    <a:pt x="826" y="5"/>
                  </a:lnTo>
                  <a:lnTo>
                    <a:pt x="830" y="3"/>
                  </a:lnTo>
                  <a:lnTo>
                    <a:pt x="831" y="2"/>
                  </a:lnTo>
                  <a:lnTo>
                    <a:pt x="833" y="2"/>
                  </a:lnTo>
                  <a:lnTo>
                    <a:pt x="835" y="2"/>
                  </a:lnTo>
                  <a:lnTo>
                    <a:pt x="838" y="0"/>
                  </a:lnTo>
                  <a:lnTo>
                    <a:pt x="838" y="2"/>
                  </a:lnTo>
                  <a:lnTo>
                    <a:pt x="838" y="5"/>
                  </a:lnTo>
                  <a:lnTo>
                    <a:pt x="840" y="7"/>
                  </a:lnTo>
                  <a:lnTo>
                    <a:pt x="842" y="7"/>
                  </a:lnTo>
                  <a:lnTo>
                    <a:pt x="842" y="5"/>
                  </a:lnTo>
                  <a:lnTo>
                    <a:pt x="843" y="3"/>
                  </a:lnTo>
                  <a:lnTo>
                    <a:pt x="845" y="5"/>
                  </a:lnTo>
                  <a:lnTo>
                    <a:pt x="847" y="5"/>
                  </a:lnTo>
                  <a:lnTo>
                    <a:pt x="848" y="5"/>
                  </a:lnTo>
                  <a:lnTo>
                    <a:pt x="848" y="7"/>
                  </a:lnTo>
                  <a:lnTo>
                    <a:pt x="850" y="7"/>
                  </a:lnTo>
                  <a:lnTo>
                    <a:pt x="853" y="8"/>
                  </a:lnTo>
                  <a:lnTo>
                    <a:pt x="855" y="8"/>
                  </a:lnTo>
                  <a:lnTo>
                    <a:pt x="857" y="8"/>
                  </a:lnTo>
                  <a:lnTo>
                    <a:pt x="859" y="8"/>
                  </a:lnTo>
                  <a:lnTo>
                    <a:pt x="860" y="10"/>
                  </a:lnTo>
                  <a:lnTo>
                    <a:pt x="864" y="10"/>
                  </a:lnTo>
                  <a:lnTo>
                    <a:pt x="865" y="8"/>
                  </a:lnTo>
                  <a:lnTo>
                    <a:pt x="865" y="10"/>
                  </a:lnTo>
                  <a:lnTo>
                    <a:pt x="864" y="10"/>
                  </a:lnTo>
                  <a:lnTo>
                    <a:pt x="864" y="12"/>
                  </a:lnTo>
                  <a:lnTo>
                    <a:pt x="862" y="14"/>
                  </a:lnTo>
                  <a:lnTo>
                    <a:pt x="864" y="14"/>
                  </a:lnTo>
                  <a:lnTo>
                    <a:pt x="865" y="14"/>
                  </a:lnTo>
                  <a:lnTo>
                    <a:pt x="867" y="14"/>
                  </a:lnTo>
                  <a:lnTo>
                    <a:pt x="870" y="15"/>
                  </a:lnTo>
                  <a:lnTo>
                    <a:pt x="870" y="17"/>
                  </a:lnTo>
                  <a:lnTo>
                    <a:pt x="870" y="15"/>
                  </a:lnTo>
                  <a:lnTo>
                    <a:pt x="872" y="15"/>
                  </a:lnTo>
                  <a:lnTo>
                    <a:pt x="872" y="14"/>
                  </a:lnTo>
                  <a:lnTo>
                    <a:pt x="874" y="12"/>
                  </a:lnTo>
                  <a:lnTo>
                    <a:pt x="876" y="12"/>
                  </a:lnTo>
                  <a:lnTo>
                    <a:pt x="879" y="12"/>
                  </a:lnTo>
                  <a:lnTo>
                    <a:pt x="881" y="12"/>
                  </a:lnTo>
                  <a:lnTo>
                    <a:pt x="882" y="12"/>
                  </a:lnTo>
                  <a:lnTo>
                    <a:pt x="882" y="14"/>
                  </a:lnTo>
                  <a:lnTo>
                    <a:pt x="882" y="17"/>
                  </a:lnTo>
                  <a:lnTo>
                    <a:pt x="884" y="17"/>
                  </a:lnTo>
                  <a:lnTo>
                    <a:pt x="886" y="20"/>
                  </a:lnTo>
                  <a:lnTo>
                    <a:pt x="887" y="20"/>
                  </a:lnTo>
                  <a:lnTo>
                    <a:pt x="889" y="20"/>
                  </a:lnTo>
                  <a:lnTo>
                    <a:pt x="891" y="20"/>
                  </a:lnTo>
                  <a:lnTo>
                    <a:pt x="893" y="20"/>
                  </a:lnTo>
                  <a:lnTo>
                    <a:pt x="896" y="20"/>
                  </a:lnTo>
                  <a:lnTo>
                    <a:pt x="898" y="20"/>
                  </a:lnTo>
                  <a:lnTo>
                    <a:pt x="899" y="22"/>
                  </a:lnTo>
                  <a:lnTo>
                    <a:pt x="899" y="24"/>
                  </a:lnTo>
                  <a:lnTo>
                    <a:pt x="901" y="26"/>
                  </a:lnTo>
                  <a:lnTo>
                    <a:pt x="901" y="27"/>
                  </a:lnTo>
                  <a:lnTo>
                    <a:pt x="904" y="27"/>
                  </a:lnTo>
                  <a:lnTo>
                    <a:pt x="906" y="29"/>
                  </a:lnTo>
                  <a:lnTo>
                    <a:pt x="906" y="31"/>
                  </a:lnTo>
                  <a:lnTo>
                    <a:pt x="910" y="32"/>
                  </a:lnTo>
                  <a:lnTo>
                    <a:pt x="910" y="34"/>
                  </a:lnTo>
                  <a:lnTo>
                    <a:pt x="911" y="36"/>
                  </a:lnTo>
                  <a:lnTo>
                    <a:pt x="910" y="37"/>
                  </a:lnTo>
                  <a:lnTo>
                    <a:pt x="910" y="41"/>
                  </a:lnTo>
                  <a:lnTo>
                    <a:pt x="910" y="44"/>
                  </a:lnTo>
                  <a:lnTo>
                    <a:pt x="910" y="46"/>
                  </a:lnTo>
                  <a:lnTo>
                    <a:pt x="911" y="48"/>
                  </a:lnTo>
                  <a:lnTo>
                    <a:pt x="910" y="48"/>
                  </a:lnTo>
                  <a:lnTo>
                    <a:pt x="910" y="49"/>
                  </a:lnTo>
                  <a:lnTo>
                    <a:pt x="908" y="51"/>
                  </a:lnTo>
                  <a:lnTo>
                    <a:pt x="906" y="54"/>
                  </a:lnTo>
                  <a:lnTo>
                    <a:pt x="908" y="54"/>
                  </a:lnTo>
                  <a:lnTo>
                    <a:pt x="911" y="54"/>
                  </a:lnTo>
                  <a:lnTo>
                    <a:pt x="913" y="56"/>
                  </a:lnTo>
                  <a:lnTo>
                    <a:pt x="913" y="58"/>
                  </a:lnTo>
                  <a:lnTo>
                    <a:pt x="913" y="61"/>
                  </a:lnTo>
                  <a:lnTo>
                    <a:pt x="916" y="63"/>
                  </a:lnTo>
                  <a:lnTo>
                    <a:pt x="918" y="63"/>
                  </a:lnTo>
                  <a:lnTo>
                    <a:pt x="918" y="65"/>
                  </a:lnTo>
                  <a:lnTo>
                    <a:pt x="921" y="65"/>
                  </a:lnTo>
                  <a:lnTo>
                    <a:pt x="921" y="66"/>
                  </a:lnTo>
                  <a:lnTo>
                    <a:pt x="920" y="68"/>
                  </a:lnTo>
                  <a:lnTo>
                    <a:pt x="921" y="68"/>
                  </a:lnTo>
                  <a:lnTo>
                    <a:pt x="923" y="68"/>
                  </a:lnTo>
                  <a:lnTo>
                    <a:pt x="925" y="70"/>
                  </a:lnTo>
                  <a:lnTo>
                    <a:pt x="923" y="71"/>
                  </a:lnTo>
                  <a:lnTo>
                    <a:pt x="923" y="73"/>
                  </a:lnTo>
                  <a:lnTo>
                    <a:pt x="925" y="75"/>
                  </a:lnTo>
                  <a:lnTo>
                    <a:pt x="928" y="75"/>
                  </a:lnTo>
                  <a:lnTo>
                    <a:pt x="930" y="73"/>
                  </a:lnTo>
                  <a:lnTo>
                    <a:pt x="932" y="73"/>
                  </a:lnTo>
                  <a:lnTo>
                    <a:pt x="933" y="73"/>
                  </a:lnTo>
                  <a:lnTo>
                    <a:pt x="935" y="75"/>
                  </a:lnTo>
                  <a:lnTo>
                    <a:pt x="937" y="73"/>
                  </a:lnTo>
                  <a:lnTo>
                    <a:pt x="938" y="75"/>
                  </a:lnTo>
                  <a:lnTo>
                    <a:pt x="940" y="73"/>
                  </a:lnTo>
                  <a:lnTo>
                    <a:pt x="942" y="73"/>
                  </a:lnTo>
                  <a:lnTo>
                    <a:pt x="944" y="71"/>
                  </a:lnTo>
                  <a:lnTo>
                    <a:pt x="945" y="71"/>
                  </a:lnTo>
                  <a:lnTo>
                    <a:pt x="947" y="70"/>
                  </a:lnTo>
                  <a:lnTo>
                    <a:pt x="947" y="68"/>
                  </a:lnTo>
                  <a:lnTo>
                    <a:pt x="949" y="68"/>
                  </a:lnTo>
                  <a:lnTo>
                    <a:pt x="952" y="66"/>
                  </a:lnTo>
                  <a:lnTo>
                    <a:pt x="954" y="65"/>
                  </a:lnTo>
                  <a:lnTo>
                    <a:pt x="957" y="63"/>
                  </a:lnTo>
                  <a:lnTo>
                    <a:pt x="961" y="63"/>
                  </a:lnTo>
                  <a:lnTo>
                    <a:pt x="962" y="63"/>
                  </a:lnTo>
                  <a:lnTo>
                    <a:pt x="966" y="63"/>
                  </a:lnTo>
                  <a:lnTo>
                    <a:pt x="967" y="61"/>
                  </a:lnTo>
                  <a:lnTo>
                    <a:pt x="969" y="63"/>
                  </a:lnTo>
                  <a:lnTo>
                    <a:pt x="971" y="65"/>
                  </a:lnTo>
                  <a:lnTo>
                    <a:pt x="974" y="65"/>
                  </a:lnTo>
                  <a:lnTo>
                    <a:pt x="976" y="66"/>
                  </a:lnTo>
                  <a:lnTo>
                    <a:pt x="978" y="66"/>
                  </a:lnTo>
                  <a:lnTo>
                    <a:pt x="979" y="70"/>
                  </a:lnTo>
                  <a:lnTo>
                    <a:pt x="981" y="68"/>
                  </a:lnTo>
                  <a:lnTo>
                    <a:pt x="981" y="70"/>
                  </a:lnTo>
                  <a:lnTo>
                    <a:pt x="983" y="70"/>
                  </a:lnTo>
                  <a:lnTo>
                    <a:pt x="986" y="68"/>
                  </a:lnTo>
                  <a:lnTo>
                    <a:pt x="986" y="70"/>
                  </a:lnTo>
                  <a:lnTo>
                    <a:pt x="988" y="71"/>
                  </a:lnTo>
                  <a:lnTo>
                    <a:pt x="989" y="70"/>
                  </a:lnTo>
                  <a:lnTo>
                    <a:pt x="991" y="71"/>
                  </a:lnTo>
                  <a:lnTo>
                    <a:pt x="991" y="73"/>
                  </a:lnTo>
                  <a:lnTo>
                    <a:pt x="995" y="73"/>
                  </a:lnTo>
                  <a:lnTo>
                    <a:pt x="995" y="75"/>
                  </a:lnTo>
                  <a:lnTo>
                    <a:pt x="996" y="75"/>
                  </a:lnTo>
                  <a:lnTo>
                    <a:pt x="998" y="77"/>
                  </a:lnTo>
                  <a:lnTo>
                    <a:pt x="995" y="75"/>
                  </a:lnTo>
                  <a:lnTo>
                    <a:pt x="993" y="75"/>
                  </a:lnTo>
                  <a:lnTo>
                    <a:pt x="991" y="73"/>
                  </a:lnTo>
                  <a:lnTo>
                    <a:pt x="989" y="73"/>
                  </a:lnTo>
                  <a:lnTo>
                    <a:pt x="986" y="75"/>
                  </a:lnTo>
                  <a:lnTo>
                    <a:pt x="984" y="73"/>
                  </a:lnTo>
                  <a:lnTo>
                    <a:pt x="981" y="71"/>
                  </a:lnTo>
                  <a:lnTo>
                    <a:pt x="981" y="73"/>
                  </a:lnTo>
                  <a:lnTo>
                    <a:pt x="979" y="78"/>
                  </a:lnTo>
                  <a:lnTo>
                    <a:pt x="978" y="82"/>
                  </a:lnTo>
                  <a:lnTo>
                    <a:pt x="979" y="83"/>
                  </a:lnTo>
                  <a:lnTo>
                    <a:pt x="981" y="85"/>
                  </a:lnTo>
                  <a:lnTo>
                    <a:pt x="981" y="88"/>
                  </a:lnTo>
                  <a:lnTo>
                    <a:pt x="979" y="90"/>
                  </a:lnTo>
                  <a:lnTo>
                    <a:pt x="981" y="92"/>
                  </a:lnTo>
                  <a:lnTo>
                    <a:pt x="983" y="94"/>
                  </a:lnTo>
                  <a:lnTo>
                    <a:pt x="983" y="97"/>
                  </a:lnTo>
                  <a:lnTo>
                    <a:pt x="984" y="99"/>
                  </a:lnTo>
                  <a:lnTo>
                    <a:pt x="984" y="100"/>
                  </a:lnTo>
                  <a:lnTo>
                    <a:pt x="983" y="102"/>
                  </a:lnTo>
                  <a:lnTo>
                    <a:pt x="981" y="102"/>
                  </a:lnTo>
                  <a:lnTo>
                    <a:pt x="981" y="104"/>
                  </a:lnTo>
                  <a:lnTo>
                    <a:pt x="979" y="105"/>
                  </a:lnTo>
                  <a:lnTo>
                    <a:pt x="978" y="105"/>
                  </a:lnTo>
                  <a:lnTo>
                    <a:pt x="974" y="104"/>
                  </a:lnTo>
                  <a:lnTo>
                    <a:pt x="974" y="105"/>
                  </a:lnTo>
                  <a:lnTo>
                    <a:pt x="971" y="109"/>
                  </a:lnTo>
                  <a:lnTo>
                    <a:pt x="971" y="107"/>
                  </a:lnTo>
                  <a:lnTo>
                    <a:pt x="969" y="109"/>
                  </a:lnTo>
                  <a:lnTo>
                    <a:pt x="967" y="109"/>
                  </a:lnTo>
                  <a:lnTo>
                    <a:pt x="967" y="112"/>
                  </a:lnTo>
                  <a:lnTo>
                    <a:pt x="969" y="112"/>
                  </a:lnTo>
                  <a:lnTo>
                    <a:pt x="971" y="114"/>
                  </a:lnTo>
                  <a:lnTo>
                    <a:pt x="971" y="116"/>
                  </a:lnTo>
                  <a:lnTo>
                    <a:pt x="972" y="116"/>
                  </a:lnTo>
                  <a:lnTo>
                    <a:pt x="972" y="119"/>
                  </a:lnTo>
                  <a:lnTo>
                    <a:pt x="974" y="119"/>
                  </a:lnTo>
                  <a:lnTo>
                    <a:pt x="976" y="121"/>
                  </a:lnTo>
                  <a:lnTo>
                    <a:pt x="978" y="122"/>
                  </a:lnTo>
                  <a:lnTo>
                    <a:pt x="979" y="121"/>
                  </a:lnTo>
                  <a:lnTo>
                    <a:pt x="981" y="122"/>
                  </a:lnTo>
                  <a:lnTo>
                    <a:pt x="984" y="122"/>
                  </a:lnTo>
                  <a:lnTo>
                    <a:pt x="984" y="126"/>
                  </a:lnTo>
                  <a:lnTo>
                    <a:pt x="984" y="128"/>
                  </a:lnTo>
                  <a:lnTo>
                    <a:pt x="986" y="129"/>
                  </a:lnTo>
                  <a:lnTo>
                    <a:pt x="988" y="129"/>
                  </a:lnTo>
                  <a:lnTo>
                    <a:pt x="986" y="133"/>
                  </a:lnTo>
                  <a:lnTo>
                    <a:pt x="988" y="133"/>
                  </a:lnTo>
                  <a:lnTo>
                    <a:pt x="988" y="134"/>
                  </a:lnTo>
                  <a:lnTo>
                    <a:pt x="989" y="134"/>
                  </a:lnTo>
                  <a:lnTo>
                    <a:pt x="989" y="136"/>
                  </a:lnTo>
                  <a:lnTo>
                    <a:pt x="991" y="136"/>
                  </a:lnTo>
                  <a:lnTo>
                    <a:pt x="991" y="138"/>
                  </a:lnTo>
                  <a:lnTo>
                    <a:pt x="995" y="139"/>
                  </a:lnTo>
                  <a:lnTo>
                    <a:pt x="996" y="139"/>
                  </a:lnTo>
                  <a:lnTo>
                    <a:pt x="998" y="139"/>
                  </a:lnTo>
                  <a:lnTo>
                    <a:pt x="1000" y="141"/>
                  </a:lnTo>
                  <a:lnTo>
                    <a:pt x="998" y="143"/>
                  </a:lnTo>
                  <a:lnTo>
                    <a:pt x="1000" y="145"/>
                  </a:lnTo>
                  <a:lnTo>
                    <a:pt x="1000" y="146"/>
                  </a:lnTo>
                  <a:lnTo>
                    <a:pt x="1000" y="148"/>
                  </a:lnTo>
                  <a:lnTo>
                    <a:pt x="1001" y="150"/>
                  </a:lnTo>
                  <a:lnTo>
                    <a:pt x="1001" y="151"/>
                  </a:lnTo>
                  <a:lnTo>
                    <a:pt x="1005" y="153"/>
                  </a:lnTo>
                  <a:lnTo>
                    <a:pt x="1006" y="153"/>
                  </a:lnTo>
                  <a:lnTo>
                    <a:pt x="1006" y="155"/>
                  </a:lnTo>
                  <a:lnTo>
                    <a:pt x="1006" y="156"/>
                  </a:lnTo>
                  <a:lnTo>
                    <a:pt x="1008" y="158"/>
                  </a:lnTo>
                  <a:lnTo>
                    <a:pt x="1010" y="160"/>
                  </a:lnTo>
                  <a:lnTo>
                    <a:pt x="1010" y="162"/>
                  </a:lnTo>
                  <a:lnTo>
                    <a:pt x="1010" y="165"/>
                  </a:lnTo>
                  <a:lnTo>
                    <a:pt x="1013" y="167"/>
                  </a:lnTo>
                  <a:lnTo>
                    <a:pt x="1012" y="168"/>
                  </a:lnTo>
                  <a:lnTo>
                    <a:pt x="1013" y="168"/>
                  </a:lnTo>
                  <a:lnTo>
                    <a:pt x="1017" y="167"/>
                  </a:lnTo>
                  <a:lnTo>
                    <a:pt x="1017" y="168"/>
                  </a:lnTo>
                  <a:lnTo>
                    <a:pt x="1018" y="168"/>
                  </a:lnTo>
                  <a:lnTo>
                    <a:pt x="1018" y="167"/>
                  </a:lnTo>
                  <a:lnTo>
                    <a:pt x="1020" y="165"/>
                  </a:lnTo>
                  <a:lnTo>
                    <a:pt x="1022" y="165"/>
                  </a:lnTo>
                  <a:lnTo>
                    <a:pt x="1025" y="165"/>
                  </a:lnTo>
                  <a:lnTo>
                    <a:pt x="1025" y="168"/>
                  </a:lnTo>
                  <a:lnTo>
                    <a:pt x="1023" y="168"/>
                  </a:lnTo>
                  <a:lnTo>
                    <a:pt x="1023" y="170"/>
                  </a:lnTo>
                  <a:lnTo>
                    <a:pt x="1023" y="172"/>
                  </a:lnTo>
                  <a:lnTo>
                    <a:pt x="1022" y="174"/>
                  </a:lnTo>
                  <a:lnTo>
                    <a:pt x="1022" y="175"/>
                  </a:lnTo>
                  <a:lnTo>
                    <a:pt x="1023" y="177"/>
                  </a:lnTo>
                  <a:lnTo>
                    <a:pt x="1025" y="179"/>
                  </a:lnTo>
                  <a:lnTo>
                    <a:pt x="1023" y="180"/>
                  </a:lnTo>
                  <a:lnTo>
                    <a:pt x="1025" y="180"/>
                  </a:lnTo>
                  <a:lnTo>
                    <a:pt x="1023" y="184"/>
                  </a:lnTo>
                  <a:lnTo>
                    <a:pt x="1025" y="185"/>
                  </a:lnTo>
                  <a:lnTo>
                    <a:pt x="1023" y="185"/>
                  </a:lnTo>
                  <a:lnTo>
                    <a:pt x="1023" y="189"/>
                  </a:lnTo>
                  <a:lnTo>
                    <a:pt x="1023" y="191"/>
                  </a:lnTo>
                  <a:lnTo>
                    <a:pt x="1023" y="192"/>
                  </a:lnTo>
                  <a:lnTo>
                    <a:pt x="1023" y="194"/>
                  </a:lnTo>
                  <a:lnTo>
                    <a:pt x="1023" y="197"/>
                  </a:lnTo>
                  <a:lnTo>
                    <a:pt x="1025" y="197"/>
                  </a:lnTo>
                  <a:lnTo>
                    <a:pt x="1023" y="199"/>
                  </a:lnTo>
                  <a:lnTo>
                    <a:pt x="1025" y="202"/>
                  </a:lnTo>
                  <a:lnTo>
                    <a:pt x="1027" y="202"/>
                  </a:lnTo>
                  <a:lnTo>
                    <a:pt x="1029" y="202"/>
                  </a:lnTo>
                  <a:lnTo>
                    <a:pt x="1030" y="201"/>
                  </a:lnTo>
                  <a:lnTo>
                    <a:pt x="1032" y="201"/>
                  </a:lnTo>
                  <a:lnTo>
                    <a:pt x="1034" y="199"/>
                  </a:lnTo>
                  <a:lnTo>
                    <a:pt x="1035" y="201"/>
                  </a:lnTo>
                  <a:lnTo>
                    <a:pt x="1035" y="202"/>
                  </a:lnTo>
                  <a:lnTo>
                    <a:pt x="1037" y="202"/>
                  </a:lnTo>
                  <a:lnTo>
                    <a:pt x="1039" y="202"/>
                  </a:lnTo>
                  <a:lnTo>
                    <a:pt x="1039" y="201"/>
                  </a:lnTo>
                  <a:lnTo>
                    <a:pt x="1040" y="204"/>
                  </a:lnTo>
                  <a:lnTo>
                    <a:pt x="1042" y="202"/>
                  </a:lnTo>
                  <a:lnTo>
                    <a:pt x="1044" y="201"/>
                  </a:lnTo>
                  <a:lnTo>
                    <a:pt x="1047" y="201"/>
                  </a:lnTo>
                  <a:lnTo>
                    <a:pt x="1049" y="201"/>
                  </a:lnTo>
                  <a:lnTo>
                    <a:pt x="1051" y="202"/>
                  </a:lnTo>
                  <a:lnTo>
                    <a:pt x="1051" y="206"/>
                  </a:lnTo>
                  <a:lnTo>
                    <a:pt x="1051" y="208"/>
                  </a:lnTo>
                  <a:lnTo>
                    <a:pt x="1051" y="209"/>
                  </a:lnTo>
                  <a:lnTo>
                    <a:pt x="1052" y="209"/>
                  </a:lnTo>
                  <a:lnTo>
                    <a:pt x="1054" y="209"/>
                  </a:lnTo>
                  <a:lnTo>
                    <a:pt x="1056" y="211"/>
                  </a:lnTo>
                  <a:lnTo>
                    <a:pt x="1054" y="213"/>
                  </a:lnTo>
                  <a:lnTo>
                    <a:pt x="1056" y="214"/>
                  </a:lnTo>
                  <a:lnTo>
                    <a:pt x="1056" y="216"/>
                  </a:lnTo>
                  <a:lnTo>
                    <a:pt x="1057" y="218"/>
                  </a:lnTo>
                  <a:lnTo>
                    <a:pt x="1057" y="221"/>
                  </a:lnTo>
                  <a:lnTo>
                    <a:pt x="1059" y="221"/>
                  </a:lnTo>
                  <a:lnTo>
                    <a:pt x="1061" y="219"/>
                  </a:lnTo>
                  <a:lnTo>
                    <a:pt x="1063" y="221"/>
                  </a:lnTo>
                  <a:lnTo>
                    <a:pt x="1064" y="223"/>
                  </a:lnTo>
                  <a:lnTo>
                    <a:pt x="1068" y="221"/>
                  </a:lnTo>
                  <a:lnTo>
                    <a:pt x="1069" y="223"/>
                  </a:lnTo>
                  <a:lnTo>
                    <a:pt x="1071" y="223"/>
                  </a:lnTo>
                  <a:lnTo>
                    <a:pt x="1074" y="225"/>
                  </a:lnTo>
                  <a:lnTo>
                    <a:pt x="1076" y="225"/>
                  </a:lnTo>
                  <a:lnTo>
                    <a:pt x="1074" y="228"/>
                  </a:lnTo>
                  <a:lnTo>
                    <a:pt x="1074" y="230"/>
                  </a:lnTo>
                  <a:lnTo>
                    <a:pt x="1074" y="231"/>
                  </a:lnTo>
                  <a:lnTo>
                    <a:pt x="1076" y="233"/>
                  </a:lnTo>
                  <a:lnTo>
                    <a:pt x="1078" y="233"/>
                  </a:lnTo>
                  <a:lnTo>
                    <a:pt x="1078" y="235"/>
                  </a:lnTo>
                  <a:lnTo>
                    <a:pt x="1076" y="235"/>
                  </a:lnTo>
                  <a:lnTo>
                    <a:pt x="1074" y="235"/>
                  </a:lnTo>
                  <a:lnTo>
                    <a:pt x="1073" y="235"/>
                  </a:lnTo>
                  <a:lnTo>
                    <a:pt x="1071" y="236"/>
                  </a:lnTo>
                  <a:lnTo>
                    <a:pt x="1068" y="236"/>
                  </a:lnTo>
                  <a:lnTo>
                    <a:pt x="1068" y="238"/>
                  </a:lnTo>
                  <a:lnTo>
                    <a:pt x="1066" y="240"/>
                  </a:lnTo>
                  <a:lnTo>
                    <a:pt x="1068" y="243"/>
                  </a:lnTo>
                  <a:lnTo>
                    <a:pt x="1066" y="243"/>
                  </a:lnTo>
                  <a:lnTo>
                    <a:pt x="1066" y="245"/>
                  </a:lnTo>
                  <a:lnTo>
                    <a:pt x="1064" y="247"/>
                  </a:lnTo>
                  <a:lnTo>
                    <a:pt x="1063" y="250"/>
                  </a:lnTo>
                  <a:lnTo>
                    <a:pt x="1059" y="252"/>
                  </a:lnTo>
                  <a:lnTo>
                    <a:pt x="1059" y="253"/>
                  </a:lnTo>
                  <a:lnTo>
                    <a:pt x="1061" y="253"/>
                  </a:lnTo>
                  <a:lnTo>
                    <a:pt x="1059" y="255"/>
                  </a:lnTo>
                  <a:lnTo>
                    <a:pt x="1059" y="259"/>
                  </a:lnTo>
                  <a:lnTo>
                    <a:pt x="1056" y="260"/>
                  </a:lnTo>
                  <a:lnTo>
                    <a:pt x="1056" y="259"/>
                  </a:lnTo>
                  <a:lnTo>
                    <a:pt x="1052" y="257"/>
                  </a:lnTo>
                  <a:lnTo>
                    <a:pt x="1052" y="255"/>
                  </a:lnTo>
                  <a:lnTo>
                    <a:pt x="1051" y="255"/>
                  </a:lnTo>
                  <a:lnTo>
                    <a:pt x="1049" y="253"/>
                  </a:lnTo>
                  <a:lnTo>
                    <a:pt x="1049" y="252"/>
                  </a:lnTo>
                  <a:lnTo>
                    <a:pt x="1049" y="248"/>
                  </a:lnTo>
                  <a:lnTo>
                    <a:pt x="1051" y="247"/>
                  </a:lnTo>
                  <a:lnTo>
                    <a:pt x="1051" y="245"/>
                  </a:lnTo>
                  <a:lnTo>
                    <a:pt x="1049" y="245"/>
                  </a:lnTo>
                  <a:lnTo>
                    <a:pt x="1049" y="242"/>
                  </a:lnTo>
                  <a:lnTo>
                    <a:pt x="1047" y="242"/>
                  </a:lnTo>
                  <a:lnTo>
                    <a:pt x="1046" y="242"/>
                  </a:lnTo>
                  <a:lnTo>
                    <a:pt x="1044" y="242"/>
                  </a:lnTo>
                  <a:lnTo>
                    <a:pt x="1040" y="242"/>
                  </a:lnTo>
                  <a:lnTo>
                    <a:pt x="1039" y="242"/>
                  </a:lnTo>
                  <a:lnTo>
                    <a:pt x="1037" y="242"/>
                  </a:lnTo>
                  <a:lnTo>
                    <a:pt x="1035" y="243"/>
                  </a:lnTo>
                  <a:lnTo>
                    <a:pt x="1034" y="243"/>
                  </a:lnTo>
                  <a:lnTo>
                    <a:pt x="1032" y="247"/>
                  </a:lnTo>
                  <a:lnTo>
                    <a:pt x="1030" y="247"/>
                  </a:lnTo>
                  <a:lnTo>
                    <a:pt x="1032" y="248"/>
                  </a:lnTo>
                  <a:lnTo>
                    <a:pt x="1030" y="250"/>
                  </a:lnTo>
                  <a:lnTo>
                    <a:pt x="1032" y="250"/>
                  </a:lnTo>
                  <a:lnTo>
                    <a:pt x="1032" y="253"/>
                  </a:lnTo>
                  <a:lnTo>
                    <a:pt x="1030" y="253"/>
                  </a:lnTo>
                  <a:lnTo>
                    <a:pt x="1029" y="255"/>
                  </a:lnTo>
                  <a:lnTo>
                    <a:pt x="1027" y="257"/>
                  </a:lnTo>
                  <a:lnTo>
                    <a:pt x="1025" y="255"/>
                  </a:lnTo>
                  <a:lnTo>
                    <a:pt x="1022" y="257"/>
                  </a:lnTo>
                  <a:lnTo>
                    <a:pt x="1018" y="259"/>
                  </a:lnTo>
                  <a:lnTo>
                    <a:pt x="1015" y="260"/>
                  </a:lnTo>
                  <a:lnTo>
                    <a:pt x="1012" y="260"/>
                  </a:lnTo>
                  <a:lnTo>
                    <a:pt x="1010" y="262"/>
                  </a:lnTo>
                  <a:lnTo>
                    <a:pt x="1008" y="262"/>
                  </a:lnTo>
                  <a:lnTo>
                    <a:pt x="1006" y="262"/>
                  </a:lnTo>
                  <a:lnTo>
                    <a:pt x="1003" y="262"/>
                  </a:lnTo>
                  <a:lnTo>
                    <a:pt x="1001" y="262"/>
                  </a:lnTo>
                  <a:lnTo>
                    <a:pt x="1000" y="262"/>
                  </a:lnTo>
                  <a:lnTo>
                    <a:pt x="1000" y="260"/>
                  </a:lnTo>
                  <a:lnTo>
                    <a:pt x="998" y="262"/>
                  </a:lnTo>
                  <a:lnTo>
                    <a:pt x="996" y="264"/>
                  </a:lnTo>
                  <a:lnTo>
                    <a:pt x="995" y="264"/>
                  </a:lnTo>
                  <a:lnTo>
                    <a:pt x="995" y="262"/>
                  </a:lnTo>
                  <a:lnTo>
                    <a:pt x="993" y="262"/>
                  </a:lnTo>
                  <a:lnTo>
                    <a:pt x="989" y="264"/>
                  </a:lnTo>
                  <a:lnTo>
                    <a:pt x="988" y="264"/>
                  </a:lnTo>
                  <a:lnTo>
                    <a:pt x="984" y="264"/>
                  </a:lnTo>
                  <a:lnTo>
                    <a:pt x="983" y="265"/>
                  </a:lnTo>
                  <a:lnTo>
                    <a:pt x="981" y="267"/>
                  </a:lnTo>
                  <a:lnTo>
                    <a:pt x="981" y="269"/>
                  </a:lnTo>
                  <a:lnTo>
                    <a:pt x="979" y="270"/>
                  </a:lnTo>
                  <a:lnTo>
                    <a:pt x="979" y="272"/>
                  </a:lnTo>
                  <a:lnTo>
                    <a:pt x="976" y="272"/>
                  </a:lnTo>
                  <a:lnTo>
                    <a:pt x="972" y="272"/>
                  </a:lnTo>
                  <a:lnTo>
                    <a:pt x="971" y="272"/>
                  </a:lnTo>
                  <a:lnTo>
                    <a:pt x="967" y="272"/>
                  </a:lnTo>
                  <a:lnTo>
                    <a:pt x="967" y="274"/>
                  </a:lnTo>
                  <a:lnTo>
                    <a:pt x="967" y="276"/>
                  </a:lnTo>
                  <a:lnTo>
                    <a:pt x="967" y="277"/>
                  </a:lnTo>
                  <a:lnTo>
                    <a:pt x="966" y="279"/>
                  </a:lnTo>
                  <a:lnTo>
                    <a:pt x="966" y="281"/>
                  </a:lnTo>
                  <a:lnTo>
                    <a:pt x="964" y="282"/>
                  </a:lnTo>
                  <a:lnTo>
                    <a:pt x="966" y="284"/>
                  </a:lnTo>
                  <a:lnTo>
                    <a:pt x="966" y="286"/>
                  </a:lnTo>
                  <a:lnTo>
                    <a:pt x="964" y="287"/>
                  </a:lnTo>
                  <a:lnTo>
                    <a:pt x="966" y="287"/>
                  </a:lnTo>
                  <a:lnTo>
                    <a:pt x="964" y="289"/>
                  </a:lnTo>
                  <a:lnTo>
                    <a:pt x="964" y="291"/>
                  </a:lnTo>
                  <a:lnTo>
                    <a:pt x="964" y="293"/>
                  </a:lnTo>
                  <a:lnTo>
                    <a:pt x="962" y="294"/>
                  </a:lnTo>
                  <a:lnTo>
                    <a:pt x="961" y="294"/>
                  </a:lnTo>
                  <a:lnTo>
                    <a:pt x="959" y="296"/>
                  </a:lnTo>
                  <a:lnTo>
                    <a:pt x="957" y="299"/>
                  </a:lnTo>
                  <a:lnTo>
                    <a:pt x="954" y="299"/>
                  </a:lnTo>
                  <a:lnTo>
                    <a:pt x="954" y="301"/>
                  </a:lnTo>
                  <a:lnTo>
                    <a:pt x="954" y="299"/>
                  </a:lnTo>
                  <a:lnTo>
                    <a:pt x="952" y="298"/>
                  </a:lnTo>
                  <a:lnTo>
                    <a:pt x="950" y="296"/>
                  </a:lnTo>
                  <a:lnTo>
                    <a:pt x="950" y="294"/>
                  </a:lnTo>
                  <a:lnTo>
                    <a:pt x="949" y="293"/>
                  </a:lnTo>
                  <a:lnTo>
                    <a:pt x="947" y="291"/>
                  </a:lnTo>
                  <a:lnTo>
                    <a:pt x="945" y="293"/>
                  </a:lnTo>
                  <a:lnTo>
                    <a:pt x="945" y="291"/>
                  </a:lnTo>
                  <a:lnTo>
                    <a:pt x="944" y="293"/>
                  </a:lnTo>
                  <a:lnTo>
                    <a:pt x="942" y="293"/>
                  </a:lnTo>
                  <a:lnTo>
                    <a:pt x="942" y="291"/>
                  </a:lnTo>
                  <a:lnTo>
                    <a:pt x="940" y="291"/>
                  </a:lnTo>
                  <a:lnTo>
                    <a:pt x="940" y="293"/>
                  </a:lnTo>
                  <a:lnTo>
                    <a:pt x="938" y="296"/>
                  </a:lnTo>
                  <a:lnTo>
                    <a:pt x="937" y="299"/>
                  </a:lnTo>
                  <a:lnTo>
                    <a:pt x="937" y="301"/>
                  </a:lnTo>
                  <a:lnTo>
                    <a:pt x="935" y="303"/>
                  </a:lnTo>
                  <a:lnTo>
                    <a:pt x="933" y="304"/>
                  </a:lnTo>
                  <a:lnTo>
                    <a:pt x="932" y="306"/>
                  </a:lnTo>
                  <a:lnTo>
                    <a:pt x="930" y="308"/>
                  </a:lnTo>
                  <a:lnTo>
                    <a:pt x="930" y="310"/>
                  </a:lnTo>
                  <a:lnTo>
                    <a:pt x="928" y="310"/>
                  </a:lnTo>
                  <a:lnTo>
                    <a:pt x="925" y="311"/>
                  </a:lnTo>
                  <a:lnTo>
                    <a:pt x="923" y="313"/>
                  </a:lnTo>
                  <a:lnTo>
                    <a:pt x="921" y="315"/>
                  </a:lnTo>
                  <a:lnTo>
                    <a:pt x="920" y="316"/>
                  </a:lnTo>
                  <a:lnTo>
                    <a:pt x="916" y="316"/>
                  </a:lnTo>
                  <a:lnTo>
                    <a:pt x="916" y="318"/>
                  </a:lnTo>
                  <a:lnTo>
                    <a:pt x="915" y="318"/>
                  </a:lnTo>
                  <a:lnTo>
                    <a:pt x="915" y="320"/>
                  </a:lnTo>
                  <a:lnTo>
                    <a:pt x="913" y="321"/>
                  </a:lnTo>
                  <a:lnTo>
                    <a:pt x="911" y="323"/>
                  </a:lnTo>
                  <a:lnTo>
                    <a:pt x="910" y="323"/>
                  </a:lnTo>
                  <a:lnTo>
                    <a:pt x="906" y="325"/>
                  </a:lnTo>
                  <a:lnTo>
                    <a:pt x="904" y="327"/>
                  </a:lnTo>
                  <a:lnTo>
                    <a:pt x="903" y="327"/>
                  </a:lnTo>
                  <a:lnTo>
                    <a:pt x="901" y="328"/>
                  </a:lnTo>
                  <a:lnTo>
                    <a:pt x="898" y="328"/>
                  </a:lnTo>
                  <a:lnTo>
                    <a:pt x="896" y="332"/>
                  </a:lnTo>
                  <a:lnTo>
                    <a:pt x="894" y="330"/>
                  </a:lnTo>
                  <a:lnTo>
                    <a:pt x="893" y="330"/>
                  </a:lnTo>
                  <a:lnTo>
                    <a:pt x="891" y="330"/>
                  </a:lnTo>
                  <a:lnTo>
                    <a:pt x="891" y="332"/>
                  </a:lnTo>
                  <a:lnTo>
                    <a:pt x="889" y="332"/>
                  </a:lnTo>
                  <a:lnTo>
                    <a:pt x="887" y="332"/>
                  </a:lnTo>
                  <a:lnTo>
                    <a:pt x="884" y="333"/>
                  </a:lnTo>
                  <a:lnTo>
                    <a:pt x="882" y="333"/>
                  </a:lnTo>
                  <a:lnTo>
                    <a:pt x="881" y="333"/>
                  </a:lnTo>
                  <a:lnTo>
                    <a:pt x="879" y="333"/>
                  </a:lnTo>
                  <a:lnTo>
                    <a:pt x="876" y="335"/>
                  </a:lnTo>
                  <a:lnTo>
                    <a:pt x="876" y="337"/>
                  </a:lnTo>
                  <a:lnTo>
                    <a:pt x="874" y="337"/>
                  </a:lnTo>
                  <a:lnTo>
                    <a:pt x="870" y="339"/>
                  </a:lnTo>
                  <a:lnTo>
                    <a:pt x="870" y="340"/>
                  </a:lnTo>
                  <a:lnTo>
                    <a:pt x="867" y="342"/>
                  </a:lnTo>
                  <a:lnTo>
                    <a:pt x="867" y="344"/>
                  </a:lnTo>
                  <a:lnTo>
                    <a:pt x="865" y="345"/>
                  </a:lnTo>
                  <a:lnTo>
                    <a:pt x="864" y="347"/>
                  </a:lnTo>
                  <a:lnTo>
                    <a:pt x="862" y="350"/>
                  </a:lnTo>
                  <a:lnTo>
                    <a:pt x="860" y="350"/>
                  </a:lnTo>
                  <a:lnTo>
                    <a:pt x="859" y="352"/>
                  </a:lnTo>
                  <a:lnTo>
                    <a:pt x="857" y="354"/>
                  </a:lnTo>
                  <a:lnTo>
                    <a:pt x="855" y="354"/>
                  </a:lnTo>
                  <a:lnTo>
                    <a:pt x="855" y="357"/>
                  </a:lnTo>
                  <a:lnTo>
                    <a:pt x="853" y="359"/>
                  </a:lnTo>
                  <a:lnTo>
                    <a:pt x="852" y="361"/>
                  </a:lnTo>
                  <a:lnTo>
                    <a:pt x="852" y="362"/>
                  </a:lnTo>
                  <a:lnTo>
                    <a:pt x="850" y="364"/>
                  </a:lnTo>
                  <a:lnTo>
                    <a:pt x="848" y="366"/>
                  </a:lnTo>
                  <a:lnTo>
                    <a:pt x="847" y="367"/>
                  </a:lnTo>
                  <a:lnTo>
                    <a:pt x="845" y="369"/>
                  </a:lnTo>
                  <a:lnTo>
                    <a:pt x="843" y="371"/>
                  </a:lnTo>
                  <a:lnTo>
                    <a:pt x="842" y="373"/>
                  </a:lnTo>
                  <a:lnTo>
                    <a:pt x="842" y="376"/>
                  </a:lnTo>
                  <a:lnTo>
                    <a:pt x="840" y="376"/>
                  </a:lnTo>
                  <a:lnTo>
                    <a:pt x="838" y="376"/>
                  </a:lnTo>
                  <a:lnTo>
                    <a:pt x="838" y="378"/>
                  </a:lnTo>
                  <a:lnTo>
                    <a:pt x="836" y="379"/>
                  </a:lnTo>
                  <a:lnTo>
                    <a:pt x="833" y="381"/>
                  </a:lnTo>
                  <a:lnTo>
                    <a:pt x="833" y="383"/>
                  </a:lnTo>
                  <a:lnTo>
                    <a:pt x="831" y="384"/>
                  </a:lnTo>
                  <a:lnTo>
                    <a:pt x="826" y="388"/>
                  </a:lnTo>
                  <a:lnTo>
                    <a:pt x="825" y="390"/>
                  </a:lnTo>
                  <a:lnTo>
                    <a:pt x="823" y="391"/>
                  </a:lnTo>
                  <a:lnTo>
                    <a:pt x="821" y="393"/>
                  </a:lnTo>
                  <a:lnTo>
                    <a:pt x="818" y="395"/>
                  </a:lnTo>
                  <a:lnTo>
                    <a:pt x="816" y="396"/>
                  </a:lnTo>
                  <a:lnTo>
                    <a:pt x="813" y="398"/>
                  </a:lnTo>
                  <a:lnTo>
                    <a:pt x="809" y="400"/>
                  </a:lnTo>
                  <a:lnTo>
                    <a:pt x="808" y="401"/>
                  </a:lnTo>
                  <a:lnTo>
                    <a:pt x="806" y="401"/>
                  </a:lnTo>
                  <a:lnTo>
                    <a:pt x="804" y="403"/>
                  </a:lnTo>
                  <a:lnTo>
                    <a:pt x="802" y="405"/>
                  </a:lnTo>
                  <a:lnTo>
                    <a:pt x="801" y="405"/>
                  </a:lnTo>
                  <a:lnTo>
                    <a:pt x="799" y="405"/>
                  </a:lnTo>
                  <a:lnTo>
                    <a:pt x="797" y="405"/>
                  </a:lnTo>
                  <a:lnTo>
                    <a:pt x="796" y="405"/>
                  </a:lnTo>
                  <a:lnTo>
                    <a:pt x="794" y="405"/>
                  </a:lnTo>
                  <a:lnTo>
                    <a:pt x="791" y="407"/>
                  </a:lnTo>
                  <a:lnTo>
                    <a:pt x="787" y="408"/>
                  </a:lnTo>
                  <a:lnTo>
                    <a:pt x="785" y="408"/>
                  </a:lnTo>
                  <a:lnTo>
                    <a:pt x="784" y="410"/>
                  </a:lnTo>
                  <a:lnTo>
                    <a:pt x="780" y="412"/>
                  </a:lnTo>
                  <a:lnTo>
                    <a:pt x="779" y="412"/>
                  </a:lnTo>
                  <a:lnTo>
                    <a:pt x="777" y="412"/>
                  </a:lnTo>
                  <a:lnTo>
                    <a:pt x="775" y="413"/>
                  </a:lnTo>
                  <a:lnTo>
                    <a:pt x="772" y="412"/>
                  </a:lnTo>
                  <a:lnTo>
                    <a:pt x="770" y="412"/>
                  </a:lnTo>
                  <a:lnTo>
                    <a:pt x="768" y="410"/>
                  </a:lnTo>
                  <a:lnTo>
                    <a:pt x="767" y="410"/>
                  </a:lnTo>
                  <a:lnTo>
                    <a:pt x="765" y="410"/>
                  </a:lnTo>
                  <a:lnTo>
                    <a:pt x="765" y="408"/>
                  </a:lnTo>
                  <a:lnTo>
                    <a:pt x="762" y="408"/>
                  </a:lnTo>
                  <a:lnTo>
                    <a:pt x="760" y="408"/>
                  </a:lnTo>
                  <a:lnTo>
                    <a:pt x="758" y="408"/>
                  </a:lnTo>
                  <a:lnTo>
                    <a:pt x="757" y="408"/>
                  </a:lnTo>
                  <a:lnTo>
                    <a:pt x="755" y="408"/>
                  </a:lnTo>
                  <a:lnTo>
                    <a:pt x="751" y="408"/>
                  </a:lnTo>
                  <a:lnTo>
                    <a:pt x="748" y="408"/>
                  </a:lnTo>
                  <a:lnTo>
                    <a:pt x="746" y="410"/>
                  </a:lnTo>
                  <a:lnTo>
                    <a:pt x="745" y="410"/>
                  </a:lnTo>
                  <a:lnTo>
                    <a:pt x="743" y="410"/>
                  </a:lnTo>
                  <a:lnTo>
                    <a:pt x="741" y="412"/>
                  </a:lnTo>
                  <a:lnTo>
                    <a:pt x="740" y="412"/>
                  </a:lnTo>
                  <a:lnTo>
                    <a:pt x="740" y="413"/>
                  </a:lnTo>
                  <a:lnTo>
                    <a:pt x="738" y="413"/>
                  </a:lnTo>
                  <a:lnTo>
                    <a:pt x="736" y="415"/>
                  </a:lnTo>
                  <a:lnTo>
                    <a:pt x="736" y="417"/>
                  </a:lnTo>
                  <a:lnTo>
                    <a:pt x="734" y="417"/>
                  </a:lnTo>
                  <a:lnTo>
                    <a:pt x="734" y="418"/>
                  </a:lnTo>
                  <a:lnTo>
                    <a:pt x="733" y="418"/>
                  </a:lnTo>
                  <a:lnTo>
                    <a:pt x="734" y="420"/>
                  </a:lnTo>
                  <a:lnTo>
                    <a:pt x="733" y="422"/>
                  </a:lnTo>
                  <a:lnTo>
                    <a:pt x="729" y="424"/>
                  </a:lnTo>
                  <a:lnTo>
                    <a:pt x="728" y="425"/>
                  </a:lnTo>
                  <a:lnTo>
                    <a:pt x="728" y="427"/>
                  </a:lnTo>
                  <a:lnTo>
                    <a:pt x="724" y="429"/>
                  </a:lnTo>
                  <a:lnTo>
                    <a:pt x="724" y="430"/>
                  </a:lnTo>
                  <a:lnTo>
                    <a:pt x="723" y="432"/>
                  </a:lnTo>
                  <a:lnTo>
                    <a:pt x="721" y="432"/>
                  </a:lnTo>
                  <a:lnTo>
                    <a:pt x="719" y="432"/>
                  </a:lnTo>
                  <a:lnTo>
                    <a:pt x="717" y="434"/>
                  </a:lnTo>
                  <a:lnTo>
                    <a:pt x="716" y="437"/>
                  </a:lnTo>
                  <a:lnTo>
                    <a:pt x="714" y="437"/>
                  </a:lnTo>
                  <a:lnTo>
                    <a:pt x="712" y="439"/>
                  </a:lnTo>
                  <a:lnTo>
                    <a:pt x="711" y="441"/>
                  </a:lnTo>
                  <a:lnTo>
                    <a:pt x="709" y="442"/>
                  </a:lnTo>
                  <a:lnTo>
                    <a:pt x="709" y="446"/>
                  </a:lnTo>
                  <a:lnTo>
                    <a:pt x="707" y="446"/>
                  </a:lnTo>
                  <a:lnTo>
                    <a:pt x="706" y="447"/>
                  </a:lnTo>
                  <a:lnTo>
                    <a:pt x="704" y="446"/>
                  </a:lnTo>
                  <a:lnTo>
                    <a:pt x="704" y="447"/>
                  </a:lnTo>
                  <a:lnTo>
                    <a:pt x="702" y="447"/>
                  </a:lnTo>
                  <a:lnTo>
                    <a:pt x="699" y="447"/>
                  </a:lnTo>
                  <a:lnTo>
                    <a:pt x="697" y="447"/>
                  </a:lnTo>
                  <a:lnTo>
                    <a:pt x="695" y="449"/>
                  </a:lnTo>
                  <a:lnTo>
                    <a:pt x="694" y="449"/>
                  </a:lnTo>
                  <a:lnTo>
                    <a:pt x="692" y="451"/>
                  </a:lnTo>
                  <a:lnTo>
                    <a:pt x="690" y="451"/>
                  </a:lnTo>
                  <a:lnTo>
                    <a:pt x="689" y="451"/>
                  </a:lnTo>
                  <a:lnTo>
                    <a:pt x="689" y="454"/>
                  </a:lnTo>
                  <a:lnTo>
                    <a:pt x="687" y="452"/>
                  </a:lnTo>
                  <a:lnTo>
                    <a:pt x="683" y="452"/>
                  </a:lnTo>
                  <a:lnTo>
                    <a:pt x="683" y="451"/>
                  </a:lnTo>
                  <a:lnTo>
                    <a:pt x="683" y="449"/>
                  </a:lnTo>
                  <a:lnTo>
                    <a:pt x="683" y="447"/>
                  </a:lnTo>
                  <a:lnTo>
                    <a:pt x="682" y="449"/>
                  </a:lnTo>
                  <a:lnTo>
                    <a:pt x="680" y="447"/>
                  </a:lnTo>
                  <a:lnTo>
                    <a:pt x="677" y="447"/>
                  </a:lnTo>
                  <a:lnTo>
                    <a:pt x="675" y="447"/>
                  </a:lnTo>
                  <a:lnTo>
                    <a:pt x="673" y="449"/>
                  </a:lnTo>
                  <a:lnTo>
                    <a:pt x="672" y="449"/>
                  </a:lnTo>
                  <a:lnTo>
                    <a:pt x="668" y="449"/>
                  </a:lnTo>
                  <a:lnTo>
                    <a:pt x="666" y="449"/>
                  </a:lnTo>
                  <a:lnTo>
                    <a:pt x="665" y="449"/>
                  </a:lnTo>
                  <a:lnTo>
                    <a:pt x="661" y="449"/>
                  </a:lnTo>
                  <a:lnTo>
                    <a:pt x="661" y="452"/>
                  </a:lnTo>
                  <a:lnTo>
                    <a:pt x="661" y="454"/>
                  </a:lnTo>
                  <a:lnTo>
                    <a:pt x="660" y="456"/>
                  </a:lnTo>
                  <a:lnTo>
                    <a:pt x="661" y="459"/>
                  </a:lnTo>
                  <a:lnTo>
                    <a:pt x="661" y="461"/>
                  </a:lnTo>
                  <a:lnTo>
                    <a:pt x="660" y="463"/>
                  </a:lnTo>
                  <a:lnTo>
                    <a:pt x="661" y="466"/>
                  </a:lnTo>
                  <a:lnTo>
                    <a:pt x="663" y="468"/>
                  </a:lnTo>
                  <a:lnTo>
                    <a:pt x="663" y="469"/>
                  </a:lnTo>
                  <a:lnTo>
                    <a:pt x="663" y="471"/>
                  </a:lnTo>
                  <a:lnTo>
                    <a:pt x="663" y="475"/>
                  </a:lnTo>
                  <a:lnTo>
                    <a:pt x="663" y="476"/>
                  </a:lnTo>
                  <a:lnTo>
                    <a:pt x="665" y="476"/>
                  </a:lnTo>
                  <a:lnTo>
                    <a:pt x="666" y="480"/>
                  </a:lnTo>
                  <a:lnTo>
                    <a:pt x="668" y="481"/>
                  </a:lnTo>
                  <a:lnTo>
                    <a:pt x="670" y="480"/>
                  </a:lnTo>
                  <a:lnTo>
                    <a:pt x="670" y="483"/>
                  </a:lnTo>
                  <a:lnTo>
                    <a:pt x="672" y="485"/>
                  </a:lnTo>
                  <a:lnTo>
                    <a:pt x="672" y="483"/>
                  </a:lnTo>
                  <a:lnTo>
                    <a:pt x="673" y="483"/>
                  </a:lnTo>
                  <a:lnTo>
                    <a:pt x="675" y="486"/>
                  </a:lnTo>
                  <a:lnTo>
                    <a:pt x="677" y="485"/>
                  </a:lnTo>
                  <a:lnTo>
                    <a:pt x="677" y="486"/>
                  </a:lnTo>
                  <a:lnTo>
                    <a:pt x="678" y="488"/>
                  </a:lnTo>
                  <a:lnTo>
                    <a:pt x="677" y="490"/>
                  </a:lnTo>
                  <a:lnTo>
                    <a:pt x="675" y="492"/>
                  </a:lnTo>
                  <a:lnTo>
                    <a:pt x="672" y="492"/>
                  </a:lnTo>
                  <a:lnTo>
                    <a:pt x="670" y="493"/>
                  </a:lnTo>
                  <a:lnTo>
                    <a:pt x="670" y="492"/>
                  </a:lnTo>
                  <a:lnTo>
                    <a:pt x="668" y="493"/>
                  </a:lnTo>
                  <a:lnTo>
                    <a:pt x="666" y="493"/>
                  </a:lnTo>
                  <a:lnTo>
                    <a:pt x="666" y="497"/>
                  </a:lnTo>
                  <a:lnTo>
                    <a:pt x="665" y="497"/>
                  </a:lnTo>
                  <a:lnTo>
                    <a:pt x="661" y="497"/>
                  </a:lnTo>
                  <a:lnTo>
                    <a:pt x="663" y="498"/>
                  </a:lnTo>
                  <a:lnTo>
                    <a:pt x="661" y="500"/>
                  </a:lnTo>
                  <a:lnTo>
                    <a:pt x="663" y="502"/>
                  </a:lnTo>
                  <a:lnTo>
                    <a:pt x="663" y="504"/>
                  </a:lnTo>
                  <a:lnTo>
                    <a:pt x="665" y="507"/>
                  </a:lnTo>
                  <a:lnTo>
                    <a:pt x="666" y="509"/>
                  </a:lnTo>
                  <a:lnTo>
                    <a:pt x="666" y="512"/>
                  </a:lnTo>
                  <a:lnTo>
                    <a:pt x="665" y="514"/>
                  </a:lnTo>
                  <a:lnTo>
                    <a:pt x="663" y="514"/>
                  </a:lnTo>
                  <a:lnTo>
                    <a:pt x="661" y="514"/>
                  </a:lnTo>
                  <a:lnTo>
                    <a:pt x="663" y="515"/>
                  </a:lnTo>
                  <a:lnTo>
                    <a:pt x="663" y="517"/>
                  </a:lnTo>
                  <a:lnTo>
                    <a:pt x="661" y="517"/>
                  </a:lnTo>
                  <a:lnTo>
                    <a:pt x="658" y="519"/>
                  </a:lnTo>
                  <a:lnTo>
                    <a:pt x="658" y="521"/>
                  </a:lnTo>
                  <a:lnTo>
                    <a:pt x="658" y="522"/>
                  </a:lnTo>
                  <a:lnTo>
                    <a:pt x="658" y="524"/>
                  </a:lnTo>
                  <a:lnTo>
                    <a:pt x="660" y="526"/>
                  </a:lnTo>
                  <a:lnTo>
                    <a:pt x="660" y="527"/>
                  </a:lnTo>
                  <a:lnTo>
                    <a:pt x="660" y="529"/>
                  </a:lnTo>
                  <a:lnTo>
                    <a:pt x="658" y="527"/>
                  </a:lnTo>
                  <a:lnTo>
                    <a:pt x="656" y="527"/>
                  </a:lnTo>
                  <a:lnTo>
                    <a:pt x="653" y="527"/>
                  </a:lnTo>
                  <a:lnTo>
                    <a:pt x="651" y="527"/>
                  </a:lnTo>
                  <a:lnTo>
                    <a:pt x="649" y="527"/>
                  </a:lnTo>
                  <a:lnTo>
                    <a:pt x="649" y="526"/>
                  </a:lnTo>
                  <a:lnTo>
                    <a:pt x="648" y="524"/>
                  </a:lnTo>
                  <a:lnTo>
                    <a:pt x="646" y="524"/>
                  </a:lnTo>
                  <a:lnTo>
                    <a:pt x="644" y="526"/>
                  </a:lnTo>
                  <a:lnTo>
                    <a:pt x="643" y="526"/>
                  </a:lnTo>
                  <a:lnTo>
                    <a:pt x="643" y="524"/>
                  </a:lnTo>
                  <a:lnTo>
                    <a:pt x="644" y="522"/>
                  </a:lnTo>
                  <a:lnTo>
                    <a:pt x="644" y="519"/>
                  </a:lnTo>
                  <a:lnTo>
                    <a:pt x="643" y="517"/>
                  </a:lnTo>
                  <a:lnTo>
                    <a:pt x="641" y="515"/>
                  </a:lnTo>
                  <a:lnTo>
                    <a:pt x="639" y="514"/>
                  </a:lnTo>
                  <a:lnTo>
                    <a:pt x="638" y="514"/>
                  </a:lnTo>
                  <a:lnTo>
                    <a:pt x="636" y="512"/>
                  </a:lnTo>
                  <a:lnTo>
                    <a:pt x="634" y="510"/>
                  </a:lnTo>
                  <a:lnTo>
                    <a:pt x="632" y="509"/>
                  </a:lnTo>
                  <a:lnTo>
                    <a:pt x="631" y="507"/>
                  </a:lnTo>
                  <a:lnTo>
                    <a:pt x="627" y="505"/>
                  </a:lnTo>
                  <a:lnTo>
                    <a:pt x="626" y="504"/>
                  </a:lnTo>
                  <a:lnTo>
                    <a:pt x="626" y="502"/>
                  </a:lnTo>
                  <a:lnTo>
                    <a:pt x="627" y="498"/>
                  </a:lnTo>
                  <a:lnTo>
                    <a:pt x="629" y="498"/>
                  </a:lnTo>
                  <a:lnTo>
                    <a:pt x="629" y="495"/>
                  </a:lnTo>
                  <a:lnTo>
                    <a:pt x="629" y="493"/>
                  </a:lnTo>
                  <a:lnTo>
                    <a:pt x="629" y="492"/>
                  </a:lnTo>
                  <a:lnTo>
                    <a:pt x="631" y="490"/>
                  </a:lnTo>
                  <a:lnTo>
                    <a:pt x="632" y="488"/>
                  </a:lnTo>
                  <a:lnTo>
                    <a:pt x="632" y="486"/>
                  </a:lnTo>
                  <a:lnTo>
                    <a:pt x="634" y="485"/>
                  </a:lnTo>
                  <a:lnTo>
                    <a:pt x="634" y="483"/>
                  </a:lnTo>
                  <a:lnTo>
                    <a:pt x="636" y="481"/>
                  </a:lnTo>
                  <a:lnTo>
                    <a:pt x="638" y="480"/>
                  </a:lnTo>
                  <a:lnTo>
                    <a:pt x="639" y="478"/>
                  </a:lnTo>
                  <a:lnTo>
                    <a:pt x="639" y="476"/>
                  </a:lnTo>
                  <a:lnTo>
                    <a:pt x="641" y="476"/>
                  </a:lnTo>
                  <a:lnTo>
                    <a:pt x="641" y="473"/>
                  </a:lnTo>
                  <a:lnTo>
                    <a:pt x="641" y="471"/>
                  </a:lnTo>
                  <a:lnTo>
                    <a:pt x="641" y="469"/>
                  </a:lnTo>
                  <a:lnTo>
                    <a:pt x="639" y="468"/>
                  </a:lnTo>
                  <a:lnTo>
                    <a:pt x="639" y="466"/>
                  </a:lnTo>
                  <a:lnTo>
                    <a:pt x="638" y="466"/>
                  </a:lnTo>
                  <a:lnTo>
                    <a:pt x="638" y="464"/>
                  </a:lnTo>
                  <a:lnTo>
                    <a:pt x="638" y="463"/>
                  </a:lnTo>
                  <a:lnTo>
                    <a:pt x="634" y="461"/>
                  </a:lnTo>
                  <a:lnTo>
                    <a:pt x="632" y="459"/>
                  </a:lnTo>
                  <a:lnTo>
                    <a:pt x="629" y="458"/>
                  </a:lnTo>
                  <a:lnTo>
                    <a:pt x="627" y="458"/>
                  </a:lnTo>
                  <a:lnTo>
                    <a:pt x="626" y="458"/>
                  </a:lnTo>
                  <a:lnTo>
                    <a:pt x="624" y="456"/>
                  </a:lnTo>
                  <a:lnTo>
                    <a:pt x="622" y="456"/>
                  </a:lnTo>
                  <a:lnTo>
                    <a:pt x="622" y="458"/>
                  </a:lnTo>
                  <a:lnTo>
                    <a:pt x="621" y="461"/>
                  </a:lnTo>
                  <a:lnTo>
                    <a:pt x="619" y="463"/>
                  </a:lnTo>
                  <a:lnTo>
                    <a:pt x="619" y="464"/>
                  </a:lnTo>
                  <a:lnTo>
                    <a:pt x="617" y="468"/>
                  </a:lnTo>
                  <a:lnTo>
                    <a:pt x="617" y="469"/>
                  </a:lnTo>
                  <a:lnTo>
                    <a:pt x="615" y="471"/>
                  </a:lnTo>
                  <a:lnTo>
                    <a:pt x="612" y="473"/>
                  </a:lnTo>
                  <a:lnTo>
                    <a:pt x="610" y="475"/>
                  </a:lnTo>
                  <a:lnTo>
                    <a:pt x="609" y="475"/>
                  </a:lnTo>
                  <a:lnTo>
                    <a:pt x="607" y="476"/>
                  </a:lnTo>
                  <a:lnTo>
                    <a:pt x="605" y="478"/>
                  </a:lnTo>
                  <a:lnTo>
                    <a:pt x="607" y="480"/>
                  </a:lnTo>
                  <a:lnTo>
                    <a:pt x="609" y="481"/>
                  </a:lnTo>
                  <a:lnTo>
                    <a:pt x="610" y="478"/>
                  </a:lnTo>
                  <a:lnTo>
                    <a:pt x="612" y="478"/>
                  </a:lnTo>
                  <a:lnTo>
                    <a:pt x="610" y="480"/>
                  </a:lnTo>
                  <a:lnTo>
                    <a:pt x="610" y="481"/>
                  </a:lnTo>
                  <a:lnTo>
                    <a:pt x="610" y="483"/>
                  </a:lnTo>
                  <a:lnTo>
                    <a:pt x="610" y="485"/>
                  </a:lnTo>
                  <a:lnTo>
                    <a:pt x="610" y="486"/>
                  </a:lnTo>
                  <a:lnTo>
                    <a:pt x="609" y="488"/>
                  </a:lnTo>
                  <a:lnTo>
                    <a:pt x="609" y="490"/>
                  </a:lnTo>
                  <a:lnTo>
                    <a:pt x="607" y="490"/>
                  </a:lnTo>
                  <a:lnTo>
                    <a:pt x="605" y="490"/>
                  </a:lnTo>
                  <a:lnTo>
                    <a:pt x="604" y="490"/>
                  </a:lnTo>
                  <a:lnTo>
                    <a:pt x="602" y="492"/>
                  </a:lnTo>
                  <a:lnTo>
                    <a:pt x="600" y="492"/>
                  </a:lnTo>
                  <a:lnTo>
                    <a:pt x="598" y="492"/>
                  </a:lnTo>
                  <a:lnTo>
                    <a:pt x="598" y="495"/>
                  </a:lnTo>
                  <a:lnTo>
                    <a:pt x="597" y="497"/>
                  </a:lnTo>
                  <a:lnTo>
                    <a:pt x="595" y="495"/>
                  </a:lnTo>
                  <a:lnTo>
                    <a:pt x="593" y="495"/>
                  </a:lnTo>
                  <a:lnTo>
                    <a:pt x="590" y="495"/>
                  </a:lnTo>
                  <a:lnTo>
                    <a:pt x="588" y="495"/>
                  </a:lnTo>
                  <a:lnTo>
                    <a:pt x="585" y="493"/>
                  </a:lnTo>
                  <a:lnTo>
                    <a:pt x="581" y="493"/>
                  </a:lnTo>
                  <a:lnTo>
                    <a:pt x="580" y="493"/>
                  </a:lnTo>
                  <a:lnTo>
                    <a:pt x="578" y="492"/>
                  </a:lnTo>
                  <a:lnTo>
                    <a:pt x="575" y="492"/>
                  </a:lnTo>
                  <a:lnTo>
                    <a:pt x="573" y="492"/>
                  </a:lnTo>
                  <a:lnTo>
                    <a:pt x="571" y="492"/>
                  </a:lnTo>
                  <a:lnTo>
                    <a:pt x="570" y="492"/>
                  </a:lnTo>
                  <a:lnTo>
                    <a:pt x="568" y="493"/>
                  </a:lnTo>
                  <a:lnTo>
                    <a:pt x="566" y="490"/>
                  </a:lnTo>
                  <a:lnTo>
                    <a:pt x="564" y="490"/>
                  </a:lnTo>
                  <a:lnTo>
                    <a:pt x="561" y="490"/>
                  </a:lnTo>
                  <a:lnTo>
                    <a:pt x="559" y="490"/>
                  </a:lnTo>
                  <a:lnTo>
                    <a:pt x="558" y="490"/>
                  </a:lnTo>
                  <a:lnTo>
                    <a:pt x="554" y="492"/>
                  </a:lnTo>
                  <a:lnTo>
                    <a:pt x="553" y="492"/>
                  </a:lnTo>
                  <a:lnTo>
                    <a:pt x="551" y="493"/>
                  </a:lnTo>
                  <a:lnTo>
                    <a:pt x="553" y="493"/>
                  </a:lnTo>
                  <a:lnTo>
                    <a:pt x="551" y="493"/>
                  </a:lnTo>
                  <a:lnTo>
                    <a:pt x="549" y="495"/>
                  </a:lnTo>
                  <a:lnTo>
                    <a:pt x="549" y="497"/>
                  </a:lnTo>
                  <a:lnTo>
                    <a:pt x="547" y="497"/>
                  </a:lnTo>
                  <a:lnTo>
                    <a:pt x="547" y="498"/>
                  </a:lnTo>
                  <a:lnTo>
                    <a:pt x="546" y="500"/>
                  </a:lnTo>
                  <a:lnTo>
                    <a:pt x="544" y="502"/>
                  </a:lnTo>
                  <a:lnTo>
                    <a:pt x="544" y="504"/>
                  </a:lnTo>
                  <a:lnTo>
                    <a:pt x="544" y="507"/>
                  </a:lnTo>
                  <a:lnTo>
                    <a:pt x="542" y="507"/>
                  </a:lnTo>
                  <a:lnTo>
                    <a:pt x="541" y="509"/>
                  </a:lnTo>
                  <a:lnTo>
                    <a:pt x="539" y="510"/>
                  </a:lnTo>
                  <a:lnTo>
                    <a:pt x="539" y="512"/>
                  </a:lnTo>
                  <a:lnTo>
                    <a:pt x="537" y="514"/>
                  </a:lnTo>
                  <a:lnTo>
                    <a:pt x="537" y="515"/>
                  </a:lnTo>
                  <a:lnTo>
                    <a:pt x="536" y="517"/>
                  </a:lnTo>
                  <a:lnTo>
                    <a:pt x="536" y="519"/>
                  </a:lnTo>
                  <a:lnTo>
                    <a:pt x="534" y="521"/>
                  </a:lnTo>
                  <a:lnTo>
                    <a:pt x="534" y="522"/>
                  </a:lnTo>
                  <a:lnTo>
                    <a:pt x="534" y="524"/>
                  </a:lnTo>
                  <a:lnTo>
                    <a:pt x="532" y="526"/>
                  </a:lnTo>
                  <a:lnTo>
                    <a:pt x="532" y="529"/>
                  </a:lnTo>
                  <a:lnTo>
                    <a:pt x="530" y="529"/>
                  </a:lnTo>
                  <a:lnTo>
                    <a:pt x="530" y="531"/>
                  </a:lnTo>
                  <a:lnTo>
                    <a:pt x="530" y="532"/>
                  </a:lnTo>
                  <a:lnTo>
                    <a:pt x="532" y="534"/>
                  </a:lnTo>
                  <a:lnTo>
                    <a:pt x="532" y="536"/>
                  </a:lnTo>
                  <a:lnTo>
                    <a:pt x="530" y="539"/>
                  </a:lnTo>
                  <a:lnTo>
                    <a:pt x="529" y="539"/>
                  </a:lnTo>
                  <a:lnTo>
                    <a:pt x="529" y="543"/>
                  </a:lnTo>
                  <a:lnTo>
                    <a:pt x="529" y="544"/>
                  </a:lnTo>
                  <a:lnTo>
                    <a:pt x="527" y="544"/>
                  </a:lnTo>
                  <a:lnTo>
                    <a:pt x="527" y="543"/>
                  </a:lnTo>
                  <a:lnTo>
                    <a:pt x="525" y="541"/>
                  </a:lnTo>
                  <a:lnTo>
                    <a:pt x="522" y="541"/>
                  </a:lnTo>
                  <a:lnTo>
                    <a:pt x="520" y="541"/>
                  </a:lnTo>
                  <a:lnTo>
                    <a:pt x="520" y="543"/>
                  </a:lnTo>
                  <a:lnTo>
                    <a:pt x="520" y="544"/>
                  </a:lnTo>
                  <a:lnTo>
                    <a:pt x="519" y="544"/>
                  </a:lnTo>
                  <a:lnTo>
                    <a:pt x="519" y="548"/>
                  </a:lnTo>
                  <a:lnTo>
                    <a:pt x="519" y="549"/>
                  </a:lnTo>
                  <a:lnTo>
                    <a:pt x="517" y="549"/>
                  </a:lnTo>
                  <a:lnTo>
                    <a:pt x="517" y="551"/>
                  </a:lnTo>
                  <a:lnTo>
                    <a:pt x="515" y="551"/>
                  </a:lnTo>
                  <a:lnTo>
                    <a:pt x="515" y="553"/>
                  </a:lnTo>
                  <a:lnTo>
                    <a:pt x="515" y="556"/>
                  </a:lnTo>
                  <a:lnTo>
                    <a:pt x="513" y="556"/>
                  </a:lnTo>
                  <a:lnTo>
                    <a:pt x="515" y="555"/>
                  </a:lnTo>
                  <a:lnTo>
                    <a:pt x="513" y="555"/>
                  </a:lnTo>
                  <a:lnTo>
                    <a:pt x="512" y="553"/>
                  </a:lnTo>
                  <a:lnTo>
                    <a:pt x="510" y="555"/>
                  </a:lnTo>
                  <a:lnTo>
                    <a:pt x="508" y="556"/>
                  </a:lnTo>
                  <a:lnTo>
                    <a:pt x="508" y="558"/>
                  </a:lnTo>
                  <a:lnTo>
                    <a:pt x="508" y="560"/>
                  </a:lnTo>
                  <a:lnTo>
                    <a:pt x="507" y="560"/>
                  </a:lnTo>
                  <a:lnTo>
                    <a:pt x="507" y="558"/>
                  </a:lnTo>
                  <a:lnTo>
                    <a:pt x="507" y="560"/>
                  </a:lnTo>
                  <a:lnTo>
                    <a:pt x="505" y="560"/>
                  </a:lnTo>
                  <a:lnTo>
                    <a:pt x="503" y="560"/>
                  </a:lnTo>
                  <a:lnTo>
                    <a:pt x="502" y="560"/>
                  </a:lnTo>
                  <a:lnTo>
                    <a:pt x="500" y="561"/>
                  </a:lnTo>
                  <a:lnTo>
                    <a:pt x="498" y="563"/>
                  </a:lnTo>
                  <a:lnTo>
                    <a:pt x="496" y="561"/>
                  </a:lnTo>
                  <a:lnTo>
                    <a:pt x="495" y="563"/>
                  </a:lnTo>
                  <a:lnTo>
                    <a:pt x="493" y="565"/>
                  </a:lnTo>
                  <a:lnTo>
                    <a:pt x="493" y="563"/>
                  </a:lnTo>
                  <a:lnTo>
                    <a:pt x="493" y="565"/>
                  </a:lnTo>
                  <a:lnTo>
                    <a:pt x="491" y="565"/>
                  </a:lnTo>
                  <a:lnTo>
                    <a:pt x="490" y="566"/>
                  </a:lnTo>
                  <a:lnTo>
                    <a:pt x="488" y="566"/>
                  </a:lnTo>
                  <a:lnTo>
                    <a:pt x="485" y="566"/>
                  </a:lnTo>
                  <a:lnTo>
                    <a:pt x="485" y="568"/>
                  </a:lnTo>
                  <a:lnTo>
                    <a:pt x="483" y="570"/>
                  </a:lnTo>
                  <a:lnTo>
                    <a:pt x="483" y="573"/>
                  </a:lnTo>
                  <a:lnTo>
                    <a:pt x="481" y="572"/>
                  </a:lnTo>
                  <a:lnTo>
                    <a:pt x="480" y="572"/>
                  </a:lnTo>
                  <a:lnTo>
                    <a:pt x="478" y="572"/>
                  </a:lnTo>
                  <a:lnTo>
                    <a:pt x="474" y="573"/>
                  </a:lnTo>
                  <a:lnTo>
                    <a:pt x="473" y="575"/>
                  </a:lnTo>
                  <a:lnTo>
                    <a:pt x="471" y="577"/>
                  </a:lnTo>
                  <a:lnTo>
                    <a:pt x="469" y="578"/>
                  </a:lnTo>
                  <a:lnTo>
                    <a:pt x="469" y="580"/>
                  </a:lnTo>
                  <a:lnTo>
                    <a:pt x="469" y="582"/>
                  </a:lnTo>
                  <a:lnTo>
                    <a:pt x="468" y="580"/>
                  </a:lnTo>
                  <a:lnTo>
                    <a:pt x="464" y="582"/>
                  </a:lnTo>
                  <a:lnTo>
                    <a:pt x="463" y="582"/>
                  </a:lnTo>
                  <a:lnTo>
                    <a:pt x="461" y="582"/>
                  </a:lnTo>
                  <a:lnTo>
                    <a:pt x="459" y="582"/>
                  </a:lnTo>
                  <a:lnTo>
                    <a:pt x="457" y="580"/>
                  </a:lnTo>
                  <a:lnTo>
                    <a:pt x="456" y="580"/>
                  </a:lnTo>
                  <a:lnTo>
                    <a:pt x="454" y="580"/>
                  </a:lnTo>
                  <a:lnTo>
                    <a:pt x="451" y="580"/>
                  </a:lnTo>
                  <a:lnTo>
                    <a:pt x="449" y="580"/>
                  </a:lnTo>
                  <a:lnTo>
                    <a:pt x="447" y="580"/>
                  </a:lnTo>
                  <a:lnTo>
                    <a:pt x="444" y="578"/>
                  </a:lnTo>
                  <a:lnTo>
                    <a:pt x="442" y="578"/>
                  </a:lnTo>
                  <a:lnTo>
                    <a:pt x="439" y="577"/>
                  </a:lnTo>
                  <a:lnTo>
                    <a:pt x="437" y="575"/>
                  </a:lnTo>
                  <a:lnTo>
                    <a:pt x="435" y="575"/>
                  </a:lnTo>
                  <a:lnTo>
                    <a:pt x="434" y="573"/>
                  </a:lnTo>
                  <a:lnTo>
                    <a:pt x="434" y="572"/>
                  </a:lnTo>
                  <a:lnTo>
                    <a:pt x="430" y="570"/>
                  </a:lnTo>
                  <a:lnTo>
                    <a:pt x="429" y="570"/>
                  </a:lnTo>
                  <a:lnTo>
                    <a:pt x="427" y="568"/>
                  </a:lnTo>
                  <a:lnTo>
                    <a:pt x="427" y="566"/>
                  </a:lnTo>
                  <a:lnTo>
                    <a:pt x="425" y="566"/>
                  </a:lnTo>
                  <a:lnTo>
                    <a:pt x="423" y="565"/>
                  </a:lnTo>
                  <a:lnTo>
                    <a:pt x="422" y="565"/>
                  </a:lnTo>
                  <a:lnTo>
                    <a:pt x="420" y="563"/>
                  </a:lnTo>
                  <a:lnTo>
                    <a:pt x="418" y="561"/>
                  </a:lnTo>
                  <a:lnTo>
                    <a:pt x="417" y="561"/>
                  </a:lnTo>
                  <a:lnTo>
                    <a:pt x="415" y="560"/>
                  </a:lnTo>
                  <a:lnTo>
                    <a:pt x="413" y="560"/>
                  </a:lnTo>
                  <a:lnTo>
                    <a:pt x="412" y="561"/>
                  </a:lnTo>
                  <a:lnTo>
                    <a:pt x="412" y="560"/>
                  </a:lnTo>
                  <a:lnTo>
                    <a:pt x="410" y="558"/>
                  </a:lnTo>
                  <a:lnTo>
                    <a:pt x="408" y="560"/>
                  </a:lnTo>
                  <a:lnTo>
                    <a:pt x="406" y="560"/>
                  </a:lnTo>
                  <a:lnTo>
                    <a:pt x="403" y="558"/>
                  </a:lnTo>
                  <a:lnTo>
                    <a:pt x="401" y="560"/>
                  </a:lnTo>
                  <a:lnTo>
                    <a:pt x="400" y="558"/>
                  </a:lnTo>
                  <a:lnTo>
                    <a:pt x="398" y="560"/>
                  </a:lnTo>
                  <a:lnTo>
                    <a:pt x="398" y="558"/>
                  </a:lnTo>
                  <a:lnTo>
                    <a:pt x="396" y="556"/>
                  </a:lnTo>
                  <a:lnTo>
                    <a:pt x="393" y="558"/>
                  </a:lnTo>
                  <a:lnTo>
                    <a:pt x="391" y="558"/>
                  </a:lnTo>
                  <a:lnTo>
                    <a:pt x="389" y="556"/>
                  </a:lnTo>
                  <a:lnTo>
                    <a:pt x="388" y="556"/>
                  </a:lnTo>
                  <a:lnTo>
                    <a:pt x="386" y="556"/>
                  </a:lnTo>
                  <a:lnTo>
                    <a:pt x="383" y="555"/>
                  </a:lnTo>
                  <a:lnTo>
                    <a:pt x="381" y="555"/>
                  </a:lnTo>
                  <a:lnTo>
                    <a:pt x="379" y="555"/>
                  </a:lnTo>
                  <a:lnTo>
                    <a:pt x="378" y="555"/>
                  </a:lnTo>
                  <a:lnTo>
                    <a:pt x="376" y="555"/>
                  </a:lnTo>
                  <a:lnTo>
                    <a:pt x="374" y="555"/>
                  </a:lnTo>
                  <a:lnTo>
                    <a:pt x="372" y="553"/>
                  </a:lnTo>
                  <a:lnTo>
                    <a:pt x="371" y="553"/>
                  </a:lnTo>
                  <a:lnTo>
                    <a:pt x="369" y="553"/>
                  </a:lnTo>
                  <a:lnTo>
                    <a:pt x="367" y="553"/>
                  </a:lnTo>
                  <a:lnTo>
                    <a:pt x="366" y="553"/>
                  </a:lnTo>
                  <a:lnTo>
                    <a:pt x="364" y="553"/>
                  </a:lnTo>
                  <a:lnTo>
                    <a:pt x="362" y="553"/>
                  </a:lnTo>
                  <a:lnTo>
                    <a:pt x="361" y="553"/>
                  </a:lnTo>
                  <a:lnTo>
                    <a:pt x="357" y="555"/>
                  </a:lnTo>
                  <a:lnTo>
                    <a:pt x="355" y="555"/>
                  </a:lnTo>
                  <a:lnTo>
                    <a:pt x="354" y="555"/>
                  </a:lnTo>
                  <a:lnTo>
                    <a:pt x="350" y="555"/>
                  </a:lnTo>
                  <a:lnTo>
                    <a:pt x="349" y="555"/>
                  </a:lnTo>
                  <a:lnTo>
                    <a:pt x="345" y="556"/>
                  </a:lnTo>
                  <a:lnTo>
                    <a:pt x="344" y="556"/>
                  </a:lnTo>
                  <a:lnTo>
                    <a:pt x="340" y="558"/>
                  </a:lnTo>
                  <a:lnTo>
                    <a:pt x="338" y="558"/>
                  </a:lnTo>
                  <a:lnTo>
                    <a:pt x="337" y="560"/>
                  </a:lnTo>
                  <a:lnTo>
                    <a:pt x="335" y="560"/>
                  </a:lnTo>
                  <a:lnTo>
                    <a:pt x="333" y="558"/>
                  </a:lnTo>
                  <a:lnTo>
                    <a:pt x="332" y="558"/>
                  </a:lnTo>
                  <a:lnTo>
                    <a:pt x="332" y="560"/>
                  </a:lnTo>
                  <a:lnTo>
                    <a:pt x="330" y="561"/>
                  </a:lnTo>
                  <a:lnTo>
                    <a:pt x="330" y="563"/>
                  </a:lnTo>
                  <a:lnTo>
                    <a:pt x="328" y="563"/>
                  </a:lnTo>
                  <a:lnTo>
                    <a:pt x="330" y="563"/>
                  </a:lnTo>
                  <a:lnTo>
                    <a:pt x="328" y="563"/>
                  </a:lnTo>
                  <a:lnTo>
                    <a:pt x="328" y="566"/>
                  </a:lnTo>
                  <a:lnTo>
                    <a:pt x="328" y="568"/>
                  </a:lnTo>
                  <a:lnTo>
                    <a:pt x="328" y="572"/>
                  </a:lnTo>
                  <a:lnTo>
                    <a:pt x="330" y="572"/>
                  </a:lnTo>
                  <a:lnTo>
                    <a:pt x="330" y="575"/>
                  </a:lnTo>
                  <a:lnTo>
                    <a:pt x="330" y="577"/>
                  </a:lnTo>
                  <a:lnTo>
                    <a:pt x="330" y="578"/>
                  </a:lnTo>
                  <a:lnTo>
                    <a:pt x="333" y="580"/>
                  </a:lnTo>
                  <a:lnTo>
                    <a:pt x="332" y="583"/>
                  </a:lnTo>
                  <a:lnTo>
                    <a:pt x="333" y="583"/>
                  </a:lnTo>
                  <a:lnTo>
                    <a:pt x="332" y="585"/>
                  </a:lnTo>
                  <a:lnTo>
                    <a:pt x="332" y="587"/>
                  </a:lnTo>
                  <a:lnTo>
                    <a:pt x="332" y="589"/>
                  </a:lnTo>
                  <a:lnTo>
                    <a:pt x="330" y="590"/>
                  </a:lnTo>
                  <a:lnTo>
                    <a:pt x="332" y="592"/>
                  </a:lnTo>
                  <a:lnTo>
                    <a:pt x="330" y="592"/>
                  </a:lnTo>
                  <a:lnTo>
                    <a:pt x="330" y="595"/>
                  </a:lnTo>
                  <a:lnTo>
                    <a:pt x="333" y="597"/>
                  </a:lnTo>
                  <a:lnTo>
                    <a:pt x="333" y="599"/>
                  </a:lnTo>
                  <a:lnTo>
                    <a:pt x="335" y="599"/>
                  </a:lnTo>
                  <a:lnTo>
                    <a:pt x="333" y="600"/>
                  </a:lnTo>
                  <a:lnTo>
                    <a:pt x="332" y="600"/>
                  </a:lnTo>
                  <a:lnTo>
                    <a:pt x="332" y="602"/>
                  </a:lnTo>
                  <a:lnTo>
                    <a:pt x="333" y="602"/>
                  </a:lnTo>
                  <a:lnTo>
                    <a:pt x="333" y="604"/>
                  </a:lnTo>
                  <a:lnTo>
                    <a:pt x="332" y="606"/>
                  </a:lnTo>
                  <a:lnTo>
                    <a:pt x="330" y="609"/>
                  </a:lnTo>
                  <a:lnTo>
                    <a:pt x="328" y="607"/>
                  </a:lnTo>
                  <a:lnTo>
                    <a:pt x="328" y="606"/>
                  </a:lnTo>
                  <a:lnTo>
                    <a:pt x="327" y="606"/>
                  </a:lnTo>
                  <a:lnTo>
                    <a:pt x="323" y="604"/>
                  </a:lnTo>
                  <a:lnTo>
                    <a:pt x="321" y="604"/>
                  </a:lnTo>
                  <a:lnTo>
                    <a:pt x="320" y="604"/>
                  </a:lnTo>
                  <a:lnTo>
                    <a:pt x="316" y="606"/>
                  </a:lnTo>
                  <a:lnTo>
                    <a:pt x="315" y="607"/>
                  </a:lnTo>
                  <a:lnTo>
                    <a:pt x="315" y="609"/>
                  </a:lnTo>
                  <a:lnTo>
                    <a:pt x="313" y="611"/>
                  </a:lnTo>
                  <a:lnTo>
                    <a:pt x="310" y="612"/>
                  </a:lnTo>
                  <a:lnTo>
                    <a:pt x="308" y="614"/>
                  </a:lnTo>
                  <a:lnTo>
                    <a:pt x="306" y="614"/>
                  </a:lnTo>
                  <a:lnTo>
                    <a:pt x="306" y="616"/>
                  </a:lnTo>
                  <a:lnTo>
                    <a:pt x="304" y="616"/>
                  </a:lnTo>
                  <a:lnTo>
                    <a:pt x="303" y="616"/>
                  </a:lnTo>
                  <a:lnTo>
                    <a:pt x="301" y="617"/>
                  </a:lnTo>
                  <a:lnTo>
                    <a:pt x="301" y="619"/>
                  </a:lnTo>
                  <a:lnTo>
                    <a:pt x="299" y="619"/>
                  </a:lnTo>
                  <a:lnTo>
                    <a:pt x="298" y="621"/>
                  </a:lnTo>
                  <a:lnTo>
                    <a:pt x="299" y="619"/>
                  </a:lnTo>
                  <a:lnTo>
                    <a:pt x="298" y="621"/>
                  </a:lnTo>
                  <a:lnTo>
                    <a:pt x="298" y="623"/>
                  </a:lnTo>
                  <a:lnTo>
                    <a:pt x="299" y="621"/>
                  </a:lnTo>
                  <a:lnTo>
                    <a:pt x="298" y="624"/>
                  </a:lnTo>
                  <a:lnTo>
                    <a:pt x="294" y="624"/>
                  </a:lnTo>
                  <a:lnTo>
                    <a:pt x="296" y="623"/>
                  </a:lnTo>
                  <a:lnTo>
                    <a:pt x="294" y="624"/>
                  </a:lnTo>
                  <a:lnTo>
                    <a:pt x="293" y="624"/>
                  </a:lnTo>
                  <a:lnTo>
                    <a:pt x="291" y="626"/>
                  </a:lnTo>
                  <a:lnTo>
                    <a:pt x="291" y="624"/>
                  </a:lnTo>
                  <a:lnTo>
                    <a:pt x="289" y="626"/>
                  </a:lnTo>
                  <a:lnTo>
                    <a:pt x="287" y="624"/>
                  </a:lnTo>
                  <a:lnTo>
                    <a:pt x="289" y="624"/>
                  </a:lnTo>
                  <a:lnTo>
                    <a:pt x="287" y="623"/>
                  </a:lnTo>
                  <a:lnTo>
                    <a:pt x="286" y="623"/>
                  </a:lnTo>
                  <a:lnTo>
                    <a:pt x="284" y="624"/>
                  </a:lnTo>
                  <a:lnTo>
                    <a:pt x="287" y="623"/>
                  </a:lnTo>
                  <a:lnTo>
                    <a:pt x="284" y="623"/>
                  </a:lnTo>
                  <a:lnTo>
                    <a:pt x="282" y="623"/>
                  </a:lnTo>
                  <a:lnTo>
                    <a:pt x="279" y="624"/>
                  </a:lnTo>
                  <a:lnTo>
                    <a:pt x="277" y="624"/>
                  </a:lnTo>
                  <a:lnTo>
                    <a:pt x="276" y="623"/>
                  </a:lnTo>
                  <a:lnTo>
                    <a:pt x="274" y="624"/>
                  </a:lnTo>
                  <a:lnTo>
                    <a:pt x="274" y="621"/>
                  </a:lnTo>
                  <a:lnTo>
                    <a:pt x="270" y="623"/>
                  </a:lnTo>
                  <a:lnTo>
                    <a:pt x="272" y="624"/>
                  </a:lnTo>
                  <a:lnTo>
                    <a:pt x="270" y="624"/>
                  </a:lnTo>
                  <a:lnTo>
                    <a:pt x="269" y="624"/>
                  </a:lnTo>
                  <a:lnTo>
                    <a:pt x="267" y="624"/>
                  </a:lnTo>
                  <a:lnTo>
                    <a:pt x="265" y="623"/>
                  </a:lnTo>
                  <a:lnTo>
                    <a:pt x="264" y="623"/>
                  </a:lnTo>
                  <a:lnTo>
                    <a:pt x="264" y="621"/>
                  </a:lnTo>
                  <a:lnTo>
                    <a:pt x="262" y="619"/>
                  </a:lnTo>
                  <a:lnTo>
                    <a:pt x="260" y="621"/>
                  </a:lnTo>
                  <a:lnTo>
                    <a:pt x="259" y="619"/>
                  </a:lnTo>
                  <a:lnTo>
                    <a:pt x="257" y="619"/>
                  </a:lnTo>
                  <a:lnTo>
                    <a:pt x="255" y="619"/>
                  </a:lnTo>
                  <a:lnTo>
                    <a:pt x="257" y="617"/>
                  </a:lnTo>
                  <a:lnTo>
                    <a:pt x="253" y="617"/>
                  </a:lnTo>
                  <a:lnTo>
                    <a:pt x="253" y="616"/>
                  </a:lnTo>
                  <a:lnTo>
                    <a:pt x="255" y="616"/>
                  </a:lnTo>
                  <a:lnTo>
                    <a:pt x="253" y="614"/>
                  </a:lnTo>
                  <a:lnTo>
                    <a:pt x="255" y="614"/>
                  </a:lnTo>
                  <a:lnTo>
                    <a:pt x="253" y="612"/>
                  </a:lnTo>
                  <a:lnTo>
                    <a:pt x="252" y="611"/>
                  </a:lnTo>
                  <a:lnTo>
                    <a:pt x="253" y="609"/>
                  </a:lnTo>
                  <a:lnTo>
                    <a:pt x="252" y="607"/>
                  </a:lnTo>
                  <a:lnTo>
                    <a:pt x="250" y="606"/>
                  </a:lnTo>
                  <a:lnTo>
                    <a:pt x="252" y="607"/>
                  </a:lnTo>
                  <a:lnTo>
                    <a:pt x="250" y="607"/>
                  </a:lnTo>
                  <a:lnTo>
                    <a:pt x="250" y="606"/>
                  </a:lnTo>
                  <a:lnTo>
                    <a:pt x="247" y="606"/>
                  </a:lnTo>
                  <a:lnTo>
                    <a:pt x="248" y="607"/>
                  </a:lnTo>
                  <a:lnTo>
                    <a:pt x="245" y="607"/>
                  </a:lnTo>
                  <a:lnTo>
                    <a:pt x="247" y="607"/>
                  </a:lnTo>
                  <a:lnTo>
                    <a:pt x="245" y="606"/>
                  </a:lnTo>
                  <a:lnTo>
                    <a:pt x="245" y="602"/>
                  </a:lnTo>
                  <a:lnTo>
                    <a:pt x="248" y="602"/>
                  </a:lnTo>
                  <a:lnTo>
                    <a:pt x="247" y="600"/>
                  </a:lnTo>
                  <a:lnTo>
                    <a:pt x="248" y="600"/>
                  </a:lnTo>
                  <a:lnTo>
                    <a:pt x="248" y="602"/>
                  </a:lnTo>
                  <a:lnTo>
                    <a:pt x="250" y="600"/>
                  </a:lnTo>
                  <a:lnTo>
                    <a:pt x="250" y="599"/>
                  </a:lnTo>
                  <a:lnTo>
                    <a:pt x="248" y="597"/>
                  </a:lnTo>
                  <a:lnTo>
                    <a:pt x="245" y="597"/>
                  </a:lnTo>
                  <a:lnTo>
                    <a:pt x="243" y="595"/>
                  </a:lnTo>
                  <a:lnTo>
                    <a:pt x="243" y="597"/>
                  </a:lnTo>
                  <a:lnTo>
                    <a:pt x="243" y="595"/>
                  </a:lnTo>
                  <a:lnTo>
                    <a:pt x="242" y="597"/>
                  </a:lnTo>
                  <a:lnTo>
                    <a:pt x="240" y="595"/>
                  </a:lnTo>
                  <a:lnTo>
                    <a:pt x="240" y="597"/>
                  </a:lnTo>
                  <a:lnTo>
                    <a:pt x="236" y="594"/>
                  </a:lnTo>
                  <a:lnTo>
                    <a:pt x="236" y="595"/>
                  </a:lnTo>
                  <a:lnTo>
                    <a:pt x="235" y="599"/>
                  </a:lnTo>
                  <a:lnTo>
                    <a:pt x="236" y="599"/>
                  </a:lnTo>
                  <a:lnTo>
                    <a:pt x="235" y="599"/>
                  </a:lnTo>
                  <a:lnTo>
                    <a:pt x="235" y="602"/>
                  </a:lnTo>
                  <a:lnTo>
                    <a:pt x="235" y="604"/>
                  </a:lnTo>
                  <a:lnTo>
                    <a:pt x="236" y="604"/>
                  </a:lnTo>
                  <a:lnTo>
                    <a:pt x="236" y="602"/>
                  </a:lnTo>
                  <a:lnTo>
                    <a:pt x="238" y="602"/>
                  </a:lnTo>
                  <a:lnTo>
                    <a:pt x="236" y="606"/>
                  </a:lnTo>
                  <a:lnTo>
                    <a:pt x="235" y="607"/>
                  </a:lnTo>
                  <a:lnTo>
                    <a:pt x="233" y="606"/>
                  </a:lnTo>
                  <a:lnTo>
                    <a:pt x="235" y="604"/>
                  </a:lnTo>
                  <a:lnTo>
                    <a:pt x="233" y="604"/>
                  </a:lnTo>
                  <a:lnTo>
                    <a:pt x="233" y="602"/>
                  </a:lnTo>
                  <a:lnTo>
                    <a:pt x="231" y="604"/>
                  </a:lnTo>
                  <a:lnTo>
                    <a:pt x="231" y="602"/>
                  </a:lnTo>
                  <a:lnTo>
                    <a:pt x="230" y="602"/>
                  </a:lnTo>
                  <a:lnTo>
                    <a:pt x="228" y="600"/>
                  </a:lnTo>
                  <a:lnTo>
                    <a:pt x="226" y="600"/>
                  </a:lnTo>
                  <a:lnTo>
                    <a:pt x="225" y="602"/>
                  </a:lnTo>
                  <a:lnTo>
                    <a:pt x="223" y="602"/>
                  </a:lnTo>
                  <a:lnTo>
                    <a:pt x="221" y="600"/>
                  </a:lnTo>
                  <a:lnTo>
                    <a:pt x="221" y="602"/>
                  </a:lnTo>
                  <a:lnTo>
                    <a:pt x="219" y="602"/>
                  </a:lnTo>
                  <a:lnTo>
                    <a:pt x="219" y="600"/>
                  </a:lnTo>
                  <a:lnTo>
                    <a:pt x="219" y="599"/>
                  </a:lnTo>
                  <a:lnTo>
                    <a:pt x="219" y="597"/>
                  </a:lnTo>
                  <a:lnTo>
                    <a:pt x="218" y="595"/>
                  </a:lnTo>
                  <a:lnTo>
                    <a:pt x="218" y="597"/>
                  </a:lnTo>
                  <a:lnTo>
                    <a:pt x="216" y="595"/>
                  </a:lnTo>
                  <a:lnTo>
                    <a:pt x="214" y="595"/>
                  </a:lnTo>
                  <a:lnTo>
                    <a:pt x="213" y="597"/>
                  </a:lnTo>
                  <a:lnTo>
                    <a:pt x="214" y="599"/>
                  </a:lnTo>
                  <a:lnTo>
                    <a:pt x="211" y="597"/>
                  </a:lnTo>
                  <a:lnTo>
                    <a:pt x="209" y="597"/>
                  </a:lnTo>
                  <a:lnTo>
                    <a:pt x="208" y="595"/>
                  </a:lnTo>
                  <a:lnTo>
                    <a:pt x="209" y="594"/>
                  </a:lnTo>
                  <a:lnTo>
                    <a:pt x="208" y="594"/>
                  </a:lnTo>
                  <a:lnTo>
                    <a:pt x="208" y="595"/>
                  </a:lnTo>
                  <a:lnTo>
                    <a:pt x="206" y="595"/>
                  </a:lnTo>
                  <a:lnTo>
                    <a:pt x="206" y="594"/>
                  </a:lnTo>
                  <a:lnTo>
                    <a:pt x="204" y="597"/>
                  </a:lnTo>
                  <a:lnTo>
                    <a:pt x="208" y="597"/>
                  </a:lnTo>
                  <a:lnTo>
                    <a:pt x="206" y="600"/>
                  </a:lnTo>
                  <a:lnTo>
                    <a:pt x="204" y="600"/>
                  </a:lnTo>
                  <a:lnTo>
                    <a:pt x="204" y="599"/>
                  </a:lnTo>
                  <a:lnTo>
                    <a:pt x="201" y="599"/>
                  </a:lnTo>
                  <a:lnTo>
                    <a:pt x="201" y="600"/>
                  </a:lnTo>
                  <a:lnTo>
                    <a:pt x="199" y="602"/>
                  </a:lnTo>
                  <a:lnTo>
                    <a:pt x="199" y="600"/>
                  </a:lnTo>
                  <a:lnTo>
                    <a:pt x="201" y="599"/>
                  </a:lnTo>
                  <a:lnTo>
                    <a:pt x="199" y="597"/>
                  </a:lnTo>
                  <a:lnTo>
                    <a:pt x="197" y="597"/>
                  </a:lnTo>
                  <a:lnTo>
                    <a:pt x="197" y="599"/>
                  </a:lnTo>
                  <a:lnTo>
                    <a:pt x="197" y="600"/>
                  </a:lnTo>
                  <a:lnTo>
                    <a:pt x="199" y="602"/>
                  </a:lnTo>
                  <a:lnTo>
                    <a:pt x="199" y="604"/>
                  </a:lnTo>
                  <a:lnTo>
                    <a:pt x="199" y="606"/>
                  </a:lnTo>
                  <a:lnTo>
                    <a:pt x="201" y="604"/>
                  </a:lnTo>
                  <a:lnTo>
                    <a:pt x="202" y="606"/>
                  </a:lnTo>
                  <a:lnTo>
                    <a:pt x="201" y="607"/>
                  </a:lnTo>
                  <a:lnTo>
                    <a:pt x="201" y="606"/>
                  </a:lnTo>
                  <a:lnTo>
                    <a:pt x="199" y="606"/>
                  </a:lnTo>
                  <a:lnTo>
                    <a:pt x="197" y="609"/>
                  </a:lnTo>
                  <a:lnTo>
                    <a:pt x="199" y="609"/>
                  </a:lnTo>
                  <a:lnTo>
                    <a:pt x="196" y="611"/>
                  </a:lnTo>
                  <a:lnTo>
                    <a:pt x="196" y="612"/>
                  </a:lnTo>
                  <a:lnTo>
                    <a:pt x="194" y="614"/>
                  </a:lnTo>
                  <a:lnTo>
                    <a:pt x="196" y="614"/>
                  </a:lnTo>
                  <a:lnTo>
                    <a:pt x="194" y="617"/>
                  </a:lnTo>
                  <a:lnTo>
                    <a:pt x="192" y="619"/>
                  </a:lnTo>
                  <a:lnTo>
                    <a:pt x="191" y="619"/>
                  </a:lnTo>
                  <a:lnTo>
                    <a:pt x="191" y="621"/>
                  </a:lnTo>
                  <a:lnTo>
                    <a:pt x="189" y="621"/>
                  </a:lnTo>
                  <a:lnTo>
                    <a:pt x="187" y="623"/>
                  </a:lnTo>
                  <a:lnTo>
                    <a:pt x="185" y="621"/>
                  </a:lnTo>
                  <a:lnTo>
                    <a:pt x="187" y="621"/>
                  </a:lnTo>
                  <a:lnTo>
                    <a:pt x="185" y="619"/>
                  </a:lnTo>
                  <a:lnTo>
                    <a:pt x="187" y="619"/>
                  </a:lnTo>
                  <a:lnTo>
                    <a:pt x="189" y="619"/>
                  </a:lnTo>
                  <a:lnTo>
                    <a:pt x="191" y="617"/>
                  </a:lnTo>
                  <a:lnTo>
                    <a:pt x="192" y="614"/>
                  </a:lnTo>
                  <a:lnTo>
                    <a:pt x="191" y="614"/>
                  </a:lnTo>
                  <a:lnTo>
                    <a:pt x="189" y="614"/>
                  </a:lnTo>
                  <a:lnTo>
                    <a:pt x="191" y="612"/>
                  </a:lnTo>
                  <a:lnTo>
                    <a:pt x="189" y="612"/>
                  </a:lnTo>
                  <a:lnTo>
                    <a:pt x="187" y="614"/>
                  </a:lnTo>
                  <a:lnTo>
                    <a:pt x="185" y="614"/>
                  </a:lnTo>
                  <a:lnTo>
                    <a:pt x="184" y="614"/>
                  </a:lnTo>
                  <a:lnTo>
                    <a:pt x="184" y="612"/>
                  </a:lnTo>
                  <a:lnTo>
                    <a:pt x="185" y="614"/>
                  </a:lnTo>
                  <a:lnTo>
                    <a:pt x="187" y="611"/>
                  </a:lnTo>
                  <a:lnTo>
                    <a:pt x="189" y="609"/>
                  </a:lnTo>
                  <a:lnTo>
                    <a:pt x="191" y="609"/>
                  </a:lnTo>
                  <a:lnTo>
                    <a:pt x="191" y="611"/>
                  </a:lnTo>
                  <a:lnTo>
                    <a:pt x="192" y="609"/>
                  </a:lnTo>
                  <a:lnTo>
                    <a:pt x="189" y="607"/>
                  </a:lnTo>
                  <a:lnTo>
                    <a:pt x="191" y="606"/>
                  </a:lnTo>
                  <a:lnTo>
                    <a:pt x="192" y="606"/>
                  </a:lnTo>
                  <a:lnTo>
                    <a:pt x="191" y="604"/>
                  </a:lnTo>
                  <a:lnTo>
                    <a:pt x="189" y="604"/>
                  </a:lnTo>
                  <a:lnTo>
                    <a:pt x="189" y="606"/>
                  </a:lnTo>
                  <a:lnTo>
                    <a:pt x="187" y="607"/>
                  </a:lnTo>
                  <a:lnTo>
                    <a:pt x="187" y="606"/>
                  </a:lnTo>
                  <a:lnTo>
                    <a:pt x="185" y="607"/>
                  </a:lnTo>
                  <a:lnTo>
                    <a:pt x="184" y="607"/>
                  </a:lnTo>
                  <a:lnTo>
                    <a:pt x="182" y="609"/>
                  </a:lnTo>
                  <a:lnTo>
                    <a:pt x="180" y="611"/>
                  </a:lnTo>
                  <a:lnTo>
                    <a:pt x="180" y="609"/>
                  </a:lnTo>
                  <a:lnTo>
                    <a:pt x="179" y="609"/>
                  </a:lnTo>
                  <a:lnTo>
                    <a:pt x="179" y="611"/>
                  </a:lnTo>
                  <a:lnTo>
                    <a:pt x="177" y="609"/>
                  </a:lnTo>
                  <a:lnTo>
                    <a:pt x="177" y="611"/>
                  </a:lnTo>
                  <a:lnTo>
                    <a:pt x="175" y="611"/>
                  </a:lnTo>
                  <a:lnTo>
                    <a:pt x="174" y="611"/>
                  </a:lnTo>
                  <a:lnTo>
                    <a:pt x="170" y="611"/>
                  </a:lnTo>
                  <a:lnTo>
                    <a:pt x="168" y="612"/>
                  </a:lnTo>
                  <a:lnTo>
                    <a:pt x="167" y="614"/>
                  </a:lnTo>
                  <a:lnTo>
                    <a:pt x="168" y="616"/>
                  </a:lnTo>
                  <a:lnTo>
                    <a:pt x="167" y="616"/>
                  </a:lnTo>
                  <a:lnTo>
                    <a:pt x="168" y="619"/>
                  </a:lnTo>
                  <a:lnTo>
                    <a:pt x="165" y="619"/>
                  </a:lnTo>
                  <a:lnTo>
                    <a:pt x="162" y="619"/>
                  </a:lnTo>
                  <a:lnTo>
                    <a:pt x="162" y="621"/>
                  </a:lnTo>
                  <a:lnTo>
                    <a:pt x="162" y="619"/>
                  </a:lnTo>
                  <a:lnTo>
                    <a:pt x="158" y="621"/>
                  </a:lnTo>
                  <a:lnTo>
                    <a:pt x="157" y="623"/>
                  </a:lnTo>
                  <a:lnTo>
                    <a:pt x="153" y="623"/>
                  </a:lnTo>
                  <a:lnTo>
                    <a:pt x="151" y="623"/>
                  </a:lnTo>
                  <a:lnTo>
                    <a:pt x="150" y="623"/>
                  </a:lnTo>
                  <a:lnTo>
                    <a:pt x="150" y="621"/>
                  </a:lnTo>
                  <a:lnTo>
                    <a:pt x="151" y="621"/>
                  </a:lnTo>
                  <a:lnTo>
                    <a:pt x="153" y="619"/>
                  </a:lnTo>
                  <a:lnTo>
                    <a:pt x="153" y="617"/>
                  </a:lnTo>
                  <a:lnTo>
                    <a:pt x="153" y="616"/>
                  </a:lnTo>
                  <a:lnTo>
                    <a:pt x="155" y="616"/>
                  </a:lnTo>
                  <a:lnTo>
                    <a:pt x="157" y="616"/>
                  </a:lnTo>
                  <a:lnTo>
                    <a:pt x="158" y="614"/>
                  </a:lnTo>
                  <a:lnTo>
                    <a:pt x="162" y="612"/>
                  </a:lnTo>
                  <a:lnTo>
                    <a:pt x="163" y="612"/>
                  </a:lnTo>
                  <a:lnTo>
                    <a:pt x="163" y="611"/>
                  </a:lnTo>
                  <a:lnTo>
                    <a:pt x="163" y="609"/>
                  </a:lnTo>
                  <a:lnTo>
                    <a:pt x="167" y="609"/>
                  </a:lnTo>
                  <a:lnTo>
                    <a:pt x="167" y="611"/>
                  </a:lnTo>
                  <a:lnTo>
                    <a:pt x="168" y="611"/>
                  </a:lnTo>
                  <a:lnTo>
                    <a:pt x="172" y="609"/>
                  </a:lnTo>
                  <a:lnTo>
                    <a:pt x="174" y="607"/>
                  </a:lnTo>
                  <a:lnTo>
                    <a:pt x="175" y="607"/>
                  </a:lnTo>
                  <a:lnTo>
                    <a:pt x="179" y="606"/>
                  </a:lnTo>
                  <a:lnTo>
                    <a:pt x="182" y="606"/>
                  </a:lnTo>
                  <a:lnTo>
                    <a:pt x="184" y="606"/>
                  </a:lnTo>
                  <a:lnTo>
                    <a:pt x="185" y="606"/>
                  </a:lnTo>
                  <a:lnTo>
                    <a:pt x="187" y="604"/>
                  </a:lnTo>
                  <a:lnTo>
                    <a:pt x="187" y="602"/>
                  </a:lnTo>
                  <a:lnTo>
                    <a:pt x="184" y="602"/>
                  </a:lnTo>
                  <a:lnTo>
                    <a:pt x="185" y="602"/>
                  </a:lnTo>
                  <a:lnTo>
                    <a:pt x="184" y="600"/>
                  </a:lnTo>
                  <a:lnTo>
                    <a:pt x="185" y="599"/>
                  </a:lnTo>
                  <a:lnTo>
                    <a:pt x="185" y="597"/>
                  </a:lnTo>
                  <a:lnTo>
                    <a:pt x="182" y="597"/>
                  </a:lnTo>
                  <a:lnTo>
                    <a:pt x="184" y="597"/>
                  </a:lnTo>
                  <a:lnTo>
                    <a:pt x="182" y="595"/>
                  </a:lnTo>
                  <a:lnTo>
                    <a:pt x="185" y="595"/>
                  </a:lnTo>
                  <a:lnTo>
                    <a:pt x="184" y="595"/>
                  </a:lnTo>
                  <a:lnTo>
                    <a:pt x="185" y="594"/>
                  </a:lnTo>
                  <a:lnTo>
                    <a:pt x="187" y="595"/>
                  </a:lnTo>
                  <a:lnTo>
                    <a:pt x="189" y="594"/>
                  </a:lnTo>
                  <a:lnTo>
                    <a:pt x="191" y="595"/>
                  </a:lnTo>
                  <a:lnTo>
                    <a:pt x="191" y="594"/>
                  </a:lnTo>
                  <a:lnTo>
                    <a:pt x="191" y="595"/>
                  </a:lnTo>
                  <a:lnTo>
                    <a:pt x="191" y="592"/>
                  </a:lnTo>
                  <a:lnTo>
                    <a:pt x="192" y="592"/>
                  </a:lnTo>
                  <a:lnTo>
                    <a:pt x="192" y="590"/>
                  </a:lnTo>
                  <a:lnTo>
                    <a:pt x="192" y="589"/>
                  </a:lnTo>
                  <a:lnTo>
                    <a:pt x="194" y="589"/>
                  </a:lnTo>
                  <a:lnTo>
                    <a:pt x="194" y="587"/>
                  </a:lnTo>
                  <a:lnTo>
                    <a:pt x="196" y="585"/>
                  </a:lnTo>
                  <a:lnTo>
                    <a:pt x="197" y="585"/>
                  </a:lnTo>
                  <a:lnTo>
                    <a:pt x="197" y="583"/>
                  </a:lnTo>
                  <a:lnTo>
                    <a:pt x="194" y="583"/>
                  </a:lnTo>
                  <a:lnTo>
                    <a:pt x="192" y="585"/>
                  </a:lnTo>
                  <a:lnTo>
                    <a:pt x="191" y="585"/>
                  </a:lnTo>
                  <a:lnTo>
                    <a:pt x="189" y="587"/>
                  </a:lnTo>
                  <a:lnTo>
                    <a:pt x="187" y="587"/>
                  </a:lnTo>
                  <a:lnTo>
                    <a:pt x="185" y="587"/>
                  </a:lnTo>
                  <a:lnTo>
                    <a:pt x="187" y="589"/>
                  </a:lnTo>
                  <a:lnTo>
                    <a:pt x="185" y="589"/>
                  </a:lnTo>
                  <a:lnTo>
                    <a:pt x="185" y="587"/>
                  </a:lnTo>
                  <a:lnTo>
                    <a:pt x="184" y="589"/>
                  </a:lnTo>
                  <a:lnTo>
                    <a:pt x="182" y="589"/>
                  </a:lnTo>
                  <a:lnTo>
                    <a:pt x="179" y="589"/>
                  </a:lnTo>
                  <a:lnTo>
                    <a:pt x="177" y="590"/>
                  </a:lnTo>
                  <a:lnTo>
                    <a:pt x="175" y="590"/>
                  </a:lnTo>
                  <a:lnTo>
                    <a:pt x="174" y="590"/>
                  </a:lnTo>
                  <a:lnTo>
                    <a:pt x="172" y="592"/>
                  </a:lnTo>
                  <a:lnTo>
                    <a:pt x="170" y="592"/>
                  </a:lnTo>
                  <a:lnTo>
                    <a:pt x="168" y="594"/>
                  </a:lnTo>
                  <a:lnTo>
                    <a:pt x="167" y="595"/>
                  </a:lnTo>
                  <a:lnTo>
                    <a:pt x="167" y="594"/>
                  </a:lnTo>
                  <a:lnTo>
                    <a:pt x="165" y="595"/>
                  </a:lnTo>
                  <a:lnTo>
                    <a:pt x="163" y="595"/>
                  </a:lnTo>
                  <a:lnTo>
                    <a:pt x="160" y="595"/>
                  </a:lnTo>
                  <a:lnTo>
                    <a:pt x="160" y="597"/>
                  </a:lnTo>
                  <a:lnTo>
                    <a:pt x="158" y="597"/>
                  </a:lnTo>
                  <a:lnTo>
                    <a:pt x="157" y="597"/>
                  </a:lnTo>
                  <a:lnTo>
                    <a:pt x="157" y="599"/>
                  </a:lnTo>
                  <a:lnTo>
                    <a:pt x="153" y="599"/>
                  </a:lnTo>
                  <a:lnTo>
                    <a:pt x="151" y="599"/>
                  </a:lnTo>
                  <a:lnTo>
                    <a:pt x="150" y="599"/>
                  </a:lnTo>
                  <a:lnTo>
                    <a:pt x="148" y="597"/>
                  </a:lnTo>
                  <a:lnTo>
                    <a:pt x="146" y="599"/>
                  </a:lnTo>
                  <a:lnTo>
                    <a:pt x="146" y="597"/>
                  </a:lnTo>
                  <a:lnTo>
                    <a:pt x="145" y="600"/>
                  </a:lnTo>
                  <a:lnTo>
                    <a:pt x="145" y="597"/>
                  </a:lnTo>
                  <a:lnTo>
                    <a:pt x="143" y="599"/>
                  </a:lnTo>
                  <a:lnTo>
                    <a:pt x="143" y="600"/>
                  </a:lnTo>
                  <a:lnTo>
                    <a:pt x="141" y="602"/>
                  </a:lnTo>
                  <a:lnTo>
                    <a:pt x="141" y="604"/>
                  </a:lnTo>
                  <a:lnTo>
                    <a:pt x="140" y="604"/>
                  </a:lnTo>
                  <a:lnTo>
                    <a:pt x="140" y="602"/>
                  </a:lnTo>
                  <a:lnTo>
                    <a:pt x="138" y="599"/>
                  </a:lnTo>
                  <a:lnTo>
                    <a:pt x="136" y="597"/>
                  </a:lnTo>
                  <a:lnTo>
                    <a:pt x="136" y="595"/>
                  </a:lnTo>
                  <a:lnTo>
                    <a:pt x="140" y="594"/>
                  </a:lnTo>
                  <a:lnTo>
                    <a:pt x="136" y="594"/>
                  </a:lnTo>
                  <a:lnTo>
                    <a:pt x="136" y="592"/>
                  </a:lnTo>
                  <a:lnTo>
                    <a:pt x="136" y="594"/>
                  </a:lnTo>
                  <a:lnTo>
                    <a:pt x="138" y="592"/>
                  </a:lnTo>
                  <a:lnTo>
                    <a:pt x="140" y="592"/>
                  </a:lnTo>
                  <a:lnTo>
                    <a:pt x="140" y="589"/>
                  </a:lnTo>
                  <a:lnTo>
                    <a:pt x="141" y="590"/>
                  </a:lnTo>
                  <a:lnTo>
                    <a:pt x="141" y="589"/>
                  </a:lnTo>
                  <a:lnTo>
                    <a:pt x="143" y="589"/>
                  </a:lnTo>
                  <a:lnTo>
                    <a:pt x="143" y="590"/>
                  </a:lnTo>
                  <a:lnTo>
                    <a:pt x="145" y="592"/>
                  </a:lnTo>
                  <a:lnTo>
                    <a:pt x="145" y="590"/>
                  </a:lnTo>
                  <a:lnTo>
                    <a:pt x="146" y="590"/>
                  </a:lnTo>
                  <a:lnTo>
                    <a:pt x="148" y="592"/>
                  </a:lnTo>
                  <a:lnTo>
                    <a:pt x="148" y="594"/>
                  </a:lnTo>
                  <a:lnTo>
                    <a:pt x="150" y="592"/>
                  </a:lnTo>
                  <a:lnTo>
                    <a:pt x="151" y="589"/>
                  </a:lnTo>
                  <a:lnTo>
                    <a:pt x="155" y="587"/>
                  </a:lnTo>
                  <a:lnTo>
                    <a:pt x="153" y="589"/>
                  </a:lnTo>
                  <a:lnTo>
                    <a:pt x="153" y="587"/>
                  </a:lnTo>
                  <a:lnTo>
                    <a:pt x="151" y="587"/>
                  </a:lnTo>
                  <a:lnTo>
                    <a:pt x="151" y="585"/>
                  </a:lnTo>
                  <a:lnTo>
                    <a:pt x="150" y="583"/>
                  </a:lnTo>
                  <a:lnTo>
                    <a:pt x="151" y="583"/>
                  </a:lnTo>
                  <a:lnTo>
                    <a:pt x="153" y="582"/>
                  </a:lnTo>
                  <a:lnTo>
                    <a:pt x="155" y="583"/>
                  </a:lnTo>
                  <a:lnTo>
                    <a:pt x="153" y="585"/>
                  </a:lnTo>
                  <a:lnTo>
                    <a:pt x="155" y="583"/>
                  </a:lnTo>
                  <a:lnTo>
                    <a:pt x="153" y="582"/>
                  </a:lnTo>
                  <a:lnTo>
                    <a:pt x="153" y="580"/>
                  </a:lnTo>
                  <a:lnTo>
                    <a:pt x="155" y="578"/>
                  </a:lnTo>
                  <a:lnTo>
                    <a:pt x="155" y="577"/>
                  </a:lnTo>
                  <a:lnTo>
                    <a:pt x="153" y="577"/>
                  </a:lnTo>
                  <a:lnTo>
                    <a:pt x="151" y="578"/>
                  </a:lnTo>
                  <a:lnTo>
                    <a:pt x="150" y="578"/>
                  </a:lnTo>
                  <a:lnTo>
                    <a:pt x="150" y="580"/>
                  </a:lnTo>
                  <a:lnTo>
                    <a:pt x="151" y="580"/>
                  </a:lnTo>
                  <a:lnTo>
                    <a:pt x="150" y="580"/>
                  </a:lnTo>
                  <a:lnTo>
                    <a:pt x="150" y="582"/>
                  </a:lnTo>
                  <a:lnTo>
                    <a:pt x="148" y="582"/>
                  </a:lnTo>
                  <a:lnTo>
                    <a:pt x="150" y="580"/>
                  </a:lnTo>
                  <a:lnTo>
                    <a:pt x="148" y="578"/>
                  </a:lnTo>
                  <a:lnTo>
                    <a:pt x="146" y="580"/>
                  </a:lnTo>
                  <a:lnTo>
                    <a:pt x="145" y="582"/>
                  </a:lnTo>
                  <a:lnTo>
                    <a:pt x="145" y="580"/>
                  </a:lnTo>
                  <a:lnTo>
                    <a:pt x="146" y="578"/>
                  </a:lnTo>
                  <a:lnTo>
                    <a:pt x="146" y="575"/>
                  </a:lnTo>
                  <a:lnTo>
                    <a:pt x="145" y="575"/>
                  </a:lnTo>
                  <a:lnTo>
                    <a:pt x="145" y="577"/>
                  </a:lnTo>
                  <a:lnTo>
                    <a:pt x="145" y="578"/>
                  </a:lnTo>
                  <a:lnTo>
                    <a:pt x="141" y="578"/>
                  </a:lnTo>
                  <a:lnTo>
                    <a:pt x="141" y="577"/>
                  </a:lnTo>
                  <a:lnTo>
                    <a:pt x="140" y="575"/>
                  </a:lnTo>
                  <a:lnTo>
                    <a:pt x="141" y="572"/>
                  </a:lnTo>
                  <a:lnTo>
                    <a:pt x="140" y="570"/>
                  </a:lnTo>
                  <a:lnTo>
                    <a:pt x="138" y="572"/>
                  </a:lnTo>
                  <a:lnTo>
                    <a:pt x="138" y="573"/>
                  </a:lnTo>
                  <a:lnTo>
                    <a:pt x="136" y="575"/>
                  </a:lnTo>
                  <a:lnTo>
                    <a:pt x="136" y="577"/>
                  </a:lnTo>
                  <a:lnTo>
                    <a:pt x="134" y="577"/>
                  </a:lnTo>
                  <a:lnTo>
                    <a:pt x="133" y="578"/>
                  </a:lnTo>
                  <a:lnTo>
                    <a:pt x="131" y="578"/>
                  </a:lnTo>
                  <a:lnTo>
                    <a:pt x="131" y="577"/>
                  </a:lnTo>
                  <a:lnTo>
                    <a:pt x="129" y="577"/>
                  </a:lnTo>
                  <a:lnTo>
                    <a:pt x="129" y="575"/>
                  </a:lnTo>
                  <a:lnTo>
                    <a:pt x="129" y="573"/>
                  </a:lnTo>
                  <a:lnTo>
                    <a:pt x="131" y="573"/>
                  </a:lnTo>
                  <a:lnTo>
                    <a:pt x="129" y="573"/>
                  </a:lnTo>
                  <a:lnTo>
                    <a:pt x="129" y="570"/>
                  </a:lnTo>
                  <a:lnTo>
                    <a:pt x="129" y="568"/>
                  </a:lnTo>
                  <a:lnTo>
                    <a:pt x="128" y="568"/>
                  </a:lnTo>
                  <a:lnTo>
                    <a:pt x="129" y="568"/>
                  </a:lnTo>
                  <a:lnTo>
                    <a:pt x="128" y="568"/>
                  </a:lnTo>
                  <a:lnTo>
                    <a:pt x="126" y="566"/>
                  </a:lnTo>
                  <a:lnTo>
                    <a:pt x="124" y="563"/>
                  </a:lnTo>
                  <a:lnTo>
                    <a:pt x="126" y="561"/>
                  </a:lnTo>
                  <a:lnTo>
                    <a:pt x="124" y="560"/>
                  </a:lnTo>
                  <a:lnTo>
                    <a:pt x="121" y="560"/>
                  </a:lnTo>
                  <a:lnTo>
                    <a:pt x="119" y="558"/>
                  </a:lnTo>
                  <a:lnTo>
                    <a:pt x="116" y="560"/>
                  </a:lnTo>
                  <a:lnTo>
                    <a:pt x="114" y="558"/>
                  </a:lnTo>
                  <a:lnTo>
                    <a:pt x="114" y="560"/>
                  </a:lnTo>
                  <a:lnTo>
                    <a:pt x="114" y="558"/>
                  </a:lnTo>
                  <a:lnTo>
                    <a:pt x="114" y="556"/>
                  </a:lnTo>
                  <a:lnTo>
                    <a:pt x="116" y="556"/>
                  </a:lnTo>
                  <a:lnTo>
                    <a:pt x="119" y="556"/>
                  </a:lnTo>
                  <a:lnTo>
                    <a:pt x="119" y="555"/>
                  </a:lnTo>
                  <a:lnTo>
                    <a:pt x="121" y="555"/>
                  </a:lnTo>
                  <a:lnTo>
                    <a:pt x="123" y="553"/>
                  </a:lnTo>
                  <a:lnTo>
                    <a:pt x="124" y="553"/>
                  </a:lnTo>
                  <a:lnTo>
                    <a:pt x="126" y="549"/>
                  </a:lnTo>
                  <a:lnTo>
                    <a:pt x="126" y="548"/>
                  </a:lnTo>
                  <a:lnTo>
                    <a:pt x="126" y="544"/>
                  </a:lnTo>
                  <a:lnTo>
                    <a:pt x="123" y="543"/>
                  </a:lnTo>
                  <a:lnTo>
                    <a:pt x="123" y="541"/>
                  </a:lnTo>
                  <a:lnTo>
                    <a:pt x="124" y="541"/>
                  </a:lnTo>
                  <a:lnTo>
                    <a:pt x="124" y="538"/>
                  </a:lnTo>
                  <a:lnTo>
                    <a:pt x="123" y="538"/>
                  </a:lnTo>
                  <a:lnTo>
                    <a:pt x="124" y="536"/>
                  </a:lnTo>
                  <a:lnTo>
                    <a:pt x="123" y="534"/>
                  </a:lnTo>
                  <a:lnTo>
                    <a:pt x="123" y="532"/>
                  </a:lnTo>
                  <a:lnTo>
                    <a:pt x="119" y="532"/>
                  </a:lnTo>
                  <a:lnTo>
                    <a:pt x="117" y="534"/>
                  </a:lnTo>
                  <a:lnTo>
                    <a:pt x="114" y="534"/>
                  </a:lnTo>
                  <a:lnTo>
                    <a:pt x="112" y="532"/>
                  </a:lnTo>
                  <a:lnTo>
                    <a:pt x="111" y="532"/>
                  </a:lnTo>
                  <a:lnTo>
                    <a:pt x="109" y="531"/>
                  </a:lnTo>
                  <a:lnTo>
                    <a:pt x="107" y="531"/>
                  </a:lnTo>
                  <a:lnTo>
                    <a:pt x="106" y="529"/>
                  </a:lnTo>
                  <a:lnTo>
                    <a:pt x="104" y="531"/>
                  </a:lnTo>
                  <a:lnTo>
                    <a:pt x="100" y="532"/>
                  </a:lnTo>
                  <a:lnTo>
                    <a:pt x="99" y="534"/>
                  </a:lnTo>
                  <a:lnTo>
                    <a:pt x="97" y="532"/>
                  </a:lnTo>
                  <a:lnTo>
                    <a:pt x="97" y="529"/>
                  </a:lnTo>
                  <a:lnTo>
                    <a:pt x="95" y="527"/>
                  </a:lnTo>
                  <a:lnTo>
                    <a:pt x="95" y="526"/>
                  </a:lnTo>
                  <a:lnTo>
                    <a:pt x="94" y="526"/>
                  </a:lnTo>
                  <a:lnTo>
                    <a:pt x="92" y="526"/>
                  </a:lnTo>
                  <a:lnTo>
                    <a:pt x="92" y="524"/>
                  </a:lnTo>
                  <a:lnTo>
                    <a:pt x="90" y="522"/>
                  </a:lnTo>
                  <a:lnTo>
                    <a:pt x="89" y="524"/>
                  </a:lnTo>
                  <a:lnTo>
                    <a:pt x="87" y="524"/>
                  </a:lnTo>
                  <a:lnTo>
                    <a:pt x="85" y="526"/>
                  </a:lnTo>
                  <a:lnTo>
                    <a:pt x="83" y="526"/>
                  </a:lnTo>
                  <a:lnTo>
                    <a:pt x="85" y="527"/>
                  </a:lnTo>
                  <a:lnTo>
                    <a:pt x="83" y="531"/>
                  </a:lnTo>
                  <a:lnTo>
                    <a:pt x="83" y="529"/>
                  </a:lnTo>
                  <a:lnTo>
                    <a:pt x="83" y="532"/>
                  </a:lnTo>
                  <a:lnTo>
                    <a:pt x="82" y="531"/>
                  </a:lnTo>
                  <a:lnTo>
                    <a:pt x="82" y="532"/>
                  </a:lnTo>
                  <a:lnTo>
                    <a:pt x="80" y="532"/>
                  </a:lnTo>
                  <a:lnTo>
                    <a:pt x="78" y="529"/>
                  </a:lnTo>
                  <a:lnTo>
                    <a:pt x="78" y="527"/>
                  </a:lnTo>
                  <a:lnTo>
                    <a:pt x="77" y="529"/>
                  </a:lnTo>
                  <a:lnTo>
                    <a:pt x="77" y="527"/>
                  </a:lnTo>
                  <a:lnTo>
                    <a:pt x="75" y="529"/>
                  </a:lnTo>
                  <a:lnTo>
                    <a:pt x="73" y="527"/>
                  </a:lnTo>
                  <a:lnTo>
                    <a:pt x="72" y="527"/>
                  </a:lnTo>
                  <a:lnTo>
                    <a:pt x="73" y="529"/>
                  </a:lnTo>
                  <a:lnTo>
                    <a:pt x="70" y="527"/>
                  </a:lnTo>
                  <a:lnTo>
                    <a:pt x="70" y="526"/>
                  </a:lnTo>
                  <a:lnTo>
                    <a:pt x="70" y="524"/>
                  </a:lnTo>
                  <a:lnTo>
                    <a:pt x="68" y="524"/>
                  </a:lnTo>
                  <a:lnTo>
                    <a:pt x="70" y="526"/>
                  </a:lnTo>
                  <a:lnTo>
                    <a:pt x="68" y="527"/>
                  </a:lnTo>
                  <a:lnTo>
                    <a:pt x="66" y="527"/>
                  </a:lnTo>
                  <a:lnTo>
                    <a:pt x="65" y="527"/>
                  </a:lnTo>
                  <a:lnTo>
                    <a:pt x="63" y="526"/>
                  </a:lnTo>
                  <a:lnTo>
                    <a:pt x="61" y="526"/>
                  </a:lnTo>
                  <a:lnTo>
                    <a:pt x="60" y="524"/>
                  </a:lnTo>
                  <a:lnTo>
                    <a:pt x="63" y="524"/>
                  </a:lnTo>
                  <a:lnTo>
                    <a:pt x="63" y="522"/>
                  </a:lnTo>
                  <a:lnTo>
                    <a:pt x="63" y="521"/>
                  </a:lnTo>
                  <a:lnTo>
                    <a:pt x="61" y="517"/>
                  </a:lnTo>
                  <a:lnTo>
                    <a:pt x="63" y="519"/>
                  </a:lnTo>
                  <a:lnTo>
                    <a:pt x="63" y="517"/>
                  </a:lnTo>
                  <a:lnTo>
                    <a:pt x="65" y="519"/>
                  </a:lnTo>
                  <a:lnTo>
                    <a:pt x="65" y="521"/>
                  </a:lnTo>
                  <a:lnTo>
                    <a:pt x="66" y="521"/>
                  </a:lnTo>
                  <a:lnTo>
                    <a:pt x="68" y="521"/>
                  </a:lnTo>
                  <a:lnTo>
                    <a:pt x="68" y="519"/>
                  </a:lnTo>
                  <a:lnTo>
                    <a:pt x="68" y="521"/>
                  </a:lnTo>
                  <a:lnTo>
                    <a:pt x="70" y="519"/>
                  </a:lnTo>
                  <a:lnTo>
                    <a:pt x="72" y="517"/>
                  </a:lnTo>
                  <a:lnTo>
                    <a:pt x="73" y="515"/>
                  </a:lnTo>
                  <a:lnTo>
                    <a:pt x="72" y="514"/>
                  </a:lnTo>
                  <a:lnTo>
                    <a:pt x="70" y="512"/>
                  </a:lnTo>
                  <a:lnTo>
                    <a:pt x="72" y="512"/>
                  </a:lnTo>
                  <a:lnTo>
                    <a:pt x="73" y="514"/>
                  </a:lnTo>
                  <a:lnTo>
                    <a:pt x="73" y="510"/>
                  </a:lnTo>
                  <a:lnTo>
                    <a:pt x="72" y="510"/>
                  </a:lnTo>
                  <a:lnTo>
                    <a:pt x="70" y="510"/>
                  </a:lnTo>
                  <a:lnTo>
                    <a:pt x="68" y="509"/>
                  </a:lnTo>
                  <a:lnTo>
                    <a:pt x="66" y="512"/>
                  </a:lnTo>
                  <a:lnTo>
                    <a:pt x="66" y="510"/>
                  </a:lnTo>
                  <a:lnTo>
                    <a:pt x="66" y="507"/>
                  </a:lnTo>
                  <a:lnTo>
                    <a:pt x="65" y="507"/>
                  </a:lnTo>
                  <a:lnTo>
                    <a:pt x="65" y="505"/>
                  </a:lnTo>
                  <a:lnTo>
                    <a:pt x="63" y="504"/>
                  </a:lnTo>
                  <a:lnTo>
                    <a:pt x="63" y="502"/>
                  </a:lnTo>
                  <a:lnTo>
                    <a:pt x="61" y="500"/>
                  </a:lnTo>
                  <a:lnTo>
                    <a:pt x="61" y="498"/>
                  </a:lnTo>
                  <a:lnTo>
                    <a:pt x="61" y="497"/>
                  </a:lnTo>
                  <a:lnTo>
                    <a:pt x="63" y="495"/>
                  </a:lnTo>
                  <a:lnTo>
                    <a:pt x="65" y="495"/>
                  </a:lnTo>
                  <a:lnTo>
                    <a:pt x="68" y="495"/>
                  </a:lnTo>
                  <a:lnTo>
                    <a:pt x="70" y="495"/>
                  </a:lnTo>
                  <a:lnTo>
                    <a:pt x="72" y="497"/>
                  </a:lnTo>
                  <a:lnTo>
                    <a:pt x="73" y="498"/>
                  </a:lnTo>
                  <a:lnTo>
                    <a:pt x="75" y="502"/>
                  </a:lnTo>
                  <a:lnTo>
                    <a:pt x="77" y="502"/>
                  </a:lnTo>
                  <a:lnTo>
                    <a:pt x="78" y="502"/>
                  </a:lnTo>
                  <a:lnTo>
                    <a:pt x="78" y="504"/>
                  </a:lnTo>
                  <a:lnTo>
                    <a:pt x="80" y="507"/>
                  </a:lnTo>
                  <a:lnTo>
                    <a:pt x="77" y="507"/>
                  </a:lnTo>
                  <a:lnTo>
                    <a:pt x="78" y="509"/>
                  </a:lnTo>
                  <a:lnTo>
                    <a:pt x="77" y="510"/>
                  </a:lnTo>
                  <a:lnTo>
                    <a:pt x="78" y="510"/>
                  </a:lnTo>
                  <a:lnTo>
                    <a:pt x="80" y="512"/>
                  </a:lnTo>
                  <a:lnTo>
                    <a:pt x="82" y="514"/>
                  </a:lnTo>
                  <a:lnTo>
                    <a:pt x="82" y="515"/>
                  </a:lnTo>
                  <a:lnTo>
                    <a:pt x="83" y="517"/>
                  </a:lnTo>
                  <a:lnTo>
                    <a:pt x="85" y="515"/>
                  </a:lnTo>
                  <a:lnTo>
                    <a:pt x="83" y="515"/>
                  </a:lnTo>
                  <a:lnTo>
                    <a:pt x="83" y="514"/>
                  </a:lnTo>
                  <a:lnTo>
                    <a:pt x="85" y="514"/>
                  </a:lnTo>
                  <a:lnTo>
                    <a:pt x="83" y="512"/>
                  </a:lnTo>
                  <a:lnTo>
                    <a:pt x="83" y="510"/>
                  </a:lnTo>
                  <a:lnTo>
                    <a:pt x="83" y="509"/>
                  </a:lnTo>
                  <a:lnTo>
                    <a:pt x="85" y="509"/>
                  </a:lnTo>
                  <a:lnTo>
                    <a:pt x="87" y="510"/>
                  </a:lnTo>
                  <a:lnTo>
                    <a:pt x="89" y="512"/>
                  </a:lnTo>
                  <a:lnTo>
                    <a:pt x="90" y="512"/>
                  </a:lnTo>
                  <a:lnTo>
                    <a:pt x="92" y="510"/>
                  </a:lnTo>
                  <a:lnTo>
                    <a:pt x="94" y="510"/>
                  </a:lnTo>
                  <a:lnTo>
                    <a:pt x="95" y="510"/>
                  </a:lnTo>
                  <a:lnTo>
                    <a:pt x="97" y="509"/>
                  </a:lnTo>
                  <a:lnTo>
                    <a:pt x="99" y="507"/>
                  </a:lnTo>
                  <a:lnTo>
                    <a:pt x="100" y="505"/>
                  </a:lnTo>
                  <a:lnTo>
                    <a:pt x="104" y="505"/>
                  </a:lnTo>
                  <a:lnTo>
                    <a:pt x="106" y="505"/>
                  </a:lnTo>
                  <a:lnTo>
                    <a:pt x="107" y="504"/>
                  </a:lnTo>
                  <a:lnTo>
                    <a:pt x="107" y="502"/>
                  </a:lnTo>
                  <a:lnTo>
                    <a:pt x="109" y="502"/>
                  </a:lnTo>
                  <a:lnTo>
                    <a:pt x="107" y="500"/>
                  </a:lnTo>
                  <a:lnTo>
                    <a:pt x="106" y="502"/>
                  </a:lnTo>
                  <a:lnTo>
                    <a:pt x="104" y="500"/>
                  </a:lnTo>
                  <a:lnTo>
                    <a:pt x="104" y="502"/>
                  </a:lnTo>
                  <a:lnTo>
                    <a:pt x="100" y="502"/>
                  </a:lnTo>
                  <a:lnTo>
                    <a:pt x="99" y="504"/>
                  </a:lnTo>
                  <a:lnTo>
                    <a:pt x="99" y="505"/>
                  </a:lnTo>
                  <a:lnTo>
                    <a:pt x="99" y="504"/>
                  </a:lnTo>
                  <a:lnTo>
                    <a:pt x="97" y="505"/>
                  </a:lnTo>
                  <a:lnTo>
                    <a:pt x="95" y="504"/>
                  </a:lnTo>
                  <a:lnTo>
                    <a:pt x="94" y="502"/>
                  </a:lnTo>
                  <a:lnTo>
                    <a:pt x="92" y="500"/>
                  </a:lnTo>
                  <a:lnTo>
                    <a:pt x="92" y="498"/>
                  </a:lnTo>
                  <a:lnTo>
                    <a:pt x="90" y="498"/>
                  </a:lnTo>
                  <a:lnTo>
                    <a:pt x="89" y="498"/>
                  </a:lnTo>
                  <a:lnTo>
                    <a:pt x="90" y="497"/>
                  </a:lnTo>
                  <a:lnTo>
                    <a:pt x="89" y="495"/>
                  </a:lnTo>
                  <a:lnTo>
                    <a:pt x="89" y="497"/>
                  </a:lnTo>
                  <a:lnTo>
                    <a:pt x="87" y="495"/>
                  </a:lnTo>
                  <a:lnTo>
                    <a:pt x="83" y="495"/>
                  </a:lnTo>
                  <a:lnTo>
                    <a:pt x="83" y="493"/>
                  </a:lnTo>
                  <a:lnTo>
                    <a:pt x="82" y="493"/>
                  </a:lnTo>
                  <a:lnTo>
                    <a:pt x="83" y="492"/>
                  </a:lnTo>
                  <a:lnTo>
                    <a:pt x="82" y="492"/>
                  </a:lnTo>
                  <a:lnTo>
                    <a:pt x="82" y="490"/>
                  </a:lnTo>
                  <a:lnTo>
                    <a:pt x="80" y="488"/>
                  </a:lnTo>
                  <a:lnTo>
                    <a:pt x="82" y="486"/>
                  </a:lnTo>
                  <a:lnTo>
                    <a:pt x="80" y="486"/>
                  </a:lnTo>
                  <a:lnTo>
                    <a:pt x="83" y="486"/>
                  </a:lnTo>
                  <a:lnTo>
                    <a:pt x="85" y="483"/>
                  </a:lnTo>
                  <a:lnTo>
                    <a:pt x="85" y="485"/>
                  </a:lnTo>
                  <a:lnTo>
                    <a:pt x="87" y="483"/>
                  </a:lnTo>
                  <a:lnTo>
                    <a:pt x="89" y="485"/>
                  </a:lnTo>
                  <a:lnTo>
                    <a:pt x="89" y="483"/>
                  </a:lnTo>
                  <a:lnTo>
                    <a:pt x="90" y="483"/>
                  </a:lnTo>
                  <a:lnTo>
                    <a:pt x="92" y="481"/>
                  </a:lnTo>
                  <a:lnTo>
                    <a:pt x="90" y="481"/>
                  </a:lnTo>
                  <a:lnTo>
                    <a:pt x="87" y="478"/>
                  </a:lnTo>
                  <a:lnTo>
                    <a:pt x="89" y="478"/>
                  </a:lnTo>
                  <a:lnTo>
                    <a:pt x="90" y="476"/>
                  </a:lnTo>
                  <a:lnTo>
                    <a:pt x="90" y="478"/>
                  </a:lnTo>
                  <a:lnTo>
                    <a:pt x="92" y="480"/>
                  </a:lnTo>
                  <a:lnTo>
                    <a:pt x="92" y="478"/>
                  </a:lnTo>
                  <a:lnTo>
                    <a:pt x="92" y="476"/>
                  </a:lnTo>
                  <a:lnTo>
                    <a:pt x="94" y="473"/>
                  </a:lnTo>
                  <a:lnTo>
                    <a:pt x="95" y="475"/>
                  </a:lnTo>
                  <a:lnTo>
                    <a:pt x="95" y="473"/>
                  </a:lnTo>
                  <a:lnTo>
                    <a:pt x="94" y="471"/>
                  </a:lnTo>
                  <a:lnTo>
                    <a:pt x="95" y="469"/>
                  </a:lnTo>
                  <a:lnTo>
                    <a:pt x="94" y="468"/>
                  </a:lnTo>
                  <a:lnTo>
                    <a:pt x="92" y="469"/>
                  </a:lnTo>
                  <a:lnTo>
                    <a:pt x="94" y="471"/>
                  </a:lnTo>
                  <a:lnTo>
                    <a:pt x="92" y="471"/>
                  </a:lnTo>
                  <a:lnTo>
                    <a:pt x="89" y="469"/>
                  </a:lnTo>
                  <a:lnTo>
                    <a:pt x="89" y="471"/>
                  </a:lnTo>
                  <a:lnTo>
                    <a:pt x="87" y="469"/>
                  </a:lnTo>
                  <a:lnTo>
                    <a:pt x="85" y="473"/>
                  </a:lnTo>
                  <a:lnTo>
                    <a:pt x="83" y="473"/>
                  </a:lnTo>
                  <a:lnTo>
                    <a:pt x="83" y="471"/>
                  </a:lnTo>
                  <a:lnTo>
                    <a:pt x="80" y="471"/>
                  </a:lnTo>
                  <a:lnTo>
                    <a:pt x="80" y="469"/>
                  </a:lnTo>
                  <a:lnTo>
                    <a:pt x="80" y="468"/>
                  </a:lnTo>
                  <a:lnTo>
                    <a:pt x="80" y="466"/>
                  </a:lnTo>
                  <a:lnTo>
                    <a:pt x="78" y="464"/>
                  </a:lnTo>
                  <a:lnTo>
                    <a:pt x="80" y="464"/>
                  </a:lnTo>
                  <a:lnTo>
                    <a:pt x="82" y="463"/>
                  </a:lnTo>
                  <a:lnTo>
                    <a:pt x="83" y="461"/>
                  </a:lnTo>
                  <a:lnTo>
                    <a:pt x="82" y="459"/>
                  </a:lnTo>
                  <a:lnTo>
                    <a:pt x="80" y="458"/>
                  </a:lnTo>
                  <a:lnTo>
                    <a:pt x="78" y="456"/>
                  </a:lnTo>
                  <a:lnTo>
                    <a:pt x="75" y="456"/>
                  </a:lnTo>
                  <a:lnTo>
                    <a:pt x="73" y="454"/>
                  </a:lnTo>
                  <a:lnTo>
                    <a:pt x="72" y="451"/>
                  </a:lnTo>
                  <a:lnTo>
                    <a:pt x="70" y="451"/>
                  </a:lnTo>
                  <a:lnTo>
                    <a:pt x="68" y="451"/>
                  </a:lnTo>
                  <a:lnTo>
                    <a:pt x="66" y="451"/>
                  </a:lnTo>
                  <a:lnTo>
                    <a:pt x="65" y="451"/>
                  </a:lnTo>
                  <a:lnTo>
                    <a:pt x="65" y="447"/>
                  </a:lnTo>
                  <a:lnTo>
                    <a:pt x="66" y="447"/>
                  </a:lnTo>
                  <a:lnTo>
                    <a:pt x="66" y="449"/>
                  </a:lnTo>
                  <a:lnTo>
                    <a:pt x="68" y="449"/>
                  </a:lnTo>
                  <a:lnTo>
                    <a:pt x="66" y="447"/>
                  </a:lnTo>
                  <a:lnTo>
                    <a:pt x="68" y="447"/>
                  </a:lnTo>
                  <a:lnTo>
                    <a:pt x="68" y="446"/>
                  </a:lnTo>
                  <a:lnTo>
                    <a:pt x="70" y="442"/>
                  </a:lnTo>
                  <a:lnTo>
                    <a:pt x="72" y="442"/>
                  </a:lnTo>
                  <a:lnTo>
                    <a:pt x="73" y="441"/>
                  </a:lnTo>
                  <a:lnTo>
                    <a:pt x="73" y="437"/>
                  </a:lnTo>
                  <a:lnTo>
                    <a:pt x="75" y="435"/>
                  </a:lnTo>
                  <a:lnTo>
                    <a:pt x="75" y="434"/>
                  </a:lnTo>
                  <a:lnTo>
                    <a:pt x="77" y="434"/>
                  </a:lnTo>
                  <a:lnTo>
                    <a:pt x="78" y="432"/>
                  </a:lnTo>
                  <a:lnTo>
                    <a:pt x="78" y="429"/>
                  </a:lnTo>
                  <a:lnTo>
                    <a:pt x="78" y="427"/>
                  </a:lnTo>
                  <a:lnTo>
                    <a:pt x="78" y="425"/>
                  </a:lnTo>
                  <a:lnTo>
                    <a:pt x="77" y="425"/>
                  </a:lnTo>
                  <a:lnTo>
                    <a:pt x="75" y="425"/>
                  </a:lnTo>
                  <a:lnTo>
                    <a:pt x="73" y="429"/>
                  </a:lnTo>
                  <a:lnTo>
                    <a:pt x="72" y="427"/>
                  </a:lnTo>
                  <a:lnTo>
                    <a:pt x="68" y="429"/>
                  </a:lnTo>
                  <a:lnTo>
                    <a:pt x="66" y="429"/>
                  </a:lnTo>
                  <a:lnTo>
                    <a:pt x="65" y="430"/>
                  </a:lnTo>
                  <a:lnTo>
                    <a:pt x="63" y="430"/>
                  </a:lnTo>
                  <a:lnTo>
                    <a:pt x="61" y="430"/>
                  </a:lnTo>
                  <a:lnTo>
                    <a:pt x="60" y="432"/>
                  </a:lnTo>
                  <a:lnTo>
                    <a:pt x="58" y="434"/>
                  </a:lnTo>
                  <a:lnTo>
                    <a:pt x="56" y="434"/>
                  </a:lnTo>
                  <a:lnTo>
                    <a:pt x="55" y="434"/>
                  </a:lnTo>
                  <a:lnTo>
                    <a:pt x="53" y="435"/>
                  </a:lnTo>
                  <a:lnTo>
                    <a:pt x="51" y="437"/>
                  </a:lnTo>
                  <a:lnTo>
                    <a:pt x="49" y="439"/>
                  </a:lnTo>
                  <a:lnTo>
                    <a:pt x="48" y="439"/>
                  </a:lnTo>
                  <a:lnTo>
                    <a:pt x="46" y="441"/>
                  </a:lnTo>
                  <a:lnTo>
                    <a:pt x="44" y="441"/>
                  </a:lnTo>
                  <a:lnTo>
                    <a:pt x="43" y="441"/>
                  </a:lnTo>
                  <a:lnTo>
                    <a:pt x="43" y="442"/>
                  </a:lnTo>
                  <a:lnTo>
                    <a:pt x="41" y="442"/>
                  </a:lnTo>
                  <a:lnTo>
                    <a:pt x="39" y="442"/>
                  </a:lnTo>
                  <a:lnTo>
                    <a:pt x="38" y="444"/>
                  </a:lnTo>
                  <a:lnTo>
                    <a:pt x="36" y="444"/>
                  </a:lnTo>
                  <a:lnTo>
                    <a:pt x="34" y="444"/>
                  </a:lnTo>
                  <a:lnTo>
                    <a:pt x="32" y="444"/>
                  </a:lnTo>
                  <a:lnTo>
                    <a:pt x="32" y="441"/>
                  </a:lnTo>
                  <a:lnTo>
                    <a:pt x="32" y="439"/>
                  </a:lnTo>
                  <a:lnTo>
                    <a:pt x="32" y="437"/>
                  </a:lnTo>
                  <a:lnTo>
                    <a:pt x="32" y="435"/>
                  </a:lnTo>
                  <a:lnTo>
                    <a:pt x="34" y="434"/>
                  </a:lnTo>
                  <a:lnTo>
                    <a:pt x="34" y="432"/>
                  </a:lnTo>
                  <a:lnTo>
                    <a:pt x="34" y="429"/>
                  </a:lnTo>
                  <a:lnTo>
                    <a:pt x="34" y="427"/>
                  </a:lnTo>
                  <a:lnTo>
                    <a:pt x="34" y="425"/>
                  </a:lnTo>
                  <a:lnTo>
                    <a:pt x="32" y="424"/>
                  </a:lnTo>
                  <a:lnTo>
                    <a:pt x="32" y="422"/>
                  </a:lnTo>
                  <a:lnTo>
                    <a:pt x="32" y="420"/>
                  </a:lnTo>
                  <a:lnTo>
                    <a:pt x="32" y="418"/>
                  </a:lnTo>
                  <a:lnTo>
                    <a:pt x="31" y="417"/>
                  </a:lnTo>
                  <a:lnTo>
                    <a:pt x="31" y="413"/>
                  </a:lnTo>
                  <a:lnTo>
                    <a:pt x="29" y="412"/>
                  </a:lnTo>
                  <a:lnTo>
                    <a:pt x="31" y="412"/>
                  </a:lnTo>
                  <a:lnTo>
                    <a:pt x="29" y="410"/>
                  </a:lnTo>
                  <a:lnTo>
                    <a:pt x="31" y="410"/>
                  </a:lnTo>
                  <a:lnTo>
                    <a:pt x="31" y="408"/>
                  </a:lnTo>
                  <a:lnTo>
                    <a:pt x="31" y="407"/>
                  </a:lnTo>
                  <a:lnTo>
                    <a:pt x="31" y="405"/>
                  </a:lnTo>
                  <a:lnTo>
                    <a:pt x="34" y="405"/>
                  </a:lnTo>
                  <a:lnTo>
                    <a:pt x="36" y="403"/>
                  </a:lnTo>
                  <a:lnTo>
                    <a:pt x="38" y="403"/>
                  </a:lnTo>
                  <a:lnTo>
                    <a:pt x="38" y="400"/>
                  </a:lnTo>
                  <a:lnTo>
                    <a:pt x="39" y="400"/>
                  </a:lnTo>
                  <a:lnTo>
                    <a:pt x="38" y="396"/>
                  </a:lnTo>
                  <a:lnTo>
                    <a:pt x="41" y="395"/>
                  </a:lnTo>
                  <a:lnTo>
                    <a:pt x="39" y="393"/>
                  </a:lnTo>
                  <a:lnTo>
                    <a:pt x="39" y="391"/>
                  </a:lnTo>
                  <a:lnTo>
                    <a:pt x="39" y="390"/>
                  </a:lnTo>
                  <a:lnTo>
                    <a:pt x="39" y="388"/>
                  </a:lnTo>
                  <a:lnTo>
                    <a:pt x="43" y="388"/>
                  </a:lnTo>
                  <a:lnTo>
                    <a:pt x="44" y="386"/>
                  </a:lnTo>
                  <a:lnTo>
                    <a:pt x="46" y="383"/>
                  </a:lnTo>
                  <a:lnTo>
                    <a:pt x="46" y="381"/>
                  </a:lnTo>
                  <a:lnTo>
                    <a:pt x="48" y="381"/>
                  </a:lnTo>
                  <a:lnTo>
                    <a:pt x="49" y="378"/>
                  </a:lnTo>
                  <a:lnTo>
                    <a:pt x="49" y="376"/>
                  </a:lnTo>
                  <a:lnTo>
                    <a:pt x="51" y="374"/>
                  </a:lnTo>
                  <a:lnTo>
                    <a:pt x="53" y="371"/>
                  </a:lnTo>
                  <a:lnTo>
                    <a:pt x="55" y="371"/>
                  </a:lnTo>
                  <a:lnTo>
                    <a:pt x="55" y="369"/>
                  </a:lnTo>
                  <a:lnTo>
                    <a:pt x="58" y="369"/>
                  </a:lnTo>
                  <a:lnTo>
                    <a:pt x="61" y="369"/>
                  </a:lnTo>
                  <a:lnTo>
                    <a:pt x="63" y="367"/>
                  </a:lnTo>
                  <a:lnTo>
                    <a:pt x="65" y="369"/>
                  </a:lnTo>
                  <a:lnTo>
                    <a:pt x="66" y="369"/>
                  </a:lnTo>
                  <a:lnTo>
                    <a:pt x="68" y="367"/>
                  </a:lnTo>
                  <a:lnTo>
                    <a:pt x="70" y="367"/>
                  </a:lnTo>
                  <a:lnTo>
                    <a:pt x="70" y="364"/>
                  </a:lnTo>
                  <a:lnTo>
                    <a:pt x="72" y="364"/>
                  </a:lnTo>
                  <a:lnTo>
                    <a:pt x="73" y="362"/>
                  </a:lnTo>
                  <a:lnTo>
                    <a:pt x="75" y="362"/>
                  </a:lnTo>
                  <a:lnTo>
                    <a:pt x="77" y="362"/>
                  </a:lnTo>
                  <a:lnTo>
                    <a:pt x="78" y="362"/>
                  </a:lnTo>
                  <a:lnTo>
                    <a:pt x="80" y="361"/>
                  </a:lnTo>
                  <a:lnTo>
                    <a:pt x="82" y="359"/>
                  </a:lnTo>
                  <a:lnTo>
                    <a:pt x="83" y="361"/>
                  </a:lnTo>
                  <a:lnTo>
                    <a:pt x="85" y="362"/>
                  </a:lnTo>
                  <a:lnTo>
                    <a:pt x="83" y="364"/>
                  </a:lnTo>
                  <a:lnTo>
                    <a:pt x="85" y="364"/>
                  </a:lnTo>
                  <a:lnTo>
                    <a:pt x="87" y="366"/>
                  </a:lnTo>
                  <a:lnTo>
                    <a:pt x="89" y="366"/>
                  </a:lnTo>
                  <a:lnTo>
                    <a:pt x="92" y="367"/>
                  </a:lnTo>
                  <a:lnTo>
                    <a:pt x="95" y="367"/>
                  </a:lnTo>
                  <a:lnTo>
                    <a:pt x="97" y="367"/>
                  </a:lnTo>
                  <a:lnTo>
                    <a:pt x="99" y="367"/>
                  </a:lnTo>
                  <a:lnTo>
                    <a:pt x="100" y="366"/>
                  </a:lnTo>
                  <a:lnTo>
                    <a:pt x="102" y="364"/>
                  </a:lnTo>
                  <a:lnTo>
                    <a:pt x="104" y="366"/>
                  </a:lnTo>
                  <a:lnTo>
                    <a:pt x="106" y="364"/>
                  </a:lnTo>
                  <a:lnTo>
                    <a:pt x="109" y="364"/>
                  </a:lnTo>
                  <a:lnTo>
                    <a:pt x="111" y="364"/>
                  </a:lnTo>
                  <a:lnTo>
                    <a:pt x="111" y="362"/>
                  </a:lnTo>
                  <a:lnTo>
                    <a:pt x="112" y="361"/>
                  </a:lnTo>
                  <a:lnTo>
                    <a:pt x="114" y="359"/>
                  </a:lnTo>
                  <a:lnTo>
                    <a:pt x="114" y="357"/>
                  </a:lnTo>
                  <a:lnTo>
                    <a:pt x="112" y="357"/>
                  </a:lnTo>
                  <a:lnTo>
                    <a:pt x="111" y="357"/>
                  </a:lnTo>
                  <a:lnTo>
                    <a:pt x="109" y="359"/>
                  </a:lnTo>
                  <a:lnTo>
                    <a:pt x="109" y="357"/>
                  </a:lnTo>
                  <a:lnTo>
                    <a:pt x="106" y="356"/>
                  </a:lnTo>
                  <a:lnTo>
                    <a:pt x="106" y="354"/>
                  </a:lnTo>
                  <a:lnTo>
                    <a:pt x="104" y="354"/>
                  </a:lnTo>
                  <a:lnTo>
                    <a:pt x="102" y="354"/>
                  </a:lnTo>
                  <a:lnTo>
                    <a:pt x="102" y="352"/>
                  </a:lnTo>
                  <a:lnTo>
                    <a:pt x="102" y="349"/>
                  </a:lnTo>
                  <a:lnTo>
                    <a:pt x="104" y="349"/>
                  </a:lnTo>
                  <a:lnTo>
                    <a:pt x="106" y="349"/>
                  </a:lnTo>
                  <a:lnTo>
                    <a:pt x="107" y="350"/>
                  </a:lnTo>
                  <a:lnTo>
                    <a:pt x="107" y="349"/>
                  </a:lnTo>
                  <a:lnTo>
                    <a:pt x="109" y="349"/>
                  </a:lnTo>
                  <a:lnTo>
                    <a:pt x="111" y="349"/>
                  </a:lnTo>
                  <a:lnTo>
                    <a:pt x="114" y="347"/>
                  </a:lnTo>
                  <a:lnTo>
                    <a:pt x="116" y="349"/>
                  </a:lnTo>
                  <a:lnTo>
                    <a:pt x="117" y="349"/>
                  </a:lnTo>
                  <a:lnTo>
                    <a:pt x="119" y="349"/>
                  </a:lnTo>
                  <a:lnTo>
                    <a:pt x="121" y="349"/>
                  </a:lnTo>
                  <a:lnTo>
                    <a:pt x="121" y="350"/>
                  </a:lnTo>
                  <a:lnTo>
                    <a:pt x="119" y="352"/>
                  </a:lnTo>
                  <a:lnTo>
                    <a:pt x="117" y="354"/>
                  </a:lnTo>
                  <a:lnTo>
                    <a:pt x="116" y="354"/>
                  </a:lnTo>
                  <a:lnTo>
                    <a:pt x="114" y="356"/>
                  </a:lnTo>
                  <a:lnTo>
                    <a:pt x="117" y="357"/>
                  </a:lnTo>
                  <a:lnTo>
                    <a:pt x="119" y="359"/>
                  </a:lnTo>
                  <a:lnTo>
                    <a:pt x="119" y="357"/>
                  </a:lnTo>
                  <a:lnTo>
                    <a:pt x="123" y="356"/>
                  </a:lnTo>
                  <a:lnTo>
                    <a:pt x="124" y="356"/>
                  </a:lnTo>
                  <a:lnTo>
                    <a:pt x="126" y="354"/>
                  </a:lnTo>
                  <a:lnTo>
                    <a:pt x="128" y="354"/>
                  </a:lnTo>
                  <a:lnTo>
                    <a:pt x="128" y="352"/>
                  </a:lnTo>
                  <a:lnTo>
                    <a:pt x="129" y="352"/>
                  </a:lnTo>
                  <a:lnTo>
                    <a:pt x="131" y="352"/>
                  </a:lnTo>
                  <a:lnTo>
                    <a:pt x="133" y="350"/>
                  </a:lnTo>
                  <a:lnTo>
                    <a:pt x="136" y="350"/>
                  </a:lnTo>
                  <a:lnTo>
                    <a:pt x="138" y="349"/>
                  </a:lnTo>
                  <a:lnTo>
                    <a:pt x="140" y="349"/>
                  </a:lnTo>
                  <a:lnTo>
                    <a:pt x="141" y="349"/>
                  </a:lnTo>
                  <a:lnTo>
                    <a:pt x="145" y="349"/>
                  </a:lnTo>
                  <a:lnTo>
                    <a:pt x="146" y="347"/>
                  </a:lnTo>
                  <a:lnTo>
                    <a:pt x="150" y="349"/>
                  </a:lnTo>
                  <a:lnTo>
                    <a:pt x="151" y="349"/>
                  </a:lnTo>
                  <a:lnTo>
                    <a:pt x="155" y="349"/>
                  </a:lnTo>
                  <a:lnTo>
                    <a:pt x="157" y="347"/>
                  </a:lnTo>
                  <a:lnTo>
                    <a:pt x="158" y="345"/>
                  </a:lnTo>
                  <a:lnTo>
                    <a:pt x="162" y="344"/>
                  </a:lnTo>
                  <a:lnTo>
                    <a:pt x="163" y="344"/>
                  </a:lnTo>
                  <a:lnTo>
                    <a:pt x="165" y="344"/>
                  </a:lnTo>
                  <a:lnTo>
                    <a:pt x="167" y="344"/>
                  </a:lnTo>
                  <a:lnTo>
                    <a:pt x="170" y="345"/>
                  </a:lnTo>
                  <a:lnTo>
                    <a:pt x="172" y="344"/>
                  </a:lnTo>
                  <a:lnTo>
                    <a:pt x="175" y="342"/>
                  </a:lnTo>
                  <a:lnTo>
                    <a:pt x="177" y="342"/>
                  </a:lnTo>
                  <a:lnTo>
                    <a:pt x="177" y="340"/>
                  </a:lnTo>
                  <a:lnTo>
                    <a:pt x="177" y="339"/>
                  </a:lnTo>
                  <a:lnTo>
                    <a:pt x="180" y="337"/>
                  </a:lnTo>
                  <a:lnTo>
                    <a:pt x="180" y="335"/>
                  </a:lnTo>
                  <a:lnTo>
                    <a:pt x="179" y="335"/>
                  </a:lnTo>
                  <a:lnTo>
                    <a:pt x="175" y="333"/>
                  </a:lnTo>
                  <a:lnTo>
                    <a:pt x="172" y="335"/>
                  </a:lnTo>
                  <a:lnTo>
                    <a:pt x="170" y="337"/>
                  </a:lnTo>
                  <a:lnTo>
                    <a:pt x="168" y="337"/>
                  </a:lnTo>
                  <a:lnTo>
                    <a:pt x="165" y="337"/>
                  </a:lnTo>
                  <a:lnTo>
                    <a:pt x="163" y="335"/>
                  </a:lnTo>
                  <a:lnTo>
                    <a:pt x="160" y="335"/>
                  </a:lnTo>
                  <a:lnTo>
                    <a:pt x="158" y="335"/>
                  </a:lnTo>
                  <a:lnTo>
                    <a:pt x="158" y="333"/>
                  </a:lnTo>
                  <a:lnTo>
                    <a:pt x="160" y="332"/>
                  </a:lnTo>
                  <a:lnTo>
                    <a:pt x="163" y="330"/>
                  </a:lnTo>
                  <a:lnTo>
                    <a:pt x="165" y="328"/>
                  </a:lnTo>
                  <a:lnTo>
                    <a:pt x="167" y="327"/>
                  </a:lnTo>
                  <a:lnTo>
                    <a:pt x="167" y="325"/>
                  </a:lnTo>
                  <a:lnTo>
                    <a:pt x="168" y="323"/>
                  </a:lnTo>
                  <a:lnTo>
                    <a:pt x="170" y="323"/>
                  </a:lnTo>
                  <a:lnTo>
                    <a:pt x="172" y="323"/>
                  </a:lnTo>
                  <a:lnTo>
                    <a:pt x="174" y="321"/>
                  </a:lnTo>
                  <a:lnTo>
                    <a:pt x="175" y="320"/>
                  </a:lnTo>
                  <a:lnTo>
                    <a:pt x="177" y="320"/>
                  </a:lnTo>
                  <a:lnTo>
                    <a:pt x="179" y="320"/>
                  </a:lnTo>
                  <a:lnTo>
                    <a:pt x="180" y="318"/>
                  </a:lnTo>
                  <a:lnTo>
                    <a:pt x="182" y="318"/>
                  </a:lnTo>
                  <a:lnTo>
                    <a:pt x="184" y="318"/>
                  </a:lnTo>
                  <a:lnTo>
                    <a:pt x="185" y="316"/>
                  </a:lnTo>
                  <a:lnTo>
                    <a:pt x="187" y="315"/>
                  </a:lnTo>
                  <a:lnTo>
                    <a:pt x="191" y="315"/>
                  </a:lnTo>
                  <a:lnTo>
                    <a:pt x="191" y="313"/>
                  </a:lnTo>
                  <a:lnTo>
                    <a:pt x="191" y="311"/>
                  </a:lnTo>
                  <a:lnTo>
                    <a:pt x="192" y="310"/>
                  </a:lnTo>
                  <a:lnTo>
                    <a:pt x="194" y="311"/>
                  </a:lnTo>
                  <a:lnTo>
                    <a:pt x="192" y="311"/>
                  </a:lnTo>
                  <a:lnTo>
                    <a:pt x="194" y="311"/>
                  </a:lnTo>
                  <a:lnTo>
                    <a:pt x="196" y="313"/>
                  </a:lnTo>
                  <a:lnTo>
                    <a:pt x="197" y="313"/>
                  </a:lnTo>
                  <a:lnTo>
                    <a:pt x="199" y="311"/>
                  </a:lnTo>
                  <a:lnTo>
                    <a:pt x="201" y="311"/>
                  </a:lnTo>
                  <a:lnTo>
                    <a:pt x="201" y="310"/>
                  </a:lnTo>
                  <a:lnTo>
                    <a:pt x="202" y="310"/>
                  </a:lnTo>
                  <a:lnTo>
                    <a:pt x="204" y="308"/>
                  </a:lnTo>
                  <a:lnTo>
                    <a:pt x="206" y="308"/>
                  </a:lnTo>
                  <a:lnTo>
                    <a:pt x="208" y="308"/>
                  </a:lnTo>
                  <a:lnTo>
                    <a:pt x="209" y="306"/>
                  </a:lnTo>
                  <a:lnTo>
                    <a:pt x="211" y="304"/>
                  </a:lnTo>
                  <a:lnTo>
                    <a:pt x="214" y="306"/>
                  </a:lnTo>
                  <a:lnTo>
                    <a:pt x="216" y="304"/>
                  </a:lnTo>
                  <a:lnTo>
                    <a:pt x="214" y="303"/>
                  </a:lnTo>
                  <a:lnTo>
                    <a:pt x="211" y="303"/>
                  </a:lnTo>
                  <a:lnTo>
                    <a:pt x="211" y="304"/>
                  </a:lnTo>
                  <a:lnTo>
                    <a:pt x="208" y="304"/>
                  </a:lnTo>
                  <a:lnTo>
                    <a:pt x="208" y="306"/>
                  </a:lnTo>
                  <a:lnTo>
                    <a:pt x="206" y="306"/>
                  </a:lnTo>
                  <a:lnTo>
                    <a:pt x="204" y="304"/>
                  </a:lnTo>
                  <a:lnTo>
                    <a:pt x="201" y="304"/>
                  </a:lnTo>
                  <a:lnTo>
                    <a:pt x="199" y="306"/>
                  </a:lnTo>
                  <a:lnTo>
                    <a:pt x="197" y="304"/>
                  </a:lnTo>
                  <a:lnTo>
                    <a:pt x="196" y="306"/>
                  </a:lnTo>
                  <a:lnTo>
                    <a:pt x="192" y="308"/>
                  </a:lnTo>
                  <a:lnTo>
                    <a:pt x="191" y="308"/>
                  </a:lnTo>
                  <a:lnTo>
                    <a:pt x="189" y="308"/>
                  </a:lnTo>
                  <a:lnTo>
                    <a:pt x="187" y="310"/>
                  </a:lnTo>
                  <a:lnTo>
                    <a:pt x="185" y="311"/>
                  </a:lnTo>
                  <a:lnTo>
                    <a:pt x="184" y="311"/>
                  </a:lnTo>
                  <a:lnTo>
                    <a:pt x="184" y="310"/>
                  </a:lnTo>
                  <a:lnTo>
                    <a:pt x="182" y="310"/>
                  </a:lnTo>
                  <a:lnTo>
                    <a:pt x="184" y="308"/>
                  </a:lnTo>
                  <a:lnTo>
                    <a:pt x="182" y="308"/>
                  </a:lnTo>
                  <a:lnTo>
                    <a:pt x="179" y="308"/>
                  </a:lnTo>
                  <a:lnTo>
                    <a:pt x="179" y="310"/>
                  </a:lnTo>
                  <a:lnTo>
                    <a:pt x="179" y="308"/>
                  </a:lnTo>
                  <a:lnTo>
                    <a:pt x="179" y="306"/>
                  </a:lnTo>
                  <a:lnTo>
                    <a:pt x="179" y="304"/>
                  </a:lnTo>
                  <a:lnTo>
                    <a:pt x="177" y="306"/>
                  </a:lnTo>
                  <a:lnTo>
                    <a:pt x="177" y="304"/>
                  </a:lnTo>
                  <a:lnTo>
                    <a:pt x="175" y="304"/>
                  </a:lnTo>
                  <a:lnTo>
                    <a:pt x="174" y="304"/>
                  </a:lnTo>
                  <a:lnTo>
                    <a:pt x="170" y="304"/>
                  </a:lnTo>
                  <a:lnTo>
                    <a:pt x="168" y="303"/>
                  </a:lnTo>
                  <a:lnTo>
                    <a:pt x="168" y="301"/>
                  </a:lnTo>
                  <a:lnTo>
                    <a:pt x="167" y="301"/>
                  </a:lnTo>
                  <a:lnTo>
                    <a:pt x="163" y="301"/>
                  </a:lnTo>
                  <a:lnTo>
                    <a:pt x="163" y="299"/>
                  </a:lnTo>
                  <a:lnTo>
                    <a:pt x="163" y="301"/>
                  </a:lnTo>
                  <a:lnTo>
                    <a:pt x="162" y="298"/>
                  </a:lnTo>
                  <a:lnTo>
                    <a:pt x="163" y="294"/>
                  </a:lnTo>
                  <a:lnTo>
                    <a:pt x="163" y="293"/>
                  </a:lnTo>
                  <a:lnTo>
                    <a:pt x="163" y="291"/>
                  </a:lnTo>
                  <a:lnTo>
                    <a:pt x="163" y="289"/>
                  </a:lnTo>
                  <a:lnTo>
                    <a:pt x="162" y="287"/>
                  </a:lnTo>
                  <a:lnTo>
                    <a:pt x="163" y="284"/>
                  </a:lnTo>
                  <a:lnTo>
                    <a:pt x="165" y="281"/>
                  </a:lnTo>
                  <a:lnTo>
                    <a:pt x="167" y="281"/>
                  </a:lnTo>
                  <a:lnTo>
                    <a:pt x="168" y="281"/>
                  </a:lnTo>
                  <a:lnTo>
                    <a:pt x="170" y="279"/>
                  </a:lnTo>
                  <a:lnTo>
                    <a:pt x="172" y="279"/>
                  </a:lnTo>
                  <a:lnTo>
                    <a:pt x="175" y="279"/>
                  </a:lnTo>
                  <a:lnTo>
                    <a:pt x="177" y="279"/>
                  </a:lnTo>
                  <a:lnTo>
                    <a:pt x="180" y="279"/>
                  </a:lnTo>
                  <a:lnTo>
                    <a:pt x="182" y="279"/>
                  </a:lnTo>
                  <a:lnTo>
                    <a:pt x="184" y="279"/>
                  </a:lnTo>
                  <a:lnTo>
                    <a:pt x="187" y="279"/>
                  </a:lnTo>
                  <a:lnTo>
                    <a:pt x="189" y="277"/>
                  </a:lnTo>
                  <a:lnTo>
                    <a:pt x="192" y="279"/>
                  </a:lnTo>
                  <a:lnTo>
                    <a:pt x="194" y="277"/>
                  </a:lnTo>
                  <a:lnTo>
                    <a:pt x="196" y="277"/>
                  </a:lnTo>
                  <a:lnTo>
                    <a:pt x="197" y="277"/>
                  </a:lnTo>
                  <a:lnTo>
                    <a:pt x="201" y="277"/>
                  </a:lnTo>
                  <a:lnTo>
                    <a:pt x="202" y="277"/>
                  </a:lnTo>
                  <a:lnTo>
                    <a:pt x="206" y="276"/>
                  </a:lnTo>
                  <a:lnTo>
                    <a:pt x="208" y="276"/>
                  </a:lnTo>
                  <a:lnTo>
                    <a:pt x="209" y="276"/>
                  </a:lnTo>
                  <a:lnTo>
                    <a:pt x="211" y="276"/>
                  </a:lnTo>
                  <a:lnTo>
                    <a:pt x="213" y="276"/>
                  </a:lnTo>
                  <a:lnTo>
                    <a:pt x="216" y="274"/>
                  </a:lnTo>
                  <a:lnTo>
                    <a:pt x="218" y="272"/>
                  </a:lnTo>
                  <a:lnTo>
                    <a:pt x="219" y="272"/>
                  </a:lnTo>
                  <a:lnTo>
                    <a:pt x="219" y="270"/>
                  </a:lnTo>
                  <a:lnTo>
                    <a:pt x="221" y="270"/>
                  </a:lnTo>
                  <a:lnTo>
                    <a:pt x="221" y="269"/>
                  </a:lnTo>
                  <a:lnTo>
                    <a:pt x="223" y="267"/>
                  </a:lnTo>
                  <a:lnTo>
                    <a:pt x="225" y="267"/>
                  </a:lnTo>
                  <a:lnTo>
                    <a:pt x="226" y="265"/>
                  </a:lnTo>
                  <a:lnTo>
                    <a:pt x="228" y="267"/>
                  </a:lnTo>
                  <a:lnTo>
                    <a:pt x="231" y="267"/>
                  </a:lnTo>
                  <a:lnTo>
                    <a:pt x="233" y="267"/>
                  </a:lnTo>
                  <a:lnTo>
                    <a:pt x="236" y="267"/>
                  </a:lnTo>
                  <a:lnTo>
                    <a:pt x="240" y="267"/>
                  </a:lnTo>
                  <a:lnTo>
                    <a:pt x="243" y="267"/>
                  </a:lnTo>
                  <a:lnTo>
                    <a:pt x="245" y="267"/>
                  </a:lnTo>
                  <a:lnTo>
                    <a:pt x="247" y="267"/>
                  </a:lnTo>
                  <a:lnTo>
                    <a:pt x="248" y="267"/>
                  </a:lnTo>
                  <a:lnTo>
                    <a:pt x="250" y="267"/>
                  </a:lnTo>
                  <a:lnTo>
                    <a:pt x="253" y="267"/>
                  </a:lnTo>
                  <a:lnTo>
                    <a:pt x="257" y="267"/>
                  </a:lnTo>
                  <a:lnTo>
                    <a:pt x="259" y="265"/>
                  </a:lnTo>
                  <a:lnTo>
                    <a:pt x="262" y="265"/>
                  </a:lnTo>
                  <a:lnTo>
                    <a:pt x="264" y="265"/>
                  </a:lnTo>
                  <a:lnTo>
                    <a:pt x="264" y="264"/>
                  </a:lnTo>
                  <a:lnTo>
                    <a:pt x="267" y="264"/>
                  </a:lnTo>
                  <a:lnTo>
                    <a:pt x="269" y="262"/>
                  </a:lnTo>
                  <a:lnTo>
                    <a:pt x="272" y="260"/>
                  </a:lnTo>
                  <a:lnTo>
                    <a:pt x="274" y="260"/>
                  </a:lnTo>
                  <a:lnTo>
                    <a:pt x="276" y="259"/>
                  </a:lnTo>
                  <a:lnTo>
                    <a:pt x="277" y="257"/>
                  </a:lnTo>
                  <a:lnTo>
                    <a:pt x="279" y="255"/>
                  </a:lnTo>
                  <a:lnTo>
                    <a:pt x="279" y="253"/>
                  </a:lnTo>
                  <a:lnTo>
                    <a:pt x="281" y="252"/>
                  </a:lnTo>
                  <a:lnTo>
                    <a:pt x="281" y="248"/>
                  </a:lnTo>
                  <a:lnTo>
                    <a:pt x="281" y="247"/>
                  </a:lnTo>
                  <a:lnTo>
                    <a:pt x="279" y="245"/>
                  </a:lnTo>
                  <a:lnTo>
                    <a:pt x="281" y="245"/>
                  </a:lnTo>
                  <a:lnTo>
                    <a:pt x="279" y="243"/>
                  </a:lnTo>
                  <a:lnTo>
                    <a:pt x="279" y="242"/>
                  </a:lnTo>
                  <a:lnTo>
                    <a:pt x="281" y="240"/>
                  </a:lnTo>
                  <a:lnTo>
                    <a:pt x="282" y="240"/>
                  </a:lnTo>
                  <a:lnTo>
                    <a:pt x="282" y="238"/>
                  </a:lnTo>
                  <a:lnTo>
                    <a:pt x="284" y="236"/>
                  </a:lnTo>
                  <a:lnTo>
                    <a:pt x="286" y="236"/>
                  </a:lnTo>
                  <a:lnTo>
                    <a:pt x="286" y="235"/>
                  </a:lnTo>
                  <a:lnTo>
                    <a:pt x="289" y="235"/>
                  </a:lnTo>
                  <a:lnTo>
                    <a:pt x="289" y="233"/>
                  </a:lnTo>
                  <a:lnTo>
                    <a:pt x="291" y="231"/>
                  </a:lnTo>
                  <a:lnTo>
                    <a:pt x="293" y="230"/>
                  </a:lnTo>
                  <a:lnTo>
                    <a:pt x="294" y="226"/>
                  </a:lnTo>
                  <a:lnTo>
                    <a:pt x="296" y="226"/>
                  </a:lnTo>
                  <a:lnTo>
                    <a:pt x="296" y="225"/>
                  </a:lnTo>
                  <a:lnTo>
                    <a:pt x="298" y="223"/>
                  </a:lnTo>
                  <a:lnTo>
                    <a:pt x="299" y="219"/>
                  </a:lnTo>
                  <a:lnTo>
                    <a:pt x="301" y="219"/>
                  </a:lnTo>
                  <a:lnTo>
                    <a:pt x="303" y="218"/>
                  </a:lnTo>
                  <a:lnTo>
                    <a:pt x="304" y="216"/>
                  </a:lnTo>
                  <a:lnTo>
                    <a:pt x="304" y="214"/>
                  </a:lnTo>
                  <a:lnTo>
                    <a:pt x="306" y="213"/>
                  </a:lnTo>
                  <a:lnTo>
                    <a:pt x="308" y="213"/>
                  </a:lnTo>
                  <a:lnTo>
                    <a:pt x="310" y="211"/>
                  </a:lnTo>
                  <a:lnTo>
                    <a:pt x="311" y="208"/>
                  </a:lnTo>
                  <a:lnTo>
                    <a:pt x="313" y="204"/>
                  </a:lnTo>
                  <a:lnTo>
                    <a:pt x="315" y="202"/>
                  </a:lnTo>
                  <a:lnTo>
                    <a:pt x="315" y="201"/>
                  </a:lnTo>
                  <a:lnTo>
                    <a:pt x="318" y="199"/>
                  </a:lnTo>
                  <a:lnTo>
                    <a:pt x="320" y="196"/>
                  </a:lnTo>
                  <a:lnTo>
                    <a:pt x="321" y="197"/>
                  </a:lnTo>
                  <a:lnTo>
                    <a:pt x="321" y="196"/>
                  </a:lnTo>
                  <a:lnTo>
                    <a:pt x="323" y="192"/>
                  </a:lnTo>
                  <a:lnTo>
                    <a:pt x="325" y="191"/>
                  </a:lnTo>
                  <a:lnTo>
                    <a:pt x="325" y="192"/>
                  </a:lnTo>
                  <a:lnTo>
                    <a:pt x="325" y="191"/>
                  </a:lnTo>
                  <a:lnTo>
                    <a:pt x="328" y="189"/>
                  </a:lnTo>
                  <a:lnTo>
                    <a:pt x="330" y="187"/>
                  </a:lnTo>
                  <a:lnTo>
                    <a:pt x="332" y="187"/>
                  </a:lnTo>
                  <a:lnTo>
                    <a:pt x="333" y="185"/>
                  </a:lnTo>
                  <a:lnTo>
                    <a:pt x="337" y="184"/>
                  </a:lnTo>
                  <a:lnTo>
                    <a:pt x="338" y="182"/>
                  </a:lnTo>
                  <a:lnTo>
                    <a:pt x="342" y="182"/>
                  </a:lnTo>
                  <a:lnTo>
                    <a:pt x="342" y="180"/>
                  </a:lnTo>
                  <a:lnTo>
                    <a:pt x="344" y="180"/>
                  </a:lnTo>
                  <a:lnTo>
                    <a:pt x="344" y="179"/>
                  </a:lnTo>
                  <a:lnTo>
                    <a:pt x="345" y="177"/>
                  </a:lnTo>
                  <a:lnTo>
                    <a:pt x="349" y="174"/>
                  </a:lnTo>
                  <a:lnTo>
                    <a:pt x="350" y="174"/>
                  </a:lnTo>
                  <a:lnTo>
                    <a:pt x="350" y="172"/>
                  </a:lnTo>
                  <a:lnTo>
                    <a:pt x="352" y="172"/>
                  </a:lnTo>
                  <a:lnTo>
                    <a:pt x="354" y="170"/>
                  </a:lnTo>
                  <a:lnTo>
                    <a:pt x="355" y="167"/>
                  </a:lnTo>
                  <a:lnTo>
                    <a:pt x="359" y="167"/>
                  </a:lnTo>
                  <a:lnTo>
                    <a:pt x="359" y="165"/>
                  </a:lnTo>
                  <a:lnTo>
                    <a:pt x="361" y="163"/>
                  </a:lnTo>
                  <a:lnTo>
                    <a:pt x="364" y="162"/>
                  </a:lnTo>
                  <a:lnTo>
                    <a:pt x="366" y="162"/>
                  </a:lnTo>
                  <a:lnTo>
                    <a:pt x="367" y="162"/>
                  </a:lnTo>
                  <a:lnTo>
                    <a:pt x="371" y="162"/>
                  </a:lnTo>
                  <a:lnTo>
                    <a:pt x="374" y="160"/>
                  </a:lnTo>
                  <a:lnTo>
                    <a:pt x="376" y="160"/>
                  </a:lnTo>
                  <a:lnTo>
                    <a:pt x="378" y="160"/>
                  </a:lnTo>
                  <a:lnTo>
                    <a:pt x="379" y="160"/>
                  </a:lnTo>
                  <a:lnTo>
                    <a:pt x="381" y="158"/>
                  </a:lnTo>
                  <a:lnTo>
                    <a:pt x="383" y="158"/>
                  </a:lnTo>
                  <a:lnTo>
                    <a:pt x="384" y="158"/>
                  </a:lnTo>
                  <a:lnTo>
                    <a:pt x="386" y="158"/>
                  </a:lnTo>
                  <a:lnTo>
                    <a:pt x="388" y="158"/>
                  </a:lnTo>
                  <a:lnTo>
                    <a:pt x="389" y="156"/>
                  </a:lnTo>
                  <a:lnTo>
                    <a:pt x="391" y="156"/>
                  </a:lnTo>
                  <a:lnTo>
                    <a:pt x="393" y="155"/>
                  </a:lnTo>
                  <a:lnTo>
                    <a:pt x="395" y="155"/>
                  </a:lnTo>
                  <a:lnTo>
                    <a:pt x="396" y="153"/>
                  </a:lnTo>
                  <a:lnTo>
                    <a:pt x="398" y="153"/>
                  </a:lnTo>
                  <a:lnTo>
                    <a:pt x="400" y="153"/>
                  </a:lnTo>
                  <a:lnTo>
                    <a:pt x="403" y="153"/>
                  </a:lnTo>
                  <a:lnTo>
                    <a:pt x="405" y="151"/>
                  </a:lnTo>
                  <a:lnTo>
                    <a:pt x="405" y="153"/>
                  </a:lnTo>
                  <a:lnTo>
                    <a:pt x="406" y="151"/>
                  </a:lnTo>
                  <a:lnTo>
                    <a:pt x="408" y="151"/>
                  </a:lnTo>
                  <a:lnTo>
                    <a:pt x="410" y="151"/>
                  </a:lnTo>
                  <a:lnTo>
                    <a:pt x="412" y="151"/>
                  </a:lnTo>
                  <a:lnTo>
                    <a:pt x="413" y="150"/>
                  </a:lnTo>
                  <a:lnTo>
                    <a:pt x="415" y="150"/>
                  </a:lnTo>
                  <a:lnTo>
                    <a:pt x="417" y="148"/>
                  </a:lnTo>
                  <a:lnTo>
                    <a:pt x="420" y="146"/>
                  </a:lnTo>
                  <a:lnTo>
                    <a:pt x="423" y="146"/>
                  </a:lnTo>
                  <a:lnTo>
                    <a:pt x="425" y="146"/>
                  </a:lnTo>
                  <a:lnTo>
                    <a:pt x="427" y="146"/>
                  </a:lnTo>
                  <a:lnTo>
                    <a:pt x="429" y="145"/>
                  </a:lnTo>
                  <a:lnTo>
                    <a:pt x="430" y="145"/>
                  </a:lnTo>
                  <a:lnTo>
                    <a:pt x="432" y="145"/>
                  </a:lnTo>
                  <a:lnTo>
                    <a:pt x="434" y="143"/>
                  </a:lnTo>
                  <a:lnTo>
                    <a:pt x="435" y="141"/>
                  </a:lnTo>
                  <a:lnTo>
                    <a:pt x="437" y="139"/>
                  </a:lnTo>
                  <a:lnTo>
                    <a:pt x="437" y="138"/>
                  </a:lnTo>
                  <a:lnTo>
                    <a:pt x="439" y="138"/>
                  </a:lnTo>
                  <a:lnTo>
                    <a:pt x="439" y="134"/>
                  </a:lnTo>
                  <a:lnTo>
                    <a:pt x="440" y="133"/>
                  </a:lnTo>
                  <a:lnTo>
                    <a:pt x="440" y="131"/>
                  </a:lnTo>
                  <a:lnTo>
                    <a:pt x="439" y="129"/>
                  </a:lnTo>
                  <a:lnTo>
                    <a:pt x="440" y="129"/>
                  </a:lnTo>
                  <a:lnTo>
                    <a:pt x="444" y="129"/>
                  </a:lnTo>
                  <a:lnTo>
                    <a:pt x="446" y="131"/>
                  </a:lnTo>
                  <a:lnTo>
                    <a:pt x="447" y="133"/>
                  </a:lnTo>
                  <a:lnTo>
                    <a:pt x="449" y="133"/>
                  </a:lnTo>
                  <a:lnTo>
                    <a:pt x="451" y="131"/>
                  </a:lnTo>
                  <a:lnTo>
                    <a:pt x="452" y="129"/>
                  </a:lnTo>
                  <a:lnTo>
                    <a:pt x="454" y="131"/>
                  </a:lnTo>
                  <a:lnTo>
                    <a:pt x="451" y="131"/>
                  </a:lnTo>
                  <a:lnTo>
                    <a:pt x="451" y="133"/>
                  </a:lnTo>
                  <a:lnTo>
                    <a:pt x="451" y="134"/>
                  </a:lnTo>
                  <a:lnTo>
                    <a:pt x="451" y="136"/>
                  </a:lnTo>
                  <a:lnTo>
                    <a:pt x="451" y="138"/>
                  </a:lnTo>
                  <a:lnTo>
                    <a:pt x="451" y="139"/>
                  </a:lnTo>
                  <a:lnTo>
                    <a:pt x="452" y="141"/>
                  </a:lnTo>
                  <a:lnTo>
                    <a:pt x="454" y="141"/>
                  </a:lnTo>
                  <a:lnTo>
                    <a:pt x="454" y="143"/>
                  </a:lnTo>
                  <a:lnTo>
                    <a:pt x="456" y="143"/>
                  </a:lnTo>
                  <a:lnTo>
                    <a:pt x="457" y="145"/>
                  </a:lnTo>
                  <a:lnTo>
                    <a:pt x="459" y="145"/>
                  </a:lnTo>
                  <a:lnTo>
                    <a:pt x="461" y="146"/>
                  </a:lnTo>
                  <a:lnTo>
                    <a:pt x="463" y="148"/>
                  </a:lnTo>
                  <a:lnTo>
                    <a:pt x="464" y="148"/>
                  </a:lnTo>
                  <a:lnTo>
                    <a:pt x="466" y="150"/>
                  </a:lnTo>
                  <a:lnTo>
                    <a:pt x="469" y="150"/>
                  </a:lnTo>
                  <a:lnTo>
                    <a:pt x="471" y="150"/>
                  </a:lnTo>
                  <a:lnTo>
                    <a:pt x="473" y="148"/>
                  </a:lnTo>
                  <a:lnTo>
                    <a:pt x="473" y="150"/>
                  </a:lnTo>
                  <a:lnTo>
                    <a:pt x="476" y="150"/>
                  </a:lnTo>
                  <a:lnTo>
                    <a:pt x="480" y="150"/>
                  </a:lnTo>
                  <a:lnTo>
                    <a:pt x="481" y="150"/>
                  </a:lnTo>
                  <a:lnTo>
                    <a:pt x="483" y="150"/>
                  </a:lnTo>
                  <a:lnTo>
                    <a:pt x="485" y="148"/>
                  </a:lnTo>
                  <a:lnTo>
                    <a:pt x="486" y="146"/>
                  </a:lnTo>
                  <a:lnTo>
                    <a:pt x="488" y="145"/>
                  </a:lnTo>
                  <a:lnTo>
                    <a:pt x="490" y="145"/>
                  </a:lnTo>
                  <a:lnTo>
                    <a:pt x="491" y="143"/>
                  </a:lnTo>
                  <a:lnTo>
                    <a:pt x="493" y="141"/>
                  </a:lnTo>
                  <a:lnTo>
                    <a:pt x="495" y="139"/>
                  </a:lnTo>
                  <a:lnTo>
                    <a:pt x="496" y="138"/>
                  </a:lnTo>
                  <a:lnTo>
                    <a:pt x="498" y="136"/>
                  </a:lnTo>
                  <a:lnTo>
                    <a:pt x="500" y="136"/>
                  </a:lnTo>
                  <a:lnTo>
                    <a:pt x="502" y="136"/>
                  </a:lnTo>
                  <a:lnTo>
                    <a:pt x="503" y="136"/>
                  </a:lnTo>
                  <a:lnTo>
                    <a:pt x="505" y="136"/>
                  </a:lnTo>
                  <a:lnTo>
                    <a:pt x="507" y="138"/>
                  </a:lnTo>
                  <a:lnTo>
                    <a:pt x="508" y="139"/>
                  </a:lnTo>
                  <a:lnTo>
                    <a:pt x="510" y="139"/>
                  </a:lnTo>
                  <a:lnTo>
                    <a:pt x="510" y="143"/>
                  </a:lnTo>
                  <a:lnTo>
                    <a:pt x="512" y="145"/>
                  </a:lnTo>
                  <a:lnTo>
                    <a:pt x="512" y="146"/>
                  </a:lnTo>
                  <a:lnTo>
                    <a:pt x="512" y="148"/>
                  </a:lnTo>
                  <a:lnTo>
                    <a:pt x="513" y="148"/>
                  </a:lnTo>
                  <a:lnTo>
                    <a:pt x="513" y="150"/>
                  </a:lnTo>
                  <a:lnTo>
                    <a:pt x="517" y="151"/>
                  </a:lnTo>
                  <a:lnTo>
                    <a:pt x="520" y="153"/>
                  </a:lnTo>
                  <a:lnTo>
                    <a:pt x="522" y="155"/>
                  </a:lnTo>
                  <a:lnTo>
                    <a:pt x="525" y="156"/>
                  </a:lnTo>
                  <a:lnTo>
                    <a:pt x="527" y="156"/>
                  </a:lnTo>
                  <a:lnTo>
                    <a:pt x="529" y="156"/>
                  </a:lnTo>
                  <a:lnTo>
                    <a:pt x="532" y="158"/>
                  </a:lnTo>
                  <a:lnTo>
                    <a:pt x="532" y="160"/>
                  </a:lnTo>
                  <a:lnTo>
                    <a:pt x="534" y="158"/>
                  </a:lnTo>
                  <a:lnTo>
                    <a:pt x="536" y="158"/>
                  </a:lnTo>
                  <a:lnTo>
                    <a:pt x="537" y="156"/>
                  </a:lnTo>
                  <a:lnTo>
                    <a:pt x="539" y="155"/>
                  </a:lnTo>
                  <a:lnTo>
                    <a:pt x="541" y="153"/>
                  </a:lnTo>
                  <a:lnTo>
                    <a:pt x="541" y="151"/>
                  </a:lnTo>
                  <a:lnTo>
                    <a:pt x="541" y="150"/>
                  </a:lnTo>
                  <a:lnTo>
                    <a:pt x="541" y="146"/>
                  </a:lnTo>
                  <a:lnTo>
                    <a:pt x="542" y="145"/>
                  </a:lnTo>
                  <a:lnTo>
                    <a:pt x="544" y="146"/>
                  </a:lnTo>
                  <a:lnTo>
                    <a:pt x="547" y="145"/>
                  </a:lnTo>
                  <a:lnTo>
                    <a:pt x="549" y="145"/>
                  </a:lnTo>
                  <a:lnTo>
                    <a:pt x="553" y="145"/>
                  </a:lnTo>
                  <a:lnTo>
                    <a:pt x="554" y="145"/>
                  </a:lnTo>
                  <a:lnTo>
                    <a:pt x="556" y="145"/>
                  </a:lnTo>
                  <a:lnTo>
                    <a:pt x="558" y="145"/>
                  </a:lnTo>
                  <a:lnTo>
                    <a:pt x="561" y="145"/>
                  </a:lnTo>
                  <a:lnTo>
                    <a:pt x="563" y="145"/>
                  </a:lnTo>
                  <a:lnTo>
                    <a:pt x="563" y="146"/>
                  </a:lnTo>
                  <a:lnTo>
                    <a:pt x="564" y="148"/>
                  </a:lnTo>
                  <a:lnTo>
                    <a:pt x="564" y="150"/>
                  </a:lnTo>
                  <a:lnTo>
                    <a:pt x="566" y="151"/>
                  </a:lnTo>
                  <a:lnTo>
                    <a:pt x="568" y="151"/>
                  </a:lnTo>
                  <a:lnTo>
                    <a:pt x="570" y="151"/>
                  </a:lnTo>
                  <a:lnTo>
                    <a:pt x="571" y="151"/>
                  </a:lnTo>
                  <a:lnTo>
                    <a:pt x="573" y="151"/>
                  </a:lnTo>
                  <a:lnTo>
                    <a:pt x="576" y="150"/>
                  </a:lnTo>
                  <a:lnTo>
                    <a:pt x="578" y="150"/>
                  </a:lnTo>
                  <a:lnTo>
                    <a:pt x="580" y="148"/>
                  </a:lnTo>
                  <a:lnTo>
                    <a:pt x="581" y="150"/>
                  </a:lnTo>
                  <a:lnTo>
                    <a:pt x="583" y="150"/>
                  </a:lnTo>
                  <a:lnTo>
                    <a:pt x="587" y="150"/>
                  </a:lnTo>
                  <a:lnTo>
                    <a:pt x="588" y="150"/>
                  </a:lnTo>
                  <a:lnTo>
                    <a:pt x="590" y="150"/>
                  </a:lnTo>
                  <a:lnTo>
                    <a:pt x="592" y="150"/>
                  </a:lnTo>
                  <a:lnTo>
                    <a:pt x="593" y="151"/>
                  </a:lnTo>
                  <a:lnTo>
                    <a:pt x="595" y="151"/>
                  </a:lnTo>
                  <a:lnTo>
                    <a:pt x="598" y="150"/>
                  </a:lnTo>
                  <a:lnTo>
                    <a:pt x="598" y="148"/>
                  </a:lnTo>
                  <a:lnTo>
                    <a:pt x="598" y="146"/>
                  </a:lnTo>
                  <a:lnTo>
                    <a:pt x="598" y="143"/>
                  </a:lnTo>
                  <a:lnTo>
                    <a:pt x="600" y="141"/>
                  </a:lnTo>
                  <a:lnTo>
                    <a:pt x="602" y="143"/>
                  </a:lnTo>
                  <a:lnTo>
                    <a:pt x="604" y="141"/>
                  </a:lnTo>
                  <a:lnTo>
                    <a:pt x="605" y="141"/>
                  </a:lnTo>
                  <a:lnTo>
                    <a:pt x="605" y="143"/>
                  </a:lnTo>
                  <a:lnTo>
                    <a:pt x="607" y="145"/>
                  </a:lnTo>
                  <a:lnTo>
                    <a:pt x="609" y="146"/>
                  </a:lnTo>
                  <a:lnTo>
                    <a:pt x="612" y="146"/>
                  </a:lnTo>
                  <a:lnTo>
                    <a:pt x="614" y="148"/>
                  </a:lnTo>
                  <a:lnTo>
                    <a:pt x="615" y="146"/>
                  </a:lnTo>
                  <a:lnTo>
                    <a:pt x="617" y="146"/>
                  </a:lnTo>
                  <a:lnTo>
                    <a:pt x="621" y="145"/>
                  </a:lnTo>
                  <a:lnTo>
                    <a:pt x="622" y="145"/>
                  </a:lnTo>
                  <a:lnTo>
                    <a:pt x="626" y="145"/>
                  </a:lnTo>
                  <a:lnTo>
                    <a:pt x="627" y="145"/>
                  </a:lnTo>
                  <a:lnTo>
                    <a:pt x="631" y="145"/>
                  </a:lnTo>
                  <a:lnTo>
                    <a:pt x="632" y="143"/>
                  </a:lnTo>
                  <a:lnTo>
                    <a:pt x="634" y="143"/>
                  </a:lnTo>
                  <a:lnTo>
                    <a:pt x="634" y="141"/>
                  </a:lnTo>
                  <a:lnTo>
                    <a:pt x="638" y="143"/>
                  </a:lnTo>
                  <a:lnTo>
                    <a:pt x="639" y="143"/>
                  </a:lnTo>
                  <a:lnTo>
                    <a:pt x="641" y="141"/>
                  </a:lnTo>
                  <a:lnTo>
                    <a:pt x="643" y="141"/>
                  </a:lnTo>
                  <a:lnTo>
                    <a:pt x="644" y="139"/>
                  </a:lnTo>
                  <a:lnTo>
                    <a:pt x="646" y="139"/>
                  </a:lnTo>
                  <a:lnTo>
                    <a:pt x="648" y="138"/>
                  </a:lnTo>
                  <a:lnTo>
                    <a:pt x="649" y="136"/>
                  </a:lnTo>
                  <a:lnTo>
                    <a:pt x="651" y="133"/>
                  </a:lnTo>
                  <a:lnTo>
                    <a:pt x="655" y="133"/>
                  </a:lnTo>
                  <a:lnTo>
                    <a:pt x="656" y="133"/>
                  </a:lnTo>
                  <a:lnTo>
                    <a:pt x="656" y="131"/>
                  </a:lnTo>
                  <a:lnTo>
                    <a:pt x="658" y="129"/>
                  </a:lnTo>
                  <a:lnTo>
                    <a:pt x="658" y="128"/>
                  </a:lnTo>
                  <a:lnTo>
                    <a:pt x="660" y="126"/>
                  </a:lnTo>
                  <a:lnTo>
                    <a:pt x="661" y="126"/>
                  </a:lnTo>
                  <a:lnTo>
                    <a:pt x="663" y="124"/>
                  </a:lnTo>
                  <a:lnTo>
                    <a:pt x="663" y="122"/>
                  </a:lnTo>
                  <a:lnTo>
                    <a:pt x="665" y="122"/>
                  </a:lnTo>
                  <a:lnTo>
                    <a:pt x="668" y="121"/>
                  </a:lnTo>
                  <a:lnTo>
                    <a:pt x="670" y="119"/>
                  </a:lnTo>
                  <a:lnTo>
                    <a:pt x="672" y="119"/>
                  </a:lnTo>
                  <a:lnTo>
                    <a:pt x="673" y="117"/>
                  </a:lnTo>
                  <a:lnTo>
                    <a:pt x="675" y="114"/>
                  </a:lnTo>
                  <a:lnTo>
                    <a:pt x="677" y="114"/>
                  </a:lnTo>
                  <a:lnTo>
                    <a:pt x="680" y="114"/>
                  </a:lnTo>
                  <a:lnTo>
                    <a:pt x="682" y="114"/>
                  </a:lnTo>
                  <a:lnTo>
                    <a:pt x="683" y="112"/>
                  </a:lnTo>
                  <a:lnTo>
                    <a:pt x="685" y="111"/>
                  </a:lnTo>
                  <a:lnTo>
                    <a:pt x="685" y="107"/>
                  </a:lnTo>
                  <a:lnTo>
                    <a:pt x="687" y="107"/>
                  </a:lnTo>
                  <a:lnTo>
                    <a:pt x="690" y="107"/>
                  </a:lnTo>
                  <a:lnTo>
                    <a:pt x="692" y="107"/>
                  </a:lnTo>
                  <a:lnTo>
                    <a:pt x="694" y="109"/>
                  </a:lnTo>
                  <a:lnTo>
                    <a:pt x="695" y="109"/>
                  </a:lnTo>
                  <a:lnTo>
                    <a:pt x="697" y="109"/>
                  </a:lnTo>
                  <a:lnTo>
                    <a:pt x="700" y="109"/>
                  </a:lnTo>
                  <a:lnTo>
                    <a:pt x="702" y="109"/>
                  </a:lnTo>
                  <a:lnTo>
                    <a:pt x="704" y="107"/>
                  </a:lnTo>
                  <a:lnTo>
                    <a:pt x="706" y="107"/>
                  </a:lnTo>
                  <a:lnTo>
                    <a:pt x="707" y="107"/>
                  </a:lnTo>
                  <a:lnTo>
                    <a:pt x="711" y="107"/>
                  </a:lnTo>
                  <a:lnTo>
                    <a:pt x="712" y="107"/>
                  </a:lnTo>
                  <a:lnTo>
                    <a:pt x="716" y="107"/>
                  </a:lnTo>
                  <a:lnTo>
                    <a:pt x="717" y="105"/>
                  </a:lnTo>
                  <a:lnTo>
                    <a:pt x="719" y="104"/>
                  </a:lnTo>
                  <a:lnTo>
                    <a:pt x="721" y="104"/>
                  </a:lnTo>
                  <a:lnTo>
                    <a:pt x="723" y="104"/>
                  </a:lnTo>
                  <a:lnTo>
                    <a:pt x="724" y="105"/>
                  </a:lnTo>
                  <a:lnTo>
                    <a:pt x="726" y="105"/>
                  </a:lnTo>
                  <a:lnTo>
                    <a:pt x="728" y="104"/>
                  </a:lnTo>
                  <a:lnTo>
                    <a:pt x="729" y="104"/>
                  </a:lnTo>
                  <a:lnTo>
                    <a:pt x="731" y="102"/>
                  </a:lnTo>
                  <a:lnTo>
                    <a:pt x="733" y="99"/>
                  </a:lnTo>
                  <a:lnTo>
                    <a:pt x="734" y="97"/>
                  </a:lnTo>
                  <a:lnTo>
                    <a:pt x="734" y="94"/>
                  </a:lnTo>
                  <a:lnTo>
                    <a:pt x="736" y="92"/>
                  </a:lnTo>
                  <a:lnTo>
                    <a:pt x="738" y="90"/>
                  </a:lnTo>
                  <a:lnTo>
                    <a:pt x="740" y="90"/>
                  </a:lnTo>
                  <a:lnTo>
                    <a:pt x="741" y="88"/>
                  </a:lnTo>
                  <a:lnTo>
                    <a:pt x="745" y="88"/>
                  </a:lnTo>
                  <a:lnTo>
                    <a:pt x="745" y="87"/>
                  </a:lnTo>
                  <a:lnTo>
                    <a:pt x="746" y="85"/>
                  </a:lnTo>
                  <a:lnTo>
                    <a:pt x="748" y="83"/>
                  </a:lnTo>
                  <a:lnTo>
                    <a:pt x="750" y="82"/>
                  </a:lnTo>
                  <a:lnTo>
                    <a:pt x="751" y="80"/>
                  </a:lnTo>
                  <a:lnTo>
                    <a:pt x="751" y="78"/>
                  </a:lnTo>
                  <a:lnTo>
                    <a:pt x="751" y="77"/>
                  </a:lnTo>
                  <a:lnTo>
                    <a:pt x="753" y="73"/>
                  </a:lnTo>
                  <a:lnTo>
                    <a:pt x="755" y="71"/>
                  </a:lnTo>
                  <a:lnTo>
                    <a:pt x="758" y="70"/>
                  </a:lnTo>
                  <a:lnTo>
                    <a:pt x="760" y="68"/>
                  </a:lnTo>
                  <a:lnTo>
                    <a:pt x="762" y="68"/>
                  </a:lnTo>
                  <a:lnTo>
                    <a:pt x="763" y="65"/>
                  </a:lnTo>
                  <a:lnTo>
                    <a:pt x="765" y="61"/>
                  </a:lnTo>
                  <a:lnTo>
                    <a:pt x="765" y="60"/>
                  </a:lnTo>
                  <a:lnTo>
                    <a:pt x="767" y="58"/>
                  </a:lnTo>
                  <a:lnTo>
                    <a:pt x="768" y="54"/>
                  </a:lnTo>
                  <a:lnTo>
                    <a:pt x="770" y="53"/>
                  </a:lnTo>
                  <a:lnTo>
                    <a:pt x="770" y="51"/>
                  </a:lnTo>
                  <a:lnTo>
                    <a:pt x="772" y="49"/>
                  </a:lnTo>
                  <a:lnTo>
                    <a:pt x="772" y="48"/>
                  </a:lnTo>
                  <a:lnTo>
                    <a:pt x="775" y="46"/>
                  </a:lnTo>
                  <a:lnTo>
                    <a:pt x="775" y="43"/>
                  </a:lnTo>
                  <a:lnTo>
                    <a:pt x="775" y="44"/>
                  </a:lnTo>
                  <a:lnTo>
                    <a:pt x="775" y="43"/>
                  </a:lnTo>
                  <a:lnTo>
                    <a:pt x="775" y="41"/>
                  </a:lnTo>
                  <a:lnTo>
                    <a:pt x="777" y="39"/>
                  </a:lnTo>
                  <a:lnTo>
                    <a:pt x="779" y="37"/>
                  </a:lnTo>
                  <a:lnTo>
                    <a:pt x="779" y="34"/>
                  </a:lnTo>
                  <a:close/>
                  <a:moveTo>
                    <a:pt x="94" y="245"/>
                  </a:moveTo>
                  <a:lnTo>
                    <a:pt x="95" y="247"/>
                  </a:lnTo>
                  <a:lnTo>
                    <a:pt x="95" y="250"/>
                  </a:lnTo>
                  <a:lnTo>
                    <a:pt x="97" y="252"/>
                  </a:lnTo>
                  <a:lnTo>
                    <a:pt x="94" y="250"/>
                  </a:lnTo>
                  <a:lnTo>
                    <a:pt x="94" y="252"/>
                  </a:lnTo>
                  <a:lnTo>
                    <a:pt x="94" y="253"/>
                  </a:lnTo>
                  <a:lnTo>
                    <a:pt x="94" y="257"/>
                  </a:lnTo>
                  <a:lnTo>
                    <a:pt x="95" y="257"/>
                  </a:lnTo>
                  <a:lnTo>
                    <a:pt x="95" y="259"/>
                  </a:lnTo>
                  <a:lnTo>
                    <a:pt x="99" y="260"/>
                  </a:lnTo>
                  <a:lnTo>
                    <a:pt x="99" y="262"/>
                  </a:lnTo>
                  <a:lnTo>
                    <a:pt x="100" y="264"/>
                  </a:lnTo>
                  <a:lnTo>
                    <a:pt x="102" y="265"/>
                  </a:lnTo>
                  <a:lnTo>
                    <a:pt x="102" y="267"/>
                  </a:lnTo>
                  <a:lnTo>
                    <a:pt x="104" y="269"/>
                  </a:lnTo>
                  <a:lnTo>
                    <a:pt x="106" y="269"/>
                  </a:lnTo>
                  <a:lnTo>
                    <a:pt x="107" y="270"/>
                  </a:lnTo>
                  <a:lnTo>
                    <a:pt x="109" y="270"/>
                  </a:lnTo>
                  <a:lnTo>
                    <a:pt x="109" y="272"/>
                  </a:lnTo>
                  <a:lnTo>
                    <a:pt x="111" y="274"/>
                  </a:lnTo>
                  <a:lnTo>
                    <a:pt x="112" y="274"/>
                  </a:lnTo>
                  <a:lnTo>
                    <a:pt x="114" y="276"/>
                  </a:lnTo>
                  <a:lnTo>
                    <a:pt x="116" y="276"/>
                  </a:lnTo>
                  <a:lnTo>
                    <a:pt x="119" y="276"/>
                  </a:lnTo>
                  <a:lnTo>
                    <a:pt x="121" y="277"/>
                  </a:lnTo>
                  <a:lnTo>
                    <a:pt x="124" y="277"/>
                  </a:lnTo>
                  <a:lnTo>
                    <a:pt x="126" y="277"/>
                  </a:lnTo>
                  <a:lnTo>
                    <a:pt x="129" y="279"/>
                  </a:lnTo>
                  <a:lnTo>
                    <a:pt x="131" y="279"/>
                  </a:lnTo>
                  <a:lnTo>
                    <a:pt x="133" y="279"/>
                  </a:lnTo>
                  <a:lnTo>
                    <a:pt x="136" y="281"/>
                  </a:lnTo>
                  <a:lnTo>
                    <a:pt x="138" y="279"/>
                  </a:lnTo>
                  <a:lnTo>
                    <a:pt x="141" y="281"/>
                  </a:lnTo>
                  <a:lnTo>
                    <a:pt x="145" y="281"/>
                  </a:lnTo>
                  <a:lnTo>
                    <a:pt x="146" y="281"/>
                  </a:lnTo>
                  <a:lnTo>
                    <a:pt x="148" y="282"/>
                  </a:lnTo>
                  <a:lnTo>
                    <a:pt x="150" y="281"/>
                  </a:lnTo>
                  <a:lnTo>
                    <a:pt x="150" y="282"/>
                  </a:lnTo>
                  <a:lnTo>
                    <a:pt x="151" y="281"/>
                  </a:lnTo>
                  <a:lnTo>
                    <a:pt x="155" y="282"/>
                  </a:lnTo>
                  <a:lnTo>
                    <a:pt x="158" y="282"/>
                  </a:lnTo>
                  <a:lnTo>
                    <a:pt x="158" y="281"/>
                  </a:lnTo>
                  <a:lnTo>
                    <a:pt x="160" y="281"/>
                  </a:lnTo>
                  <a:lnTo>
                    <a:pt x="163" y="281"/>
                  </a:lnTo>
                  <a:lnTo>
                    <a:pt x="163" y="284"/>
                  </a:lnTo>
                  <a:lnTo>
                    <a:pt x="162" y="286"/>
                  </a:lnTo>
                  <a:lnTo>
                    <a:pt x="160" y="287"/>
                  </a:lnTo>
                  <a:lnTo>
                    <a:pt x="163" y="289"/>
                  </a:lnTo>
                  <a:lnTo>
                    <a:pt x="162" y="291"/>
                  </a:lnTo>
                  <a:lnTo>
                    <a:pt x="163" y="293"/>
                  </a:lnTo>
                  <a:lnTo>
                    <a:pt x="162" y="296"/>
                  </a:lnTo>
                  <a:lnTo>
                    <a:pt x="160" y="296"/>
                  </a:lnTo>
                  <a:lnTo>
                    <a:pt x="160" y="298"/>
                  </a:lnTo>
                  <a:lnTo>
                    <a:pt x="157" y="296"/>
                  </a:lnTo>
                  <a:lnTo>
                    <a:pt x="157" y="298"/>
                  </a:lnTo>
                  <a:lnTo>
                    <a:pt x="160" y="298"/>
                  </a:lnTo>
                  <a:lnTo>
                    <a:pt x="160" y="299"/>
                  </a:lnTo>
                  <a:lnTo>
                    <a:pt x="158" y="299"/>
                  </a:lnTo>
                  <a:lnTo>
                    <a:pt x="158" y="301"/>
                  </a:lnTo>
                  <a:lnTo>
                    <a:pt x="155" y="303"/>
                  </a:lnTo>
                  <a:lnTo>
                    <a:pt x="153" y="303"/>
                  </a:lnTo>
                  <a:lnTo>
                    <a:pt x="153" y="304"/>
                  </a:lnTo>
                  <a:lnTo>
                    <a:pt x="151" y="304"/>
                  </a:lnTo>
                  <a:lnTo>
                    <a:pt x="150" y="303"/>
                  </a:lnTo>
                  <a:lnTo>
                    <a:pt x="148" y="304"/>
                  </a:lnTo>
                  <a:lnTo>
                    <a:pt x="146" y="304"/>
                  </a:lnTo>
                  <a:lnTo>
                    <a:pt x="145" y="306"/>
                  </a:lnTo>
                  <a:lnTo>
                    <a:pt x="143" y="308"/>
                  </a:lnTo>
                  <a:lnTo>
                    <a:pt x="141" y="306"/>
                  </a:lnTo>
                  <a:lnTo>
                    <a:pt x="140" y="304"/>
                  </a:lnTo>
                  <a:lnTo>
                    <a:pt x="138" y="304"/>
                  </a:lnTo>
                  <a:lnTo>
                    <a:pt x="138" y="306"/>
                  </a:lnTo>
                  <a:lnTo>
                    <a:pt x="136" y="306"/>
                  </a:lnTo>
                  <a:lnTo>
                    <a:pt x="133" y="304"/>
                  </a:lnTo>
                  <a:lnTo>
                    <a:pt x="131" y="304"/>
                  </a:lnTo>
                  <a:lnTo>
                    <a:pt x="128" y="304"/>
                  </a:lnTo>
                  <a:lnTo>
                    <a:pt x="126" y="304"/>
                  </a:lnTo>
                  <a:lnTo>
                    <a:pt x="124" y="304"/>
                  </a:lnTo>
                  <a:lnTo>
                    <a:pt x="123" y="304"/>
                  </a:lnTo>
                  <a:lnTo>
                    <a:pt x="121" y="304"/>
                  </a:lnTo>
                  <a:lnTo>
                    <a:pt x="119" y="304"/>
                  </a:lnTo>
                  <a:lnTo>
                    <a:pt x="117" y="306"/>
                  </a:lnTo>
                  <a:lnTo>
                    <a:pt x="114" y="306"/>
                  </a:lnTo>
                  <a:lnTo>
                    <a:pt x="112" y="308"/>
                  </a:lnTo>
                  <a:lnTo>
                    <a:pt x="111" y="310"/>
                  </a:lnTo>
                  <a:lnTo>
                    <a:pt x="109" y="311"/>
                  </a:lnTo>
                  <a:lnTo>
                    <a:pt x="109" y="313"/>
                  </a:lnTo>
                  <a:lnTo>
                    <a:pt x="107" y="316"/>
                  </a:lnTo>
                  <a:lnTo>
                    <a:pt x="106" y="316"/>
                  </a:lnTo>
                  <a:lnTo>
                    <a:pt x="104" y="316"/>
                  </a:lnTo>
                  <a:lnTo>
                    <a:pt x="100" y="315"/>
                  </a:lnTo>
                  <a:lnTo>
                    <a:pt x="99" y="315"/>
                  </a:lnTo>
                  <a:lnTo>
                    <a:pt x="97" y="315"/>
                  </a:lnTo>
                  <a:lnTo>
                    <a:pt x="95" y="316"/>
                  </a:lnTo>
                  <a:lnTo>
                    <a:pt x="94" y="316"/>
                  </a:lnTo>
                  <a:lnTo>
                    <a:pt x="92" y="316"/>
                  </a:lnTo>
                  <a:lnTo>
                    <a:pt x="89" y="318"/>
                  </a:lnTo>
                  <a:lnTo>
                    <a:pt x="89" y="320"/>
                  </a:lnTo>
                  <a:lnTo>
                    <a:pt x="87" y="320"/>
                  </a:lnTo>
                  <a:lnTo>
                    <a:pt x="85" y="320"/>
                  </a:lnTo>
                  <a:lnTo>
                    <a:pt x="85" y="321"/>
                  </a:lnTo>
                  <a:lnTo>
                    <a:pt x="83" y="321"/>
                  </a:lnTo>
                  <a:lnTo>
                    <a:pt x="85" y="321"/>
                  </a:lnTo>
                  <a:lnTo>
                    <a:pt x="83" y="321"/>
                  </a:lnTo>
                  <a:lnTo>
                    <a:pt x="83" y="325"/>
                  </a:lnTo>
                  <a:lnTo>
                    <a:pt x="83" y="327"/>
                  </a:lnTo>
                  <a:lnTo>
                    <a:pt x="83" y="328"/>
                  </a:lnTo>
                  <a:lnTo>
                    <a:pt x="83" y="330"/>
                  </a:lnTo>
                  <a:lnTo>
                    <a:pt x="82" y="333"/>
                  </a:lnTo>
                  <a:lnTo>
                    <a:pt x="80" y="333"/>
                  </a:lnTo>
                  <a:lnTo>
                    <a:pt x="80" y="337"/>
                  </a:lnTo>
                  <a:lnTo>
                    <a:pt x="78" y="337"/>
                  </a:lnTo>
                  <a:lnTo>
                    <a:pt x="78" y="340"/>
                  </a:lnTo>
                  <a:lnTo>
                    <a:pt x="78" y="342"/>
                  </a:lnTo>
                  <a:lnTo>
                    <a:pt x="77" y="345"/>
                  </a:lnTo>
                  <a:lnTo>
                    <a:pt x="75" y="345"/>
                  </a:lnTo>
                  <a:lnTo>
                    <a:pt x="73" y="349"/>
                  </a:lnTo>
                  <a:lnTo>
                    <a:pt x="70" y="350"/>
                  </a:lnTo>
                  <a:lnTo>
                    <a:pt x="70" y="352"/>
                  </a:lnTo>
                  <a:lnTo>
                    <a:pt x="66" y="352"/>
                  </a:lnTo>
                  <a:lnTo>
                    <a:pt x="66" y="354"/>
                  </a:lnTo>
                  <a:lnTo>
                    <a:pt x="65" y="356"/>
                  </a:lnTo>
                  <a:lnTo>
                    <a:pt x="65" y="357"/>
                  </a:lnTo>
                  <a:lnTo>
                    <a:pt x="63" y="357"/>
                  </a:lnTo>
                  <a:lnTo>
                    <a:pt x="61" y="359"/>
                  </a:lnTo>
                  <a:lnTo>
                    <a:pt x="60" y="359"/>
                  </a:lnTo>
                  <a:lnTo>
                    <a:pt x="58" y="362"/>
                  </a:lnTo>
                  <a:lnTo>
                    <a:pt x="56" y="362"/>
                  </a:lnTo>
                  <a:lnTo>
                    <a:pt x="55" y="364"/>
                  </a:lnTo>
                  <a:lnTo>
                    <a:pt x="53" y="366"/>
                  </a:lnTo>
                  <a:lnTo>
                    <a:pt x="49" y="367"/>
                  </a:lnTo>
                  <a:lnTo>
                    <a:pt x="51" y="369"/>
                  </a:lnTo>
                  <a:lnTo>
                    <a:pt x="49" y="371"/>
                  </a:lnTo>
                  <a:lnTo>
                    <a:pt x="48" y="371"/>
                  </a:lnTo>
                  <a:lnTo>
                    <a:pt x="48" y="374"/>
                  </a:lnTo>
                  <a:lnTo>
                    <a:pt x="48" y="376"/>
                  </a:lnTo>
                  <a:lnTo>
                    <a:pt x="46" y="378"/>
                  </a:lnTo>
                  <a:lnTo>
                    <a:pt x="46" y="379"/>
                  </a:lnTo>
                  <a:lnTo>
                    <a:pt x="44" y="379"/>
                  </a:lnTo>
                  <a:lnTo>
                    <a:pt x="43" y="381"/>
                  </a:lnTo>
                  <a:lnTo>
                    <a:pt x="43" y="384"/>
                  </a:lnTo>
                  <a:lnTo>
                    <a:pt x="41" y="386"/>
                  </a:lnTo>
                  <a:lnTo>
                    <a:pt x="39" y="386"/>
                  </a:lnTo>
                  <a:lnTo>
                    <a:pt x="39" y="388"/>
                  </a:lnTo>
                  <a:lnTo>
                    <a:pt x="38" y="390"/>
                  </a:lnTo>
                  <a:lnTo>
                    <a:pt x="36" y="390"/>
                  </a:lnTo>
                  <a:lnTo>
                    <a:pt x="39" y="393"/>
                  </a:lnTo>
                  <a:lnTo>
                    <a:pt x="38" y="395"/>
                  </a:lnTo>
                  <a:lnTo>
                    <a:pt x="36" y="396"/>
                  </a:lnTo>
                  <a:lnTo>
                    <a:pt x="34" y="398"/>
                  </a:lnTo>
                  <a:lnTo>
                    <a:pt x="32" y="400"/>
                  </a:lnTo>
                  <a:lnTo>
                    <a:pt x="32" y="401"/>
                  </a:lnTo>
                  <a:lnTo>
                    <a:pt x="31" y="401"/>
                  </a:lnTo>
                  <a:lnTo>
                    <a:pt x="29" y="403"/>
                  </a:lnTo>
                  <a:lnTo>
                    <a:pt x="29" y="401"/>
                  </a:lnTo>
                  <a:lnTo>
                    <a:pt x="29" y="400"/>
                  </a:lnTo>
                  <a:lnTo>
                    <a:pt x="31" y="398"/>
                  </a:lnTo>
                  <a:lnTo>
                    <a:pt x="31" y="396"/>
                  </a:lnTo>
                  <a:lnTo>
                    <a:pt x="31" y="395"/>
                  </a:lnTo>
                  <a:lnTo>
                    <a:pt x="31" y="393"/>
                  </a:lnTo>
                  <a:lnTo>
                    <a:pt x="32" y="391"/>
                  </a:lnTo>
                  <a:lnTo>
                    <a:pt x="31" y="390"/>
                  </a:lnTo>
                  <a:lnTo>
                    <a:pt x="32" y="388"/>
                  </a:lnTo>
                  <a:lnTo>
                    <a:pt x="31" y="386"/>
                  </a:lnTo>
                  <a:lnTo>
                    <a:pt x="27" y="384"/>
                  </a:lnTo>
                  <a:lnTo>
                    <a:pt x="29" y="383"/>
                  </a:lnTo>
                  <a:lnTo>
                    <a:pt x="27" y="383"/>
                  </a:lnTo>
                  <a:lnTo>
                    <a:pt x="29" y="381"/>
                  </a:lnTo>
                  <a:lnTo>
                    <a:pt x="31" y="379"/>
                  </a:lnTo>
                  <a:lnTo>
                    <a:pt x="31" y="378"/>
                  </a:lnTo>
                  <a:lnTo>
                    <a:pt x="32" y="378"/>
                  </a:lnTo>
                  <a:lnTo>
                    <a:pt x="34" y="376"/>
                  </a:lnTo>
                  <a:lnTo>
                    <a:pt x="36" y="374"/>
                  </a:lnTo>
                  <a:lnTo>
                    <a:pt x="38" y="373"/>
                  </a:lnTo>
                  <a:lnTo>
                    <a:pt x="39" y="371"/>
                  </a:lnTo>
                  <a:lnTo>
                    <a:pt x="41" y="369"/>
                  </a:lnTo>
                  <a:lnTo>
                    <a:pt x="43" y="367"/>
                  </a:lnTo>
                  <a:lnTo>
                    <a:pt x="44" y="366"/>
                  </a:lnTo>
                  <a:lnTo>
                    <a:pt x="46" y="364"/>
                  </a:lnTo>
                  <a:lnTo>
                    <a:pt x="48" y="364"/>
                  </a:lnTo>
                  <a:lnTo>
                    <a:pt x="49" y="364"/>
                  </a:lnTo>
                  <a:lnTo>
                    <a:pt x="49" y="361"/>
                  </a:lnTo>
                  <a:lnTo>
                    <a:pt x="51" y="359"/>
                  </a:lnTo>
                  <a:lnTo>
                    <a:pt x="53" y="361"/>
                  </a:lnTo>
                  <a:lnTo>
                    <a:pt x="55" y="359"/>
                  </a:lnTo>
                  <a:lnTo>
                    <a:pt x="56" y="357"/>
                  </a:lnTo>
                  <a:lnTo>
                    <a:pt x="55" y="356"/>
                  </a:lnTo>
                  <a:lnTo>
                    <a:pt x="55" y="354"/>
                  </a:lnTo>
                  <a:lnTo>
                    <a:pt x="53" y="352"/>
                  </a:lnTo>
                  <a:lnTo>
                    <a:pt x="51" y="352"/>
                  </a:lnTo>
                  <a:lnTo>
                    <a:pt x="49" y="354"/>
                  </a:lnTo>
                  <a:lnTo>
                    <a:pt x="48" y="354"/>
                  </a:lnTo>
                  <a:lnTo>
                    <a:pt x="44" y="356"/>
                  </a:lnTo>
                  <a:lnTo>
                    <a:pt x="43" y="356"/>
                  </a:lnTo>
                  <a:lnTo>
                    <a:pt x="41" y="359"/>
                  </a:lnTo>
                  <a:lnTo>
                    <a:pt x="39" y="359"/>
                  </a:lnTo>
                  <a:lnTo>
                    <a:pt x="39" y="361"/>
                  </a:lnTo>
                  <a:lnTo>
                    <a:pt x="38" y="361"/>
                  </a:lnTo>
                  <a:lnTo>
                    <a:pt x="36" y="359"/>
                  </a:lnTo>
                  <a:lnTo>
                    <a:pt x="34" y="359"/>
                  </a:lnTo>
                  <a:lnTo>
                    <a:pt x="32" y="361"/>
                  </a:lnTo>
                  <a:lnTo>
                    <a:pt x="31" y="361"/>
                  </a:lnTo>
                  <a:lnTo>
                    <a:pt x="29" y="361"/>
                  </a:lnTo>
                  <a:lnTo>
                    <a:pt x="27" y="362"/>
                  </a:lnTo>
                  <a:lnTo>
                    <a:pt x="26" y="362"/>
                  </a:lnTo>
                  <a:lnTo>
                    <a:pt x="24" y="362"/>
                  </a:lnTo>
                  <a:lnTo>
                    <a:pt x="22" y="362"/>
                  </a:lnTo>
                  <a:lnTo>
                    <a:pt x="21" y="364"/>
                  </a:lnTo>
                  <a:lnTo>
                    <a:pt x="19" y="364"/>
                  </a:lnTo>
                  <a:lnTo>
                    <a:pt x="17" y="364"/>
                  </a:lnTo>
                  <a:lnTo>
                    <a:pt x="15" y="364"/>
                  </a:lnTo>
                  <a:lnTo>
                    <a:pt x="14" y="362"/>
                  </a:lnTo>
                  <a:lnTo>
                    <a:pt x="14" y="359"/>
                  </a:lnTo>
                  <a:lnTo>
                    <a:pt x="12" y="357"/>
                  </a:lnTo>
                  <a:lnTo>
                    <a:pt x="10" y="356"/>
                  </a:lnTo>
                  <a:lnTo>
                    <a:pt x="14" y="356"/>
                  </a:lnTo>
                  <a:lnTo>
                    <a:pt x="15" y="354"/>
                  </a:lnTo>
                  <a:lnTo>
                    <a:pt x="15" y="352"/>
                  </a:lnTo>
                  <a:lnTo>
                    <a:pt x="15" y="349"/>
                  </a:lnTo>
                  <a:lnTo>
                    <a:pt x="19" y="347"/>
                  </a:lnTo>
                  <a:lnTo>
                    <a:pt x="17" y="345"/>
                  </a:lnTo>
                  <a:lnTo>
                    <a:pt x="19" y="345"/>
                  </a:lnTo>
                  <a:lnTo>
                    <a:pt x="19" y="344"/>
                  </a:lnTo>
                  <a:lnTo>
                    <a:pt x="21" y="344"/>
                  </a:lnTo>
                  <a:lnTo>
                    <a:pt x="21" y="340"/>
                  </a:lnTo>
                  <a:lnTo>
                    <a:pt x="22" y="342"/>
                  </a:lnTo>
                  <a:lnTo>
                    <a:pt x="22" y="340"/>
                  </a:lnTo>
                  <a:lnTo>
                    <a:pt x="21" y="339"/>
                  </a:lnTo>
                  <a:lnTo>
                    <a:pt x="22" y="339"/>
                  </a:lnTo>
                  <a:lnTo>
                    <a:pt x="24" y="337"/>
                  </a:lnTo>
                  <a:lnTo>
                    <a:pt x="22" y="335"/>
                  </a:lnTo>
                  <a:lnTo>
                    <a:pt x="24" y="333"/>
                  </a:lnTo>
                  <a:lnTo>
                    <a:pt x="24" y="332"/>
                  </a:lnTo>
                  <a:lnTo>
                    <a:pt x="21" y="332"/>
                  </a:lnTo>
                  <a:lnTo>
                    <a:pt x="21" y="330"/>
                  </a:lnTo>
                  <a:lnTo>
                    <a:pt x="21" y="327"/>
                  </a:lnTo>
                  <a:lnTo>
                    <a:pt x="19" y="327"/>
                  </a:lnTo>
                  <a:lnTo>
                    <a:pt x="21" y="323"/>
                  </a:lnTo>
                  <a:lnTo>
                    <a:pt x="19" y="321"/>
                  </a:lnTo>
                  <a:lnTo>
                    <a:pt x="19" y="318"/>
                  </a:lnTo>
                  <a:lnTo>
                    <a:pt x="17" y="316"/>
                  </a:lnTo>
                  <a:lnTo>
                    <a:pt x="19" y="316"/>
                  </a:lnTo>
                  <a:lnTo>
                    <a:pt x="22" y="315"/>
                  </a:lnTo>
                  <a:lnTo>
                    <a:pt x="22" y="313"/>
                  </a:lnTo>
                  <a:lnTo>
                    <a:pt x="24" y="313"/>
                  </a:lnTo>
                  <a:lnTo>
                    <a:pt x="24" y="311"/>
                  </a:lnTo>
                  <a:lnTo>
                    <a:pt x="26" y="311"/>
                  </a:lnTo>
                  <a:lnTo>
                    <a:pt x="26" y="308"/>
                  </a:lnTo>
                  <a:lnTo>
                    <a:pt x="27" y="308"/>
                  </a:lnTo>
                  <a:lnTo>
                    <a:pt x="31" y="308"/>
                  </a:lnTo>
                  <a:lnTo>
                    <a:pt x="32" y="306"/>
                  </a:lnTo>
                  <a:lnTo>
                    <a:pt x="32" y="303"/>
                  </a:lnTo>
                  <a:lnTo>
                    <a:pt x="31" y="301"/>
                  </a:lnTo>
                  <a:lnTo>
                    <a:pt x="29" y="298"/>
                  </a:lnTo>
                  <a:lnTo>
                    <a:pt x="29" y="296"/>
                  </a:lnTo>
                  <a:lnTo>
                    <a:pt x="27" y="294"/>
                  </a:lnTo>
                  <a:lnTo>
                    <a:pt x="27" y="291"/>
                  </a:lnTo>
                  <a:lnTo>
                    <a:pt x="26" y="291"/>
                  </a:lnTo>
                  <a:lnTo>
                    <a:pt x="26" y="289"/>
                  </a:lnTo>
                  <a:lnTo>
                    <a:pt x="24" y="289"/>
                  </a:lnTo>
                  <a:lnTo>
                    <a:pt x="22" y="287"/>
                  </a:lnTo>
                  <a:lnTo>
                    <a:pt x="19" y="286"/>
                  </a:lnTo>
                  <a:lnTo>
                    <a:pt x="17" y="286"/>
                  </a:lnTo>
                  <a:lnTo>
                    <a:pt x="15" y="286"/>
                  </a:lnTo>
                  <a:lnTo>
                    <a:pt x="14" y="286"/>
                  </a:lnTo>
                  <a:lnTo>
                    <a:pt x="12" y="284"/>
                  </a:lnTo>
                  <a:lnTo>
                    <a:pt x="10" y="282"/>
                  </a:lnTo>
                  <a:lnTo>
                    <a:pt x="10" y="279"/>
                  </a:lnTo>
                  <a:lnTo>
                    <a:pt x="10" y="277"/>
                  </a:lnTo>
                  <a:lnTo>
                    <a:pt x="12" y="276"/>
                  </a:lnTo>
                  <a:lnTo>
                    <a:pt x="14" y="276"/>
                  </a:lnTo>
                  <a:lnTo>
                    <a:pt x="15" y="276"/>
                  </a:lnTo>
                  <a:lnTo>
                    <a:pt x="17" y="276"/>
                  </a:lnTo>
                  <a:lnTo>
                    <a:pt x="19" y="274"/>
                  </a:lnTo>
                  <a:lnTo>
                    <a:pt x="21" y="272"/>
                  </a:lnTo>
                  <a:lnTo>
                    <a:pt x="21" y="270"/>
                  </a:lnTo>
                  <a:lnTo>
                    <a:pt x="21" y="269"/>
                  </a:lnTo>
                  <a:lnTo>
                    <a:pt x="19" y="267"/>
                  </a:lnTo>
                  <a:lnTo>
                    <a:pt x="21" y="265"/>
                  </a:lnTo>
                  <a:lnTo>
                    <a:pt x="21" y="264"/>
                  </a:lnTo>
                  <a:lnTo>
                    <a:pt x="21" y="262"/>
                  </a:lnTo>
                  <a:lnTo>
                    <a:pt x="24" y="264"/>
                  </a:lnTo>
                  <a:lnTo>
                    <a:pt x="26" y="262"/>
                  </a:lnTo>
                  <a:lnTo>
                    <a:pt x="29" y="262"/>
                  </a:lnTo>
                  <a:lnTo>
                    <a:pt x="29" y="260"/>
                  </a:lnTo>
                  <a:lnTo>
                    <a:pt x="32" y="260"/>
                  </a:lnTo>
                  <a:lnTo>
                    <a:pt x="34" y="259"/>
                  </a:lnTo>
                  <a:lnTo>
                    <a:pt x="36" y="259"/>
                  </a:lnTo>
                  <a:lnTo>
                    <a:pt x="38" y="257"/>
                  </a:lnTo>
                  <a:lnTo>
                    <a:pt x="39" y="257"/>
                  </a:lnTo>
                  <a:lnTo>
                    <a:pt x="39" y="253"/>
                  </a:lnTo>
                  <a:lnTo>
                    <a:pt x="41" y="252"/>
                  </a:lnTo>
                  <a:lnTo>
                    <a:pt x="41" y="250"/>
                  </a:lnTo>
                  <a:lnTo>
                    <a:pt x="43" y="250"/>
                  </a:lnTo>
                  <a:lnTo>
                    <a:pt x="44" y="248"/>
                  </a:lnTo>
                  <a:lnTo>
                    <a:pt x="46" y="250"/>
                  </a:lnTo>
                  <a:lnTo>
                    <a:pt x="49" y="250"/>
                  </a:lnTo>
                  <a:lnTo>
                    <a:pt x="49" y="247"/>
                  </a:lnTo>
                  <a:lnTo>
                    <a:pt x="53" y="247"/>
                  </a:lnTo>
                  <a:lnTo>
                    <a:pt x="55" y="247"/>
                  </a:lnTo>
                  <a:lnTo>
                    <a:pt x="56" y="247"/>
                  </a:lnTo>
                  <a:lnTo>
                    <a:pt x="56" y="248"/>
                  </a:lnTo>
                  <a:lnTo>
                    <a:pt x="60" y="248"/>
                  </a:lnTo>
                  <a:lnTo>
                    <a:pt x="61" y="252"/>
                  </a:lnTo>
                  <a:lnTo>
                    <a:pt x="63" y="252"/>
                  </a:lnTo>
                  <a:lnTo>
                    <a:pt x="65" y="253"/>
                  </a:lnTo>
                  <a:lnTo>
                    <a:pt x="66" y="253"/>
                  </a:lnTo>
                  <a:lnTo>
                    <a:pt x="68" y="253"/>
                  </a:lnTo>
                  <a:lnTo>
                    <a:pt x="70" y="255"/>
                  </a:lnTo>
                  <a:lnTo>
                    <a:pt x="72" y="257"/>
                  </a:lnTo>
                  <a:lnTo>
                    <a:pt x="72" y="253"/>
                  </a:lnTo>
                  <a:lnTo>
                    <a:pt x="73" y="253"/>
                  </a:lnTo>
                  <a:lnTo>
                    <a:pt x="73" y="252"/>
                  </a:lnTo>
                  <a:lnTo>
                    <a:pt x="75" y="252"/>
                  </a:lnTo>
                  <a:lnTo>
                    <a:pt x="77" y="250"/>
                  </a:lnTo>
                  <a:lnTo>
                    <a:pt x="78" y="248"/>
                  </a:lnTo>
                  <a:lnTo>
                    <a:pt x="78" y="250"/>
                  </a:lnTo>
                  <a:lnTo>
                    <a:pt x="82" y="248"/>
                  </a:lnTo>
                  <a:lnTo>
                    <a:pt x="82" y="250"/>
                  </a:lnTo>
                  <a:lnTo>
                    <a:pt x="83" y="250"/>
                  </a:lnTo>
                  <a:lnTo>
                    <a:pt x="82" y="247"/>
                  </a:lnTo>
                  <a:lnTo>
                    <a:pt x="83" y="245"/>
                  </a:lnTo>
                  <a:lnTo>
                    <a:pt x="85" y="247"/>
                  </a:lnTo>
                  <a:lnTo>
                    <a:pt x="85" y="245"/>
                  </a:lnTo>
                  <a:lnTo>
                    <a:pt x="87" y="245"/>
                  </a:lnTo>
                  <a:lnTo>
                    <a:pt x="87" y="247"/>
                  </a:lnTo>
                  <a:lnTo>
                    <a:pt x="89" y="245"/>
                  </a:lnTo>
                  <a:lnTo>
                    <a:pt x="90" y="247"/>
                  </a:lnTo>
                  <a:lnTo>
                    <a:pt x="90" y="245"/>
                  </a:lnTo>
                  <a:lnTo>
                    <a:pt x="94" y="245"/>
                  </a:lnTo>
                  <a:close/>
                  <a:moveTo>
                    <a:pt x="12" y="391"/>
                  </a:moveTo>
                  <a:lnTo>
                    <a:pt x="15" y="393"/>
                  </a:lnTo>
                  <a:lnTo>
                    <a:pt x="17" y="396"/>
                  </a:lnTo>
                  <a:lnTo>
                    <a:pt x="15" y="396"/>
                  </a:lnTo>
                  <a:lnTo>
                    <a:pt x="17" y="398"/>
                  </a:lnTo>
                  <a:lnTo>
                    <a:pt x="19" y="396"/>
                  </a:lnTo>
                  <a:lnTo>
                    <a:pt x="19" y="398"/>
                  </a:lnTo>
                  <a:lnTo>
                    <a:pt x="15" y="400"/>
                  </a:lnTo>
                  <a:lnTo>
                    <a:pt x="12" y="401"/>
                  </a:lnTo>
                  <a:lnTo>
                    <a:pt x="10" y="403"/>
                  </a:lnTo>
                  <a:lnTo>
                    <a:pt x="9" y="403"/>
                  </a:lnTo>
                  <a:lnTo>
                    <a:pt x="5" y="405"/>
                  </a:lnTo>
                  <a:lnTo>
                    <a:pt x="4" y="403"/>
                  </a:lnTo>
                  <a:lnTo>
                    <a:pt x="0" y="403"/>
                  </a:lnTo>
                  <a:lnTo>
                    <a:pt x="0" y="401"/>
                  </a:lnTo>
                  <a:lnTo>
                    <a:pt x="2" y="400"/>
                  </a:lnTo>
                  <a:lnTo>
                    <a:pt x="4" y="398"/>
                  </a:lnTo>
                  <a:lnTo>
                    <a:pt x="5" y="395"/>
                  </a:lnTo>
                  <a:lnTo>
                    <a:pt x="9" y="395"/>
                  </a:lnTo>
                  <a:lnTo>
                    <a:pt x="10" y="393"/>
                  </a:lnTo>
                  <a:lnTo>
                    <a:pt x="12" y="391"/>
                  </a:lnTo>
                  <a:close/>
                  <a:moveTo>
                    <a:pt x="95" y="340"/>
                  </a:moveTo>
                  <a:lnTo>
                    <a:pt x="97" y="342"/>
                  </a:lnTo>
                  <a:lnTo>
                    <a:pt x="99" y="340"/>
                  </a:lnTo>
                  <a:lnTo>
                    <a:pt x="99" y="342"/>
                  </a:lnTo>
                  <a:lnTo>
                    <a:pt x="102" y="342"/>
                  </a:lnTo>
                  <a:lnTo>
                    <a:pt x="100" y="344"/>
                  </a:lnTo>
                  <a:lnTo>
                    <a:pt x="99" y="345"/>
                  </a:lnTo>
                  <a:lnTo>
                    <a:pt x="97" y="347"/>
                  </a:lnTo>
                  <a:lnTo>
                    <a:pt x="94" y="347"/>
                  </a:lnTo>
                  <a:lnTo>
                    <a:pt x="92" y="347"/>
                  </a:lnTo>
                  <a:lnTo>
                    <a:pt x="90" y="344"/>
                  </a:lnTo>
                  <a:lnTo>
                    <a:pt x="92" y="342"/>
                  </a:lnTo>
                  <a:lnTo>
                    <a:pt x="92" y="344"/>
                  </a:lnTo>
                  <a:lnTo>
                    <a:pt x="94" y="342"/>
                  </a:lnTo>
                  <a:lnTo>
                    <a:pt x="95" y="342"/>
                  </a:lnTo>
                  <a:lnTo>
                    <a:pt x="95" y="340"/>
                  </a:lnTo>
                  <a:close/>
                  <a:moveTo>
                    <a:pt x="26" y="418"/>
                  </a:moveTo>
                  <a:lnTo>
                    <a:pt x="27" y="418"/>
                  </a:lnTo>
                  <a:lnTo>
                    <a:pt x="27" y="420"/>
                  </a:lnTo>
                  <a:lnTo>
                    <a:pt x="27" y="422"/>
                  </a:lnTo>
                  <a:lnTo>
                    <a:pt x="26" y="422"/>
                  </a:lnTo>
                  <a:lnTo>
                    <a:pt x="24" y="420"/>
                  </a:lnTo>
                  <a:lnTo>
                    <a:pt x="22" y="420"/>
                  </a:lnTo>
                  <a:lnTo>
                    <a:pt x="21" y="418"/>
                  </a:lnTo>
                  <a:lnTo>
                    <a:pt x="22" y="418"/>
                  </a:lnTo>
                  <a:lnTo>
                    <a:pt x="26" y="418"/>
                  </a:lnTo>
                  <a:close/>
                  <a:moveTo>
                    <a:pt x="82" y="500"/>
                  </a:moveTo>
                  <a:lnTo>
                    <a:pt x="83" y="502"/>
                  </a:lnTo>
                  <a:lnTo>
                    <a:pt x="83" y="504"/>
                  </a:lnTo>
                  <a:lnTo>
                    <a:pt x="85" y="504"/>
                  </a:lnTo>
                  <a:lnTo>
                    <a:pt x="85" y="505"/>
                  </a:lnTo>
                  <a:lnTo>
                    <a:pt x="82" y="505"/>
                  </a:lnTo>
                  <a:lnTo>
                    <a:pt x="82" y="502"/>
                  </a:lnTo>
                  <a:lnTo>
                    <a:pt x="82" y="500"/>
                  </a:lnTo>
                  <a:close/>
                  <a:moveTo>
                    <a:pt x="63" y="442"/>
                  </a:moveTo>
                  <a:lnTo>
                    <a:pt x="66" y="442"/>
                  </a:lnTo>
                  <a:lnTo>
                    <a:pt x="63" y="442"/>
                  </a:lnTo>
                  <a:lnTo>
                    <a:pt x="65" y="444"/>
                  </a:lnTo>
                  <a:lnTo>
                    <a:pt x="66" y="444"/>
                  </a:lnTo>
                  <a:lnTo>
                    <a:pt x="66" y="446"/>
                  </a:lnTo>
                  <a:lnTo>
                    <a:pt x="68" y="444"/>
                  </a:lnTo>
                  <a:lnTo>
                    <a:pt x="68" y="446"/>
                  </a:lnTo>
                  <a:lnTo>
                    <a:pt x="66" y="447"/>
                  </a:lnTo>
                  <a:lnTo>
                    <a:pt x="65" y="447"/>
                  </a:lnTo>
                  <a:lnTo>
                    <a:pt x="63" y="446"/>
                  </a:lnTo>
                  <a:lnTo>
                    <a:pt x="65" y="444"/>
                  </a:lnTo>
                  <a:lnTo>
                    <a:pt x="63" y="444"/>
                  </a:lnTo>
                  <a:lnTo>
                    <a:pt x="63" y="442"/>
                  </a:lnTo>
                  <a:close/>
                  <a:moveTo>
                    <a:pt x="99" y="352"/>
                  </a:moveTo>
                  <a:lnTo>
                    <a:pt x="100" y="352"/>
                  </a:lnTo>
                  <a:lnTo>
                    <a:pt x="100" y="356"/>
                  </a:lnTo>
                  <a:lnTo>
                    <a:pt x="100" y="354"/>
                  </a:lnTo>
                  <a:lnTo>
                    <a:pt x="102" y="356"/>
                  </a:lnTo>
                  <a:lnTo>
                    <a:pt x="99" y="356"/>
                  </a:lnTo>
                  <a:lnTo>
                    <a:pt x="97" y="356"/>
                  </a:lnTo>
                  <a:lnTo>
                    <a:pt x="97" y="354"/>
                  </a:lnTo>
                  <a:lnTo>
                    <a:pt x="97" y="352"/>
                  </a:lnTo>
                  <a:lnTo>
                    <a:pt x="99" y="352"/>
                  </a:lnTo>
                  <a:close/>
                  <a:moveTo>
                    <a:pt x="92" y="350"/>
                  </a:moveTo>
                  <a:lnTo>
                    <a:pt x="94" y="352"/>
                  </a:lnTo>
                  <a:lnTo>
                    <a:pt x="94" y="354"/>
                  </a:lnTo>
                  <a:lnTo>
                    <a:pt x="92" y="356"/>
                  </a:lnTo>
                  <a:lnTo>
                    <a:pt x="90" y="354"/>
                  </a:lnTo>
                  <a:lnTo>
                    <a:pt x="92" y="354"/>
                  </a:lnTo>
                  <a:lnTo>
                    <a:pt x="92" y="350"/>
                  </a:lnTo>
                  <a:close/>
                  <a:moveTo>
                    <a:pt x="145" y="335"/>
                  </a:moveTo>
                  <a:lnTo>
                    <a:pt x="146" y="335"/>
                  </a:lnTo>
                  <a:lnTo>
                    <a:pt x="145" y="337"/>
                  </a:lnTo>
                  <a:lnTo>
                    <a:pt x="146" y="339"/>
                  </a:lnTo>
                  <a:lnTo>
                    <a:pt x="145" y="340"/>
                  </a:lnTo>
                  <a:lnTo>
                    <a:pt x="145" y="339"/>
                  </a:lnTo>
                  <a:lnTo>
                    <a:pt x="145" y="335"/>
                  </a:lnTo>
                  <a:close/>
                  <a:moveTo>
                    <a:pt x="150" y="599"/>
                  </a:moveTo>
                  <a:lnTo>
                    <a:pt x="151" y="600"/>
                  </a:lnTo>
                  <a:lnTo>
                    <a:pt x="150" y="600"/>
                  </a:lnTo>
                  <a:lnTo>
                    <a:pt x="148" y="599"/>
                  </a:lnTo>
                  <a:lnTo>
                    <a:pt x="150" y="599"/>
                  </a:lnTo>
                  <a:close/>
                  <a:moveTo>
                    <a:pt x="63" y="512"/>
                  </a:moveTo>
                  <a:lnTo>
                    <a:pt x="65" y="510"/>
                  </a:lnTo>
                  <a:lnTo>
                    <a:pt x="65" y="514"/>
                  </a:lnTo>
                  <a:lnTo>
                    <a:pt x="63" y="514"/>
                  </a:lnTo>
                  <a:lnTo>
                    <a:pt x="63" y="512"/>
                  </a:lnTo>
                  <a:close/>
                  <a:moveTo>
                    <a:pt x="303" y="617"/>
                  </a:moveTo>
                  <a:lnTo>
                    <a:pt x="301" y="621"/>
                  </a:lnTo>
                  <a:lnTo>
                    <a:pt x="299" y="621"/>
                  </a:lnTo>
                  <a:lnTo>
                    <a:pt x="301" y="619"/>
                  </a:lnTo>
                  <a:lnTo>
                    <a:pt x="303" y="617"/>
                  </a:lnTo>
                  <a:close/>
                  <a:moveTo>
                    <a:pt x="148" y="587"/>
                  </a:moveTo>
                  <a:lnTo>
                    <a:pt x="151" y="587"/>
                  </a:lnTo>
                  <a:lnTo>
                    <a:pt x="150" y="589"/>
                  </a:lnTo>
                  <a:lnTo>
                    <a:pt x="148" y="587"/>
                  </a:lnTo>
                  <a:close/>
                  <a:moveTo>
                    <a:pt x="168" y="306"/>
                  </a:moveTo>
                  <a:lnTo>
                    <a:pt x="170" y="306"/>
                  </a:lnTo>
                  <a:lnTo>
                    <a:pt x="172" y="308"/>
                  </a:lnTo>
                  <a:lnTo>
                    <a:pt x="170" y="308"/>
                  </a:lnTo>
                  <a:lnTo>
                    <a:pt x="168" y="306"/>
                  </a:lnTo>
                  <a:close/>
                  <a:moveTo>
                    <a:pt x="238" y="600"/>
                  </a:moveTo>
                  <a:lnTo>
                    <a:pt x="240" y="602"/>
                  </a:lnTo>
                  <a:lnTo>
                    <a:pt x="238" y="602"/>
                  </a:lnTo>
                  <a:lnTo>
                    <a:pt x="238" y="600"/>
                  </a:lnTo>
                  <a:close/>
                  <a:moveTo>
                    <a:pt x="61" y="442"/>
                  </a:moveTo>
                  <a:lnTo>
                    <a:pt x="63" y="444"/>
                  </a:lnTo>
                  <a:lnTo>
                    <a:pt x="61" y="444"/>
                  </a:lnTo>
                  <a:lnTo>
                    <a:pt x="61" y="442"/>
                  </a:lnTo>
                  <a:close/>
                  <a:moveTo>
                    <a:pt x="517" y="551"/>
                  </a:moveTo>
                  <a:lnTo>
                    <a:pt x="519" y="549"/>
                  </a:lnTo>
                  <a:lnTo>
                    <a:pt x="519" y="551"/>
                  </a:lnTo>
                  <a:lnTo>
                    <a:pt x="517" y="551"/>
                  </a:lnTo>
                  <a:close/>
                  <a:moveTo>
                    <a:pt x="63" y="449"/>
                  </a:moveTo>
                  <a:lnTo>
                    <a:pt x="65" y="449"/>
                  </a:lnTo>
                  <a:lnTo>
                    <a:pt x="65" y="451"/>
                  </a:lnTo>
                  <a:lnTo>
                    <a:pt x="63" y="451"/>
                  </a:lnTo>
                  <a:lnTo>
                    <a:pt x="63" y="449"/>
                  </a:lnTo>
                  <a:close/>
                  <a:moveTo>
                    <a:pt x="167" y="306"/>
                  </a:moveTo>
                  <a:lnTo>
                    <a:pt x="168" y="306"/>
                  </a:lnTo>
                  <a:lnTo>
                    <a:pt x="168" y="308"/>
                  </a:lnTo>
                  <a:lnTo>
                    <a:pt x="167" y="306"/>
                  </a:lnTo>
                  <a:close/>
                  <a:moveTo>
                    <a:pt x="89" y="350"/>
                  </a:moveTo>
                  <a:lnTo>
                    <a:pt x="92" y="350"/>
                  </a:lnTo>
                  <a:lnTo>
                    <a:pt x="89" y="352"/>
                  </a:lnTo>
                  <a:lnTo>
                    <a:pt x="89" y="350"/>
                  </a:lnTo>
                  <a:close/>
                  <a:moveTo>
                    <a:pt x="87" y="505"/>
                  </a:moveTo>
                  <a:lnTo>
                    <a:pt x="89" y="507"/>
                  </a:lnTo>
                  <a:lnTo>
                    <a:pt x="87" y="507"/>
                  </a:lnTo>
                  <a:lnTo>
                    <a:pt x="87" y="505"/>
                  </a:lnTo>
                  <a:close/>
                  <a:moveTo>
                    <a:pt x="95" y="350"/>
                  </a:moveTo>
                  <a:lnTo>
                    <a:pt x="97" y="354"/>
                  </a:lnTo>
                  <a:lnTo>
                    <a:pt x="95" y="354"/>
                  </a:lnTo>
                  <a:lnTo>
                    <a:pt x="95" y="350"/>
                  </a:lnTo>
                  <a:close/>
                  <a:moveTo>
                    <a:pt x="236" y="600"/>
                  </a:moveTo>
                  <a:lnTo>
                    <a:pt x="238" y="602"/>
                  </a:lnTo>
                  <a:lnTo>
                    <a:pt x="236" y="602"/>
                  </a:lnTo>
                  <a:lnTo>
                    <a:pt x="236" y="600"/>
                  </a:lnTo>
                  <a:close/>
                  <a:moveTo>
                    <a:pt x="185" y="611"/>
                  </a:moveTo>
                  <a:lnTo>
                    <a:pt x="187" y="611"/>
                  </a:lnTo>
                  <a:lnTo>
                    <a:pt x="185" y="611"/>
                  </a:lnTo>
                  <a:close/>
                  <a:moveTo>
                    <a:pt x="294" y="624"/>
                  </a:moveTo>
                  <a:lnTo>
                    <a:pt x="296" y="624"/>
                  </a:lnTo>
                  <a:lnTo>
                    <a:pt x="296" y="626"/>
                  </a:lnTo>
                  <a:lnTo>
                    <a:pt x="294" y="626"/>
                  </a:lnTo>
                  <a:lnTo>
                    <a:pt x="294" y="624"/>
                  </a:lnTo>
                  <a:close/>
                  <a:moveTo>
                    <a:pt x="270" y="626"/>
                  </a:moveTo>
                  <a:lnTo>
                    <a:pt x="272" y="626"/>
                  </a:lnTo>
                  <a:lnTo>
                    <a:pt x="270" y="62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193" name="Freeform 23">
              <a:extLst>
                <a:ext uri="{FF2B5EF4-FFF2-40B4-BE49-F238E27FC236}">
                  <a16:creationId xmlns:a16="http://schemas.microsoft.com/office/drawing/2014/main" id="{07BA0EBB-F2BE-439C-AE77-99654AA6110C}"/>
                </a:ext>
              </a:extLst>
            </p:cNvPr>
            <p:cNvSpPr>
              <a:spLocks noEditPoints="1"/>
            </p:cNvSpPr>
            <p:nvPr/>
          </p:nvSpPr>
          <p:spPr bwMode="gray">
            <a:xfrm>
              <a:off x="9101232" y="7195771"/>
              <a:ext cx="68142" cy="56293"/>
            </a:xfrm>
            <a:custGeom>
              <a:avLst/>
              <a:gdLst>
                <a:gd name="T0" fmla="*/ 12 w 23"/>
                <a:gd name="T1" fmla="*/ 7 h 19"/>
                <a:gd name="T2" fmla="*/ 10 w 23"/>
                <a:gd name="T3" fmla="*/ 9 h 19"/>
                <a:gd name="T4" fmla="*/ 13 w 23"/>
                <a:gd name="T5" fmla="*/ 9 h 19"/>
                <a:gd name="T6" fmla="*/ 12 w 23"/>
                <a:gd name="T7" fmla="*/ 10 h 19"/>
                <a:gd name="T8" fmla="*/ 15 w 23"/>
                <a:gd name="T9" fmla="*/ 9 h 19"/>
                <a:gd name="T10" fmla="*/ 15 w 23"/>
                <a:gd name="T11" fmla="*/ 10 h 19"/>
                <a:gd name="T12" fmla="*/ 15 w 23"/>
                <a:gd name="T13" fmla="*/ 9 h 19"/>
                <a:gd name="T14" fmla="*/ 18 w 23"/>
                <a:gd name="T15" fmla="*/ 10 h 19"/>
                <a:gd name="T16" fmla="*/ 20 w 23"/>
                <a:gd name="T17" fmla="*/ 12 h 19"/>
                <a:gd name="T18" fmla="*/ 18 w 23"/>
                <a:gd name="T19" fmla="*/ 14 h 19"/>
                <a:gd name="T20" fmla="*/ 20 w 23"/>
                <a:gd name="T21" fmla="*/ 12 h 19"/>
                <a:gd name="T22" fmla="*/ 20 w 23"/>
                <a:gd name="T23" fmla="*/ 14 h 19"/>
                <a:gd name="T24" fmla="*/ 22 w 23"/>
                <a:gd name="T25" fmla="*/ 14 h 19"/>
                <a:gd name="T26" fmla="*/ 20 w 23"/>
                <a:gd name="T27" fmla="*/ 12 h 19"/>
                <a:gd name="T28" fmla="*/ 23 w 23"/>
                <a:gd name="T29" fmla="*/ 14 h 19"/>
                <a:gd name="T30" fmla="*/ 23 w 23"/>
                <a:gd name="T31" fmla="*/ 15 h 19"/>
                <a:gd name="T32" fmla="*/ 23 w 23"/>
                <a:gd name="T33" fmla="*/ 19 h 19"/>
                <a:gd name="T34" fmla="*/ 22 w 23"/>
                <a:gd name="T35" fmla="*/ 17 h 19"/>
                <a:gd name="T36" fmla="*/ 22 w 23"/>
                <a:gd name="T37" fmla="*/ 19 h 19"/>
                <a:gd name="T38" fmla="*/ 23 w 23"/>
                <a:gd name="T39" fmla="*/ 19 h 19"/>
                <a:gd name="T40" fmla="*/ 22 w 23"/>
                <a:gd name="T41" fmla="*/ 19 h 19"/>
                <a:gd name="T42" fmla="*/ 20 w 23"/>
                <a:gd name="T43" fmla="*/ 19 h 19"/>
                <a:gd name="T44" fmla="*/ 18 w 23"/>
                <a:gd name="T45" fmla="*/ 19 h 19"/>
                <a:gd name="T46" fmla="*/ 17 w 23"/>
                <a:gd name="T47" fmla="*/ 19 h 19"/>
                <a:gd name="T48" fmla="*/ 15 w 23"/>
                <a:gd name="T49" fmla="*/ 19 h 19"/>
                <a:gd name="T50" fmla="*/ 13 w 23"/>
                <a:gd name="T51" fmla="*/ 17 h 19"/>
                <a:gd name="T52" fmla="*/ 12 w 23"/>
                <a:gd name="T53" fmla="*/ 15 h 19"/>
                <a:gd name="T54" fmla="*/ 10 w 23"/>
                <a:gd name="T55" fmla="*/ 15 h 19"/>
                <a:gd name="T56" fmla="*/ 10 w 23"/>
                <a:gd name="T57" fmla="*/ 14 h 19"/>
                <a:gd name="T58" fmla="*/ 10 w 23"/>
                <a:gd name="T59" fmla="*/ 10 h 19"/>
                <a:gd name="T60" fmla="*/ 10 w 23"/>
                <a:gd name="T61" fmla="*/ 9 h 19"/>
                <a:gd name="T62" fmla="*/ 8 w 23"/>
                <a:gd name="T63" fmla="*/ 9 h 19"/>
                <a:gd name="T64" fmla="*/ 8 w 23"/>
                <a:gd name="T65" fmla="*/ 7 h 19"/>
                <a:gd name="T66" fmla="*/ 12 w 23"/>
                <a:gd name="T67" fmla="*/ 7 h 19"/>
                <a:gd name="T68" fmla="*/ 3 w 23"/>
                <a:gd name="T69" fmla="*/ 0 h 19"/>
                <a:gd name="T70" fmla="*/ 6 w 23"/>
                <a:gd name="T71" fmla="*/ 2 h 19"/>
                <a:gd name="T72" fmla="*/ 8 w 23"/>
                <a:gd name="T73" fmla="*/ 2 h 19"/>
                <a:gd name="T74" fmla="*/ 10 w 23"/>
                <a:gd name="T75" fmla="*/ 3 h 19"/>
                <a:gd name="T76" fmla="*/ 6 w 23"/>
                <a:gd name="T77" fmla="*/ 3 h 19"/>
                <a:gd name="T78" fmla="*/ 6 w 23"/>
                <a:gd name="T79" fmla="*/ 5 h 19"/>
                <a:gd name="T80" fmla="*/ 5 w 23"/>
                <a:gd name="T81" fmla="*/ 5 h 19"/>
                <a:gd name="T82" fmla="*/ 3 w 23"/>
                <a:gd name="T83" fmla="*/ 5 h 19"/>
                <a:gd name="T84" fmla="*/ 1 w 23"/>
                <a:gd name="T85" fmla="*/ 3 h 19"/>
                <a:gd name="T86" fmla="*/ 0 w 23"/>
                <a:gd name="T87" fmla="*/ 3 h 19"/>
                <a:gd name="T88" fmla="*/ 0 w 23"/>
                <a:gd name="T89" fmla="*/ 2 h 19"/>
                <a:gd name="T90" fmla="*/ 3 w 23"/>
                <a:gd name="T91" fmla="*/ 0 h 19"/>
                <a:gd name="T92" fmla="*/ 8 w 23"/>
                <a:gd name="T93" fmla="*/ 5 h 19"/>
                <a:gd name="T94" fmla="*/ 10 w 23"/>
                <a:gd name="T95" fmla="*/ 5 h 19"/>
                <a:gd name="T96" fmla="*/ 8 w 23"/>
                <a:gd name="T97" fmla="*/ 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 h="19">
                  <a:moveTo>
                    <a:pt x="12" y="7"/>
                  </a:moveTo>
                  <a:lnTo>
                    <a:pt x="10" y="9"/>
                  </a:lnTo>
                  <a:lnTo>
                    <a:pt x="13" y="9"/>
                  </a:lnTo>
                  <a:lnTo>
                    <a:pt x="12" y="10"/>
                  </a:lnTo>
                  <a:lnTo>
                    <a:pt x="15" y="9"/>
                  </a:lnTo>
                  <a:lnTo>
                    <a:pt x="15" y="10"/>
                  </a:lnTo>
                  <a:lnTo>
                    <a:pt x="15" y="9"/>
                  </a:lnTo>
                  <a:lnTo>
                    <a:pt x="18" y="10"/>
                  </a:lnTo>
                  <a:lnTo>
                    <a:pt x="20" y="12"/>
                  </a:lnTo>
                  <a:lnTo>
                    <a:pt x="18" y="14"/>
                  </a:lnTo>
                  <a:lnTo>
                    <a:pt x="20" y="12"/>
                  </a:lnTo>
                  <a:lnTo>
                    <a:pt x="20" y="14"/>
                  </a:lnTo>
                  <a:lnTo>
                    <a:pt x="22" y="14"/>
                  </a:lnTo>
                  <a:lnTo>
                    <a:pt x="20" y="12"/>
                  </a:lnTo>
                  <a:lnTo>
                    <a:pt x="23" y="14"/>
                  </a:lnTo>
                  <a:lnTo>
                    <a:pt x="23" y="15"/>
                  </a:lnTo>
                  <a:lnTo>
                    <a:pt x="23" y="19"/>
                  </a:lnTo>
                  <a:lnTo>
                    <a:pt x="22" y="17"/>
                  </a:lnTo>
                  <a:lnTo>
                    <a:pt x="22" y="19"/>
                  </a:lnTo>
                  <a:lnTo>
                    <a:pt x="23" y="19"/>
                  </a:lnTo>
                  <a:lnTo>
                    <a:pt x="22" y="19"/>
                  </a:lnTo>
                  <a:lnTo>
                    <a:pt x="20" y="19"/>
                  </a:lnTo>
                  <a:lnTo>
                    <a:pt x="18" y="19"/>
                  </a:lnTo>
                  <a:lnTo>
                    <a:pt x="17" y="19"/>
                  </a:lnTo>
                  <a:lnTo>
                    <a:pt x="15" y="19"/>
                  </a:lnTo>
                  <a:lnTo>
                    <a:pt x="13" y="17"/>
                  </a:lnTo>
                  <a:lnTo>
                    <a:pt x="12" y="15"/>
                  </a:lnTo>
                  <a:lnTo>
                    <a:pt x="10" y="15"/>
                  </a:lnTo>
                  <a:lnTo>
                    <a:pt x="10" y="14"/>
                  </a:lnTo>
                  <a:lnTo>
                    <a:pt x="10" y="10"/>
                  </a:lnTo>
                  <a:lnTo>
                    <a:pt x="10" y="9"/>
                  </a:lnTo>
                  <a:lnTo>
                    <a:pt x="8" y="9"/>
                  </a:lnTo>
                  <a:lnTo>
                    <a:pt x="8" y="7"/>
                  </a:lnTo>
                  <a:lnTo>
                    <a:pt x="12" y="7"/>
                  </a:lnTo>
                  <a:close/>
                  <a:moveTo>
                    <a:pt x="3" y="0"/>
                  </a:moveTo>
                  <a:lnTo>
                    <a:pt x="6" y="2"/>
                  </a:lnTo>
                  <a:lnTo>
                    <a:pt x="8" y="2"/>
                  </a:lnTo>
                  <a:lnTo>
                    <a:pt x="10" y="3"/>
                  </a:lnTo>
                  <a:lnTo>
                    <a:pt x="6" y="3"/>
                  </a:lnTo>
                  <a:lnTo>
                    <a:pt x="6" y="5"/>
                  </a:lnTo>
                  <a:lnTo>
                    <a:pt x="5" y="5"/>
                  </a:lnTo>
                  <a:lnTo>
                    <a:pt x="3" y="5"/>
                  </a:lnTo>
                  <a:lnTo>
                    <a:pt x="1" y="3"/>
                  </a:lnTo>
                  <a:lnTo>
                    <a:pt x="0" y="3"/>
                  </a:lnTo>
                  <a:lnTo>
                    <a:pt x="0" y="2"/>
                  </a:lnTo>
                  <a:lnTo>
                    <a:pt x="3" y="0"/>
                  </a:lnTo>
                  <a:close/>
                  <a:moveTo>
                    <a:pt x="8" y="5"/>
                  </a:moveTo>
                  <a:lnTo>
                    <a:pt x="10" y="5"/>
                  </a:lnTo>
                  <a:lnTo>
                    <a:pt x="8" y="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194" name="Freeform 24">
              <a:extLst>
                <a:ext uri="{FF2B5EF4-FFF2-40B4-BE49-F238E27FC236}">
                  <a16:creationId xmlns:a16="http://schemas.microsoft.com/office/drawing/2014/main" id="{5941FE69-66B2-4C98-9AA1-72A9F40B2251}"/>
                </a:ext>
              </a:extLst>
            </p:cNvPr>
            <p:cNvSpPr>
              <a:spLocks noEditPoints="1"/>
            </p:cNvSpPr>
            <p:nvPr/>
          </p:nvSpPr>
          <p:spPr bwMode="gray">
            <a:xfrm>
              <a:off x="7877619" y="4893723"/>
              <a:ext cx="1872453" cy="2444261"/>
            </a:xfrm>
            <a:custGeom>
              <a:avLst/>
              <a:gdLst>
                <a:gd name="T0" fmla="*/ 345 w 632"/>
                <a:gd name="T1" fmla="*/ 85 h 825"/>
                <a:gd name="T2" fmla="*/ 334 w 632"/>
                <a:gd name="T3" fmla="*/ 95 h 825"/>
                <a:gd name="T4" fmla="*/ 311 w 632"/>
                <a:gd name="T5" fmla="*/ 102 h 825"/>
                <a:gd name="T6" fmla="*/ 285 w 632"/>
                <a:gd name="T7" fmla="*/ 110 h 825"/>
                <a:gd name="T8" fmla="*/ 275 w 632"/>
                <a:gd name="T9" fmla="*/ 120 h 825"/>
                <a:gd name="T10" fmla="*/ 290 w 632"/>
                <a:gd name="T11" fmla="*/ 148 h 825"/>
                <a:gd name="T12" fmla="*/ 282 w 632"/>
                <a:gd name="T13" fmla="*/ 180 h 825"/>
                <a:gd name="T14" fmla="*/ 329 w 632"/>
                <a:gd name="T15" fmla="*/ 233 h 825"/>
                <a:gd name="T16" fmla="*/ 374 w 632"/>
                <a:gd name="T17" fmla="*/ 297 h 825"/>
                <a:gd name="T18" fmla="*/ 416 w 632"/>
                <a:gd name="T19" fmla="*/ 345 h 825"/>
                <a:gd name="T20" fmla="*/ 496 w 632"/>
                <a:gd name="T21" fmla="*/ 362 h 825"/>
                <a:gd name="T22" fmla="*/ 530 w 632"/>
                <a:gd name="T23" fmla="*/ 403 h 825"/>
                <a:gd name="T24" fmla="*/ 600 w 632"/>
                <a:gd name="T25" fmla="*/ 432 h 825"/>
                <a:gd name="T26" fmla="*/ 610 w 632"/>
                <a:gd name="T27" fmla="*/ 484 h 825"/>
                <a:gd name="T28" fmla="*/ 559 w 632"/>
                <a:gd name="T29" fmla="*/ 449 h 825"/>
                <a:gd name="T30" fmla="*/ 533 w 632"/>
                <a:gd name="T31" fmla="*/ 513 h 825"/>
                <a:gd name="T32" fmla="*/ 557 w 632"/>
                <a:gd name="T33" fmla="*/ 561 h 825"/>
                <a:gd name="T34" fmla="*/ 515 w 632"/>
                <a:gd name="T35" fmla="*/ 632 h 825"/>
                <a:gd name="T36" fmla="*/ 498 w 632"/>
                <a:gd name="T37" fmla="*/ 592 h 825"/>
                <a:gd name="T38" fmla="*/ 493 w 632"/>
                <a:gd name="T39" fmla="*/ 522 h 825"/>
                <a:gd name="T40" fmla="*/ 435 w 632"/>
                <a:gd name="T41" fmla="*/ 476 h 825"/>
                <a:gd name="T42" fmla="*/ 409 w 632"/>
                <a:gd name="T43" fmla="*/ 444 h 825"/>
                <a:gd name="T44" fmla="*/ 355 w 632"/>
                <a:gd name="T45" fmla="*/ 410 h 825"/>
                <a:gd name="T46" fmla="*/ 287 w 632"/>
                <a:gd name="T47" fmla="*/ 376 h 825"/>
                <a:gd name="T48" fmla="*/ 229 w 632"/>
                <a:gd name="T49" fmla="*/ 328 h 825"/>
                <a:gd name="T50" fmla="*/ 190 w 632"/>
                <a:gd name="T51" fmla="*/ 263 h 825"/>
                <a:gd name="T52" fmla="*/ 159 w 632"/>
                <a:gd name="T53" fmla="*/ 214 h 825"/>
                <a:gd name="T54" fmla="*/ 98 w 632"/>
                <a:gd name="T55" fmla="*/ 192 h 825"/>
                <a:gd name="T56" fmla="*/ 40 w 632"/>
                <a:gd name="T57" fmla="*/ 228 h 825"/>
                <a:gd name="T58" fmla="*/ 11 w 632"/>
                <a:gd name="T59" fmla="*/ 185 h 825"/>
                <a:gd name="T60" fmla="*/ 10 w 632"/>
                <a:gd name="T61" fmla="*/ 134 h 825"/>
                <a:gd name="T62" fmla="*/ 18 w 632"/>
                <a:gd name="T63" fmla="*/ 83 h 825"/>
                <a:gd name="T64" fmla="*/ 76 w 632"/>
                <a:gd name="T65" fmla="*/ 56 h 825"/>
                <a:gd name="T66" fmla="*/ 117 w 632"/>
                <a:gd name="T67" fmla="*/ 86 h 825"/>
                <a:gd name="T68" fmla="*/ 142 w 632"/>
                <a:gd name="T69" fmla="*/ 49 h 825"/>
                <a:gd name="T70" fmla="*/ 175 w 632"/>
                <a:gd name="T71" fmla="*/ 34 h 825"/>
                <a:gd name="T72" fmla="*/ 215 w 632"/>
                <a:gd name="T73" fmla="*/ 24 h 825"/>
                <a:gd name="T74" fmla="*/ 270 w 632"/>
                <a:gd name="T75" fmla="*/ 8 h 825"/>
                <a:gd name="T76" fmla="*/ 340 w 632"/>
                <a:gd name="T77" fmla="*/ 35 h 825"/>
                <a:gd name="T78" fmla="*/ 465 w 632"/>
                <a:gd name="T79" fmla="*/ 651 h 825"/>
                <a:gd name="T80" fmla="*/ 472 w 632"/>
                <a:gd name="T81" fmla="*/ 702 h 825"/>
                <a:gd name="T82" fmla="*/ 425 w 632"/>
                <a:gd name="T83" fmla="*/ 721 h 825"/>
                <a:gd name="T84" fmla="*/ 357 w 632"/>
                <a:gd name="T85" fmla="*/ 685 h 825"/>
                <a:gd name="T86" fmla="*/ 319 w 632"/>
                <a:gd name="T87" fmla="*/ 636 h 825"/>
                <a:gd name="T88" fmla="*/ 374 w 632"/>
                <a:gd name="T89" fmla="*/ 639 h 825"/>
                <a:gd name="T90" fmla="*/ 459 w 632"/>
                <a:gd name="T91" fmla="*/ 626 h 825"/>
                <a:gd name="T92" fmla="*/ 141 w 632"/>
                <a:gd name="T93" fmla="*/ 430 h 825"/>
                <a:gd name="T94" fmla="*/ 156 w 632"/>
                <a:gd name="T95" fmla="*/ 473 h 825"/>
                <a:gd name="T96" fmla="*/ 144 w 632"/>
                <a:gd name="T97" fmla="*/ 556 h 825"/>
                <a:gd name="T98" fmla="*/ 100 w 632"/>
                <a:gd name="T99" fmla="*/ 581 h 825"/>
                <a:gd name="T100" fmla="*/ 81 w 632"/>
                <a:gd name="T101" fmla="*/ 524 h 825"/>
                <a:gd name="T102" fmla="*/ 79 w 632"/>
                <a:gd name="T103" fmla="*/ 505 h 825"/>
                <a:gd name="T104" fmla="*/ 68 w 632"/>
                <a:gd name="T105" fmla="*/ 449 h 825"/>
                <a:gd name="T106" fmla="*/ 119 w 632"/>
                <a:gd name="T107" fmla="*/ 422 h 825"/>
                <a:gd name="T108" fmla="*/ 79 w 632"/>
                <a:gd name="T109" fmla="*/ 566 h 825"/>
                <a:gd name="T110" fmla="*/ 71 w 632"/>
                <a:gd name="T111" fmla="*/ 564 h 825"/>
                <a:gd name="T112" fmla="*/ 136 w 632"/>
                <a:gd name="T113" fmla="*/ 413 h 825"/>
                <a:gd name="T114" fmla="*/ 460 w 632"/>
                <a:gd name="T115" fmla="*/ 576 h 825"/>
                <a:gd name="T116" fmla="*/ 285 w 632"/>
                <a:gd name="T117" fmla="*/ 117 h 825"/>
                <a:gd name="T118" fmla="*/ 307 w 632"/>
                <a:gd name="T119" fmla="*/ 655 h 825"/>
                <a:gd name="T120" fmla="*/ 282 w 632"/>
                <a:gd name="T121" fmla="*/ 122 h 825"/>
                <a:gd name="T122" fmla="*/ 161 w 632"/>
                <a:gd name="T123" fmla="*/ 216 h 825"/>
                <a:gd name="T124" fmla="*/ 290 w 632"/>
                <a:gd name="T125" fmla="*/ 146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2" h="825">
                  <a:moveTo>
                    <a:pt x="346" y="35"/>
                  </a:moveTo>
                  <a:lnTo>
                    <a:pt x="346" y="39"/>
                  </a:lnTo>
                  <a:lnTo>
                    <a:pt x="346" y="42"/>
                  </a:lnTo>
                  <a:lnTo>
                    <a:pt x="345" y="41"/>
                  </a:lnTo>
                  <a:lnTo>
                    <a:pt x="341" y="42"/>
                  </a:lnTo>
                  <a:lnTo>
                    <a:pt x="341" y="46"/>
                  </a:lnTo>
                  <a:lnTo>
                    <a:pt x="338" y="46"/>
                  </a:lnTo>
                  <a:lnTo>
                    <a:pt x="338" y="47"/>
                  </a:lnTo>
                  <a:lnTo>
                    <a:pt x="336" y="47"/>
                  </a:lnTo>
                  <a:lnTo>
                    <a:pt x="334" y="47"/>
                  </a:lnTo>
                  <a:lnTo>
                    <a:pt x="334" y="51"/>
                  </a:lnTo>
                  <a:lnTo>
                    <a:pt x="333" y="52"/>
                  </a:lnTo>
                  <a:lnTo>
                    <a:pt x="331" y="52"/>
                  </a:lnTo>
                  <a:lnTo>
                    <a:pt x="333" y="54"/>
                  </a:lnTo>
                  <a:lnTo>
                    <a:pt x="333" y="56"/>
                  </a:lnTo>
                  <a:lnTo>
                    <a:pt x="334" y="58"/>
                  </a:lnTo>
                  <a:lnTo>
                    <a:pt x="333" y="58"/>
                  </a:lnTo>
                  <a:lnTo>
                    <a:pt x="334" y="59"/>
                  </a:lnTo>
                  <a:lnTo>
                    <a:pt x="334" y="58"/>
                  </a:lnTo>
                  <a:lnTo>
                    <a:pt x="338" y="58"/>
                  </a:lnTo>
                  <a:lnTo>
                    <a:pt x="340" y="58"/>
                  </a:lnTo>
                  <a:lnTo>
                    <a:pt x="341" y="59"/>
                  </a:lnTo>
                  <a:lnTo>
                    <a:pt x="343" y="59"/>
                  </a:lnTo>
                  <a:lnTo>
                    <a:pt x="345" y="59"/>
                  </a:lnTo>
                  <a:lnTo>
                    <a:pt x="346" y="61"/>
                  </a:lnTo>
                  <a:lnTo>
                    <a:pt x="345" y="63"/>
                  </a:lnTo>
                  <a:lnTo>
                    <a:pt x="343" y="64"/>
                  </a:lnTo>
                  <a:lnTo>
                    <a:pt x="343" y="66"/>
                  </a:lnTo>
                  <a:lnTo>
                    <a:pt x="341" y="66"/>
                  </a:lnTo>
                  <a:lnTo>
                    <a:pt x="341" y="68"/>
                  </a:lnTo>
                  <a:lnTo>
                    <a:pt x="338" y="69"/>
                  </a:lnTo>
                  <a:lnTo>
                    <a:pt x="340" y="71"/>
                  </a:lnTo>
                  <a:lnTo>
                    <a:pt x="338" y="73"/>
                  </a:lnTo>
                  <a:lnTo>
                    <a:pt x="340" y="75"/>
                  </a:lnTo>
                  <a:lnTo>
                    <a:pt x="341" y="76"/>
                  </a:lnTo>
                  <a:lnTo>
                    <a:pt x="343" y="73"/>
                  </a:lnTo>
                  <a:lnTo>
                    <a:pt x="346" y="75"/>
                  </a:lnTo>
                  <a:lnTo>
                    <a:pt x="345" y="76"/>
                  </a:lnTo>
                  <a:lnTo>
                    <a:pt x="346" y="78"/>
                  </a:lnTo>
                  <a:lnTo>
                    <a:pt x="345" y="80"/>
                  </a:lnTo>
                  <a:lnTo>
                    <a:pt x="343" y="80"/>
                  </a:lnTo>
                  <a:lnTo>
                    <a:pt x="343" y="83"/>
                  </a:lnTo>
                  <a:lnTo>
                    <a:pt x="345" y="85"/>
                  </a:lnTo>
                  <a:lnTo>
                    <a:pt x="345" y="86"/>
                  </a:lnTo>
                  <a:lnTo>
                    <a:pt x="348" y="86"/>
                  </a:lnTo>
                  <a:lnTo>
                    <a:pt x="348" y="88"/>
                  </a:lnTo>
                  <a:lnTo>
                    <a:pt x="348" y="86"/>
                  </a:lnTo>
                  <a:lnTo>
                    <a:pt x="350" y="88"/>
                  </a:lnTo>
                  <a:lnTo>
                    <a:pt x="351" y="90"/>
                  </a:lnTo>
                  <a:lnTo>
                    <a:pt x="353" y="90"/>
                  </a:lnTo>
                  <a:lnTo>
                    <a:pt x="355" y="92"/>
                  </a:lnTo>
                  <a:lnTo>
                    <a:pt x="357" y="93"/>
                  </a:lnTo>
                  <a:lnTo>
                    <a:pt x="357" y="95"/>
                  </a:lnTo>
                  <a:lnTo>
                    <a:pt x="358" y="97"/>
                  </a:lnTo>
                  <a:lnTo>
                    <a:pt x="360" y="98"/>
                  </a:lnTo>
                  <a:lnTo>
                    <a:pt x="358" y="100"/>
                  </a:lnTo>
                  <a:lnTo>
                    <a:pt x="357" y="102"/>
                  </a:lnTo>
                  <a:lnTo>
                    <a:pt x="355" y="102"/>
                  </a:lnTo>
                  <a:lnTo>
                    <a:pt x="351" y="100"/>
                  </a:lnTo>
                  <a:lnTo>
                    <a:pt x="351" y="102"/>
                  </a:lnTo>
                  <a:lnTo>
                    <a:pt x="351" y="100"/>
                  </a:lnTo>
                  <a:lnTo>
                    <a:pt x="355" y="100"/>
                  </a:lnTo>
                  <a:lnTo>
                    <a:pt x="353" y="100"/>
                  </a:lnTo>
                  <a:lnTo>
                    <a:pt x="353" y="98"/>
                  </a:lnTo>
                  <a:lnTo>
                    <a:pt x="351" y="98"/>
                  </a:lnTo>
                  <a:lnTo>
                    <a:pt x="353" y="97"/>
                  </a:lnTo>
                  <a:lnTo>
                    <a:pt x="351" y="95"/>
                  </a:lnTo>
                  <a:lnTo>
                    <a:pt x="350" y="93"/>
                  </a:lnTo>
                  <a:lnTo>
                    <a:pt x="348" y="92"/>
                  </a:lnTo>
                  <a:lnTo>
                    <a:pt x="346" y="90"/>
                  </a:lnTo>
                  <a:lnTo>
                    <a:pt x="346" y="88"/>
                  </a:lnTo>
                  <a:lnTo>
                    <a:pt x="343" y="88"/>
                  </a:lnTo>
                  <a:lnTo>
                    <a:pt x="341" y="88"/>
                  </a:lnTo>
                  <a:lnTo>
                    <a:pt x="341" y="90"/>
                  </a:lnTo>
                  <a:lnTo>
                    <a:pt x="340" y="90"/>
                  </a:lnTo>
                  <a:lnTo>
                    <a:pt x="341" y="92"/>
                  </a:lnTo>
                  <a:lnTo>
                    <a:pt x="340" y="90"/>
                  </a:lnTo>
                  <a:lnTo>
                    <a:pt x="338" y="90"/>
                  </a:lnTo>
                  <a:lnTo>
                    <a:pt x="340" y="90"/>
                  </a:lnTo>
                  <a:lnTo>
                    <a:pt x="340" y="92"/>
                  </a:lnTo>
                  <a:lnTo>
                    <a:pt x="341" y="92"/>
                  </a:lnTo>
                  <a:lnTo>
                    <a:pt x="340" y="93"/>
                  </a:lnTo>
                  <a:lnTo>
                    <a:pt x="338" y="93"/>
                  </a:lnTo>
                  <a:lnTo>
                    <a:pt x="336" y="93"/>
                  </a:lnTo>
                  <a:lnTo>
                    <a:pt x="334" y="93"/>
                  </a:lnTo>
                  <a:lnTo>
                    <a:pt x="334" y="95"/>
                  </a:lnTo>
                  <a:lnTo>
                    <a:pt x="334" y="97"/>
                  </a:lnTo>
                  <a:lnTo>
                    <a:pt x="336" y="95"/>
                  </a:lnTo>
                  <a:lnTo>
                    <a:pt x="338" y="93"/>
                  </a:lnTo>
                  <a:lnTo>
                    <a:pt x="336" y="97"/>
                  </a:lnTo>
                  <a:lnTo>
                    <a:pt x="334" y="97"/>
                  </a:lnTo>
                  <a:lnTo>
                    <a:pt x="333" y="97"/>
                  </a:lnTo>
                  <a:lnTo>
                    <a:pt x="334" y="95"/>
                  </a:lnTo>
                  <a:lnTo>
                    <a:pt x="334" y="93"/>
                  </a:lnTo>
                  <a:lnTo>
                    <a:pt x="333" y="92"/>
                  </a:lnTo>
                  <a:lnTo>
                    <a:pt x="331" y="92"/>
                  </a:lnTo>
                  <a:lnTo>
                    <a:pt x="328" y="92"/>
                  </a:lnTo>
                  <a:lnTo>
                    <a:pt x="326" y="92"/>
                  </a:lnTo>
                  <a:lnTo>
                    <a:pt x="328" y="90"/>
                  </a:lnTo>
                  <a:lnTo>
                    <a:pt x="326" y="86"/>
                  </a:lnTo>
                  <a:lnTo>
                    <a:pt x="328" y="90"/>
                  </a:lnTo>
                  <a:lnTo>
                    <a:pt x="326" y="92"/>
                  </a:lnTo>
                  <a:lnTo>
                    <a:pt x="326" y="90"/>
                  </a:lnTo>
                  <a:lnTo>
                    <a:pt x="324" y="90"/>
                  </a:lnTo>
                  <a:lnTo>
                    <a:pt x="323" y="92"/>
                  </a:lnTo>
                  <a:lnTo>
                    <a:pt x="321" y="90"/>
                  </a:lnTo>
                  <a:lnTo>
                    <a:pt x="321" y="92"/>
                  </a:lnTo>
                  <a:lnTo>
                    <a:pt x="321" y="93"/>
                  </a:lnTo>
                  <a:lnTo>
                    <a:pt x="319" y="93"/>
                  </a:lnTo>
                  <a:lnTo>
                    <a:pt x="319" y="95"/>
                  </a:lnTo>
                  <a:lnTo>
                    <a:pt x="321" y="95"/>
                  </a:lnTo>
                  <a:lnTo>
                    <a:pt x="321" y="97"/>
                  </a:lnTo>
                  <a:lnTo>
                    <a:pt x="323" y="95"/>
                  </a:lnTo>
                  <a:lnTo>
                    <a:pt x="321" y="98"/>
                  </a:lnTo>
                  <a:lnTo>
                    <a:pt x="319" y="98"/>
                  </a:lnTo>
                  <a:lnTo>
                    <a:pt x="319" y="97"/>
                  </a:lnTo>
                  <a:lnTo>
                    <a:pt x="317" y="98"/>
                  </a:lnTo>
                  <a:lnTo>
                    <a:pt x="319" y="98"/>
                  </a:lnTo>
                  <a:lnTo>
                    <a:pt x="321" y="100"/>
                  </a:lnTo>
                  <a:lnTo>
                    <a:pt x="317" y="100"/>
                  </a:lnTo>
                  <a:lnTo>
                    <a:pt x="316" y="100"/>
                  </a:lnTo>
                  <a:lnTo>
                    <a:pt x="314" y="100"/>
                  </a:lnTo>
                  <a:lnTo>
                    <a:pt x="316" y="100"/>
                  </a:lnTo>
                  <a:lnTo>
                    <a:pt x="314" y="100"/>
                  </a:lnTo>
                  <a:lnTo>
                    <a:pt x="314" y="98"/>
                  </a:lnTo>
                  <a:lnTo>
                    <a:pt x="312" y="97"/>
                  </a:lnTo>
                  <a:lnTo>
                    <a:pt x="314" y="98"/>
                  </a:lnTo>
                  <a:lnTo>
                    <a:pt x="314" y="100"/>
                  </a:lnTo>
                  <a:lnTo>
                    <a:pt x="311" y="102"/>
                  </a:lnTo>
                  <a:lnTo>
                    <a:pt x="311" y="100"/>
                  </a:lnTo>
                  <a:lnTo>
                    <a:pt x="311" y="98"/>
                  </a:lnTo>
                  <a:lnTo>
                    <a:pt x="311" y="100"/>
                  </a:lnTo>
                  <a:lnTo>
                    <a:pt x="311" y="102"/>
                  </a:lnTo>
                  <a:lnTo>
                    <a:pt x="309" y="103"/>
                  </a:lnTo>
                  <a:lnTo>
                    <a:pt x="307" y="103"/>
                  </a:lnTo>
                  <a:lnTo>
                    <a:pt x="306" y="105"/>
                  </a:lnTo>
                  <a:lnTo>
                    <a:pt x="304" y="107"/>
                  </a:lnTo>
                  <a:lnTo>
                    <a:pt x="302" y="107"/>
                  </a:lnTo>
                  <a:lnTo>
                    <a:pt x="302" y="109"/>
                  </a:lnTo>
                  <a:lnTo>
                    <a:pt x="302" y="107"/>
                  </a:lnTo>
                  <a:lnTo>
                    <a:pt x="302" y="109"/>
                  </a:lnTo>
                  <a:lnTo>
                    <a:pt x="300" y="109"/>
                  </a:lnTo>
                  <a:lnTo>
                    <a:pt x="299" y="109"/>
                  </a:lnTo>
                  <a:lnTo>
                    <a:pt x="297" y="110"/>
                  </a:lnTo>
                  <a:lnTo>
                    <a:pt x="295" y="112"/>
                  </a:lnTo>
                  <a:lnTo>
                    <a:pt x="294" y="112"/>
                  </a:lnTo>
                  <a:lnTo>
                    <a:pt x="292" y="114"/>
                  </a:lnTo>
                  <a:lnTo>
                    <a:pt x="290" y="114"/>
                  </a:lnTo>
                  <a:lnTo>
                    <a:pt x="289" y="115"/>
                  </a:lnTo>
                  <a:lnTo>
                    <a:pt x="287" y="115"/>
                  </a:lnTo>
                  <a:lnTo>
                    <a:pt x="289" y="114"/>
                  </a:lnTo>
                  <a:lnTo>
                    <a:pt x="290" y="114"/>
                  </a:lnTo>
                  <a:lnTo>
                    <a:pt x="290" y="112"/>
                  </a:lnTo>
                  <a:lnTo>
                    <a:pt x="292" y="112"/>
                  </a:lnTo>
                  <a:lnTo>
                    <a:pt x="294" y="112"/>
                  </a:lnTo>
                  <a:lnTo>
                    <a:pt x="294" y="110"/>
                  </a:lnTo>
                  <a:lnTo>
                    <a:pt x="294" y="109"/>
                  </a:lnTo>
                  <a:lnTo>
                    <a:pt x="294" y="112"/>
                  </a:lnTo>
                  <a:lnTo>
                    <a:pt x="295" y="109"/>
                  </a:lnTo>
                  <a:lnTo>
                    <a:pt x="297" y="109"/>
                  </a:lnTo>
                  <a:lnTo>
                    <a:pt x="295" y="107"/>
                  </a:lnTo>
                  <a:lnTo>
                    <a:pt x="294" y="109"/>
                  </a:lnTo>
                  <a:lnTo>
                    <a:pt x="292" y="110"/>
                  </a:lnTo>
                  <a:lnTo>
                    <a:pt x="294" y="109"/>
                  </a:lnTo>
                  <a:lnTo>
                    <a:pt x="290" y="105"/>
                  </a:lnTo>
                  <a:lnTo>
                    <a:pt x="290" y="107"/>
                  </a:lnTo>
                  <a:lnTo>
                    <a:pt x="289" y="109"/>
                  </a:lnTo>
                  <a:lnTo>
                    <a:pt x="289" y="110"/>
                  </a:lnTo>
                  <a:lnTo>
                    <a:pt x="287" y="109"/>
                  </a:lnTo>
                  <a:lnTo>
                    <a:pt x="287" y="110"/>
                  </a:lnTo>
                  <a:lnTo>
                    <a:pt x="285" y="109"/>
                  </a:lnTo>
                  <a:lnTo>
                    <a:pt x="285" y="110"/>
                  </a:lnTo>
                  <a:lnTo>
                    <a:pt x="283" y="110"/>
                  </a:lnTo>
                  <a:lnTo>
                    <a:pt x="283" y="112"/>
                  </a:lnTo>
                  <a:lnTo>
                    <a:pt x="283" y="110"/>
                  </a:lnTo>
                  <a:lnTo>
                    <a:pt x="283" y="112"/>
                  </a:lnTo>
                  <a:lnTo>
                    <a:pt x="280" y="112"/>
                  </a:lnTo>
                  <a:lnTo>
                    <a:pt x="280" y="114"/>
                  </a:lnTo>
                  <a:lnTo>
                    <a:pt x="280" y="112"/>
                  </a:lnTo>
                  <a:lnTo>
                    <a:pt x="278" y="112"/>
                  </a:lnTo>
                  <a:lnTo>
                    <a:pt x="280" y="114"/>
                  </a:lnTo>
                  <a:lnTo>
                    <a:pt x="282" y="115"/>
                  </a:lnTo>
                  <a:lnTo>
                    <a:pt x="285" y="115"/>
                  </a:lnTo>
                  <a:lnTo>
                    <a:pt x="283" y="115"/>
                  </a:lnTo>
                  <a:lnTo>
                    <a:pt x="285" y="115"/>
                  </a:lnTo>
                  <a:lnTo>
                    <a:pt x="283" y="115"/>
                  </a:lnTo>
                  <a:lnTo>
                    <a:pt x="282" y="115"/>
                  </a:lnTo>
                  <a:lnTo>
                    <a:pt x="280" y="114"/>
                  </a:lnTo>
                  <a:lnTo>
                    <a:pt x="278" y="112"/>
                  </a:lnTo>
                  <a:lnTo>
                    <a:pt x="278" y="114"/>
                  </a:lnTo>
                  <a:lnTo>
                    <a:pt x="278" y="112"/>
                  </a:lnTo>
                  <a:lnTo>
                    <a:pt x="278" y="114"/>
                  </a:lnTo>
                  <a:lnTo>
                    <a:pt x="278" y="115"/>
                  </a:lnTo>
                  <a:lnTo>
                    <a:pt x="277" y="115"/>
                  </a:lnTo>
                  <a:lnTo>
                    <a:pt x="280" y="115"/>
                  </a:lnTo>
                  <a:lnTo>
                    <a:pt x="278" y="117"/>
                  </a:lnTo>
                  <a:lnTo>
                    <a:pt x="280" y="117"/>
                  </a:lnTo>
                  <a:lnTo>
                    <a:pt x="280" y="119"/>
                  </a:lnTo>
                  <a:lnTo>
                    <a:pt x="278" y="119"/>
                  </a:lnTo>
                  <a:lnTo>
                    <a:pt x="278" y="120"/>
                  </a:lnTo>
                  <a:lnTo>
                    <a:pt x="278" y="119"/>
                  </a:lnTo>
                  <a:lnTo>
                    <a:pt x="278" y="120"/>
                  </a:lnTo>
                  <a:lnTo>
                    <a:pt x="277" y="120"/>
                  </a:lnTo>
                  <a:lnTo>
                    <a:pt x="278" y="117"/>
                  </a:lnTo>
                  <a:lnTo>
                    <a:pt x="277" y="119"/>
                  </a:lnTo>
                  <a:lnTo>
                    <a:pt x="277" y="120"/>
                  </a:lnTo>
                  <a:lnTo>
                    <a:pt x="278" y="120"/>
                  </a:lnTo>
                  <a:lnTo>
                    <a:pt x="278" y="122"/>
                  </a:lnTo>
                  <a:lnTo>
                    <a:pt x="277" y="120"/>
                  </a:lnTo>
                  <a:lnTo>
                    <a:pt x="277" y="119"/>
                  </a:lnTo>
                  <a:lnTo>
                    <a:pt x="275" y="119"/>
                  </a:lnTo>
                  <a:lnTo>
                    <a:pt x="275" y="120"/>
                  </a:lnTo>
                  <a:lnTo>
                    <a:pt x="273" y="119"/>
                  </a:lnTo>
                  <a:lnTo>
                    <a:pt x="273" y="120"/>
                  </a:lnTo>
                  <a:lnTo>
                    <a:pt x="275" y="120"/>
                  </a:lnTo>
                  <a:lnTo>
                    <a:pt x="273" y="120"/>
                  </a:lnTo>
                  <a:lnTo>
                    <a:pt x="273" y="124"/>
                  </a:lnTo>
                  <a:lnTo>
                    <a:pt x="275" y="124"/>
                  </a:lnTo>
                  <a:lnTo>
                    <a:pt x="277" y="124"/>
                  </a:lnTo>
                  <a:lnTo>
                    <a:pt x="275" y="124"/>
                  </a:lnTo>
                  <a:lnTo>
                    <a:pt x="273" y="124"/>
                  </a:lnTo>
                  <a:lnTo>
                    <a:pt x="273" y="126"/>
                  </a:lnTo>
                  <a:lnTo>
                    <a:pt x="275" y="126"/>
                  </a:lnTo>
                  <a:lnTo>
                    <a:pt x="273" y="126"/>
                  </a:lnTo>
                  <a:lnTo>
                    <a:pt x="273" y="127"/>
                  </a:lnTo>
                  <a:lnTo>
                    <a:pt x="275" y="127"/>
                  </a:lnTo>
                  <a:lnTo>
                    <a:pt x="275" y="126"/>
                  </a:lnTo>
                  <a:lnTo>
                    <a:pt x="275" y="129"/>
                  </a:lnTo>
                  <a:lnTo>
                    <a:pt x="277" y="127"/>
                  </a:lnTo>
                  <a:lnTo>
                    <a:pt x="277" y="126"/>
                  </a:lnTo>
                  <a:lnTo>
                    <a:pt x="278" y="126"/>
                  </a:lnTo>
                  <a:lnTo>
                    <a:pt x="277" y="127"/>
                  </a:lnTo>
                  <a:lnTo>
                    <a:pt x="278" y="129"/>
                  </a:lnTo>
                  <a:lnTo>
                    <a:pt x="277" y="129"/>
                  </a:lnTo>
                  <a:lnTo>
                    <a:pt x="278" y="131"/>
                  </a:lnTo>
                  <a:lnTo>
                    <a:pt x="280" y="132"/>
                  </a:lnTo>
                  <a:lnTo>
                    <a:pt x="280" y="131"/>
                  </a:lnTo>
                  <a:lnTo>
                    <a:pt x="282" y="132"/>
                  </a:lnTo>
                  <a:lnTo>
                    <a:pt x="282" y="131"/>
                  </a:lnTo>
                  <a:lnTo>
                    <a:pt x="282" y="129"/>
                  </a:lnTo>
                  <a:lnTo>
                    <a:pt x="282" y="131"/>
                  </a:lnTo>
                  <a:lnTo>
                    <a:pt x="282" y="132"/>
                  </a:lnTo>
                  <a:lnTo>
                    <a:pt x="283" y="134"/>
                  </a:lnTo>
                  <a:lnTo>
                    <a:pt x="283" y="136"/>
                  </a:lnTo>
                  <a:lnTo>
                    <a:pt x="283" y="137"/>
                  </a:lnTo>
                  <a:lnTo>
                    <a:pt x="283" y="139"/>
                  </a:lnTo>
                  <a:lnTo>
                    <a:pt x="282" y="137"/>
                  </a:lnTo>
                  <a:lnTo>
                    <a:pt x="282" y="141"/>
                  </a:lnTo>
                  <a:lnTo>
                    <a:pt x="283" y="141"/>
                  </a:lnTo>
                  <a:lnTo>
                    <a:pt x="285" y="143"/>
                  </a:lnTo>
                  <a:lnTo>
                    <a:pt x="285" y="141"/>
                  </a:lnTo>
                  <a:lnTo>
                    <a:pt x="287" y="144"/>
                  </a:lnTo>
                  <a:lnTo>
                    <a:pt x="285" y="144"/>
                  </a:lnTo>
                  <a:lnTo>
                    <a:pt x="287" y="144"/>
                  </a:lnTo>
                  <a:lnTo>
                    <a:pt x="289" y="143"/>
                  </a:lnTo>
                  <a:lnTo>
                    <a:pt x="289" y="146"/>
                  </a:lnTo>
                  <a:lnTo>
                    <a:pt x="290" y="146"/>
                  </a:lnTo>
                  <a:lnTo>
                    <a:pt x="290" y="148"/>
                  </a:lnTo>
                  <a:lnTo>
                    <a:pt x="292" y="148"/>
                  </a:lnTo>
                  <a:lnTo>
                    <a:pt x="292" y="149"/>
                  </a:lnTo>
                  <a:lnTo>
                    <a:pt x="294" y="151"/>
                  </a:lnTo>
                  <a:lnTo>
                    <a:pt x="292" y="149"/>
                  </a:lnTo>
                  <a:lnTo>
                    <a:pt x="294" y="151"/>
                  </a:lnTo>
                  <a:lnTo>
                    <a:pt x="292" y="149"/>
                  </a:lnTo>
                  <a:lnTo>
                    <a:pt x="292" y="151"/>
                  </a:lnTo>
                  <a:lnTo>
                    <a:pt x="292" y="153"/>
                  </a:lnTo>
                  <a:lnTo>
                    <a:pt x="292" y="151"/>
                  </a:lnTo>
                  <a:lnTo>
                    <a:pt x="292" y="153"/>
                  </a:lnTo>
                  <a:lnTo>
                    <a:pt x="292" y="154"/>
                  </a:lnTo>
                  <a:lnTo>
                    <a:pt x="292" y="153"/>
                  </a:lnTo>
                  <a:lnTo>
                    <a:pt x="292" y="154"/>
                  </a:lnTo>
                  <a:lnTo>
                    <a:pt x="290" y="154"/>
                  </a:lnTo>
                  <a:lnTo>
                    <a:pt x="290" y="156"/>
                  </a:lnTo>
                  <a:lnTo>
                    <a:pt x="292" y="154"/>
                  </a:lnTo>
                  <a:lnTo>
                    <a:pt x="290" y="156"/>
                  </a:lnTo>
                  <a:lnTo>
                    <a:pt x="289" y="156"/>
                  </a:lnTo>
                  <a:lnTo>
                    <a:pt x="290" y="153"/>
                  </a:lnTo>
                  <a:lnTo>
                    <a:pt x="289" y="153"/>
                  </a:lnTo>
                  <a:lnTo>
                    <a:pt x="287" y="154"/>
                  </a:lnTo>
                  <a:lnTo>
                    <a:pt x="289" y="156"/>
                  </a:lnTo>
                  <a:lnTo>
                    <a:pt x="287" y="158"/>
                  </a:lnTo>
                  <a:lnTo>
                    <a:pt x="289" y="160"/>
                  </a:lnTo>
                  <a:lnTo>
                    <a:pt x="287" y="161"/>
                  </a:lnTo>
                  <a:lnTo>
                    <a:pt x="283" y="161"/>
                  </a:lnTo>
                  <a:lnTo>
                    <a:pt x="287" y="161"/>
                  </a:lnTo>
                  <a:lnTo>
                    <a:pt x="287" y="160"/>
                  </a:lnTo>
                  <a:lnTo>
                    <a:pt x="285" y="158"/>
                  </a:lnTo>
                  <a:lnTo>
                    <a:pt x="283" y="156"/>
                  </a:lnTo>
                  <a:lnTo>
                    <a:pt x="282" y="158"/>
                  </a:lnTo>
                  <a:lnTo>
                    <a:pt x="282" y="156"/>
                  </a:lnTo>
                  <a:lnTo>
                    <a:pt x="280" y="160"/>
                  </a:lnTo>
                  <a:lnTo>
                    <a:pt x="282" y="160"/>
                  </a:lnTo>
                  <a:lnTo>
                    <a:pt x="280" y="161"/>
                  </a:lnTo>
                  <a:lnTo>
                    <a:pt x="280" y="165"/>
                  </a:lnTo>
                  <a:lnTo>
                    <a:pt x="280" y="166"/>
                  </a:lnTo>
                  <a:lnTo>
                    <a:pt x="280" y="168"/>
                  </a:lnTo>
                  <a:lnTo>
                    <a:pt x="280" y="170"/>
                  </a:lnTo>
                  <a:lnTo>
                    <a:pt x="282" y="173"/>
                  </a:lnTo>
                  <a:lnTo>
                    <a:pt x="282" y="175"/>
                  </a:lnTo>
                  <a:lnTo>
                    <a:pt x="282" y="177"/>
                  </a:lnTo>
                  <a:lnTo>
                    <a:pt x="282" y="180"/>
                  </a:lnTo>
                  <a:lnTo>
                    <a:pt x="283" y="182"/>
                  </a:lnTo>
                  <a:lnTo>
                    <a:pt x="282" y="182"/>
                  </a:lnTo>
                  <a:lnTo>
                    <a:pt x="282" y="183"/>
                  </a:lnTo>
                  <a:lnTo>
                    <a:pt x="280" y="185"/>
                  </a:lnTo>
                  <a:lnTo>
                    <a:pt x="278" y="187"/>
                  </a:lnTo>
                  <a:lnTo>
                    <a:pt x="280" y="185"/>
                  </a:lnTo>
                  <a:lnTo>
                    <a:pt x="282" y="183"/>
                  </a:lnTo>
                  <a:lnTo>
                    <a:pt x="282" y="185"/>
                  </a:lnTo>
                  <a:lnTo>
                    <a:pt x="282" y="182"/>
                  </a:lnTo>
                  <a:lnTo>
                    <a:pt x="283" y="182"/>
                  </a:lnTo>
                  <a:lnTo>
                    <a:pt x="283" y="183"/>
                  </a:lnTo>
                  <a:lnTo>
                    <a:pt x="283" y="187"/>
                  </a:lnTo>
                  <a:lnTo>
                    <a:pt x="285" y="189"/>
                  </a:lnTo>
                  <a:lnTo>
                    <a:pt x="285" y="190"/>
                  </a:lnTo>
                  <a:lnTo>
                    <a:pt x="285" y="194"/>
                  </a:lnTo>
                  <a:lnTo>
                    <a:pt x="287" y="195"/>
                  </a:lnTo>
                  <a:lnTo>
                    <a:pt x="289" y="200"/>
                  </a:lnTo>
                  <a:lnTo>
                    <a:pt x="289" y="202"/>
                  </a:lnTo>
                  <a:lnTo>
                    <a:pt x="290" y="204"/>
                  </a:lnTo>
                  <a:lnTo>
                    <a:pt x="292" y="204"/>
                  </a:lnTo>
                  <a:lnTo>
                    <a:pt x="294" y="206"/>
                  </a:lnTo>
                  <a:lnTo>
                    <a:pt x="294" y="207"/>
                  </a:lnTo>
                  <a:lnTo>
                    <a:pt x="297" y="209"/>
                  </a:lnTo>
                  <a:lnTo>
                    <a:pt x="297" y="211"/>
                  </a:lnTo>
                  <a:lnTo>
                    <a:pt x="299" y="211"/>
                  </a:lnTo>
                  <a:lnTo>
                    <a:pt x="300" y="212"/>
                  </a:lnTo>
                  <a:lnTo>
                    <a:pt x="300" y="214"/>
                  </a:lnTo>
                  <a:lnTo>
                    <a:pt x="302" y="216"/>
                  </a:lnTo>
                  <a:lnTo>
                    <a:pt x="304" y="217"/>
                  </a:lnTo>
                  <a:lnTo>
                    <a:pt x="307" y="217"/>
                  </a:lnTo>
                  <a:lnTo>
                    <a:pt x="311" y="217"/>
                  </a:lnTo>
                  <a:lnTo>
                    <a:pt x="312" y="219"/>
                  </a:lnTo>
                  <a:lnTo>
                    <a:pt x="314" y="219"/>
                  </a:lnTo>
                  <a:lnTo>
                    <a:pt x="314" y="221"/>
                  </a:lnTo>
                  <a:lnTo>
                    <a:pt x="316" y="221"/>
                  </a:lnTo>
                  <a:lnTo>
                    <a:pt x="317" y="223"/>
                  </a:lnTo>
                  <a:lnTo>
                    <a:pt x="319" y="224"/>
                  </a:lnTo>
                  <a:lnTo>
                    <a:pt x="321" y="226"/>
                  </a:lnTo>
                  <a:lnTo>
                    <a:pt x="323" y="226"/>
                  </a:lnTo>
                  <a:lnTo>
                    <a:pt x="324" y="228"/>
                  </a:lnTo>
                  <a:lnTo>
                    <a:pt x="324" y="229"/>
                  </a:lnTo>
                  <a:lnTo>
                    <a:pt x="328" y="231"/>
                  </a:lnTo>
                  <a:lnTo>
                    <a:pt x="329" y="233"/>
                  </a:lnTo>
                  <a:lnTo>
                    <a:pt x="331" y="234"/>
                  </a:lnTo>
                  <a:lnTo>
                    <a:pt x="333" y="234"/>
                  </a:lnTo>
                  <a:lnTo>
                    <a:pt x="334" y="236"/>
                  </a:lnTo>
                  <a:lnTo>
                    <a:pt x="336" y="236"/>
                  </a:lnTo>
                  <a:lnTo>
                    <a:pt x="338" y="238"/>
                  </a:lnTo>
                  <a:lnTo>
                    <a:pt x="340" y="240"/>
                  </a:lnTo>
                  <a:lnTo>
                    <a:pt x="341" y="240"/>
                  </a:lnTo>
                  <a:lnTo>
                    <a:pt x="343" y="241"/>
                  </a:lnTo>
                  <a:lnTo>
                    <a:pt x="345" y="241"/>
                  </a:lnTo>
                  <a:lnTo>
                    <a:pt x="346" y="241"/>
                  </a:lnTo>
                  <a:lnTo>
                    <a:pt x="346" y="240"/>
                  </a:lnTo>
                  <a:lnTo>
                    <a:pt x="350" y="241"/>
                  </a:lnTo>
                  <a:lnTo>
                    <a:pt x="351" y="245"/>
                  </a:lnTo>
                  <a:lnTo>
                    <a:pt x="353" y="245"/>
                  </a:lnTo>
                  <a:lnTo>
                    <a:pt x="353" y="246"/>
                  </a:lnTo>
                  <a:lnTo>
                    <a:pt x="353" y="250"/>
                  </a:lnTo>
                  <a:lnTo>
                    <a:pt x="355" y="251"/>
                  </a:lnTo>
                  <a:lnTo>
                    <a:pt x="357" y="253"/>
                  </a:lnTo>
                  <a:lnTo>
                    <a:pt x="357" y="257"/>
                  </a:lnTo>
                  <a:lnTo>
                    <a:pt x="358" y="258"/>
                  </a:lnTo>
                  <a:lnTo>
                    <a:pt x="358" y="260"/>
                  </a:lnTo>
                  <a:lnTo>
                    <a:pt x="360" y="262"/>
                  </a:lnTo>
                  <a:lnTo>
                    <a:pt x="360" y="263"/>
                  </a:lnTo>
                  <a:lnTo>
                    <a:pt x="362" y="265"/>
                  </a:lnTo>
                  <a:lnTo>
                    <a:pt x="362" y="267"/>
                  </a:lnTo>
                  <a:lnTo>
                    <a:pt x="363" y="270"/>
                  </a:lnTo>
                  <a:lnTo>
                    <a:pt x="363" y="272"/>
                  </a:lnTo>
                  <a:lnTo>
                    <a:pt x="365" y="272"/>
                  </a:lnTo>
                  <a:lnTo>
                    <a:pt x="365" y="274"/>
                  </a:lnTo>
                  <a:lnTo>
                    <a:pt x="367" y="277"/>
                  </a:lnTo>
                  <a:lnTo>
                    <a:pt x="367" y="279"/>
                  </a:lnTo>
                  <a:lnTo>
                    <a:pt x="367" y="282"/>
                  </a:lnTo>
                  <a:lnTo>
                    <a:pt x="368" y="284"/>
                  </a:lnTo>
                  <a:lnTo>
                    <a:pt x="368" y="285"/>
                  </a:lnTo>
                  <a:lnTo>
                    <a:pt x="370" y="287"/>
                  </a:lnTo>
                  <a:lnTo>
                    <a:pt x="368" y="287"/>
                  </a:lnTo>
                  <a:lnTo>
                    <a:pt x="370" y="289"/>
                  </a:lnTo>
                  <a:lnTo>
                    <a:pt x="370" y="291"/>
                  </a:lnTo>
                  <a:lnTo>
                    <a:pt x="372" y="291"/>
                  </a:lnTo>
                  <a:lnTo>
                    <a:pt x="372" y="292"/>
                  </a:lnTo>
                  <a:lnTo>
                    <a:pt x="372" y="294"/>
                  </a:lnTo>
                  <a:lnTo>
                    <a:pt x="372" y="297"/>
                  </a:lnTo>
                  <a:lnTo>
                    <a:pt x="374" y="297"/>
                  </a:lnTo>
                  <a:lnTo>
                    <a:pt x="374" y="301"/>
                  </a:lnTo>
                  <a:lnTo>
                    <a:pt x="375" y="301"/>
                  </a:lnTo>
                  <a:lnTo>
                    <a:pt x="374" y="301"/>
                  </a:lnTo>
                  <a:lnTo>
                    <a:pt x="375" y="301"/>
                  </a:lnTo>
                  <a:lnTo>
                    <a:pt x="374" y="301"/>
                  </a:lnTo>
                  <a:lnTo>
                    <a:pt x="375" y="302"/>
                  </a:lnTo>
                  <a:lnTo>
                    <a:pt x="375" y="304"/>
                  </a:lnTo>
                  <a:lnTo>
                    <a:pt x="377" y="306"/>
                  </a:lnTo>
                  <a:lnTo>
                    <a:pt x="379" y="308"/>
                  </a:lnTo>
                  <a:lnTo>
                    <a:pt x="379" y="309"/>
                  </a:lnTo>
                  <a:lnTo>
                    <a:pt x="380" y="311"/>
                  </a:lnTo>
                  <a:lnTo>
                    <a:pt x="382" y="314"/>
                  </a:lnTo>
                  <a:lnTo>
                    <a:pt x="384" y="316"/>
                  </a:lnTo>
                  <a:lnTo>
                    <a:pt x="385" y="316"/>
                  </a:lnTo>
                  <a:lnTo>
                    <a:pt x="385" y="318"/>
                  </a:lnTo>
                  <a:lnTo>
                    <a:pt x="387" y="319"/>
                  </a:lnTo>
                  <a:lnTo>
                    <a:pt x="389" y="319"/>
                  </a:lnTo>
                  <a:lnTo>
                    <a:pt x="389" y="321"/>
                  </a:lnTo>
                  <a:lnTo>
                    <a:pt x="389" y="319"/>
                  </a:lnTo>
                  <a:lnTo>
                    <a:pt x="389" y="321"/>
                  </a:lnTo>
                  <a:lnTo>
                    <a:pt x="391" y="323"/>
                  </a:lnTo>
                  <a:lnTo>
                    <a:pt x="392" y="323"/>
                  </a:lnTo>
                  <a:lnTo>
                    <a:pt x="394" y="325"/>
                  </a:lnTo>
                  <a:lnTo>
                    <a:pt x="396" y="326"/>
                  </a:lnTo>
                  <a:lnTo>
                    <a:pt x="397" y="326"/>
                  </a:lnTo>
                  <a:lnTo>
                    <a:pt x="399" y="328"/>
                  </a:lnTo>
                  <a:lnTo>
                    <a:pt x="399" y="330"/>
                  </a:lnTo>
                  <a:lnTo>
                    <a:pt x="401" y="331"/>
                  </a:lnTo>
                  <a:lnTo>
                    <a:pt x="402" y="333"/>
                  </a:lnTo>
                  <a:lnTo>
                    <a:pt x="404" y="333"/>
                  </a:lnTo>
                  <a:lnTo>
                    <a:pt x="404" y="335"/>
                  </a:lnTo>
                  <a:lnTo>
                    <a:pt x="406" y="337"/>
                  </a:lnTo>
                  <a:lnTo>
                    <a:pt x="408" y="337"/>
                  </a:lnTo>
                  <a:lnTo>
                    <a:pt x="409" y="337"/>
                  </a:lnTo>
                  <a:lnTo>
                    <a:pt x="411" y="338"/>
                  </a:lnTo>
                  <a:lnTo>
                    <a:pt x="413" y="338"/>
                  </a:lnTo>
                  <a:lnTo>
                    <a:pt x="414" y="340"/>
                  </a:lnTo>
                  <a:lnTo>
                    <a:pt x="416" y="340"/>
                  </a:lnTo>
                  <a:lnTo>
                    <a:pt x="414" y="340"/>
                  </a:lnTo>
                  <a:lnTo>
                    <a:pt x="416" y="340"/>
                  </a:lnTo>
                  <a:lnTo>
                    <a:pt x="416" y="342"/>
                  </a:lnTo>
                  <a:lnTo>
                    <a:pt x="416" y="343"/>
                  </a:lnTo>
                  <a:lnTo>
                    <a:pt x="416" y="345"/>
                  </a:lnTo>
                  <a:lnTo>
                    <a:pt x="418" y="345"/>
                  </a:lnTo>
                  <a:lnTo>
                    <a:pt x="419" y="347"/>
                  </a:lnTo>
                  <a:lnTo>
                    <a:pt x="421" y="347"/>
                  </a:lnTo>
                  <a:lnTo>
                    <a:pt x="423" y="348"/>
                  </a:lnTo>
                  <a:lnTo>
                    <a:pt x="426" y="350"/>
                  </a:lnTo>
                  <a:lnTo>
                    <a:pt x="430" y="350"/>
                  </a:lnTo>
                  <a:lnTo>
                    <a:pt x="431" y="350"/>
                  </a:lnTo>
                  <a:lnTo>
                    <a:pt x="431" y="352"/>
                  </a:lnTo>
                  <a:lnTo>
                    <a:pt x="433" y="352"/>
                  </a:lnTo>
                  <a:lnTo>
                    <a:pt x="435" y="354"/>
                  </a:lnTo>
                  <a:lnTo>
                    <a:pt x="435" y="355"/>
                  </a:lnTo>
                  <a:lnTo>
                    <a:pt x="435" y="354"/>
                  </a:lnTo>
                  <a:lnTo>
                    <a:pt x="436" y="355"/>
                  </a:lnTo>
                  <a:lnTo>
                    <a:pt x="440" y="355"/>
                  </a:lnTo>
                  <a:lnTo>
                    <a:pt x="443" y="355"/>
                  </a:lnTo>
                  <a:lnTo>
                    <a:pt x="445" y="355"/>
                  </a:lnTo>
                  <a:lnTo>
                    <a:pt x="447" y="355"/>
                  </a:lnTo>
                  <a:lnTo>
                    <a:pt x="450" y="355"/>
                  </a:lnTo>
                  <a:lnTo>
                    <a:pt x="452" y="357"/>
                  </a:lnTo>
                  <a:lnTo>
                    <a:pt x="453" y="357"/>
                  </a:lnTo>
                  <a:lnTo>
                    <a:pt x="457" y="355"/>
                  </a:lnTo>
                  <a:lnTo>
                    <a:pt x="459" y="355"/>
                  </a:lnTo>
                  <a:lnTo>
                    <a:pt x="460" y="355"/>
                  </a:lnTo>
                  <a:lnTo>
                    <a:pt x="462" y="354"/>
                  </a:lnTo>
                  <a:lnTo>
                    <a:pt x="464" y="354"/>
                  </a:lnTo>
                  <a:lnTo>
                    <a:pt x="467" y="354"/>
                  </a:lnTo>
                  <a:lnTo>
                    <a:pt x="469" y="354"/>
                  </a:lnTo>
                  <a:lnTo>
                    <a:pt x="472" y="354"/>
                  </a:lnTo>
                  <a:lnTo>
                    <a:pt x="474" y="354"/>
                  </a:lnTo>
                  <a:lnTo>
                    <a:pt x="476" y="354"/>
                  </a:lnTo>
                  <a:lnTo>
                    <a:pt x="477" y="352"/>
                  </a:lnTo>
                  <a:lnTo>
                    <a:pt x="479" y="352"/>
                  </a:lnTo>
                  <a:lnTo>
                    <a:pt x="481" y="352"/>
                  </a:lnTo>
                  <a:lnTo>
                    <a:pt x="484" y="350"/>
                  </a:lnTo>
                  <a:lnTo>
                    <a:pt x="487" y="350"/>
                  </a:lnTo>
                  <a:lnTo>
                    <a:pt x="489" y="350"/>
                  </a:lnTo>
                  <a:lnTo>
                    <a:pt x="491" y="352"/>
                  </a:lnTo>
                  <a:lnTo>
                    <a:pt x="493" y="352"/>
                  </a:lnTo>
                  <a:lnTo>
                    <a:pt x="494" y="354"/>
                  </a:lnTo>
                  <a:lnTo>
                    <a:pt x="494" y="357"/>
                  </a:lnTo>
                  <a:lnTo>
                    <a:pt x="496" y="359"/>
                  </a:lnTo>
                  <a:lnTo>
                    <a:pt x="496" y="360"/>
                  </a:lnTo>
                  <a:lnTo>
                    <a:pt x="496" y="362"/>
                  </a:lnTo>
                  <a:lnTo>
                    <a:pt x="494" y="362"/>
                  </a:lnTo>
                  <a:lnTo>
                    <a:pt x="493" y="364"/>
                  </a:lnTo>
                  <a:lnTo>
                    <a:pt x="493" y="365"/>
                  </a:lnTo>
                  <a:lnTo>
                    <a:pt x="489" y="367"/>
                  </a:lnTo>
                  <a:lnTo>
                    <a:pt x="489" y="369"/>
                  </a:lnTo>
                  <a:lnTo>
                    <a:pt x="487" y="369"/>
                  </a:lnTo>
                  <a:lnTo>
                    <a:pt x="486" y="371"/>
                  </a:lnTo>
                  <a:lnTo>
                    <a:pt x="482" y="372"/>
                  </a:lnTo>
                  <a:lnTo>
                    <a:pt x="484" y="374"/>
                  </a:lnTo>
                  <a:lnTo>
                    <a:pt x="482" y="372"/>
                  </a:lnTo>
                  <a:lnTo>
                    <a:pt x="481" y="376"/>
                  </a:lnTo>
                  <a:lnTo>
                    <a:pt x="481" y="377"/>
                  </a:lnTo>
                  <a:lnTo>
                    <a:pt x="481" y="379"/>
                  </a:lnTo>
                  <a:lnTo>
                    <a:pt x="482" y="382"/>
                  </a:lnTo>
                  <a:lnTo>
                    <a:pt x="484" y="384"/>
                  </a:lnTo>
                  <a:lnTo>
                    <a:pt x="486" y="386"/>
                  </a:lnTo>
                  <a:lnTo>
                    <a:pt x="489" y="388"/>
                  </a:lnTo>
                  <a:lnTo>
                    <a:pt x="491" y="388"/>
                  </a:lnTo>
                  <a:lnTo>
                    <a:pt x="489" y="391"/>
                  </a:lnTo>
                  <a:lnTo>
                    <a:pt x="491" y="388"/>
                  </a:lnTo>
                  <a:lnTo>
                    <a:pt x="493" y="389"/>
                  </a:lnTo>
                  <a:lnTo>
                    <a:pt x="494" y="389"/>
                  </a:lnTo>
                  <a:lnTo>
                    <a:pt x="496" y="391"/>
                  </a:lnTo>
                  <a:lnTo>
                    <a:pt x="498" y="391"/>
                  </a:lnTo>
                  <a:lnTo>
                    <a:pt x="499" y="391"/>
                  </a:lnTo>
                  <a:lnTo>
                    <a:pt x="501" y="393"/>
                  </a:lnTo>
                  <a:lnTo>
                    <a:pt x="503" y="393"/>
                  </a:lnTo>
                  <a:lnTo>
                    <a:pt x="503" y="394"/>
                  </a:lnTo>
                  <a:lnTo>
                    <a:pt x="503" y="393"/>
                  </a:lnTo>
                  <a:lnTo>
                    <a:pt x="504" y="394"/>
                  </a:lnTo>
                  <a:lnTo>
                    <a:pt x="506" y="394"/>
                  </a:lnTo>
                  <a:lnTo>
                    <a:pt x="510" y="396"/>
                  </a:lnTo>
                  <a:lnTo>
                    <a:pt x="511" y="396"/>
                  </a:lnTo>
                  <a:lnTo>
                    <a:pt x="513" y="398"/>
                  </a:lnTo>
                  <a:lnTo>
                    <a:pt x="515" y="398"/>
                  </a:lnTo>
                  <a:lnTo>
                    <a:pt x="516" y="398"/>
                  </a:lnTo>
                  <a:lnTo>
                    <a:pt x="518" y="399"/>
                  </a:lnTo>
                  <a:lnTo>
                    <a:pt x="520" y="399"/>
                  </a:lnTo>
                  <a:lnTo>
                    <a:pt x="523" y="401"/>
                  </a:lnTo>
                  <a:lnTo>
                    <a:pt x="525" y="401"/>
                  </a:lnTo>
                  <a:lnTo>
                    <a:pt x="527" y="401"/>
                  </a:lnTo>
                  <a:lnTo>
                    <a:pt x="528" y="403"/>
                  </a:lnTo>
                  <a:lnTo>
                    <a:pt x="530" y="403"/>
                  </a:lnTo>
                  <a:lnTo>
                    <a:pt x="532" y="405"/>
                  </a:lnTo>
                  <a:lnTo>
                    <a:pt x="535" y="403"/>
                  </a:lnTo>
                  <a:lnTo>
                    <a:pt x="535" y="405"/>
                  </a:lnTo>
                  <a:lnTo>
                    <a:pt x="535" y="403"/>
                  </a:lnTo>
                  <a:lnTo>
                    <a:pt x="535" y="405"/>
                  </a:lnTo>
                  <a:lnTo>
                    <a:pt x="537" y="405"/>
                  </a:lnTo>
                  <a:lnTo>
                    <a:pt x="535" y="405"/>
                  </a:lnTo>
                  <a:lnTo>
                    <a:pt x="537" y="405"/>
                  </a:lnTo>
                  <a:lnTo>
                    <a:pt x="538" y="405"/>
                  </a:lnTo>
                  <a:lnTo>
                    <a:pt x="540" y="406"/>
                  </a:lnTo>
                  <a:lnTo>
                    <a:pt x="542" y="406"/>
                  </a:lnTo>
                  <a:lnTo>
                    <a:pt x="544" y="406"/>
                  </a:lnTo>
                  <a:lnTo>
                    <a:pt x="545" y="406"/>
                  </a:lnTo>
                  <a:lnTo>
                    <a:pt x="549" y="408"/>
                  </a:lnTo>
                  <a:lnTo>
                    <a:pt x="550" y="410"/>
                  </a:lnTo>
                  <a:lnTo>
                    <a:pt x="552" y="410"/>
                  </a:lnTo>
                  <a:lnTo>
                    <a:pt x="554" y="411"/>
                  </a:lnTo>
                  <a:lnTo>
                    <a:pt x="555" y="411"/>
                  </a:lnTo>
                  <a:lnTo>
                    <a:pt x="557" y="413"/>
                  </a:lnTo>
                  <a:lnTo>
                    <a:pt x="561" y="415"/>
                  </a:lnTo>
                  <a:lnTo>
                    <a:pt x="562" y="416"/>
                  </a:lnTo>
                  <a:lnTo>
                    <a:pt x="562" y="418"/>
                  </a:lnTo>
                  <a:lnTo>
                    <a:pt x="566" y="418"/>
                  </a:lnTo>
                  <a:lnTo>
                    <a:pt x="566" y="420"/>
                  </a:lnTo>
                  <a:lnTo>
                    <a:pt x="567" y="420"/>
                  </a:lnTo>
                  <a:lnTo>
                    <a:pt x="569" y="422"/>
                  </a:lnTo>
                  <a:lnTo>
                    <a:pt x="571" y="423"/>
                  </a:lnTo>
                  <a:lnTo>
                    <a:pt x="574" y="423"/>
                  </a:lnTo>
                  <a:lnTo>
                    <a:pt x="576" y="425"/>
                  </a:lnTo>
                  <a:lnTo>
                    <a:pt x="579" y="425"/>
                  </a:lnTo>
                  <a:lnTo>
                    <a:pt x="583" y="425"/>
                  </a:lnTo>
                  <a:lnTo>
                    <a:pt x="583" y="427"/>
                  </a:lnTo>
                  <a:lnTo>
                    <a:pt x="586" y="428"/>
                  </a:lnTo>
                  <a:lnTo>
                    <a:pt x="588" y="428"/>
                  </a:lnTo>
                  <a:lnTo>
                    <a:pt x="591" y="430"/>
                  </a:lnTo>
                  <a:lnTo>
                    <a:pt x="593" y="430"/>
                  </a:lnTo>
                  <a:lnTo>
                    <a:pt x="595" y="430"/>
                  </a:lnTo>
                  <a:lnTo>
                    <a:pt x="596" y="430"/>
                  </a:lnTo>
                  <a:lnTo>
                    <a:pt x="598" y="432"/>
                  </a:lnTo>
                  <a:lnTo>
                    <a:pt x="600" y="432"/>
                  </a:lnTo>
                  <a:lnTo>
                    <a:pt x="598" y="432"/>
                  </a:lnTo>
                  <a:lnTo>
                    <a:pt x="596" y="433"/>
                  </a:lnTo>
                  <a:lnTo>
                    <a:pt x="600" y="432"/>
                  </a:lnTo>
                  <a:lnTo>
                    <a:pt x="601" y="432"/>
                  </a:lnTo>
                  <a:lnTo>
                    <a:pt x="601" y="433"/>
                  </a:lnTo>
                  <a:lnTo>
                    <a:pt x="603" y="435"/>
                  </a:lnTo>
                  <a:lnTo>
                    <a:pt x="603" y="439"/>
                  </a:lnTo>
                  <a:lnTo>
                    <a:pt x="605" y="440"/>
                  </a:lnTo>
                  <a:lnTo>
                    <a:pt x="606" y="442"/>
                  </a:lnTo>
                  <a:lnTo>
                    <a:pt x="608" y="442"/>
                  </a:lnTo>
                  <a:lnTo>
                    <a:pt x="610" y="444"/>
                  </a:lnTo>
                  <a:lnTo>
                    <a:pt x="612" y="444"/>
                  </a:lnTo>
                  <a:lnTo>
                    <a:pt x="613" y="445"/>
                  </a:lnTo>
                  <a:lnTo>
                    <a:pt x="617" y="447"/>
                  </a:lnTo>
                  <a:lnTo>
                    <a:pt x="618" y="449"/>
                  </a:lnTo>
                  <a:lnTo>
                    <a:pt x="618" y="450"/>
                  </a:lnTo>
                  <a:lnTo>
                    <a:pt x="622" y="452"/>
                  </a:lnTo>
                  <a:lnTo>
                    <a:pt x="623" y="454"/>
                  </a:lnTo>
                  <a:lnTo>
                    <a:pt x="625" y="454"/>
                  </a:lnTo>
                  <a:lnTo>
                    <a:pt x="625" y="456"/>
                  </a:lnTo>
                  <a:lnTo>
                    <a:pt x="627" y="456"/>
                  </a:lnTo>
                  <a:lnTo>
                    <a:pt x="629" y="459"/>
                  </a:lnTo>
                  <a:lnTo>
                    <a:pt x="629" y="461"/>
                  </a:lnTo>
                  <a:lnTo>
                    <a:pt x="629" y="462"/>
                  </a:lnTo>
                  <a:lnTo>
                    <a:pt x="630" y="464"/>
                  </a:lnTo>
                  <a:lnTo>
                    <a:pt x="632" y="466"/>
                  </a:lnTo>
                  <a:lnTo>
                    <a:pt x="632" y="467"/>
                  </a:lnTo>
                  <a:lnTo>
                    <a:pt x="630" y="469"/>
                  </a:lnTo>
                  <a:lnTo>
                    <a:pt x="630" y="473"/>
                  </a:lnTo>
                  <a:lnTo>
                    <a:pt x="629" y="474"/>
                  </a:lnTo>
                  <a:lnTo>
                    <a:pt x="627" y="476"/>
                  </a:lnTo>
                  <a:lnTo>
                    <a:pt x="627" y="478"/>
                  </a:lnTo>
                  <a:lnTo>
                    <a:pt x="627" y="481"/>
                  </a:lnTo>
                  <a:lnTo>
                    <a:pt x="627" y="483"/>
                  </a:lnTo>
                  <a:lnTo>
                    <a:pt x="627" y="484"/>
                  </a:lnTo>
                  <a:lnTo>
                    <a:pt x="627" y="488"/>
                  </a:lnTo>
                  <a:lnTo>
                    <a:pt x="627" y="490"/>
                  </a:lnTo>
                  <a:lnTo>
                    <a:pt x="625" y="491"/>
                  </a:lnTo>
                  <a:lnTo>
                    <a:pt x="623" y="490"/>
                  </a:lnTo>
                  <a:lnTo>
                    <a:pt x="620" y="488"/>
                  </a:lnTo>
                  <a:lnTo>
                    <a:pt x="618" y="488"/>
                  </a:lnTo>
                  <a:lnTo>
                    <a:pt x="617" y="488"/>
                  </a:lnTo>
                  <a:lnTo>
                    <a:pt x="615" y="488"/>
                  </a:lnTo>
                  <a:lnTo>
                    <a:pt x="613" y="486"/>
                  </a:lnTo>
                  <a:lnTo>
                    <a:pt x="612" y="486"/>
                  </a:lnTo>
                  <a:lnTo>
                    <a:pt x="610" y="484"/>
                  </a:lnTo>
                  <a:lnTo>
                    <a:pt x="608" y="483"/>
                  </a:lnTo>
                  <a:lnTo>
                    <a:pt x="606" y="481"/>
                  </a:lnTo>
                  <a:lnTo>
                    <a:pt x="605" y="478"/>
                  </a:lnTo>
                  <a:lnTo>
                    <a:pt x="606" y="478"/>
                  </a:lnTo>
                  <a:lnTo>
                    <a:pt x="605" y="476"/>
                  </a:lnTo>
                  <a:lnTo>
                    <a:pt x="603" y="474"/>
                  </a:lnTo>
                  <a:lnTo>
                    <a:pt x="605" y="473"/>
                  </a:lnTo>
                  <a:lnTo>
                    <a:pt x="605" y="471"/>
                  </a:lnTo>
                  <a:lnTo>
                    <a:pt x="603" y="467"/>
                  </a:lnTo>
                  <a:lnTo>
                    <a:pt x="601" y="467"/>
                  </a:lnTo>
                  <a:lnTo>
                    <a:pt x="600" y="466"/>
                  </a:lnTo>
                  <a:lnTo>
                    <a:pt x="600" y="462"/>
                  </a:lnTo>
                  <a:lnTo>
                    <a:pt x="598" y="461"/>
                  </a:lnTo>
                  <a:lnTo>
                    <a:pt x="598" y="462"/>
                  </a:lnTo>
                  <a:lnTo>
                    <a:pt x="598" y="461"/>
                  </a:lnTo>
                  <a:lnTo>
                    <a:pt x="596" y="459"/>
                  </a:lnTo>
                  <a:lnTo>
                    <a:pt x="595" y="459"/>
                  </a:lnTo>
                  <a:lnTo>
                    <a:pt x="593" y="459"/>
                  </a:lnTo>
                  <a:lnTo>
                    <a:pt x="589" y="459"/>
                  </a:lnTo>
                  <a:lnTo>
                    <a:pt x="588" y="459"/>
                  </a:lnTo>
                  <a:lnTo>
                    <a:pt x="584" y="459"/>
                  </a:lnTo>
                  <a:lnTo>
                    <a:pt x="583" y="459"/>
                  </a:lnTo>
                  <a:lnTo>
                    <a:pt x="581" y="459"/>
                  </a:lnTo>
                  <a:lnTo>
                    <a:pt x="579" y="459"/>
                  </a:lnTo>
                  <a:lnTo>
                    <a:pt x="576" y="461"/>
                  </a:lnTo>
                  <a:lnTo>
                    <a:pt x="574" y="459"/>
                  </a:lnTo>
                  <a:lnTo>
                    <a:pt x="572" y="457"/>
                  </a:lnTo>
                  <a:lnTo>
                    <a:pt x="569" y="457"/>
                  </a:lnTo>
                  <a:lnTo>
                    <a:pt x="567" y="457"/>
                  </a:lnTo>
                  <a:lnTo>
                    <a:pt x="566" y="456"/>
                  </a:lnTo>
                  <a:lnTo>
                    <a:pt x="564" y="456"/>
                  </a:lnTo>
                  <a:lnTo>
                    <a:pt x="562" y="456"/>
                  </a:lnTo>
                  <a:lnTo>
                    <a:pt x="561" y="454"/>
                  </a:lnTo>
                  <a:lnTo>
                    <a:pt x="559" y="454"/>
                  </a:lnTo>
                  <a:lnTo>
                    <a:pt x="559" y="452"/>
                  </a:lnTo>
                  <a:lnTo>
                    <a:pt x="561" y="450"/>
                  </a:lnTo>
                  <a:lnTo>
                    <a:pt x="561" y="449"/>
                  </a:lnTo>
                  <a:lnTo>
                    <a:pt x="562" y="449"/>
                  </a:lnTo>
                  <a:lnTo>
                    <a:pt x="564" y="449"/>
                  </a:lnTo>
                  <a:lnTo>
                    <a:pt x="564" y="447"/>
                  </a:lnTo>
                  <a:lnTo>
                    <a:pt x="562" y="449"/>
                  </a:lnTo>
                  <a:lnTo>
                    <a:pt x="561" y="447"/>
                  </a:lnTo>
                  <a:lnTo>
                    <a:pt x="559" y="449"/>
                  </a:lnTo>
                  <a:lnTo>
                    <a:pt x="557" y="449"/>
                  </a:lnTo>
                  <a:lnTo>
                    <a:pt x="557" y="447"/>
                  </a:lnTo>
                  <a:lnTo>
                    <a:pt x="555" y="447"/>
                  </a:lnTo>
                  <a:lnTo>
                    <a:pt x="555" y="449"/>
                  </a:lnTo>
                  <a:lnTo>
                    <a:pt x="554" y="447"/>
                  </a:lnTo>
                  <a:lnTo>
                    <a:pt x="550" y="447"/>
                  </a:lnTo>
                  <a:lnTo>
                    <a:pt x="549" y="447"/>
                  </a:lnTo>
                  <a:lnTo>
                    <a:pt x="547" y="449"/>
                  </a:lnTo>
                  <a:lnTo>
                    <a:pt x="544" y="450"/>
                  </a:lnTo>
                  <a:lnTo>
                    <a:pt x="544" y="452"/>
                  </a:lnTo>
                  <a:lnTo>
                    <a:pt x="542" y="454"/>
                  </a:lnTo>
                  <a:lnTo>
                    <a:pt x="540" y="456"/>
                  </a:lnTo>
                  <a:lnTo>
                    <a:pt x="540" y="459"/>
                  </a:lnTo>
                  <a:lnTo>
                    <a:pt x="538" y="461"/>
                  </a:lnTo>
                  <a:lnTo>
                    <a:pt x="537" y="464"/>
                  </a:lnTo>
                  <a:lnTo>
                    <a:pt x="535" y="466"/>
                  </a:lnTo>
                  <a:lnTo>
                    <a:pt x="535" y="467"/>
                  </a:lnTo>
                  <a:lnTo>
                    <a:pt x="535" y="471"/>
                  </a:lnTo>
                  <a:lnTo>
                    <a:pt x="533" y="473"/>
                  </a:lnTo>
                  <a:lnTo>
                    <a:pt x="532" y="474"/>
                  </a:lnTo>
                  <a:lnTo>
                    <a:pt x="532" y="476"/>
                  </a:lnTo>
                  <a:lnTo>
                    <a:pt x="530" y="478"/>
                  </a:lnTo>
                  <a:lnTo>
                    <a:pt x="528" y="479"/>
                  </a:lnTo>
                  <a:lnTo>
                    <a:pt x="528" y="483"/>
                  </a:lnTo>
                  <a:lnTo>
                    <a:pt x="528" y="484"/>
                  </a:lnTo>
                  <a:lnTo>
                    <a:pt x="530" y="486"/>
                  </a:lnTo>
                  <a:lnTo>
                    <a:pt x="530" y="488"/>
                  </a:lnTo>
                  <a:lnTo>
                    <a:pt x="530" y="490"/>
                  </a:lnTo>
                  <a:lnTo>
                    <a:pt x="530" y="491"/>
                  </a:lnTo>
                  <a:lnTo>
                    <a:pt x="527" y="493"/>
                  </a:lnTo>
                  <a:lnTo>
                    <a:pt x="527" y="495"/>
                  </a:lnTo>
                  <a:lnTo>
                    <a:pt x="527" y="496"/>
                  </a:lnTo>
                  <a:lnTo>
                    <a:pt x="525" y="496"/>
                  </a:lnTo>
                  <a:lnTo>
                    <a:pt x="525" y="498"/>
                  </a:lnTo>
                  <a:lnTo>
                    <a:pt x="523" y="502"/>
                  </a:lnTo>
                  <a:lnTo>
                    <a:pt x="523" y="503"/>
                  </a:lnTo>
                  <a:lnTo>
                    <a:pt x="525" y="505"/>
                  </a:lnTo>
                  <a:lnTo>
                    <a:pt x="527" y="507"/>
                  </a:lnTo>
                  <a:lnTo>
                    <a:pt x="527" y="508"/>
                  </a:lnTo>
                  <a:lnTo>
                    <a:pt x="527" y="510"/>
                  </a:lnTo>
                  <a:lnTo>
                    <a:pt x="528" y="512"/>
                  </a:lnTo>
                  <a:lnTo>
                    <a:pt x="532" y="513"/>
                  </a:lnTo>
                  <a:lnTo>
                    <a:pt x="533" y="513"/>
                  </a:lnTo>
                  <a:lnTo>
                    <a:pt x="535" y="512"/>
                  </a:lnTo>
                  <a:lnTo>
                    <a:pt x="538" y="513"/>
                  </a:lnTo>
                  <a:lnTo>
                    <a:pt x="540" y="512"/>
                  </a:lnTo>
                  <a:lnTo>
                    <a:pt x="542" y="513"/>
                  </a:lnTo>
                  <a:lnTo>
                    <a:pt x="544" y="513"/>
                  </a:lnTo>
                  <a:lnTo>
                    <a:pt x="544" y="515"/>
                  </a:lnTo>
                  <a:lnTo>
                    <a:pt x="547" y="517"/>
                  </a:lnTo>
                  <a:lnTo>
                    <a:pt x="549" y="519"/>
                  </a:lnTo>
                  <a:lnTo>
                    <a:pt x="550" y="520"/>
                  </a:lnTo>
                  <a:lnTo>
                    <a:pt x="552" y="520"/>
                  </a:lnTo>
                  <a:lnTo>
                    <a:pt x="555" y="520"/>
                  </a:lnTo>
                  <a:lnTo>
                    <a:pt x="557" y="522"/>
                  </a:lnTo>
                  <a:lnTo>
                    <a:pt x="557" y="524"/>
                  </a:lnTo>
                  <a:lnTo>
                    <a:pt x="559" y="525"/>
                  </a:lnTo>
                  <a:lnTo>
                    <a:pt x="561" y="525"/>
                  </a:lnTo>
                  <a:lnTo>
                    <a:pt x="564" y="525"/>
                  </a:lnTo>
                  <a:lnTo>
                    <a:pt x="562" y="527"/>
                  </a:lnTo>
                  <a:lnTo>
                    <a:pt x="562" y="529"/>
                  </a:lnTo>
                  <a:lnTo>
                    <a:pt x="561" y="532"/>
                  </a:lnTo>
                  <a:lnTo>
                    <a:pt x="561" y="534"/>
                  </a:lnTo>
                  <a:lnTo>
                    <a:pt x="561" y="537"/>
                  </a:lnTo>
                  <a:lnTo>
                    <a:pt x="562" y="539"/>
                  </a:lnTo>
                  <a:lnTo>
                    <a:pt x="564" y="539"/>
                  </a:lnTo>
                  <a:lnTo>
                    <a:pt x="564" y="541"/>
                  </a:lnTo>
                  <a:lnTo>
                    <a:pt x="564" y="542"/>
                  </a:lnTo>
                  <a:lnTo>
                    <a:pt x="562" y="544"/>
                  </a:lnTo>
                  <a:lnTo>
                    <a:pt x="562" y="547"/>
                  </a:lnTo>
                  <a:lnTo>
                    <a:pt x="562" y="549"/>
                  </a:lnTo>
                  <a:lnTo>
                    <a:pt x="564" y="549"/>
                  </a:lnTo>
                  <a:lnTo>
                    <a:pt x="564" y="547"/>
                  </a:lnTo>
                  <a:lnTo>
                    <a:pt x="564" y="549"/>
                  </a:lnTo>
                  <a:lnTo>
                    <a:pt x="566" y="551"/>
                  </a:lnTo>
                  <a:lnTo>
                    <a:pt x="567" y="553"/>
                  </a:lnTo>
                  <a:lnTo>
                    <a:pt x="569" y="553"/>
                  </a:lnTo>
                  <a:lnTo>
                    <a:pt x="566" y="554"/>
                  </a:lnTo>
                  <a:lnTo>
                    <a:pt x="567" y="558"/>
                  </a:lnTo>
                  <a:lnTo>
                    <a:pt x="566" y="558"/>
                  </a:lnTo>
                  <a:lnTo>
                    <a:pt x="564" y="561"/>
                  </a:lnTo>
                  <a:lnTo>
                    <a:pt x="564" y="563"/>
                  </a:lnTo>
                  <a:lnTo>
                    <a:pt x="562" y="561"/>
                  </a:lnTo>
                  <a:lnTo>
                    <a:pt x="561" y="561"/>
                  </a:lnTo>
                  <a:lnTo>
                    <a:pt x="559" y="561"/>
                  </a:lnTo>
                  <a:lnTo>
                    <a:pt x="557" y="561"/>
                  </a:lnTo>
                  <a:lnTo>
                    <a:pt x="557" y="559"/>
                  </a:lnTo>
                  <a:lnTo>
                    <a:pt x="555" y="559"/>
                  </a:lnTo>
                  <a:lnTo>
                    <a:pt x="554" y="561"/>
                  </a:lnTo>
                  <a:lnTo>
                    <a:pt x="552" y="561"/>
                  </a:lnTo>
                  <a:lnTo>
                    <a:pt x="550" y="561"/>
                  </a:lnTo>
                  <a:lnTo>
                    <a:pt x="549" y="563"/>
                  </a:lnTo>
                  <a:lnTo>
                    <a:pt x="545" y="564"/>
                  </a:lnTo>
                  <a:lnTo>
                    <a:pt x="544" y="566"/>
                  </a:lnTo>
                  <a:lnTo>
                    <a:pt x="542" y="566"/>
                  </a:lnTo>
                  <a:lnTo>
                    <a:pt x="540" y="568"/>
                  </a:lnTo>
                  <a:lnTo>
                    <a:pt x="538" y="570"/>
                  </a:lnTo>
                  <a:lnTo>
                    <a:pt x="537" y="570"/>
                  </a:lnTo>
                  <a:lnTo>
                    <a:pt x="537" y="571"/>
                  </a:lnTo>
                  <a:lnTo>
                    <a:pt x="535" y="575"/>
                  </a:lnTo>
                  <a:lnTo>
                    <a:pt x="535" y="576"/>
                  </a:lnTo>
                  <a:lnTo>
                    <a:pt x="533" y="578"/>
                  </a:lnTo>
                  <a:lnTo>
                    <a:pt x="535" y="580"/>
                  </a:lnTo>
                  <a:lnTo>
                    <a:pt x="535" y="583"/>
                  </a:lnTo>
                  <a:lnTo>
                    <a:pt x="535" y="585"/>
                  </a:lnTo>
                  <a:lnTo>
                    <a:pt x="537" y="587"/>
                  </a:lnTo>
                  <a:lnTo>
                    <a:pt x="537" y="588"/>
                  </a:lnTo>
                  <a:lnTo>
                    <a:pt x="537" y="592"/>
                  </a:lnTo>
                  <a:lnTo>
                    <a:pt x="537" y="593"/>
                  </a:lnTo>
                  <a:lnTo>
                    <a:pt x="537" y="595"/>
                  </a:lnTo>
                  <a:lnTo>
                    <a:pt x="537" y="598"/>
                  </a:lnTo>
                  <a:lnTo>
                    <a:pt x="537" y="600"/>
                  </a:lnTo>
                  <a:lnTo>
                    <a:pt x="533" y="604"/>
                  </a:lnTo>
                  <a:lnTo>
                    <a:pt x="532" y="605"/>
                  </a:lnTo>
                  <a:lnTo>
                    <a:pt x="530" y="607"/>
                  </a:lnTo>
                  <a:lnTo>
                    <a:pt x="528" y="607"/>
                  </a:lnTo>
                  <a:lnTo>
                    <a:pt x="527" y="609"/>
                  </a:lnTo>
                  <a:lnTo>
                    <a:pt x="525" y="609"/>
                  </a:lnTo>
                  <a:lnTo>
                    <a:pt x="523" y="610"/>
                  </a:lnTo>
                  <a:lnTo>
                    <a:pt x="523" y="612"/>
                  </a:lnTo>
                  <a:lnTo>
                    <a:pt x="521" y="614"/>
                  </a:lnTo>
                  <a:lnTo>
                    <a:pt x="521" y="615"/>
                  </a:lnTo>
                  <a:lnTo>
                    <a:pt x="520" y="617"/>
                  </a:lnTo>
                  <a:lnTo>
                    <a:pt x="518" y="619"/>
                  </a:lnTo>
                  <a:lnTo>
                    <a:pt x="516" y="622"/>
                  </a:lnTo>
                  <a:lnTo>
                    <a:pt x="516" y="624"/>
                  </a:lnTo>
                  <a:lnTo>
                    <a:pt x="516" y="627"/>
                  </a:lnTo>
                  <a:lnTo>
                    <a:pt x="516" y="629"/>
                  </a:lnTo>
                  <a:lnTo>
                    <a:pt x="515" y="632"/>
                  </a:lnTo>
                  <a:lnTo>
                    <a:pt x="515" y="634"/>
                  </a:lnTo>
                  <a:lnTo>
                    <a:pt x="513" y="636"/>
                  </a:lnTo>
                  <a:lnTo>
                    <a:pt x="511" y="638"/>
                  </a:lnTo>
                  <a:lnTo>
                    <a:pt x="510" y="638"/>
                  </a:lnTo>
                  <a:lnTo>
                    <a:pt x="508" y="638"/>
                  </a:lnTo>
                  <a:lnTo>
                    <a:pt x="506" y="638"/>
                  </a:lnTo>
                  <a:lnTo>
                    <a:pt x="504" y="638"/>
                  </a:lnTo>
                  <a:lnTo>
                    <a:pt x="501" y="638"/>
                  </a:lnTo>
                  <a:lnTo>
                    <a:pt x="499" y="639"/>
                  </a:lnTo>
                  <a:lnTo>
                    <a:pt x="498" y="639"/>
                  </a:lnTo>
                  <a:lnTo>
                    <a:pt x="494" y="639"/>
                  </a:lnTo>
                  <a:lnTo>
                    <a:pt x="493" y="639"/>
                  </a:lnTo>
                  <a:lnTo>
                    <a:pt x="493" y="638"/>
                  </a:lnTo>
                  <a:lnTo>
                    <a:pt x="491" y="638"/>
                  </a:lnTo>
                  <a:lnTo>
                    <a:pt x="489" y="636"/>
                  </a:lnTo>
                  <a:lnTo>
                    <a:pt x="487" y="634"/>
                  </a:lnTo>
                  <a:lnTo>
                    <a:pt x="487" y="632"/>
                  </a:lnTo>
                  <a:lnTo>
                    <a:pt x="487" y="631"/>
                  </a:lnTo>
                  <a:lnTo>
                    <a:pt x="487" y="629"/>
                  </a:lnTo>
                  <a:lnTo>
                    <a:pt x="486" y="627"/>
                  </a:lnTo>
                  <a:lnTo>
                    <a:pt x="487" y="626"/>
                  </a:lnTo>
                  <a:lnTo>
                    <a:pt x="487" y="624"/>
                  </a:lnTo>
                  <a:lnTo>
                    <a:pt x="487" y="622"/>
                  </a:lnTo>
                  <a:lnTo>
                    <a:pt x="486" y="621"/>
                  </a:lnTo>
                  <a:lnTo>
                    <a:pt x="486" y="617"/>
                  </a:lnTo>
                  <a:lnTo>
                    <a:pt x="487" y="615"/>
                  </a:lnTo>
                  <a:lnTo>
                    <a:pt x="491" y="615"/>
                  </a:lnTo>
                  <a:lnTo>
                    <a:pt x="493" y="614"/>
                  </a:lnTo>
                  <a:lnTo>
                    <a:pt x="494" y="612"/>
                  </a:lnTo>
                  <a:lnTo>
                    <a:pt x="496" y="612"/>
                  </a:lnTo>
                  <a:lnTo>
                    <a:pt x="496" y="609"/>
                  </a:lnTo>
                  <a:lnTo>
                    <a:pt x="496" y="607"/>
                  </a:lnTo>
                  <a:lnTo>
                    <a:pt x="498" y="605"/>
                  </a:lnTo>
                  <a:lnTo>
                    <a:pt x="498" y="604"/>
                  </a:lnTo>
                  <a:lnTo>
                    <a:pt x="498" y="602"/>
                  </a:lnTo>
                  <a:lnTo>
                    <a:pt x="499" y="600"/>
                  </a:lnTo>
                  <a:lnTo>
                    <a:pt x="501" y="598"/>
                  </a:lnTo>
                  <a:lnTo>
                    <a:pt x="499" y="600"/>
                  </a:lnTo>
                  <a:lnTo>
                    <a:pt x="499" y="598"/>
                  </a:lnTo>
                  <a:lnTo>
                    <a:pt x="499" y="597"/>
                  </a:lnTo>
                  <a:lnTo>
                    <a:pt x="501" y="593"/>
                  </a:lnTo>
                  <a:lnTo>
                    <a:pt x="499" y="592"/>
                  </a:lnTo>
                  <a:lnTo>
                    <a:pt x="498" y="592"/>
                  </a:lnTo>
                  <a:lnTo>
                    <a:pt x="496" y="590"/>
                  </a:lnTo>
                  <a:lnTo>
                    <a:pt x="496" y="588"/>
                  </a:lnTo>
                  <a:lnTo>
                    <a:pt x="494" y="588"/>
                  </a:lnTo>
                  <a:lnTo>
                    <a:pt x="494" y="587"/>
                  </a:lnTo>
                  <a:lnTo>
                    <a:pt x="496" y="585"/>
                  </a:lnTo>
                  <a:lnTo>
                    <a:pt x="498" y="585"/>
                  </a:lnTo>
                  <a:lnTo>
                    <a:pt x="498" y="583"/>
                  </a:lnTo>
                  <a:lnTo>
                    <a:pt x="499" y="583"/>
                  </a:lnTo>
                  <a:lnTo>
                    <a:pt x="501" y="583"/>
                  </a:lnTo>
                  <a:lnTo>
                    <a:pt x="503" y="580"/>
                  </a:lnTo>
                  <a:lnTo>
                    <a:pt x="506" y="580"/>
                  </a:lnTo>
                  <a:lnTo>
                    <a:pt x="510" y="580"/>
                  </a:lnTo>
                  <a:lnTo>
                    <a:pt x="511" y="580"/>
                  </a:lnTo>
                  <a:lnTo>
                    <a:pt x="513" y="578"/>
                  </a:lnTo>
                  <a:lnTo>
                    <a:pt x="513" y="576"/>
                  </a:lnTo>
                  <a:lnTo>
                    <a:pt x="515" y="575"/>
                  </a:lnTo>
                  <a:lnTo>
                    <a:pt x="515" y="573"/>
                  </a:lnTo>
                  <a:lnTo>
                    <a:pt x="515" y="570"/>
                  </a:lnTo>
                  <a:lnTo>
                    <a:pt x="515" y="568"/>
                  </a:lnTo>
                  <a:lnTo>
                    <a:pt x="515" y="566"/>
                  </a:lnTo>
                  <a:lnTo>
                    <a:pt x="515" y="564"/>
                  </a:lnTo>
                  <a:lnTo>
                    <a:pt x="513" y="564"/>
                  </a:lnTo>
                  <a:lnTo>
                    <a:pt x="511" y="563"/>
                  </a:lnTo>
                  <a:lnTo>
                    <a:pt x="510" y="561"/>
                  </a:lnTo>
                  <a:lnTo>
                    <a:pt x="510" y="559"/>
                  </a:lnTo>
                  <a:lnTo>
                    <a:pt x="508" y="558"/>
                  </a:lnTo>
                  <a:lnTo>
                    <a:pt x="506" y="554"/>
                  </a:lnTo>
                  <a:lnTo>
                    <a:pt x="506" y="553"/>
                  </a:lnTo>
                  <a:lnTo>
                    <a:pt x="504" y="551"/>
                  </a:lnTo>
                  <a:lnTo>
                    <a:pt x="504" y="549"/>
                  </a:lnTo>
                  <a:lnTo>
                    <a:pt x="504" y="546"/>
                  </a:lnTo>
                  <a:lnTo>
                    <a:pt x="503" y="544"/>
                  </a:lnTo>
                  <a:lnTo>
                    <a:pt x="503" y="542"/>
                  </a:lnTo>
                  <a:lnTo>
                    <a:pt x="503" y="539"/>
                  </a:lnTo>
                  <a:lnTo>
                    <a:pt x="503" y="537"/>
                  </a:lnTo>
                  <a:lnTo>
                    <a:pt x="501" y="536"/>
                  </a:lnTo>
                  <a:lnTo>
                    <a:pt x="501" y="534"/>
                  </a:lnTo>
                  <a:lnTo>
                    <a:pt x="499" y="530"/>
                  </a:lnTo>
                  <a:lnTo>
                    <a:pt x="498" y="527"/>
                  </a:lnTo>
                  <a:lnTo>
                    <a:pt x="496" y="527"/>
                  </a:lnTo>
                  <a:lnTo>
                    <a:pt x="496" y="525"/>
                  </a:lnTo>
                  <a:lnTo>
                    <a:pt x="494" y="524"/>
                  </a:lnTo>
                  <a:lnTo>
                    <a:pt x="493" y="522"/>
                  </a:lnTo>
                  <a:lnTo>
                    <a:pt x="491" y="522"/>
                  </a:lnTo>
                  <a:lnTo>
                    <a:pt x="491" y="519"/>
                  </a:lnTo>
                  <a:lnTo>
                    <a:pt x="491" y="517"/>
                  </a:lnTo>
                  <a:lnTo>
                    <a:pt x="489" y="517"/>
                  </a:lnTo>
                  <a:lnTo>
                    <a:pt x="489" y="513"/>
                  </a:lnTo>
                  <a:lnTo>
                    <a:pt x="487" y="513"/>
                  </a:lnTo>
                  <a:lnTo>
                    <a:pt x="487" y="510"/>
                  </a:lnTo>
                  <a:lnTo>
                    <a:pt x="487" y="508"/>
                  </a:lnTo>
                  <a:lnTo>
                    <a:pt x="486" y="505"/>
                  </a:lnTo>
                  <a:lnTo>
                    <a:pt x="486" y="503"/>
                  </a:lnTo>
                  <a:lnTo>
                    <a:pt x="484" y="502"/>
                  </a:lnTo>
                  <a:lnTo>
                    <a:pt x="486" y="500"/>
                  </a:lnTo>
                  <a:lnTo>
                    <a:pt x="484" y="498"/>
                  </a:lnTo>
                  <a:lnTo>
                    <a:pt x="482" y="496"/>
                  </a:lnTo>
                  <a:lnTo>
                    <a:pt x="482" y="495"/>
                  </a:lnTo>
                  <a:lnTo>
                    <a:pt x="481" y="493"/>
                  </a:lnTo>
                  <a:lnTo>
                    <a:pt x="479" y="490"/>
                  </a:lnTo>
                  <a:lnTo>
                    <a:pt x="477" y="488"/>
                  </a:lnTo>
                  <a:lnTo>
                    <a:pt x="476" y="486"/>
                  </a:lnTo>
                  <a:lnTo>
                    <a:pt x="476" y="484"/>
                  </a:lnTo>
                  <a:lnTo>
                    <a:pt x="472" y="484"/>
                  </a:lnTo>
                  <a:lnTo>
                    <a:pt x="470" y="486"/>
                  </a:lnTo>
                  <a:lnTo>
                    <a:pt x="469" y="486"/>
                  </a:lnTo>
                  <a:lnTo>
                    <a:pt x="467" y="488"/>
                  </a:lnTo>
                  <a:lnTo>
                    <a:pt x="465" y="490"/>
                  </a:lnTo>
                  <a:lnTo>
                    <a:pt x="465" y="491"/>
                  </a:lnTo>
                  <a:lnTo>
                    <a:pt x="464" y="491"/>
                  </a:lnTo>
                  <a:lnTo>
                    <a:pt x="460" y="491"/>
                  </a:lnTo>
                  <a:lnTo>
                    <a:pt x="459" y="490"/>
                  </a:lnTo>
                  <a:lnTo>
                    <a:pt x="455" y="490"/>
                  </a:lnTo>
                  <a:lnTo>
                    <a:pt x="457" y="490"/>
                  </a:lnTo>
                  <a:lnTo>
                    <a:pt x="455" y="486"/>
                  </a:lnTo>
                  <a:lnTo>
                    <a:pt x="453" y="484"/>
                  </a:lnTo>
                  <a:lnTo>
                    <a:pt x="452" y="483"/>
                  </a:lnTo>
                  <a:lnTo>
                    <a:pt x="450" y="483"/>
                  </a:lnTo>
                  <a:lnTo>
                    <a:pt x="448" y="481"/>
                  </a:lnTo>
                  <a:lnTo>
                    <a:pt x="447" y="479"/>
                  </a:lnTo>
                  <a:lnTo>
                    <a:pt x="443" y="481"/>
                  </a:lnTo>
                  <a:lnTo>
                    <a:pt x="442" y="481"/>
                  </a:lnTo>
                  <a:lnTo>
                    <a:pt x="442" y="479"/>
                  </a:lnTo>
                  <a:lnTo>
                    <a:pt x="440" y="478"/>
                  </a:lnTo>
                  <a:lnTo>
                    <a:pt x="436" y="478"/>
                  </a:lnTo>
                  <a:lnTo>
                    <a:pt x="435" y="476"/>
                  </a:lnTo>
                  <a:lnTo>
                    <a:pt x="436" y="474"/>
                  </a:lnTo>
                  <a:lnTo>
                    <a:pt x="436" y="471"/>
                  </a:lnTo>
                  <a:lnTo>
                    <a:pt x="436" y="469"/>
                  </a:lnTo>
                  <a:lnTo>
                    <a:pt x="438" y="469"/>
                  </a:lnTo>
                  <a:lnTo>
                    <a:pt x="440" y="467"/>
                  </a:lnTo>
                  <a:lnTo>
                    <a:pt x="440" y="466"/>
                  </a:lnTo>
                  <a:lnTo>
                    <a:pt x="438" y="462"/>
                  </a:lnTo>
                  <a:lnTo>
                    <a:pt x="436" y="459"/>
                  </a:lnTo>
                  <a:lnTo>
                    <a:pt x="435" y="459"/>
                  </a:lnTo>
                  <a:lnTo>
                    <a:pt x="435" y="457"/>
                  </a:lnTo>
                  <a:lnTo>
                    <a:pt x="435" y="456"/>
                  </a:lnTo>
                  <a:lnTo>
                    <a:pt x="433" y="456"/>
                  </a:lnTo>
                  <a:lnTo>
                    <a:pt x="433" y="454"/>
                  </a:lnTo>
                  <a:lnTo>
                    <a:pt x="431" y="450"/>
                  </a:lnTo>
                  <a:lnTo>
                    <a:pt x="430" y="450"/>
                  </a:lnTo>
                  <a:lnTo>
                    <a:pt x="428" y="447"/>
                  </a:lnTo>
                  <a:lnTo>
                    <a:pt x="426" y="447"/>
                  </a:lnTo>
                  <a:lnTo>
                    <a:pt x="425" y="445"/>
                  </a:lnTo>
                  <a:lnTo>
                    <a:pt x="425" y="447"/>
                  </a:lnTo>
                  <a:lnTo>
                    <a:pt x="425" y="445"/>
                  </a:lnTo>
                  <a:lnTo>
                    <a:pt x="425" y="447"/>
                  </a:lnTo>
                  <a:lnTo>
                    <a:pt x="423" y="447"/>
                  </a:lnTo>
                  <a:lnTo>
                    <a:pt x="421" y="449"/>
                  </a:lnTo>
                  <a:lnTo>
                    <a:pt x="418" y="449"/>
                  </a:lnTo>
                  <a:lnTo>
                    <a:pt x="416" y="450"/>
                  </a:lnTo>
                  <a:lnTo>
                    <a:pt x="414" y="450"/>
                  </a:lnTo>
                  <a:lnTo>
                    <a:pt x="413" y="452"/>
                  </a:lnTo>
                  <a:lnTo>
                    <a:pt x="411" y="450"/>
                  </a:lnTo>
                  <a:lnTo>
                    <a:pt x="409" y="450"/>
                  </a:lnTo>
                  <a:lnTo>
                    <a:pt x="408" y="452"/>
                  </a:lnTo>
                  <a:lnTo>
                    <a:pt x="406" y="452"/>
                  </a:lnTo>
                  <a:lnTo>
                    <a:pt x="404" y="452"/>
                  </a:lnTo>
                  <a:lnTo>
                    <a:pt x="402" y="454"/>
                  </a:lnTo>
                  <a:lnTo>
                    <a:pt x="402" y="456"/>
                  </a:lnTo>
                  <a:lnTo>
                    <a:pt x="401" y="454"/>
                  </a:lnTo>
                  <a:lnTo>
                    <a:pt x="402" y="450"/>
                  </a:lnTo>
                  <a:lnTo>
                    <a:pt x="404" y="450"/>
                  </a:lnTo>
                  <a:lnTo>
                    <a:pt x="406" y="450"/>
                  </a:lnTo>
                  <a:lnTo>
                    <a:pt x="406" y="449"/>
                  </a:lnTo>
                  <a:lnTo>
                    <a:pt x="408" y="447"/>
                  </a:lnTo>
                  <a:lnTo>
                    <a:pt x="408" y="445"/>
                  </a:lnTo>
                  <a:lnTo>
                    <a:pt x="409" y="445"/>
                  </a:lnTo>
                  <a:lnTo>
                    <a:pt x="409" y="444"/>
                  </a:lnTo>
                  <a:lnTo>
                    <a:pt x="409" y="442"/>
                  </a:lnTo>
                  <a:lnTo>
                    <a:pt x="408" y="442"/>
                  </a:lnTo>
                  <a:lnTo>
                    <a:pt x="404" y="440"/>
                  </a:lnTo>
                  <a:lnTo>
                    <a:pt x="402" y="440"/>
                  </a:lnTo>
                  <a:lnTo>
                    <a:pt x="401" y="437"/>
                  </a:lnTo>
                  <a:lnTo>
                    <a:pt x="399" y="435"/>
                  </a:lnTo>
                  <a:lnTo>
                    <a:pt x="397" y="435"/>
                  </a:lnTo>
                  <a:lnTo>
                    <a:pt x="397" y="437"/>
                  </a:lnTo>
                  <a:lnTo>
                    <a:pt x="396" y="437"/>
                  </a:lnTo>
                  <a:lnTo>
                    <a:pt x="394" y="439"/>
                  </a:lnTo>
                  <a:lnTo>
                    <a:pt x="392" y="440"/>
                  </a:lnTo>
                  <a:lnTo>
                    <a:pt x="392" y="439"/>
                  </a:lnTo>
                  <a:lnTo>
                    <a:pt x="389" y="437"/>
                  </a:lnTo>
                  <a:lnTo>
                    <a:pt x="387" y="439"/>
                  </a:lnTo>
                  <a:lnTo>
                    <a:pt x="389" y="440"/>
                  </a:lnTo>
                  <a:lnTo>
                    <a:pt x="385" y="440"/>
                  </a:lnTo>
                  <a:lnTo>
                    <a:pt x="385" y="437"/>
                  </a:lnTo>
                  <a:lnTo>
                    <a:pt x="385" y="435"/>
                  </a:lnTo>
                  <a:lnTo>
                    <a:pt x="385" y="433"/>
                  </a:lnTo>
                  <a:lnTo>
                    <a:pt x="384" y="432"/>
                  </a:lnTo>
                  <a:lnTo>
                    <a:pt x="384" y="428"/>
                  </a:lnTo>
                  <a:lnTo>
                    <a:pt x="382" y="427"/>
                  </a:lnTo>
                  <a:lnTo>
                    <a:pt x="380" y="427"/>
                  </a:lnTo>
                  <a:lnTo>
                    <a:pt x="379" y="425"/>
                  </a:lnTo>
                  <a:lnTo>
                    <a:pt x="379" y="423"/>
                  </a:lnTo>
                  <a:lnTo>
                    <a:pt x="377" y="420"/>
                  </a:lnTo>
                  <a:lnTo>
                    <a:pt x="377" y="418"/>
                  </a:lnTo>
                  <a:lnTo>
                    <a:pt x="375" y="416"/>
                  </a:lnTo>
                  <a:lnTo>
                    <a:pt x="374" y="415"/>
                  </a:lnTo>
                  <a:lnTo>
                    <a:pt x="372" y="413"/>
                  </a:lnTo>
                  <a:lnTo>
                    <a:pt x="370" y="411"/>
                  </a:lnTo>
                  <a:lnTo>
                    <a:pt x="368" y="410"/>
                  </a:lnTo>
                  <a:lnTo>
                    <a:pt x="367" y="408"/>
                  </a:lnTo>
                  <a:lnTo>
                    <a:pt x="365" y="408"/>
                  </a:lnTo>
                  <a:lnTo>
                    <a:pt x="363" y="408"/>
                  </a:lnTo>
                  <a:lnTo>
                    <a:pt x="362" y="408"/>
                  </a:lnTo>
                  <a:lnTo>
                    <a:pt x="358" y="410"/>
                  </a:lnTo>
                  <a:lnTo>
                    <a:pt x="358" y="411"/>
                  </a:lnTo>
                  <a:lnTo>
                    <a:pt x="360" y="411"/>
                  </a:lnTo>
                  <a:lnTo>
                    <a:pt x="358" y="411"/>
                  </a:lnTo>
                  <a:lnTo>
                    <a:pt x="357" y="411"/>
                  </a:lnTo>
                  <a:lnTo>
                    <a:pt x="355" y="411"/>
                  </a:lnTo>
                  <a:lnTo>
                    <a:pt x="355" y="410"/>
                  </a:lnTo>
                  <a:lnTo>
                    <a:pt x="353" y="410"/>
                  </a:lnTo>
                  <a:lnTo>
                    <a:pt x="351" y="408"/>
                  </a:lnTo>
                  <a:lnTo>
                    <a:pt x="350" y="408"/>
                  </a:lnTo>
                  <a:lnTo>
                    <a:pt x="348" y="406"/>
                  </a:lnTo>
                  <a:lnTo>
                    <a:pt x="346" y="406"/>
                  </a:lnTo>
                  <a:lnTo>
                    <a:pt x="343" y="406"/>
                  </a:lnTo>
                  <a:lnTo>
                    <a:pt x="341" y="406"/>
                  </a:lnTo>
                  <a:lnTo>
                    <a:pt x="340" y="408"/>
                  </a:lnTo>
                  <a:lnTo>
                    <a:pt x="336" y="408"/>
                  </a:lnTo>
                  <a:lnTo>
                    <a:pt x="334" y="410"/>
                  </a:lnTo>
                  <a:lnTo>
                    <a:pt x="333" y="411"/>
                  </a:lnTo>
                  <a:lnTo>
                    <a:pt x="331" y="411"/>
                  </a:lnTo>
                  <a:lnTo>
                    <a:pt x="329" y="411"/>
                  </a:lnTo>
                  <a:lnTo>
                    <a:pt x="329" y="408"/>
                  </a:lnTo>
                  <a:lnTo>
                    <a:pt x="328" y="406"/>
                  </a:lnTo>
                  <a:lnTo>
                    <a:pt x="328" y="405"/>
                  </a:lnTo>
                  <a:lnTo>
                    <a:pt x="326" y="403"/>
                  </a:lnTo>
                  <a:lnTo>
                    <a:pt x="324" y="401"/>
                  </a:lnTo>
                  <a:lnTo>
                    <a:pt x="323" y="399"/>
                  </a:lnTo>
                  <a:lnTo>
                    <a:pt x="319" y="399"/>
                  </a:lnTo>
                  <a:lnTo>
                    <a:pt x="317" y="399"/>
                  </a:lnTo>
                  <a:lnTo>
                    <a:pt x="316" y="398"/>
                  </a:lnTo>
                  <a:lnTo>
                    <a:pt x="316" y="399"/>
                  </a:lnTo>
                  <a:lnTo>
                    <a:pt x="312" y="398"/>
                  </a:lnTo>
                  <a:lnTo>
                    <a:pt x="311" y="396"/>
                  </a:lnTo>
                  <a:lnTo>
                    <a:pt x="309" y="396"/>
                  </a:lnTo>
                  <a:lnTo>
                    <a:pt x="307" y="398"/>
                  </a:lnTo>
                  <a:lnTo>
                    <a:pt x="307" y="396"/>
                  </a:lnTo>
                  <a:lnTo>
                    <a:pt x="306" y="394"/>
                  </a:lnTo>
                  <a:lnTo>
                    <a:pt x="306" y="393"/>
                  </a:lnTo>
                  <a:lnTo>
                    <a:pt x="304" y="391"/>
                  </a:lnTo>
                  <a:lnTo>
                    <a:pt x="302" y="389"/>
                  </a:lnTo>
                  <a:lnTo>
                    <a:pt x="300" y="388"/>
                  </a:lnTo>
                  <a:lnTo>
                    <a:pt x="300" y="386"/>
                  </a:lnTo>
                  <a:lnTo>
                    <a:pt x="299" y="384"/>
                  </a:lnTo>
                  <a:lnTo>
                    <a:pt x="297" y="382"/>
                  </a:lnTo>
                  <a:lnTo>
                    <a:pt x="295" y="382"/>
                  </a:lnTo>
                  <a:lnTo>
                    <a:pt x="294" y="381"/>
                  </a:lnTo>
                  <a:lnTo>
                    <a:pt x="292" y="379"/>
                  </a:lnTo>
                  <a:lnTo>
                    <a:pt x="290" y="379"/>
                  </a:lnTo>
                  <a:lnTo>
                    <a:pt x="289" y="377"/>
                  </a:lnTo>
                  <a:lnTo>
                    <a:pt x="287" y="377"/>
                  </a:lnTo>
                  <a:lnTo>
                    <a:pt x="287" y="376"/>
                  </a:lnTo>
                  <a:lnTo>
                    <a:pt x="285" y="376"/>
                  </a:lnTo>
                  <a:lnTo>
                    <a:pt x="285" y="374"/>
                  </a:lnTo>
                  <a:lnTo>
                    <a:pt x="285" y="372"/>
                  </a:lnTo>
                  <a:lnTo>
                    <a:pt x="283" y="371"/>
                  </a:lnTo>
                  <a:lnTo>
                    <a:pt x="283" y="369"/>
                  </a:lnTo>
                  <a:lnTo>
                    <a:pt x="282" y="365"/>
                  </a:lnTo>
                  <a:lnTo>
                    <a:pt x="280" y="364"/>
                  </a:lnTo>
                  <a:lnTo>
                    <a:pt x="278" y="364"/>
                  </a:lnTo>
                  <a:lnTo>
                    <a:pt x="277" y="362"/>
                  </a:lnTo>
                  <a:lnTo>
                    <a:pt x="275" y="360"/>
                  </a:lnTo>
                  <a:lnTo>
                    <a:pt x="272" y="359"/>
                  </a:lnTo>
                  <a:lnTo>
                    <a:pt x="272" y="357"/>
                  </a:lnTo>
                  <a:lnTo>
                    <a:pt x="268" y="355"/>
                  </a:lnTo>
                  <a:lnTo>
                    <a:pt x="266" y="357"/>
                  </a:lnTo>
                  <a:lnTo>
                    <a:pt x="265" y="357"/>
                  </a:lnTo>
                  <a:lnTo>
                    <a:pt x="263" y="354"/>
                  </a:lnTo>
                  <a:lnTo>
                    <a:pt x="261" y="352"/>
                  </a:lnTo>
                  <a:lnTo>
                    <a:pt x="260" y="348"/>
                  </a:lnTo>
                  <a:lnTo>
                    <a:pt x="260" y="347"/>
                  </a:lnTo>
                  <a:lnTo>
                    <a:pt x="258" y="345"/>
                  </a:lnTo>
                  <a:lnTo>
                    <a:pt x="258" y="343"/>
                  </a:lnTo>
                  <a:lnTo>
                    <a:pt x="256" y="342"/>
                  </a:lnTo>
                  <a:lnTo>
                    <a:pt x="255" y="340"/>
                  </a:lnTo>
                  <a:lnTo>
                    <a:pt x="253" y="338"/>
                  </a:lnTo>
                  <a:lnTo>
                    <a:pt x="251" y="337"/>
                  </a:lnTo>
                  <a:lnTo>
                    <a:pt x="249" y="335"/>
                  </a:lnTo>
                  <a:lnTo>
                    <a:pt x="248" y="333"/>
                  </a:lnTo>
                  <a:lnTo>
                    <a:pt x="246" y="333"/>
                  </a:lnTo>
                  <a:lnTo>
                    <a:pt x="244" y="333"/>
                  </a:lnTo>
                  <a:lnTo>
                    <a:pt x="243" y="331"/>
                  </a:lnTo>
                  <a:lnTo>
                    <a:pt x="239" y="331"/>
                  </a:lnTo>
                  <a:lnTo>
                    <a:pt x="236" y="330"/>
                  </a:lnTo>
                  <a:lnTo>
                    <a:pt x="236" y="331"/>
                  </a:lnTo>
                  <a:lnTo>
                    <a:pt x="234" y="330"/>
                  </a:lnTo>
                  <a:lnTo>
                    <a:pt x="232" y="330"/>
                  </a:lnTo>
                  <a:lnTo>
                    <a:pt x="231" y="330"/>
                  </a:lnTo>
                  <a:lnTo>
                    <a:pt x="231" y="331"/>
                  </a:lnTo>
                  <a:lnTo>
                    <a:pt x="229" y="333"/>
                  </a:lnTo>
                  <a:lnTo>
                    <a:pt x="227" y="333"/>
                  </a:lnTo>
                  <a:lnTo>
                    <a:pt x="226" y="331"/>
                  </a:lnTo>
                  <a:lnTo>
                    <a:pt x="224" y="330"/>
                  </a:lnTo>
                  <a:lnTo>
                    <a:pt x="226" y="328"/>
                  </a:lnTo>
                  <a:lnTo>
                    <a:pt x="229" y="328"/>
                  </a:lnTo>
                  <a:lnTo>
                    <a:pt x="229" y="326"/>
                  </a:lnTo>
                  <a:lnTo>
                    <a:pt x="231" y="325"/>
                  </a:lnTo>
                  <a:lnTo>
                    <a:pt x="229" y="321"/>
                  </a:lnTo>
                  <a:lnTo>
                    <a:pt x="227" y="319"/>
                  </a:lnTo>
                  <a:lnTo>
                    <a:pt x="226" y="319"/>
                  </a:lnTo>
                  <a:lnTo>
                    <a:pt x="226" y="318"/>
                  </a:lnTo>
                  <a:lnTo>
                    <a:pt x="226" y="316"/>
                  </a:lnTo>
                  <a:lnTo>
                    <a:pt x="224" y="316"/>
                  </a:lnTo>
                  <a:lnTo>
                    <a:pt x="224" y="314"/>
                  </a:lnTo>
                  <a:lnTo>
                    <a:pt x="221" y="313"/>
                  </a:lnTo>
                  <a:lnTo>
                    <a:pt x="219" y="309"/>
                  </a:lnTo>
                  <a:lnTo>
                    <a:pt x="217" y="308"/>
                  </a:lnTo>
                  <a:lnTo>
                    <a:pt x="215" y="306"/>
                  </a:lnTo>
                  <a:lnTo>
                    <a:pt x="214" y="306"/>
                  </a:lnTo>
                  <a:lnTo>
                    <a:pt x="212" y="306"/>
                  </a:lnTo>
                  <a:lnTo>
                    <a:pt x="209" y="304"/>
                  </a:lnTo>
                  <a:lnTo>
                    <a:pt x="207" y="302"/>
                  </a:lnTo>
                  <a:lnTo>
                    <a:pt x="205" y="302"/>
                  </a:lnTo>
                  <a:lnTo>
                    <a:pt x="209" y="301"/>
                  </a:lnTo>
                  <a:lnTo>
                    <a:pt x="207" y="297"/>
                  </a:lnTo>
                  <a:lnTo>
                    <a:pt x="209" y="297"/>
                  </a:lnTo>
                  <a:lnTo>
                    <a:pt x="209" y="296"/>
                  </a:lnTo>
                  <a:lnTo>
                    <a:pt x="207" y="294"/>
                  </a:lnTo>
                  <a:lnTo>
                    <a:pt x="205" y="292"/>
                  </a:lnTo>
                  <a:lnTo>
                    <a:pt x="204" y="292"/>
                  </a:lnTo>
                  <a:lnTo>
                    <a:pt x="202" y="292"/>
                  </a:lnTo>
                  <a:lnTo>
                    <a:pt x="198" y="292"/>
                  </a:lnTo>
                  <a:lnTo>
                    <a:pt x="197" y="292"/>
                  </a:lnTo>
                  <a:lnTo>
                    <a:pt x="195" y="294"/>
                  </a:lnTo>
                  <a:lnTo>
                    <a:pt x="193" y="294"/>
                  </a:lnTo>
                  <a:lnTo>
                    <a:pt x="193" y="291"/>
                  </a:lnTo>
                  <a:lnTo>
                    <a:pt x="195" y="289"/>
                  </a:lnTo>
                  <a:lnTo>
                    <a:pt x="193" y="289"/>
                  </a:lnTo>
                  <a:lnTo>
                    <a:pt x="195" y="287"/>
                  </a:lnTo>
                  <a:lnTo>
                    <a:pt x="195" y="285"/>
                  </a:lnTo>
                  <a:lnTo>
                    <a:pt x="195" y="282"/>
                  </a:lnTo>
                  <a:lnTo>
                    <a:pt x="195" y="280"/>
                  </a:lnTo>
                  <a:lnTo>
                    <a:pt x="195" y="277"/>
                  </a:lnTo>
                  <a:lnTo>
                    <a:pt x="195" y="275"/>
                  </a:lnTo>
                  <a:lnTo>
                    <a:pt x="195" y="272"/>
                  </a:lnTo>
                  <a:lnTo>
                    <a:pt x="193" y="268"/>
                  </a:lnTo>
                  <a:lnTo>
                    <a:pt x="192" y="267"/>
                  </a:lnTo>
                  <a:lnTo>
                    <a:pt x="190" y="263"/>
                  </a:lnTo>
                  <a:lnTo>
                    <a:pt x="190" y="260"/>
                  </a:lnTo>
                  <a:lnTo>
                    <a:pt x="188" y="260"/>
                  </a:lnTo>
                  <a:lnTo>
                    <a:pt x="188" y="258"/>
                  </a:lnTo>
                  <a:lnTo>
                    <a:pt x="187" y="258"/>
                  </a:lnTo>
                  <a:lnTo>
                    <a:pt x="187" y="257"/>
                  </a:lnTo>
                  <a:lnTo>
                    <a:pt x="185" y="255"/>
                  </a:lnTo>
                  <a:lnTo>
                    <a:pt x="183" y="253"/>
                  </a:lnTo>
                  <a:lnTo>
                    <a:pt x="183" y="250"/>
                  </a:lnTo>
                  <a:lnTo>
                    <a:pt x="185" y="248"/>
                  </a:lnTo>
                  <a:lnTo>
                    <a:pt x="183" y="248"/>
                  </a:lnTo>
                  <a:lnTo>
                    <a:pt x="183" y="250"/>
                  </a:lnTo>
                  <a:lnTo>
                    <a:pt x="183" y="248"/>
                  </a:lnTo>
                  <a:lnTo>
                    <a:pt x="183" y="246"/>
                  </a:lnTo>
                  <a:lnTo>
                    <a:pt x="183" y="245"/>
                  </a:lnTo>
                  <a:lnTo>
                    <a:pt x="181" y="243"/>
                  </a:lnTo>
                  <a:lnTo>
                    <a:pt x="181" y="241"/>
                  </a:lnTo>
                  <a:lnTo>
                    <a:pt x="181" y="238"/>
                  </a:lnTo>
                  <a:lnTo>
                    <a:pt x="181" y="236"/>
                  </a:lnTo>
                  <a:lnTo>
                    <a:pt x="181" y="234"/>
                  </a:lnTo>
                  <a:lnTo>
                    <a:pt x="181" y="233"/>
                  </a:lnTo>
                  <a:lnTo>
                    <a:pt x="181" y="231"/>
                  </a:lnTo>
                  <a:lnTo>
                    <a:pt x="180" y="229"/>
                  </a:lnTo>
                  <a:lnTo>
                    <a:pt x="180" y="228"/>
                  </a:lnTo>
                  <a:lnTo>
                    <a:pt x="178" y="224"/>
                  </a:lnTo>
                  <a:lnTo>
                    <a:pt x="178" y="223"/>
                  </a:lnTo>
                  <a:lnTo>
                    <a:pt x="176" y="221"/>
                  </a:lnTo>
                  <a:lnTo>
                    <a:pt x="175" y="219"/>
                  </a:lnTo>
                  <a:lnTo>
                    <a:pt x="173" y="217"/>
                  </a:lnTo>
                  <a:lnTo>
                    <a:pt x="171" y="216"/>
                  </a:lnTo>
                  <a:lnTo>
                    <a:pt x="170" y="216"/>
                  </a:lnTo>
                  <a:lnTo>
                    <a:pt x="168" y="214"/>
                  </a:lnTo>
                  <a:lnTo>
                    <a:pt x="168" y="216"/>
                  </a:lnTo>
                  <a:lnTo>
                    <a:pt x="166" y="212"/>
                  </a:lnTo>
                  <a:lnTo>
                    <a:pt x="166" y="216"/>
                  </a:lnTo>
                  <a:lnTo>
                    <a:pt x="163" y="214"/>
                  </a:lnTo>
                  <a:lnTo>
                    <a:pt x="163" y="212"/>
                  </a:lnTo>
                  <a:lnTo>
                    <a:pt x="161" y="212"/>
                  </a:lnTo>
                  <a:lnTo>
                    <a:pt x="159" y="211"/>
                  </a:lnTo>
                  <a:lnTo>
                    <a:pt x="159" y="212"/>
                  </a:lnTo>
                  <a:lnTo>
                    <a:pt x="158" y="211"/>
                  </a:lnTo>
                  <a:lnTo>
                    <a:pt x="159" y="214"/>
                  </a:lnTo>
                  <a:lnTo>
                    <a:pt x="159" y="216"/>
                  </a:lnTo>
                  <a:lnTo>
                    <a:pt x="159" y="214"/>
                  </a:lnTo>
                  <a:lnTo>
                    <a:pt x="156" y="212"/>
                  </a:lnTo>
                  <a:lnTo>
                    <a:pt x="154" y="212"/>
                  </a:lnTo>
                  <a:lnTo>
                    <a:pt x="154" y="211"/>
                  </a:lnTo>
                  <a:lnTo>
                    <a:pt x="151" y="209"/>
                  </a:lnTo>
                  <a:lnTo>
                    <a:pt x="149" y="207"/>
                  </a:lnTo>
                  <a:lnTo>
                    <a:pt x="149" y="209"/>
                  </a:lnTo>
                  <a:lnTo>
                    <a:pt x="147" y="206"/>
                  </a:lnTo>
                  <a:lnTo>
                    <a:pt x="146" y="206"/>
                  </a:lnTo>
                  <a:lnTo>
                    <a:pt x="146" y="204"/>
                  </a:lnTo>
                  <a:lnTo>
                    <a:pt x="144" y="204"/>
                  </a:lnTo>
                  <a:lnTo>
                    <a:pt x="142" y="202"/>
                  </a:lnTo>
                  <a:lnTo>
                    <a:pt x="139" y="202"/>
                  </a:lnTo>
                  <a:lnTo>
                    <a:pt x="139" y="200"/>
                  </a:lnTo>
                  <a:lnTo>
                    <a:pt x="137" y="200"/>
                  </a:lnTo>
                  <a:lnTo>
                    <a:pt x="137" y="199"/>
                  </a:lnTo>
                  <a:lnTo>
                    <a:pt x="136" y="197"/>
                  </a:lnTo>
                  <a:lnTo>
                    <a:pt x="134" y="197"/>
                  </a:lnTo>
                  <a:lnTo>
                    <a:pt x="134" y="195"/>
                  </a:lnTo>
                  <a:lnTo>
                    <a:pt x="132" y="195"/>
                  </a:lnTo>
                  <a:lnTo>
                    <a:pt x="130" y="194"/>
                  </a:lnTo>
                  <a:lnTo>
                    <a:pt x="129" y="194"/>
                  </a:lnTo>
                  <a:lnTo>
                    <a:pt x="129" y="195"/>
                  </a:lnTo>
                  <a:lnTo>
                    <a:pt x="129" y="197"/>
                  </a:lnTo>
                  <a:lnTo>
                    <a:pt x="125" y="195"/>
                  </a:lnTo>
                  <a:lnTo>
                    <a:pt x="125" y="194"/>
                  </a:lnTo>
                  <a:lnTo>
                    <a:pt x="124" y="192"/>
                  </a:lnTo>
                  <a:lnTo>
                    <a:pt x="122" y="192"/>
                  </a:lnTo>
                  <a:lnTo>
                    <a:pt x="120" y="192"/>
                  </a:lnTo>
                  <a:lnTo>
                    <a:pt x="117" y="190"/>
                  </a:lnTo>
                  <a:lnTo>
                    <a:pt x="113" y="190"/>
                  </a:lnTo>
                  <a:lnTo>
                    <a:pt x="113" y="189"/>
                  </a:lnTo>
                  <a:lnTo>
                    <a:pt x="113" y="190"/>
                  </a:lnTo>
                  <a:lnTo>
                    <a:pt x="112" y="189"/>
                  </a:lnTo>
                  <a:lnTo>
                    <a:pt x="108" y="189"/>
                  </a:lnTo>
                  <a:lnTo>
                    <a:pt x="110" y="189"/>
                  </a:lnTo>
                  <a:lnTo>
                    <a:pt x="108" y="189"/>
                  </a:lnTo>
                  <a:lnTo>
                    <a:pt x="107" y="187"/>
                  </a:lnTo>
                  <a:lnTo>
                    <a:pt x="107" y="189"/>
                  </a:lnTo>
                  <a:lnTo>
                    <a:pt x="105" y="187"/>
                  </a:lnTo>
                  <a:lnTo>
                    <a:pt x="102" y="189"/>
                  </a:lnTo>
                  <a:lnTo>
                    <a:pt x="102" y="190"/>
                  </a:lnTo>
                  <a:lnTo>
                    <a:pt x="100" y="190"/>
                  </a:lnTo>
                  <a:lnTo>
                    <a:pt x="98" y="192"/>
                  </a:lnTo>
                  <a:lnTo>
                    <a:pt x="96" y="192"/>
                  </a:lnTo>
                  <a:lnTo>
                    <a:pt x="95" y="194"/>
                  </a:lnTo>
                  <a:lnTo>
                    <a:pt x="93" y="194"/>
                  </a:lnTo>
                  <a:lnTo>
                    <a:pt x="91" y="195"/>
                  </a:lnTo>
                  <a:lnTo>
                    <a:pt x="90" y="197"/>
                  </a:lnTo>
                  <a:lnTo>
                    <a:pt x="90" y="199"/>
                  </a:lnTo>
                  <a:lnTo>
                    <a:pt x="90" y="200"/>
                  </a:lnTo>
                  <a:lnTo>
                    <a:pt x="88" y="202"/>
                  </a:lnTo>
                  <a:lnTo>
                    <a:pt x="88" y="204"/>
                  </a:lnTo>
                  <a:lnTo>
                    <a:pt x="86" y="204"/>
                  </a:lnTo>
                  <a:lnTo>
                    <a:pt x="85" y="206"/>
                  </a:lnTo>
                  <a:lnTo>
                    <a:pt x="83" y="206"/>
                  </a:lnTo>
                  <a:lnTo>
                    <a:pt x="81" y="207"/>
                  </a:lnTo>
                  <a:lnTo>
                    <a:pt x="79" y="207"/>
                  </a:lnTo>
                  <a:lnTo>
                    <a:pt x="79" y="209"/>
                  </a:lnTo>
                  <a:lnTo>
                    <a:pt x="78" y="211"/>
                  </a:lnTo>
                  <a:lnTo>
                    <a:pt x="78" y="212"/>
                  </a:lnTo>
                  <a:lnTo>
                    <a:pt x="78" y="214"/>
                  </a:lnTo>
                  <a:lnTo>
                    <a:pt x="76" y="216"/>
                  </a:lnTo>
                  <a:lnTo>
                    <a:pt x="74" y="217"/>
                  </a:lnTo>
                  <a:lnTo>
                    <a:pt x="74" y="221"/>
                  </a:lnTo>
                  <a:lnTo>
                    <a:pt x="73" y="221"/>
                  </a:lnTo>
                  <a:lnTo>
                    <a:pt x="73" y="223"/>
                  </a:lnTo>
                  <a:lnTo>
                    <a:pt x="71" y="223"/>
                  </a:lnTo>
                  <a:lnTo>
                    <a:pt x="69" y="224"/>
                  </a:lnTo>
                  <a:lnTo>
                    <a:pt x="68" y="224"/>
                  </a:lnTo>
                  <a:lnTo>
                    <a:pt x="68" y="226"/>
                  </a:lnTo>
                  <a:lnTo>
                    <a:pt x="64" y="226"/>
                  </a:lnTo>
                  <a:lnTo>
                    <a:pt x="64" y="228"/>
                  </a:lnTo>
                  <a:lnTo>
                    <a:pt x="61" y="228"/>
                  </a:lnTo>
                  <a:lnTo>
                    <a:pt x="59" y="228"/>
                  </a:lnTo>
                  <a:lnTo>
                    <a:pt x="57" y="229"/>
                  </a:lnTo>
                  <a:lnTo>
                    <a:pt x="56" y="229"/>
                  </a:lnTo>
                  <a:lnTo>
                    <a:pt x="54" y="229"/>
                  </a:lnTo>
                  <a:lnTo>
                    <a:pt x="52" y="231"/>
                  </a:lnTo>
                  <a:lnTo>
                    <a:pt x="51" y="231"/>
                  </a:lnTo>
                  <a:lnTo>
                    <a:pt x="49" y="233"/>
                  </a:lnTo>
                  <a:lnTo>
                    <a:pt x="47" y="231"/>
                  </a:lnTo>
                  <a:lnTo>
                    <a:pt x="45" y="231"/>
                  </a:lnTo>
                  <a:lnTo>
                    <a:pt x="44" y="231"/>
                  </a:lnTo>
                  <a:lnTo>
                    <a:pt x="42" y="231"/>
                  </a:lnTo>
                  <a:lnTo>
                    <a:pt x="40" y="229"/>
                  </a:lnTo>
                  <a:lnTo>
                    <a:pt x="40" y="228"/>
                  </a:lnTo>
                  <a:lnTo>
                    <a:pt x="40" y="226"/>
                  </a:lnTo>
                  <a:lnTo>
                    <a:pt x="40" y="224"/>
                  </a:lnTo>
                  <a:lnTo>
                    <a:pt x="44" y="223"/>
                  </a:lnTo>
                  <a:lnTo>
                    <a:pt x="44" y="219"/>
                  </a:lnTo>
                  <a:lnTo>
                    <a:pt x="45" y="219"/>
                  </a:lnTo>
                  <a:lnTo>
                    <a:pt x="49" y="217"/>
                  </a:lnTo>
                  <a:lnTo>
                    <a:pt x="49" y="216"/>
                  </a:lnTo>
                  <a:lnTo>
                    <a:pt x="49" y="214"/>
                  </a:lnTo>
                  <a:lnTo>
                    <a:pt x="51" y="214"/>
                  </a:lnTo>
                  <a:lnTo>
                    <a:pt x="52" y="212"/>
                  </a:lnTo>
                  <a:lnTo>
                    <a:pt x="52" y="211"/>
                  </a:lnTo>
                  <a:lnTo>
                    <a:pt x="51" y="211"/>
                  </a:lnTo>
                  <a:lnTo>
                    <a:pt x="51" y="207"/>
                  </a:lnTo>
                  <a:lnTo>
                    <a:pt x="49" y="207"/>
                  </a:lnTo>
                  <a:lnTo>
                    <a:pt x="51" y="206"/>
                  </a:lnTo>
                  <a:lnTo>
                    <a:pt x="51" y="204"/>
                  </a:lnTo>
                  <a:lnTo>
                    <a:pt x="49" y="204"/>
                  </a:lnTo>
                  <a:lnTo>
                    <a:pt x="47" y="206"/>
                  </a:lnTo>
                  <a:lnTo>
                    <a:pt x="44" y="206"/>
                  </a:lnTo>
                  <a:lnTo>
                    <a:pt x="42" y="207"/>
                  </a:lnTo>
                  <a:lnTo>
                    <a:pt x="42" y="206"/>
                  </a:lnTo>
                  <a:lnTo>
                    <a:pt x="39" y="207"/>
                  </a:lnTo>
                  <a:lnTo>
                    <a:pt x="37" y="207"/>
                  </a:lnTo>
                  <a:lnTo>
                    <a:pt x="35" y="207"/>
                  </a:lnTo>
                  <a:lnTo>
                    <a:pt x="34" y="207"/>
                  </a:lnTo>
                  <a:lnTo>
                    <a:pt x="34" y="206"/>
                  </a:lnTo>
                  <a:lnTo>
                    <a:pt x="32" y="206"/>
                  </a:lnTo>
                  <a:lnTo>
                    <a:pt x="30" y="206"/>
                  </a:lnTo>
                  <a:lnTo>
                    <a:pt x="28" y="204"/>
                  </a:lnTo>
                  <a:lnTo>
                    <a:pt x="27" y="204"/>
                  </a:lnTo>
                  <a:lnTo>
                    <a:pt x="25" y="202"/>
                  </a:lnTo>
                  <a:lnTo>
                    <a:pt x="23" y="200"/>
                  </a:lnTo>
                  <a:lnTo>
                    <a:pt x="20" y="200"/>
                  </a:lnTo>
                  <a:lnTo>
                    <a:pt x="20" y="199"/>
                  </a:lnTo>
                  <a:lnTo>
                    <a:pt x="18" y="199"/>
                  </a:lnTo>
                  <a:lnTo>
                    <a:pt x="17" y="199"/>
                  </a:lnTo>
                  <a:lnTo>
                    <a:pt x="17" y="195"/>
                  </a:lnTo>
                  <a:lnTo>
                    <a:pt x="15" y="194"/>
                  </a:lnTo>
                  <a:lnTo>
                    <a:pt x="13" y="192"/>
                  </a:lnTo>
                  <a:lnTo>
                    <a:pt x="13" y="190"/>
                  </a:lnTo>
                  <a:lnTo>
                    <a:pt x="11" y="189"/>
                  </a:lnTo>
                  <a:lnTo>
                    <a:pt x="11" y="187"/>
                  </a:lnTo>
                  <a:lnTo>
                    <a:pt x="11" y="185"/>
                  </a:lnTo>
                  <a:lnTo>
                    <a:pt x="13" y="185"/>
                  </a:lnTo>
                  <a:lnTo>
                    <a:pt x="11" y="183"/>
                  </a:lnTo>
                  <a:lnTo>
                    <a:pt x="11" y="182"/>
                  </a:lnTo>
                  <a:lnTo>
                    <a:pt x="10" y="182"/>
                  </a:lnTo>
                  <a:lnTo>
                    <a:pt x="10" y="178"/>
                  </a:lnTo>
                  <a:lnTo>
                    <a:pt x="11" y="175"/>
                  </a:lnTo>
                  <a:lnTo>
                    <a:pt x="13" y="175"/>
                  </a:lnTo>
                  <a:lnTo>
                    <a:pt x="13" y="173"/>
                  </a:lnTo>
                  <a:lnTo>
                    <a:pt x="15" y="172"/>
                  </a:lnTo>
                  <a:lnTo>
                    <a:pt x="15" y="168"/>
                  </a:lnTo>
                  <a:lnTo>
                    <a:pt x="15" y="166"/>
                  </a:lnTo>
                  <a:lnTo>
                    <a:pt x="17" y="166"/>
                  </a:lnTo>
                  <a:lnTo>
                    <a:pt x="18" y="166"/>
                  </a:lnTo>
                  <a:lnTo>
                    <a:pt x="22" y="168"/>
                  </a:lnTo>
                  <a:lnTo>
                    <a:pt x="20" y="165"/>
                  </a:lnTo>
                  <a:lnTo>
                    <a:pt x="18" y="163"/>
                  </a:lnTo>
                  <a:lnTo>
                    <a:pt x="18" y="161"/>
                  </a:lnTo>
                  <a:lnTo>
                    <a:pt x="18" y="160"/>
                  </a:lnTo>
                  <a:lnTo>
                    <a:pt x="18" y="158"/>
                  </a:lnTo>
                  <a:lnTo>
                    <a:pt x="18" y="156"/>
                  </a:lnTo>
                  <a:lnTo>
                    <a:pt x="17" y="156"/>
                  </a:lnTo>
                  <a:lnTo>
                    <a:pt x="15" y="154"/>
                  </a:lnTo>
                  <a:lnTo>
                    <a:pt x="13" y="154"/>
                  </a:lnTo>
                  <a:lnTo>
                    <a:pt x="11" y="154"/>
                  </a:lnTo>
                  <a:lnTo>
                    <a:pt x="10" y="154"/>
                  </a:lnTo>
                  <a:lnTo>
                    <a:pt x="8" y="153"/>
                  </a:lnTo>
                  <a:lnTo>
                    <a:pt x="8" y="151"/>
                  </a:lnTo>
                  <a:lnTo>
                    <a:pt x="6" y="151"/>
                  </a:lnTo>
                  <a:lnTo>
                    <a:pt x="6" y="149"/>
                  </a:lnTo>
                  <a:lnTo>
                    <a:pt x="5" y="148"/>
                  </a:lnTo>
                  <a:lnTo>
                    <a:pt x="6" y="146"/>
                  </a:lnTo>
                  <a:lnTo>
                    <a:pt x="5" y="144"/>
                  </a:lnTo>
                  <a:lnTo>
                    <a:pt x="6" y="143"/>
                  </a:lnTo>
                  <a:lnTo>
                    <a:pt x="5" y="143"/>
                  </a:lnTo>
                  <a:lnTo>
                    <a:pt x="1" y="143"/>
                  </a:lnTo>
                  <a:lnTo>
                    <a:pt x="1" y="141"/>
                  </a:lnTo>
                  <a:lnTo>
                    <a:pt x="1" y="139"/>
                  </a:lnTo>
                  <a:lnTo>
                    <a:pt x="0" y="136"/>
                  </a:lnTo>
                  <a:lnTo>
                    <a:pt x="3" y="136"/>
                  </a:lnTo>
                  <a:lnTo>
                    <a:pt x="3" y="134"/>
                  </a:lnTo>
                  <a:lnTo>
                    <a:pt x="6" y="134"/>
                  </a:lnTo>
                  <a:lnTo>
                    <a:pt x="8" y="132"/>
                  </a:lnTo>
                  <a:lnTo>
                    <a:pt x="10" y="134"/>
                  </a:lnTo>
                  <a:lnTo>
                    <a:pt x="11" y="134"/>
                  </a:lnTo>
                  <a:lnTo>
                    <a:pt x="11" y="136"/>
                  </a:lnTo>
                  <a:lnTo>
                    <a:pt x="13" y="134"/>
                  </a:lnTo>
                  <a:lnTo>
                    <a:pt x="13" y="132"/>
                  </a:lnTo>
                  <a:lnTo>
                    <a:pt x="17" y="132"/>
                  </a:lnTo>
                  <a:lnTo>
                    <a:pt x="17" y="131"/>
                  </a:lnTo>
                  <a:lnTo>
                    <a:pt x="20" y="129"/>
                  </a:lnTo>
                  <a:lnTo>
                    <a:pt x="22" y="129"/>
                  </a:lnTo>
                  <a:lnTo>
                    <a:pt x="22" y="131"/>
                  </a:lnTo>
                  <a:lnTo>
                    <a:pt x="23" y="129"/>
                  </a:lnTo>
                  <a:lnTo>
                    <a:pt x="25" y="127"/>
                  </a:lnTo>
                  <a:lnTo>
                    <a:pt x="25" y="126"/>
                  </a:lnTo>
                  <a:lnTo>
                    <a:pt x="25" y="124"/>
                  </a:lnTo>
                  <a:lnTo>
                    <a:pt x="25" y="122"/>
                  </a:lnTo>
                  <a:lnTo>
                    <a:pt x="25" y="120"/>
                  </a:lnTo>
                  <a:lnTo>
                    <a:pt x="27" y="119"/>
                  </a:lnTo>
                  <a:lnTo>
                    <a:pt x="28" y="117"/>
                  </a:lnTo>
                  <a:lnTo>
                    <a:pt x="27" y="115"/>
                  </a:lnTo>
                  <a:lnTo>
                    <a:pt x="25" y="114"/>
                  </a:lnTo>
                  <a:lnTo>
                    <a:pt x="25" y="112"/>
                  </a:lnTo>
                  <a:lnTo>
                    <a:pt x="22" y="112"/>
                  </a:lnTo>
                  <a:lnTo>
                    <a:pt x="22" y="110"/>
                  </a:lnTo>
                  <a:lnTo>
                    <a:pt x="20" y="109"/>
                  </a:lnTo>
                  <a:lnTo>
                    <a:pt x="20" y="107"/>
                  </a:lnTo>
                  <a:lnTo>
                    <a:pt x="20" y="105"/>
                  </a:lnTo>
                  <a:lnTo>
                    <a:pt x="20" y="103"/>
                  </a:lnTo>
                  <a:lnTo>
                    <a:pt x="18" y="103"/>
                  </a:lnTo>
                  <a:lnTo>
                    <a:pt x="20" y="100"/>
                  </a:lnTo>
                  <a:lnTo>
                    <a:pt x="18" y="98"/>
                  </a:lnTo>
                  <a:lnTo>
                    <a:pt x="17" y="98"/>
                  </a:lnTo>
                  <a:lnTo>
                    <a:pt x="15" y="97"/>
                  </a:lnTo>
                  <a:lnTo>
                    <a:pt x="13" y="97"/>
                  </a:lnTo>
                  <a:lnTo>
                    <a:pt x="11" y="95"/>
                  </a:lnTo>
                  <a:lnTo>
                    <a:pt x="11" y="93"/>
                  </a:lnTo>
                  <a:lnTo>
                    <a:pt x="11" y="92"/>
                  </a:lnTo>
                  <a:lnTo>
                    <a:pt x="11" y="90"/>
                  </a:lnTo>
                  <a:lnTo>
                    <a:pt x="11" y="88"/>
                  </a:lnTo>
                  <a:lnTo>
                    <a:pt x="11" y="86"/>
                  </a:lnTo>
                  <a:lnTo>
                    <a:pt x="11" y="85"/>
                  </a:lnTo>
                  <a:lnTo>
                    <a:pt x="15" y="86"/>
                  </a:lnTo>
                  <a:lnTo>
                    <a:pt x="15" y="85"/>
                  </a:lnTo>
                  <a:lnTo>
                    <a:pt x="18" y="85"/>
                  </a:lnTo>
                  <a:lnTo>
                    <a:pt x="18" y="83"/>
                  </a:lnTo>
                  <a:lnTo>
                    <a:pt x="20" y="83"/>
                  </a:lnTo>
                  <a:lnTo>
                    <a:pt x="22" y="81"/>
                  </a:lnTo>
                  <a:lnTo>
                    <a:pt x="23" y="80"/>
                  </a:lnTo>
                  <a:lnTo>
                    <a:pt x="25" y="83"/>
                  </a:lnTo>
                  <a:lnTo>
                    <a:pt x="25" y="85"/>
                  </a:lnTo>
                  <a:lnTo>
                    <a:pt x="28" y="83"/>
                  </a:lnTo>
                  <a:lnTo>
                    <a:pt x="30" y="85"/>
                  </a:lnTo>
                  <a:lnTo>
                    <a:pt x="32" y="83"/>
                  </a:lnTo>
                  <a:lnTo>
                    <a:pt x="34" y="83"/>
                  </a:lnTo>
                  <a:lnTo>
                    <a:pt x="35" y="80"/>
                  </a:lnTo>
                  <a:lnTo>
                    <a:pt x="37" y="81"/>
                  </a:lnTo>
                  <a:lnTo>
                    <a:pt x="40" y="81"/>
                  </a:lnTo>
                  <a:lnTo>
                    <a:pt x="42" y="81"/>
                  </a:lnTo>
                  <a:lnTo>
                    <a:pt x="42" y="80"/>
                  </a:lnTo>
                  <a:lnTo>
                    <a:pt x="44" y="80"/>
                  </a:lnTo>
                  <a:lnTo>
                    <a:pt x="45" y="78"/>
                  </a:lnTo>
                  <a:lnTo>
                    <a:pt x="47" y="78"/>
                  </a:lnTo>
                  <a:lnTo>
                    <a:pt x="47" y="76"/>
                  </a:lnTo>
                  <a:lnTo>
                    <a:pt x="49" y="76"/>
                  </a:lnTo>
                  <a:lnTo>
                    <a:pt x="51" y="78"/>
                  </a:lnTo>
                  <a:lnTo>
                    <a:pt x="52" y="78"/>
                  </a:lnTo>
                  <a:lnTo>
                    <a:pt x="54" y="78"/>
                  </a:lnTo>
                  <a:lnTo>
                    <a:pt x="56" y="80"/>
                  </a:lnTo>
                  <a:lnTo>
                    <a:pt x="56" y="81"/>
                  </a:lnTo>
                  <a:lnTo>
                    <a:pt x="57" y="80"/>
                  </a:lnTo>
                  <a:lnTo>
                    <a:pt x="61" y="81"/>
                  </a:lnTo>
                  <a:lnTo>
                    <a:pt x="64" y="81"/>
                  </a:lnTo>
                  <a:lnTo>
                    <a:pt x="64" y="80"/>
                  </a:lnTo>
                  <a:lnTo>
                    <a:pt x="64" y="78"/>
                  </a:lnTo>
                  <a:lnTo>
                    <a:pt x="66" y="76"/>
                  </a:lnTo>
                  <a:lnTo>
                    <a:pt x="68" y="76"/>
                  </a:lnTo>
                  <a:lnTo>
                    <a:pt x="69" y="76"/>
                  </a:lnTo>
                  <a:lnTo>
                    <a:pt x="71" y="75"/>
                  </a:lnTo>
                  <a:lnTo>
                    <a:pt x="73" y="73"/>
                  </a:lnTo>
                  <a:lnTo>
                    <a:pt x="71" y="71"/>
                  </a:lnTo>
                  <a:lnTo>
                    <a:pt x="73" y="69"/>
                  </a:lnTo>
                  <a:lnTo>
                    <a:pt x="76" y="68"/>
                  </a:lnTo>
                  <a:lnTo>
                    <a:pt x="78" y="66"/>
                  </a:lnTo>
                  <a:lnTo>
                    <a:pt x="78" y="63"/>
                  </a:lnTo>
                  <a:lnTo>
                    <a:pt x="78" y="61"/>
                  </a:lnTo>
                  <a:lnTo>
                    <a:pt x="76" y="59"/>
                  </a:lnTo>
                  <a:lnTo>
                    <a:pt x="74" y="58"/>
                  </a:lnTo>
                  <a:lnTo>
                    <a:pt x="76" y="56"/>
                  </a:lnTo>
                  <a:lnTo>
                    <a:pt x="78" y="54"/>
                  </a:lnTo>
                  <a:lnTo>
                    <a:pt x="79" y="54"/>
                  </a:lnTo>
                  <a:lnTo>
                    <a:pt x="81" y="52"/>
                  </a:lnTo>
                  <a:lnTo>
                    <a:pt x="83" y="52"/>
                  </a:lnTo>
                  <a:lnTo>
                    <a:pt x="83" y="51"/>
                  </a:lnTo>
                  <a:lnTo>
                    <a:pt x="86" y="49"/>
                  </a:lnTo>
                  <a:lnTo>
                    <a:pt x="85" y="47"/>
                  </a:lnTo>
                  <a:lnTo>
                    <a:pt x="86" y="46"/>
                  </a:lnTo>
                  <a:lnTo>
                    <a:pt x="88" y="44"/>
                  </a:lnTo>
                  <a:lnTo>
                    <a:pt x="90" y="44"/>
                  </a:lnTo>
                  <a:lnTo>
                    <a:pt x="91" y="44"/>
                  </a:lnTo>
                  <a:lnTo>
                    <a:pt x="93" y="46"/>
                  </a:lnTo>
                  <a:lnTo>
                    <a:pt x="93" y="47"/>
                  </a:lnTo>
                  <a:lnTo>
                    <a:pt x="93" y="49"/>
                  </a:lnTo>
                  <a:lnTo>
                    <a:pt x="93" y="51"/>
                  </a:lnTo>
                  <a:lnTo>
                    <a:pt x="93" y="52"/>
                  </a:lnTo>
                  <a:lnTo>
                    <a:pt x="91" y="56"/>
                  </a:lnTo>
                  <a:lnTo>
                    <a:pt x="93" y="58"/>
                  </a:lnTo>
                  <a:lnTo>
                    <a:pt x="91" y="59"/>
                  </a:lnTo>
                  <a:lnTo>
                    <a:pt x="93" y="61"/>
                  </a:lnTo>
                  <a:lnTo>
                    <a:pt x="95" y="61"/>
                  </a:lnTo>
                  <a:lnTo>
                    <a:pt x="96" y="61"/>
                  </a:lnTo>
                  <a:lnTo>
                    <a:pt x="96" y="63"/>
                  </a:lnTo>
                  <a:lnTo>
                    <a:pt x="98" y="64"/>
                  </a:lnTo>
                  <a:lnTo>
                    <a:pt x="100" y="66"/>
                  </a:lnTo>
                  <a:lnTo>
                    <a:pt x="100" y="68"/>
                  </a:lnTo>
                  <a:lnTo>
                    <a:pt x="102" y="68"/>
                  </a:lnTo>
                  <a:lnTo>
                    <a:pt x="102" y="69"/>
                  </a:lnTo>
                  <a:lnTo>
                    <a:pt x="105" y="69"/>
                  </a:lnTo>
                  <a:lnTo>
                    <a:pt x="107" y="68"/>
                  </a:lnTo>
                  <a:lnTo>
                    <a:pt x="107" y="69"/>
                  </a:lnTo>
                  <a:lnTo>
                    <a:pt x="110" y="69"/>
                  </a:lnTo>
                  <a:lnTo>
                    <a:pt x="112" y="71"/>
                  </a:lnTo>
                  <a:lnTo>
                    <a:pt x="112" y="73"/>
                  </a:lnTo>
                  <a:lnTo>
                    <a:pt x="110" y="73"/>
                  </a:lnTo>
                  <a:lnTo>
                    <a:pt x="110" y="75"/>
                  </a:lnTo>
                  <a:lnTo>
                    <a:pt x="108" y="78"/>
                  </a:lnTo>
                  <a:lnTo>
                    <a:pt x="110" y="78"/>
                  </a:lnTo>
                  <a:lnTo>
                    <a:pt x="112" y="80"/>
                  </a:lnTo>
                  <a:lnTo>
                    <a:pt x="113" y="80"/>
                  </a:lnTo>
                  <a:lnTo>
                    <a:pt x="113" y="81"/>
                  </a:lnTo>
                  <a:lnTo>
                    <a:pt x="115" y="83"/>
                  </a:lnTo>
                  <a:lnTo>
                    <a:pt x="117" y="86"/>
                  </a:lnTo>
                  <a:lnTo>
                    <a:pt x="115" y="88"/>
                  </a:lnTo>
                  <a:lnTo>
                    <a:pt x="117" y="88"/>
                  </a:lnTo>
                  <a:lnTo>
                    <a:pt x="119" y="88"/>
                  </a:lnTo>
                  <a:lnTo>
                    <a:pt x="119" y="90"/>
                  </a:lnTo>
                  <a:lnTo>
                    <a:pt x="120" y="90"/>
                  </a:lnTo>
                  <a:lnTo>
                    <a:pt x="122" y="86"/>
                  </a:lnTo>
                  <a:lnTo>
                    <a:pt x="124" y="85"/>
                  </a:lnTo>
                  <a:lnTo>
                    <a:pt x="122" y="83"/>
                  </a:lnTo>
                  <a:lnTo>
                    <a:pt x="120" y="81"/>
                  </a:lnTo>
                  <a:lnTo>
                    <a:pt x="120" y="80"/>
                  </a:lnTo>
                  <a:lnTo>
                    <a:pt x="119" y="80"/>
                  </a:lnTo>
                  <a:lnTo>
                    <a:pt x="120" y="78"/>
                  </a:lnTo>
                  <a:lnTo>
                    <a:pt x="119" y="75"/>
                  </a:lnTo>
                  <a:lnTo>
                    <a:pt x="120" y="73"/>
                  </a:lnTo>
                  <a:lnTo>
                    <a:pt x="122" y="73"/>
                  </a:lnTo>
                  <a:lnTo>
                    <a:pt x="124" y="71"/>
                  </a:lnTo>
                  <a:lnTo>
                    <a:pt x="122" y="69"/>
                  </a:lnTo>
                  <a:lnTo>
                    <a:pt x="125" y="68"/>
                  </a:lnTo>
                  <a:lnTo>
                    <a:pt x="125" y="66"/>
                  </a:lnTo>
                  <a:lnTo>
                    <a:pt x="127" y="64"/>
                  </a:lnTo>
                  <a:lnTo>
                    <a:pt x="129" y="64"/>
                  </a:lnTo>
                  <a:lnTo>
                    <a:pt x="129" y="63"/>
                  </a:lnTo>
                  <a:lnTo>
                    <a:pt x="130" y="63"/>
                  </a:lnTo>
                  <a:lnTo>
                    <a:pt x="130" y="61"/>
                  </a:lnTo>
                  <a:lnTo>
                    <a:pt x="130" y="58"/>
                  </a:lnTo>
                  <a:lnTo>
                    <a:pt x="132" y="56"/>
                  </a:lnTo>
                  <a:lnTo>
                    <a:pt x="134" y="54"/>
                  </a:lnTo>
                  <a:lnTo>
                    <a:pt x="132" y="51"/>
                  </a:lnTo>
                  <a:lnTo>
                    <a:pt x="132" y="47"/>
                  </a:lnTo>
                  <a:lnTo>
                    <a:pt x="130" y="47"/>
                  </a:lnTo>
                  <a:lnTo>
                    <a:pt x="132" y="44"/>
                  </a:lnTo>
                  <a:lnTo>
                    <a:pt x="132" y="42"/>
                  </a:lnTo>
                  <a:lnTo>
                    <a:pt x="134" y="42"/>
                  </a:lnTo>
                  <a:lnTo>
                    <a:pt x="137" y="42"/>
                  </a:lnTo>
                  <a:lnTo>
                    <a:pt x="137" y="41"/>
                  </a:lnTo>
                  <a:lnTo>
                    <a:pt x="137" y="42"/>
                  </a:lnTo>
                  <a:lnTo>
                    <a:pt x="139" y="44"/>
                  </a:lnTo>
                  <a:lnTo>
                    <a:pt x="141" y="42"/>
                  </a:lnTo>
                  <a:lnTo>
                    <a:pt x="142" y="42"/>
                  </a:lnTo>
                  <a:lnTo>
                    <a:pt x="141" y="44"/>
                  </a:lnTo>
                  <a:lnTo>
                    <a:pt x="142" y="44"/>
                  </a:lnTo>
                  <a:lnTo>
                    <a:pt x="141" y="47"/>
                  </a:lnTo>
                  <a:lnTo>
                    <a:pt x="142" y="49"/>
                  </a:lnTo>
                  <a:lnTo>
                    <a:pt x="142" y="51"/>
                  </a:lnTo>
                  <a:lnTo>
                    <a:pt x="144" y="51"/>
                  </a:lnTo>
                  <a:lnTo>
                    <a:pt x="144" y="54"/>
                  </a:lnTo>
                  <a:lnTo>
                    <a:pt x="146" y="56"/>
                  </a:lnTo>
                  <a:lnTo>
                    <a:pt x="147" y="56"/>
                  </a:lnTo>
                  <a:lnTo>
                    <a:pt x="149" y="58"/>
                  </a:lnTo>
                  <a:lnTo>
                    <a:pt x="153" y="56"/>
                  </a:lnTo>
                  <a:lnTo>
                    <a:pt x="154" y="58"/>
                  </a:lnTo>
                  <a:lnTo>
                    <a:pt x="154" y="56"/>
                  </a:lnTo>
                  <a:lnTo>
                    <a:pt x="154" y="52"/>
                  </a:lnTo>
                  <a:lnTo>
                    <a:pt x="158" y="54"/>
                  </a:lnTo>
                  <a:lnTo>
                    <a:pt x="159" y="52"/>
                  </a:lnTo>
                  <a:lnTo>
                    <a:pt x="161" y="52"/>
                  </a:lnTo>
                  <a:lnTo>
                    <a:pt x="163" y="51"/>
                  </a:lnTo>
                  <a:lnTo>
                    <a:pt x="164" y="51"/>
                  </a:lnTo>
                  <a:lnTo>
                    <a:pt x="166" y="51"/>
                  </a:lnTo>
                  <a:lnTo>
                    <a:pt x="168" y="52"/>
                  </a:lnTo>
                  <a:lnTo>
                    <a:pt x="166" y="54"/>
                  </a:lnTo>
                  <a:lnTo>
                    <a:pt x="168" y="56"/>
                  </a:lnTo>
                  <a:lnTo>
                    <a:pt x="168" y="58"/>
                  </a:lnTo>
                  <a:lnTo>
                    <a:pt x="170" y="58"/>
                  </a:lnTo>
                  <a:lnTo>
                    <a:pt x="170" y="59"/>
                  </a:lnTo>
                  <a:lnTo>
                    <a:pt x="170" y="61"/>
                  </a:lnTo>
                  <a:lnTo>
                    <a:pt x="171" y="63"/>
                  </a:lnTo>
                  <a:lnTo>
                    <a:pt x="175" y="61"/>
                  </a:lnTo>
                  <a:lnTo>
                    <a:pt x="176" y="59"/>
                  </a:lnTo>
                  <a:lnTo>
                    <a:pt x="175" y="56"/>
                  </a:lnTo>
                  <a:lnTo>
                    <a:pt x="173" y="56"/>
                  </a:lnTo>
                  <a:lnTo>
                    <a:pt x="173" y="52"/>
                  </a:lnTo>
                  <a:lnTo>
                    <a:pt x="175" y="51"/>
                  </a:lnTo>
                  <a:lnTo>
                    <a:pt x="176" y="51"/>
                  </a:lnTo>
                  <a:lnTo>
                    <a:pt x="176" y="49"/>
                  </a:lnTo>
                  <a:lnTo>
                    <a:pt x="175" y="47"/>
                  </a:lnTo>
                  <a:lnTo>
                    <a:pt x="171" y="47"/>
                  </a:lnTo>
                  <a:lnTo>
                    <a:pt x="170" y="46"/>
                  </a:lnTo>
                  <a:lnTo>
                    <a:pt x="170" y="44"/>
                  </a:lnTo>
                  <a:lnTo>
                    <a:pt x="170" y="41"/>
                  </a:lnTo>
                  <a:lnTo>
                    <a:pt x="170" y="39"/>
                  </a:lnTo>
                  <a:lnTo>
                    <a:pt x="171" y="37"/>
                  </a:lnTo>
                  <a:lnTo>
                    <a:pt x="173" y="37"/>
                  </a:lnTo>
                  <a:lnTo>
                    <a:pt x="173" y="34"/>
                  </a:lnTo>
                  <a:lnTo>
                    <a:pt x="175" y="35"/>
                  </a:lnTo>
                  <a:lnTo>
                    <a:pt x="175" y="34"/>
                  </a:lnTo>
                  <a:lnTo>
                    <a:pt x="176" y="34"/>
                  </a:lnTo>
                  <a:lnTo>
                    <a:pt x="178" y="34"/>
                  </a:lnTo>
                  <a:lnTo>
                    <a:pt x="180" y="32"/>
                  </a:lnTo>
                  <a:lnTo>
                    <a:pt x="180" y="34"/>
                  </a:lnTo>
                  <a:lnTo>
                    <a:pt x="180" y="37"/>
                  </a:lnTo>
                  <a:lnTo>
                    <a:pt x="181" y="37"/>
                  </a:lnTo>
                  <a:lnTo>
                    <a:pt x="181" y="39"/>
                  </a:lnTo>
                  <a:lnTo>
                    <a:pt x="185" y="39"/>
                  </a:lnTo>
                  <a:lnTo>
                    <a:pt x="187" y="39"/>
                  </a:lnTo>
                  <a:lnTo>
                    <a:pt x="188" y="39"/>
                  </a:lnTo>
                  <a:lnTo>
                    <a:pt x="190" y="41"/>
                  </a:lnTo>
                  <a:lnTo>
                    <a:pt x="190" y="39"/>
                  </a:lnTo>
                  <a:lnTo>
                    <a:pt x="190" y="37"/>
                  </a:lnTo>
                  <a:lnTo>
                    <a:pt x="192" y="35"/>
                  </a:lnTo>
                  <a:lnTo>
                    <a:pt x="192" y="34"/>
                  </a:lnTo>
                  <a:lnTo>
                    <a:pt x="190" y="32"/>
                  </a:lnTo>
                  <a:lnTo>
                    <a:pt x="187" y="32"/>
                  </a:lnTo>
                  <a:lnTo>
                    <a:pt x="187" y="30"/>
                  </a:lnTo>
                  <a:lnTo>
                    <a:pt x="187" y="29"/>
                  </a:lnTo>
                  <a:lnTo>
                    <a:pt x="188" y="27"/>
                  </a:lnTo>
                  <a:lnTo>
                    <a:pt x="187" y="25"/>
                  </a:lnTo>
                  <a:lnTo>
                    <a:pt x="188" y="24"/>
                  </a:lnTo>
                  <a:lnTo>
                    <a:pt x="188" y="22"/>
                  </a:lnTo>
                  <a:lnTo>
                    <a:pt x="190" y="20"/>
                  </a:lnTo>
                  <a:lnTo>
                    <a:pt x="190" y="18"/>
                  </a:lnTo>
                  <a:lnTo>
                    <a:pt x="190" y="17"/>
                  </a:lnTo>
                  <a:lnTo>
                    <a:pt x="193" y="18"/>
                  </a:lnTo>
                  <a:lnTo>
                    <a:pt x="193" y="17"/>
                  </a:lnTo>
                  <a:lnTo>
                    <a:pt x="193" y="18"/>
                  </a:lnTo>
                  <a:lnTo>
                    <a:pt x="197" y="17"/>
                  </a:lnTo>
                  <a:lnTo>
                    <a:pt x="198" y="17"/>
                  </a:lnTo>
                  <a:lnTo>
                    <a:pt x="200" y="15"/>
                  </a:lnTo>
                  <a:lnTo>
                    <a:pt x="202" y="17"/>
                  </a:lnTo>
                  <a:lnTo>
                    <a:pt x="202" y="18"/>
                  </a:lnTo>
                  <a:lnTo>
                    <a:pt x="204" y="18"/>
                  </a:lnTo>
                  <a:lnTo>
                    <a:pt x="204" y="22"/>
                  </a:lnTo>
                  <a:lnTo>
                    <a:pt x="205" y="22"/>
                  </a:lnTo>
                  <a:lnTo>
                    <a:pt x="207" y="22"/>
                  </a:lnTo>
                  <a:lnTo>
                    <a:pt x="209" y="22"/>
                  </a:lnTo>
                  <a:lnTo>
                    <a:pt x="210" y="24"/>
                  </a:lnTo>
                  <a:lnTo>
                    <a:pt x="212" y="22"/>
                  </a:lnTo>
                  <a:lnTo>
                    <a:pt x="214" y="22"/>
                  </a:lnTo>
                  <a:lnTo>
                    <a:pt x="215" y="24"/>
                  </a:lnTo>
                  <a:lnTo>
                    <a:pt x="217" y="22"/>
                  </a:lnTo>
                  <a:lnTo>
                    <a:pt x="217" y="24"/>
                  </a:lnTo>
                  <a:lnTo>
                    <a:pt x="217" y="20"/>
                  </a:lnTo>
                  <a:lnTo>
                    <a:pt x="221" y="18"/>
                  </a:lnTo>
                  <a:lnTo>
                    <a:pt x="219" y="17"/>
                  </a:lnTo>
                  <a:lnTo>
                    <a:pt x="221" y="15"/>
                  </a:lnTo>
                  <a:lnTo>
                    <a:pt x="221" y="13"/>
                  </a:lnTo>
                  <a:lnTo>
                    <a:pt x="221" y="12"/>
                  </a:lnTo>
                  <a:lnTo>
                    <a:pt x="224" y="10"/>
                  </a:lnTo>
                  <a:lnTo>
                    <a:pt x="224" y="8"/>
                  </a:lnTo>
                  <a:lnTo>
                    <a:pt x="226" y="10"/>
                  </a:lnTo>
                  <a:lnTo>
                    <a:pt x="227" y="8"/>
                  </a:lnTo>
                  <a:lnTo>
                    <a:pt x="231" y="8"/>
                  </a:lnTo>
                  <a:lnTo>
                    <a:pt x="231" y="6"/>
                  </a:lnTo>
                  <a:lnTo>
                    <a:pt x="232" y="6"/>
                  </a:lnTo>
                  <a:lnTo>
                    <a:pt x="236" y="8"/>
                  </a:lnTo>
                  <a:lnTo>
                    <a:pt x="239" y="5"/>
                  </a:lnTo>
                  <a:lnTo>
                    <a:pt x="239" y="6"/>
                  </a:lnTo>
                  <a:lnTo>
                    <a:pt x="241" y="6"/>
                  </a:lnTo>
                  <a:lnTo>
                    <a:pt x="244" y="6"/>
                  </a:lnTo>
                  <a:lnTo>
                    <a:pt x="246" y="5"/>
                  </a:lnTo>
                  <a:lnTo>
                    <a:pt x="248" y="6"/>
                  </a:lnTo>
                  <a:lnTo>
                    <a:pt x="249" y="6"/>
                  </a:lnTo>
                  <a:lnTo>
                    <a:pt x="251" y="8"/>
                  </a:lnTo>
                  <a:lnTo>
                    <a:pt x="253" y="6"/>
                  </a:lnTo>
                  <a:lnTo>
                    <a:pt x="256" y="6"/>
                  </a:lnTo>
                  <a:lnTo>
                    <a:pt x="256" y="5"/>
                  </a:lnTo>
                  <a:lnTo>
                    <a:pt x="258" y="5"/>
                  </a:lnTo>
                  <a:lnTo>
                    <a:pt x="260" y="3"/>
                  </a:lnTo>
                  <a:lnTo>
                    <a:pt x="261" y="3"/>
                  </a:lnTo>
                  <a:lnTo>
                    <a:pt x="263" y="1"/>
                  </a:lnTo>
                  <a:lnTo>
                    <a:pt x="265" y="3"/>
                  </a:lnTo>
                  <a:lnTo>
                    <a:pt x="265" y="1"/>
                  </a:lnTo>
                  <a:lnTo>
                    <a:pt x="266" y="1"/>
                  </a:lnTo>
                  <a:lnTo>
                    <a:pt x="268" y="0"/>
                  </a:lnTo>
                  <a:lnTo>
                    <a:pt x="272" y="0"/>
                  </a:lnTo>
                  <a:lnTo>
                    <a:pt x="275" y="0"/>
                  </a:lnTo>
                  <a:lnTo>
                    <a:pt x="273" y="1"/>
                  </a:lnTo>
                  <a:lnTo>
                    <a:pt x="273" y="3"/>
                  </a:lnTo>
                  <a:lnTo>
                    <a:pt x="270" y="3"/>
                  </a:lnTo>
                  <a:lnTo>
                    <a:pt x="270" y="5"/>
                  </a:lnTo>
                  <a:lnTo>
                    <a:pt x="270" y="6"/>
                  </a:lnTo>
                  <a:lnTo>
                    <a:pt x="270" y="8"/>
                  </a:lnTo>
                  <a:lnTo>
                    <a:pt x="272" y="10"/>
                  </a:lnTo>
                  <a:lnTo>
                    <a:pt x="270" y="12"/>
                  </a:lnTo>
                  <a:lnTo>
                    <a:pt x="273" y="12"/>
                  </a:lnTo>
                  <a:lnTo>
                    <a:pt x="273" y="15"/>
                  </a:lnTo>
                  <a:lnTo>
                    <a:pt x="275" y="13"/>
                  </a:lnTo>
                  <a:lnTo>
                    <a:pt x="277" y="13"/>
                  </a:lnTo>
                  <a:lnTo>
                    <a:pt x="278" y="17"/>
                  </a:lnTo>
                  <a:lnTo>
                    <a:pt x="277" y="18"/>
                  </a:lnTo>
                  <a:lnTo>
                    <a:pt x="277" y="20"/>
                  </a:lnTo>
                  <a:lnTo>
                    <a:pt x="278" y="20"/>
                  </a:lnTo>
                  <a:lnTo>
                    <a:pt x="282" y="20"/>
                  </a:lnTo>
                  <a:lnTo>
                    <a:pt x="282" y="24"/>
                  </a:lnTo>
                  <a:lnTo>
                    <a:pt x="282" y="25"/>
                  </a:lnTo>
                  <a:lnTo>
                    <a:pt x="285" y="27"/>
                  </a:lnTo>
                  <a:lnTo>
                    <a:pt x="287" y="27"/>
                  </a:lnTo>
                  <a:lnTo>
                    <a:pt x="289" y="27"/>
                  </a:lnTo>
                  <a:lnTo>
                    <a:pt x="292" y="29"/>
                  </a:lnTo>
                  <a:lnTo>
                    <a:pt x="294" y="29"/>
                  </a:lnTo>
                  <a:lnTo>
                    <a:pt x="295" y="29"/>
                  </a:lnTo>
                  <a:lnTo>
                    <a:pt x="297" y="29"/>
                  </a:lnTo>
                  <a:lnTo>
                    <a:pt x="299" y="30"/>
                  </a:lnTo>
                  <a:lnTo>
                    <a:pt x="302" y="29"/>
                  </a:lnTo>
                  <a:lnTo>
                    <a:pt x="304" y="30"/>
                  </a:lnTo>
                  <a:lnTo>
                    <a:pt x="306" y="32"/>
                  </a:lnTo>
                  <a:lnTo>
                    <a:pt x="309" y="32"/>
                  </a:lnTo>
                  <a:lnTo>
                    <a:pt x="311" y="32"/>
                  </a:lnTo>
                  <a:lnTo>
                    <a:pt x="314" y="32"/>
                  </a:lnTo>
                  <a:lnTo>
                    <a:pt x="316" y="32"/>
                  </a:lnTo>
                  <a:lnTo>
                    <a:pt x="317" y="32"/>
                  </a:lnTo>
                  <a:lnTo>
                    <a:pt x="319" y="32"/>
                  </a:lnTo>
                  <a:lnTo>
                    <a:pt x="321" y="32"/>
                  </a:lnTo>
                  <a:lnTo>
                    <a:pt x="323" y="34"/>
                  </a:lnTo>
                  <a:lnTo>
                    <a:pt x="324" y="35"/>
                  </a:lnTo>
                  <a:lnTo>
                    <a:pt x="326" y="34"/>
                  </a:lnTo>
                  <a:lnTo>
                    <a:pt x="328" y="35"/>
                  </a:lnTo>
                  <a:lnTo>
                    <a:pt x="329" y="34"/>
                  </a:lnTo>
                  <a:lnTo>
                    <a:pt x="331" y="34"/>
                  </a:lnTo>
                  <a:lnTo>
                    <a:pt x="331" y="32"/>
                  </a:lnTo>
                  <a:lnTo>
                    <a:pt x="333" y="34"/>
                  </a:lnTo>
                  <a:lnTo>
                    <a:pt x="336" y="34"/>
                  </a:lnTo>
                  <a:lnTo>
                    <a:pt x="338" y="35"/>
                  </a:lnTo>
                  <a:lnTo>
                    <a:pt x="340" y="34"/>
                  </a:lnTo>
                  <a:lnTo>
                    <a:pt x="340" y="35"/>
                  </a:lnTo>
                  <a:lnTo>
                    <a:pt x="341" y="34"/>
                  </a:lnTo>
                  <a:lnTo>
                    <a:pt x="343" y="35"/>
                  </a:lnTo>
                  <a:lnTo>
                    <a:pt x="345" y="35"/>
                  </a:lnTo>
                  <a:lnTo>
                    <a:pt x="346" y="35"/>
                  </a:lnTo>
                  <a:close/>
                  <a:moveTo>
                    <a:pt x="295" y="217"/>
                  </a:moveTo>
                  <a:lnTo>
                    <a:pt x="294" y="217"/>
                  </a:lnTo>
                  <a:lnTo>
                    <a:pt x="292" y="219"/>
                  </a:lnTo>
                  <a:lnTo>
                    <a:pt x="290" y="219"/>
                  </a:lnTo>
                  <a:lnTo>
                    <a:pt x="290" y="221"/>
                  </a:lnTo>
                  <a:lnTo>
                    <a:pt x="290" y="223"/>
                  </a:lnTo>
                  <a:lnTo>
                    <a:pt x="292" y="223"/>
                  </a:lnTo>
                  <a:lnTo>
                    <a:pt x="294" y="224"/>
                  </a:lnTo>
                  <a:lnTo>
                    <a:pt x="295" y="223"/>
                  </a:lnTo>
                  <a:lnTo>
                    <a:pt x="295" y="221"/>
                  </a:lnTo>
                  <a:lnTo>
                    <a:pt x="295" y="219"/>
                  </a:lnTo>
                  <a:lnTo>
                    <a:pt x="295" y="217"/>
                  </a:lnTo>
                  <a:close/>
                  <a:moveTo>
                    <a:pt x="297" y="364"/>
                  </a:moveTo>
                  <a:lnTo>
                    <a:pt x="297" y="365"/>
                  </a:lnTo>
                  <a:lnTo>
                    <a:pt x="297" y="364"/>
                  </a:lnTo>
                  <a:close/>
                  <a:moveTo>
                    <a:pt x="481" y="612"/>
                  </a:moveTo>
                  <a:lnTo>
                    <a:pt x="482" y="614"/>
                  </a:lnTo>
                  <a:lnTo>
                    <a:pt x="484" y="614"/>
                  </a:lnTo>
                  <a:lnTo>
                    <a:pt x="486" y="614"/>
                  </a:lnTo>
                  <a:lnTo>
                    <a:pt x="484" y="615"/>
                  </a:lnTo>
                  <a:lnTo>
                    <a:pt x="482" y="615"/>
                  </a:lnTo>
                  <a:lnTo>
                    <a:pt x="482" y="617"/>
                  </a:lnTo>
                  <a:lnTo>
                    <a:pt x="482" y="621"/>
                  </a:lnTo>
                  <a:lnTo>
                    <a:pt x="481" y="624"/>
                  </a:lnTo>
                  <a:lnTo>
                    <a:pt x="479" y="626"/>
                  </a:lnTo>
                  <a:lnTo>
                    <a:pt x="479" y="629"/>
                  </a:lnTo>
                  <a:lnTo>
                    <a:pt x="477" y="631"/>
                  </a:lnTo>
                  <a:lnTo>
                    <a:pt x="476" y="632"/>
                  </a:lnTo>
                  <a:lnTo>
                    <a:pt x="474" y="636"/>
                  </a:lnTo>
                  <a:lnTo>
                    <a:pt x="472" y="638"/>
                  </a:lnTo>
                  <a:lnTo>
                    <a:pt x="472" y="639"/>
                  </a:lnTo>
                  <a:lnTo>
                    <a:pt x="472" y="641"/>
                  </a:lnTo>
                  <a:lnTo>
                    <a:pt x="470" y="641"/>
                  </a:lnTo>
                  <a:lnTo>
                    <a:pt x="469" y="644"/>
                  </a:lnTo>
                  <a:lnTo>
                    <a:pt x="469" y="646"/>
                  </a:lnTo>
                  <a:lnTo>
                    <a:pt x="467" y="646"/>
                  </a:lnTo>
                  <a:lnTo>
                    <a:pt x="467" y="648"/>
                  </a:lnTo>
                  <a:lnTo>
                    <a:pt x="465" y="650"/>
                  </a:lnTo>
                  <a:lnTo>
                    <a:pt x="465" y="651"/>
                  </a:lnTo>
                  <a:lnTo>
                    <a:pt x="465" y="653"/>
                  </a:lnTo>
                  <a:lnTo>
                    <a:pt x="464" y="655"/>
                  </a:lnTo>
                  <a:lnTo>
                    <a:pt x="465" y="656"/>
                  </a:lnTo>
                  <a:lnTo>
                    <a:pt x="464" y="658"/>
                  </a:lnTo>
                  <a:lnTo>
                    <a:pt x="464" y="660"/>
                  </a:lnTo>
                  <a:lnTo>
                    <a:pt x="464" y="661"/>
                  </a:lnTo>
                  <a:lnTo>
                    <a:pt x="464" y="663"/>
                  </a:lnTo>
                  <a:lnTo>
                    <a:pt x="464" y="667"/>
                  </a:lnTo>
                  <a:lnTo>
                    <a:pt x="462" y="668"/>
                  </a:lnTo>
                  <a:lnTo>
                    <a:pt x="460" y="670"/>
                  </a:lnTo>
                  <a:lnTo>
                    <a:pt x="459" y="672"/>
                  </a:lnTo>
                  <a:lnTo>
                    <a:pt x="460" y="673"/>
                  </a:lnTo>
                  <a:lnTo>
                    <a:pt x="459" y="672"/>
                  </a:lnTo>
                  <a:lnTo>
                    <a:pt x="459" y="675"/>
                  </a:lnTo>
                  <a:lnTo>
                    <a:pt x="459" y="677"/>
                  </a:lnTo>
                  <a:lnTo>
                    <a:pt x="459" y="678"/>
                  </a:lnTo>
                  <a:lnTo>
                    <a:pt x="460" y="678"/>
                  </a:lnTo>
                  <a:lnTo>
                    <a:pt x="459" y="678"/>
                  </a:lnTo>
                  <a:lnTo>
                    <a:pt x="460" y="682"/>
                  </a:lnTo>
                  <a:lnTo>
                    <a:pt x="460" y="685"/>
                  </a:lnTo>
                  <a:lnTo>
                    <a:pt x="462" y="685"/>
                  </a:lnTo>
                  <a:lnTo>
                    <a:pt x="464" y="687"/>
                  </a:lnTo>
                  <a:lnTo>
                    <a:pt x="465" y="687"/>
                  </a:lnTo>
                  <a:lnTo>
                    <a:pt x="467" y="687"/>
                  </a:lnTo>
                  <a:lnTo>
                    <a:pt x="469" y="689"/>
                  </a:lnTo>
                  <a:lnTo>
                    <a:pt x="469" y="690"/>
                  </a:lnTo>
                  <a:lnTo>
                    <a:pt x="470" y="690"/>
                  </a:lnTo>
                  <a:lnTo>
                    <a:pt x="469" y="690"/>
                  </a:lnTo>
                  <a:lnTo>
                    <a:pt x="467" y="690"/>
                  </a:lnTo>
                  <a:lnTo>
                    <a:pt x="469" y="692"/>
                  </a:lnTo>
                  <a:lnTo>
                    <a:pt x="467" y="690"/>
                  </a:lnTo>
                  <a:lnTo>
                    <a:pt x="465" y="690"/>
                  </a:lnTo>
                  <a:lnTo>
                    <a:pt x="465" y="694"/>
                  </a:lnTo>
                  <a:lnTo>
                    <a:pt x="467" y="695"/>
                  </a:lnTo>
                  <a:lnTo>
                    <a:pt x="467" y="697"/>
                  </a:lnTo>
                  <a:lnTo>
                    <a:pt x="469" y="695"/>
                  </a:lnTo>
                  <a:lnTo>
                    <a:pt x="469" y="697"/>
                  </a:lnTo>
                  <a:lnTo>
                    <a:pt x="469" y="699"/>
                  </a:lnTo>
                  <a:lnTo>
                    <a:pt x="470" y="699"/>
                  </a:lnTo>
                  <a:lnTo>
                    <a:pt x="472" y="699"/>
                  </a:lnTo>
                  <a:lnTo>
                    <a:pt x="472" y="702"/>
                  </a:lnTo>
                  <a:lnTo>
                    <a:pt x="474" y="702"/>
                  </a:lnTo>
                  <a:lnTo>
                    <a:pt x="472" y="702"/>
                  </a:lnTo>
                  <a:lnTo>
                    <a:pt x="472" y="704"/>
                  </a:lnTo>
                  <a:lnTo>
                    <a:pt x="474" y="704"/>
                  </a:lnTo>
                  <a:lnTo>
                    <a:pt x="476" y="706"/>
                  </a:lnTo>
                  <a:lnTo>
                    <a:pt x="476" y="707"/>
                  </a:lnTo>
                  <a:lnTo>
                    <a:pt x="474" y="706"/>
                  </a:lnTo>
                  <a:lnTo>
                    <a:pt x="472" y="707"/>
                  </a:lnTo>
                  <a:lnTo>
                    <a:pt x="472" y="709"/>
                  </a:lnTo>
                  <a:lnTo>
                    <a:pt x="469" y="711"/>
                  </a:lnTo>
                  <a:lnTo>
                    <a:pt x="467" y="711"/>
                  </a:lnTo>
                  <a:lnTo>
                    <a:pt x="465" y="714"/>
                  </a:lnTo>
                  <a:lnTo>
                    <a:pt x="465" y="716"/>
                  </a:lnTo>
                  <a:lnTo>
                    <a:pt x="465" y="718"/>
                  </a:lnTo>
                  <a:lnTo>
                    <a:pt x="464" y="719"/>
                  </a:lnTo>
                  <a:lnTo>
                    <a:pt x="464" y="721"/>
                  </a:lnTo>
                  <a:lnTo>
                    <a:pt x="462" y="723"/>
                  </a:lnTo>
                  <a:lnTo>
                    <a:pt x="462" y="724"/>
                  </a:lnTo>
                  <a:lnTo>
                    <a:pt x="464" y="726"/>
                  </a:lnTo>
                  <a:lnTo>
                    <a:pt x="465" y="729"/>
                  </a:lnTo>
                  <a:lnTo>
                    <a:pt x="465" y="731"/>
                  </a:lnTo>
                  <a:lnTo>
                    <a:pt x="464" y="731"/>
                  </a:lnTo>
                  <a:lnTo>
                    <a:pt x="462" y="733"/>
                  </a:lnTo>
                  <a:lnTo>
                    <a:pt x="460" y="733"/>
                  </a:lnTo>
                  <a:lnTo>
                    <a:pt x="460" y="731"/>
                  </a:lnTo>
                  <a:lnTo>
                    <a:pt x="459" y="729"/>
                  </a:lnTo>
                  <a:lnTo>
                    <a:pt x="457" y="731"/>
                  </a:lnTo>
                  <a:lnTo>
                    <a:pt x="455" y="731"/>
                  </a:lnTo>
                  <a:lnTo>
                    <a:pt x="453" y="729"/>
                  </a:lnTo>
                  <a:lnTo>
                    <a:pt x="452" y="728"/>
                  </a:lnTo>
                  <a:lnTo>
                    <a:pt x="450" y="728"/>
                  </a:lnTo>
                  <a:lnTo>
                    <a:pt x="448" y="729"/>
                  </a:lnTo>
                  <a:lnTo>
                    <a:pt x="447" y="729"/>
                  </a:lnTo>
                  <a:lnTo>
                    <a:pt x="445" y="731"/>
                  </a:lnTo>
                  <a:lnTo>
                    <a:pt x="443" y="729"/>
                  </a:lnTo>
                  <a:lnTo>
                    <a:pt x="440" y="729"/>
                  </a:lnTo>
                  <a:lnTo>
                    <a:pt x="438" y="728"/>
                  </a:lnTo>
                  <a:lnTo>
                    <a:pt x="436" y="726"/>
                  </a:lnTo>
                  <a:lnTo>
                    <a:pt x="435" y="726"/>
                  </a:lnTo>
                  <a:lnTo>
                    <a:pt x="431" y="726"/>
                  </a:lnTo>
                  <a:lnTo>
                    <a:pt x="430" y="726"/>
                  </a:lnTo>
                  <a:lnTo>
                    <a:pt x="428" y="726"/>
                  </a:lnTo>
                  <a:lnTo>
                    <a:pt x="426" y="724"/>
                  </a:lnTo>
                  <a:lnTo>
                    <a:pt x="426" y="723"/>
                  </a:lnTo>
                  <a:lnTo>
                    <a:pt x="425" y="721"/>
                  </a:lnTo>
                  <a:lnTo>
                    <a:pt x="425" y="719"/>
                  </a:lnTo>
                  <a:lnTo>
                    <a:pt x="423" y="718"/>
                  </a:lnTo>
                  <a:lnTo>
                    <a:pt x="423" y="716"/>
                  </a:lnTo>
                  <a:lnTo>
                    <a:pt x="421" y="716"/>
                  </a:lnTo>
                  <a:lnTo>
                    <a:pt x="421" y="714"/>
                  </a:lnTo>
                  <a:lnTo>
                    <a:pt x="419" y="711"/>
                  </a:lnTo>
                  <a:lnTo>
                    <a:pt x="418" y="709"/>
                  </a:lnTo>
                  <a:lnTo>
                    <a:pt x="416" y="709"/>
                  </a:lnTo>
                  <a:lnTo>
                    <a:pt x="413" y="707"/>
                  </a:lnTo>
                  <a:lnTo>
                    <a:pt x="411" y="707"/>
                  </a:lnTo>
                  <a:lnTo>
                    <a:pt x="411" y="706"/>
                  </a:lnTo>
                  <a:lnTo>
                    <a:pt x="411" y="707"/>
                  </a:lnTo>
                  <a:lnTo>
                    <a:pt x="409" y="706"/>
                  </a:lnTo>
                  <a:lnTo>
                    <a:pt x="408" y="704"/>
                  </a:lnTo>
                  <a:lnTo>
                    <a:pt x="406" y="704"/>
                  </a:lnTo>
                  <a:lnTo>
                    <a:pt x="404" y="704"/>
                  </a:lnTo>
                  <a:lnTo>
                    <a:pt x="402" y="704"/>
                  </a:lnTo>
                  <a:lnTo>
                    <a:pt x="401" y="704"/>
                  </a:lnTo>
                  <a:lnTo>
                    <a:pt x="399" y="704"/>
                  </a:lnTo>
                  <a:lnTo>
                    <a:pt x="397" y="704"/>
                  </a:lnTo>
                  <a:lnTo>
                    <a:pt x="396" y="706"/>
                  </a:lnTo>
                  <a:lnTo>
                    <a:pt x="394" y="706"/>
                  </a:lnTo>
                  <a:lnTo>
                    <a:pt x="391" y="706"/>
                  </a:lnTo>
                  <a:lnTo>
                    <a:pt x="389" y="702"/>
                  </a:lnTo>
                  <a:lnTo>
                    <a:pt x="387" y="702"/>
                  </a:lnTo>
                  <a:lnTo>
                    <a:pt x="385" y="702"/>
                  </a:lnTo>
                  <a:lnTo>
                    <a:pt x="384" y="702"/>
                  </a:lnTo>
                  <a:lnTo>
                    <a:pt x="382" y="701"/>
                  </a:lnTo>
                  <a:lnTo>
                    <a:pt x="380" y="699"/>
                  </a:lnTo>
                  <a:lnTo>
                    <a:pt x="379" y="699"/>
                  </a:lnTo>
                  <a:lnTo>
                    <a:pt x="377" y="697"/>
                  </a:lnTo>
                  <a:lnTo>
                    <a:pt x="374" y="694"/>
                  </a:lnTo>
                  <a:lnTo>
                    <a:pt x="372" y="692"/>
                  </a:lnTo>
                  <a:lnTo>
                    <a:pt x="370" y="692"/>
                  </a:lnTo>
                  <a:lnTo>
                    <a:pt x="370" y="694"/>
                  </a:lnTo>
                  <a:lnTo>
                    <a:pt x="370" y="692"/>
                  </a:lnTo>
                  <a:lnTo>
                    <a:pt x="368" y="692"/>
                  </a:lnTo>
                  <a:lnTo>
                    <a:pt x="365" y="692"/>
                  </a:lnTo>
                  <a:lnTo>
                    <a:pt x="363" y="690"/>
                  </a:lnTo>
                  <a:lnTo>
                    <a:pt x="362" y="690"/>
                  </a:lnTo>
                  <a:lnTo>
                    <a:pt x="360" y="689"/>
                  </a:lnTo>
                  <a:lnTo>
                    <a:pt x="358" y="687"/>
                  </a:lnTo>
                  <a:lnTo>
                    <a:pt x="357" y="685"/>
                  </a:lnTo>
                  <a:lnTo>
                    <a:pt x="355" y="685"/>
                  </a:lnTo>
                  <a:lnTo>
                    <a:pt x="355" y="684"/>
                  </a:lnTo>
                  <a:lnTo>
                    <a:pt x="353" y="684"/>
                  </a:lnTo>
                  <a:lnTo>
                    <a:pt x="351" y="680"/>
                  </a:lnTo>
                  <a:lnTo>
                    <a:pt x="350" y="678"/>
                  </a:lnTo>
                  <a:lnTo>
                    <a:pt x="346" y="678"/>
                  </a:lnTo>
                  <a:lnTo>
                    <a:pt x="345" y="678"/>
                  </a:lnTo>
                  <a:lnTo>
                    <a:pt x="343" y="678"/>
                  </a:lnTo>
                  <a:lnTo>
                    <a:pt x="341" y="678"/>
                  </a:lnTo>
                  <a:lnTo>
                    <a:pt x="340" y="677"/>
                  </a:lnTo>
                  <a:lnTo>
                    <a:pt x="336" y="673"/>
                  </a:lnTo>
                  <a:lnTo>
                    <a:pt x="334" y="673"/>
                  </a:lnTo>
                  <a:lnTo>
                    <a:pt x="331" y="673"/>
                  </a:lnTo>
                  <a:lnTo>
                    <a:pt x="329" y="673"/>
                  </a:lnTo>
                  <a:lnTo>
                    <a:pt x="326" y="673"/>
                  </a:lnTo>
                  <a:lnTo>
                    <a:pt x="324" y="675"/>
                  </a:lnTo>
                  <a:lnTo>
                    <a:pt x="321" y="675"/>
                  </a:lnTo>
                  <a:lnTo>
                    <a:pt x="319" y="673"/>
                  </a:lnTo>
                  <a:lnTo>
                    <a:pt x="317" y="672"/>
                  </a:lnTo>
                  <a:lnTo>
                    <a:pt x="316" y="670"/>
                  </a:lnTo>
                  <a:lnTo>
                    <a:pt x="314" y="668"/>
                  </a:lnTo>
                  <a:lnTo>
                    <a:pt x="311" y="668"/>
                  </a:lnTo>
                  <a:lnTo>
                    <a:pt x="311" y="667"/>
                  </a:lnTo>
                  <a:lnTo>
                    <a:pt x="309" y="665"/>
                  </a:lnTo>
                  <a:lnTo>
                    <a:pt x="309" y="663"/>
                  </a:lnTo>
                  <a:lnTo>
                    <a:pt x="307" y="660"/>
                  </a:lnTo>
                  <a:lnTo>
                    <a:pt x="306" y="658"/>
                  </a:lnTo>
                  <a:lnTo>
                    <a:pt x="307" y="656"/>
                  </a:lnTo>
                  <a:lnTo>
                    <a:pt x="307" y="655"/>
                  </a:lnTo>
                  <a:lnTo>
                    <a:pt x="309" y="655"/>
                  </a:lnTo>
                  <a:lnTo>
                    <a:pt x="309" y="653"/>
                  </a:lnTo>
                  <a:lnTo>
                    <a:pt x="307" y="650"/>
                  </a:lnTo>
                  <a:lnTo>
                    <a:pt x="309" y="648"/>
                  </a:lnTo>
                  <a:lnTo>
                    <a:pt x="309" y="644"/>
                  </a:lnTo>
                  <a:lnTo>
                    <a:pt x="311" y="643"/>
                  </a:lnTo>
                  <a:lnTo>
                    <a:pt x="309" y="643"/>
                  </a:lnTo>
                  <a:lnTo>
                    <a:pt x="311" y="643"/>
                  </a:lnTo>
                  <a:lnTo>
                    <a:pt x="311" y="641"/>
                  </a:lnTo>
                  <a:lnTo>
                    <a:pt x="312" y="641"/>
                  </a:lnTo>
                  <a:lnTo>
                    <a:pt x="314" y="639"/>
                  </a:lnTo>
                  <a:lnTo>
                    <a:pt x="316" y="639"/>
                  </a:lnTo>
                  <a:lnTo>
                    <a:pt x="317" y="638"/>
                  </a:lnTo>
                  <a:lnTo>
                    <a:pt x="319" y="636"/>
                  </a:lnTo>
                  <a:lnTo>
                    <a:pt x="321" y="636"/>
                  </a:lnTo>
                  <a:lnTo>
                    <a:pt x="323" y="632"/>
                  </a:lnTo>
                  <a:lnTo>
                    <a:pt x="321" y="631"/>
                  </a:lnTo>
                  <a:lnTo>
                    <a:pt x="323" y="629"/>
                  </a:lnTo>
                  <a:lnTo>
                    <a:pt x="323" y="631"/>
                  </a:lnTo>
                  <a:lnTo>
                    <a:pt x="324" y="631"/>
                  </a:lnTo>
                  <a:lnTo>
                    <a:pt x="324" y="632"/>
                  </a:lnTo>
                  <a:lnTo>
                    <a:pt x="326" y="632"/>
                  </a:lnTo>
                  <a:lnTo>
                    <a:pt x="326" y="636"/>
                  </a:lnTo>
                  <a:lnTo>
                    <a:pt x="328" y="638"/>
                  </a:lnTo>
                  <a:lnTo>
                    <a:pt x="329" y="639"/>
                  </a:lnTo>
                  <a:lnTo>
                    <a:pt x="331" y="639"/>
                  </a:lnTo>
                  <a:lnTo>
                    <a:pt x="331" y="641"/>
                  </a:lnTo>
                  <a:lnTo>
                    <a:pt x="333" y="641"/>
                  </a:lnTo>
                  <a:lnTo>
                    <a:pt x="334" y="641"/>
                  </a:lnTo>
                  <a:lnTo>
                    <a:pt x="338" y="639"/>
                  </a:lnTo>
                  <a:lnTo>
                    <a:pt x="338" y="638"/>
                  </a:lnTo>
                  <a:lnTo>
                    <a:pt x="340" y="638"/>
                  </a:lnTo>
                  <a:lnTo>
                    <a:pt x="341" y="636"/>
                  </a:lnTo>
                  <a:lnTo>
                    <a:pt x="341" y="634"/>
                  </a:lnTo>
                  <a:lnTo>
                    <a:pt x="340" y="632"/>
                  </a:lnTo>
                  <a:lnTo>
                    <a:pt x="341" y="632"/>
                  </a:lnTo>
                  <a:lnTo>
                    <a:pt x="341" y="631"/>
                  </a:lnTo>
                  <a:lnTo>
                    <a:pt x="343" y="629"/>
                  </a:lnTo>
                  <a:lnTo>
                    <a:pt x="346" y="629"/>
                  </a:lnTo>
                  <a:lnTo>
                    <a:pt x="348" y="629"/>
                  </a:lnTo>
                  <a:lnTo>
                    <a:pt x="351" y="629"/>
                  </a:lnTo>
                  <a:lnTo>
                    <a:pt x="351" y="627"/>
                  </a:lnTo>
                  <a:lnTo>
                    <a:pt x="353" y="627"/>
                  </a:lnTo>
                  <a:lnTo>
                    <a:pt x="355" y="626"/>
                  </a:lnTo>
                  <a:lnTo>
                    <a:pt x="357" y="627"/>
                  </a:lnTo>
                  <a:lnTo>
                    <a:pt x="358" y="629"/>
                  </a:lnTo>
                  <a:lnTo>
                    <a:pt x="358" y="631"/>
                  </a:lnTo>
                  <a:lnTo>
                    <a:pt x="358" y="632"/>
                  </a:lnTo>
                  <a:lnTo>
                    <a:pt x="360" y="634"/>
                  </a:lnTo>
                  <a:lnTo>
                    <a:pt x="363" y="634"/>
                  </a:lnTo>
                  <a:lnTo>
                    <a:pt x="365" y="634"/>
                  </a:lnTo>
                  <a:lnTo>
                    <a:pt x="367" y="632"/>
                  </a:lnTo>
                  <a:lnTo>
                    <a:pt x="368" y="632"/>
                  </a:lnTo>
                  <a:lnTo>
                    <a:pt x="368" y="636"/>
                  </a:lnTo>
                  <a:lnTo>
                    <a:pt x="370" y="638"/>
                  </a:lnTo>
                  <a:lnTo>
                    <a:pt x="372" y="639"/>
                  </a:lnTo>
                  <a:lnTo>
                    <a:pt x="374" y="639"/>
                  </a:lnTo>
                  <a:lnTo>
                    <a:pt x="375" y="641"/>
                  </a:lnTo>
                  <a:lnTo>
                    <a:pt x="379" y="641"/>
                  </a:lnTo>
                  <a:lnTo>
                    <a:pt x="377" y="641"/>
                  </a:lnTo>
                  <a:lnTo>
                    <a:pt x="379" y="643"/>
                  </a:lnTo>
                  <a:lnTo>
                    <a:pt x="380" y="643"/>
                  </a:lnTo>
                  <a:lnTo>
                    <a:pt x="384" y="643"/>
                  </a:lnTo>
                  <a:lnTo>
                    <a:pt x="385" y="641"/>
                  </a:lnTo>
                  <a:lnTo>
                    <a:pt x="387" y="641"/>
                  </a:lnTo>
                  <a:lnTo>
                    <a:pt x="389" y="639"/>
                  </a:lnTo>
                  <a:lnTo>
                    <a:pt x="391" y="638"/>
                  </a:lnTo>
                  <a:lnTo>
                    <a:pt x="392" y="638"/>
                  </a:lnTo>
                  <a:lnTo>
                    <a:pt x="394" y="638"/>
                  </a:lnTo>
                  <a:lnTo>
                    <a:pt x="396" y="636"/>
                  </a:lnTo>
                  <a:lnTo>
                    <a:pt x="397" y="638"/>
                  </a:lnTo>
                  <a:lnTo>
                    <a:pt x="401" y="638"/>
                  </a:lnTo>
                  <a:lnTo>
                    <a:pt x="402" y="638"/>
                  </a:lnTo>
                  <a:lnTo>
                    <a:pt x="404" y="638"/>
                  </a:lnTo>
                  <a:lnTo>
                    <a:pt x="408" y="638"/>
                  </a:lnTo>
                  <a:lnTo>
                    <a:pt x="409" y="638"/>
                  </a:lnTo>
                  <a:lnTo>
                    <a:pt x="411" y="638"/>
                  </a:lnTo>
                  <a:lnTo>
                    <a:pt x="414" y="638"/>
                  </a:lnTo>
                  <a:lnTo>
                    <a:pt x="416" y="638"/>
                  </a:lnTo>
                  <a:lnTo>
                    <a:pt x="418" y="636"/>
                  </a:lnTo>
                  <a:lnTo>
                    <a:pt x="421" y="636"/>
                  </a:lnTo>
                  <a:lnTo>
                    <a:pt x="425" y="634"/>
                  </a:lnTo>
                  <a:lnTo>
                    <a:pt x="426" y="634"/>
                  </a:lnTo>
                  <a:lnTo>
                    <a:pt x="428" y="634"/>
                  </a:lnTo>
                  <a:lnTo>
                    <a:pt x="430" y="632"/>
                  </a:lnTo>
                  <a:lnTo>
                    <a:pt x="433" y="631"/>
                  </a:lnTo>
                  <a:lnTo>
                    <a:pt x="435" y="627"/>
                  </a:lnTo>
                  <a:lnTo>
                    <a:pt x="436" y="626"/>
                  </a:lnTo>
                  <a:lnTo>
                    <a:pt x="438" y="626"/>
                  </a:lnTo>
                  <a:lnTo>
                    <a:pt x="442" y="626"/>
                  </a:lnTo>
                  <a:lnTo>
                    <a:pt x="442" y="624"/>
                  </a:lnTo>
                  <a:lnTo>
                    <a:pt x="443" y="624"/>
                  </a:lnTo>
                  <a:lnTo>
                    <a:pt x="445" y="622"/>
                  </a:lnTo>
                  <a:lnTo>
                    <a:pt x="447" y="624"/>
                  </a:lnTo>
                  <a:lnTo>
                    <a:pt x="448" y="626"/>
                  </a:lnTo>
                  <a:lnTo>
                    <a:pt x="452" y="626"/>
                  </a:lnTo>
                  <a:lnTo>
                    <a:pt x="453" y="626"/>
                  </a:lnTo>
                  <a:lnTo>
                    <a:pt x="453" y="627"/>
                  </a:lnTo>
                  <a:lnTo>
                    <a:pt x="457" y="627"/>
                  </a:lnTo>
                  <a:lnTo>
                    <a:pt x="459" y="626"/>
                  </a:lnTo>
                  <a:lnTo>
                    <a:pt x="460" y="624"/>
                  </a:lnTo>
                  <a:lnTo>
                    <a:pt x="462" y="622"/>
                  </a:lnTo>
                  <a:lnTo>
                    <a:pt x="462" y="621"/>
                  </a:lnTo>
                  <a:lnTo>
                    <a:pt x="464" y="621"/>
                  </a:lnTo>
                  <a:lnTo>
                    <a:pt x="464" y="617"/>
                  </a:lnTo>
                  <a:lnTo>
                    <a:pt x="462" y="615"/>
                  </a:lnTo>
                  <a:lnTo>
                    <a:pt x="464" y="617"/>
                  </a:lnTo>
                  <a:lnTo>
                    <a:pt x="464" y="621"/>
                  </a:lnTo>
                  <a:lnTo>
                    <a:pt x="467" y="621"/>
                  </a:lnTo>
                  <a:lnTo>
                    <a:pt x="470" y="619"/>
                  </a:lnTo>
                  <a:lnTo>
                    <a:pt x="472" y="619"/>
                  </a:lnTo>
                  <a:lnTo>
                    <a:pt x="476" y="617"/>
                  </a:lnTo>
                  <a:lnTo>
                    <a:pt x="477" y="615"/>
                  </a:lnTo>
                  <a:lnTo>
                    <a:pt x="477" y="614"/>
                  </a:lnTo>
                  <a:lnTo>
                    <a:pt x="479" y="612"/>
                  </a:lnTo>
                  <a:lnTo>
                    <a:pt x="481" y="612"/>
                  </a:lnTo>
                  <a:close/>
                  <a:moveTo>
                    <a:pt x="127" y="413"/>
                  </a:moveTo>
                  <a:lnTo>
                    <a:pt x="129" y="415"/>
                  </a:lnTo>
                  <a:lnTo>
                    <a:pt x="129" y="416"/>
                  </a:lnTo>
                  <a:lnTo>
                    <a:pt x="129" y="418"/>
                  </a:lnTo>
                  <a:lnTo>
                    <a:pt x="129" y="415"/>
                  </a:lnTo>
                  <a:lnTo>
                    <a:pt x="130" y="416"/>
                  </a:lnTo>
                  <a:lnTo>
                    <a:pt x="132" y="418"/>
                  </a:lnTo>
                  <a:lnTo>
                    <a:pt x="132" y="416"/>
                  </a:lnTo>
                  <a:lnTo>
                    <a:pt x="134" y="416"/>
                  </a:lnTo>
                  <a:lnTo>
                    <a:pt x="134" y="418"/>
                  </a:lnTo>
                  <a:lnTo>
                    <a:pt x="137" y="418"/>
                  </a:lnTo>
                  <a:lnTo>
                    <a:pt x="136" y="420"/>
                  </a:lnTo>
                  <a:lnTo>
                    <a:pt x="137" y="420"/>
                  </a:lnTo>
                  <a:lnTo>
                    <a:pt x="137" y="422"/>
                  </a:lnTo>
                  <a:lnTo>
                    <a:pt x="137" y="423"/>
                  </a:lnTo>
                  <a:lnTo>
                    <a:pt x="139" y="422"/>
                  </a:lnTo>
                  <a:lnTo>
                    <a:pt x="141" y="422"/>
                  </a:lnTo>
                  <a:lnTo>
                    <a:pt x="142" y="420"/>
                  </a:lnTo>
                  <a:lnTo>
                    <a:pt x="142" y="422"/>
                  </a:lnTo>
                  <a:lnTo>
                    <a:pt x="144" y="422"/>
                  </a:lnTo>
                  <a:lnTo>
                    <a:pt x="142" y="423"/>
                  </a:lnTo>
                  <a:lnTo>
                    <a:pt x="144" y="423"/>
                  </a:lnTo>
                  <a:lnTo>
                    <a:pt x="144" y="425"/>
                  </a:lnTo>
                  <a:lnTo>
                    <a:pt x="142" y="425"/>
                  </a:lnTo>
                  <a:lnTo>
                    <a:pt x="142" y="427"/>
                  </a:lnTo>
                  <a:lnTo>
                    <a:pt x="142" y="428"/>
                  </a:lnTo>
                  <a:lnTo>
                    <a:pt x="141" y="430"/>
                  </a:lnTo>
                  <a:lnTo>
                    <a:pt x="142" y="430"/>
                  </a:lnTo>
                  <a:lnTo>
                    <a:pt x="142" y="428"/>
                  </a:lnTo>
                  <a:lnTo>
                    <a:pt x="144" y="428"/>
                  </a:lnTo>
                  <a:lnTo>
                    <a:pt x="144" y="430"/>
                  </a:lnTo>
                  <a:lnTo>
                    <a:pt x="146" y="430"/>
                  </a:lnTo>
                  <a:lnTo>
                    <a:pt x="147" y="430"/>
                  </a:lnTo>
                  <a:lnTo>
                    <a:pt x="149" y="432"/>
                  </a:lnTo>
                  <a:lnTo>
                    <a:pt x="147" y="430"/>
                  </a:lnTo>
                  <a:lnTo>
                    <a:pt x="146" y="432"/>
                  </a:lnTo>
                  <a:lnTo>
                    <a:pt x="146" y="433"/>
                  </a:lnTo>
                  <a:lnTo>
                    <a:pt x="144" y="435"/>
                  </a:lnTo>
                  <a:lnTo>
                    <a:pt x="144" y="437"/>
                  </a:lnTo>
                  <a:lnTo>
                    <a:pt x="142" y="435"/>
                  </a:lnTo>
                  <a:lnTo>
                    <a:pt x="141" y="437"/>
                  </a:lnTo>
                  <a:lnTo>
                    <a:pt x="142" y="437"/>
                  </a:lnTo>
                  <a:lnTo>
                    <a:pt x="141" y="437"/>
                  </a:lnTo>
                  <a:lnTo>
                    <a:pt x="142" y="437"/>
                  </a:lnTo>
                  <a:lnTo>
                    <a:pt x="144" y="437"/>
                  </a:lnTo>
                  <a:lnTo>
                    <a:pt x="146" y="439"/>
                  </a:lnTo>
                  <a:lnTo>
                    <a:pt x="147" y="437"/>
                  </a:lnTo>
                  <a:lnTo>
                    <a:pt x="149" y="437"/>
                  </a:lnTo>
                  <a:lnTo>
                    <a:pt x="147" y="439"/>
                  </a:lnTo>
                  <a:lnTo>
                    <a:pt x="149" y="440"/>
                  </a:lnTo>
                  <a:lnTo>
                    <a:pt x="149" y="442"/>
                  </a:lnTo>
                  <a:lnTo>
                    <a:pt x="151" y="440"/>
                  </a:lnTo>
                  <a:lnTo>
                    <a:pt x="153" y="442"/>
                  </a:lnTo>
                  <a:lnTo>
                    <a:pt x="151" y="444"/>
                  </a:lnTo>
                  <a:lnTo>
                    <a:pt x="151" y="445"/>
                  </a:lnTo>
                  <a:lnTo>
                    <a:pt x="149" y="447"/>
                  </a:lnTo>
                  <a:lnTo>
                    <a:pt x="151" y="449"/>
                  </a:lnTo>
                  <a:lnTo>
                    <a:pt x="153" y="449"/>
                  </a:lnTo>
                  <a:lnTo>
                    <a:pt x="153" y="452"/>
                  </a:lnTo>
                  <a:lnTo>
                    <a:pt x="154" y="452"/>
                  </a:lnTo>
                  <a:lnTo>
                    <a:pt x="154" y="454"/>
                  </a:lnTo>
                  <a:lnTo>
                    <a:pt x="154" y="457"/>
                  </a:lnTo>
                  <a:lnTo>
                    <a:pt x="154" y="461"/>
                  </a:lnTo>
                  <a:lnTo>
                    <a:pt x="156" y="462"/>
                  </a:lnTo>
                  <a:lnTo>
                    <a:pt x="156" y="464"/>
                  </a:lnTo>
                  <a:lnTo>
                    <a:pt x="158" y="464"/>
                  </a:lnTo>
                  <a:lnTo>
                    <a:pt x="158" y="467"/>
                  </a:lnTo>
                  <a:lnTo>
                    <a:pt x="158" y="469"/>
                  </a:lnTo>
                  <a:lnTo>
                    <a:pt x="156" y="471"/>
                  </a:lnTo>
                  <a:lnTo>
                    <a:pt x="156" y="473"/>
                  </a:lnTo>
                  <a:lnTo>
                    <a:pt x="154" y="474"/>
                  </a:lnTo>
                  <a:lnTo>
                    <a:pt x="153" y="476"/>
                  </a:lnTo>
                  <a:lnTo>
                    <a:pt x="151" y="478"/>
                  </a:lnTo>
                  <a:lnTo>
                    <a:pt x="151" y="479"/>
                  </a:lnTo>
                  <a:lnTo>
                    <a:pt x="149" y="479"/>
                  </a:lnTo>
                  <a:lnTo>
                    <a:pt x="147" y="483"/>
                  </a:lnTo>
                  <a:lnTo>
                    <a:pt x="147" y="484"/>
                  </a:lnTo>
                  <a:lnTo>
                    <a:pt x="147" y="486"/>
                  </a:lnTo>
                  <a:lnTo>
                    <a:pt x="147" y="490"/>
                  </a:lnTo>
                  <a:lnTo>
                    <a:pt x="149" y="490"/>
                  </a:lnTo>
                  <a:lnTo>
                    <a:pt x="149" y="493"/>
                  </a:lnTo>
                  <a:lnTo>
                    <a:pt x="151" y="495"/>
                  </a:lnTo>
                  <a:lnTo>
                    <a:pt x="153" y="496"/>
                  </a:lnTo>
                  <a:lnTo>
                    <a:pt x="153" y="500"/>
                  </a:lnTo>
                  <a:lnTo>
                    <a:pt x="151" y="500"/>
                  </a:lnTo>
                  <a:lnTo>
                    <a:pt x="151" y="503"/>
                  </a:lnTo>
                  <a:lnTo>
                    <a:pt x="151" y="507"/>
                  </a:lnTo>
                  <a:lnTo>
                    <a:pt x="153" y="508"/>
                  </a:lnTo>
                  <a:lnTo>
                    <a:pt x="151" y="510"/>
                  </a:lnTo>
                  <a:lnTo>
                    <a:pt x="151" y="512"/>
                  </a:lnTo>
                  <a:lnTo>
                    <a:pt x="151" y="513"/>
                  </a:lnTo>
                  <a:lnTo>
                    <a:pt x="149" y="515"/>
                  </a:lnTo>
                  <a:lnTo>
                    <a:pt x="149" y="519"/>
                  </a:lnTo>
                  <a:lnTo>
                    <a:pt x="149" y="520"/>
                  </a:lnTo>
                  <a:lnTo>
                    <a:pt x="149" y="524"/>
                  </a:lnTo>
                  <a:lnTo>
                    <a:pt x="149" y="527"/>
                  </a:lnTo>
                  <a:lnTo>
                    <a:pt x="147" y="527"/>
                  </a:lnTo>
                  <a:lnTo>
                    <a:pt x="149" y="529"/>
                  </a:lnTo>
                  <a:lnTo>
                    <a:pt x="149" y="530"/>
                  </a:lnTo>
                  <a:lnTo>
                    <a:pt x="149" y="534"/>
                  </a:lnTo>
                  <a:lnTo>
                    <a:pt x="147" y="536"/>
                  </a:lnTo>
                  <a:lnTo>
                    <a:pt x="147" y="537"/>
                  </a:lnTo>
                  <a:lnTo>
                    <a:pt x="147" y="539"/>
                  </a:lnTo>
                  <a:lnTo>
                    <a:pt x="147" y="542"/>
                  </a:lnTo>
                  <a:lnTo>
                    <a:pt x="146" y="546"/>
                  </a:lnTo>
                  <a:lnTo>
                    <a:pt x="146" y="549"/>
                  </a:lnTo>
                  <a:lnTo>
                    <a:pt x="144" y="547"/>
                  </a:lnTo>
                  <a:lnTo>
                    <a:pt x="146" y="551"/>
                  </a:lnTo>
                  <a:lnTo>
                    <a:pt x="146" y="549"/>
                  </a:lnTo>
                  <a:lnTo>
                    <a:pt x="146" y="551"/>
                  </a:lnTo>
                  <a:lnTo>
                    <a:pt x="147" y="553"/>
                  </a:lnTo>
                  <a:lnTo>
                    <a:pt x="146" y="553"/>
                  </a:lnTo>
                  <a:lnTo>
                    <a:pt x="144" y="556"/>
                  </a:lnTo>
                  <a:lnTo>
                    <a:pt x="144" y="559"/>
                  </a:lnTo>
                  <a:lnTo>
                    <a:pt x="144" y="561"/>
                  </a:lnTo>
                  <a:lnTo>
                    <a:pt x="142" y="564"/>
                  </a:lnTo>
                  <a:lnTo>
                    <a:pt x="141" y="566"/>
                  </a:lnTo>
                  <a:lnTo>
                    <a:pt x="141" y="568"/>
                  </a:lnTo>
                  <a:lnTo>
                    <a:pt x="141" y="566"/>
                  </a:lnTo>
                  <a:lnTo>
                    <a:pt x="141" y="564"/>
                  </a:lnTo>
                  <a:lnTo>
                    <a:pt x="139" y="564"/>
                  </a:lnTo>
                  <a:lnTo>
                    <a:pt x="136" y="564"/>
                  </a:lnTo>
                  <a:lnTo>
                    <a:pt x="134" y="564"/>
                  </a:lnTo>
                  <a:lnTo>
                    <a:pt x="132" y="561"/>
                  </a:lnTo>
                  <a:lnTo>
                    <a:pt x="130" y="559"/>
                  </a:lnTo>
                  <a:lnTo>
                    <a:pt x="129" y="559"/>
                  </a:lnTo>
                  <a:lnTo>
                    <a:pt x="125" y="558"/>
                  </a:lnTo>
                  <a:lnTo>
                    <a:pt x="124" y="558"/>
                  </a:lnTo>
                  <a:lnTo>
                    <a:pt x="122" y="559"/>
                  </a:lnTo>
                  <a:lnTo>
                    <a:pt x="122" y="561"/>
                  </a:lnTo>
                  <a:lnTo>
                    <a:pt x="120" y="561"/>
                  </a:lnTo>
                  <a:lnTo>
                    <a:pt x="119" y="559"/>
                  </a:lnTo>
                  <a:lnTo>
                    <a:pt x="117" y="559"/>
                  </a:lnTo>
                  <a:lnTo>
                    <a:pt x="117" y="556"/>
                  </a:lnTo>
                  <a:lnTo>
                    <a:pt x="115" y="556"/>
                  </a:lnTo>
                  <a:lnTo>
                    <a:pt x="115" y="554"/>
                  </a:lnTo>
                  <a:lnTo>
                    <a:pt x="113" y="554"/>
                  </a:lnTo>
                  <a:lnTo>
                    <a:pt x="115" y="558"/>
                  </a:lnTo>
                  <a:lnTo>
                    <a:pt x="117" y="558"/>
                  </a:lnTo>
                  <a:lnTo>
                    <a:pt x="117" y="559"/>
                  </a:lnTo>
                  <a:lnTo>
                    <a:pt x="115" y="558"/>
                  </a:lnTo>
                  <a:lnTo>
                    <a:pt x="117" y="559"/>
                  </a:lnTo>
                  <a:lnTo>
                    <a:pt x="115" y="559"/>
                  </a:lnTo>
                  <a:lnTo>
                    <a:pt x="113" y="563"/>
                  </a:lnTo>
                  <a:lnTo>
                    <a:pt x="112" y="564"/>
                  </a:lnTo>
                  <a:lnTo>
                    <a:pt x="113" y="568"/>
                  </a:lnTo>
                  <a:lnTo>
                    <a:pt x="115" y="570"/>
                  </a:lnTo>
                  <a:lnTo>
                    <a:pt x="113" y="573"/>
                  </a:lnTo>
                  <a:lnTo>
                    <a:pt x="113" y="575"/>
                  </a:lnTo>
                  <a:lnTo>
                    <a:pt x="112" y="575"/>
                  </a:lnTo>
                  <a:lnTo>
                    <a:pt x="112" y="576"/>
                  </a:lnTo>
                  <a:lnTo>
                    <a:pt x="110" y="576"/>
                  </a:lnTo>
                  <a:lnTo>
                    <a:pt x="107" y="580"/>
                  </a:lnTo>
                  <a:lnTo>
                    <a:pt x="103" y="583"/>
                  </a:lnTo>
                  <a:lnTo>
                    <a:pt x="102" y="580"/>
                  </a:lnTo>
                  <a:lnTo>
                    <a:pt x="100" y="581"/>
                  </a:lnTo>
                  <a:lnTo>
                    <a:pt x="100" y="580"/>
                  </a:lnTo>
                  <a:lnTo>
                    <a:pt x="98" y="580"/>
                  </a:lnTo>
                  <a:lnTo>
                    <a:pt x="96" y="578"/>
                  </a:lnTo>
                  <a:lnTo>
                    <a:pt x="96" y="580"/>
                  </a:lnTo>
                  <a:lnTo>
                    <a:pt x="93" y="580"/>
                  </a:lnTo>
                  <a:lnTo>
                    <a:pt x="93" y="581"/>
                  </a:lnTo>
                  <a:lnTo>
                    <a:pt x="91" y="581"/>
                  </a:lnTo>
                  <a:lnTo>
                    <a:pt x="93" y="583"/>
                  </a:lnTo>
                  <a:lnTo>
                    <a:pt x="91" y="583"/>
                  </a:lnTo>
                  <a:lnTo>
                    <a:pt x="91" y="581"/>
                  </a:lnTo>
                  <a:lnTo>
                    <a:pt x="90" y="581"/>
                  </a:lnTo>
                  <a:lnTo>
                    <a:pt x="91" y="580"/>
                  </a:lnTo>
                  <a:lnTo>
                    <a:pt x="91" y="578"/>
                  </a:lnTo>
                  <a:lnTo>
                    <a:pt x="90" y="576"/>
                  </a:lnTo>
                  <a:lnTo>
                    <a:pt x="88" y="575"/>
                  </a:lnTo>
                  <a:lnTo>
                    <a:pt x="88" y="573"/>
                  </a:lnTo>
                  <a:lnTo>
                    <a:pt x="88" y="571"/>
                  </a:lnTo>
                  <a:lnTo>
                    <a:pt x="85" y="570"/>
                  </a:lnTo>
                  <a:lnTo>
                    <a:pt x="83" y="570"/>
                  </a:lnTo>
                  <a:lnTo>
                    <a:pt x="83" y="566"/>
                  </a:lnTo>
                  <a:lnTo>
                    <a:pt x="83" y="564"/>
                  </a:lnTo>
                  <a:lnTo>
                    <a:pt x="81" y="564"/>
                  </a:lnTo>
                  <a:lnTo>
                    <a:pt x="81" y="563"/>
                  </a:lnTo>
                  <a:lnTo>
                    <a:pt x="79" y="561"/>
                  </a:lnTo>
                  <a:lnTo>
                    <a:pt x="79" y="563"/>
                  </a:lnTo>
                  <a:lnTo>
                    <a:pt x="79" y="559"/>
                  </a:lnTo>
                  <a:lnTo>
                    <a:pt x="78" y="558"/>
                  </a:lnTo>
                  <a:lnTo>
                    <a:pt x="78" y="556"/>
                  </a:lnTo>
                  <a:lnTo>
                    <a:pt x="79" y="556"/>
                  </a:lnTo>
                  <a:lnTo>
                    <a:pt x="79" y="554"/>
                  </a:lnTo>
                  <a:lnTo>
                    <a:pt x="81" y="553"/>
                  </a:lnTo>
                  <a:lnTo>
                    <a:pt x="79" y="549"/>
                  </a:lnTo>
                  <a:lnTo>
                    <a:pt x="78" y="546"/>
                  </a:lnTo>
                  <a:lnTo>
                    <a:pt x="79" y="542"/>
                  </a:lnTo>
                  <a:lnTo>
                    <a:pt x="78" y="541"/>
                  </a:lnTo>
                  <a:lnTo>
                    <a:pt x="78" y="539"/>
                  </a:lnTo>
                  <a:lnTo>
                    <a:pt x="79" y="539"/>
                  </a:lnTo>
                  <a:lnTo>
                    <a:pt x="81" y="536"/>
                  </a:lnTo>
                  <a:lnTo>
                    <a:pt x="83" y="532"/>
                  </a:lnTo>
                  <a:lnTo>
                    <a:pt x="83" y="530"/>
                  </a:lnTo>
                  <a:lnTo>
                    <a:pt x="83" y="527"/>
                  </a:lnTo>
                  <a:lnTo>
                    <a:pt x="83" y="525"/>
                  </a:lnTo>
                  <a:lnTo>
                    <a:pt x="81" y="524"/>
                  </a:lnTo>
                  <a:lnTo>
                    <a:pt x="83" y="522"/>
                  </a:lnTo>
                  <a:lnTo>
                    <a:pt x="83" y="519"/>
                  </a:lnTo>
                  <a:lnTo>
                    <a:pt x="83" y="520"/>
                  </a:lnTo>
                  <a:lnTo>
                    <a:pt x="85" y="522"/>
                  </a:lnTo>
                  <a:lnTo>
                    <a:pt x="86" y="524"/>
                  </a:lnTo>
                  <a:lnTo>
                    <a:pt x="88" y="524"/>
                  </a:lnTo>
                  <a:lnTo>
                    <a:pt x="88" y="522"/>
                  </a:lnTo>
                  <a:lnTo>
                    <a:pt x="86" y="524"/>
                  </a:lnTo>
                  <a:lnTo>
                    <a:pt x="85" y="522"/>
                  </a:lnTo>
                  <a:lnTo>
                    <a:pt x="86" y="520"/>
                  </a:lnTo>
                  <a:lnTo>
                    <a:pt x="88" y="519"/>
                  </a:lnTo>
                  <a:lnTo>
                    <a:pt x="86" y="520"/>
                  </a:lnTo>
                  <a:lnTo>
                    <a:pt x="86" y="519"/>
                  </a:lnTo>
                  <a:lnTo>
                    <a:pt x="88" y="517"/>
                  </a:lnTo>
                  <a:lnTo>
                    <a:pt x="88" y="513"/>
                  </a:lnTo>
                  <a:lnTo>
                    <a:pt x="88" y="512"/>
                  </a:lnTo>
                  <a:lnTo>
                    <a:pt x="90" y="512"/>
                  </a:lnTo>
                  <a:lnTo>
                    <a:pt x="88" y="512"/>
                  </a:lnTo>
                  <a:lnTo>
                    <a:pt x="88" y="510"/>
                  </a:lnTo>
                  <a:lnTo>
                    <a:pt x="90" y="512"/>
                  </a:lnTo>
                  <a:lnTo>
                    <a:pt x="88" y="510"/>
                  </a:lnTo>
                  <a:lnTo>
                    <a:pt x="86" y="508"/>
                  </a:lnTo>
                  <a:lnTo>
                    <a:pt x="85" y="508"/>
                  </a:lnTo>
                  <a:lnTo>
                    <a:pt x="86" y="507"/>
                  </a:lnTo>
                  <a:lnTo>
                    <a:pt x="85" y="505"/>
                  </a:lnTo>
                  <a:lnTo>
                    <a:pt x="86" y="503"/>
                  </a:lnTo>
                  <a:lnTo>
                    <a:pt x="86" y="502"/>
                  </a:lnTo>
                  <a:lnTo>
                    <a:pt x="86" y="503"/>
                  </a:lnTo>
                  <a:lnTo>
                    <a:pt x="85" y="503"/>
                  </a:lnTo>
                  <a:lnTo>
                    <a:pt x="83" y="507"/>
                  </a:lnTo>
                  <a:lnTo>
                    <a:pt x="85" y="507"/>
                  </a:lnTo>
                  <a:lnTo>
                    <a:pt x="86" y="507"/>
                  </a:lnTo>
                  <a:lnTo>
                    <a:pt x="85" y="508"/>
                  </a:lnTo>
                  <a:lnTo>
                    <a:pt x="83" y="508"/>
                  </a:lnTo>
                  <a:lnTo>
                    <a:pt x="85" y="508"/>
                  </a:lnTo>
                  <a:lnTo>
                    <a:pt x="83" y="508"/>
                  </a:lnTo>
                  <a:lnTo>
                    <a:pt x="83" y="510"/>
                  </a:lnTo>
                  <a:lnTo>
                    <a:pt x="85" y="508"/>
                  </a:lnTo>
                  <a:lnTo>
                    <a:pt x="83" y="510"/>
                  </a:lnTo>
                  <a:lnTo>
                    <a:pt x="81" y="512"/>
                  </a:lnTo>
                  <a:lnTo>
                    <a:pt x="81" y="510"/>
                  </a:lnTo>
                  <a:lnTo>
                    <a:pt x="79" y="508"/>
                  </a:lnTo>
                  <a:lnTo>
                    <a:pt x="79" y="505"/>
                  </a:lnTo>
                  <a:lnTo>
                    <a:pt x="79" y="503"/>
                  </a:lnTo>
                  <a:lnTo>
                    <a:pt x="81" y="500"/>
                  </a:lnTo>
                  <a:lnTo>
                    <a:pt x="79" y="500"/>
                  </a:lnTo>
                  <a:lnTo>
                    <a:pt x="81" y="498"/>
                  </a:lnTo>
                  <a:lnTo>
                    <a:pt x="83" y="498"/>
                  </a:lnTo>
                  <a:lnTo>
                    <a:pt x="85" y="496"/>
                  </a:lnTo>
                  <a:lnTo>
                    <a:pt x="85" y="495"/>
                  </a:lnTo>
                  <a:lnTo>
                    <a:pt x="85" y="493"/>
                  </a:lnTo>
                  <a:lnTo>
                    <a:pt x="83" y="491"/>
                  </a:lnTo>
                  <a:lnTo>
                    <a:pt x="83" y="490"/>
                  </a:lnTo>
                  <a:lnTo>
                    <a:pt x="85" y="488"/>
                  </a:lnTo>
                  <a:lnTo>
                    <a:pt x="85" y="484"/>
                  </a:lnTo>
                  <a:lnTo>
                    <a:pt x="85" y="483"/>
                  </a:lnTo>
                  <a:lnTo>
                    <a:pt x="85" y="481"/>
                  </a:lnTo>
                  <a:lnTo>
                    <a:pt x="86" y="481"/>
                  </a:lnTo>
                  <a:lnTo>
                    <a:pt x="85" y="481"/>
                  </a:lnTo>
                  <a:lnTo>
                    <a:pt x="85" y="479"/>
                  </a:lnTo>
                  <a:lnTo>
                    <a:pt x="83" y="478"/>
                  </a:lnTo>
                  <a:lnTo>
                    <a:pt x="79" y="478"/>
                  </a:lnTo>
                  <a:lnTo>
                    <a:pt x="79" y="476"/>
                  </a:lnTo>
                  <a:lnTo>
                    <a:pt x="81" y="473"/>
                  </a:lnTo>
                  <a:lnTo>
                    <a:pt x="81" y="471"/>
                  </a:lnTo>
                  <a:lnTo>
                    <a:pt x="79" y="469"/>
                  </a:lnTo>
                  <a:lnTo>
                    <a:pt x="79" y="466"/>
                  </a:lnTo>
                  <a:lnTo>
                    <a:pt x="78" y="466"/>
                  </a:lnTo>
                  <a:lnTo>
                    <a:pt x="76" y="462"/>
                  </a:lnTo>
                  <a:lnTo>
                    <a:pt x="76" y="461"/>
                  </a:lnTo>
                  <a:lnTo>
                    <a:pt x="74" y="459"/>
                  </a:lnTo>
                  <a:lnTo>
                    <a:pt x="76" y="459"/>
                  </a:lnTo>
                  <a:lnTo>
                    <a:pt x="73" y="459"/>
                  </a:lnTo>
                  <a:lnTo>
                    <a:pt x="73" y="461"/>
                  </a:lnTo>
                  <a:lnTo>
                    <a:pt x="71" y="461"/>
                  </a:lnTo>
                  <a:lnTo>
                    <a:pt x="71" y="459"/>
                  </a:lnTo>
                  <a:lnTo>
                    <a:pt x="69" y="457"/>
                  </a:lnTo>
                  <a:lnTo>
                    <a:pt x="69" y="459"/>
                  </a:lnTo>
                  <a:lnTo>
                    <a:pt x="68" y="461"/>
                  </a:lnTo>
                  <a:lnTo>
                    <a:pt x="68" y="459"/>
                  </a:lnTo>
                  <a:lnTo>
                    <a:pt x="68" y="457"/>
                  </a:lnTo>
                  <a:lnTo>
                    <a:pt x="69" y="456"/>
                  </a:lnTo>
                  <a:lnTo>
                    <a:pt x="71" y="452"/>
                  </a:lnTo>
                  <a:lnTo>
                    <a:pt x="69" y="452"/>
                  </a:lnTo>
                  <a:lnTo>
                    <a:pt x="69" y="450"/>
                  </a:lnTo>
                  <a:lnTo>
                    <a:pt x="68" y="449"/>
                  </a:lnTo>
                  <a:lnTo>
                    <a:pt x="68" y="447"/>
                  </a:lnTo>
                  <a:lnTo>
                    <a:pt x="69" y="447"/>
                  </a:lnTo>
                  <a:lnTo>
                    <a:pt x="69" y="444"/>
                  </a:lnTo>
                  <a:lnTo>
                    <a:pt x="71" y="442"/>
                  </a:lnTo>
                  <a:lnTo>
                    <a:pt x="71" y="440"/>
                  </a:lnTo>
                  <a:lnTo>
                    <a:pt x="73" y="439"/>
                  </a:lnTo>
                  <a:lnTo>
                    <a:pt x="73" y="437"/>
                  </a:lnTo>
                  <a:lnTo>
                    <a:pt x="71" y="437"/>
                  </a:lnTo>
                  <a:lnTo>
                    <a:pt x="69" y="435"/>
                  </a:lnTo>
                  <a:lnTo>
                    <a:pt x="71" y="432"/>
                  </a:lnTo>
                  <a:lnTo>
                    <a:pt x="73" y="433"/>
                  </a:lnTo>
                  <a:lnTo>
                    <a:pt x="73" y="437"/>
                  </a:lnTo>
                  <a:lnTo>
                    <a:pt x="73" y="439"/>
                  </a:lnTo>
                  <a:lnTo>
                    <a:pt x="74" y="439"/>
                  </a:lnTo>
                  <a:lnTo>
                    <a:pt x="76" y="442"/>
                  </a:lnTo>
                  <a:lnTo>
                    <a:pt x="78" y="442"/>
                  </a:lnTo>
                  <a:lnTo>
                    <a:pt x="79" y="440"/>
                  </a:lnTo>
                  <a:lnTo>
                    <a:pt x="81" y="440"/>
                  </a:lnTo>
                  <a:lnTo>
                    <a:pt x="79" y="440"/>
                  </a:lnTo>
                  <a:lnTo>
                    <a:pt x="79" y="442"/>
                  </a:lnTo>
                  <a:lnTo>
                    <a:pt x="81" y="440"/>
                  </a:lnTo>
                  <a:lnTo>
                    <a:pt x="81" y="442"/>
                  </a:lnTo>
                  <a:lnTo>
                    <a:pt x="83" y="442"/>
                  </a:lnTo>
                  <a:lnTo>
                    <a:pt x="85" y="444"/>
                  </a:lnTo>
                  <a:lnTo>
                    <a:pt x="86" y="444"/>
                  </a:lnTo>
                  <a:lnTo>
                    <a:pt x="88" y="444"/>
                  </a:lnTo>
                  <a:lnTo>
                    <a:pt x="90" y="442"/>
                  </a:lnTo>
                  <a:lnTo>
                    <a:pt x="91" y="442"/>
                  </a:lnTo>
                  <a:lnTo>
                    <a:pt x="93" y="440"/>
                  </a:lnTo>
                  <a:lnTo>
                    <a:pt x="95" y="439"/>
                  </a:lnTo>
                  <a:lnTo>
                    <a:pt x="96" y="437"/>
                  </a:lnTo>
                  <a:lnTo>
                    <a:pt x="98" y="437"/>
                  </a:lnTo>
                  <a:lnTo>
                    <a:pt x="102" y="437"/>
                  </a:lnTo>
                  <a:lnTo>
                    <a:pt x="103" y="435"/>
                  </a:lnTo>
                  <a:lnTo>
                    <a:pt x="105" y="433"/>
                  </a:lnTo>
                  <a:lnTo>
                    <a:pt x="107" y="432"/>
                  </a:lnTo>
                  <a:lnTo>
                    <a:pt x="107" y="428"/>
                  </a:lnTo>
                  <a:lnTo>
                    <a:pt x="110" y="428"/>
                  </a:lnTo>
                  <a:lnTo>
                    <a:pt x="110" y="427"/>
                  </a:lnTo>
                  <a:lnTo>
                    <a:pt x="113" y="425"/>
                  </a:lnTo>
                  <a:lnTo>
                    <a:pt x="115" y="422"/>
                  </a:lnTo>
                  <a:lnTo>
                    <a:pt x="117" y="422"/>
                  </a:lnTo>
                  <a:lnTo>
                    <a:pt x="119" y="422"/>
                  </a:lnTo>
                  <a:lnTo>
                    <a:pt x="120" y="420"/>
                  </a:lnTo>
                  <a:lnTo>
                    <a:pt x="124" y="418"/>
                  </a:lnTo>
                  <a:lnTo>
                    <a:pt x="122" y="416"/>
                  </a:lnTo>
                  <a:lnTo>
                    <a:pt x="124" y="415"/>
                  </a:lnTo>
                  <a:lnTo>
                    <a:pt x="122" y="415"/>
                  </a:lnTo>
                  <a:lnTo>
                    <a:pt x="122" y="413"/>
                  </a:lnTo>
                  <a:lnTo>
                    <a:pt x="124" y="415"/>
                  </a:lnTo>
                  <a:lnTo>
                    <a:pt x="125" y="413"/>
                  </a:lnTo>
                  <a:lnTo>
                    <a:pt x="124" y="415"/>
                  </a:lnTo>
                  <a:lnTo>
                    <a:pt x="127" y="413"/>
                  </a:lnTo>
                  <a:close/>
                  <a:moveTo>
                    <a:pt x="190" y="299"/>
                  </a:moveTo>
                  <a:lnTo>
                    <a:pt x="190" y="302"/>
                  </a:lnTo>
                  <a:lnTo>
                    <a:pt x="190" y="304"/>
                  </a:lnTo>
                  <a:lnTo>
                    <a:pt x="188" y="306"/>
                  </a:lnTo>
                  <a:lnTo>
                    <a:pt x="190" y="308"/>
                  </a:lnTo>
                  <a:lnTo>
                    <a:pt x="190" y="309"/>
                  </a:lnTo>
                  <a:lnTo>
                    <a:pt x="187" y="309"/>
                  </a:lnTo>
                  <a:lnTo>
                    <a:pt x="187" y="306"/>
                  </a:lnTo>
                  <a:lnTo>
                    <a:pt x="185" y="306"/>
                  </a:lnTo>
                  <a:lnTo>
                    <a:pt x="185" y="308"/>
                  </a:lnTo>
                  <a:lnTo>
                    <a:pt x="183" y="306"/>
                  </a:lnTo>
                  <a:lnTo>
                    <a:pt x="183" y="308"/>
                  </a:lnTo>
                  <a:lnTo>
                    <a:pt x="180" y="308"/>
                  </a:lnTo>
                  <a:lnTo>
                    <a:pt x="178" y="308"/>
                  </a:lnTo>
                  <a:lnTo>
                    <a:pt x="176" y="309"/>
                  </a:lnTo>
                  <a:lnTo>
                    <a:pt x="175" y="308"/>
                  </a:lnTo>
                  <a:lnTo>
                    <a:pt x="173" y="306"/>
                  </a:lnTo>
                  <a:lnTo>
                    <a:pt x="173" y="304"/>
                  </a:lnTo>
                  <a:lnTo>
                    <a:pt x="175" y="302"/>
                  </a:lnTo>
                  <a:lnTo>
                    <a:pt x="178" y="302"/>
                  </a:lnTo>
                  <a:lnTo>
                    <a:pt x="180" y="304"/>
                  </a:lnTo>
                  <a:lnTo>
                    <a:pt x="181" y="302"/>
                  </a:lnTo>
                  <a:lnTo>
                    <a:pt x="181" y="301"/>
                  </a:lnTo>
                  <a:lnTo>
                    <a:pt x="183" y="302"/>
                  </a:lnTo>
                  <a:lnTo>
                    <a:pt x="185" y="302"/>
                  </a:lnTo>
                  <a:lnTo>
                    <a:pt x="187" y="302"/>
                  </a:lnTo>
                  <a:lnTo>
                    <a:pt x="187" y="301"/>
                  </a:lnTo>
                  <a:lnTo>
                    <a:pt x="188" y="299"/>
                  </a:lnTo>
                  <a:lnTo>
                    <a:pt x="188" y="297"/>
                  </a:lnTo>
                  <a:lnTo>
                    <a:pt x="190" y="299"/>
                  </a:lnTo>
                  <a:close/>
                  <a:moveTo>
                    <a:pt x="78" y="564"/>
                  </a:moveTo>
                  <a:lnTo>
                    <a:pt x="78" y="566"/>
                  </a:lnTo>
                  <a:lnTo>
                    <a:pt x="79" y="566"/>
                  </a:lnTo>
                  <a:lnTo>
                    <a:pt x="81" y="568"/>
                  </a:lnTo>
                  <a:lnTo>
                    <a:pt x="83" y="570"/>
                  </a:lnTo>
                  <a:lnTo>
                    <a:pt x="81" y="571"/>
                  </a:lnTo>
                  <a:lnTo>
                    <a:pt x="81" y="575"/>
                  </a:lnTo>
                  <a:lnTo>
                    <a:pt x="79" y="576"/>
                  </a:lnTo>
                  <a:lnTo>
                    <a:pt x="78" y="573"/>
                  </a:lnTo>
                  <a:lnTo>
                    <a:pt x="76" y="571"/>
                  </a:lnTo>
                  <a:lnTo>
                    <a:pt x="76" y="568"/>
                  </a:lnTo>
                  <a:lnTo>
                    <a:pt x="78" y="564"/>
                  </a:lnTo>
                  <a:close/>
                  <a:moveTo>
                    <a:pt x="282" y="728"/>
                  </a:moveTo>
                  <a:lnTo>
                    <a:pt x="283" y="729"/>
                  </a:lnTo>
                  <a:lnTo>
                    <a:pt x="287" y="731"/>
                  </a:lnTo>
                  <a:lnTo>
                    <a:pt x="287" y="735"/>
                  </a:lnTo>
                  <a:lnTo>
                    <a:pt x="285" y="736"/>
                  </a:lnTo>
                  <a:lnTo>
                    <a:pt x="283" y="736"/>
                  </a:lnTo>
                  <a:lnTo>
                    <a:pt x="282" y="733"/>
                  </a:lnTo>
                  <a:lnTo>
                    <a:pt x="280" y="731"/>
                  </a:lnTo>
                  <a:lnTo>
                    <a:pt x="280" y="729"/>
                  </a:lnTo>
                  <a:lnTo>
                    <a:pt x="282" y="728"/>
                  </a:lnTo>
                  <a:close/>
                  <a:moveTo>
                    <a:pt x="78" y="422"/>
                  </a:moveTo>
                  <a:lnTo>
                    <a:pt x="79" y="423"/>
                  </a:lnTo>
                  <a:lnTo>
                    <a:pt x="78" y="427"/>
                  </a:lnTo>
                  <a:lnTo>
                    <a:pt x="76" y="425"/>
                  </a:lnTo>
                  <a:lnTo>
                    <a:pt x="74" y="427"/>
                  </a:lnTo>
                  <a:lnTo>
                    <a:pt x="73" y="428"/>
                  </a:lnTo>
                  <a:lnTo>
                    <a:pt x="74" y="430"/>
                  </a:lnTo>
                  <a:lnTo>
                    <a:pt x="74" y="432"/>
                  </a:lnTo>
                  <a:lnTo>
                    <a:pt x="73" y="430"/>
                  </a:lnTo>
                  <a:lnTo>
                    <a:pt x="73" y="432"/>
                  </a:lnTo>
                  <a:lnTo>
                    <a:pt x="73" y="430"/>
                  </a:lnTo>
                  <a:lnTo>
                    <a:pt x="71" y="430"/>
                  </a:lnTo>
                  <a:lnTo>
                    <a:pt x="73" y="428"/>
                  </a:lnTo>
                  <a:lnTo>
                    <a:pt x="73" y="427"/>
                  </a:lnTo>
                  <a:lnTo>
                    <a:pt x="74" y="427"/>
                  </a:lnTo>
                  <a:lnTo>
                    <a:pt x="74" y="425"/>
                  </a:lnTo>
                  <a:lnTo>
                    <a:pt x="76" y="425"/>
                  </a:lnTo>
                  <a:lnTo>
                    <a:pt x="76" y="423"/>
                  </a:lnTo>
                  <a:lnTo>
                    <a:pt x="78" y="422"/>
                  </a:lnTo>
                  <a:close/>
                  <a:moveTo>
                    <a:pt x="74" y="559"/>
                  </a:moveTo>
                  <a:lnTo>
                    <a:pt x="74" y="563"/>
                  </a:lnTo>
                  <a:lnTo>
                    <a:pt x="74" y="566"/>
                  </a:lnTo>
                  <a:lnTo>
                    <a:pt x="71" y="566"/>
                  </a:lnTo>
                  <a:lnTo>
                    <a:pt x="71" y="564"/>
                  </a:lnTo>
                  <a:lnTo>
                    <a:pt x="69" y="563"/>
                  </a:lnTo>
                  <a:lnTo>
                    <a:pt x="69" y="561"/>
                  </a:lnTo>
                  <a:lnTo>
                    <a:pt x="71" y="559"/>
                  </a:lnTo>
                  <a:lnTo>
                    <a:pt x="74" y="559"/>
                  </a:lnTo>
                  <a:close/>
                  <a:moveTo>
                    <a:pt x="377" y="442"/>
                  </a:moveTo>
                  <a:lnTo>
                    <a:pt x="377" y="444"/>
                  </a:lnTo>
                  <a:lnTo>
                    <a:pt x="380" y="444"/>
                  </a:lnTo>
                  <a:lnTo>
                    <a:pt x="382" y="444"/>
                  </a:lnTo>
                  <a:lnTo>
                    <a:pt x="382" y="447"/>
                  </a:lnTo>
                  <a:lnTo>
                    <a:pt x="379" y="447"/>
                  </a:lnTo>
                  <a:lnTo>
                    <a:pt x="375" y="447"/>
                  </a:lnTo>
                  <a:lnTo>
                    <a:pt x="375" y="444"/>
                  </a:lnTo>
                  <a:lnTo>
                    <a:pt x="377" y="442"/>
                  </a:lnTo>
                  <a:close/>
                  <a:moveTo>
                    <a:pt x="447" y="598"/>
                  </a:moveTo>
                  <a:lnTo>
                    <a:pt x="447" y="602"/>
                  </a:lnTo>
                  <a:lnTo>
                    <a:pt x="448" y="602"/>
                  </a:lnTo>
                  <a:lnTo>
                    <a:pt x="447" y="602"/>
                  </a:lnTo>
                  <a:lnTo>
                    <a:pt x="447" y="605"/>
                  </a:lnTo>
                  <a:lnTo>
                    <a:pt x="443" y="604"/>
                  </a:lnTo>
                  <a:lnTo>
                    <a:pt x="443" y="602"/>
                  </a:lnTo>
                  <a:lnTo>
                    <a:pt x="443" y="600"/>
                  </a:lnTo>
                  <a:lnTo>
                    <a:pt x="447" y="598"/>
                  </a:lnTo>
                  <a:close/>
                  <a:moveTo>
                    <a:pt x="438" y="595"/>
                  </a:moveTo>
                  <a:lnTo>
                    <a:pt x="442" y="595"/>
                  </a:lnTo>
                  <a:lnTo>
                    <a:pt x="442" y="598"/>
                  </a:lnTo>
                  <a:lnTo>
                    <a:pt x="440" y="598"/>
                  </a:lnTo>
                  <a:lnTo>
                    <a:pt x="438" y="597"/>
                  </a:lnTo>
                  <a:lnTo>
                    <a:pt x="436" y="597"/>
                  </a:lnTo>
                  <a:lnTo>
                    <a:pt x="438" y="595"/>
                  </a:lnTo>
                  <a:close/>
                  <a:moveTo>
                    <a:pt x="214" y="331"/>
                  </a:moveTo>
                  <a:lnTo>
                    <a:pt x="215" y="333"/>
                  </a:lnTo>
                  <a:lnTo>
                    <a:pt x="217" y="335"/>
                  </a:lnTo>
                  <a:lnTo>
                    <a:pt x="215" y="337"/>
                  </a:lnTo>
                  <a:lnTo>
                    <a:pt x="214" y="335"/>
                  </a:lnTo>
                  <a:lnTo>
                    <a:pt x="214" y="331"/>
                  </a:lnTo>
                  <a:close/>
                  <a:moveTo>
                    <a:pt x="137" y="411"/>
                  </a:moveTo>
                  <a:lnTo>
                    <a:pt x="137" y="413"/>
                  </a:lnTo>
                  <a:lnTo>
                    <a:pt x="137" y="415"/>
                  </a:lnTo>
                  <a:lnTo>
                    <a:pt x="139" y="415"/>
                  </a:lnTo>
                  <a:lnTo>
                    <a:pt x="137" y="416"/>
                  </a:lnTo>
                  <a:lnTo>
                    <a:pt x="134" y="416"/>
                  </a:lnTo>
                  <a:lnTo>
                    <a:pt x="134" y="415"/>
                  </a:lnTo>
                  <a:lnTo>
                    <a:pt x="136" y="413"/>
                  </a:lnTo>
                  <a:lnTo>
                    <a:pt x="137" y="411"/>
                  </a:lnTo>
                  <a:close/>
                  <a:moveTo>
                    <a:pt x="447" y="607"/>
                  </a:moveTo>
                  <a:lnTo>
                    <a:pt x="448" y="607"/>
                  </a:lnTo>
                  <a:lnTo>
                    <a:pt x="450" y="610"/>
                  </a:lnTo>
                  <a:lnTo>
                    <a:pt x="447" y="609"/>
                  </a:lnTo>
                  <a:lnTo>
                    <a:pt x="445" y="607"/>
                  </a:lnTo>
                  <a:lnTo>
                    <a:pt x="447" y="605"/>
                  </a:lnTo>
                  <a:lnTo>
                    <a:pt x="447" y="607"/>
                  </a:lnTo>
                  <a:close/>
                  <a:moveTo>
                    <a:pt x="159" y="284"/>
                  </a:moveTo>
                  <a:lnTo>
                    <a:pt x="159" y="285"/>
                  </a:lnTo>
                  <a:lnTo>
                    <a:pt x="159" y="287"/>
                  </a:lnTo>
                  <a:lnTo>
                    <a:pt x="158" y="289"/>
                  </a:lnTo>
                  <a:lnTo>
                    <a:pt x="158" y="287"/>
                  </a:lnTo>
                  <a:lnTo>
                    <a:pt x="158" y="285"/>
                  </a:lnTo>
                  <a:lnTo>
                    <a:pt x="159" y="284"/>
                  </a:lnTo>
                  <a:close/>
                  <a:moveTo>
                    <a:pt x="299" y="648"/>
                  </a:moveTo>
                  <a:lnTo>
                    <a:pt x="300" y="650"/>
                  </a:lnTo>
                  <a:lnTo>
                    <a:pt x="300" y="648"/>
                  </a:lnTo>
                  <a:lnTo>
                    <a:pt x="302" y="650"/>
                  </a:lnTo>
                  <a:lnTo>
                    <a:pt x="302" y="651"/>
                  </a:lnTo>
                  <a:lnTo>
                    <a:pt x="300" y="650"/>
                  </a:lnTo>
                  <a:lnTo>
                    <a:pt x="297" y="650"/>
                  </a:lnTo>
                  <a:lnTo>
                    <a:pt x="297" y="648"/>
                  </a:lnTo>
                  <a:lnTo>
                    <a:pt x="299" y="648"/>
                  </a:lnTo>
                  <a:close/>
                  <a:moveTo>
                    <a:pt x="317" y="823"/>
                  </a:moveTo>
                  <a:lnTo>
                    <a:pt x="321" y="823"/>
                  </a:lnTo>
                  <a:lnTo>
                    <a:pt x="323" y="823"/>
                  </a:lnTo>
                  <a:lnTo>
                    <a:pt x="324" y="825"/>
                  </a:lnTo>
                  <a:lnTo>
                    <a:pt x="323" y="825"/>
                  </a:lnTo>
                  <a:lnTo>
                    <a:pt x="321" y="825"/>
                  </a:lnTo>
                  <a:lnTo>
                    <a:pt x="319" y="823"/>
                  </a:lnTo>
                  <a:lnTo>
                    <a:pt x="317" y="823"/>
                  </a:lnTo>
                  <a:close/>
                  <a:moveTo>
                    <a:pt x="139" y="413"/>
                  </a:moveTo>
                  <a:lnTo>
                    <a:pt x="141" y="415"/>
                  </a:lnTo>
                  <a:lnTo>
                    <a:pt x="139" y="418"/>
                  </a:lnTo>
                  <a:lnTo>
                    <a:pt x="141" y="418"/>
                  </a:lnTo>
                  <a:lnTo>
                    <a:pt x="139" y="420"/>
                  </a:lnTo>
                  <a:lnTo>
                    <a:pt x="139" y="418"/>
                  </a:lnTo>
                  <a:lnTo>
                    <a:pt x="137" y="418"/>
                  </a:lnTo>
                  <a:lnTo>
                    <a:pt x="139" y="416"/>
                  </a:lnTo>
                  <a:lnTo>
                    <a:pt x="139" y="415"/>
                  </a:lnTo>
                  <a:lnTo>
                    <a:pt x="139" y="413"/>
                  </a:lnTo>
                  <a:close/>
                  <a:moveTo>
                    <a:pt x="460" y="576"/>
                  </a:moveTo>
                  <a:lnTo>
                    <a:pt x="460" y="578"/>
                  </a:lnTo>
                  <a:lnTo>
                    <a:pt x="459" y="580"/>
                  </a:lnTo>
                  <a:lnTo>
                    <a:pt x="457" y="578"/>
                  </a:lnTo>
                  <a:lnTo>
                    <a:pt x="460" y="576"/>
                  </a:lnTo>
                  <a:close/>
                  <a:moveTo>
                    <a:pt x="283" y="644"/>
                  </a:moveTo>
                  <a:lnTo>
                    <a:pt x="285" y="644"/>
                  </a:lnTo>
                  <a:lnTo>
                    <a:pt x="285" y="646"/>
                  </a:lnTo>
                  <a:lnTo>
                    <a:pt x="287" y="648"/>
                  </a:lnTo>
                  <a:lnTo>
                    <a:pt x="283" y="648"/>
                  </a:lnTo>
                  <a:lnTo>
                    <a:pt x="283" y="646"/>
                  </a:lnTo>
                  <a:lnTo>
                    <a:pt x="283" y="644"/>
                  </a:lnTo>
                  <a:close/>
                  <a:moveTo>
                    <a:pt x="171" y="316"/>
                  </a:moveTo>
                  <a:lnTo>
                    <a:pt x="173" y="318"/>
                  </a:lnTo>
                  <a:lnTo>
                    <a:pt x="173" y="319"/>
                  </a:lnTo>
                  <a:lnTo>
                    <a:pt x="170" y="319"/>
                  </a:lnTo>
                  <a:lnTo>
                    <a:pt x="171" y="318"/>
                  </a:lnTo>
                  <a:lnTo>
                    <a:pt x="171" y="316"/>
                  </a:lnTo>
                  <a:close/>
                  <a:moveTo>
                    <a:pt x="183" y="335"/>
                  </a:moveTo>
                  <a:lnTo>
                    <a:pt x="185" y="335"/>
                  </a:lnTo>
                  <a:lnTo>
                    <a:pt x="185" y="338"/>
                  </a:lnTo>
                  <a:lnTo>
                    <a:pt x="183" y="338"/>
                  </a:lnTo>
                  <a:lnTo>
                    <a:pt x="183" y="335"/>
                  </a:lnTo>
                  <a:close/>
                  <a:moveTo>
                    <a:pt x="396" y="456"/>
                  </a:moveTo>
                  <a:lnTo>
                    <a:pt x="399" y="456"/>
                  </a:lnTo>
                  <a:lnTo>
                    <a:pt x="397" y="457"/>
                  </a:lnTo>
                  <a:lnTo>
                    <a:pt x="396" y="457"/>
                  </a:lnTo>
                  <a:lnTo>
                    <a:pt x="396" y="456"/>
                  </a:lnTo>
                  <a:close/>
                  <a:moveTo>
                    <a:pt x="292" y="110"/>
                  </a:moveTo>
                  <a:lnTo>
                    <a:pt x="292" y="112"/>
                  </a:lnTo>
                  <a:lnTo>
                    <a:pt x="290" y="112"/>
                  </a:lnTo>
                  <a:lnTo>
                    <a:pt x="292" y="112"/>
                  </a:lnTo>
                  <a:lnTo>
                    <a:pt x="289" y="112"/>
                  </a:lnTo>
                  <a:lnTo>
                    <a:pt x="290" y="110"/>
                  </a:lnTo>
                  <a:lnTo>
                    <a:pt x="292" y="110"/>
                  </a:lnTo>
                  <a:close/>
                  <a:moveTo>
                    <a:pt x="423" y="595"/>
                  </a:moveTo>
                  <a:lnTo>
                    <a:pt x="426" y="595"/>
                  </a:lnTo>
                  <a:lnTo>
                    <a:pt x="426" y="598"/>
                  </a:lnTo>
                  <a:lnTo>
                    <a:pt x="423" y="598"/>
                  </a:lnTo>
                  <a:lnTo>
                    <a:pt x="423" y="595"/>
                  </a:lnTo>
                  <a:close/>
                  <a:moveTo>
                    <a:pt x="285" y="115"/>
                  </a:moveTo>
                  <a:lnTo>
                    <a:pt x="287" y="117"/>
                  </a:lnTo>
                  <a:lnTo>
                    <a:pt x="285" y="115"/>
                  </a:lnTo>
                  <a:lnTo>
                    <a:pt x="285" y="117"/>
                  </a:lnTo>
                  <a:lnTo>
                    <a:pt x="283" y="120"/>
                  </a:lnTo>
                  <a:lnTo>
                    <a:pt x="283" y="122"/>
                  </a:lnTo>
                  <a:lnTo>
                    <a:pt x="282" y="122"/>
                  </a:lnTo>
                  <a:lnTo>
                    <a:pt x="283" y="120"/>
                  </a:lnTo>
                  <a:lnTo>
                    <a:pt x="283" y="119"/>
                  </a:lnTo>
                  <a:lnTo>
                    <a:pt x="285" y="117"/>
                  </a:lnTo>
                  <a:lnTo>
                    <a:pt x="285" y="115"/>
                  </a:lnTo>
                  <a:close/>
                  <a:moveTo>
                    <a:pt x="345" y="590"/>
                  </a:moveTo>
                  <a:lnTo>
                    <a:pt x="346" y="590"/>
                  </a:lnTo>
                  <a:lnTo>
                    <a:pt x="346" y="592"/>
                  </a:lnTo>
                  <a:lnTo>
                    <a:pt x="345" y="592"/>
                  </a:lnTo>
                  <a:lnTo>
                    <a:pt x="345" y="590"/>
                  </a:lnTo>
                  <a:close/>
                  <a:moveTo>
                    <a:pt x="328" y="432"/>
                  </a:moveTo>
                  <a:lnTo>
                    <a:pt x="329" y="432"/>
                  </a:lnTo>
                  <a:lnTo>
                    <a:pt x="328" y="433"/>
                  </a:lnTo>
                  <a:lnTo>
                    <a:pt x="328" y="435"/>
                  </a:lnTo>
                  <a:lnTo>
                    <a:pt x="326" y="437"/>
                  </a:lnTo>
                  <a:lnTo>
                    <a:pt x="326" y="433"/>
                  </a:lnTo>
                  <a:lnTo>
                    <a:pt x="328" y="432"/>
                  </a:lnTo>
                  <a:close/>
                  <a:moveTo>
                    <a:pt x="153" y="437"/>
                  </a:moveTo>
                  <a:lnTo>
                    <a:pt x="154" y="437"/>
                  </a:lnTo>
                  <a:lnTo>
                    <a:pt x="151" y="439"/>
                  </a:lnTo>
                  <a:lnTo>
                    <a:pt x="153" y="437"/>
                  </a:lnTo>
                  <a:lnTo>
                    <a:pt x="154" y="437"/>
                  </a:lnTo>
                  <a:lnTo>
                    <a:pt x="153" y="437"/>
                  </a:lnTo>
                  <a:close/>
                  <a:moveTo>
                    <a:pt x="277" y="124"/>
                  </a:moveTo>
                  <a:lnTo>
                    <a:pt x="278" y="122"/>
                  </a:lnTo>
                  <a:lnTo>
                    <a:pt x="278" y="126"/>
                  </a:lnTo>
                  <a:lnTo>
                    <a:pt x="277" y="126"/>
                  </a:lnTo>
                  <a:lnTo>
                    <a:pt x="277" y="124"/>
                  </a:lnTo>
                  <a:close/>
                  <a:moveTo>
                    <a:pt x="299" y="643"/>
                  </a:moveTo>
                  <a:lnTo>
                    <a:pt x="300" y="643"/>
                  </a:lnTo>
                  <a:lnTo>
                    <a:pt x="300" y="644"/>
                  </a:lnTo>
                  <a:lnTo>
                    <a:pt x="299" y="644"/>
                  </a:lnTo>
                  <a:lnTo>
                    <a:pt x="299" y="643"/>
                  </a:lnTo>
                  <a:close/>
                  <a:moveTo>
                    <a:pt x="283" y="139"/>
                  </a:moveTo>
                  <a:lnTo>
                    <a:pt x="285" y="139"/>
                  </a:lnTo>
                  <a:lnTo>
                    <a:pt x="285" y="141"/>
                  </a:lnTo>
                  <a:lnTo>
                    <a:pt x="283" y="141"/>
                  </a:lnTo>
                  <a:lnTo>
                    <a:pt x="283" y="139"/>
                  </a:lnTo>
                  <a:close/>
                  <a:moveTo>
                    <a:pt x="307" y="651"/>
                  </a:moveTo>
                  <a:lnTo>
                    <a:pt x="307" y="653"/>
                  </a:lnTo>
                  <a:lnTo>
                    <a:pt x="307" y="655"/>
                  </a:lnTo>
                  <a:lnTo>
                    <a:pt x="306" y="653"/>
                  </a:lnTo>
                  <a:lnTo>
                    <a:pt x="306" y="651"/>
                  </a:lnTo>
                  <a:lnTo>
                    <a:pt x="307" y="651"/>
                  </a:lnTo>
                  <a:close/>
                  <a:moveTo>
                    <a:pt x="336" y="796"/>
                  </a:moveTo>
                  <a:lnTo>
                    <a:pt x="338" y="796"/>
                  </a:lnTo>
                  <a:lnTo>
                    <a:pt x="338" y="797"/>
                  </a:lnTo>
                  <a:lnTo>
                    <a:pt x="336" y="797"/>
                  </a:lnTo>
                  <a:lnTo>
                    <a:pt x="336" y="796"/>
                  </a:lnTo>
                  <a:close/>
                  <a:moveTo>
                    <a:pt x="411" y="598"/>
                  </a:moveTo>
                  <a:lnTo>
                    <a:pt x="413" y="598"/>
                  </a:lnTo>
                  <a:lnTo>
                    <a:pt x="413" y="600"/>
                  </a:lnTo>
                  <a:lnTo>
                    <a:pt x="411" y="600"/>
                  </a:lnTo>
                  <a:lnTo>
                    <a:pt x="411" y="598"/>
                  </a:lnTo>
                  <a:close/>
                  <a:moveTo>
                    <a:pt x="132" y="413"/>
                  </a:moveTo>
                  <a:lnTo>
                    <a:pt x="134" y="413"/>
                  </a:lnTo>
                  <a:lnTo>
                    <a:pt x="134" y="415"/>
                  </a:lnTo>
                  <a:lnTo>
                    <a:pt x="132" y="415"/>
                  </a:lnTo>
                  <a:lnTo>
                    <a:pt x="132" y="413"/>
                  </a:lnTo>
                  <a:close/>
                  <a:moveTo>
                    <a:pt x="384" y="442"/>
                  </a:moveTo>
                  <a:lnTo>
                    <a:pt x="385" y="442"/>
                  </a:lnTo>
                  <a:lnTo>
                    <a:pt x="385" y="444"/>
                  </a:lnTo>
                  <a:lnTo>
                    <a:pt x="384" y="444"/>
                  </a:lnTo>
                  <a:lnTo>
                    <a:pt x="384" y="442"/>
                  </a:lnTo>
                  <a:close/>
                  <a:moveTo>
                    <a:pt x="285" y="112"/>
                  </a:moveTo>
                  <a:lnTo>
                    <a:pt x="287" y="112"/>
                  </a:lnTo>
                  <a:lnTo>
                    <a:pt x="287" y="114"/>
                  </a:lnTo>
                  <a:lnTo>
                    <a:pt x="285" y="114"/>
                  </a:lnTo>
                  <a:lnTo>
                    <a:pt x="285" y="112"/>
                  </a:lnTo>
                  <a:close/>
                  <a:moveTo>
                    <a:pt x="153" y="440"/>
                  </a:moveTo>
                  <a:lnTo>
                    <a:pt x="154" y="440"/>
                  </a:lnTo>
                  <a:lnTo>
                    <a:pt x="154" y="442"/>
                  </a:lnTo>
                  <a:lnTo>
                    <a:pt x="153" y="442"/>
                  </a:lnTo>
                  <a:lnTo>
                    <a:pt x="153" y="440"/>
                  </a:lnTo>
                  <a:close/>
                  <a:moveTo>
                    <a:pt x="452" y="590"/>
                  </a:moveTo>
                  <a:lnTo>
                    <a:pt x="452" y="592"/>
                  </a:lnTo>
                  <a:lnTo>
                    <a:pt x="452" y="590"/>
                  </a:lnTo>
                  <a:close/>
                  <a:moveTo>
                    <a:pt x="283" y="122"/>
                  </a:moveTo>
                  <a:lnTo>
                    <a:pt x="282" y="124"/>
                  </a:lnTo>
                  <a:lnTo>
                    <a:pt x="282" y="126"/>
                  </a:lnTo>
                  <a:lnTo>
                    <a:pt x="282" y="129"/>
                  </a:lnTo>
                  <a:lnTo>
                    <a:pt x="282" y="126"/>
                  </a:lnTo>
                  <a:lnTo>
                    <a:pt x="282" y="124"/>
                  </a:lnTo>
                  <a:lnTo>
                    <a:pt x="282" y="122"/>
                  </a:lnTo>
                  <a:lnTo>
                    <a:pt x="283" y="122"/>
                  </a:lnTo>
                  <a:close/>
                  <a:moveTo>
                    <a:pt x="136" y="416"/>
                  </a:moveTo>
                  <a:lnTo>
                    <a:pt x="137" y="416"/>
                  </a:lnTo>
                  <a:lnTo>
                    <a:pt x="137" y="418"/>
                  </a:lnTo>
                  <a:lnTo>
                    <a:pt x="136" y="418"/>
                  </a:lnTo>
                  <a:lnTo>
                    <a:pt x="136" y="416"/>
                  </a:lnTo>
                  <a:close/>
                  <a:moveTo>
                    <a:pt x="117" y="78"/>
                  </a:moveTo>
                  <a:lnTo>
                    <a:pt x="117" y="80"/>
                  </a:lnTo>
                  <a:lnTo>
                    <a:pt x="117" y="78"/>
                  </a:lnTo>
                  <a:close/>
                  <a:moveTo>
                    <a:pt x="226" y="342"/>
                  </a:moveTo>
                  <a:lnTo>
                    <a:pt x="226" y="343"/>
                  </a:lnTo>
                  <a:lnTo>
                    <a:pt x="226" y="342"/>
                  </a:lnTo>
                  <a:close/>
                  <a:moveTo>
                    <a:pt x="455" y="340"/>
                  </a:moveTo>
                  <a:lnTo>
                    <a:pt x="457" y="340"/>
                  </a:lnTo>
                  <a:lnTo>
                    <a:pt x="457" y="342"/>
                  </a:lnTo>
                  <a:lnTo>
                    <a:pt x="455" y="342"/>
                  </a:lnTo>
                  <a:lnTo>
                    <a:pt x="455" y="340"/>
                  </a:lnTo>
                  <a:close/>
                  <a:moveTo>
                    <a:pt x="292" y="148"/>
                  </a:moveTo>
                  <a:lnTo>
                    <a:pt x="295" y="148"/>
                  </a:lnTo>
                  <a:lnTo>
                    <a:pt x="295" y="149"/>
                  </a:lnTo>
                  <a:lnTo>
                    <a:pt x="292" y="149"/>
                  </a:lnTo>
                  <a:lnTo>
                    <a:pt x="292" y="148"/>
                  </a:lnTo>
                  <a:close/>
                  <a:moveTo>
                    <a:pt x="163" y="258"/>
                  </a:moveTo>
                  <a:lnTo>
                    <a:pt x="163" y="260"/>
                  </a:lnTo>
                  <a:lnTo>
                    <a:pt x="163" y="258"/>
                  </a:lnTo>
                  <a:close/>
                  <a:moveTo>
                    <a:pt x="328" y="93"/>
                  </a:moveTo>
                  <a:lnTo>
                    <a:pt x="326" y="93"/>
                  </a:lnTo>
                  <a:lnTo>
                    <a:pt x="324" y="93"/>
                  </a:lnTo>
                  <a:lnTo>
                    <a:pt x="328" y="93"/>
                  </a:lnTo>
                  <a:close/>
                  <a:moveTo>
                    <a:pt x="282" y="115"/>
                  </a:moveTo>
                  <a:lnTo>
                    <a:pt x="283" y="115"/>
                  </a:lnTo>
                  <a:lnTo>
                    <a:pt x="282" y="115"/>
                  </a:lnTo>
                  <a:close/>
                  <a:moveTo>
                    <a:pt x="134" y="410"/>
                  </a:moveTo>
                  <a:lnTo>
                    <a:pt x="134" y="411"/>
                  </a:lnTo>
                  <a:lnTo>
                    <a:pt x="134" y="410"/>
                  </a:lnTo>
                  <a:close/>
                  <a:moveTo>
                    <a:pt x="287" y="110"/>
                  </a:moveTo>
                  <a:lnTo>
                    <a:pt x="289" y="110"/>
                  </a:lnTo>
                  <a:lnTo>
                    <a:pt x="289" y="112"/>
                  </a:lnTo>
                  <a:lnTo>
                    <a:pt x="287" y="112"/>
                  </a:lnTo>
                  <a:lnTo>
                    <a:pt x="287" y="110"/>
                  </a:lnTo>
                  <a:close/>
                  <a:moveTo>
                    <a:pt x="159" y="214"/>
                  </a:moveTo>
                  <a:lnTo>
                    <a:pt x="161" y="214"/>
                  </a:lnTo>
                  <a:lnTo>
                    <a:pt x="161" y="216"/>
                  </a:lnTo>
                  <a:lnTo>
                    <a:pt x="159" y="216"/>
                  </a:lnTo>
                  <a:lnTo>
                    <a:pt x="159" y="214"/>
                  </a:lnTo>
                  <a:close/>
                  <a:moveTo>
                    <a:pt x="132" y="410"/>
                  </a:moveTo>
                  <a:lnTo>
                    <a:pt x="134" y="410"/>
                  </a:lnTo>
                  <a:lnTo>
                    <a:pt x="132" y="410"/>
                  </a:lnTo>
                  <a:close/>
                  <a:moveTo>
                    <a:pt x="289" y="112"/>
                  </a:moveTo>
                  <a:lnTo>
                    <a:pt x="290" y="112"/>
                  </a:lnTo>
                  <a:lnTo>
                    <a:pt x="290" y="114"/>
                  </a:lnTo>
                  <a:lnTo>
                    <a:pt x="289" y="114"/>
                  </a:lnTo>
                  <a:lnTo>
                    <a:pt x="289" y="112"/>
                  </a:lnTo>
                  <a:close/>
                  <a:moveTo>
                    <a:pt x="294" y="146"/>
                  </a:moveTo>
                  <a:lnTo>
                    <a:pt x="294" y="148"/>
                  </a:lnTo>
                  <a:lnTo>
                    <a:pt x="292" y="148"/>
                  </a:lnTo>
                  <a:lnTo>
                    <a:pt x="294" y="148"/>
                  </a:lnTo>
                  <a:lnTo>
                    <a:pt x="294" y="146"/>
                  </a:lnTo>
                  <a:close/>
                  <a:moveTo>
                    <a:pt x="351" y="440"/>
                  </a:moveTo>
                  <a:lnTo>
                    <a:pt x="353" y="440"/>
                  </a:lnTo>
                  <a:lnTo>
                    <a:pt x="353" y="442"/>
                  </a:lnTo>
                  <a:lnTo>
                    <a:pt x="351" y="442"/>
                  </a:lnTo>
                  <a:lnTo>
                    <a:pt x="351" y="440"/>
                  </a:lnTo>
                  <a:close/>
                  <a:moveTo>
                    <a:pt x="321" y="432"/>
                  </a:moveTo>
                  <a:lnTo>
                    <a:pt x="323" y="433"/>
                  </a:lnTo>
                  <a:lnTo>
                    <a:pt x="321" y="433"/>
                  </a:lnTo>
                  <a:lnTo>
                    <a:pt x="321" y="432"/>
                  </a:lnTo>
                  <a:close/>
                  <a:moveTo>
                    <a:pt x="74" y="502"/>
                  </a:moveTo>
                  <a:lnTo>
                    <a:pt x="76" y="502"/>
                  </a:lnTo>
                  <a:lnTo>
                    <a:pt x="76" y="503"/>
                  </a:lnTo>
                  <a:lnTo>
                    <a:pt x="74" y="503"/>
                  </a:lnTo>
                  <a:lnTo>
                    <a:pt x="74" y="502"/>
                  </a:lnTo>
                  <a:close/>
                  <a:moveTo>
                    <a:pt x="285" y="141"/>
                  </a:moveTo>
                  <a:lnTo>
                    <a:pt x="287" y="141"/>
                  </a:lnTo>
                  <a:lnTo>
                    <a:pt x="287" y="143"/>
                  </a:lnTo>
                  <a:lnTo>
                    <a:pt x="285" y="143"/>
                  </a:lnTo>
                  <a:lnTo>
                    <a:pt x="285" y="141"/>
                  </a:lnTo>
                  <a:close/>
                  <a:moveTo>
                    <a:pt x="328" y="93"/>
                  </a:moveTo>
                  <a:lnTo>
                    <a:pt x="329" y="93"/>
                  </a:lnTo>
                  <a:lnTo>
                    <a:pt x="329" y="95"/>
                  </a:lnTo>
                  <a:lnTo>
                    <a:pt x="328" y="95"/>
                  </a:lnTo>
                  <a:lnTo>
                    <a:pt x="328" y="93"/>
                  </a:lnTo>
                  <a:close/>
                  <a:moveTo>
                    <a:pt x="290" y="144"/>
                  </a:moveTo>
                  <a:lnTo>
                    <a:pt x="292" y="144"/>
                  </a:lnTo>
                  <a:lnTo>
                    <a:pt x="292" y="146"/>
                  </a:lnTo>
                  <a:lnTo>
                    <a:pt x="290" y="146"/>
                  </a:lnTo>
                  <a:lnTo>
                    <a:pt x="290" y="144"/>
                  </a:lnTo>
                  <a:close/>
                  <a:moveTo>
                    <a:pt x="331" y="95"/>
                  </a:moveTo>
                  <a:lnTo>
                    <a:pt x="331" y="97"/>
                  </a:lnTo>
                  <a:lnTo>
                    <a:pt x="331" y="95"/>
                  </a:lnTo>
                  <a:close/>
                  <a:moveTo>
                    <a:pt x="328" y="93"/>
                  </a:moveTo>
                  <a:lnTo>
                    <a:pt x="329" y="93"/>
                  </a:lnTo>
                  <a:lnTo>
                    <a:pt x="328" y="95"/>
                  </a:lnTo>
                  <a:lnTo>
                    <a:pt x="328" y="93"/>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195" name="Freeform 25">
              <a:extLst>
                <a:ext uri="{FF2B5EF4-FFF2-40B4-BE49-F238E27FC236}">
                  <a16:creationId xmlns:a16="http://schemas.microsoft.com/office/drawing/2014/main" id="{7ABED96B-2BFF-4A84-869F-D623A09F12C9}"/>
                </a:ext>
              </a:extLst>
            </p:cNvPr>
            <p:cNvSpPr>
              <a:spLocks noEditPoints="1"/>
            </p:cNvSpPr>
            <p:nvPr/>
          </p:nvSpPr>
          <p:spPr bwMode="gray">
            <a:xfrm>
              <a:off x="9815252" y="5720326"/>
              <a:ext cx="328863" cy="619214"/>
            </a:xfrm>
            <a:custGeom>
              <a:avLst/>
              <a:gdLst>
                <a:gd name="T0" fmla="*/ 44 w 111"/>
                <a:gd name="T1" fmla="*/ 10 h 209"/>
                <a:gd name="T2" fmla="*/ 49 w 111"/>
                <a:gd name="T3" fmla="*/ 18 h 209"/>
                <a:gd name="T4" fmla="*/ 58 w 111"/>
                <a:gd name="T5" fmla="*/ 20 h 209"/>
                <a:gd name="T6" fmla="*/ 66 w 111"/>
                <a:gd name="T7" fmla="*/ 27 h 209"/>
                <a:gd name="T8" fmla="*/ 71 w 111"/>
                <a:gd name="T9" fmla="*/ 39 h 209"/>
                <a:gd name="T10" fmla="*/ 70 w 111"/>
                <a:gd name="T11" fmla="*/ 49 h 209"/>
                <a:gd name="T12" fmla="*/ 70 w 111"/>
                <a:gd name="T13" fmla="*/ 59 h 209"/>
                <a:gd name="T14" fmla="*/ 68 w 111"/>
                <a:gd name="T15" fmla="*/ 73 h 209"/>
                <a:gd name="T16" fmla="*/ 75 w 111"/>
                <a:gd name="T17" fmla="*/ 81 h 209"/>
                <a:gd name="T18" fmla="*/ 75 w 111"/>
                <a:gd name="T19" fmla="*/ 93 h 209"/>
                <a:gd name="T20" fmla="*/ 80 w 111"/>
                <a:gd name="T21" fmla="*/ 103 h 209"/>
                <a:gd name="T22" fmla="*/ 94 w 111"/>
                <a:gd name="T23" fmla="*/ 115 h 209"/>
                <a:gd name="T24" fmla="*/ 102 w 111"/>
                <a:gd name="T25" fmla="*/ 115 h 209"/>
                <a:gd name="T26" fmla="*/ 104 w 111"/>
                <a:gd name="T27" fmla="*/ 124 h 209"/>
                <a:gd name="T28" fmla="*/ 111 w 111"/>
                <a:gd name="T29" fmla="*/ 134 h 209"/>
                <a:gd name="T30" fmla="*/ 105 w 111"/>
                <a:gd name="T31" fmla="*/ 144 h 209"/>
                <a:gd name="T32" fmla="*/ 97 w 111"/>
                <a:gd name="T33" fmla="*/ 149 h 209"/>
                <a:gd name="T34" fmla="*/ 95 w 111"/>
                <a:gd name="T35" fmla="*/ 160 h 209"/>
                <a:gd name="T36" fmla="*/ 95 w 111"/>
                <a:gd name="T37" fmla="*/ 170 h 209"/>
                <a:gd name="T38" fmla="*/ 88 w 111"/>
                <a:gd name="T39" fmla="*/ 177 h 209"/>
                <a:gd name="T40" fmla="*/ 80 w 111"/>
                <a:gd name="T41" fmla="*/ 182 h 209"/>
                <a:gd name="T42" fmla="*/ 78 w 111"/>
                <a:gd name="T43" fmla="*/ 188 h 209"/>
                <a:gd name="T44" fmla="*/ 82 w 111"/>
                <a:gd name="T45" fmla="*/ 199 h 209"/>
                <a:gd name="T46" fmla="*/ 80 w 111"/>
                <a:gd name="T47" fmla="*/ 202 h 209"/>
                <a:gd name="T48" fmla="*/ 73 w 111"/>
                <a:gd name="T49" fmla="*/ 209 h 209"/>
                <a:gd name="T50" fmla="*/ 61 w 111"/>
                <a:gd name="T51" fmla="*/ 207 h 209"/>
                <a:gd name="T52" fmla="*/ 61 w 111"/>
                <a:gd name="T53" fmla="*/ 199 h 209"/>
                <a:gd name="T54" fmla="*/ 61 w 111"/>
                <a:gd name="T55" fmla="*/ 202 h 209"/>
                <a:gd name="T56" fmla="*/ 56 w 111"/>
                <a:gd name="T57" fmla="*/ 194 h 209"/>
                <a:gd name="T58" fmla="*/ 49 w 111"/>
                <a:gd name="T59" fmla="*/ 183 h 209"/>
                <a:gd name="T60" fmla="*/ 44 w 111"/>
                <a:gd name="T61" fmla="*/ 182 h 209"/>
                <a:gd name="T62" fmla="*/ 34 w 111"/>
                <a:gd name="T63" fmla="*/ 177 h 209"/>
                <a:gd name="T64" fmla="*/ 22 w 111"/>
                <a:gd name="T65" fmla="*/ 170 h 209"/>
                <a:gd name="T66" fmla="*/ 19 w 111"/>
                <a:gd name="T67" fmla="*/ 160 h 209"/>
                <a:gd name="T68" fmla="*/ 27 w 111"/>
                <a:gd name="T69" fmla="*/ 166 h 209"/>
                <a:gd name="T70" fmla="*/ 24 w 111"/>
                <a:gd name="T71" fmla="*/ 154 h 209"/>
                <a:gd name="T72" fmla="*/ 19 w 111"/>
                <a:gd name="T73" fmla="*/ 149 h 209"/>
                <a:gd name="T74" fmla="*/ 19 w 111"/>
                <a:gd name="T75" fmla="*/ 136 h 209"/>
                <a:gd name="T76" fmla="*/ 19 w 111"/>
                <a:gd name="T77" fmla="*/ 126 h 209"/>
                <a:gd name="T78" fmla="*/ 20 w 111"/>
                <a:gd name="T79" fmla="*/ 114 h 209"/>
                <a:gd name="T80" fmla="*/ 20 w 111"/>
                <a:gd name="T81" fmla="*/ 103 h 209"/>
                <a:gd name="T82" fmla="*/ 15 w 111"/>
                <a:gd name="T83" fmla="*/ 97 h 209"/>
                <a:gd name="T84" fmla="*/ 19 w 111"/>
                <a:gd name="T85" fmla="*/ 86 h 209"/>
                <a:gd name="T86" fmla="*/ 19 w 111"/>
                <a:gd name="T87" fmla="*/ 78 h 209"/>
                <a:gd name="T88" fmla="*/ 20 w 111"/>
                <a:gd name="T89" fmla="*/ 71 h 209"/>
                <a:gd name="T90" fmla="*/ 19 w 111"/>
                <a:gd name="T91" fmla="*/ 61 h 209"/>
                <a:gd name="T92" fmla="*/ 9 w 111"/>
                <a:gd name="T93" fmla="*/ 59 h 209"/>
                <a:gd name="T94" fmla="*/ 7 w 111"/>
                <a:gd name="T95" fmla="*/ 51 h 209"/>
                <a:gd name="T96" fmla="*/ 5 w 111"/>
                <a:gd name="T97" fmla="*/ 40 h 209"/>
                <a:gd name="T98" fmla="*/ 7 w 111"/>
                <a:gd name="T99" fmla="*/ 25 h 209"/>
                <a:gd name="T100" fmla="*/ 10 w 111"/>
                <a:gd name="T101" fmla="*/ 15 h 209"/>
                <a:gd name="T102" fmla="*/ 15 w 111"/>
                <a:gd name="T103" fmla="*/ 5 h 209"/>
                <a:gd name="T104" fmla="*/ 22 w 111"/>
                <a:gd name="T105" fmla="*/ 5 h 209"/>
                <a:gd name="T106" fmla="*/ 27 w 111"/>
                <a:gd name="T107" fmla="*/ 12 h 209"/>
                <a:gd name="T108" fmla="*/ 36 w 111"/>
                <a:gd name="T109" fmla="*/ 6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1" h="209">
                  <a:moveTo>
                    <a:pt x="37" y="5"/>
                  </a:moveTo>
                  <a:lnTo>
                    <a:pt x="39" y="6"/>
                  </a:lnTo>
                  <a:lnTo>
                    <a:pt x="41" y="6"/>
                  </a:lnTo>
                  <a:lnTo>
                    <a:pt x="43" y="6"/>
                  </a:lnTo>
                  <a:lnTo>
                    <a:pt x="43" y="8"/>
                  </a:lnTo>
                  <a:lnTo>
                    <a:pt x="44" y="10"/>
                  </a:lnTo>
                  <a:lnTo>
                    <a:pt x="46" y="10"/>
                  </a:lnTo>
                  <a:lnTo>
                    <a:pt x="46" y="12"/>
                  </a:lnTo>
                  <a:lnTo>
                    <a:pt x="48" y="12"/>
                  </a:lnTo>
                  <a:lnTo>
                    <a:pt x="46" y="15"/>
                  </a:lnTo>
                  <a:lnTo>
                    <a:pt x="49" y="17"/>
                  </a:lnTo>
                  <a:lnTo>
                    <a:pt x="49" y="18"/>
                  </a:lnTo>
                  <a:lnTo>
                    <a:pt x="49" y="20"/>
                  </a:lnTo>
                  <a:lnTo>
                    <a:pt x="51" y="20"/>
                  </a:lnTo>
                  <a:lnTo>
                    <a:pt x="53" y="20"/>
                  </a:lnTo>
                  <a:lnTo>
                    <a:pt x="54" y="18"/>
                  </a:lnTo>
                  <a:lnTo>
                    <a:pt x="54" y="20"/>
                  </a:lnTo>
                  <a:lnTo>
                    <a:pt x="58" y="20"/>
                  </a:lnTo>
                  <a:lnTo>
                    <a:pt x="58" y="22"/>
                  </a:lnTo>
                  <a:lnTo>
                    <a:pt x="61" y="22"/>
                  </a:lnTo>
                  <a:lnTo>
                    <a:pt x="63" y="23"/>
                  </a:lnTo>
                  <a:lnTo>
                    <a:pt x="63" y="25"/>
                  </a:lnTo>
                  <a:lnTo>
                    <a:pt x="65" y="25"/>
                  </a:lnTo>
                  <a:lnTo>
                    <a:pt x="66" y="27"/>
                  </a:lnTo>
                  <a:lnTo>
                    <a:pt x="66" y="29"/>
                  </a:lnTo>
                  <a:lnTo>
                    <a:pt x="68" y="32"/>
                  </a:lnTo>
                  <a:lnTo>
                    <a:pt x="68" y="34"/>
                  </a:lnTo>
                  <a:lnTo>
                    <a:pt x="68" y="35"/>
                  </a:lnTo>
                  <a:lnTo>
                    <a:pt x="70" y="37"/>
                  </a:lnTo>
                  <a:lnTo>
                    <a:pt x="71" y="39"/>
                  </a:lnTo>
                  <a:lnTo>
                    <a:pt x="71" y="40"/>
                  </a:lnTo>
                  <a:lnTo>
                    <a:pt x="73" y="42"/>
                  </a:lnTo>
                  <a:lnTo>
                    <a:pt x="73" y="44"/>
                  </a:lnTo>
                  <a:lnTo>
                    <a:pt x="70" y="46"/>
                  </a:lnTo>
                  <a:lnTo>
                    <a:pt x="71" y="49"/>
                  </a:lnTo>
                  <a:lnTo>
                    <a:pt x="70" y="49"/>
                  </a:lnTo>
                  <a:lnTo>
                    <a:pt x="71" y="51"/>
                  </a:lnTo>
                  <a:lnTo>
                    <a:pt x="71" y="52"/>
                  </a:lnTo>
                  <a:lnTo>
                    <a:pt x="71" y="54"/>
                  </a:lnTo>
                  <a:lnTo>
                    <a:pt x="70" y="56"/>
                  </a:lnTo>
                  <a:lnTo>
                    <a:pt x="70" y="58"/>
                  </a:lnTo>
                  <a:lnTo>
                    <a:pt x="70" y="59"/>
                  </a:lnTo>
                  <a:lnTo>
                    <a:pt x="70" y="63"/>
                  </a:lnTo>
                  <a:lnTo>
                    <a:pt x="70" y="64"/>
                  </a:lnTo>
                  <a:lnTo>
                    <a:pt x="71" y="68"/>
                  </a:lnTo>
                  <a:lnTo>
                    <a:pt x="73" y="69"/>
                  </a:lnTo>
                  <a:lnTo>
                    <a:pt x="71" y="71"/>
                  </a:lnTo>
                  <a:lnTo>
                    <a:pt x="68" y="73"/>
                  </a:lnTo>
                  <a:lnTo>
                    <a:pt x="70" y="73"/>
                  </a:lnTo>
                  <a:lnTo>
                    <a:pt x="68" y="75"/>
                  </a:lnTo>
                  <a:lnTo>
                    <a:pt x="71" y="76"/>
                  </a:lnTo>
                  <a:lnTo>
                    <a:pt x="71" y="80"/>
                  </a:lnTo>
                  <a:lnTo>
                    <a:pt x="73" y="80"/>
                  </a:lnTo>
                  <a:lnTo>
                    <a:pt x="75" y="81"/>
                  </a:lnTo>
                  <a:lnTo>
                    <a:pt x="75" y="85"/>
                  </a:lnTo>
                  <a:lnTo>
                    <a:pt x="73" y="86"/>
                  </a:lnTo>
                  <a:lnTo>
                    <a:pt x="71" y="88"/>
                  </a:lnTo>
                  <a:lnTo>
                    <a:pt x="73" y="88"/>
                  </a:lnTo>
                  <a:lnTo>
                    <a:pt x="73" y="92"/>
                  </a:lnTo>
                  <a:lnTo>
                    <a:pt x="75" y="93"/>
                  </a:lnTo>
                  <a:lnTo>
                    <a:pt x="75" y="95"/>
                  </a:lnTo>
                  <a:lnTo>
                    <a:pt x="77" y="97"/>
                  </a:lnTo>
                  <a:lnTo>
                    <a:pt x="78" y="98"/>
                  </a:lnTo>
                  <a:lnTo>
                    <a:pt x="80" y="100"/>
                  </a:lnTo>
                  <a:lnTo>
                    <a:pt x="80" y="102"/>
                  </a:lnTo>
                  <a:lnTo>
                    <a:pt x="80" y="103"/>
                  </a:lnTo>
                  <a:lnTo>
                    <a:pt x="82" y="103"/>
                  </a:lnTo>
                  <a:lnTo>
                    <a:pt x="85" y="103"/>
                  </a:lnTo>
                  <a:lnTo>
                    <a:pt x="87" y="110"/>
                  </a:lnTo>
                  <a:lnTo>
                    <a:pt x="88" y="114"/>
                  </a:lnTo>
                  <a:lnTo>
                    <a:pt x="90" y="115"/>
                  </a:lnTo>
                  <a:lnTo>
                    <a:pt x="94" y="115"/>
                  </a:lnTo>
                  <a:lnTo>
                    <a:pt x="95" y="115"/>
                  </a:lnTo>
                  <a:lnTo>
                    <a:pt x="95" y="112"/>
                  </a:lnTo>
                  <a:lnTo>
                    <a:pt x="97" y="114"/>
                  </a:lnTo>
                  <a:lnTo>
                    <a:pt x="99" y="114"/>
                  </a:lnTo>
                  <a:lnTo>
                    <a:pt x="100" y="114"/>
                  </a:lnTo>
                  <a:lnTo>
                    <a:pt x="102" y="115"/>
                  </a:lnTo>
                  <a:lnTo>
                    <a:pt x="104" y="117"/>
                  </a:lnTo>
                  <a:lnTo>
                    <a:pt x="104" y="119"/>
                  </a:lnTo>
                  <a:lnTo>
                    <a:pt x="104" y="120"/>
                  </a:lnTo>
                  <a:lnTo>
                    <a:pt x="104" y="122"/>
                  </a:lnTo>
                  <a:lnTo>
                    <a:pt x="102" y="124"/>
                  </a:lnTo>
                  <a:lnTo>
                    <a:pt x="104" y="124"/>
                  </a:lnTo>
                  <a:lnTo>
                    <a:pt x="105" y="126"/>
                  </a:lnTo>
                  <a:lnTo>
                    <a:pt x="107" y="127"/>
                  </a:lnTo>
                  <a:lnTo>
                    <a:pt x="109" y="129"/>
                  </a:lnTo>
                  <a:lnTo>
                    <a:pt x="109" y="131"/>
                  </a:lnTo>
                  <a:lnTo>
                    <a:pt x="109" y="132"/>
                  </a:lnTo>
                  <a:lnTo>
                    <a:pt x="111" y="134"/>
                  </a:lnTo>
                  <a:lnTo>
                    <a:pt x="109" y="134"/>
                  </a:lnTo>
                  <a:lnTo>
                    <a:pt x="111" y="137"/>
                  </a:lnTo>
                  <a:lnTo>
                    <a:pt x="107" y="139"/>
                  </a:lnTo>
                  <a:lnTo>
                    <a:pt x="105" y="141"/>
                  </a:lnTo>
                  <a:lnTo>
                    <a:pt x="107" y="143"/>
                  </a:lnTo>
                  <a:lnTo>
                    <a:pt x="105" y="144"/>
                  </a:lnTo>
                  <a:lnTo>
                    <a:pt x="105" y="146"/>
                  </a:lnTo>
                  <a:lnTo>
                    <a:pt x="104" y="144"/>
                  </a:lnTo>
                  <a:lnTo>
                    <a:pt x="102" y="146"/>
                  </a:lnTo>
                  <a:lnTo>
                    <a:pt x="100" y="144"/>
                  </a:lnTo>
                  <a:lnTo>
                    <a:pt x="99" y="148"/>
                  </a:lnTo>
                  <a:lnTo>
                    <a:pt x="97" y="149"/>
                  </a:lnTo>
                  <a:lnTo>
                    <a:pt x="99" y="149"/>
                  </a:lnTo>
                  <a:lnTo>
                    <a:pt x="97" y="151"/>
                  </a:lnTo>
                  <a:lnTo>
                    <a:pt x="99" y="154"/>
                  </a:lnTo>
                  <a:lnTo>
                    <a:pt x="97" y="156"/>
                  </a:lnTo>
                  <a:lnTo>
                    <a:pt x="95" y="158"/>
                  </a:lnTo>
                  <a:lnTo>
                    <a:pt x="95" y="160"/>
                  </a:lnTo>
                  <a:lnTo>
                    <a:pt x="95" y="161"/>
                  </a:lnTo>
                  <a:lnTo>
                    <a:pt x="97" y="165"/>
                  </a:lnTo>
                  <a:lnTo>
                    <a:pt x="95" y="166"/>
                  </a:lnTo>
                  <a:lnTo>
                    <a:pt x="94" y="166"/>
                  </a:lnTo>
                  <a:lnTo>
                    <a:pt x="94" y="168"/>
                  </a:lnTo>
                  <a:lnTo>
                    <a:pt x="95" y="170"/>
                  </a:lnTo>
                  <a:lnTo>
                    <a:pt x="95" y="171"/>
                  </a:lnTo>
                  <a:lnTo>
                    <a:pt x="95" y="173"/>
                  </a:lnTo>
                  <a:lnTo>
                    <a:pt x="92" y="175"/>
                  </a:lnTo>
                  <a:lnTo>
                    <a:pt x="92" y="177"/>
                  </a:lnTo>
                  <a:lnTo>
                    <a:pt x="90" y="177"/>
                  </a:lnTo>
                  <a:lnTo>
                    <a:pt x="88" y="177"/>
                  </a:lnTo>
                  <a:lnTo>
                    <a:pt x="87" y="175"/>
                  </a:lnTo>
                  <a:lnTo>
                    <a:pt x="85" y="177"/>
                  </a:lnTo>
                  <a:lnTo>
                    <a:pt x="83" y="177"/>
                  </a:lnTo>
                  <a:lnTo>
                    <a:pt x="82" y="178"/>
                  </a:lnTo>
                  <a:lnTo>
                    <a:pt x="82" y="180"/>
                  </a:lnTo>
                  <a:lnTo>
                    <a:pt x="80" y="182"/>
                  </a:lnTo>
                  <a:lnTo>
                    <a:pt x="82" y="183"/>
                  </a:lnTo>
                  <a:lnTo>
                    <a:pt x="80" y="183"/>
                  </a:lnTo>
                  <a:lnTo>
                    <a:pt x="77" y="183"/>
                  </a:lnTo>
                  <a:lnTo>
                    <a:pt x="77" y="185"/>
                  </a:lnTo>
                  <a:lnTo>
                    <a:pt x="78" y="187"/>
                  </a:lnTo>
                  <a:lnTo>
                    <a:pt x="78" y="188"/>
                  </a:lnTo>
                  <a:lnTo>
                    <a:pt x="80" y="188"/>
                  </a:lnTo>
                  <a:lnTo>
                    <a:pt x="82" y="190"/>
                  </a:lnTo>
                  <a:lnTo>
                    <a:pt x="82" y="192"/>
                  </a:lnTo>
                  <a:lnTo>
                    <a:pt x="83" y="194"/>
                  </a:lnTo>
                  <a:lnTo>
                    <a:pt x="83" y="195"/>
                  </a:lnTo>
                  <a:lnTo>
                    <a:pt x="82" y="199"/>
                  </a:lnTo>
                  <a:lnTo>
                    <a:pt x="80" y="197"/>
                  </a:lnTo>
                  <a:lnTo>
                    <a:pt x="78" y="197"/>
                  </a:lnTo>
                  <a:lnTo>
                    <a:pt x="77" y="197"/>
                  </a:lnTo>
                  <a:lnTo>
                    <a:pt x="78" y="199"/>
                  </a:lnTo>
                  <a:lnTo>
                    <a:pt x="78" y="200"/>
                  </a:lnTo>
                  <a:lnTo>
                    <a:pt x="80" y="202"/>
                  </a:lnTo>
                  <a:lnTo>
                    <a:pt x="78" y="204"/>
                  </a:lnTo>
                  <a:lnTo>
                    <a:pt x="77" y="205"/>
                  </a:lnTo>
                  <a:lnTo>
                    <a:pt x="77" y="207"/>
                  </a:lnTo>
                  <a:lnTo>
                    <a:pt x="75" y="205"/>
                  </a:lnTo>
                  <a:lnTo>
                    <a:pt x="75" y="209"/>
                  </a:lnTo>
                  <a:lnTo>
                    <a:pt x="73" y="209"/>
                  </a:lnTo>
                  <a:lnTo>
                    <a:pt x="71" y="209"/>
                  </a:lnTo>
                  <a:lnTo>
                    <a:pt x="70" y="209"/>
                  </a:lnTo>
                  <a:lnTo>
                    <a:pt x="68" y="207"/>
                  </a:lnTo>
                  <a:lnTo>
                    <a:pt x="65" y="207"/>
                  </a:lnTo>
                  <a:lnTo>
                    <a:pt x="63" y="207"/>
                  </a:lnTo>
                  <a:lnTo>
                    <a:pt x="61" y="207"/>
                  </a:lnTo>
                  <a:lnTo>
                    <a:pt x="61" y="204"/>
                  </a:lnTo>
                  <a:lnTo>
                    <a:pt x="63" y="204"/>
                  </a:lnTo>
                  <a:lnTo>
                    <a:pt x="65" y="202"/>
                  </a:lnTo>
                  <a:lnTo>
                    <a:pt x="65" y="200"/>
                  </a:lnTo>
                  <a:lnTo>
                    <a:pt x="65" y="199"/>
                  </a:lnTo>
                  <a:lnTo>
                    <a:pt x="61" y="199"/>
                  </a:lnTo>
                  <a:lnTo>
                    <a:pt x="63" y="202"/>
                  </a:lnTo>
                  <a:lnTo>
                    <a:pt x="61" y="202"/>
                  </a:lnTo>
                  <a:lnTo>
                    <a:pt x="63" y="202"/>
                  </a:lnTo>
                  <a:lnTo>
                    <a:pt x="63" y="204"/>
                  </a:lnTo>
                  <a:lnTo>
                    <a:pt x="61" y="204"/>
                  </a:lnTo>
                  <a:lnTo>
                    <a:pt x="61" y="202"/>
                  </a:lnTo>
                  <a:lnTo>
                    <a:pt x="61" y="204"/>
                  </a:lnTo>
                  <a:lnTo>
                    <a:pt x="61" y="200"/>
                  </a:lnTo>
                  <a:lnTo>
                    <a:pt x="61" y="199"/>
                  </a:lnTo>
                  <a:lnTo>
                    <a:pt x="61" y="195"/>
                  </a:lnTo>
                  <a:lnTo>
                    <a:pt x="58" y="194"/>
                  </a:lnTo>
                  <a:lnTo>
                    <a:pt x="56" y="194"/>
                  </a:lnTo>
                  <a:lnTo>
                    <a:pt x="56" y="190"/>
                  </a:lnTo>
                  <a:lnTo>
                    <a:pt x="54" y="188"/>
                  </a:lnTo>
                  <a:lnTo>
                    <a:pt x="54" y="187"/>
                  </a:lnTo>
                  <a:lnTo>
                    <a:pt x="53" y="187"/>
                  </a:lnTo>
                  <a:lnTo>
                    <a:pt x="51" y="183"/>
                  </a:lnTo>
                  <a:lnTo>
                    <a:pt x="49" y="183"/>
                  </a:lnTo>
                  <a:lnTo>
                    <a:pt x="48" y="183"/>
                  </a:lnTo>
                  <a:lnTo>
                    <a:pt x="48" y="182"/>
                  </a:lnTo>
                  <a:lnTo>
                    <a:pt x="46" y="182"/>
                  </a:lnTo>
                  <a:lnTo>
                    <a:pt x="46" y="183"/>
                  </a:lnTo>
                  <a:lnTo>
                    <a:pt x="46" y="182"/>
                  </a:lnTo>
                  <a:lnTo>
                    <a:pt x="44" y="182"/>
                  </a:lnTo>
                  <a:lnTo>
                    <a:pt x="44" y="180"/>
                  </a:lnTo>
                  <a:lnTo>
                    <a:pt x="43" y="180"/>
                  </a:lnTo>
                  <a:lnTo>
                    <a:pt x="39" y="180"/>
                  </a:lnTo>
                  <a:lnTo>
                    <a:pt x="39" y="178"/>
                  </a:lnTo>
                  <a:lnTo>
                    <a:pt x="36" y="177"/>
                  </a:lnTo>
                  <a:lnTo>
                    <a:pt x="34" y="177"/>
                  </a:lnTo>
                  <a:lnTo>
                    <a:pt x="31" y="175"/>
                  </a:lnTo>
                  <a:lnTo>
                    <a:pt x="29" y="175"/>
                  </a:lnTo>
                  <a:lnTo>
                    <a:pt x="27" y="173"/>
                  </a:lnTo>
                  <a:lnTo>
                    <a:pt x="26" y="171"/>
                  </a:lnTo>
                  <a:lnTo>
                    <a:pt x="24" y="170"/>
                  </a:lnTo>
                  <a:lnTo>
                    <a:pt x="22" y="170"/>
                  </a:lnTo>
                  <a:lnTo>
                    <a:pt x="22" y="168"/>
                  </a:lnTo>
                  <a:lnTo>
                    <a:pt x="22" y="165"/>
                  </a:lnTo>
                  <a:lnTo>
                    <a:pt x="20" y="163"/>
                  </a:lnTo>
                  <a:lnTo>
                    <a:pt x="19" y="161"/>
                  </a:lnTo>
                  <a:lnTo>
                    <a:pt x="17" y="161"/>
                  </a:lnTo>
                  <a:lnTo>
                    <a:pt x="19" y="160"/>
                  </a:lnTo>
                  <a:lnTo>
                    <a:pt x="20" y="160"/>
                  </a:lnTo>
                  <a:lnTo>
                    <a:pt x="22" y="161"/>
                  </a:lnTo>
                  <a:lnTo>
                    <a:pt x="24" y="163"/>
                  </a:lnTo>
                  <a:lnTo>
                    <a:pt x="24" y="166"/>
                  </a:lnTo>
                  <a:lnTo>
                    <a:pt x="26" y="166"/>
                  </a:lnTo>
                  <a:lnTo>
                    <a:pt x="27" y="166"/>
                  </a:lnTo>
                  <a:lnTo>
                    <a:pt x="29" y="165"/>
                  </a:lnTo>
                  <a:lnTo>
                    <a:pt x="27" y="161"/>
                  </a:lnTo>
                  <a:lnTo>
                    <a:pt x="27" y="160"/>
                  </a:lnTo>
                  <a:lnTo>
                    <a:pt x="27" y="158"/>
                  </a:lnTo>
                  <a:lnTo>
                    <a:pt x="26" y="156"/>
                  </a:lnTo>
                  <a:lnTo>
                    <a:pt x="24" y="154"/>
                  </a:lnTo>
                  <a:lnTo>
                    <a:pt x="24" y="156"/>
                  </a:lnTo>
                  <a:lnTo>
                    <a:pt x="24" y="154"/>
                  </a:lnTo>
                  <a:lnTo>
                    <a:pt x="22" y="154"/>
                  </a:lnTo>
                  <a:lnTo>
                    <a:pt x="20" y="153"/>
                  </a:lnTo>
                  <a:lnTo>
                    <a:pt x="20" y="151"/>
                  </a:lnTo>
                  <a:lnTo>
                    <a:pt x="19" y="149"/>
                  </a:lnTo>
                  <a:lnTo>
                    <a:pt x="19" y="148"/>
                  </a:lnTo>
                  <a:lnTo>
                    <a:pt x="17" y="144"/>
                  </a:lnTo>
                  <a:lnTo>
                    <a:pt x="15" y="144"/>
                  </a:lnTo>
                  <a:lnTo>
                    <a:pt x="17" y="141"/>
                  </a:lnTo>
                  <a:lnTo>
                    <a:pt x="19" y="139"/>
                  </a:lnTo>
                  <a:lnTo>
                    <a:pt x="19" y="136"/>
                  </a:lnTo>
                  <a:lnTo>
                    <a:pt x="19" y="134"/>
                  </a:lnTo>
                  <a:lnTo>
                    <a:pt x="17" y="132"/>
                  </a:lnTo>
                  <a:lnTo>
                    <a:pt x="19" y="131"/>
                  </a:lnTo>
                  <a:lnTo>
                    <a:pt x="19" y="129"/>
                  </a:lnTo>
                  <a:lnTo>
                    <a:pt x="19" y="127"/>
                  </a:lnTo>
                  <a:lnTo>
                    <a:pt x="19" y="126"/>
                  </a:lnTo>
                  <a:lnTo>
                    <a:pt x="20" y="124"/>
                  </a:lnTo>
                  <a:lnTo>
                    <a:pt x="22" y="122"/>
                  </a:lnTo>
                  <a:lnTo>
                    <a:pt x="22" y="120"/>
                  </a:lnTo>
                  <a:lnTo>
                    <a:pt x="20" y="119"/>
                  </a:lnTo>
                  <a:lnTo>
                    <a:pt x="19" y="115"/>
                  </a:lnTo>
                  <a:lnTo>
                    <a:pt x="20" y="114"/>
                  </a:lnTo>
                  <a:lnTo>
                    <a:pt x="20" y="112"/>
                  </a:lnTo>
                  <a:lnTo>
                    <a:pt x="19" y="110"/>
                  </a:lnTo>
                  <a:lnTo>
                    <a:pt x="19" y="109"/>
                  </a:lnTo>
                  <a:lnTo>
                    <a:pt x="20" y="107"/>
                  </a:lnTo>
                  <a:lnTo>
                    <a:pt x="20" y="105"/>
                  </a:lnTo>
                  <a:lnTo>
                    <a:pt x="20" y="103"/>
                  </a:lnTo>
                  <a:lnTo>
                    <a:pt x="22" y="100"/>
                  </a:lnTo>
                  <a:lnTo>
                    <a:pt x="20" y="98"/>
                  </a:lnTo>
                  <a:lnTo>
                    <a:pt x="19" y="97"/>
                  </a:lnTo>
                  <a:lnTo>
                    <a:pt x="17" y="97"/>
                  </a:lnTo>
                  <a:lnTo>
                    <a:pt x="17" y="98"/>
                  </a:lnTo>
                  <a:lnTo>
                    <a:pt x="15" y="97"/>
                  </a:lnTo>
                  <a:lnTo>
                    <a:pt x="15" y="93"/>
                  </a:lnTo>
                  <a:lnTo>
                    <a:pt x="15" y="92"/>
                  </a:lnTo>
                  <a:lnTo>
                    <a:pt x="14" y="90"/>
                  </a:lnTo>
                  <a:lnTo>
                    <a:pt x="15" y="90"/>
                  </a:lnTo>
                  <a:lnTo>
                    <a:pt x="17" y="88"/>
                  </a:lnTo>
                  <a:lnTo>
                    <a:pt x="19" y="86"/>
                  </a:lnTo>
                  <a:lnTo>
                    <a:pt x="19" y="83"/>
                  </a:lnTo>
                  <a:lnTo>
                    <a:pt x="19" y="81"/>
                  </a:lnTo>
                  <a:lnTo>
                    <a:pt x="15" y="80"/>
                  </a:lnTo>
                  <a:lnTo>
                    <a:pt x="14" y="78"/>
                  </a:lnTo>
                  <a:lnTo>
                    <a:pt x="17" y="78"/>
                  </a:lnTo>
                  <a:lnTo>
                    <a:pt x="19" y="78"/>
                  </a:lnTo>
                  <a:lnTo>
                    <a:pt x="20" y="78"/>
                  </a:lnTo>
                  <a:lnTo>
                    <a:pt x="20" y="76"/>
                  </a:lnTo>
                  <a:lnTo>
                    <a:pt x="22" y="75"/>
                  </a:lnTo>
                  <a:lnTo>
                    <a:pt x="22" y="73"/>
                  </a:lnTo>
                  <a:lnTo>
                    <a:pt x="20" y="75"/>
                  </a:lnTo>
                  <a:lnTo>
                    <a:pt x="20" y="71"/>
                  </a:lnTo>
                  <a:lnTo>
                    <a:pt x="20" y="69"/>
                  </a:lnTo>
                  <a:lnTo>
                    <a:pt x="20" y="68"/>
                  </a:lnTo>
                  <a:lnTo>
                    <a:pt x="20" y="64"/>
                  </a:lnTo>
                  <a:lnTo>
                    <a:pt x="20" y="63"/>
                  </a:lnTo>
                  <a:lnTo>
                    <a:pt x="20" y="61"/>
                  </a:lnTo>
                  <a:lnTo>
                    <a:pt x="19" y="61"/>
                  </a:lnTo>
                  <a:lnTo>
                    <a:pt x="17" y="59"/>
                  </a:lnTo>
                  <a:lnTo>
                    <a:pt x="15" y="59"/>
                  </a:lnTo>
                  <a:lnTo>
                    <a:pt x="14" y="59"/>
                  </a:lnTo>
                  <a:lnTo>
                    <a:pt x="12" y="58"/>
                  </a:lnTo>
                  <a:lnTo>
                    <a:pt x="10" y="58"/>
                  </a:lnTo>
                  <a:lnTo>
                    <a:pt x="9" y="59"/>
                  </a:lnTo>
                  <a:lnTo>
                    <a:pt x="9" y="58"/>
                  </a:lnTo>
                  <a:lnTo>
                    <a:pt x="7" y="56"/>
                  </a:lnTo>
                  <a:lnTo>
                    <a:pt x="7" y="54"/>
                  </a:lnTo>
                  <a:lnTo>
                    <a:pt x="7" y="52"/>
                  </a:lnTo>
                  <a:lnTo>
                    <a:pt x="9" y="51"/>
                  </a:lnTo>
                  <a:lnTo>
                    <a:pt x="7" y="51"/>
                  </a:lnTo>
                  <a:lnTo>
                    <a:pt x="7" y="49"/>
                  </a:lnTo>
                  <a:lnTo>
                    <a:pt x="7" y="47"/>
                  </a:lnTo>
                  <a:lnTo>
                    <a:pt x="7" y="44"/>
                  </a:lnTo>
                  <a:lnTo>
                    <a:pt x="7" y="42"/>
                  </a:lnTo>
                  <a:lnTo>
                    <a:pt x="7" y="40"/>
                  </a:lnTo>
                  <a:lnTo>
                    <a:pt x="5" y="40"/>
                  </a:lnTo>
                  <a:lnTo>
                    <a:pt x="5" y="39"/>
                  </a:lnTo>
                  <a:lnTo>
                    <a:pt x="0" y="37"/>
                  </a:lnTo>
                  <a:lnTo>
                    <a:pt x="3" y="32"/>
                  </a:lnTo>
                  <a:lnTo>
                    <a:pt x="3" y="30"/>
                  </a:lnTo>
                  <a:lnTo>
                    <a:pt x="5" y="29"/>
                  </a:lnTo>
                  <a:lnTo>
                    <a:pt x="7" y="25"/>
                  </a:lnTo>
                  <a:lnTo>
                    <a:pt x="5" y="23"/>
                  </a:lnTo>
                  <a:lnTo>
                    <a:pt x="7" y="22"/>
                  </a:lnTo>
                  <a:lnTo>
                    <a:pt x="9" y="20"/>
                  </a:lnTo>
                  <a:lnTo>
                    <a:pt x="9" y="17"/>
                  </a:lnTo>
                  <a:lnTo>
                    <a:pt x="10" y="17"/>
                  </a:lnTo>
                  <a:lnTo>
                    <a:pt x="10" y="15"/>
                  </a:lnTo>
                  <a:lnTo>
                    <a:pt x="12" y="13"/>
                  </a:lnTo>
                  <a:lnTo>
                    <a:pt x="12" y="12"/>
                  </a:lnTo>
                  <a:lnTo>
                    <a:pt x="14" y="10"/>
                  </a:lnTo>
                  <a:lnTo>
                    <a:pt x="15" y="8"/>
                  </a:lnTo>
                  <a:lnTo>
                    <a:pt x="14" y="6"/>
                  </a:lnTo>
                  <a:lnTo>
                    <a:pt x="15" y="5"/>
                  </a:lnTo>
                  <a:lnTo>
                    <a:pt x="15" y="3"/>
                  </a:lnTo>
                  <a:lnTo>
                    <a:pt x="17" y="3"/>
                  </a:lnTo>
                  <a:lnTo>
                    <a:pt x="19" y="0"/>
                  </a:lnTo>
                  <a:lnTo>
                    <a:pt x="20" y="1"/>
                  </a:lnTo>
                  <a:lnTo>
                    <a:pt x="20" y="3"/>
                  </a:lnTo>
                  <a:lnTo>
                    <a:pt x="22" y="5"/>
                  </a:lnTo>
                  <a:lnTo>
                    <a:pt x="20" y="5"/>
                  </a:lnTo>
                  <a:lnTo>
                    <a:pt x="20" y="8"/>
                  </a:lnTo>
                  <a:lnTo>
                    <a:pt x="22" y="10"/>
                  </a:lnTo>
                  <a:lnTo>
                    <a:pt x="24" y="12"/>
                  </a:lnTo>
                  <a:lnTo>
                    <a:pt x="26" y="13"/>
                  </a:lnTo>
                  <a:lnTo>
                    <a:pt x="27" y="12"/>
                  </a:lnTo>
                  <a:lnTo>
                    <a:pt x="29" y="10"/>
                  </a:lnTo>
                  <a:lnTo>
                    <a:pt x="29" y="12"/>
                  </a:lnTo>
                  <a:lnTo>
                    <a:pt x="31" y="10"/>
                  </a:lnTo>
                  <a:lnTo>
                    <a:pt x="32" y="8"/>
                  </a:lnTo>
                  <a:lnTo>
                    <a:pt x="34" y="8"/>
                  </a:lnTo>
                  <a:lnTo>
                    <a:pt x="36" y="6"/>
                  </a:lnTo>
                  <a:lnTo>
                    <a:pt x="37" y="5"/>
                  </a:lnTo>
                  <a:close/>
                  <a:moveTo>
                    <a:pt x="15" y="154"/>
                  </a:moveTo>
                  <a:lnTo>
                    <a:pt x="17" y="158"/>
                  </a:lnTo>
                  <a:lnTo>
                    <a:pt x="15" y="158"/>
                  </a:lnTo>
                  <a:lnTo>
                    <a:pt x="15" y="15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196" name="Freeform 26">
              <a:extLst>
                <a:ext uri="{FF2B5EF4-FFF2-40B4-BE49-F238E27FC236}">
                  <a16:creationId xmlns:a16="http://schemas.microsoft.com/office/drawing/2014/main" id="{FD2E394F-E612-4056-BC9E-34FB5FA925EE}"/>
                </a:ext>
              </a:extLst>
            </p:cNvPr>
            <p:cNvSpPr>
              <a:spLocks noEditPoints="1"/>
            </p:cNvSpPr>
            <p:nvPr/>
          </p:nvSpPr>
          <p:spPr bwMode="gray">
            <a:xfrm>
              <a:off x="9673040" y="5548487"/>
              <a:ext cx="287385" cy="346642"/>
            </a:xfrm>
            <a:custGeom>
              <a:avLst/>
              <a:gdLst>
                <a:gd name="T0" fmla="*/ 38 w 97"/>
                <a:gd name="T1" fmla="*/ 7 h 117"/>
                <a:gd name="T2" fmla="*/ 45 w 97"/>
                <a:gd name="T3" fmla="*/ 8 h 117"/>
                <a:gd name="T4" fmla="*/ 48 w 97"/>
                <a:gd name="T5" fmla="*/ 13 h 117"/>
                <a:gd name="T6" fmla="*/ 51 w 97"/>
                <a:gd name="T7" fmla="*/ 19 h 117"/>
                <a:gd name="T8" fmla="*/ 58 w 97"/>
                <a:gd name="T9" fmla="*/ 22 h 117"/>
                <a:gd name="T10" fmla="*/ 65 w 97"/>
                <a:gd name="T11" fmla="*/ 22 h 117"/>
                <a:gd name="T12" fmla="*/ 70 w 97"/>
                <a:gd name="T13" fmla="*/ 25 h 117"/>
                <a:gd name="T14" fmla="*/ 75 w 97"/>
                <a:gd name="T15" fmla="*/ 27 h 117"/>
                <a:gd name="T16" fmla="*/ 82 w 97"/>
                <a:gd name="T17" fmla="*/ 32 h 117"/>
                <a:gd name="T18" fmla="*/ 89 w 97"/>
                <a:gd name="T19" fmla="*/ 34 h 117"/>
                <a:gd name="T20" fmla="*/ 96 w 97"/>
                <a:gd name="T21" fmla="*/ 36 h 117"/>
                <a:gd name="T22" fmla="*/ 96 w 97"/>
                <a:gd name="T23" fmla="*/ 41 h 117"/>
                <a:gd name="T24" fmla="*/ 92 w 97"/>
                <a:gd name="T25" fmla="*/ 47 h 117"/>
                <a:gd name="T26" fmla="*/ 85 w 97"/>
                <a:gd name="T27" fmla="*/ 47 h 117"/>
                <a:gd name="T28" fmla="*/ 82 w 97"/>
                <a:gd name="T29" fmla="*/ 53 h 117"/>
                <a:gd name="T30" fmla="*/ 85 w 97"/>
                <a:gd name="T31" fmla="*/ 59 h 117"/>
                <a:gd name="T32" fmla="*/ 82 w 97"/>
                <a:gd name="T33" fmla="*/ 66 h 117"/>
                <a:gd name="T34" fmla="*/ 77 w 97"/>
                <a:gd name="T35" fmla="*/ 68 h 117"/>
                <a:gd name="T36" fmla="*/ 70 w 97"/>
                <a:gd name="T37" fmla="*/ 68 h 117"/>
                <a:gd name="T38" fmla="*/ 68 w 97"/>
                <a:gd name="T39" fmla="*/ 61 h 117"/>
                <a:gd name="T40" fmla="*/ 63 w 97"/>
                <a:gd name="T41" fmla="*/ 61 h 117"/>
                <a:gd name="T42" fmla="*/ 62 w 97"/>
                <a:gd name="T43" fmla="*/ 68 h 117"/>
                <a:gd name="T44" fmla="*/ 58 w 97"/>
                <a:gd name="T45" fmla="*/ 75 h 117"/>
                <a:gd name="T46" fmla="*/ 53 w 97"/>
                <a:gd name="T47" fmla="*/ 81 h 117"/>
                <a:gd name="T48" fmla="*/ 51 w 97"/>
                <a:gd name="T49" fmla="*/ 90 h 117"/>
                <a:gd name="T50" fmla="*/ 55 w 97"/>
                <a:gd name="T51" fmla="*/ 98 h 117"/>
                <a:gd name="T52" fmla="*/ 55 w 97"/>
                <a:gd name="T53" fmla="*/ 107 h 117"/>
                <a:gd name="T54" fmla="*/ 55 w 97"/>
                <a:gd name="T55" fmla="*/ 112 h 117"/>
                <a:gd name="T56" fmla="*/ 53 w 97"/>
                <a:gd name="T57" fmla="*/ 116 h 117"/>
                <a:gd name="T58" fmla="*/ 43 w 97"/>
                <a:gd name="T59" fmla="*/ 112 h 117"/>
                <a:gd name="T60" fmla="*/ 43 w 97"/>
                <a:gd name="T61" fmla="*/ 107 h 117"/>
                <a:gd name="T62" fmla="*/ 40 w 97"/>
                <a:gd name="T63" fmla="*/ 102 h 117"/>
                <a:gd name="T64" fmla="*/ 33 w 97"/>
                <a:gd name="T65" fmla="*/ 97 h 117"/>
                <a:gd name="T66" fmla="*/ 26 w 97"/>
                <a:gd name="T67" fmla="*/ 90 h 117"/>
                <a:gd name="T68" fmla="*/ 23 w 97"/>
                <a:gd name="T69" fmla="*/ 92 h 117"/>
                <a:gd name="T70" fmla="*/ 16 w 97"/>
                <a:gd name="T71" fmla="*/ 87 h 117"/>
                <a:gd name="T72" fmla="*/ 14 w 97"/>
                <a:gd name="T73" fmla="*/ 87 h 117"/>
                <a:gd name="T74" fmla="*/ 9 w 97"/>
                <a:gd name="T75" fmla="*/ 83 h 117"/>
                <a:gd name="T76" fmla="*/ 16 w 97"/>
                <a:gd name="T77" fmla="*/ 83 h 117"/>
                <a:gd name="T78" fmla="*/ 16 w 97"/>
                <a:gd name="T79" fmla="*/ 78 h 117"/>
                <a:gd name="T80" fmla="*/ 19 w 97"/>
                <a:gd name="T81" fmla="*/ 80 h 117"/>
                <a:gd name="T82" fmla="*/ 14 w 97"/>
                <a:gd name="T83" fmla="*/ 75 h 117"/>
                <a:gd name="T84" fmla="*/ 11 w 97"/>
                <a:gd name="T85" fmla="*/ 81 h 117"/>
                <a:gd name="T86" fmla="*/ 7 w 97"/>
                <a:gd name="T87" fmla="*/ 83 h 117"/>
                <a:gd name="T88" fmla="*/ 2 w 97"/>
                <a:gd name="T89" fmla="*/ 76 h 117"/>
                <a:gd name="T90" fmla="*/ 6 w 97"/>
                <a:gd name="T91" fmla="*/ 71 h 117"/>
                <a:gd name="T92" fmla="*/ 6 w 97"/>
                <a:gd name="T93" fmla="*/ 61 h 117"/>
                <a:gd name="T94" fmla="*/ 0 w 97"/>
                <a:gd name="T95" fmla="*/ 56 h 117"/>
                <a:gd name="T96" fmla="*/ 2 w 97"/>
                <a:gd name="T97" fmla="*/ 49 h 117"/>
                <a:gd name="T98" fmla="*/ 2 w 97"/>
                <a:gd name="T99" fmla="*/ 42 h 117"/>
                <a:gd name="T100" fmla="*/ 6 w 97"/>
                <a:gd name="T101" fmla="*/ 39 h 117"/>
                <a:gd name="T102" fmla="*/ 7 w 97"/>
                <a:gd name="T103" fmla="*/ 32 h 117"/>
                <a:gd name="T104" fmla="*/ 9 w 97"/>
                <a:gd name="T105" fmla="*/ 25 h 117"/>
                <a:gd name="T106" fmla="*/ 14 w 97"/>
                <a:gd name="T107" fmla="*/ 19 h 117"/>
                <a:gd name="T108" fmla="*/ 19 w 97"/>
                <a:gd name="T109" fmla="*/ 13 h 117"/>
                <a:gd name="T110" fmla="*/ 24 w 97"/>
                <a:gd name="T111" fmla="*/ 20 h 117"/>
                <a:gd name="T112" fmla="*/ 26 w 97"/>
                <a:gd name="T113" fmla="*/ 13 h 117"/>
                <a:gd name="T114" fmla="*/ 21 w 97"/>
                <a:gd name="T115" fmla="*/ 7 h 117"/>
                <a:gd name="T116" fmla="*/ 19 w 97"/>
                <a:gd name="T117" fmla="*/ 3 h 117"/>
                <a:gd name="T118" fmla="*/ 24 w 97"/>
                <a:gd name="T119" fmla="*/ 3 h 117"/>
                <a:gd name="T120" fmla="*/ 31 w 97"/>
                <a:gd name="T121" fmla="*/ 0 h 117"/>
                <a:gd name="T122" fmla="*/ 57 w 97"/>
                <a:gd name="T123"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7" h="117">
                  <a:moveTo>
                    <a:pt x="33" y="2"/>
                  </a:moveTo>
                  <a:lnTo>
                    <a:pt x="33" y="3"/>
                  </a:lnTo>
                  <a:lnTo>
                    <a:pt x="36" y="5"/>
                  </a:lnTo>
                  <a:lnTo>
                    <a:pt x="38" y="7"/>
                  </a:lnTo>
                  <a:lnTo>
                    <a:pt x="40" y="7"/>
                  </a:lnTo>
                  <a:lnTo>
                    <a:pt x="41" y="8"/>
                  </a:lnTo>
                  <a:lnTo>
                    <a:pt x="43" y="7"/>
                  </a:lnTo>
                  <a:lnTo>
                    <a:pt x="45" y="8"/>
                  </a:lnTo>
                  <a:lnTo>
                    <a:pt x="46" y="8"/>
                  </a:lnTo>
                  <a:lnTo>
                    <a:pt x="46" y="10"/>
                  </a:lnTo>
                  <a:lnTo>
                    <a:pt x="46" y="12"/>
                  </a:lnTo>
                  <a:lnTo>
                    <a:pt x="48" y="13"/>
                  </a:lnTo>
                  <a:lnTo>
                    <a:pt x="50" y="13"/>
                  </a:lnTo>
                  <a:lnTo>
                    <a:pt x="51" y="13"/>
                  </a:lnTo>
                  <a:lnTo>
                    <a:pt x="51" y="15"/>
                  </a:lnTo>
                  <a:lnTo>
                    <a:pt x="51" y="19"/>
                  </a:lnTo>
                  <a:lnTo>
                    <a:pt x="55" y="19"/>
                  </a:lnTo>
                  <a:lnTo>
                    <a:pt x="57" y="19"/>
                  </a:lnTo>
                  <a:lnTo>
                    <a:pt x="58" y="20"/>
                  </a:lnTo>
                  <a:lnTo>
                    <a:pt x="58" y="22"/>
                  </a:lnTo>
                  <a:lnTo>
                    <a:pt x="60" y="22"/>
                  </a:lnTo>
                  <a:lnTo>
                    <a:pt x="62" y="22"/>
                  </a:lnTo>
                  <a:lnTo>
                    <a:pt x="63" y="22"/>
                  </a:lnTo>
                  <a:lnTo>
                    <a:pt x="65" y="22"/>
                  </a:lnTo>
                  <a:lnTo>
                    <a:pt x="65" y="25"/>
                  </a:lnTo>
                  <a:lnTo>
                    <a:pt x="68" y="25"/>
                  </a:lnTo>
                  <a:lnTo>
                    <a:pt x="68" y="27"/>
                  </a:lnTo>
                  <a:lnTo>
                    <a:pt x="70" y="25"/>
                  </a:lnTo>
                  <a:lnTo>
                    <a:pt x="74" y="27"/>
                  </a:lnTo>
                  <a:lnTo>
                    <a:pt x="74" y="25"/>
                  </a:lnTo>
                  <a:lnTo>
                    <a:pt x="75" y="24"/>
                  </a:lnTo>
                  <a:lnTo>
                    <a:pt x="75" y="27"/>
                  </a:lnTo>
                  <a:lnTo>
                    <a:pt x="77" y="29"/>
                  </a:lnTo>
                  <a:lnTo>
                    <a:pt x="79" y="29"/>
                  </a:lnTo>
                  <a:lnTo>
                    <a:pt x="80" y="30"/>
                  </a:lnTo>
                  <a:lnTo>
                    <a:pt x="82" y="32"/>
                  </a:lnTo>
                  <a:lnTo>
                    <a:pt x="84" y="34"/>
                  </a:lnTo>
                  <a:lnTo>
                    <a:pt x="85" y="32"/>
                  </a:lnTo>
                  <a:lnTo>
                    <a:pt x="87" y="34"/>
                  </a:lnTo>
                  <a:lnTo>
                    <a:pt x="89" y="34"/>
                  </a:lnTo>
                  <a:lnTo>
                    <a:pt x="91" y="34"/>
                  </a:lnTo>
                  <a:lnTo>
                    <a:pt x="92" y="36"/>
                  </a:lnTo>
                  <a:lnTo>
                    <a:pt x="94" y="36"/>
                  </a:lnTo>
                  <a:lnTo>
                    <a:pt x="96" y="36"/>
                  </a:lnTo>
                  <a:lnTo>
                    <a:pt x="97" y="39"/>
                  </a:lnTo>
                  <a:lnTo>
                    <a:pt x="97" y="41"/>
                  </a:lnTo>
                  <a:lnTo>
                    <a:pt x="96" y="42"/>
                  </a:lnTo>
                  <a:lnTo>
                    <a:pt x="96" y="41"/>
                  </a:lnTo>
                  <a:lnTo>
                    <a:pt x="92" y="42"/>
                  </a:lnTo>
                  <a:lnTo>
                    <a:pt x="94" y="46"/>
                  </a:lnTo>
                  <a:lnTo>
                    <a:pt x="94" y="47"/>
                  </a:lnTo>
                  <a:lnTo>
                    <a:pt x="92" y="47"/>
                  </a:lnTo>
                  <a:lnTo>
                    <a:pt x="91" y="49"/>
                  </a:lnTo>
                  <a:lnTo>
                    <a:pt x="89" y="47"/>
                  </a:lnTo>
                  <a:lnTo>
                    <a:pt x="87" y="47"/>
                  </a:lnTo>
                  <a:lnTo>
                    <a:pt x="85" y="47"/>
                  </a:lnTo>
                  <a:lnTo>
                    <a:pt x="84" y="47"/>
                  </a:lnTo>
                  <a:lnTo>
                    <a:pt x="82" y="47"/>
                  </a:lnTo>
                  <a:lnTo>
                    <a:pt x="82" y="51"/>
                  </a:lnTo>
                  <a:lnTo>
                    <a:pt x="82" y="53"/>
                  </a:lnTo>
                  <a:lnTo>
                    <a:pt x="85" y="54"/>
                  </a:lnTo>
                  <a:lnTo>
                    <a:pt x="87" y="56"/>
                  </a:lnTo>
                  <a:lnTo>
                    <a:pt x="85" y="58"/>
                  </a:lnTo>
                  <a:lnTo>
                    <a:pt x="85" y="59"/>
                  </a:lnTo>
                  <a:lnTo>
                    <a:pt x="87" y="61"/>
                  </a:lnTo>
                  <a:lnTo>
                    <a:pt x="85" y="63"/>
                  </a:lnTo>
                  <a:lnTo>
                    <a:pt x="84" y="64"/>
                  </a:lnTo>
                  <a:lnTo>
                    <a:pt x="82" y="66"/>
                  </a:lnTo>
                  <a:lnTo>
                    <a:pt x="80" y="66"/>
                  </a:lnTo>
                  <a:lnTo>
                    <a:pt x="79" y="68"/>
                  </a:lnTo>
                  <a:lnTo>
                    <a:pt x="77" y="70"/>
                  </a:lnTo>
                  <a:lnTo>
                    <a:pt x="77" y="68"/>
                  </a:lnTo>
                  <a:lnTo>
                    <a:pt x="75" y="70"/>
                  </a:lnTo>
                  <a:lnTo>
                    <a:pt x="74" y="71"/>
                  </a:lnTo>
                  <a:lnTo>
                    <a:pt x="72" y="70"/>
                  </a:lnTo>
                  <a:lnTo>
                    <a:pt x="70" y="68"/>
                  </a:lnTo>
                  <a:lnTo>
                    <a:pt x="68" y="66"/>
                  </a:lnTo>
                  <a:lnTo>
                    <a:pt x="68" y="63"/>
                  </a:lnTo>
                  <a:lnTo>
                    <a:pt x="70" y="63"/>
                  </a:lnTo>
                  <a:lnTo>
                    <a:pt x="68" y="61"/>
                  </a:lnTo>
                  <a:lnTo>
                    <a:pt x="68" y="59"/>
                  </a:lnTo>
                  <a:lnTo>
                    <a:pt x="67" y="58"/>
                  </a:lnTo>
                  <a:lnTo>
                    <a:pt x="65" y="61"/>
                  </a:lnTo>
                  <a:lnTo>
                    <a:pt x="63" y="61"/>
                  </a:lnTo>
                  <a:lnTo>
                    <a:pt x="63" y="63"/>
                  </a:lnTo>
                  <a:lnTo>
                    <a:pt x="62" y="64"/>
                  </a:lnTo>
                  <a:lnTo>
                    <a:pt x="63" y="66"/>
                  </a:lnTo>
                  <a:lnTo>
                    <a:pt x="62" y="68"/>
                  </a:lnTo>
                  <a:lnTo>
                    <a:pt x="60" y="70"/>
                  </a:lnTo>
                  <a:lnTo>
                    <a:pt x="60" y="71"/>
                  </a:lnTo>
                  <a:lnTo>
                    <a:pt x="58" y="73"/>
                  </a:lnTo>
                  <a:lnTo>
                    <a:pt x="58" y="75"/>
                  </a:lnTo>
                  <a:lnTo>
                    <a:pt x="57" y="75"/>
                  </a:lnTo>
                  <a:lnTo>
                    <a:pt x="57" y="78"/>
                  </a:lnTo>
                  <a:lnTo>
                    <a:pt x="55" y="80"/>
                  </a:lnTo>
                  <a:lnTo>
                    <a:pt x="53" y="81"/>
                  </a:lnTo>
                  <a:lnTo>
                    <a:pt x="55" y="83"/>
                  </a:lnTo>
                  <a:lnTo>
                    <a:pt x="53" y="87"/>
                  </a:lnTo>
                  <a:lnTo>
                    <a:pt x="51" y="88"/>
                  </a:lnTo>
                  <a:lnTo>
                    <a:pt x="51" y="90"/>
                  </a:lnTo>
                  <a:lnTo>
                    <a:pt x="48" y="95"/>
                  </a:lnTo>
                  <a:lnTo>
                    <a:pt x="53" y="97"/>
                  </a:lnTo>
                  <a:lnTo>
                    <a:pt x="53" y="98"/>
                  </a:lnTo>
                  <a:lnTo>
                    <a:pt x="55" y="98"/>
                  </a:lnTo>
                  <a:lnTo>
                    <a:pt x="55" y="100"/>
                  </a:lnTo>
                  <a:lnTo>
                    <a:pt x="55" y="102"/>
                  </a:lnTo>
                  <a:lnTo>
                    <a:pt x="55" y="105"/>
                  </a:lnTo>
                  <a:lnTo>
                    <a:pt x="55" y="107"/>
                  </a:lnTo>
                  <a:lnTo>
                    <a:pt x="55" y="109"/>
                  </a:lnTo>
                  <a:lnTo>
                    <a:pt x="57" y="109"/>
                  </a:lnTo>
                  <a:lnTo>
                    <a:pt x="55" y="110"/>
                  </a:lnTo>
                  <a:lnTo>
                    <a:pt x="55" y="112"/>
                  </a:lnTo>
                  <a:lnTo>
                    <a:pt x="55" y="114"/>
                  </a:lnTo>
                  <a:lnTo>
                    <a:pt x="57" y="116"/>
                  </a:lnTo>
                  <a:lnTo>
                    <a:pt x="55" y="117"/>
                  </a:lnTo>
                  <a:lnTo>
                    <a:pt x="53" y="116"/>
                  </a:lnTo>
                  <a:lnTo>
                    <a:pt x="50" y="114"/>
                  </a:lnTo>
                  <a:lnTo>
                    <a:pt x="48" y="114"/>
                  </a:lnTo>
                  <a:lnTo>
                    <a:pt x="46" y="114"/>
                  </a:lnTo>
                  <a:lnTo>
                    <a:pt x="43" y="112"/>
                  </a:lnTo>
                  <a:lnTo>
                    <a:pt x="45" y="112"/>
                  </a:lnTo>
                  <a:lnTo>
                    <a:pt x="43" y="110"/>
                  </a:lnTo>
                  <a:lnTo>
                    <a:pt x="43" y="109"/>
                  </a:lnTo>
                  <a:lnTo>
                    <a:pt x="43" y="107"/>
                  </a:lnTo>
                  <a:lnTo>
                    <a:pt x="43" y="105"/>
                  </a:lnTo>
                  <a:lnTo>
                    <a:pt x="40" y="104"/>
                  </a:lnTo>
                  <a:lnTo>
                    <a:pt x="38" y="104"/>
                  </a:lnTo>
                  <a:lnTo>
                    <a:pt x="40" y="102"/>
                  </a:lnTo>
                  <a:lnTo>
                    <a:pt x="38" y="100"/>
                  </a:lnTo>
                  <a:lnTo>
                    <a:pt x="34" y="100"/>
                  </a:lnTo>
                  <a:lnTo>
                    <a:pt x="34" y="98"/>
                  </a:lnTo>
                  <a:lnTo>
                    <a:pt x="33" y="97"/>
                  </a:lnTo>
                  <a:lnTo>
                    <a:pt x="31" y="95"/>
                  </a:lnTo>
                  <a:lnTo>
                    <a:pt x="29" y="95"/>
                  </a:lnTo>
                  <a:lnTo>
                    <a:pt x="28" y="92"/>
                  </a:lnTo>
                  <a:lnTo>
                    <a:pt x="26" y="90"/>
                  </a:lnTo>
                  <a:lnTo>
                    <a:pt x="24" y="90"/>
                  </a:lnTo>
                  <a:lnTo>
                    <a:pt x="24" y="92"/>
                  </a:lnTo>
                  <a:lnTo>
                    <a:pt x="23" y="90"/>
                  </a:lnTo>
                  <a:lnTo>
                    <a:pt x="23" y="92"/>
                  </a:lnTo>
                  <a:lnTo>
                    <a:pt x="21" y="92"/>
                  </a:lnTo>
                  <a:lnTo>
                    <a:pt x="19" y="90"/>
                  </a:lnTo>
                  <a:lnTo>
                    <a:pt x="17" y="88"/>
                  </a:lnTo>
                  <a:lnTo>
                    <a:pt x="16" y="87"/>
                  </a:lnTo>
                  <a:lnTo>
                    <a:pt x="17" y="87"/>
                  </a:lnTo>
                  <a:lnTo>
                    <a:pt x="16" y="85"/>
                  </a:lnTo>
                  <a:lnTo>
                    <a:pt x="14" y="85"/>
                  </a:lnTo>
                  <a:lnTo>
                    <a:pt x="14" y="87"/>
                  </a:lnTo>
                  <a:lnTo>
                    <a:pt x="12" y="87"/>
                  </a:lnTo>
                  <a:lnTo>
                    <a:pt x="9" y="85"/>
                  </a:lnTo>
                  <a:lnTo>
                    <a:pt x="11" y="83"/>
                  </a:lnTo>
                  <a:lnTo>
                    <a:pt x="9" y="83"/>
                  </a:lnTo>
                  <a:lnTo>
                    <a:pt x="9" y="81"/>
                  </a:lnTo>
                  <a:lnTo>
                    <a:pt x="12" y="81"/>
                  </a:lnTo>
                  <a:lnTo>
                    <a:pt x="14" y="83"/>
                  </a:lnTo>
                  <a:lnTo>
                    <a:pt x="16" y="83"/>
                  </a:lnTo>
                  <a:lnTo>
                    <a:pt x="17" y="83"/>
                  </a:lnTo>
                  <a:lnTo>
                    <a:pt x="17" y="81"/>
                  </a:lnTo>
                  <a:lnTo>
                    <a:pt x="16" y="80"/>
                  </a:lnTo>
                  <a:lnTo>
                    <a:pt x="16" y="78"/>
                  </a:lnTo>
                  <a:lnTo>
                    <a:pt x="17" y="78"/>
                  </a:lnTo>
                  <a:lnTo>
                    <a:pt x="19" y="80"/>
                  </a:lnTo>
                  <a:lnTo>
                    <a:pt x="19" y="81"/>
                  </a:lnTo>
                  <a:lnTo>
                    <a:pt x="19" y="80"/>
                  </a:lnTo>
                  <a:lnTo>
                    <a:pt x="19" y="76"/>
                  </a:lnTo>
                  <a:lnTo>
                    <a:pt x="17" y="76"/>
                  </a:lnTo>
                  <a:lnTo>
                    <a:pt x="16" y="76"/>
                  </a:lnTo>
                  <a:lnTo>
                    <a:pt x="14" y="75"/>
                  </a:lnTo>
                  <a:lnTo>
                    <a:pt x="12" y="76"/>
                  </a:lnTo>
                  <a:lnTo>
                    <a:pt x="14" y="78"/>
                  </a:lnTo>
                  <a:lnTo>
                    <a:pt x="14" y="80"/>
                  </a:lnTo>
                  <a:lnTo>
                    <a:pt x="11" y="81"/>
                  </a:lnTo>
                  <a:lnTo>
                    <a:pt x="9" y="80"/>
                  </a:lnTo>
                  <a:lnTo>
                    <a:pt x="6" y="80"/>
                  </a:lnTo>
                  <a:lnTo>
                    <a:pt x="6" y="81"/>
                  </a:lnTo>
                  <a:lnTo>
                    <a:pt x="7" y="83"/>
                  </a:lnTo>
                  <a:lnTo>
                    <a:pt x="6" y="81"/>
                  </a:lnTo>
                  <a:lnTo>
                    <a:pt x="4" y="80"/>
                  </a:lnTo>
                  <a:lnTo>
                    <a:pt x="2" y="78"/>
                  </a:lnTo>
                  <a:lnTo>
                    <a:pt x="2" y="76"/>
                  </a:lnTo>
                  <a:lnTo>
                    <a:pt x="0" y="73"/>
                  </a:lnTo>
                  <a:lnTo>
                    <a:pt x="2" y="73"/>
                  </a:lnTo>
                  <a:lnTo>
                    <a:pt x="4" y="71"/>
                  </a:lnTo>
                  <a:lnTo>
                    <a:pt x="6" y="71"/>
                  </a:lnTo>
                  <a:lnTo>
                    <a:pt x="6" y="68"/>
                  </a:lnTo>
                  <a:lnTo>
                    <a:pt x="7" y="66"/>
                  </a:lnTo>
                  <a:lnTo>
                    <a:pt x="6" y="63"/>
                  </a:lnTo>
                  <a:lnTo>
                    <a:pt x="6" y="61"/>
                  </a:lnTo>
                  <a:lnTo>
                    <a:pt x="2" y="61"/>
                  </a:lnTo>
                  <a:lnTo>
                    <a:pt x="2" y="59"/>
                  </a:lnTo>
                  <a:lnTo>
                    <a:pt x="0" y="59"/>
                  </a:lnTo>
                  <a:lnTo>
                    <a:pt x="0" y="56"/>
                  </a:lnTo>
                  <a:lnTo>
                    <a:pt x="0" y="54"/>
                  </a:lnTo>
                  <a:lnTo>
                    <a:pt x="0" y="53"/>
                  </a:lnTo>
                  <a:lnTo>
                    <a:pt x="0" y="51"/>
                  </a:lnTo>
                  <a:lnTo>
                    <a:pt x="2" y="49"/>
                  </a:lnTo>
                  <a:lnTo>
                    <a:pt x="0" y="49"/>
                  </a:lnTo>
                  <a:lnTo>
                    <a:pt x="0" y="46"/>
                  </a:lnTo>
                  <a:lnTo>
                    <a:pt x="0" y="44"/>
                  </a:lnTo>
                  <a:lnTo>
                    <a:pt x="2" y="42"/>
                  </a:lnTo>
                  <a:lnTo>
                    <a:pt x="2" y="41"/>
                  </a:lnTo>
                  <a:lnTo>
                    <a:pt x="2" y="39"/>
                  </a:lnTo>
                  <a:lnTo>
                    <a:pt x="4" y="39"/>
                  </a:lnTo>
                  <a:lnTo>
                    <a:pt x="6" y="39"/>
                  </a:lnTo>
                  <a:lnTo>
                    <a:pt x="7" y="39"/>
                  </a:lnTo>
                  <a:lnTo>
                    <a:pt x="9" y="37"/>
                  </a:lnTo>
                  <a:lnTo>
                    <a:pt x="7" y="36"/>
                  </a:lnTo>
                  <a:lnTo>
                    <a:pt x="7" y="32"/>
                  </a:lnTo>
                  <a:lnTo>
                    <a:pt x="7" y="30"/>
                  </a:lnTo>
                  <a:lnTo>
                    <a:pt x="7" y="29"/>
                  </a:lnTo>
                  <a:lnTo>
                    <a:pt x="7" y="27"/>
                  </a:lnTo>
                  <a:lnTo>
                    <a:pt x="9" y="25"/>
                  </a:lnTo>
                  <a:lnTo>
                    <a:pt x="9" y="24"/>
                  </a:lnTo>
                  <a:lnTo>
                    <a:pt x="11" y="20"/>
                  </a:lnTo>
                  <a:lnTo>
                    <a:pt x="12" y="19"/>
                  </a:lnTo>
                  <a:lnTo>
                    <a:pt x="14" y="19"/>
                  </a:lnTo>
                  <a:lnTo>
                    <a:pt x="16" y="17"/>
                  </a:lnTo>
                  <a:lnTo>
                    <a:pt x="16" y="15"/>
                  </a:lnTo>
                  <a:lnTo>
                    <a:pt x="17" y="15"/>
                  </a:lnTo>
                  <a:lnTo>
                    <a:pt x="19" y="13"/>
                  </a:lnTo>
                  <a:lnTo>
                    <a:pt x="21" y="17"/>
                  </a:lnTo>
                  <a:lnTo>
                    <a:pt x="21" y="15"/>
                  </a:lnTo>
                  <a:lnTo>
                    <a:pt x="21" y="19"/>
                  </a:lnTo>
                  <a:lnTo>
                    <a:pt x="24" y="20"/>
                  </a:lnTo>
                  <a:lnTo>
                    <a:pt x="26" y="17"/>
                  </a:lnTo>
                  <a:lnTo>
                    <a:pt x="28" y="17"/>
                  </a:lnTo>
                  <a:lnTo>
                    <a:pt x="28" y="15"/>
                  </a:lnTo>
                  <a:lnTo>
                    <a:pt x="26" y="13"/>
                  </a:lnTo>
                  <a:lnTo>
                    <a:pt x="24" y="12"/>
                  </a:lnTo>
                  <a:lnTo>
                    <a:pt x="24" y="8"/>
                  </a:lnTo>
                  <a:lnTo>
                    <a:pt x="23" y="8"/>
                  </a:lnTo>
                  <a:lnTo>
                    <a:pt x="21" y="7"/>
                  </a:lnTo>
                  <a:lnTo>
                    <a:pt x="21" y="5"/>
                  </a:lnTo>
                  <a:lnTo>
                    <a:pt x="19" y="3"/>
                  </a:lnTo>
                  <a:lnTo>
                    <a:pt x="17" y="5"/>
                  </a:lnTo>
                  <a:lnTo>
                    <a:pt x="19" y="3"/>
                  </a:lnTo>
                  <a:lnTo>
                    <a:pt x="21" y="2"/>
                  </a:lnTo>
                  <a:lnTo>
                    <a:pt x="21" y="0"/>
                  </a:lnTo>
                  <a:lnTo>
                    <a:pt x="24" y="2"/>
                  </a:lnTo>
                  <a:lnTo>
                    <a:pt x="24" y="3"/>
                  </a:lnTo>
                  <a:lnTo>
                    <a:pt x="26" y="3"/>
                  </a:lnTo>
                  <a:lnTo>
                    <a:pt x="28" y="2"/>
                  </a:lnTo>
                  <a:lnTo>
                    <a:pt x="29" y="2"/>
                  </a:lnTo>
                  <a:lnTo>
                    <a:pt x="31" y="0"/>
                  </a:lnTo>
                  <a:lnTo>
                    <a:pt x="33" y="2"/>
                  </a:lnTo>
                  <a:close/>
                  <a:moveTo>
                    <a:pt x="55" y="117"/>
                  </a:moveTo>
                  <a:lnTo>
                    <a:pt x="57" y="116"/>
                  </a:lnTo>
                  <a:lnTo>
                    <a:pt x="57" y="117"/>
                  </a:lnTo>
                  <a:lnTo>
                    <a:pt x="55" y="11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197" name="Freeform 27">
              <a:extLst>
                <a:ext uri="{FF2B5EF4-FFF2-40B4-BE49-F238E27FC236}">
                  <a16:creationId xmlns:a16="http://schemas.microsoft.com/office/drawing/2014/main" id="{C020254A-554C-4195-B4AC-7E6137DD30C6}"/>
                </a:ext>
              </a:extLst>
            </p:cNvPr>
            <p:cNvSpPr>
              <a:spLocks noEditPoints="1"/>
            </p:cNvSpPr>
            <p:nvPr/>
          </p:nvSpPr>
          <p:spPr bwMode="gray">
            <a:xfrm>
              <a:off x="8884951" y="4967790"/>
              <a:ext cx="874008" cy="832531"/>
            </a:xfrm>
            <a:custGeom>
              <a:avLst/>
              <a:gdLst>
                <a:gd name="T0" fmla="*/ 178 w 295"/>
                <a:gd name="T1" fmla="*/ 27 h 281"/>
                <a:gd name="T2" fmla="*/ 202 w 295"/>
                <a:gd name="T3" fmla="*/ 41 h 281"/>
                <a:gd name="T4" fmla="*/ 244 w 295"/>
                <a:gd name="T5" fmla="*/ 43 h 281"/>
                <a:gd name="T6" fmla="*/ 266 w 295"/>
                <a:gd name="T7" fmla="*/ 44 h 281"/>
                <a:gd name="T8" fmla="*/ 273 w 295"/>
                <a:gd name="T9" fmla="*/ 70 h 281"/>
                <a:gd name="T10" fmla="*/ 278 w 295"/>
                <a:gd name="T11" fmla="*/ 90 h 281"/>
                <a:gd name="T12" fmla="*/ 260 w 295"/>
                <a:gd name="T13" fmla="*/ 90 h 281"/>
                <a:gd name="T14" fmla="*/ 221 w 295"/>
                <a:gd name="T15" fmla="*/ 94 h 281"/>
                <a:gd name="T16" fmla="*/ 180 w 295"/>
                <a:gd name="T17" fmla="*/ 92 h 281"/>
                <a:gd name="T18" fmla="*/ 149 w 295"/>
                <a:gd name="T19" fmla="*/ 94 h 281"/>
                <a:gd name="T20" fmla="*/ 115 w 295"/>
                <a:gd name="T21" fmla="*/ 97 h 281"/>
                <a:gd name="T22" fmla="*/ 134 w 295"/>
                <a:gd name="T23" fmla="*/ 143 h 281"/>
                <a:gd name="T24" fmla="*/ 163 w 295"/>
                <a:gd name="T25" fmla="*/ 182 h 281"/>
                <a:gd name="T26" fmla="*/ 205 w 295"/>
                <a:gd name="T27" fmla="*/ 225 h 281"/>
                <a:gd name="T28" fmla="*/ 212 w 295"/>
                <a:gd name="T29" fmla="*/ 242 h 281"/>
                <a:gd name="T30" fmla="*/ 171 w 295"/>
                <a:gd name="T31" fmla="*/ 218 h 281"/>
                <a:gd name="T32" fmla="*/ 137 w 295"/>
                <a:gd name="T33" fmla="*/ 218 h 281"/>
                <a:gd name="T34" fmla="*/ 127 w 295"/>
                <a:gd name="T35" fmla="*/ 201 h 281"/>
                <a:gd name="T36" fmla="*/ 88 w 295"/>
                <a:gd name="T37" fmla="*/ 172 h 281"/>
                <a:gd name="T38" fmla="*/ 110 w 295"/>
                <a:gd name="T39" fmla="*/ 170 h 281"/>
                <a:gd name="T40" fmla="*/ 74 w 295"/>
                <a:gd name="T41" fmla="*/ 138 h 281"/>
                <a:gd name="T42" fmla="*/ 54 w 295"/>
                <a:gd name="T43" fmla="*/ 97 h 281"/>
                <a:gd name="T44" fmla="*/ 35 w 295"/>
                <a:gd name="T45" fmla="*/ 119 h 281"/>
                <a:gd name="T46" fmla="*/ 20 w 295"/>
                <a:gd name="T47" fmla="*/ 129 h 281"/>
                <a:gd name="T48" fmla="*/ 6 w 295"/>
                <a:gd name="T49" fmla="*/ 109 h 281"/>
                <a:gd name="T50" fmla="*/ 20 w 295"/>
                <a:gd name="T51" fmla="*/ 87 h 281"/>
                <a:gd name="T52" fmla="*/ 54 w 295"/>
                <a:gd name="T53" fmla="*/ 68 h 281"/>
                <a:gd name="T54" fmla="*/ 90 w 295"/>
                <a:gd name="T55" fmla="*/ 75 h 281"/>
                <a:gd name="T56" fmla="*/ 103 w 295"/>
                <a:gd name="T57" fmla="*/ 53 h 281"/>
                <a:gd name="T58" fmla="*/ 115 w 295"/>
                <a:gd name="T59" fmla="*/ 21 h 281"/>
                <a:gd name="T60" fmla="*/ 147 w 295"/>
                <a:gd name="T61" fmla="*/ 5 h 281"/>
                <a:gd name="T62" fmla="*/ 272 w 295"/>
                <a:gd name="T63" fmla="*/ 277 h 281"/>
                <a:gd name="T64" fmla="*/ 241 w 295"/>
                <a:gd name="T65" fmla="*/ 262 h 281"/>
                <a:gd name="T66" fmla="*/ 205 w 295"/>
                <a:gd name="T67" fmla="*/ 249 h 281"/>
                <a:gd name="T68" fmla="*/ 219 w 295"/>
                <a:gd name="T69" fmla="*/ 250 h 281"/>
                <a:gd name="T70" fmla="*/ 68 w 295"/>
                <a:gd name="T71" fmla="*/ 116 h 281"/>
                <a:gd name="T72" fmla="*/ 54 w 295"/>
                <a:gd name="T73" fmla="*/ 99 h 281"/>
                <a:gd name="T74" fmla="*/ 47 w 295"/>
                <a:gd name="T75" fmla="*/ 135 h 281"/>
                <a:gd name="T76" fmla="*/ 173 w 295"/>
                <a:gd name="T77" fmla="*/ 223 h 281"/>
                <a:gd name="T78" fmla="*/ 166 w 295"/>
                <a:gd name="T79" fmla="*/ 232 h 281"/>
                <a:gd name="T80" fmla="*/ 166 w 295"/>
                <a:gd name="T81" fmla="*/ 238 h 281"/>
                <a:gd name="T82" fmla="*/ 76 w 295"/>
                <a:gd name="T83" fmla="*/ 143 h 281"/>
                <a:gd name="T84" fmla="*/ 90 w 295"/>
                <a:gd name="T85" fmla="*/ 158 h 281"/>
                <a:gd name="T86" fmla="*/ 176 w 295"/>
                <a:gd name="T87" fmla="*/ 249 h 281"/>
                <a:gd name="T88" fmla="*/ 171 w 295"/>
                <a:gd name="T89" fmla="*/ 252 h 281"/>
                <a:gd name="T90" fmla="*/ 90 w 295"/>
                <a:gd name="T91" fmla="*/ 192 h 281"/>
                <a:gd name="T92" fmla="*/ 222 w 295"/>
                <a:gd name="T93" fmla="*/ 262 h 281"/>
                <a:gd name="T94" fmla="*/ 144 w 295"/>
                <a:gd name="T95" fmla="*/ 250 h 281"/>
                <a:gd name="T96" fmla="*/ 45 w 295"/>
                <a:gd name="T97" fmla="*/ 136 h 281"/>
                <a:gd name="T98" fmla="*/ 102 w 295"/>
                <a:gd name="T99" fmla="*/ 187 h 281"/>
                <a:gd name="T100" fmla="*/ 88 w 295"/>
                <a:gd name="T101" fmla="*/ 175 h 281"/>
                <a:gd name="T102" fmla="*/ 98 w 295"/>
                <a:gd name="T103" fmla="*/ 196 h 281"/>
                <a:gd name="T104" fmla="*/ 69 w 295"/>
                <a:gd name="T105" fmla="*/ 158 h 281"/>
                <a:gd name="T106" fmla="*/ 115 w 295"/>
                <a:gd name="T107" fmla="*/ 196 h 281"/>
                <a:gd name="T108" fmla="*/ 236 w 295"/>
                <a:gd name="T109" fmla="*/ 259 h 281"/>
                <a:gd name="T110" fmla="*/ 98 w 295"/>
                <a:gd name="T111" fmla="*/ 191 h 281"/>
                <a:gd name="T112" fmla="*/ 68 w 295"/>
                <a:gd name="T113" fmla="*/ 167 h 281"/>
                <a:gd name="T114" fmla="*/ 127 w 295"/>
                <a:gd name="T115" fmla="*/ 204 h 281"/>
                <a:gd name="T116" fmla="*/ 56 w 295"/>
                <a:gd name="T117" fmla="*/ 155 h 281"/>
                <a:gd name="T118" fmla="*/ 78 w 295"/>
                <a:gd name="T119" fmla="*/ 174 h 281"/>
                <a:gd name="T120" fmla="*/ 85 w 295"/>
                <a:gd name="T121" fmla="*/ 181 h 281"/>
                <a:gd name="T122" fmla="*/ 124 w 295"/>
                <a:gd name="T123" fmla="*/ 199 h 281"/>
                <a:gd name="T124" fmla="*/ 45 w 295"/>
                <a:gd name="T125" fmla="*/ 147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5" h="281">
                  <a:moveTo>
                    <a:pt x="147" y="5"/>
                  </a:moveTo>
                  <a:lnTo>
                    <a:pt x="149" y="5"/>
                  </a:lnTo>
                  <a:lnTo>
                    <a:pt x="151" y="5"/>
                  </a:lnTo>
                  <a:lnTo>
                    <a:pt x="151" y="7"/>
                  </a:lnTo>
                  <a:lnTo>
                    <a:pt x="153" y="9"/>
                  </a:lnTo>
                  <a:lnTo>
                    <a:pt x="153" y="10"/>
                  </a:lnTo>
                  <a:lnTo>
                    <a:pt x="153" y="9"/>
                  </a:lnTo>
                  <a:lnTo>
                    <a:pt x="154" y="10"/>
                  </a:lnTo>
                  <a:lnTo>
                    <a:pt x="156" y="9"/>
                  </a:lnTo>
                  <a:lnTo>
                    <a:pt x="158" y="10"/>
                  </a:lnTo>
                  <a:lnTo>
                    <a:pt x="159" y="10"/>
                  </a:lnTo>
                  <a:lnTo>
                    <a:pt x="161" y="12"/>
                  </a:lnTo>
                  <a:lnTo>
                    <a:pt x="161" y="14"/>
                  </a:lnTo>
                  <a:lnTo>
                    <a:pt x="161" y="16"/>
                  </a:lnTo>
                  <a:lnTo>
                    <a:pt x="161" y="17"/>
                  </a:lnTo>
                  <a:lnTo>
                    <a:pt x="163" y="17"/>
                  </a:lnTo>
                  <a:lnTo>
                    <a:pt x="164" y="19"/>
                  </a:lnTo>
                  <a:lnTo>
                    <a:pt x="166" y="19"/>
                  </a:lnTo>
                  <a:lnTo>
                    <a:pt x="166" y="21"/>
                  </a:lnTo>
                  <a:lnTo>
                    <a:pt x="168" y="21"/>
                  </a:lnTo>
                  <a:lnTo>
                    <a:pt x="170" y="21"/>
                  </a:lnTo>
                  <a:lnTo>
                    <a:pt x="171" y="21"/>
                  </a:lnTo>
                  <a:lnTo>
                    <a:pt x="171" y="22"/>
                  </a:lnTo>
                  <a:lnTo>
                    <a:pt x="173" y="22"/>
                  </a:lnTo>
                  <a:lnTo>
                    <a:pt x="175" y="24"/>
                  </a:lnTo>
                  <a:lnTo>
                    <a:pt x="176" y="22"/>
                  </a:lnTo>
                  <a:lnTo>
                    <a:pt x="176" y="26"/>
                  </a:lnTo>
                  <a:lnTo>
                    <a:pt x="176" y="27"/>
                  </a:lnTo>
                  <a:lnTo>
                    <a:pt x="178" y="27"/>
                  </a:lnTo>
                  <a:lnTo>
                    <a:pt x="180" y="27"/>
                  </a:lnTo>
                  <a:lnTo>
                    <a:pt x="178" y="29"/>
                  </a:lnTo>
                  <a:lnTo>
                    <a:pt x="180" y="29"/>
                  </a:lnTo>
                  <a:lnTo>
                    <a:pt x="181" y="29"/>
                  </a:lnTo>
                  <a:lnTo>
                    <a:pt x="180" y="31"/>
                  </a:lnTo>
                  <a:lnTo>
                    <a:pt x="181" y="31"/>
                  </a:lnTo>
                  <a:lnTo>
                    <a:pt x="181" y="33"/>
                  </a:lnTo>
                  <a:lnTo>
                    <a:pt x="183" y="33"/>
                  </a:lnTo>
                  <a:lnTo>
                    <a:pt x="181" y="34"/>
                  </a:lnTo>
                  <a:lnTo>
                    <a:pt x="183" y="34"/>
                  </a:lnTo>
                  <a:lnTo>
                    <a:pt x="183" y="36"/>
                  </a:lnTo>
                  <a:lnTo>
                    <a:pt x="185" y="34"/>
                  </a:lnTo>
                  <a:lnTo>
                    <a:pt x="185" y="36"/>
                  </a:lnTo>
                  <a:lnTo>
                    <a:pt x="185" y="34"/>
                  </a:lnTo>
                  <a:lnTo>
                    <a:pt x="187" y="36"/>
                  </a:lnTo>
                  <a:lnTo>
                    <a:pt x="187" y="34"/>
                  </a:lnTo>
                  <a:lnTo>
                    <a:pt x="187" y="36"/>
                  </a:lnTo>
                  <a:lnTo>
                    <a:pt x="188" y="36"/>
                  </a:lnTo>
                  <a:lnTo>
                    <a:pt x="187" y="38"/>
                  </a:lnTo>
                  <a:lnTo>
                    <a:pt x="188" y="38"/>
                  </a:lnTo>
                  <a:lnTo>
                    <a:pt x="188" y="39"/>
                  </a:lnTo>
                  <a:lnTo>
                    <a:pt x="190" y="38"/>
                  </a:lnTo>
                  <a:lnTo>
                    <a:pt x="190" y="39"/>
                  </a:lnTo>
                  <a:lnTo>
                    <a:pt x="190" y="38"/>
                  </a:lnTo>
                  <a:lnTo>
                    <a:pt x="192" y="38"/>
                  </a:lnTo>
                  <a:lnTo>
                    <a:pt x="195" y="38"/>
                  </a:lnTo>
                  <a:lnTo>
                    <a:pt x="197" y="38"/>
                  </a:lnTo>
                  <a:lnTo>
                    <a:pt x="200" y="39"/>
                  </a:lnTo>
                  <a:lnTo>
                    <a:pt x="202" y="41"/>
                  </a:lnTo>
                  <a:lnTo>
                    <a:pt x="202" y="43"/>
                  </a:lnTo>
                  <a:lnTo>
                    <a:pt x="202" y="44"/>
                  </a:lnTo>
                  <a:lnTo>
                    <a:pt x="204" y="43"/>
                  </a:lnTo>
                  <a:lnTo>
                    <a:pt x="205" y="44"/>
                  </a:lnTo>
                  <a:lnTo>
                    <a:pt x="207" y="44"/>
                  </a:lnTo>
                  <a:lnTo>
                    <a:pt x="210" y="46"/>
                  </a:lnTo>
                  <a:lnTo>
                    <a:pt x="210" y="44"/>
                  </a:lnTo>
                  <a:lnTo>
                    <a:pt x="210" y="46"/>
                  </a:lnTo>
                  <a:lnTo>
                    <a:pt x="212" y="48"/>
                  </a:lnTo>
                  <a:lnTo>
                    <a:pt x="214" y="46"/>
                  </a:lnTo>
                  <a:lnTo>
                    <a:pt x="215" y="46"/>
                  </a:lnTo>
                  <a:lnTo>
                    <a:pt x="219" y="46"/>
                  </a:lnTo>
                  <a:lnTo>
                    <a:pt x="219" y="44"/>
                  </a:lnTo>
                  <a:lnTo>
                    <a:pt x="221" y="46"/>
                  </a:lnTo>
                  <a:lnTo>
                    <a:pt x="224" y="46"/>
                  </a:lnTo>
                  <a:lnTo>
                    <a:pt x="226" y="44"/>
                  </a:lnTo>
                  <a:lnTo>
                    <a:pt x="227" y="46"/>
                  </a:lnTo>
                  <a:lnTo>
                    <a:pt x="229" y="44"/>
                  </a:lnTo>
                  <a:lnTo>
                    <a:pt x="231" y="44"/>
                  </a:lnTo>
                  <a:lnTo>
                    <a:pt x="232" y="46"/>
                  </a:lnTo>
                  <a:lnTo>
                    <a:pt x="234" y="46"/>
                  </a:lnTo>
                  <a:lnTo>
                    <a:pt x="236" y="46"/>
                  </a:lnTo>
                  <a:lnTo>
                    <a:pt x="238" y="44"/>
                  </a:lnTo>
                  <a:lnTo>
                    <a:pt x="239" y="46"/>
                  </a:lnTo>
                  <a:lnTo>
                    <a:pt x="241" y="46"/>
                  </a:lnTo>
                  <a:lnTo>
                    <a:pt x="241" y="44"/>
                  </a:lnTo>
                  <a:lnTo>
                    <a:pt x="243" y="44"/>
                  </a:lnTo>
                  <a:lnTo>
                    <a:pt x="243" y="43"/>
                  </a:lnTo>
                  <a:lnTo>
                    <a:pt x="244" y="43"/>
                  </a:lnTo>
                  <a:lnTo>
                    <a:pt x="248" y="41"/>
                  </a:lnTo>
                  <a:lnTo>
                    <a:pt x="249" y="38"/>
                  </a:lnTo>
                  <a:lnTo>
                    <a:pt x="249" y="36"/>
                  </a:lnTo>
                  <a:lnTo>
                    <a:pt x="251" y="36"/>
                  </a:lnTo>
                  <a:lnTo>
                    <a:pt x="249" y="34"/>
                  </a:lnTo>
                  <a:lnTo>
                    <a:pt x="251" y="34"/>
                  </a:lnTo>
                  <a:lnTo>
                    <a:pt x="251" y="33"/>
                  </a:lnTo>
                  <a:lnTo>
                    <a:pt x="253" y="33"/>
                  </a:lnTo>
                  <a:lnTo>
                    <a:pt x="255" y="33"/>
                  </a:lnTo>
                  <a:lnTo>
                    <a:pt x="258" y="34"/>
                  </a:lnTo>
                  <a:lnTo>
                    <a:pt x="258" y="33"/>
                  </a:lnTo>
                  <a:lnTo>
                    <a:pt x="261" y="33"/>
                  </a:lnTo>
                  <a:lnTo>
                    <a:pt x="260" y="31"/>
                  </a:lnTo>
                  <a:lnTo>
                    <a:pt x="261" y="31"/>
                  </a:lnTo>
                  <a:lnTo>
                    <a:pt x="263" y="31"/>
                  </a:lnTo>
                  <a:lnTo>
                    <a:pt x="261" y="33"/>
                  </a:lnTo>
                  <a:lnTo>
                    <a:pt x="263" y="34"/>
                  </a:lnTo>
                  <a:lnTo>
                    <a:pt x="260" y="36"/>
                  </a:lnTo>
                  <a:lnTo>
                    <a:pt x="261" y="38"/>
                  </a:lnTo>
                  <a:lnTo>
                    <a:pt x="260" y="39"/>
                  </a:lnTo>
                  <a:lnTo>
                    <a:pt x="261" y="39"/>
                  </a:lnTo>
                  <a:lnTo>
                    <a:pt x="263" y="38"/>
                  </a:lnTo>
                  <a:lnTo>
                    <a:pt x="265" y="41"/>
                  </a:lnTo>
                  <a:lnTo>
                    <a:pt x="261" y="41"/>
                  </a:lnTo>
                  <a:lnTo>
                    <a:pt x="261" y="43"/>
                  </a:lnTo>
                  <a:lnTo>
                    <a:pt x="265" y="43"/>
                  </a:lnTo>
                  <a:lnTo>
                    <a:pt x="266" y="41"/>
                  </a:lnTo>
                  <a:lnTo>
                    <a:pt x="268" y="43"/>
                  </a:lnTo>
                  <a:lnTo>
                    <a:pt x="266" y="44"/>
                  </a:lnTo>
                  <a:lnTo>
                    <a:pt x="265" y="44"/>
                  </a:lnTo>
                  <a:lnTo>
                    <a:pt x="265" y="46"/>
                  </a:lnTo>
                  <a:lnTo>
                    <a:pt x="268" y="44"/>
                  </a:lnTo>
                  <a:lnTo>
                    <a:pt x="268" y="46"/>
                  </a:lnTo>
                  <a:lnTo>
                    <a:pt x="265" y="46"/>
                  </a:lnTo>
                  <a:lnTo>
                    <a:pt x="266" y="48"/>
                  </a:lnTo>
                  <a:lnTo>
                    <a:pt x="268" y="50"/>
                  </a:lnTo>
                  <a:lnTo>
                    <a:pt x="266" y="50"/>
                  </a:lnTo>
                  <a:lnTo>
                    <a:pt x="266" y="51"/>
                  </a:lnTo>
                  <a:lnTo>
                    <a:pt x="265" y="53"/>
                  </a:lnTo>
                  <a:lnTo>
                    <a:pt x="266" y="51"/>
                  </a:lnTo>
                  <a:lnTo>
                    <a:pt x="266" y="53"/>
                  </a:lnTo>
                  <a:lnTo>
                    <a:pt x="265" y="53"/>
                  </a:lnTo>
                  <a:lnTo>
                    <a:pt x="265" y="55"/>
                  </a:lnTo>
                  <a:lnTo>
                    <a:pt x="266" y="56"/>
                  </a:lnTo>
                  <a:lnTo>
                    <a:pt x="266" y="58"/>
                  </a:lnTo>
                  <a:lnTo>
                    <a:pt x="270" y="56"/>
                  </a:lnTo>
                  <a:lnTo>
                    <a:pt x="272" y="56"/>
                  </a:lnTo>
                  <a:lnTo>
                    <a:pt x="275" y="58"/>
                  </a:lnTo>
                  <a:lnTo>
                    <a:pt x="275" y="60"/>
                  </a:lnTo>
                  <a:lnTo>
                    <a:pt x="272" y="60"/>
                  </a:lnTo>
                  <a:lnTo>
                    <a:pt x="270" y="60"/>
                  </a:lnTo>
                  <a:lnTo>
                    <a:pt x="270" y="61"/>
                  </a:lnTo>
                  <a:lnTo>
                    <a:pt x="270" y="63"/>
                  </a:lnTo>
                  <a:lnTo>
                    <a:pt x="272" y="65"/>
                  </a:lnTo>
                  <a:lnTo>
                    <a:pt x="273" y="65"/>
                  </a:lnTo>
                  <a:lnTo>
                    <a:pt x="270" y="67"/>
                  </a:lnTo>
                  <a:lnTo>
                    <a:pt x="270" y="68"/>
                  </a:lnTo>
                  <a:lnTo>
                    <a:pt x="273" y="70"/>
                  </a:lnTo>
                  <a:lnTo>
                    <a:pt x="275" y="70"/>
                  </a:lnTo>
                  <a:lnTo>
                    <a:pt x="277" y="70"/>
                  </a:lnTo>
                  <a:lnTo>
                    <a:pt x="277" y="73"/>
                  </a:lnTo>
                  <a:lnTo>
                    <a:pt x="278" y="73"/>
                  </a:lnTo>
                  <a:lnTo>
                    <a:pt x="282" y="75"/>
                  </a:lnTo>
                  <a:lnTo>
                    <a:pt x="283" y="75"/>
                  </a:lnTo>
                  <a:lnTo>
                    <a:pt x="285" y="73"/>
                  </a:lnTo>
                  <a:lnTo>
                    <a:pt x="285" y="77"/>
                  </a:lnTo>
                  <a:lnTo>
                    <a:pt x="287" y="77"/>
                  </a:lnTo>
                  <a:lnTo>
                    <a:pt x="290" y="77"/>
                  </a:lnTo>
                  <a:lnTo>
                    <a:pt x="292" y="77"/>
                  </a:lnTo>
                  <a:lnTo>
                    <a:pt x="294" y="75"/>
                  </a:lnTo>
                  <a:lnTo>
                    <a:pt x="295" y="78"/>
                  </a:lnTo>
                  <a:lnTo>
                    <a:pt x="294" y="80"/>
                  </a:lnTo>
                  <a:lnTo>
                    <a:pt x="292" y="80"/>
                  </a:lnTo>
                  <a:lnTo>
                    <a:pt x="290" y="80"/>
                  </a:lnTo>
                  <a:lnTo>
                    <a:pt x="289" y="78"/>
                  </a:lnTo>
                  <a:lnTo>
                    <a:pt x="287" y="78"/>
                  </a:lnTo>
                  <a:lnTo>
                    <a:pt x="287" y="80"/>
                  </a:lnTo>
                  <a:lnTo>
                    <a:pt x="285" y="80"/>
                  </a:lnTo>
                  <a:lnTo>
                    <a:pt x="282" y="80"/>
                  </a:lnTo>
                  <a:lnTo>
                    <a:pt x="283" y="80"/>
                  </a:lnTo>
                  <a:lnTo>
                    <a:pt x="283" y="82"/>
                  </a:lnTo>
                  <a:lnTo>
                    <a:pt x="282" y="84"/>
                  </a:lnTo>
                  <a:lnTo>
                    <a:pt x="280" y="85"/>
                  </a:lnTo>
                  <a:lnTo>
                    <a:pt x="278" y="84"/>
                  </a:lnTo>
                  <a:lnTo>
                    <a:pt x="278" y="87"/>
                  </a:lnTo>
                  <a:lnTo>
                    <a:pt x="280" y="89"/>
                  </a:lnTo>
                  <a:lnTo>
                    <a:pt x="278" y="90"/>
                  </a:lnTo>
                  <a:lnTo>
                    <a:pt x="280" y="90"/>
                  </a:lnTo>
                  <a:lnTo>
                    <a:pt x="280" y="94"/>
                  </a:lnTo>
                  <a:lnTo>
                    <a:pt x="278" y="95"/>
                  </a:lnTo>
                  <a:lnTo>
                    <a:pt x="280" y="95"/>
                  </a:lnTo>
                  <a:lnTo>
                    <a:pt x="282" y="95"/>
                  </a:lnTo>
                  <a:lnTo>
                    <a:pt x="283" y="97"/>
                  </a:lnTo>
                  <a:lnTo>
                    <a:pt x="282" y="97"/>
                  </a:lnTo>
                  <a:lnTo>
                    <a:pt x="280" y="99"/>
                  </a:lnTo>
                  <a:lnTo>
                    <a:pt x="280" y="101"/>
                  </a:lnTo>
                  <a:lnTo>
                    <a:pt x="277" y="101"/>
                  </a:lnTo>
                  <a:lnTo>
                    <a:pt x="275" y="101"/>
                  </a:lnTo>
                  <a:lnTo>
                    <a:pt x="275" y="102"/>
                  </a:lnTo>
                  <a:lnTo>
                    <a:pt x="277" y="102"/>
                  </a:lnTo>
                  <a:lnTo>
                    <a:pt x="277" y="104"/>
                  </a:lnTo>
                  <a:lnTo>
                    <a:pt x="275" y="106"/>
                  </a:lnTo>
                  <a:lnTo>
                    <a:pt x="273" y="106"/>
                  </a:lnTo>
                  <a:lnTo>
                    <a:pt x="272" y="106"/>
                  </a:lnTo>
                  <a:lnTo>
                    <a:pt x="268" y="106"/>
                  </a:lnTo>
                  <a:lnTo>
                    <a:pt x="266" y="104"/>
                  </a:lnTo>
                  <a:lnTo>
                    <a:pt x="265" y="102"/>
                  </a:lnTo>
                  <a:lnTo>
                    <a:pt x="263" y="101"/>
                  </a:lnTo>
                  <a:lnTo>
                    <a:pt x="266" y="101"/>
                  </a:lnTo>
                  <a:lnTo>
                    <a:pt x="265" y="97"/>
                  </a:lnTo>
                  <a:lnTo>
                    <a:pt x="263" y="95"/>
                  </a:lnTo>
                  <a:lnTo>
                    <a:pt x="261" y="97"/>
                  </a:lnTo>
                  <a:lnTo>
                    <a:pt x="261" y="95"/>
                  </a:lnTo>
                  <a:lnTo>
                    <a:pt x="261" y="94"/>
                  </a:lnTo>
                  <a:lnTo>
                    <a:pt x="258" y="92"/>
                  </a:lnTo>
                  <a:lnTo>
                    <a:pt x="260" y="90"/>
                  </a:lnTo>
                  <a:lnTo>
                    <a:pt x="258" y="90"/>
                  </a:lnTo>
                  <a:lnTo>
                    <a:pt x="258" y="92"/>
                  </a:lnTo>
                  <a:lnTo>
                    <a:pt x="255" y="92"/>
                  </a:lnTo>
                  <a:lnTo>
                    <a:pt x="256" y="90"/>
                  </a:lnTo>
                  <a:lnTo>
                    <a:pt x="255" y="92"/>
                  </a:lnTo>
                  <a:lnTo>
                    <a:pt x="253" y="90"/>
                  </a:lnTo>
                  <a:lnTo>
                    <a:pt x="253" y="92"/>
                  </a:lnTo>
                  <a:lnTo>
                    <a:pt x="251" y="90"/>
                  </a:lnTo>
                  <a:lnTo>
                    <a:pt x="253" y="92"/>
                  </a:lnTo>
                  <a:lnTo>
                    <a:pt x="251" y="94"/>
                  </a:lnTo>
                  <a:lnTo>
                    <a:pt x="248" y="94"/>
                  </a:lnTo>
                  <a:lnTo>
                    <a:pt x="246" y="92"/>
                  </a:lnTo>
                  <a:lnTo>
                    <a:pt x="246" y="90"/>
                  </a:lnTo>
                  <a:lnTo>
                    <a:pt x="244" y="90"/>
                  </a:lnTo>
                  <a:lnTo>
                    <a:pt x="241" y="92"/>
                  </a:lnTo>
                  <a:lnTo>
                    <a:pt x="239" y="90"/>
                  </a:lnTo>
                  <a:lnTo>
                    <a:pt x="238" y="89"/>
                  </a:lnTo>
                  <a:lnTo>
                    <a:pt x="234" y="90"/>
                  </a:lnTo>
                  <a:lnTo>
                    <a:pt x="236" y="92"/>
                  </a:lnTo>
                  <a:lnTo>
                    <a:pt x="234" y="94"/>
                  </a:lnTo>
                  <a:lnTo>
                    <a:pt x="232" y="94"/>
                  </a:lnTo>
                  <a:lnTo>
                    <a:pt x="231" y="94"/>
                  </a:lnTo>
                  <a:lnTo>
                    <a:pt x="227" y="92"/>
                  </a:lnTo>
                  <a:lnTo>
                    <a:pt x="229" y="92"/>
                  </a:lnTo>
                  <a:lnTo>
                    <a:pt x="227" y="90"/>
                  </a:lnTo>
                  <a:lnTo>
                    <a:pt x="226" y="92"/>
                  </a:lnTo>
                  <a:lnTo>
                    <a:pt x="224" y="90"/>
                  </a:lnTo>
                  <a:lnTo>
                    <a:pt x="222" y="92"/>
                  </a:lnTo>
                  <a:lnTo>
                    <a:pt x="221" y="94"/>
                  </a:lnTo>
                  <a:lnTo>
                    <a:pt x="222" y="95"/>
                  </a:lnTo>
                  <a:lnTo>
                    <a:pt x="221" y="97"/>
                  </a:lnTo>
                  <a:lnTo>
                    <a:pt x="219" y="97"/>
                  </a:lnTo>
                  <a:lnTo>
                    <a:pt x="217" y="99"/>
                  </a:lnTo>
                  <a:lnTo>
                    <a:pt x="215" y="97"/>
                  </a:lnTo>
                  <a:lnTo>
                    <a:pt x="214" y="95"/>
                  </a:lnTo>
                  <a:lnTo>
                    <a:pt x="212" y="95"/>
                  </a:lnTo>
                  <a:lnTo>
                    <a:pt x="210" y="94"/>
                  </a:lnTo>
                  <a:lnTo>
                    <a:pt x="209" y="94"/>
                  </a:lnTo>
                  <a:lnTo>
                    <a:pt x="207" y="94"/>
                  </a:lnTo>
                  <a:lnTo>
                    <a:pt x="205" y="95"/>
                  </a:lnTo>
                  <a:lnTo>
                    <a:pt x="202" y="95"/>
                  </a:lnTo>
                  <a:lnTo>
                    <a:pt x="202" y="94"/>
                  </a:lnTo>
                  <a:lnTo>
                    <a:pt x="202" y="95"/>
                  </a:lnTo>
                  <a:lnTo>
                    <a:pt x="198" y="95"/>
                  </a:lnTo>
                  <a:lnTo>
                    <a:pt x="200" y="94"/>
                  </a:lnTo>
                  <a:lnTo>
                    <a:pt x="197" y="94"/>
                  </a:lnTo>
                  <a:lnTo>
                    <a:pt x="197" y="92"/>
                  </a:lnTo>
                  <a:lnTo>
                    <a:pt x="195" y="94"/>
                  </a:lnTo>
                  <a:lnTo>
                    <a:pt x="192" y="94"/>
                  </a:lnTo>
                  <a:lnTo>
                    <a:pt x="192" y="92"/>
                  </a:lnTo>
                  <a:lnTo>
                    <a:pt x="188" y="92"/>
                  </a:lnTo>
                  <a:lnTo>
                    <a:pt x="188" y="90"/>
                  </a:lnTo>
                  <a:lnTo>
                    <a:pt x="188" y="92"/>
                  </a:lnTo>
                  <a:lnTo>
                    <a:pt x="187" y="94"/>
                  </a:lnTo>
                  <a:lnTo>
                    <a:pt x="185" y="94"/>
                  </a:lnTo>
                  <a:lnTo>
                    <a:pt x="183" y="94"/>
                  </a:lnTo>
                  <a:lnTo>
                    <a:pt x="181" y="94"/>
                  </a:lnTo>
                  <a:lnTo>
                    <a:pt x="180" y="92"/>
                  </a:lnTo>
                  <a:lnTo>
                    <a:pt x="178" y="92"/>
                  </a:lnTo>
                  <a:lnTo>
                    <a:pt x="176" y="92"/>
                  </a:lnTo>
                  <a:lnTo>
                    <a:pt x="176" y="90"/>
                  </a:lnTo>
                  <a:lnTo>
                    <a:pt x="175" y="90"/>
                  </a:lnTo>
                  <a:lnTo>
                    <a:pt x="175" y="89"/>
                  </a:lnTo>
                  <a:lnTo>
                    <a:pt x="175" y="90"/>
                  </a:lnTo>
                  <a:lnTo>
                    <a:pt x="173" y="89"/>
                  </a:lnTo>
                  <a:lnTo>
                    <a:pt x="173" y="90"/>
                  </a:lnTo>
                  <a:lnTo>
                    <a:pt x="171" y="90"/>
                  </a:lnTo>
                  <a:lnTo>
                    <a:pt x="171" y="89"/>
                  </a:lnTo>
                  <a:lnTo>
                    <a:pt x="171" y="87"/>
                  </a:lnTo>
                  <a:lnTo>
                    <a:pt x="170" y="89"/>
                  </a:lnTo>
                  <a:lnTo>
                    <a:pt x="168" y="89"/>
                  </a:lnTo>
                  <a:lnTo>
                    <a:pt x="170" y="89"/>
                  </a:lnTo>
                  <a:lnTo>
                    <a:pt x="168" y="89"/>
                  </a:lnTo>
                  <a:lnTo>
                    <a:pt x="168" y="90"/>
                  </a:lnTo>
                  <a:lnTo>
                    <a:pt x="168" y="92"/>
                  </a:lnTo>
                  <a:lnTo>
                    <a:pt x="166" y="90"/>
                  </a:lnTo>
                  <a:lnTo>
                    <a:pt x="166" y="92"/>
                  </a:lnTo>
                  <a:lnTo>
                    <a:pt x="166" y="94"/>
                  </a:lnTo>
                  <a:lnTo>
                    <a:pt x="163" y="94"/>
                  </a:lnTo>
                  <a:lnTo>
                    <a:pt x="161" y="92"/>
                  </a:lnTo>
                  <a:lnTo>
                    <a:pt x="159" y="94"/>
                  </a:lnTo>
                  <a:lnTo>
                    <a:pt x="158" y="94"/>
                  </a:lnTo>
                  <a:lnTo>
                    <a:pt x="156" y="92"/>
                  </a:lnTo>
                  <a:lnTo>
                    <a:pt x="154" y="92"/>
                  </a:lnTo>
                  <a:lnTo>
                    <a:pt x="153" y="92"/>
                  </a:lnTo>
                  <a:lnTo>
                    <a:pt x="151" y="92"/>
                  </a:lnTo>
                  <a:lnTo>
                    <a:pt x="149" y="94"/>
                  </a:lnTo>
                  <a:lnTo>
                    <a:pt x="149" y="95"/>
                  </a:lnTo>
                  <a:lnTo>
                    <a:pt x="149" y="97"/>
                  </a:lnTo>
                  <a:lnTo>
                    <a:pt x="149" y="99"/>
                  </a:lnTo>
                  <a:lnTo>
                    <a:pt x="147" y="99"/>
                  </a:lnTo>
                  <a:lnTo>
                    <a:pt x="146" y="101"/>
                  </a:lnTo>
                  <a:lnTo>
                    <a:pt x="146" y="102"/>
                  </a:lnTo>
                  <a:lnTo>
                    <a:pt x="146" y="106"/>
                  </a:lnTo>
                  <a:lnTo>
                    <a:pt x="144" y="107"/>
                  </a:lnTo>
                  <a:lnTo>
                    <a:pt x="144" y="109"/>
                  </a:lnTo>
                  <a:lnTo>
                    <a:pt x="141" y="109"/>
                  </a:lnTo>
                  <a:lnTo>
                    <a:pt x="139" y="107"/>
                  </a:lnTo>
                  <a:lnTo>
                    <a:pt x="137" y="107"/>
                  </a:lnTo>
                  <a:lnTo>
                    <a:pt x="136" y="107"/>
                  </a:lnTo>
                  <a:lnTo>
                    <a:pt x="134" y="104"/>
                  </a:lnTo>
                  <a:lnTo>
                    <a:pt x="132" y="104"/>
                  </a:lnTo>
                  <a:lnTo>
                    <a:pt x="130" y="102"/>
                  </a:lnTo>
                  <a:lnTo>
                    <a:pt x="130" y="101"/>
                  </a:lnTo>
                  <a:lnTo>
                    <a:pt x="129" y="99"/>
                  </a:lnTo>
                  <a:lnTo>
                    <a:pt x="127" y="97"/>
                  </a:lnTo>
                  <a:lnTo>
                    <a:pt x="125" y="97"/>
                  </a:lnTo>
                  <a:lnTo>
                    <a:pt x="127" y="95"/>
                  </a:lnTo>
                  <a:lnTo>
                    <a:pt x="125" y="95"/>
                  </a:lnTo>
                  <a:lnTo>
                    <a:pt x="124" y="94"/>
                  </a:lnTo>
                  <a:lnTo>
                    <a:pt x="122" y="95"/>
                  </a:lnTo>
                  <a:lnTo>
                    <a:pt x="120" y="94"/>
                  </a:lnTo>
                  <a:lnTo>
                    <a:pt x="120" y="95"/>
                  </a:lnTo>
                  <a:lnTo>
                    <a:pt x="117" y="95"/>
                  </a:lnTo>
                  <a:lnTo>
                    <a:pt x="117" y="97"/>
                  </a:lnTo>
                  <a:lnTo>
                    <a:pt x="115" y="97"/>
                  </a:lnTo>
                  <a:lnTo>
                    <a:pt x="113" y="99"/>
                  </a:lnTo>
                  <a:lnTo>
                    <a:pt x="115" y="102"/>
                  </a:lnTo>
                  <a:lnTo>
                    <a:pt x="115" y="106"/>
                  </a:lnTo>
                  <a:lnTo>
                    <a:pt x="113" y="107"/>
                  </a:lnTo>
                  <a:lnTo>
                    <a:pt x="115" y="109"/>
                  </a:lnTo>
                  <a:lnTo>
                    <a:pt x="115" y="111"/>
                  </a:lnTo>
                  <a:lnTo>
                    <a:pt x="115" y="112"/>
                  </a:lnTo>
                  <a:lnTo>
                    <a:pt x="113" y="114"/>
                  </a:lnTo>
                  <a:lnTo>
                    <a:pt x="113" y="116"/>
                  </a:lnTo>
                  <a:lnTo>
                    <a:pt x="115" y="119"/>
                  </a:lnTo>
                  <a:lnTo>
                    <a:pt x="115" y="121"/>
                  </a:lnTo>
                  <a:lnTo>
                    <a:pt x="117" y="121"/>
                  </a:lnTo>
                  <a:lnTo>
                    <a:pt x="115" y="123"/>
                  </a:lnTo>
                  <a:lnTo>
                    <a:pt x="113" y="124"/>
                  </a:lnTo>
                  <a:lnTo>
                    <a:pt x="115" y="126"/>
                  </a:lnTo>
                  <a:lnTo>
                    <a:pt x="117" y="129"/>
                  </a:lnTo>
                  <a:lnTo>
                    <a:pt x="119" y="131"/>
                  </a:lnTo>
                  <a:lnTo>
                    <a:pt x="120" y="131"/>
                  </a:lnTo>
                  <a:lnTo>
                    <a:pt x="122" y="128"/>
                  </a:lnTo>
                  <a:lnTo>
                    <a:pt x="124" y="129"/>
                  </a:lnTo>
                  <a:lnTo>
                    <a:pt x="125" y="131"/>
                  </a:lnTo>
                  <a:lnTo>
                    <a:pt x="127" y="133"/>
                  </a:lnTo>
                  <a:lnTo>
                    <a:pt x="130" y="135"/>
                  </a:lnTo>
                  <a:lnTo>
                    <a:pt x="130" y="136"/>
                  </a:lnTo>
                  <a:lnTo>
                    <a:pt x="132" y="138"/>
                  </a:lnTo>
                  <a:lnTo>
                    <a:pt x="129" y="140"/>
                  </a:lnTo>
                  <a:lnTo>
                    <a:pt x="130" y="141"/>
                  </a:lnTo>
                  <a:lnTo>
                    <a:pt x="132" y="143"/>
                  </a:lnTo>
                  <a:lnTo>
                    <a:pt x="134" y="143"/>
                  </a:lnTo>
                  <a:lnTo>
                    <a:pt x="136" y="145"/>
                  </a:lnTo>
                  <a:lnTo>
                    <a:pt x="137" y="147"/>
                  </a:lnTo>
                  <a:lnTo>
                    <a:pt x="136" y="148"/>
                  </a:lnTo>
                  <a:lnTo>
                    <a:pt x="137" y="150"/>
                  </a:lnTo>
                  <a:lnTo>
                    <a:pt x="139" y="152"/>
                  </a:lnTo>
                  <a:lnTo>
                    <a:pt x="136" y="152"/>
                  </a:lnTo>
                  <a:lnTo>
                    <a:pt x="137" y="153"/>
                  </a:lnTo>
                  <a:lnTo>
                    <a:pt x="139" y="153"/>
                  </a:lnTo>
                  <a:lnTo>
                    <a:pt x="141" y="155"/>
                  </a:lnTo>
                  <a:lnTo>
                    <a:pt x="141" y="157"/>
                  </a:lnTo>
                  <a:lnTo>
                    <a:pt x="141" y="158"/>
                  </a:lnTo>
                  <a:lnTo>
                    <a:pt x="141" y="160"/>
                  </a:lnTo>
                  <a:lnTo>
                    <a:pt x="141" y="162"/>
                  </a:lnTo>
                  <a:lnTo>
                    <a:pt x="142" y="164"/>
                  </a:lnTo>
                  <a:lnTo>
                    <a:pt x="141" y="165"/>
                  </a:lnTo>
                  <a:lnTo>
                    <a:pt x="144" y="167"/>
                  </a:lnTo>
                  <a:lnTo>
                    <a:pt x="146" y="169"/>
                  </a:lnTo>
                  <a:lnTo>
                    <a:pt x="147" y="170"/>
                  </a:lnTo>
                  <a:lnTo>
                    <a:pt x="149" y="170"/>
                  </a:lnTo>
                  <a:lnTo>
                    <a:pt x="151" y="174"/>
                  </a:lnTo>
                  <a:lnTo>
                    <a:pt x="153" y="174"/>
                  </a:lnTo>
                  <a:lnTo>
                    <a:pt x="154" y="174"/>
                  </a:lnTo>
                  <a:lnTo>
                    <a:pt x="154" y="177"/>
                  </a:lnTo>
                  <a:lnTo>
                    <a:pt x="156" y="177"/>
                  </a:lnTo>
                  <a:lnTo>
                    <a:pt x="158" y="177"/>
                  </a:lnTo>
                  <a:lnTo>
                    <a:pt x="158" y="179"/>
                  </a:lnTo>
                  <a:lnTo>
                    <a:pt x="159" y="181"/>
                  </a:lnTo>
                  <a:lnTo>
                    <a:pt x="161" y="181"/>
                  </a:lnTo>
                  <a:lnTo>
                    <a:pt x="163" y="182"/>
                  </a:lnTo>
                  <a:lnTo>
                    <a:pt x="164" y="186"/>
                  </a:lnTo>
                  <a:lnTo>
                    <a:pt x="166" y="186"/>
                  </a:lnTo>
                  <a:lnTo>
                    <a:pt x="168" y="187"/>
                  </a:lnTo>
                  <a:lnTo>
                    <a:pt x="170" y="187"/>
                  </a:lnTo>
                  <a:lnTo>
                    <a:pt x="170" y="191"/>
                  </a:lnTo>
                  <a:lnTo>
                    <a:pt x="171" y="191"/>
                  </a:lnTo>
                  <a:lnTo>
                    <a:pt x="171" y="194"/>
                  </a:lnTo>
                  <a:lnTo>
                    <a:pt x="175" y="194"/>
                  </a:lnTo>
                  <a:lnTo>
                    <a:pt x="176" y="196"/>
                  </a:lnTo>
                  <a:lnTo>
                    <a:pt x="178" y="198"/>
                  </a:lnTo>
                  <a:lnTo>
                    <a:pt x="180" y="199"/>
                  </a:lnTo>
                  <a:lnTo>
                    <a:pt x="181" y="201"/>
                  </a:lnTo>
                  <a:lnTo>
                    <a:pt x="185" y="203"/>
                  </a:lnTo>
                  <a:lnTo>
                    <a:pt x="185" y="206"/>
                  </a:lnTo>
                  <a:lnTo>
                    <a:pt x="187" y="206"/>
                  </a:lnTo>
                  <a:lnTo>
                    <a:pt x="190" y="208"/>
                  </a:lnTo>
                  <a:lnTo>
                    <a:pt x="192" y="208"/>
                  </a:lnTo>
                  <a:lnTo>
                    <a:pt x="192" y="209"/>
                  </a:lnTo>
                  <a:lnTo>
                    <a:pt x="193" y="211"/>
                  </a:lnTo>
                  <a:lnTo>
                    <a:pt x="195" y="211"/>
                  </a:lnTo>
                  <a:lnTo>
                    <a:pt x="198" y="211"/>
                  </a:lnTo>
                  <a:lnTo>
                    <a:pt x="200" y="211"/>
                  </a:lnTo>
                  <a:lnTo>
                    <a:pt x="202" y="215"/>
                  </a:lnTo>
                  <a:lnTo>
                    <a:pt x="200" y="216"/>
                  </a:lnTo>
                  <a:lnTo>
                    <a:pt x="200" y="218"/>
                  </a:lnTo>
                  <a:lnTo>
                    <a:pt x="202" y="220"/>
                  </a:lnTo>
                  <a:lnTo>
                    <a:pt x="202" y="221"/>
                  </a:lnTo>
                  <a:lnTo>
                    <a:pt x="204" y="223"/>
                  </a:lnTo>
                  <a:lnTo>
                    <a:pt x="205" y="225"/>
                  </a:lnTo>
                  <a:lnTo>
                    <a:pt x="205" y="226"/>
                  </a:lnTo>
                  <a:lnTo>
                    <a:pt x="207" y="226"/>
                  </a:lnTo>
                  <a:lnTo>
                    <a:pt x="209" y="226"/>
                  </a:lnTo>
                  <a:lnTo>
                    <a:pt x="210" y="228"/>
                  </a:lnTo>
                  <a:lnTo>
                    <a:pt x="210" y="230"/>
                  </a:lnTo>
                  <a:lnTo>
                    <a:pt x="210" y="232"/>
                  </a:lnTo>
                  <a:lnTo>
                    <a:pt x="212" y="232"/>
                  </a:lnTo>
                  <a:lnTo>
                    <a:pt x="214" y="233"/>
                  </a:lnTo>
                  <a:lnTo>
                    <a:pt x="215" y="233"/>
                  </a:lnTo>
                  <a:lnTo>
                    <a:pt x="217" y="235"/>
                  </a:lnTo>
                  <a:lnTo>
                    <a:pt x="219" y="235"/>
                  </a:lnTo>
                  <a:lnTo>
                    <a:pt x="221" y="237"/>
                  </a:lnTo>
                  <a:lnTo>
                    <a:pt x="222" y="237"/>
                  </a:lnTo>
                  <a:lnTo>
                    <a:pt x="222" y="238"/>
                  </a:lnTo>
                  <a:lnTo>
                    <a:pt x="224" y="240"/>
                  </a:lnTo>
                  <a:lnTo>
                    <a:pt x="224" y="242"/>
                  </a:lnTo>
                  <a:lnTo>
                    <a:pt x="226" y="243"/>
                  </a:lnTo>
                  <a:lnTo>
                    <a:pt x="227" y="245"/>
                  </a:lnTo>
                  <a:lnTo>
                    <a:pt x="224" y="245"/>
                  </a:lnTo>
                  <a:lnTo>
                    <a:pt x="222" y="247"/>
                  </a:lnTo>
                  <a:lnTo>
                    <a:pt x="221" y="247"/>
                  </a:lnTo>
                  <a:lnTo>
                    <a:pt x="217" y="249"/>
                  </a:lnTo>
                  <a:lnTo>
                    <a:pt x="215" y="245"/>
                  </a:lnTo>
                  <a:lnTo>
                    <a:pt x="214" y="245"/>
                  </a:lnTo>
                  <a:lnTo>
                    <a:pt x="214" y="243"/>
                  </a:lnTo>
                  <a:lnTo>
                    <a:pt x="214" y="242"/>
                  </a:lnTo>
                  <a:lnTo>
                    <a:pt x="212" y="243"/>
                  </a:lnTo>
                  <a:lnTo>
                    <a:pt x="214" y="242"/>
                  </a:lnTo>
                  <a:lnTo>
                    <a:pt x="212" y="242"/>
                  </a:lnTo>
                  <a:lnTo>
                    <a:pt x="214" y="240"/>
                  </a:lnTo>
                  <a:lnTo>
                    <a:pt x="212" y="242"/>
                  </a:lnTo>
                  <a:lnTo>
                    <a:pt x="210" y="240"/>
                  </a:lnTo>
                  <a:lnTo>
                    <a:pt x="210" y="242"/>
                  </a:lnTo>
                  <a:lnTo>
                    <a:pt x="209" y="240"/>
                  </a:lnTo>
                  <a:lnTo>
                    <a:pt x="207" y="238"/>
                  </a:lnTo>
                  <a:lnTo>
                    <a:pt x="205" y="237"/>
                  </a:lnTo>
                  <a:lnTo>
                    <a:pt x="204" y="237"/>
                  </a:lnTo>
                  <a:lnTo>
                    <a:pt x="202" y="235"/>
                  </a:lnTo>
                  <a:lnTo>
                    <a:pt x="200" y="233"/>
                  </a:lnTo>
                  <a:lnTo>
                    <a:pt x="197" y="233"/>
                  </a:lnTo>
                  <a:lnTo>
                    <a:pt x="197" y="232"/>
                  </a:lnTo>
                  <a:lnTo>
                    <a:pt x="193" y="232"/>
                  </a:lnTo>
                  <a:lnTo>
                    <a:pt x="193" y="230"/>
                  </a:lnTo>
                  <a:lnTo>
                    <a:pt x="192" y="230"/>
                  </a:lnTo>
                  <a:lnTo>
                    <a:pt x="190" y="226"/>
                  </a:lnTo>
                  <a:lnTo>
                    <a:pt x="188" y="226"/>
                  </a:lnTo>
                  <a:lnTo>
                    <a:pt x="188" y="225"/>
                  </a:lnTo>
                  <a:lnTo>
                    <a:pt x="187" y="225"/>
                  </a:lnTo>
                  <a:lnTo>
                    <a:pt x="185" y="223"/>
                  </a:lnTo>
                  <a:lnTo>
                    <a:pt x="185" y="221"/>
                  </a:lnTo>
                  <a:lnTo>
                    <a:pt x="183" y="221"/>
                  </a:lnTo>
                  <a:lnTo>
                    <a:pt x="181" y="218"/>
                  </a:lnTo>
                  <a:lnTo>
                    <a:pt x="178" y="220"/>
                  </a:lnTo>
                  <a:lnTo>
                    <a:pt x="175" y="220"/>
                  </a:lnTo>
                  <a:lnTo>
                    <a:pt x="175" y="218"/>
                  </a:lnTo>
                  <a:lnTo>
                    <a:pt x="175" y="220"/>
                  </a:lnTo>
                  <a:lnTo>
                    <a:pt x="173" y="218"/>
                  </a:lnTo>
                  <a:lnTo>
                    <a:pt x="171" y="218"/>
                  </a:lnTo>
                  <a:lnTo>
                    <a:pt x="171" y="216"/>
                  </a:lnTo>
                  <a:lnTo>
                    <a:pt x="168" y="218"/>
                  </a:lnTo>
                  <a:lnTo>
                    <a:pt x="168" y="216"/>
                  </a:lnTo>
                  <a:lnTo>
                    <a:pt x="164" y="216"/>
                  </a:lnTo>
                  <a:lnTo>
                    <a:pt x="164" y="215"/>
                  </a:lnTo>
                  <a:lnTo>
                    <a:pt x="163" y="213"/>
                  </a:lnTo>
                  <a:lnTo>
                    <a:pt x="161" y="213"/>
                  </a:lnTo>
                  <a:lnTo>
                    <a:pt x="158" y="215"/>
                  </a:lnTo>
                  <a:lnTo>
                    <a:pt x="158" y="213"/>
                  </a:lnTo>
                  <a:lnTo>
                    <a:pt x="154" y="213"/>
                  </a:lnTo>
                  <a:lnTo>
                    <a:pt x="156" y="213"/>
                  </a:lnTo>
                  <a:lnTo>
                    <a:pt x="156" y="211"/>
                  </a:lnTo>
                  <a:lnTo>
                    <a:pt x="159" y="211"/>
                  </a:lnTo>
                  <a:lnTo>
                    <a:pt x="156" y="211"/>
                  </a:lnTo>
                  <a:lnTo>
                    <a:pt x="153" y="211"/>
                  </a:lnTo>
                  <a:lnTo>
                    <a:pt x="151" y="211"/>
                  </a:lnTo>
                  <a:lnTo>
                    <a:pt x="149" y="213"/>
                  </a:lnTo>
                  <a:lnTo>
                    <a:pt x="147" y="213"/>
                  </a:lnTo>
                  <a:lnTo>
                    <a:pt x="146" y="213"/>
                  </a:lnTo>
                  <a:lnTo>
                    <a:pt x="144" y="215"/>
                  </a:lnTo>
                  <a:lnTo>
                    <a:pt x="141" y="215"/>
                  </a:lnTo>
                  <a:lnTo>
                    <a:pt x="144" y="215"/>
                  </a:lnTo>
                  <a:lnTo>
                    <a:pt x="144" y="216"/>
                  </a:lnTo>
                  <a:lnTo>
                    <a:pt x="142" y="216"/>
                  </a:lnTo>
                  <a:lnTo>
                    <a:pt x="141" y="216"/>
                  </a:lnTo>
                  <a:lnTo>
                    <a:pt x="142" y="216"/>
                  </a:lnTo>
                  <a:lnTo>
                    <a:pt x="141" y="218"/>
                  </a:lnTo>
                  <a:lnTo>
                    <a:pt x="139" y="216"/>
                  </a:lnTo>
                  <a:lnTo>
                    <a:pt x="137" y="218"/>
                  </a:lnTo>
                  <a:lnTo>
                    <a:pt x="137" y="216"/>
                  </a:lnTo>
                  <a:lnTo>
                    <a:pt x="136" y="216"/>
                  </a:lnTo>
                  <a:lnTo>
                    <a:pt x="134" y="216"/>
                  </a:lnTo>
                  <a:lnTo>
                    <a:pt x="132" y="216"/>
                  </a:lnTo>
                  <a:lnTo>
                    <a:pt x="134" y="215"/>
                  </a:lnTo>
                  <a:lnTo>
                    <a:pt x="132" y="215"/>
                  </a:lnTo>
                  <a:lnTo>
                    <a:pt x="134" y="215"/>
                  </a:lnTo>
                  <a:lnTo>
                    <a:pt x="134" y="213"/>
                  </a:lnTo>
                  <a:lnTo>
                    <a:pt x="132" y="215"/>
                  </a:lnTo>
                  <a:lnTo>
                    <a:pt x="132" y="213"/>
                  </a:lnTo>
                  <a:lnTo>
                    <a:pt x="130" y="213"/>
                  </a:lnTo>
                  <a:lnTo>
                    <a:pt x="132" y="211"/>
                  </a:lnTo>
                  <a:lnTo>
                    <a:pt x="130" y="211"/>
                  </a:lnTo>
                  <a:lnTo>
                    <a:pt x="130" y="209"/>
                  </a:lnTo>
                  <a:lnTo>
                    <a:pt x="130" y="208"/>
                  </a:lnTo>
                  <a:lnTo>
                    <a:pt x="130" y="206"/>
                  </a:lnTo>
                  <a:lnTo>
                    <a:pt x="134" y="206"/>
                  </a:lnTo>
                  <a:lnTo>
                    <a:pt x="130" y="206"/>
                  </a:lnTo>
                  <a:lnTo>
                    <a:pt x="129" y="206"/>
                  </a:lnTo>
                  <a:lnTo>
                    <a:pt x="130" y="206"/>
                  </a:lnTo>
                  <a:lnTo>
                    <a:pt x="132" y="206"/>
                  </a:lnTo>
                  <a:lnTo>
                    <a:pt x="130" y="204"/>
                  </a:lnTo>
                  <a:lnTo>
                    <a:pt x="132" y="204"/>
                  </a:lnTo>
                  <a:lnTo>
                    <a:pt x="132" y="203"/>
                  </a:lnTo>
                  <a:lnTo>
                    <a:pt x="130" y="203"/>
                  </a:lnTo>
                  <a:lnTo>
                    <a:pt x="130" y="204"/>
                  </a:lnTo>
                  <a:lnTo>
                    <a:pt x="129" y="203"/>
                  </a:lnTo>
                  <a:lnTo>
                    <a:pt x="127" y="203"/>
                  </a:lnTo>
                  <a:lnTo>
                    <a:pt x="127" y="201"/>
                  </a:lnTo>
                  <a:lnTo>
                    <a:pt x="125" y="201"/>
                  </a:lnTo>
                  <a:lnTo>
                    <a:pt x="122" y="199"/>
                  </a:lnTo>
                  <a:lnTo>
                    <a:pt x="120" y="199"/>
                  </a:lnTo>
                  <a:lnTo>
                    <a:pt x="120" y="198"/>
                  </a:lnTo>
                  <a:lnTo>
                    <a:pt x="119" y="199"/>
                  </a:lnTo>
                  <a:lnTo>
                    <a:pt x="117" y="196"/>
                  </a:lnTo>
                  <a:lnTo>
                    <a:pt x="115" y="196"/>
                  </a:lnTo>
                  <a:lnTo>
                    <a:pt x="113" y="196"/>
                  </a:lnTo>
                  <a:lnTo>
                    <a:pt x="115" y="194"/>
                  </a:lnTo>
                  <a:lnTo>
                    <a:pt x="117" y="196"/>
                  </a:lnTo>
                  <a:lnTo>
                    <a:pt x="117" y="194"/>
                  </a:lnTo>
                  <a:lnTo>
                    <a:pt x="113" y="192"/>
                  </a:lnTo>
                  <a:lnTo>
                    <a:pt x="112" y="192"/>
                  </a:lnTo>
                  <a:lnTo>
                    <a:pt x="110" y="192"/>
                  </a:lnTo>
                  <a:lnTo>
                    <a:pt x="108" y="189"/>
                  </a:lnTo>
                  <a:lnTo>
                    <a:pt x="107" y="189"/>
                  </a:lnTo>
                  <a:lnTo>
                    <a:pt x="105" y="189"/>
                  </a:lnTo>
                  <a:lnTo>
                    <a:pt x="103" y="186"/>
                  </a:lnTo>
                  <a:lnTo>
                    <a:pt x="102" y="186"/>
                  </a:lnTo>
                  <a:lnTo>
                    <a:pt x="102" y="184"/>
                  </a:lnTo>
                  <a:lnTo>
                    <a:pt x="100" y="184"/>
                  </a:lnTo>
                  <a:lnTo>
                    <a:pt x="98" y="181"/>
                  </a:lnTo>
                  <a:lnTo>
                    <a:pt x="96" y="181"/>
                  </a:lnTo>
                  <a:lnTo>
                    <a:pt x="96" y="179"/>
                  </a:lnTo>
                  <a:lnTo>
                    <a:pt x="95" y="177"/>
                  </a:lnTo>
                  <a:lnTo>
                    <a:pt x="93" y="175"/>
                  </a:lnTo>
                  <a:lnTo>
                    <a:pt x="91" y="174"/>
                  </a:lnTo>
                  <a:lnTo>
                    <a:pt x="90" y="172"/>
                  </a:lnTo>
                  <a:lnTo>
                    <a:pt x="88" y="172"/>
                  </a:lnTo>
                  <a:lnTo>
                    <a:pt x="88" y="170"/>
                  </a:lnTo>
                  <a:lnTo>
                    <a:pt x="90" y="169"/>
                  </a:lnTo>
                  <a:lnTo>
                    <a:pt x="86" y="167"/>
                  </a:lnTo>
                  <a:lnTo>
                    <a:pt x="86" y="165"/>
                  </a:lnTo>
                  <a:lnTo>
                    <a:pt x="88" y="164"/>
                  </a:lnTo>
                  <a:lnTo>
                    <a:pt x="90" y="167"/>
                  </a:lnTo>
                  <a:lnTo>
                    <a:pt x="91" y="165"/>
                  </a:lnTo>
                  <a:lnTo>
                    <a:pt x="90" y="164"/>
                  </a:lnTo>
                  <a:lnTo>
                    <a:pt x="91" y="164"/>
                  </a:lnTo>
                  <a:lnTo>
                    <a:pt x="90" y="164"/>
                  </a:lnTo>
                  <a:lnTo>
                    <a:pt x="91" y="164"/>
                  </a:lnTo>
                  <a:lnTo>
                    <a:pt x="93" y="165"/>
                  </a:lnTo>
                  <a:lnTo>
                    <a:pt x="95" y="167"/>
                  </a:lnTo>
                  <a:lnTo>
                    <a:pt x="95" y="165"/>
                  </a:lnTo>
                  <a:lnTo>
                    <a:pt x="95" y="164"/>
                  </a:lnTo>
                  <a:lnTo>
                    <a:pt x="93" y="162"/>
                  </a:lnTo>
                  <a:lnTo>
                    <a:pt x="93" y="160"/>
                  </a:lnTo>
                  <a:lnTo>
                    <a:pt x="96" y="162"/>
                  </a:lnTo>
                  <a:lnTo>
                    <a:pt x="96" y="164"/>
                  </a:lnTo>
                  <a:lnTo>
                    <a:pt x="98" y="164"/>
                  </a:lnTo>
                  <a:lnTo>
                    <a:pt x="100" y="165"/>
                  </a:lnTo>
                  <a:lnTo>
                    <a:pt x="103" y="164"/>
                  </a:lnTo>
                  <a:lnTo>
                    <a:pt x="103" y="165"/>
                  </a:lnTo>
                  <a:lnTo>
                    <a:pt x="107" y="165"/>
                  </a:lnTo>
                  <a:lnTo>
                    <a:pt x="107" y="167"/>
                  </a:lnTo>
                  <a:lnTo>
                    <a:pt x="105" y="169"/>
                  </a:lnTo>
                  <a:lnTo>
                    <a:pt x="107" y="170"/>
                  </a:lnTo>
                  <a:lnTo>
                    <a:pt x="110" y="169"/>
                  </a:lnTo>
                  <a:lnTo>
                    <a:pt x="110" y="170"/>
                  </a:lnTo>
                  <a:lnTo>
                    <a:pt x="112" y="170"/>
                  </a:lnTo>
                  <a:lnTo>
                    <a:pt x="112" y="174"/>
                  </a:lnTo>
                  <a:lnTo>
                    <a:pt x="113" y="172"/>
                  </a:lnTo>
                  <a:lnTo>
                    <a:pt x="112" y="170"/>
                  </a:lnTo>
                  <a:lnTo>
                    <a:pt x="110" y="169"/>
                  </a:lnTo>
                  <a:lnTo>
                    <a:pt x="108" y="167"/>
                  </a:lnTo>
                  <a:lnTo>
                    <a:pt x="107" y="167"/>
                  </a:lnTo>
                  <a:lnTo>
                    <a:pt x="107" y="165"/>
                  </a:lnTo>
                  <a:lnTo>
                    <a:pt x="107" y="164"/>
                  </a:lnTo>
                  <a:lnTo>
                    <a:pt x="105" y="164"/>
                  </a:lnTo>
                  <a:lnTo>
                    <a:pt x="103" y="164"/>
                  </a:lnTo>
                  <a:lnTo>
                    <a:pt x="102" y="162"/>
                  </a:lnTo>
                  <a:lnTo>
                    <a:pt x="100" y="160"/>
                  </a:lnTo>
                  <a:lnTo>
                    <a:pt x="96" y="160"/>
                  </a:lnTo>
                  <a:lnTo>
                    <a:pt x="95" y="158"/>
                  </a:lnTo>
                  <a:lnTo>
                    <a:pt x="93" y="158"/>
                  </a:lnTo>
                  <a:lnTo>
                    <a:pt x="93" y="157"/>
                  </a:lnTo>
                  <a:lnTo>
                    <a:pt x="90" y="153"/>
                  </a:lnTo>
                  <a:lnTo>
                    <a:pt x="88" y="152"/>
                  </a:lnTo>
                  <a:lnTo>
                    <a:pt x="86" y="152"/>
                  </a:lnTo>
                  <a:lnTo>
                    <a:pt x="86" y="150"/>
                  </a:lnTo>
                  <a:lnTo>
                    <a:pt x="85" y="148"/>
                  </a:lnTo>
                  <a:lnTo>
                    <a:pt x="83" y="147"/>
                  </a:lnTo>
                  <a:lnTo>
                    <a:pt x="79" y="145"/>
                  </a:lnTo>
                  <a:lnTo>
                    <a:pt x="78" y="145"/>
                  </a:lnTo>
                  <a:lnTo>
                    <a:pt x="76" y="141"/>
                  </a:lnTo>
                  <a:lnTo>
                    <a:pt x="76" y="140"/>
                  </a:lnTo>
                  <a:lnTo>
                    <a:pt x="74" y="140"/>
                  </a:lnTo>
                  <a:lnTo>
                    <a:pt x="74" y="138"/>
                  </a:lnTo>
                  <a:lnTo>
                    <a:pt x="73" y="136"/>
                  </a:lnTo>
                  <a:lnTo>
                    <a:pt x="73" y="135"/>
                  </a:lnTo>
                  <a:lnTo>
                    <a:pt x="73" y="133"/>
                  </a:lnTo>
                  <a:lnTo>
                    <a:pt x="73" y="131"/>
                  </a:lnTo>
                  <a:lnTo>
                    <a:pt x="71" y="129"/>
                  </a:lnTo>
                  <a:lnTo>
                    <a:pt x="71" y="126"/>
                  </a:lnTo>
                  <a:lnTo>
                    <a:pt x="73" y="124"/>
                  </a:lnTo>
                  <a:lnTo>
                    <a:pt x="73" y="123"/>
                  </a:lnTo>
                  <a:lnTo>
                    <a:pt x="73" y="121"/>
                  </a:lnTo>
                  <a:lnTo>
                    <a:pt x="73" y="119"/>
                  </a:lnTo>
                  <a:lnTo>
                    <a:pt x="73" y="118"/>
                  </a:lnTo>
                  <a:lnTo>
                    <a:pt x="71" y="116"/>
                  </a:lnTo>
                  <a:lnTo>
                    <a:pt x="71" y="114"/>
                  </a:lnTo>
                  <a:lnTo>
                    <a:pt x="71" y="112"/>
                  </a:lnTo>
                  <a:lnTo>
                    <a:pt x="71" y="111"/>
                  </a:lnTo>
                  <a:lnTo>
                    <a:pt x="69" y="109"/>
                  </a:lnTo>
                  <a:lnTo>
                    <a:pt x="68" y="107"/>
                  </a:lnTo>
                  <a:lnTo>
                    <a:pt x="69" y="106"/>
                  </a:lnTo>
                  <a:lnTo>
                    <a:pt x="68" y="107"/>
                  </a:lnTo>
                  <a:lnTo>
                    <a:pt x="68" y="106"/>
                  </a:lnTo>
                  <a:lnTo>
                    <a:pt x="68" y="107"/>
                  </a:lnTo>
                  <a:lnTo>
                    <a:pt x="66" y="106"/>
                  </a:lnTo>
                  <a:lnTo>
                    <a:pt x="62" y="106"/>
                  </a:lnTo>
                  <a:lnTo>
                    <a:pt x="62" y="104"/>
                  </a:lnTo>
                  <a:lnTo>
                    <a:pt x="61" y="102"/>
                  </a:lnTo>
                  <a:lnTo>
                    <a:pt x="59" y="101"/>
                  </a:lnTo>
                  <a:lnTo>
                    <a:pt x="56" y="101"/>
                  </a:lnTo>
                  <a:lnTo>
                    <a:pt x="56" y="99"/>
                  </a:lnTo>
                  <a:lnTo>
                    <a:pt x="54" y="97"/>
                  </a:lnTo>
                  <a:lnTo>
                    <a:pt x="54" y="95"/>
                  </a:lnTo>
                  <a:lnTo>
                    <a:pt x="52" y="94"/>
                  </a:lnTo>
                  <a:lnTo>
                    <a:pt x="54" y="95"/>
                  </a:lnTo>
                  <a:lnTo>
                    <a:pt x="52" y="95"/>
                  </a:lnTo>
                  <a:lnTo>
                    <a:pt x="51" y="95"/>
                  </a:lnTo>
                  <a:lnTo>
                    <a:pt x="49" y="94"/>
                  </a:lnTo>
                  <a:lnTo>
                    <a:pt x="47" y="92"/>
                  </a:lnTo>
                  <a:lnTo>
                    <a:pt x="47" y="94"/>
                  </a:lnTo>
                  <a:lnTo>
                    <a:pt x="45" y="92"/>
                  </a:lnTo>
                  <a:lnTo>
                    <a:pt x="44" y="92"/>
                  </a:lnTo>
                  <a:lnTo>
                    <a:pt x="42" y="92"/>
                  </a:lnTo>
                  <a:lnTo>
                    <a:pt x="40" y="92"/>
                  </a:lnTo>
                  <a:lnTo>
                    <a:pt x="40" y="95"/>
                  </a:lnTo>
                  <a:lnTo>
                    <a:pt x="39" y="97"/>
                  </a:lnTo>
                  <a:lnTo>
                    <a:pt x="39" y="99"/>
                  </a:lnTo>
                  <a:lnTo>
                    <a:pt x="39" y="102"/>
                  </a:lnTo>
                  <a:lnTo>
                    <a:pt x="39" y="104"/>
                  </a:lnTo>
                  <a:lnTo>
                    <a:pt x="37" y="107"/>
                  </a:lnTo>
                  <a:lnTo>
                    <a:pt x="37" y="109"/>
                  </a:lnTo>
                  <a:lnTo>
                    <a:pt x="35" y="107"/>
                  </a:lnTo>
                  <a:lnTo>
                    <a:pt x="37" y="109"/>
                  </a:lnTo>
                  <a:lnTo>
                    <a:pt x="35" y="111"/>
                  </a:lnTo>
                  <a:lnTo>
                    <a:pt x="34" y="111"/>
                  </a:lnTo>
                  <a:lnTo>
                    <a:pt x="35" y="114"/>
                  </a:lnTo>
                  <a:lnTo>
                    <a:pt x="34" y="112"/>
                  </a:lnTo>
                  <a:lnTo>
                    <a:pt x="35" y="114"/>
                  </a:lnTo>
                  <a:lnTo>
                    <a:pt x="35" y="116"/>
                  </a:lnTo>
                  <a:lnTo>
                    <a:pt x="35" y="118"/>
                  </a:lnTo>
                  <a:lnTo>
                    <a:pt x="35" y="119"/>
                  </a:lnTo>
                  <a:lnTo>
                    <a:pt x="32" y="119"/>
                  </a:lnTo>
                  <a:lnTo>
                    <a:pt x="30" y="121"/>
                  </a:lnTo>
                  <a:lnTo>
                    <a:pt x="30" y="119"/>
                  </a:lnTo>
                  <a:lnTo>
                    <a:pt x="32" y="119"/>
                  </a:lnTo>
                  <a:lnTo>
                    <a:pt x="30" y="116"/>
                  </a:lnTo>
                  <a:lnTo>
                    <a:pt x="30" y="118"/>
                  </a:lnTo>
                  <a:lnTo>
                    <a:pt x="28" y="114"/>
                  </a:lnTo>
                  <a:lnTo>
                    <a:pt x="28" y="118"/>
                  </a:lnTo>
                  <a:lnTo>
                    <a:pt x="30" y="119"/>
                  </a:lnTo>
                  <a:lnTo>
                    <a:pt x="30" y="121"/>
                  </a:lnTo>
                  <a:lnTo>
                    <a:pt x="28" y="121"/>
                  </a:lnTo>
                  <a:lnTo>
                    <a:pt x="30" y="121"/>
                  </a:lnTo>
                  <a:lnTo>
                    <a:pt x="28" y="123"/>
                  </a:lnTo>
                  <a:lnTo>
                    <a:pt x="28" y="124"/>
                  </a:lnTo>
                  <a:lnTo>
                    <a:pt x="27" y="124"/>
                  </a:lnTo>
                  <a:lnTo>
                    <a:pt x="27" y="126"/>
                  </a:lnTo>
                  <a:lnTo>
                    <a:pt x="27" y="128"/>
                  </a:lnTo>
                  <a:lnTo>
                    <a:pt x="27" y="129"/>
                  </a:lnTo>
                  <a:lnTo>
                    <a:pt x="28" y="131"/>
                  </a:lnTo>
                  <a:lnTo>
                    <a:pt x="25" y="131"/>
                  </a:lnTo>
                  <a:lnTo>
                    <a:pt x="23" y="131"/>
                  </a:lnTo>
                  <a:lnTo>
                    <a:pt x="23" y="129"/>
                  </a:lnTo>
                  <a:lnTo>
                    <a:pt x="22" y="129"/>
                  </a:lnTo>
                  <a:lnTo>
                    <a:pt x="23" y="131"/>
                  </a:lnTo>
                  <a:lnTo>
                    <a:pt x="23" y="133"/>
                  </a:lnTo>
                  <a:lnTo>
                    <a:pt x="23" y="131"/>
                  </a:lnTo>
                  <a:lnTo>
                    <a:pt x="22" y="131"/>
                  </a:lnTo>
                  <a:lnTo>
                    <a:pt x="22" y="129"/>
                  </a:lnTo>
                  <a:lnTo>
                    <a:pt x="20" y="129"/>
                  </a:lnTo>
                  <a:lnTo>
                    <a:pt x="20" y="128"/>
                  </a:lnTo>
                  <a:lnTo>
                    <a:pt x="20" y="129"/>
                  </a:lnTo>
                  <a:lnTo>
                    <a:pt x="20" y="128"/>
                  </a:lnTo>
                  <a:lnTo>
                    <a:pt x="17" y="128"/>
                  </a:lnTo>
                  <a:lnTo>
                    <a:pt x="17" y="126"/>
                  </a:lnTo>
                  <a:lnTo>
                    <a:pt x="20" y="128"/>
                  </a:lnTo>
                  <a:lnTo>
                    <a:pt x="20" y="126"/>
                  </a:lnTo>
                  <a:lnTo>
                    <a:pt x="18" y="126"/>
                  </a:lnTo>
                  <a:lnTo>
                    <a:pt x="17" y="126"/>
                  </a:lnTo>
                  <a:lnTo>
                    <a:pt x="18" y="124"/>
                  </a:lnTo>
                  <a:lnTo>
                    <a:pt x="17" y="123"/>
                  </a:lnTo>
                  <a:lnTo>
                    <a:pt x="17" y="121"/>
                  </a:lnTo>
                  <a:lnTo>
                    <a:pt x="15" y="119"/>
                  </a:lnTo>
                  <a:lnTo>
                    <a:pt x="13" y="119"/>
                  </a:lnTo>
                  <a:lnTo>
                    <a:pt x="13" y="116"/>
                  </a:lnTo>
                  <a:lnTo>
                    <a:pt x="11" y="116"/>
                  </a:lnTo>
                  <a:lnTo>
                    <a:pt x="11" y="114"/>
                  </a:lnTo>
                  <a:lnTo>
                    <a:pt x="10" y="114"/>
                  </a:lnTo>
                  <a:lnTo>
                    <a:pt x="8" y="114"/>
                  </a:lnTo>
                  <a:lnTo>
                    <a:pt x="8" y="111"/>
                  </a:lnTo>
                  <a:lnTo>
                    <a:pt x="6" y="111"/>
                  </a:lnTo>
                  <a:lnTo>
                    <a:pt x="8" y="111"/>
                  </a:lnTo>
                  <a:lnTo>
                    <a:pt x="8" y="109"/>
                  </a:lnTo>
                  <a:lnTo>
                    <a:pt x="11" y="109"/>
                  </a:lnTo>
                  <a:lnTo>
                    <a:pt x="13" y="109"/>
                  </a:lnTo>
                  <a:lnTo>
                    <a:pt x="11" y="107"/>
                  </a:lnTo>
                  <a:lnTo>
                    <a:pt x="11" y="109"/>
                  </a:lnTo>
                  <a:lnTo>
                    <a:pt x="8" y="109"/>
                  </a:lnTo>
                  <a:lnTo>
                    <a:pt x="6" y="109"/>
                  </a:lnTo>
                  <a:lnTo>
                    <a:pt x="6" y="107"/>
                  </a:lnTo>
                  <a:lnTo>
                    <a:pt x="5" y="104"/>
                  </a:lnTo>
                  <a:lnTo>
                    <a:pt x="6" y="104"/>
                  </a:lnTo>
                  <a:lnTo>
                    <a:pt x="6" y="101"/>
                  </a:lnTo>
                  <a:lnTo>
                    <a:pt x="5" y="99"/>
                  </a:lnTo>
                  <a:lnTo>
                    <a:pt x="6" y="99"/>
                  </a:lnTo>
                  <a:lnTo>
                    <a:pt x="5" y="97"/>
                  </a:lnTo>
                  <a:lnTo>
                    <a:pt x="6" y="95"/>
                  </a:lnTo>
                  <a:lnTo>
                    <a:pt x="5" y="95"/>
                  </a:lnTo>
                  <a:lnTo>
                    <a:pt x="3" y="95"/>
                  </a:lnTo>
                  <a:lnTo>
                    <a:pt x="3" y="94"/>
                  </a:lnTo>
                  <a:lnTo>
                    <a:pt x="3" y="92"/>
                  </a:lnTo>
                  <a:lnTo>
                    <a:pt x="3" y="90"/>
                  </a:lnTo>
                  <a:lnTo>
                    <a:pt x="1" y="89"/>
                  </a:lnTo>
                  <a:lnTo>
                    <a:pt x="1" y="87"/>
                  </a:lnTo>
                  <a:lnTo>
                    <a:pt x="1" y="85"/>
                  </a:lnTo>
                  <a:lnTo>
                    <a:pt x="0" y="84"/>
                  </a:lnTo>
                  <a:lnTo>
                    <a:pt x="1" y="84"/>
                  </a:lnTo>
                  <a:lnTo>
                    <a:pt x="3" y="84"/>
                  </a:lnTo>
                  <a:lnTo>
                    <a:pt x="5" y="85"/>
                  </a:lnTo>
                  <a:lnTo>
                    <a:pt x="6" y="85"/>
                  </a:lnTo>
                  <a:lnTo>
                    <a:pt x="8" y="87"/>
                  </a:lnTo>
                  <a:lnTo>
                    <a:pt x="10" y="87"/>
                  </a:lnTo>
                  <a:lnTo>
                    <a:pt x="11" y="85"/>
                  </a:lnTo>
                  <a:lnTo>
                    <a:pt x="13" y="85"/>
                  </a:lnTo>
                  <a:lnTo>
                    <a:pt x="15" y="85"/>
                  </a:lnTo>
                  <a:lnTo>
                    <a:pt x="17" y="87"/>
                  </a:lnTo>
                  <a:lnTo>
                    <a:pt x="18" y="87"/>
                  </a:lnTo>
                  <a:lnTo>
                    <a:pt x="20" y="87"/>
                  </a:lnTo>
                  <a:lnTo>
                    <a:pt x="22" y="85"/>
                  </a:lnTo>
                  <a:lnTo>
                    <a:pt x="23" y="85"/>
                  </a:lnTo>
                  <a:lnTo>
                    <a:pt x="25" y="85"/>
                  </a:lnTo>
                  <a:lnTo>
                    <a:pt x="25" y="84"/>
                  </a:lnTo>
                  <a:lnTo>
                    <a:pt x="23" y="82"/>
                  </a:lnTo>
                  <a:lnTo>
                    <a:pt x="25" y="82"/>
                  </a:lnTo>
                  <a:lnTo>
                    <a:pt x="25" y="80"/>
                  </a:lnTo>
                  <a:lnTo>
                    <a:pt x="27" y="82"/>
                  </a:lnTo>
                  <a:lnTo>
                    <a:pt x="28" y="84"/>
                  </a:lnTo>
                  <a:lnTo>
                    <a:pt x="30" y="84"/>
                  </a:lnTo>
                  <a:lnTo>
                    <a:pt x="32" y="84"/>
                  </a:lnTo>
                  <a:lnTo>
                    <a:pt x="34" y="84"/>
                  </a:lnTo>
                  <a:lnTo>
                    <a:pt x="35" y="84"/>
                  </a:lnTo>
                  <a:lnTo>
                    <a:pt x="35" y="82"/>
                  </a:lnTo>
                  <a:lnTo>
                    <a:pt x="37" y="80"/>
                  </a:lnTo>
                  <a:lnTo>
                    <a:pt x="39" y="82"/>
                  </a:lnTo>
                  <a:lnTo>
                    <a:pt x="40" y="84"/>
                  </a:lnTo>
                  <a:lnTo>
                    <a:pt x="42" y="82"/>
                  </a:lnTo>
                  <a:lnTo>
                    <a:pt x="44" y="82"/>
                  </a:lnTo>
                  <a:lnTo>
                    <a:pt x="45" y="80"/>
                  </a:lnTo>
                  <a:lnTo>
                    <a:pt x="47" y="80"/>
                  </a:lnTo>
                  <a:lnTo>
                    <a:pt x="49" y="78"/>
                  </a:lnTo>
                  <a:lnTo>
                    <a:pt x="49" y="77"/>
                  </a:lnTo>
                  <a:lnTo>
                    <a:pt x="49" y="75"/>
                  </a:lnTo>
                  <a:lnTo>
                    <a:pt x="49" y="73"/>
                  </a:lnTo>
                  <a:lnTo>
                    <a:pt x="51" y="72"/>
                  </a:lnTo>
                  <a:lnTo>
                    <a:pt x="52" y="70"/>
                  </a:lnTo>
                  <a:lnTo>
                    <a:pt x="52" y="68"/>
                  </a:lnTo>
                  <a:lnTo>
                    <a:pt x="54" y="68"/>
                  </a:lnTo>
                  <a:lnTo>
                    <a:pt x="54" y="72"/>
                  </a:lnTo>
                  <a:lnTo>
                    <a:pt x="56" y="72"/>
                  </a:lnTo>
                  <a:lnTo>
                    <a:pt x="57" y="73"/>
                  </a:lnTo>
                  <a:lnTo>
                    <a:pt x="59" y="75"/>
                  </a:lnTo>
                  <a:lnTo>
                    <a:pt x="59" y="78"/>
                  </a:lnTo>
                  <a:lnTo>
                    <a:pt x="61" y="77"/>
                  </a:lnTo>
                  <a:lnTo>
                    <a:pt x="62" y="78"/>
                  </a:lnTo>
                  <a:lnTo>
                    <a:pt x="64" y="80"/>
                  </a:lnTo>
                  <a:lnTo>
                    <a:pt x="66" y="82"/>
                  </a:lnTo>
                  <a:lnTo>
                    <a:pt x="68" y="82"/>
                  </a:lnTo>
                  <a:lnTo>
                    <a:pt x="69" y="80"/>
                  </a:lnTo>
                  <a:lnTo>
                    <a:pt x="69" y="78"/>
                  </a:lnTo>
                  <a:lnTo>
                    <a:pt x="71" y="77"/>
                  </a:lnTo>
                  <a:lnTo>
                    <a:pt x="73" y="78"/>
                  </a:lnTo>
                  <a:lnTo>
                    <a:pt x="74" y="78"/>
                  </a:lnTo>
                  <a:lnTo>
                    <a:pt x="76" y="80"/>
                  </a:lnTo>
                  <a:lnTo>
                    <a:pt x="76" y="78"/>
                  </a:lnTo>
                  <a:lnTo>
                    <a:pt x="78" y="80"/>
                  </a:lnTo>
                  <a:lnTo>
                    <a:pt x="81" y="82"/>
                  </a:lnTo>
                  <a:lnTo>
                    <a:pt x="83" y="84"/>
                  </a:lnTo>
                  <a:lnTo>
                    <a:pt x="85" y="82"/>
                  </a:lnTo>
                  <a:lnTo>
                    <a:pt x="86" y="84"/>
                  </a:lnTo>
                  <a:lnTo>
                    <a:pt x="86" y="82"/>
                  </a:lnTo>
                  <a:lnTo>
                    <a:pt x="88" y="80"/>
                  </a:lnTo>
                  <a:lnTo>
                    <a:pt x="91" y="82"/>
                  </a:lnTo>
                  <a:lnTo>
                    <a:pt x="91" y="80"/>
                  </a:lnTo>
                  <a:lnTo>
                    <a:pt x="93" y="78"/>
                  </a:lnTo>
                  <a:lnTo>
                    <a:pt x="90" y="77"/>
                  </a:lnTo>
                  <a:lnTo>
                    <a:pt x="90" y="75"/>
                  </a:lnTo>
                  <a:lnTo>
                    <a:pt x="88" y="75"/>
                  </a:lnTo>
                  <a:lnTo>
                    <a:pt x="88" y="72"/>
                  </a:lnTo>
                  <a:lnTo>
                    <a:pt x="88" y="70"/>
                  </a:lnTo>
                  <a:lnTo>
                    <a:pt x="88" y="68"/>
                  </a:lnTo>
                  <a:lnTo>
                    <a:pt x="91" y="68"/>
                  </a:lnTo>
                  <a:lnTo>
                    <a:pt x="90" y="68"/>
                  </a:lnTo>
                  <a:lnTo>
                    <a:pt x="93" y="68"/>
                  </a:lnTo>
                  <a:lnTo>
                    <a:pt x="93" y="67"/>
                  </a:lnTo>
                  <a:lnTo>
                    <a:pt x="91" y="65"/>
                  </a:lnTo>
                  <a:lnTo>
                    <a:pt x="90" y="65"/>
                  </a:lnTo>
                  <a:lnTo>
                    <a:pt x="91" y="63"/>
                  </a:lnTo>
                  <a:lnTo>
                    <a:pt x="90" y="63"/>
                  </a:lnTo>
                  <a:lnTo>
                    <a:pt x="90" y="65"/>
                  </a:lnTo>
                  <a:lnTo>
                    <a:pt x="88" y="63"/>
                  </a:lnTo>
                  <a:lnTo>
                    <a:pt x="88" y="65"/>
                  </a:lnTo>
                  <a:lnTo>
                    <a:pt x="86" y="63"/>
                  </a:lnTo>
                  <a:lnTo>
                    <a:pt x="86" y="61"/>
                  </a:lnTo>
                  <a:lnTo>
                    <a:pt x="88" y="60"/>
                  </a:lnTo>
                  <a:lnTo>
                    <a:pt x="90" y="58"/>
                  </a:lnTo>
                  <a:lnTo>
                    <a:pt x="91" y="58"/>
                  </a:lnTo>
                  <a:lnTo>
                    <a:pt x="93" y="56"/>
                  </a:lnTo>
                  <a:lnTo>
                    <a:pt x="96" y="56"/>
                  </a:lnTo>
                  <a:lnTo>
                    <a:pt x="95" y="55"/>
                  </a:lnTo>
                  <a:lnTo>
                    <a:pt x="96" y="55"/>
                  </a:lnTo>
                  <a:lnTo>
                    <a:pt x="98" y="55"/>
                  </a:lnTo>
                  <a:lnTo>
                    <a:pt x="98" y="53"/>
                  </a:lnTo>
                  <a:lnTo>
                    <a:pt x="100" y="53"/>
                  </a:lnTo>
                  <a:lnTo>
                    <a:pt x="100" y="51"/>
                  </a:lnTo>
                  <a:lnTo>
                    <a:pt x="103" y="53"/>
                  </a:lnTo>
                  <a:lnTo>
                    <a:pt x="103" y="55"/>
                  </a:lnTo>
                  <a:lnTo>
                    <a:pt x="105" y="53"/>
                  </a:lnTo>
                  <a:lnTo>
                    <a:pt x="107" y="51"/>
                  </a:lnTo>
                  <a:lnTo>
                    <a:pt x="105" y="51"/>
                  </a:lnTo>
                  <a:lnTo>
                    <a:pt x="107" y="50"/>
                  </a:lnTo>
                  <a:lnTo>
                    <a:pt x="105" y="48"/>
                  </a:lnTo>
                  <a:lnTo>
                    <a:pt x="107" y="46"/>
                  </a:lnTo>
                  <a:lnTo>
                    <a:pt x="107" y="44"/>
                  </a:lnTo>
                  <a:lnTo>
                    <a:pt x="107" y="41"/>
                  </a:lnTo>
                  <a:lnTo>
                    <a:pt x="107" y="39"/>
                  </a:lnTo>
                  <a:lnTo>
                    <a:pt x="107" y="38"/>
                  </a:lnTo>
                  <a:lnTo>
                    <a:pt x="105" y="36"/>
                  </a:lnTo>
                  <a:lnTo>
                    <a:pt x="103" y="36"/>
                  </a:lnTo>
                  <a:lnTo>
                    <a:pt x="102" y="36"/>
                  </a:lnTo>
                  <a:lnTo>
                    <a:pt x="102" y="33"/>
                  </a:lnTo>
                  <a:lnTo>
                    <a:pt x="100" y="31"/>
                  </a:lnTo>
                  <a:lnTo>
                    <a:pt x="102" y="31"/>
                  </a:lnTo>
                  <a:lnTo>
                    <a:pt x="100" y="29"/>
                  </a:lnTo>
                  <a:lnTo>
                    <a:pt x="102" y="27"/>
                  </a:lnTo>
                  <a:lnTo>
                    <a:pt x="102" y="26"/>
                  </a:lnTo>
                  <a:lnTo>
                    <a:pt x="103" y="26"/>
                  </a:lnTo>
                  <a:lnTo>
                    <a:pt x="107" y="26"/>
                  </a:lnTo>
                  <a:lnTo>
                    <a:pt x="108" y="26"/>
                  </a:lnTo>
                  <a:lnTo>
                    <a:pt x="110" y="24"/>
                  </a:lnTo>
                  <a:lnTo>
                    <a:pt x="108" y="22"/>
                  </a:lnTo>
                  <a:lnTo>
                    <a:pt x="110" y="22"/>
                  </a:lnTo>
                  <a:lnTo>
                    <a:pt x="112" y="22"/>
                  </a:lnTo>
                  <a:lnTo>
                    <a:pt x="113" y="21"/>
                  </a:lnTo>
                  <a:lnTo>
                    <a:pt x="115" y="21"/>
                  </a:lnTo>
                  <a:lnTo>
                    <a:pt x="117" y="19"/>
                  </a:lnTo>
                  <a:lnTo>
                    <a:pt x="119" y="19"/>
                  </a:lnTo>
                  <a:lnTo>
                    <a:pt x="120" y="16"/>
                  </a:lnTo>
                  <a:lnTo>
                    <a:pt x="122" y="16"/>
                  </a:lnTo>
                  <a:lnTo>
                    <a:pt x="120" y="14"/>
                  </a:lnTo>
                  <a:lnTo>
                    <a:pt x="120" y="12"/>
                  </a:lnTo>
                  <a:lnTo>
                    <a:pt x="122" y="12"/>
                  </a:lnTo>
                  <a:lnTo>
                    <a:pt x="125" y="10"/>
                  </a:lnTo>
                  <a:lnTo>
                    <a:pt x="127" y="12"/>
                  </a:lnTo>
                  <a:lnTo>
                    <a:pt x="129" y="12"/>
                  </a:lnTo>
                  <a:lnTo>
                    <a:pt x="130" y="12"/>
                  </a:lnTo>
                  <a:lnTo>
                    <a:pt x="132" y="12"/>
                  </a:lnTo>
                  <a:lnTo>
                    <a:pt x="132" y="10"/>
                  </a:lnTo>
                  <a:lnTo>
                    <a:pt x="130" y="10"/>
                  </a:lnTo>
                  <a:lnTo>
                    <a:pt x="130" y="9"/>
                  </a:lnTo>
                  <a:lnTo>
                    <a:pt x="130" y="7"/>
                  </a:lnTo>
                  <a:lnTo>
                    <a:pt x="129" y="4"/>
                  </a:lnTo>
                  <a:lnTo>
                    <a:pt x="130" y="2"/>
                  </a:lnTo>
                  <a:lnTo>
                    <a:pt x="132" y="4"/>
                  </a:lnTo>
                  <a:lnTo>
                    <a:pt x="134" y="2"/>
                  </a:lnTo>
                  <a:lnTo>
                    <a:pt x="134" y="0"/>
                  </a:lnTo>
                  <a:lnTo>
                    <a:pt x="136" y="0"/>
                  </a:lnTo>
                  <a:lnTo>
                    <a:pt x="137" y="2"/>
                  </a:lnTo>
                  <a:lnTo>
                    <a:pt x="139" y="2"/>
                  </a:lnTo>
                  <a:lnTo>
                    <a:pt x="142" y="4"/>
                  </a:lnTo>
                  <a:lnTo>
                    <a:pt x="142" y="5"/>
                  </a:lnTo>
                  <a:lnTo>
                    <a:pt x="144" y="4"/>
                  </a:lnTo>
                  <a:lnTo>
                    <a:pt x="146" y="5"/>
                  </a:lnTo>
                  <a:lnTo>
                    <a:pt x="147" y="5"/>
                  </a:lnTo>
                  <a:close/>
                  <a:moveTo>
                    <a:pt x="224" y="250"/>
                  </a:moveTo>
                  <a:lnTo>
                    <a:pt x="226" y="249"/>
                  </a:lnTo>
                  <a:lnTo>
                    <a:pt x="229" y="249"/>
                  </a:lnTo>
                  <a:lnTo>
                    <a:pt x="231" y="250"/>
                  </a:lnTo>
                  <a:lnTo>
                    <a:pt x="232" y="249"/>
                  </a:lnTo>
                  <a:lnTo>
                    <a:pt x="234" y="249"/>
                  </a:lnTo>
                  <a:lnTo>
                    <a:pt x="236" y="252"/>
                  </a:lnTo>
                  <a:lnTo>
                    <a:pt x="238" y="254"/>
                  </a:lnTo>
                  <a:lnTo>
                    <a:pt x="238" y="255"/>
                  </a:lnTo>
                  <a:lnTo>
                    <a:pt x="239" y="255"/>
                  </a:lnTo>
                  <a:lnTo>
                    <a:pt x="243" y="257"/>
                  </a:lnTo>
                  <a:lnTo>
                    <a:pt x="243" y="259"/>
                  </a:lnTo>
                  <a:lnTo>
                    <a:pt x="246" y="259"/>
                  </a:lnTo>
                  <a:lnTo>
                    <a:pt x="248" y="260"/>
                  </a:lnTo>
                  <a:lnTo>
                    <a:pt x="249" y="262"/>
                  </a:lnTo>
                  <a:lnTo>
                    <a:pt x="251" y="262"/>
                  </a:lnTo>
                  <a:lnTo>
                    <a:pt x="253" y="264"/>
                  </a:lnTo>
                  <a:lnTo>
                    <a:pt x="255" y="264"/>
                  </a:lnTo>
                  <a:lnTo>
                    <a:pt x="255" y="266"/>
                  </a:lnTo>
                  <a:lnTo>
                    <a:pt x="256" y="267"/>
                  </a:lnTo>
                  <a:lnTo>
                    <a:pt x="260" y="267"/>
                  </a:lnTo>
                  <a:lnTo>
                    <a:pt x="261" y="266"/>
                  </a:lnTo>
                  <a:lnTo>
                    <a:pt x="263" y="266"/>
                  </a:lnTo>
                  <a:lnTo>
                    <a:pt x="265" y="267"/>
                  </a:lnTo>
                  <a:lnTo>
                    <a:pt x="266" y="269"/>
                  </a:lnTo>
                  <a:lnTo>
                    <a:pt x="268" y="272"/>
                  </a:lnTo>
                  <a:lnTo>
                    <a:pt x="268" y="274"/>
                  </a:lnTo>
                  <a:lnTo>
                    <a:pt x="270" y="276"/>
                  </a:lnTo>
                  <a:lnTo>
                    <a:pt x="272" y="277"/>
                  </a:lnTo>
                  <a:lnTo>
                    <a:pt x="273" y="279"/>
                  </a:lnTo>
                  <a:lnTo>
                    <a:pt x="272" y="279"/>
                  </a:lnTo>
                  <a:lnTo>
                    <a:pt x="273" y="281"/>
                  </a:lnTo>
                  <a:lnTo>
                    <a:pt x="272" y="279"/>
                  </a:lnTo>
                  <a:lnTo>
                    <a:pt x="270" y="277"/>
                  </a:lnTo>
                  <a:lnTo>
                    <a:pt x="268" y="277"/>
                  </a:lnTo>
                  <a:lnTo>
                    <a:pt x="266" y="277"/>
                  </a:lnTo>
                  <a:lnTo>
                    <a:pt x="268" y="277"/>
                  </a:lnTo>
                  <a:lnTo>
                    <a:pt x="266" y="276"/>
                  </a:lnTo>
                  <a:lnTo>
                    <a:pt x="265" y="276"/>
                  </a:lnTo>
                  <a:lnTo>
                    <a:pt x="265" y="274"/>
                  </a:lnTo>
                  <a:lnTo>
                    <a:pt x="261" y="274"/>
                  </a:lnTo>
                  <a:lnTo>
                    <a:pt x="260" y="272"/>
                  </a:lnTo>
                  <a:lnTo>
                    <a:pt x="256" y="271"/>
                  </a:lnTo>
                  <a:lnTo>
                    <a:pt x="255" y="269"/>
                  </a:lnTo>
                  <a:lnTo>
                    <a:pt x="256" y="267"/>
                  </a:lnTo>
                  <a:lnTo>
                    <a:pt x="255" y="267"/>
                  </a:lnTo>
                  <a:lnTo>
                    <a:pt x="253" y="267"/>
                  </a:lnTo>
                  <a:lnTo>
                    <a:pt x="251" y="266"/>
                  </a:lnTo>
                  <a:lnTo>
                    <a:pt x="249" y="266"/>
                  </a:lnTo>
                  <a:lnTo>
                    <a:pt x="248" y="266"/>
                  </a:lnTo>
                  <a:lnTo>
                    <a:pt x="246" y="264"/>
                  </a:lnTo>
                  <a:lnTo>
                    <a:pt x="248" y="266"/>
                  </a:lnTo>
                  <a:lnTo>
                    <a:pt x="248" y="264"/>
                  </a:lnTo>
                  <a:lnTo>
                    <a:pt x="249" y="264"/>
                  </a:lnTo>
                  <a:lnTo>
                    <a:pt x="248" y="264"/>
                  </a:lnTo>
                  <a:lnTo>
                    <a:pt x="246" y="262"/>
                  </a:lnTo>
                  <a:lnTo>
                    <a:pt x="244" y="262"/>
                  </a:lnTo>
                  <a:lnTo>
                    <a:pt x="241" y="262"/>
                  </a:lnTo>
                  <a:lnTo>
                    <a:pt x="241" y="260"/>
                  </a:lnTo>
                  <a:lnTo>
                    <a:pt x="238" y="259"/>
                  </a:lnTo>
                  <a:lnTo>
                    <a:pt x="236" y="259"/>
                  </a:lnTo>
                  <a:lnTo>
                    <a:pt x="238" y="257"/>
                  </a:lnTo>
                  <a:lnTo>
                    <a:pt x="236" y="257"/>
                  </a:lnTo>
                  <a:lnTo>
                    <a:pt x="234" y="255"/>
                  </a:lnTo>
                  <a:lnTo>
                    <a:pt x="232" y="255"/>
                  </a:lnTo>
                  <a:lnTo>
                    <a:pt x="231" y="257"/>
                  </a:lnTo>
                  <a:lnTo>
                    <a:pt x="229" y="255"/>
                  </a:lnTo>
                  <a:lnTo>
                    <a:pt x="227" y="255"/>
                  </a:lnTo>
                  <a:lnTo>
                    <a:pt x="227" y="254"/>
                  </a:lnTo>
                  <a:lnTo>
                    <a:pt x="227" y="255"/>
                  </a:lnTo>
                  <a:lnTo>
                    <a:pt x="229" y="257"/>
                  </a:lnTo>
                  <a:lnTo>
                    <a:pt x="231" y="259"/>
                  </a:lnTo>
                  <a:lnTo>
                    <a:pt x="229" y="257"/>
                  </a:lnTo>
                  <a:lnTo>
                    <a:pt x="226" y="257"/>
                  </a:lnTo>
                  <a:lnTo>
                    <a:pt x="226" y="255"/>
                  </a:lnTo>
                  <a:lnTo>
                    <a:pt x="224" y="255"/>
                  </a:lnTo>
                  <a:lnTo>
                    <a:pt x="221" y="255"/>
                  </a:lnTo>
                  <a:lnTo>
                    <a:pt x="219" y="254"/>
                  </a:lnTo>
                  <a:lnTo>
                    <a:pt x="217" y="254"/>
                  </a:lnTo>
                  <a:lnTo>
                    <a:pt x="215" y="254"/>
                  </a:lnTo>
                  <a:lnTo>
                    <a:pt x="214" y="254"/>
                  </a:lnTo>
                  <a:lnTo>
                    <a:pt x="212" y="254"/>
                  </a:lnTo>
                  <a:lnTo>
                    <a:pt x="214" y="252"/>
                  </a:lnTo>
                  <a:lnTo>
                    <a:pt x="212" y="250"/>
                  </a:lnTo>
                  <a:lnTo>
                    <a:pt x="209" y="250"/>
                  </a:lnTo>
                  <a:lnTo>
                    <a:pt x="207" y="250"/>
                  </a:lnTo>
                  <a:lnTo>
                    <a:pt x="205" y="249"/>
                  </a:lnTo>
                  <a:lnTo>
                    <a:pt x="204" y="249"/>
                  </a:lnTo>
                  <a:lnTo>
                    <a:pt x="200" y="247"/>
                  </a:lnTo>
                  <a:lnTo>
                    <a:pt x="198" y="247"/>
                  </a:lnTo>
                  <a:lnTo>
                    <a:pt x="197" y="247"/>
                  </a:lnTo>
                  <a:lnTo>
                    <a:pt x="195" y="247"/>
                  </a:lnTo>
                  <a:lnTo>
                    <a:pt x="193" y="247"/>
                  </a:lnTo>
                  <a:lnTo>
                    <a:pt x="192" y="247"/>
                  </a:lnTo>
                  <a:lnTo>
                    <a:pt x="190" y="245"/>
                  </a:lnTo>
                  <a:lnTo>
                    <a:pt x="192" y="245"/>
                  </a:lnTo>
                  <a:lnTo>
                    <a:pt x="190" y="243"/>
                  </a:lnTo>
                  <a:lnTo>
                    <a:pt x="192" y="243"/>
                  </a:lnTo>
                  <a:lnTo>
                    <a:pt x="193" y="245"/>
                  </a:lnTo>
                  <a:lnTo>
                    <a:pt x="197" y="243"/>
                  </a:lnTo>
                  <a:lnTo>
                    <a:pt x="198" y="243"/>
                  </a:lnTo>
                  <a:lnTo>
                    <a:pt x="200" y="243"/>
                  </a:lnTo>
                  <a:lnTo>
                    <a:pt x="202" y="243"/>
                  </a:lnTo>
                  <a:lnTo>
                    <a:pt x="204" y="245"/>
                  </a:lnTo>
                  <a:lnTo>
                    <a:pt x="204" y="243"/>
                  </a:lnTo>
                  <a:lnTo>
                    <a:pt x="204" y="245"/>
                  </a:lnTo>
                  <a:lnTo>
                    <a:pt x="205" y="245"/>
                  </a:lnTo>
                  <a:lnTo>
                    <a:pt x="207" y="245"/>
                  </a:lnTo>
                  <a:lnTo>
                    <a:pt x="209" y="245"/>
                  </a:lnTo>
                  <a:lnTo>
                    <a:pt x="210" y="247"/>
                  </a:lnTo>
                  <a:lnTo>
                    <a:pt x="212" y="247"/>
                  </a:lnTo>
                  <a:lnTo>
                    <a:pt x="214" y="250"/>
                  </a:lnTo>
                  <a:lnTo>
                    <a:pt x="215" y="250"/>
                  </a:lnTo>
                  <a:lnTo>
                    <a:pt x="217" y="250"/>
                  </a:lnTo>
                  <a:lnTo>
                    <a:pt x="217" y="249"/>
                  </a:lnTo>
                  <a:lnTo>
                    <a:pt x="219" y="250"/>
                  </a:lnTo>
                  <a:lnTo>
                    <a:pt x="221" y="250"/>
                  </a:lnTo>
                  <a:lnTo>
                    <a:pt x="222" y="250"/>
                  </a:lnTo>
                  <a:lnTo>
                    <a:pt x="224" y="252"/>
                  </a:lnTo>
                  <a:lnTo>
                    <a:pt x="226" y="252"/>
                  </a:lnTo>
                  <a:lnTo>
                    <a:pt x="224" y="252"/>
                  </a:lnTo>
                  <a:lnTo>
                    <a:pt x="226" y="252"/>
                  </a:lnTo>
                  <a:lnTo>
                    <a:pt x="227" y="254"/>
                  </a:lnTo>
                  <a:lnTo>
                    <a:pt x="229" y="254"/>
                  </a:lnTo>
                  <a:lnTo>
                    <a:pt x="226" y="252"/>
                  </a:lnTo>
                  <a:lnTo>
                    <a:pt x="227" y="252"/>
                  </a:lnTo>
                  <a:lnTo>
                    <a:pt x="226" y="252"/>
                  </a:lnTo>
                  <a:lnTo>
                    <a:pt x="224" y="250"/>
                  </a:lnTo>
                  <a:close/>
                  <a:moveTo>
                    <a:pt x="54" y="99"/>
                  </a:moveTo>
                  <a:lnTo>
                    <a:pt x="56" y="99"/>
                  </a:lnTo>
                  <a:lnTo>
                    <a:pt x="54" y="99"/>
                  </a:lnTo>
                  <a:lnTo>
                    <a:pt x="56" y="102"/>
                  </a:lnTo>
                  <a:lnTo>
                    <a:pt x="57" y="102"/>
                  </a:lnTo>
                  <a:lnTo>
                    <a:pt x="57" y="104"/>
                  </a:lnTo>
                  <a:lnTo>
                    <a:pt x="56" y="104"/>
                  </a:lnTo>
                  <a:lnTo>
                    <a:pt x="57" y="104"/>
                  </a:lnTo>
                  <a:lnTo>
                    <a:pt x="59" y="104"/>
                  </a:lnTo>
                  <a:lnTo>
                    <a:pt x="61" y="106"/>
                  </a:lnTo>
                  <a:lnTo>
                    <a:pt x="59" y="107"/>
                  </a:lnTo>
                  <a:lnTo>
                    <a:pt x="61" y="109"/>
                  </a:lnTo>
                  <a:lnTo>
                    <a:pt x="61" y="111"/>
                  </a:lnTo>
                  <a:lnTo>
                    <a:pt x="62" y="111"/>
                  </a:lnTo>
                  <a:lnTo>
                    <a:pt x="64" y="112"/>
                  </a:lnTo>
                  <a:lnTo>
                    <a:pt x="66" y="114"/>
                  </a:lnTo>
                  <a:lnTo>
                    <a:pt x="68" y="116"/>
                  </a:lnTo>
                  <a:lnTo>
                    <a:pt x="68" y="118"/>
                  </a:lnTo>
                  <a:lnTo>
                    <a:pt x="64" y="118"/>
                  </a:lnTo>
                  <a:lnTo>
                    <a:pt x="64" y="119"/>
                  </a:lnTo>
                  <a:lnTo>
                    <a:pt x="62" y="119"/>
                  </a:lnTo>
                  <a:lnTo>
                    <a:pt x="61" y="118"/>
                  </a:lnTo>
                  <a:lnTo>
                    <a:pt x="59" y="118"/>
                  </a:lnTo>
                  <a:lnTo>
                    <a:pt x="57" y="118"/>
                  </a:lnTo>
                  <a:lnTo>
                    <a:pt x="57" y="116"/>
                  </a:lnTo>
                  <a:lnTo>
                    <a:pt x="57" y="114"/>
                  </a:lnTo>
                  <a:lnTo>
                    <a:pt x="57" y="112"/>
                  </a:lnTo>
                  <a:lnTo>
                    <a:pt x="57" y="114"/>
                  </a:lnTo>
                  <a:lnTo>
                    <a:pt x="56" y="114"/>
                  </a:lnTo>
                  <a:lnTo>
                    <a:pt x="54" y="114"/>
                  </a:lnTo>
                  <a:lnTo>
                    <a:pt x="52" y="114"/>
                  </a:lnTo>
                  <a:lnTo>
                    <a:pt x="51" y="114"/>
                  </a:lnTo>
                  <a:lnTo>
                    <a:pt x="51" y="112"/>
                  </a:lnTo>
                  <a:lnTo>
                    <a:pt x="49" y="111"/>
                  </a:lnTo>
                  <a:lnTo>
                    <a:pt x="49" y="109"/>
                  </a:lnTo>
                  <a:lnTo>
                    <a:pt x="51" y="109"/>
                  </a:lnTo>
                  <a:lnTo>
                    <a:pt x="51" y="107"/>
                  </a:lnTo>
                  <a:lnTo>
                    <a:pt x="52" y="107"/>
                  </a:lnTo>
                  <a:lnTo>
                    <a:pt x="52" y="106"/>
                  </a:lnTo>
                  <a:lnTo>
                    <a:pt x="54" y="104"/>
                  </a:lnTo>
                  <a:lnTo>
                    <a:pt x="52" y="102"/>
                  </a:lnTo>
                  <a:lnTo>
                    <a:pt x="54" y="101"/>
                  </a:lnTo>
                  <a:lnTo>
                    <a:pt x="52" y="101"/>
                  </a:lnTo>
                  <a:lnTo>
                    <a:pt x="54" y="101"/>
                  </a:lnTo>
                  <a:lnTo>
                    <a:pt x="52" y="99"/>
                  </a:lnTo>
                  <a:lnTo>
                    <a:pt x="54" y="99"/>
                  </a:lnTo>
                  <a:close/>
                  <a:moveTo>
                    <a:pt x="42" y="104"/>
                  </a:moveTo>
                  <a:lnTo>
                    <a:pt x="45" y="106"/>
                  </a:lnTo>
                  <a:lnTo>
                    <a:pt x="44" y="109"/>
                  </a:lnTo>
                  <a:lnTo>
                    <a:pt x="45" y="111"/>
                  </a:lnTo>
                  <a:lnTo>
                    <a:pt x="45" y="112"/>
                  </a:lnTo>
                  <a:lnTo>
                    <a:pt x="47" y="114"/>
                  </a:lnTo>
                  <a:lnTo>
                    <a:pt x="49" y="118"/>
                  </a:lnTo>
                  <a:lnTo>
                    <a:pt x="51" y="118"/>
                  </a:lnTo>
                  <a:lnTo>
                    <a:pt x="51" y="119"/>
                  </a:lnTo>
                  <a:lnTo>
                    <a:pt x="51" y="123"/>
                  </a:lnTo>
                  <a:lnTo>
                    <a:pt x="49" y="124"/>
                  </a:lnTo>
                  <a:lnTo>
                    <a:pt x="51" y="128"/>
                  </a:lnTo>
                  <a:lnTo>
                    <a:pt x="51" y="131"/>
                  </a:lnTo>
                  <a:lnTo>
                    <a:pt x="52" y="133"/>
                  </a:lnTo>
                  <a:lnTo>
                    <a:pt x="51" y="135"/>
                  </a:lnTo>
                  <a:lnTo>
                    <a:pt x="52" y="138"/>
                  </a:lnTo>
                  <a:lnTo>
                    <a:pt x="54" y="140"/>
                  </a:lnTo>
                  <a:lnTo>
                    <a:pt x="54" y="141"/>
                  </a:lnTo>
                  <a:lnTo>
                    <a:pt x="56" y="141"/>
                  </a:lnTo>
                  <a:lnTo>
                    <a:pt x="54" y="141"/>
                  </a:lnTo>
                  <a:lnTo>
                    <a:pt x="54" y="143"/>
                  </a:lnTo>
                  <a:lnTo>
                    <a:pt x="54" y="141"/>
                  </a:lnTo>
                  <a:lnTo>
                    <a:pt x="54" y="143"/>
                  </a:lnTo>
                  <a:lnTo>
                    <a:pt x="52" y="143"/>
                  </a:lnTo>
                  <a:lnTo>
                    <a:pt x="51" y="140"/>
                  </a:lnTo>
                  <a:lnTo>
                    <a:pt x="49" y="140"/>
                  </a:lnTo>
                  <a:lnTo>
                    <a:pt x="49" y="138"/>
                  </a:lnTo>
                  <a:lnTo>
                    <a:pt x="47" y="138"/>
                  </a:lnTo>
                  <a:lnTo>
                    <a:pt x="47" y="135"/>
                  </a:lnTo>
                  <a:lnTo>
                    <a:pt x="47" y="133"/>
                  </a:lnTo>
                  <a:lnTo>
                    <a:pt x="45" y="131"/>
                  </a:lnTo>
                  <a:lnTo>
                    <a:pt x="45" y="129"/>
                  </a:lnTo>
                  <a:lnTo>
                    <a:pt x="44" y="129"/>
                  </a:lnTo>
                  <a:lnTo>
                    <a:pt x="44" y="126"/>
                  </a:lnTo>
                  <a:lnTo>
                    <a:pt x="44" y="124"/>
                  </a:lnTo>
                  <a:lnTo>
                    <a:pt x="42" y="123"/>
                  </a:lnTo>
                  <a:lnTo>
                    <a:pt x="42" y="121"/>
                  </a:lnTo>
                  <a:lnTo>
                    <a:pt x="42" y="119"/>
                  </a:lnTo>
                  <a:lnTo>
                    <a:pt x="44" y="123"/>
                  </a:lnTo>
                  <a:lnTo>
                    <a:pt x="47" y="123"/>
                  </a:lnTo>
                  <a:lnTo>
                    <a:pt x="47" y="119"/>
                  </a:lnTo>
                  <a:lnTo>
                    <a:pt x="45" y="116"/>
                  </a:lnTo>
                  <a:lnTo>
                    <a:pt x="44" y="116"/>
                  </a:lnTo>
                  <a:lnTo>
                    <a:pt x="45" y="114"/>
                  </a:lnTo>
                  <a:lnTo>
                    <a:pt x="44" y="112"/>
                  </a:lnTo>
                  <a:lnTo>
                    <a:pt x="42" y="111"/>
                  </a:lnTo>
                  <a:lnTo>
                    <a:pt x="40" y="109"/>
                  </a:lnTo>
                  <a:lnTo>
                    <a:pt x="40" y="107"/>
                  </a:lnTo>
                  <a:lnTo>
                    <a:pt x="40" y="106"/>
                  </a:lnTo>
                  <a:lnTo>
                    <a:pt x="42" y="104"/>
                  </a:lnTo>
                  <a:close/>
                  <a:moveTo>
                    <a:pt x="158" y="221"/>
                  </a:moveTo>
                  <a:lnTo>
                    <a:pt x="159" y="221"/>
                  </a:lnTo>
                  <a:lnTo>
                    <a:pt x="163" y="221"/>
                  </a:lnTo>
                  <a:lnTo>
                    <a:pt x="164" y="221"/>
                  </a:lnTo>
                  <a:lnTo>
                    <a:pt x="166" y="221"/>
                  </a:lnTo>
                  <a:lnTo>
                    <a:pt x="168" y="221"/>
                  </a:lnTo>
                  <a:lnTo>
                    <a:pt x="171" y="221"/>
                  </a:lnTo>
                  <a:lnTo>
                    <a:pt x="173" y="223"/>
                  </a:lnTo>
                  <a:lnTo>
                    <a:pt x="175" y="221"/>
                  </a:lnTo>
                  <a:lnTo>
                    <a:pt x="176" y="223"/>
                  </a:lnTo>
                  <a:lnTo>
                    <a:pt x="178" y="223"/>
                  </a:lnTo>
                  <a:lnTo>
                    <a:pt x="176" y="223"/>
                  </a:lnTo>
                  <a:lnTo>
                    <a:pt x="178" y="225"/>
                  </a:lnTo>
                  <a:lnTo>
                    <a:pt x="180" y="223"/>
                  </a:lnTo>
                  <a:lnTo>
                    <a:pt x="180" y="225"/>
                  </a:lnTo>
                  <a:lnTo>
                    <a:pt x="181" y="225"/>
                  </a:lnTo>
                  <a:lnTo>
                    <a:pt x="181" y="226"/>
                  </a:lnTo>
                  <a:lnTo>
                    <a:pt x="180" y="226"/>
                  </a:lnTo>
                  <a:lnTo>
                    <a:pt x="180" y="228"/>
                  </a:lnTo>
                  <a:lnTo>
                    <a:pt x="176" y="230"/>
                  </a:lnTo>
                  <a:lnTo>
                    <a:pt x="175" y="228"/>
                  </a:lnTo>
                  <a:lnTo>
                    <a:pt x="175" y="230"/>
                  </a:lnTo>
                  <a:lnTo>
                    <a:pt x="173" y="230"/>
                  </a:lnTo>
                  <a:lnTo>
                    <a:pt x="171" y="230"/>
                  </a:lnTo>
                  <a:lnTo>
                    <a:pt x="170" y="230"/>
                  </a:lnTo>
                  <a:lnTo>
                    <a:pt x="168" y="230"/>
                  </a:lnTo>
                  <a:lnTo>
                    <a:pt x="166" y="230"/>
                  </a:lnTo>
                  <a:lnTo>
                    <a:pt x="163" y="230"/>
                  </a:lnTo>
                  <a:lnTo>
                    <a:pt x="159" y="226"/>
                  </a:lnTo>
                  <a:lnTo>
                    <a:pt x="159" y="228"/>
                  </a:lnTo>
                  <a:lnTo>
                    <a:pt x="159" y="226"/>
                  </a:lnTo>
                  <a:lnTo>
                    <a:pt x="158" y="226"/>
                  </a:lnTo>
                  <a:lnTo>
                    <a:pt x="159" y="226"/>
                  </a:lnTo>
                  <a:lnTo>
                    <a:pt x="158" y="225"/>
                  </a:lnTo>
                  <a:lnTo>
                    <a:pt x="159" y="225"/>
                  </a:lnTo>
                  <a:lnTo>
                    <a:pt x="158" y="221"/>
                  </a:lnTo>
                  <a:close/>
                  <a:moveTo>
                    <a:pt x="166" y="232"/>
                  </a:moveTo>
                  <a:lnTo>
                    <a:pt x="166" y="233"/>
                  </a:lnTo>
                  <a:lnTo>
                    <a:pt x="168" y="233"/>
                  </a:lnTo>
                  <a:lnTo>
                    <a:pt x="171" y="233"/>
                  </a:lnTo>
                  <a:lnTo>
                    <a:pt x="173" y="235"/>
                  </a:lnTo>
                  <a:lnTo>
                    <a:pt x="171" y="235"/>
                  </a:lnTo>
                  <a:lnTo>
                    <a:pt x="175" y="237"/>
                  </a:lnTo>
                  <a:lnTo>
                    <a:pt x="176" y="237"/>
                  </a:lnTo>
                  <a:lnTo>
                    <a:pt x="180" y="237"/>
                  </a:lnTo>
                  <a:lnTo>
                    <a:pt x="181" y="235"/>
                  </a:lnTo>
                  <a:lnTo>
                    <a:pt x="183" y="237"/>
                  </a:lnTo>
                  <a:lnTo>
                    <a:pt x="187" y="237"/>
                  </a:lnTo>
                  <a:lnTo>
                    <a:pt x="190" y="237"/>
                  </a:lnTo>
                  <a:lnTo>
                    <a:pt x="192" y="237"/>
                  </a:lnTo>
                  <a:lnTo>
                    <a:pt x="193" y="237"/>
                  </a:lnTo>
                  <a:lnTo>
                    <a:pt x="197" y="237"/>
                  </a:lnTo>
                  <a:lnTo>
                    <a:pt x="198" y="237"/>
                  </a:lnTo>
                  <a:lnTo>
                    <a:pt x="197" y="237"/>
                  </a:lnTo>
                  <a:lnTo>
                    <a:pt x="195" y="238"/>
                  </a:lnTo>
                  <a:lnTo>
                    <a:pt x="192" y="238"/>
                  </a:lnTo>
                  <a:lnTo>
                    <a:pt x="188" y="238"/>
                  </a:lnTo>
                  <a:lnTo>
                    <a:pt x="185" y="238"/>
                  </a:lnTo>
                  <a:lnTo>
                    <a:pt x="181" y="238"/>
                  </a:lnTo>
                  <a:lnTo>
                    <a:pt x="180" y="238"/>
                  </a:lnTo>
                  <a:lnTo>
                    <a:pt x="178" y="238"/>
                  </a:lnTo>
                  <a:lnTo>
                    <a:pt x="175" y="238"/>
                  </a:lnTo>
                  <a:lnTo>
                    <a:pt x="173" y="240"/>
                  </a:lnTo>
                  <a:lnTo>
                    <a:pt x="171" y="240"/>
                  </a:lnTo>
                  <a:lnTo>
                    <a:pt x="168" y="238"/>
                  </a:lnTo>
                  <a:lnTo>
                    <a:pt x="166" y="238"/>
                  </a:lnTo>
                  <a:lnTo>
                    <a:pt x="164" y="238"/>
                  </a:lnTo>
                  <a:lnTo>
                    <a:pt x="161" y="237"/>
                  </a:lnTo>
                  <a:lnTo>
                    <a:pt x="159" y="238"/>
                  </a:lnTo>
                  <a:lnTo>
                    <a:pt x="159" y="237"/>
                  </a:lnTo>
                  <a:lnTo>
                    <a:pt x="156" y="237"/>
                  </a:lnTo>
                  <a:lnTo>
                    <a:pt x="156" y="235"/>
                  </a:lnTo>
                  <a:lnTo>
                    <a:pt x="158" y="237"/>
                  </a:lnTo>
                  <a:lnTo>
                    <a:pt x="158" y="235"/>
                  </a:lnTo>
                  <a:lnTo>
                    <a:pt x="159" y="235"/>
                  </a:lnTo>
                  <a:lnTo>
                    <a:pt x="163" y="235"/>
                  </a:lnTo>
                  <a:lnTo>
                    <a:pt x="164" y="235"/>
                  </a:lnTo>
                  <a:lnTo>
                    <a:pt x="166" y="237"/>
                  </a:lnTo>
                  <a:lnTo>
                    <a:pt x="168" y="235"/>
                  </a:lnTo>
                  <a:lnTo>
                    <a:pt x="166" y="235"/>
                  </a:lnTo>
                  <a:lnTo>
                    <a:pt x="166" y="233"/>
                  </a:lnTo>
                  <a:lnTo>
                    <a:pt x="164" y="233"/>
                  </a:lnTo>
                  <a:lnTo>
                    <a:pt x="163" y="233"/>
                  </a:lnTo>
                  <a:lnTo>
                    <a:pt x="166" y="232"/>
                  </a:lnTo>
                  <a:close/>
                  <a:moveTo>
                    <a:pt x="66" y="136"/>
                  </a:moveTo>
                  <a:lnTo>
                    <a:pt x="66" y="138"/>
                  </a:lnTo>
                  <a:lnTo>
                    <a:pt x="69" y="140"/>
                  </a:lnTo>
                  <a:lnTo>
                    <a:pt x="69" y="141"/>
                  </a:lnTo>
                  <a:lnTo>
                    <a:pt x="71" y="141"/>
                  </a:lnTo>
                  <a:lnTo>
                    <a:pt x="71" y="143"/>
                  </a:lnTo>
                  <a:lnTo>
                    <a:pt x="73" y="145"/>
                  </a:lnTo>
                  <a:lnTo>
                    <a:pt x="73" y="141"/>
                  </a:lnTo>
                  <a:lnTo>
                    <a:pt x="74" y="141"/>
                  </a:lnTo>
                  <a:lnTo>
                    <a:pt x="74" y="143"/>
                  </a:lnTo>
                  <a:lnTo>
                    <a:pt x="76" y="143"/>
                  </a:lnTo>
                  <a:lnTo>
                    <a:pt x="78" y="145"/>
                  </a:lnTo>
                  <a:lnTo>
                    <a:pt x="78" y="147"/>
                  </a:lnTo>
                  <a:lnTo>
                    <a:pt x="81" y="148"/>
                  </a:lnTo>
                  <a:lnTo>
                    <a:pt x="83" y="150"/>
                  </a:lnTo>
                  <a:lnTo>
                    <a:pt x="81" y="150"/>
                  </a:lnTo>
                  <a:lnTo>
                    <a:pt x="79" y="150"/>
                  </a:lnTo>
                  <a:lnTo>
                    <a:pt x="79" y="148"/>
                  </a:lnTo>
                  <a:lnTo>
                    <a:pt x="78" y="148"/>
                  </a:lnTo>
                  <a:lnTo>
                    <a:pt x="76" y="147"/>
                  </a:lnTo>
                  <a:lnTo>
                    <a:pt x="74" y="147"/>
                  </a:lnTo>
                  <a:lnTo>
                    <a:pt x="76" y="147"/>
                  </a:lnTo>
                  <a:lnTo>
                    <a:pt x="76" y="148"/>
                  </a:lnTo>
                  <a:lnTo>
                    <a:pt x="78" y="148"/>
                  </a:lnTo>
                  <a:lnTo>
                    <a:pt x="79" y="150"/>
                  </a:lnTo>
                  <a:lnTo>
                    <a:pt x="81" y="152"/>
                  </a:lnTo>
                  <a:lnTo>
                    <a:pt x="81" y="153"/>
                  </a:lnTo>
                  <a:lnTo>
                    <a:pt x="83" y="155"/>
                  </a:lnTo>
                  <a:lnTo>
                    <a:pt x="81" y="153"/>
                  </a:lnTo>
                  <a:lnTo>
                    <a:pt x="81" y="150"/>
                  </a:lnTo>
                  <a:lnTo>
                    <a:pt x="85" y="153"/>
                  </a:lnTo>
                  <a:lnTo>
                    <a:pt x="86" y="155"/>
                  </a:lnTo>
                  <a:lnTo>
                    <a:pt x="88" y="155"/>
                  </a:lnTo>
                  <a:lnTo>
                    <a:pt x="90" y="157"/>
                  </a:lnTo>
                  <a:lnTo>
                    <a:pt x="93" y="158"/>
                  </a:lnTo>
                  <a:lnTo>
                    <a:pt x="93" y="160"/>
                  </a:lnTo>
                  <a:lnTo>
                    <a:pt x="91" y="160"/>
                  </a:lnTo>
                  <a:lnTo>
                    <a:pt x="90" y="158"/>
                  </a:lnTo>
                  <a:lnTo>
                    <a:pt x="88" y="158"/>
                  </a:lnTo>
                  <a:lnTo>
                    <a:pt x="90" y="158"/>
                  </a:lnTo>
                  <a:lnTo>
                    <a:pt x="91" y="162"/>
                  </a:lnTo>
                  <a:lnTo>
                    <a:pt x="90" y="162"/>
                  </a:lnTo>
                  <a:lnTo>
                    <a:pt x="91" y="162"/>
                  </a:lnTo>
                  <a:lnTo>
                    <a:pt x="90" y="162"/>
                  </a:lnTo>
                  <a:lnTo>
                    <a:pt x="86" y="160"/>
                  </a:lnTo>
                  <a:lnTo>
                    <a:pt x="86" y="162"/>
                  </a:lnTo>
                  <a:lnTo>
                    <a:pt x="90" y="164"/>
                  </a:lnTo>
                  <a:lnTo>
                    <a:pt x="88" y="164"/>
                  </a:lnTo>
                  <a:lnTo>
                    <a:pt x="86" y="162"/>
                  </a:lnTo>
                  <a:lnTo>
                    <a:pt x="85" y="158"/>
                  </a:lnTo>
                  <a:lnTo>
                    <a:pt x="86" y="157"/>
                  </a:lnTo>
                  <a:lnTo>
                    <a:pt x="83" y="157"/>
                  </a:lnTo>
                  <a:lnTo>
                    <a:pt x="81" y="157"/>
                  </a:lnTo>
                  <a:lnTo>
                    <a:pt x="81" y="155"/>
                  </a:lnTo>
                  <a:lnTo>
                    <a:pt x="78" y="153"/>
                  </a:lnTo>
                  <a:lnTo>
                    <a:pt x="76" y="152"/>
                  </a:lnTo>
                  <a:lnTo>
                    <a:pt x="74" y="150"/>
                  </a:lnTo>
                  <a:lnTo>
                    <a:pt x="74" y="148"/>
                  </a:lnTo>
                  <a:lnTo>
                    <a:pt x="73" y="147"/>
                  </a:lnTo>
                  <a:lnTo>
                    <a:pt x="71" y="145"/>
                  </a:lnTo>
                  <a:lnTo>
                    <a:pt x="71" y="143"/>
                  </a:lnTo>
                  <a:lnTo>
                    <a:pt x="69" y="143"/>
                  </a:lnTo>
                  <a:lnTo>
                    <a:pt x="68" y="141"/>
                  </a:lnTo>
                  <a:lnTo>
                    <a:pt x="68" y="140"/>
                  </a:lnTo>
                  <a:lnTo>
                    <a:pt x="66" y="138"/>
                  </a:lnTo>
                  <a:lnTo>
                    <a:pt x="64" y="136"/>
                  </a:lnTo>
                  <a:lnTo>
                    <a:pt x="66" y="136"/>
                  </a:lnTo>
                  <a:close/>
                  <a:moveTo>
                    <a:pt x="175" y="249"/>
                  </a:moveTo>
                  <a:lnTo>
                    <a:pt x="176" y="249"/>
                  </a:lnTo>
                  <a:lnTo>
                    <a:pt x="178" y="250"/>
                  </a:lnTo>
                  <a:lnTo>
                    <a:pt x="180" y="250"/>
                  </a:lnTo>
                  <a:lnTo>
                    <a:pt x="183" y="250"/>
                  </a:lnTo>
                  <a:lnTo>
                    <a:pt x="185" y="249"/>
                  </a:lnTo>
                  <a:lnTo>
                    <a:pt x="187" y="249"/>
                  </a:lnTo>
                  <a:lnTo>
                    <a:pt x="190" y="249"/>
                  </a:lnTo>
                  <a:lnTo>
                    <a:pt x="192" y="249"/>
                  </a:lnTo>
                  <a:lnTo>
                    <a:pt x="192" y="247"/>
                  </a:lnTo>
                  <a:lnTo>
                    <a:pt x="192" y="249"/>
                  </a:lnTo>
                  <a:lnTo>
                    <a:pt x="195" y="249"/>
                  </a:lnTo>
                  <a:lnTo>
                    <a:pt x="197" y="249"/>
                  </a:lnTo>
                  <a:lnTo>
                    <a:pt x="198" y="250"/>
                  </a:lnTo>
                  <a:lnTo>
                    <a:pt x="200" y="252"/>
                  </a:lnTo>
                  <a:lnTo>
                    <a:pt x="197" y="252"/>
                  </a:lnTo>
                  <a:lnTo>
                    <a:pt x="195" y="252"/>
                  </a:lnTo>
                  <a:lnTo>
                    <a:pt x="193" y="252"/>
                  </a:lnTo>
                  <a:lnTo>
                    <a:pt x="190" y="252"/>
                  </a:lnTo>
                  <a:lnTo>
                    <a:pt x="188" y="252"/>
                  </a:lnTo>
                  <a:lnTo>
                    <a:pt x="187" y="254"/>
                  </a:lnTo>
                  <a:lnTo>
                    <a:pt x="187" y="252"/>
                  </a:lnTo>
                  <a:lnTo>
                    <a:pt x="185" y="254"/>
                  </a:lnTo>
                  <a:lnTo>
                    <a:pt x="183" y="255"/>
                  </a:lnTo>
                  <a:lnTo>
                    <a:pt x="183" y="254"/>
                  </a:lnTo>
                  <a:lnTo>
                    <a:pt x="181" y="254"/>
                  </a:lnTo>
                  <a:lnTo>
                    <a:pt x="180" y="254"/>
                  </a:lnTo>
                  <a:lnTo>
                    <a:pt x="178" y="254"/>
                  </a:lnTo>
                  <a:lnTo>
                    <a:pt x="176" y="254"/>
                  </a:lnTo>
                  <a:lnTo>
                    <a:pt x="173" y="254"/>
                  </a:lnTo>
                  <a:lnTo>
                    <a:pt x="171" y="252"/>
                  </a:lnTo>
                  <a:lnTo>
                    <a:pt x="173" y="252"/>
                  </a:lnTo>
                  <a:lnTo>
                    <a:pt x="175" y="250"/>
                  </a:lnTo>
                  <a:lnTo>
                    <a:pt x="173" y="250"/>
                  </a:lnTo>
                  <a:lnTo>
                    <a:pt x="171" y="249"/>
                  </a:lnTo>
                  <a:lnTo>
                    <a:pt x="171" y="250"/>
                  </a:lnTo>
                  <a:lnTo>
                    <a:pt x="171" y="249"/>
                  </a:lnTo>
                  <a:lnTo>
                    <a:pt x="175" y="249"/>
                  </a:lnTo>
                  <a:close/>
                  <a:moveTo>
                    <a:pt x="74" y="172"/>
                  </a:moveTo>
                  <a:lnTo>
                    <a:pt x="74" y="174"/>
                  </a:lnTo>
                  <a:lnTo>
                    <a:pt x="76" y="175"/>
                  </a:lnTo>
                  <a:lnTo>
                    <a:pt x="78" y="177"/>
                  </a:lnTo>
                  <a:lnTo>
                    <a:pt x="81" y="179"/>
                  </a:lnTo>
                  <a:lnTo>
                    <a:pt x="83" y="181"/>
                  </a:lnTo>
                  <a:lnTo>
                    <a:pt x="83" y="182"/>
                  </a:lnTo>
                  <a:lnTo>
                    <a:pt x="85" y="184"/>
                  </a:lnTo>
                  <a:lnTo>
                    <a:pt x="86" y="186"/>
                  </a:lnTo>
                  <a:lnTo>
                    <a:pt x="88" y="186"/>
                  </a:lnTo>
                  <a:lnTo>
                    <a:pt x="90" y="189"/>
                  </a:lnTo>
                  <a:lnTo>
                    <a:pt x="90" y="187"/>
                  </a:lnTo>
                  <a:lnTo>
                    <a:pt x="91" y="189"/>
                  </a:lnTo>
                  <a:lnTo>
                    <a:pt x="93" y="191"/>
                  </a:lnTo>
                  <a:lnTo>
                    <a:pt x="93" y="192"/>
                  </a:lnTo>
                  <a:lnTo>
                    <a:pt x="91" y="191"/>
                  </a:lnTo>
                  <a:lnTo>
                    <a:pt x="90" y="191"/>
                  </a:lnTo>
                  <a:lnTo>
                    <a:pt x="90" y="189"/>
                  </a:lnTo>
                  <a:lnTo>
                    <a:pt x="88" y="189"/>
                  </a:lnTo>
                  <a:lnTo>
                    <a:pt x="90" y="191"/>
                  </a:lnTo>
                  <a:lnTo>
                    <a:pt x="93" y="192"/>
                  </a:lnTo>
                  <a:lnTo>
                    <a:pt x="90" y="192"/>
                  </a:lnTo>
                  <a:lnTo>
                    <a:pt x="88" y="191"/>
                  </a:lnTo>
                  <a:lnTo>
                    <a:pt x="86" y="189"/>
                  </a:lnTo>
                  <a:lnTo>
                    <a:pt x="86" y="187"/>
                  </a:lnTo>
                  <a:lnTo>
                    <a:pt x="85" y="186"/>
                  </a:lnTo>
                  <a:lnTo>
                    <a:pt x="83" y="184"/>
                  </a:lnTo>
                  <a:lnTo>
                    <a:pt x="81" y="182"/>
                  </a:lnTo>
                  <a:lnTo>
                    <a:pt x="81" y="181"/>
                  </a:lnTo>
                  <a:lnTo>
                    <a:pt x="79" y="179"/>
                  </a:lnTo>
                  <a:lnTo>
                    <a:pt x="78" y="179"/>
                  </a:lnTo>
                  <a:lnTo>
                    <a:pt x="76" y="177"/>
                  </a:lnTo>
                  <a:lnTo>
                    <a:pt x="76" y="175"/>
                  </a:lnTo>
                  <a:lnTo>
                    <a:pt x="74" y="175"/>
                  </a:lnTo>
                  <a:lnTo>
                    <a:pt x="73" y="175"/>
                  </a:lnTo>
                  <a:lnTo>
                    <a:pt x="73" y="174"/>
                  </a:lnTo>
                  <a:lnTo>
                    <a:pt x="73" y="175"/>
                  </a:lnTo>
                  <a:lnTo>
                    <a:pt x="74" y="175"/>
                  </a:lnTo>
                  <a:lnTo>
                    <a:pt x="74" y="172"/>
                  </a:lnTo>
                  <a:close/>
                  <a:moveTo>
                    <a:pt x="210" y="259"/>
                  </a:moveTo>
                  <a:lnTo>
                    <a:pt x="212" y="259"/>
                  </a:lnTo>
                  <a:lnTo>
                    <a:pt x="210" y="259"/>
                  </a:lnTo>
                  <a:lnTo>
                    <a:pt x="212" y="259"/>
                  </a:lnTo>
                  <a:lnTo>
                    <a:pt x="214" y="259"/>
                  </a:lnTo>
                  <a:lnTo>
                    <a:pt x="214" y="260"/>
                  </a:lnTo>
                  <a:lnTo>
                    <a:pt x="215" y="259"/>
                  </a:lnTo>
                  <a:lnTo>
                    <a:pt x="215" y="260"/>
                  </a:lnTo>
                  <a:lnTo>
                    <a:pt x="217" y="260"/>
                  </a:lnTo>
                  <a:lnTo>
                    <a:pt x="221" y="260"/>
                  </a:lnTo>
                  <a:lnTo>
                    <a:pt x="222" y="260"/>
                  </a:lnTo>
                  <a:lnTo>
                    <a:pt x="222" y="262"/>
                  </a:lnTo>
                  <a:lnTo>
                    <a:pt x="226" y="262"/>
                  </a:lnTo>
                  <a:lnTo>
                    <a:pt x="227" y="262"/>
                  </a:lnTo>
                  <a:lnTo>
                    <a:pt x="229" y="262"/>
                  </a:lnTo>
                  <a:lnTo>
                    <a:pt x="231" y="262"/>
                  </a:lnTo>
                  <a:lnTo>
                    <a:pt x="231" y="264"/>
                  </a:lnTo>
                  <a:lnTo>
                    <a:pt x="227" y="264"/>
                  </a:lnTo>
                  <a:lnTo>
                    <a:pt x="226" y="262"/>
                  </a:lnTo>
                  <a:lnTo>
                    <a:pt x="222" y="264"/>
                  </a:lnTo>
                  <a:lnTo>
                    <a:pt x="221" y="262"/>
                  </a:lnTo>
                  <a:lnTo>
                    <a:pt x="217" y="262"/>
                  </a:lnTo>
                  <a:lnTo>
                    <a:pt x="215" y="262"/>
                  </a:lnTo>
                  <a:lnTo>
                    <a:pt x="214" y="262"/>
                  </a:lnTo>
                  <a:lnTo>
                    <a:pt x="212" y="260"/>
                  </a:lnTo>
                  <a:lnTo>
                    <a:pt x="210" y="260"/>
                  </a:lnTo>
                  <a:lnTo>
                    <a:pt x="210" y="262"/>
                  </a:lnTo>
                  <a:lnTo>
                    <a:pt x="209" y="260"/>
                  </a:lnTo>
                  <a:lnTo>
                    <a:pt x="207" y="260"/>
                  </a:lnTo>
                  <a:lnTo>
                    <a:pt x="209" y="259"/>
                  </a:lnTo>
                  <a:lnTo>
                    <a:pt x="209" y="260"/>
                  </a:lnTo>
                  <a:lnTo>
                    <a:pt x="210" y="259"/>
                  </a:lnTo>
                  <a:close/>
                  <a:moveTo>
                    <a:pt x="147" y="245"/>
                  </a:moveTo>
                  <a:lnTo>
                    <a:pt x="147" y="247"/>
                  </a:lnTo>
                  <a:lnTo>
                    <a:pt x="149" y="245"/>
                  </a:lnTo>
                  <a:lnTo>
                    <a:pt x="151" y="245"/>
                  </a:lnTo>
                  <a:lnTo>
                    <a:pt x="151" y="247"/>
                  </a:lnTo>
                  <a:lnTo>
                    <a:pt x="149" y="249"/>
                  </a:lnTo>
                  <a:lnTo>
                    <a:pt x="147" y="249"/>
                  </a:lnTo>
                  <a:lnTo>
                    <a:pt x="146" y="249"/>
                  </a:lnTo>
                  <a:lnTo>
                    <a:pt x="144" y="250"/>
                  </a:lnTo>
                  <a:lnTo>
                    <a:pt x="141" y="250"/>
                  </a:lnTo>
                  <a:lnTo>
                    <a:pt x="142" y="249"/>
                  </a:lnTo>
                  <a:lnTo>
                    <a:pt x="141" y="247"/>
                  </a:lnTo>
                  <a:lnTo>
                    <a:pt x="142" y="245"/>
                  </a:lnTo>
                  <a:lnTo>
                    <a:pt x="144" y="245"/>
                  </a:lnTo>
                  <a:lnTo>
                    <a:pt x="147" y="245"/>
                  </a:lnTo>
                  <a:close/>
                  <a:moveTo>
                    <a:pt x="64" y="126"/>
                  </a:moveTo>
                  <a:lnTo>
                    <a:pt x="66" y="126"/>
                  </a:lnTo>
                  <a:lnTo>
                    <a:pt x="64" y="128"/>
                  </a:lnTo>
                  <a:lnTo>
                    <a:pt x="66" y="129"/>
                  </a:lnTo>
                  <a:lnTo>
                    <a:pt x="68" y="129"/>
                  </a:lnTo>
                  <a:lnTo>
                    <a:pt x="68" y="131"/>
                  </a:lnTo>
                  <a:lnTo>
                    <a:pt x="69" y="131"/>
                  </a:lnTo>
                  <a:lnTo>
                    <a:pt x="71" y="135"/>
                  </a:lnTo>
                  <a:lnTo>
                    <a:pt x="69" y="136"/>
                  </a:lnTo>
                  <a:lnTo>
                    <a:pt x="68" y="133"/>
                  </a:lnTo>
                  <a:lnTo>
                    <a:pt x="66" y="133"/>
                  </a:lnTo>
                  <a:lnTo>
                    <a:pt x="64" y="131"/>
                  </a:lnTo>
                  <a:lnTo>
                    <a:pt x="66" y="133"/>
                  </a:lnTo>
                  <a:lnTo>
                    <a:pt x="62" y="133"/>
                  </a:lnTo>
                  <a:lnTo>
                    <a:pt x="61" y="131"/>
                  </a:lnTo>
                  <a:lnTo>
                    <a:pt x="61" y="129"/>
                  </a:lnTo>
                  <a:lnTo>
                    <a:pt x="62" y="129"/>
                  </a:lnTo>
                  <a:lnTo>
                    <a:pt x="62" y="128"/>
                  </a:lnTo>
                  <a:lnTo>
                    <a:pt x="64" y="129"/>
                  </a:lnTo>
                  <a:lnTo>
                    <a:pt x="62" y="128"/>
                  </a:lnTo>
                  <a:lnTo>
                    <a:pt x="61" y="126"/>
                  </a:lnTo>
                  <a:lnTo>
                    <a:pt x="64" y="126"/>
                  </a:lnTo>
                  <a:close/>
                  <a:moveTo>
                    <a:pt x="45" y="136"/>
                  </a:moveTo>
                  <a:lnTo>
                    <a:pt x="47" y="136"/>
                  </a:lnTo>
                  <a:lnTo>
                    <a:pt x="49" y="138"/>
                  </a:lnTo>
                  <a:lnTo>
                    <a:pt x="49" y="140"/>
                  </a:lnTo>
                  <a:lnTo>
                    <a:pt x="49" y="143"/>
                  </a:lnTo>
                  <a:lnTo>
                    <a:pt x="49" y="145"/>
                  </a:lnTo>
                  <a:lnTo>
                    <a:pt x="51" y="147"/>
                  </a:lnTo>
                  <a:lnTo>
                    <a:pt x="52" y="150"/>
                  </a:lnTo>
                  <a:lnTo>
                    <a:pt x="56" y="150"/>
                  </a:lnTo>
                  <a:lnTo>
                    <a:pt x="56" y="152"/>
                  </a:lnTo>
                  <a:lnTo>
                    <a:pt x="56" y="153"/>
                  </a:lnTo>
                  <a:lnTo>
                    <a:pt x="54" y="150"/>
                  </a:lnTo>
                  <a:lnTo>
                    <a:pt x="51" y="150"/>
                  </a:lnTo>
                  <a:lnTo>
                    <a:pt x="52" y="148"/>
                  </a:lnTo>
                  <a:lnTo>
                    <a:pt x="51" y="148"/>
                  </a:lnTo>
                  <a:lnTo>
                    <a:pt x="52" y="148"/>
                  </a:lnTo>
                  <a:lnTo>
                    <a:pt x="51" y="147"/>
                  </a:lnTo>
                  <a:lnTo>
                    <a:pt x="49" y="147"/>
                  </a:lnTo>
                  <a:lnTo>
                    <a:pt x="49" y="148"/>
                  </a:lnTo>
                  <a:lnTo>
                    <a:pt x="47" y="147"/>
                  </a:lnTo>
                  <a:lnTo>
                    <a:pt x="49" y="145"/>
                  </a:lnTo>
                  <a:lnTo>
                    <a:pt x="47" y="143"/>
                  </a:lnTo>
                  <a:lnTo>
                    <a:pt x="45" y="141"/>
                  </a:lnTo>
                  <a:lnTo>
                    <a:pt x="45" y="138"/>
                  </a:lnTo>
                  <a:lnTo>
                    <a:pt x="45" y="136"/>
                  </a:lnTo>
                  <a:close/>
                  <a:moveTo>
                    <a:pt x="95" y="182"/>
                  </a:moveTo>
                  <a:lnTo>
                    <a:pt x="98" y="184"/>
                  </a:lnTo>
                  <a:lnTo>
                    <a:pt x="100" y="186"/>
                  </a:lnTo>
                  <a:lnTo>
                    <a:pt x="102" y="186"/>
                  </a:lnTo>
                  <a:lnTo>
                    <a:pt x="102" y="187"/>
                  </a:lnTo>
                  <a:lnTo>
                    <a:pt x="103" y="189"/>
                  </a:lnTo>
                  <a:lnTo>
                    <a:pt x="105" y="191"/>
                  </a:lnTo>
                  <a:lnTo>
                    <a:pt x="103" y="191"/>
                  </a:lnTo>
                  <a:lnTo>
                    <a:pt x="102" y="189"/>
                  </a:lnTo>
                  <a:lnTo>
                    <a:pt x="100" y="189"/>
                  </a:lnTo>
                  <a:lnTo>
                    <a:pt x="100" y="187"/>
                  </a:lnTo>
                  <a:lnTo>
                    <a:pt x="100" y="189"/>
                  </a:lnTo>
                  <a:lnTo>
                    <a:pt x="98" y="187"/>
                  </a:lnTo>
                  <a:lnTo>
                    <a:pt x="96" y="186"/>
                  </a:lnTo>
                  <a:lnTo>
                    <a:pt x="95" y="184"/>
                  </a:lnTo>
                  <a:lnTo>
                    <a:pt x="95" y="182"/>
                  </a:lnTo>
                  <a:close/>
                  <a:moveTo>
                    <a:pt x="146" y="221"/>
                  </a:moveTo>
                  <a:lnTo>
                    <a:pt x="149" y="221"/>
                  </a:lnTo>
                  <a:lnTo>
                    <a:pt x="151" y="221"/>
                  </a:lnTo>
                  <a:lnTo>
                    <a:pt x="153" y="221"/>
                  </a:lnTo>
                  <a:lnTo>
                    <a:pt x="153" y="223"/>
                  </a:lnTo>
                  <a:lnTo>
                    <a:pt x="153" y="221"/>
                  </a:lnTo>
                  <a:lnTo>
                    <a:pt x="154" y="223"/>
                  </a:lnTo>
                  <a:lnTo>
                    <a:pt x="154" y="225"/>
                  </a:lnTo>
                  <a:lnTo>
                    <a:pt x="156" y="226"/>
                  </a:lnTo>
                  <a:lnTo>
                    <a:pt x="154" y="225"/>
                  </a:lnTo>
                  <a:lnTo>
                    <a:pt x="153" y="225"/>
                  </a:lnTo>
                  <a:lnTo>
                    <a:pt x="151" y="223"/>
                  </a:lnTo>
                  <a:lnTo>
                    <a:pt x="151" y="225"/>
                  </a:lnTo>
                  <a:lnTo>
                    <a:pt x="147" y="223"/>
                  </a:lnTo>
                  <a:lnTo>
                    <a:pt x="146" y="223"/>
                  </a:lnTo>
                  <a:lnTo>
                    <a:pt x="146" y="221"/>
                  </a:lnTo>
                  <a:close/>
                  <a:moveTo>
                    <a:pt x="85" y="174"/>
                  </a:moveTo>
                  <a:lnTo>
                    <a:pt x="88" y="175"/>
                  </a:lnTo>
                  <a:lnTo>
                    <a:pt x="88" y="177"/>
                  </a:lnTo>
                  <a:lnTo>
                    <a:pt x="90" y="177"/>
                  </a:lnTo>
                  <a:lnTo>
                    <a:pt x="91" y="179"/>
                  </a:lnTo>
                  <a:lnTo>
                    <a:pt x="93" y="181"/>
                  </a:lnTo>
                  <a:lnTo>
                    <a:pt x="95" y="182"/>
                  </a:lnTo>
                  <a:lnTo>
                    <a:pt x="93" y="181"/>
                  </a:lnTo>
                  <a:lnTo>
                    <a:pt x="91" y="181"/>
                  </a:lnTo>
                  <a:lnTo>
                    <a:pt x="91" y="182"/>
                  </a:lnTo>
                  <a:lnTo>
                    <a:pt x="90" y="181"/>
                  </a:lnTo>
                  <a:lnTo>
                    <a:pt x="88" y="177"/>
                  </a:lnTo>
                  <a:lnTo>
                    <a:pt x="86" y="177"/>
                  </a:lnTo>
                  <a:lnTo>
                    <a:pt x="85" y="175"/>
                  </a:lnTo>
                  <a:lnTo>
                    <a:pt x="85" y="174"/>
                  </a:lnTo>
                  <a:close/>
                  <a:moveTo>
                    <a:pt x="185" y="262"/>
                  </a:moveTo>
                  <a:lnTo>
                    <a:pt x="185" y="264"/>
                  </a:lnTo>
                  <a:lnTo>
                    <a:pt x="187" y="262"/>
                  </a:lnTo>
                  <a:lnTo>
                    <a:pt x="188" y="264"/>
                  </a:lnTo>
                  <a:lnTo>
                    <a:pt x="187" y="266"/>
                  </a:lnTo>
                  <a:lnTo>
                    <a:pt x="185" y="267"/>
                  </a:lnTo>
                  <a:lnTo>
                    <a:pt x="185" y="266"/>
                  </a:lnTo>
                  <a:lnTo>
                    <a:pt x="183" y="267"/>
                  </a:lnTo>
                  <a:lnTo>
                    <a:pt x="181" y="266"/>
                  </a:lnTo>
                  <a:lnTo>
                    <a:pt x="183" y="262"/>
                  </a:lnTo>
                  <a:lnTo>
                    <a:pt x="185" y="262"/>
                  </a:lnTo>
                  <a:close/>
                  <a:moveTo>
                    <a:pt x="95" y="192"/>
                  </a:moveTo>
                  <a:lnTo>
                    <a:pt x="96" y="192"/>
                  </a:lnTo>
                  <a:lnTo>
                    <a:pt x="95" y="194"/>
                  </a:lnTo>
                  <a:lnTo>
                    <a:pt x="96" y="194"/>
                  </a:lnTo>
                  <a:lnTo>
                    <a:pt x="98" y="196"/>
                  </a:lnTo>
                  <a:lnTo>
                    <a:pt x="100" y="196"/>
                  </a:lnTo>
                  <a:lnTo>
                    <a:pt x="100" y="198"/>
                  </a:lnTo>
                  <a:lnTo>
                    <a:pt x="102" y="199"/>
                  </a:lnTo>
                  <a:lnTo>
                    <a:pt x="103" y="199"/>
                  </a:lnTo>
                  <a:lnTo>
                    <a:pt x="105" y="201"/>
                  </a:lnTo>
                  <a:lnTo>
                    <a:pt x="107" y="201"/>
                  </a:lnTo>
                  <a:lnTo>
                    <a:pt x="105" y="201"/>
                  </a:lnTo>
                  <a:lnTo>
                    <a:pt x="102" y="199"/>
                  </a:lnTo>
                  <a:lnTo>
                    <a:pt x="100" y="198"/>
                  </a:lnTo>
                  <a:lnTo>
                    <a:pt x="98" y="198"/>
                  </a:lnTo>
                  <a:lnTo>
                    <a:pt x="96" y="196"/>
                  </a:lnTo>
                  <a:lnTo>
                    <a:pt x="95" y="194"/>
                  </a:lnTo>
                  <a:lnTo>
                    <a:pt x="93" y="192"/>
                  </a:lnTo>
                  <a:lnTo>
                    <a:pt x="95" y="192"/>
                  </a:lnTo>
                  <a:close/>
                  <a:moveTo>
                    <a:pt x="149" y="213"/>
                  </a:moveTo>
                  <a:lnTo>
                    <a:pt x="151" y="213"/>
                  </a:lnTo>
                  <a:lnTo>
                    <a:pt x="153" y="215"/>
                  </a:lnTo>
                  <a:lnTo>
                    <a:pt x="156" y="215"/>
                  </a:lnTo>
                  <a:lnTo>
                    <a:pt x="154" y="215"/>
                  </a:lnTo>
                  <a:lnTo>
                    <a:pt x="153" y="216"/>
                  </a:lnTo>
                  <a:lnTo>
                    <a:pt x="151" y="216"/>
                  </a:lnTo>
                  <a:lnTo>
                    <a:pt x="149" y="215"/>
                  </a:lnTo>
                  <a:lnTo>
                    <a:pt x="147" y="216"/>
                  </a:lnTo>
                  <a:lnTo>
                    <a:pt x="146" y="215"/>
                  </a:lnTo>
                  <a:lnTo>
                    <a:pt x="147" y="215"/>
                  </a:lnTo>
                  <a:lnTo>
                    <a:pt x="149" y="213"/>
                  </a:lnTo>
                  <a:close/>
                  <a:moveTo>
                    <a:pt x="69" y="155"/>
                  </a:moveTo>
                  <a:lnTo>
                    <a:pt x="69" y="157"/>
                  </a:lnTo>
                  <a:lnTo>
                    <a:pt x="69" y="158"/>
                  </a:lnTo>
                  <a:lnTo>
                    <a:pt x="71" y="160"/>
                  </a:lnTo>
                  <a:lnTo>
                    <a:pt x="71" y="162"/>
                  </a:lnTo>
                  <a:lnTo>
                    <a:pt x="69" y="162"/>
                  </a:lnTo>
                  <a:lnTo>
                    <a:pt x="68" y="160"/>
                  </a:lnTo>
                  <a:lnTo>
                    <a:pt x="68" y="158"/>
                  </a:lnTo>
                  <a:lnTo>
                    <a:pt x="68" y="157"/>
                  </a:lnTo>
                  <a:lnTo>
                    <a:pt x="69" y="155"/>
                  </a:lnTo>
                  <a:close/>
                  <a:moveTo>
                    <a:pt x="81" y="162"/>
                  </a:moveTo>
                  <a:lnTo>
                    <a:pt x="83" y="162"/>
                  </a:lnTo>
                  <a:lnTo>
                    <a:pt x="85" y="162"/>
                  </a:lnTo>
                  <a:lnTo>
                    <a:pt x="86" y="164"/>
                  </a:lnTo>
                  <a:lnTo>
                    <a:pt x="85" y="164"/>
                  </a:lnTo>
                  <a:lnTo>
                    <a:pt x="83" y="164"/>
                  </a:lnTo>
                  <a:lnTo>
                    <a:pt x="81" y="162"/>
                  </a:lnTo>
                  <a:close/>
                  <a:moveTo>
                    <a:pt x="71" y="167"/>
                  </a:moveTo>
                  <a:lnTo>
                    <a:pt x="73" y="169"/>
                  </a:lnTo>
                  <a:lnTo>
                    <a:pt x="74" y="169"/>
                  </a:lnTo>
                  <a:lnTo>
                    <a:pt x="74" y="170"/>
                  </a:lnTo>
                  <a:lnTo>
                    <a:pt x="74" y="169"/>
                  </a:lnTo>
                  <a:lnTo>
                    <a:pt x="76" y="170"/>
                  </a:lnTo>
                  <a:lnTo>
                    <a:pt x="74" y="170"/>
                  </a:lnTo>
                  <a:lnTo>
                    <a:pt x="73" y="170"/>
                  </a:lnTo>
                  <a:lnTo>
                    <a:pt x="71" y="169"/>
                  </a:lnTo>
                  <a:lnTo>
                    <a:pt x="73" y="170"/>
                  </a:lnTo>
                  <a:lnTo>
                    <a:pt x="71" y="169"/>
                  </a:lnTo>
                  <a:lnTo>
                    <a:pt x="69" y="167"/>
                  </a:lnTo>
                  <a:lnTo>
                    <a:pt x="71" y="167"/>
                  </a:lnTo>
                  <a:close/>
                  <a:moveTo>
                    <a:pt x="113" y="194"/>
                  </a:moveTo>
                  <a:lnTo>
                    <a:pt x="115" y="196"/>
                  </a:lnTo>
                  <a:lnTo>
                    <a:pt x="115" y="198"/>
                  </a:lnTo>
                  <a:lnTo>
                    <a:pt x="117" y="199"/>
                  </a:lnTo>
                  <a:lnTo>
                    <a:pt x="113" y="198"/>
                  </a:lnTo>
                  <a:lnTo>
                    <a:pt x="113" y="196"/>
                  </a:lnTo>
                  <a:lnTo>
                    <a:pt x="112" y="196"/>
                  </a:lnTo>
                  <a:lnTo>
                    <a:pt x="112" y="194"/>
                  </a:lnTo>
                  <a:lnTo>
                    <a:pt x="113" y="194"/>
                  </a:lnTo>
                  <a:close/>
                  <a:moveTo>
                    <a:pt x="42" y="138"/>
                  </a:moveTo>
                  <a:lnTo>
                    <a:pt x="42" y="140"/>
                  </a:lnTo>
                  <a:lnTo>
                    <a:pt x="40" y="140"/>
                  </a:lnTo>
                  <a:lnTo>
                    <a:pt x="42" y="141"/>
                  </a:lnTo>
                  <a:lnTo>
                    <a:pt x="40" y="141"/>
                  </a:lnTo>
                  <a:lnTo>
                    <a:pt x="42" y="143"/>
                  </a:lnTo>
                  <a:lnTo>
                    <a:pt x="42" y="145"/>
                  </a:lnTo>
                  <a:lnTo>
                    <a:pt x="40" y="143"/>
                  </a:lnTo>
                  <a:lnTo>
                    <a:pt x="40" y="141"/>
                  </a:lnTo>
                  <a:lnTo>
                    <a:pt x="40" y="140"/>
                  </a:lnTo>
                  <a:lnTo>
                    <a:pt x="42" y="138"/>
                  </a:lnTo>
                  <a:close/>
                  <a:moveTo>
                    <a:pt x="85" y="179"/>
                  </a:moveTo>
                  <a:lnTo>
                    <a:pt x="86" y="179"/>
                  </a:lnTo>
                  <a:lnTo>
                    <a:pt x="88" y="182"/>
                  </a:lnTo>
                  <a:lnTo>
                    <a:pt x="90" y="182"/>
                  </a:lnTo>
                  <a:lnTo>
                    <a:pt x="90" y="184"/>
                  </a:lnTo>
                  <a:lnTo>
                    <a:pt x="88" y="182"/>
                  </a:lnTo>
                  <a:lnTo>
                    <a:pt x="86" y="181"/>
                  </a:lnTo>
                  <a:lnTo>
                    <a:pt x="85" y="181"/>
                  </a:lnTo>
                  <a:lnTo>
                    <a:pt x="85" y="179"/>
                  </a:lnTo>
                  <a:close/>
                  <a:moveTo>
                    <a:pt x="234" y="259"/>
                  </a:moveTo>
                  <a:lnTo>
                    <a:pt x="236" y="259"/>
                  </a:lnTo>
                  <a:lnTo>
                    <a:pt x="236" y="260"/>
                  </a:lnTo>
                  <a:lnTo>
                    <a:pt x="238" y="260"/>
                  </a:lnTo>
                  <a:lnTo>
                    <a:pt x="239" y="260"/>
                  </a:lnTo>
                  <a:lnTo>
                    <a:pt x="239" y="262"/>
                  </a:lnTo>
                  <a:lnTo>
                    <a:pt x="238" y="262"/>
                  </a:lnTo>
                  <a:lnTo>
                    <a:pt x="236" y="260"/>
                  </a:lnTo>
                  <a:lnTo>
                    <a:pt x="234" y="259"/>
                  </a:lnTo>
                  <a:close/>
                  <a:moveTo>
                    <a:pt x="113" y="204"/>
                  </a:moveTo>
                  <a:lnTo>
                    <a:pt x="117" y="206"/>
                  </a:lnTo>
                  <a:lnTo>
                    <a:pt x="119" y="208"/>
                  </a:lnTo>
                  <a:lnTo>
                    <a:pt x="120" y="208"/>
                  </a:lnTo>
                  <a:lnTo>
                    <a:pt x="119" y="208"/>
                  </a:lnTo>
                  <a:lnTo>
                    <a:pt x="117" y="208"/>
                  </a:lnTo>
                  <a:lnTo>
                    <a:pt x="115" y="206"/>
                  </a:lnTo>
                  <a:lnTo>
                    <a:pt x="113" y="206"/>
                  </a:lnTo>
                  <a:lnTo>
                    <a:pt x="113" y="204"/>
                  </a:lnTo>
                  <a:close/>
                  <a:moveTo>
                    <a:pt x="78" y="170"/>
                  </a:moveTo>
                  <a:lnTo>
                    <a:pt x="79" y="172"/>
                  </a:lnTo>
                  <a:lnTo>
                    <a:pt x="79" y="174"/>
                  </a:lnTo>
                  <a:lnTo>
                    <a:pt x="83" y="174"/>
                  </a:lnTo>
                  <a:lnTo>
                    <a:pt x="83" y="175"/>
                  </a:lnTo>
                  <a:lnTo>
                    <a:pt x="81" y="174"/>
                  </a:lnTo>
                  <a:lnTo>
                    <a:pt x="79" y="174"/>
                  </a:lnTo>
                  <a:lnTo>
                    <a:pt x="78" y="172"/>
                  </a:lnTo>
                  <a:lnTo>
                    <a:pt x="78" y="170"/>
                  </a:lnTo>
                  <a:close/>
                  <a:moveTo>
                    <a:pt x="96" y="191"/>
                  </a:moveTo>
                  <a:lnTo>
                    <a:pt x="96" y="192"/>
                  </a:lnTo>
                  <a:lnTo>
                    <a:pt x="98" y="192"/>
                  </a:lnTo>
                  <a:lnTo>
                    <a:pt x="98" y="191"/>
                  </a:lnTo>
                  <a:lnTo>
                    <a:pt x="98" y="192"/>
                  </a:lnTo>
                  <a:lnTo>
                    <a:pt x="100" y="192"/>
                  </a:lnTo>
                  <a:lnTo>
                    <a:pt x="100" y="194"/>
                  </a:lnTo>
                  <a:lnTo>
                    <a:pt x="102" y="196"/>
                  </a:lnTo>
                  <a:lnTo>
                    <a:pt x="100" y="196"/>
                  </a:lnTo>
                  <a:lnTo>
                    <a:pt x="98" y="194"/>
                  </a:lnTo>
                  <a:lnTo>
                    <a:pt x="96" y="192"/>
                  </a:lnTo>
                  <a:lnTo>
                    <a:pt x="95" y="192"/>
                  </a:lnTo>
                  <a:lnTo>
                    <a:pt x="96" y="191"/>
                  </a:lnTo>
                  <a:close/>
                  <a:moveTo>
                    <a:pt x="64" y="157"/>
                  </a:moveTo>
                  <a:lnTo>
                    <a:pt x="64" y="158"/>
                  </a:lnTo>
                  <a:lnTo>
                    <a:pt x="66" y="160"/>
                  </a:lnTo>
                  <a:lnTo>
                    <a:pt x="64" y="160"/>
                  </a:lnTo>
                  <a:lnTo>
                    <a:pt x="64" y="158"/>
                  </a:lnTo>
                  <a:lnTo>
                    <a:pt x="62" y="158"/>
                  </a:lnTo>
                  <a:lnTo>
                    <a:pt x="64" y="157"/>
                  </a:lnTo>
                  <a:close/>
                  <a:moveTo>
                    <a:pt x="66" y="119"/>
                  </a:moveTo>
                  <a:lnTo>
                    <a:pt x="68" y="121"/>
                  </a:lnTo>
                  <a:lnTo>
                    <a:pt x="69" y="123"/>
                  </a:lnTo>
                  <a:lnTo>
                    <a:pt x="66" y="121"/>
                  </a:lnTo>
                  <a:lnTo>
                    <a:pt x="66" y="119"/>
                  </a:lnTo>
                  <a:close/>
                  <a:moveTo>
                    <a:pt x="142" y="218"/>
                  </a:moveTo>
                  <a:lnTo>
                    <a:pt x="144" y="218"/>
                  </a:lnTo>
                  <a:lnTo>
                    <a:pt x="144" y="220"/>
                  </a:lnTo>
                  <a:lnTo>
                    <a:pt x="141" y="220"/>
                  </a:lnTo>
                  <a:lnTo>
                    <a:pt x="142" y="218"/>
                  </a:lnTo>
                  <a:close/>
                  <a:moveTo>
                    <a:pt x="69" y="165"/>
                  </a:moveTo>
                  <a:lnTo>
                    <a:pt x="69" y="167"/>
                  </a:lnTo>
                  <a:lnTo>
                    <a:pt x="68" y="167"/>
                  </a:lnTo>
                  <a:lnTo>
                    <a:pt x="69" y="167"/>
                  </a:lnTo>
                  <a:lnTo>
                    <a:pt x="68" y="167"/>
                  </a:lnTo>
                  <a:lnTo>
                    <a:pt x="68" y="165"/>
                  </a:lnTo>
                  <a:lnTo>
                    <a:pt x="69" y="165"/>
                  </a:lnTo>
                  <a:close/>
                  <a:moveTo>
                    <a:pt x="59" y="162"/>
                  </a:moveTo>
                  <a:lnTo>
                    <a:pt x="62" y="162"/>
                  </a:lnTo>
                  <a:lnTo>
                    <a:pt x="64" y="164"/>
                  </a:lnTo>
                  <a:lnTo>
                    <a:pt x="62" y="164"/>
                  </a:lnTo>
                  <a:lnTo>
                    <a:pt x="59" y="162"/>
                  </a:lnTo>
                  <a:close/>
                  <a:moveTo>
                    <a:pt x="54" y="118"/>
                  </a:moveTo>
                  <a:lnTo>
                    <a:pt x="54" y="119"/>
                  </a:lnTo>
                  <a:lnTo>
                    <a:pt x="52" y="118"/>
                  </a:lnTo>
                  <a:lnTo>
                    <a:pt x="51" y="118"/>
                  </a:lnTo>
                  <a:lnTo>
                    <a:pt x="54" y="118"/>
                  </a:lnTo>
                  <a:close/>
                  <a:moveTo>
                    <a:pt x="74" y="153"/>
                  </a:moveTo>
                  <a:lnTo>
                    <a:pt x="76" y="153"/>
                  </a:lnTo>
                  <a:lnTo>
                    <a:pt x="76" y="155"/>
                  </a:lnTo>
                  <a:lnTo>
                    <a:pt x="78" y="157"/>
                  </a:lnTo>
                  <a:lnTo>
                    <a:pt x="76" y="155"/>
                  </a:lnTo>
                  <a:lnTo>
                    <a:pt x="74" y="153"/>
                  </a:lnTo>
                  <a:lnTo>
                    <a:pt x="73" y="153"/>
                  </a:lnTo>
                  <a:lnTo>
                    <a:pt x="74" y="153"/>
                  </a:lnTo>
                  <a:close/>
                  <a:moveTo>
                    <a:pt x="173" y="242"/>
                  </a:moveTo>
                  <a:lnTo>
                    <a:pt x="176" y="242"/>
                  </a:lnTo>
                  <a:lnTo>
                    <a:pt x="175" y="242"/>
                  </a:lnTo>
                  <a:lnTo>
                    <a:pt x="171" y="242"/>
                  </a:lnTo>
                  <a:lnTo>
                    <a:pt x="173" y="242"/>
                  </a:lnTo>
                  <a:close/>
                  <a:moveTo>
                    <a:pt x="125" y="203"/>
                  </a:moveTo>
                  <a:lnTo>
                    <a:pt x="127" y="204"/>
                  </a:lnTo>
                  <a:lnTo>
                    <a:pt x="125" y="203"/>
                  </a:lnTo>
                  <a:close/>
                  <a:moveTo>
                    <a:pt x="117" y="201"/>
                  </a:moveTo>
                  <a:lnTo>
                    <a:pt x="119" y="201"/>
                  </a:lnTo>
                  <a:lnTo>
                    <a:pt x="120" y="204"/>
                  </a:lnTo>
                  <a:lnTo>
                    <a:pt x="120" y="203"/>
                  </a:lnTo>
                  <a:lnTo>
                    <a:pt x="120" y="204"/>
                  </a:lnTo>
                  <a:lnTo>
                    <a:pt x="119" y="204"/>
                  </a:lnTo>
                  <a:lnTo>
                    <a:pt x="117" y="201"/>
                  </a:lnTo>
                  <a:close/>
                  <a:moveTo>
                    <a:pt x="64" y="123"/>
                  </a:moveTo>
                  <a:lnTo>
                    <a:pt x="66" y="123"/>
                  </a:lnTo>
                  <a:lnTo>
                    <a:pt x="66" y="124"/>
                  </a:lnTo>
                  <a:lnTo>
                    <a:pt x="64" y="124"/>
                  </a:lnTo>
                  <a:lnTo>
                    <a:pt x="64" y="123"/>
                  </a:lnTo>
                  <a:close/>
                  <a:moveTo>
                    <a:pt x="15" y="123"/>
                  </a:moveTo>
                  <a:lnTo>
                    <a:pt x="17" y="124"/>
                  </a:lnTo>
                  <a:lnTo>
                    <a:pt x="15" y="124"/>
                  </a:lnTo>
                  <a:lnTo>
                    <a:pt x="15" y="126"/>
                  </a:lnTo>
                  <a:lnTo>
                    <a:pt x="15" y="124"/>
                  </a:lnTo>
                  <a:lnTo>
                    <a:pt x="13" y="123"/>
                  </a:lnTo>
                  <a:lnTo>
                    <a:pt x="15" y="123"/>
                  </a:lnTo>
                  <a:close/>
                  <a:moveTo>
                    <a:pt x="137" y="252"/>
                  </a:moveTo>
                  <a:lnTo>
                    <a:pt x="139" y="252"/>
                  </a:lnTo>
                  <a:lnTo>
                    <a:pt x="139" y="254"/>
                  </a:lnTo>
                  <a:lnTo>
                    <a:pt x="137" y="254"/>
                  </a:lnTo>
                  <a:lnTo>
                    <a:pt x="137" y="252"/>
                  </a:lnTo>
                  <a:close/>
                  <a:moveTo>
                    <a:pt x="56" y="153"/>
                  </a:moveTo>
                  <a:lnTo>
                    <a:pt x="57" y="153"/>
                  </a:lnTo>
                  <a:lnTo>
                    <a:pt x="57" y="155"/>
                  </a:lnTo>
                  <a:lnTo>
                    <a:pt x="56" y="155"/>
                  </a:lnTo>
                  <a:lnTo>
                    <a:pt x="56" y="153"/>
                  </a:lnTo>
                  <a:close/>
                  <a:moveTo>
                    <a:pt x="156" y="237"/>
                  </a:moveTo>
                  <a:lnTo>
                    <a:pt x="156" y="238"/>
                  </a:lnTo>
                  <a:lnTo>
                    <a:pt x="158" y="237"/>
                  </a:lnTo>
                  <a:lnTo>
                    <a:pt x="158" y="238"/>
                  </a:lnTo>
                  <a:lnTo>
                    <a:pt x="156" y="238"/>
                  </a:lnTo>
                  <a:lnTo>
                    <a:pt x="154" y="238"/>
                  </a:lnTo>
                  <a:lnTo>
                    <a:pt x="154" y="237"/>
                  </a:lnTo>
                  <a:lnTo>
                    <a:pt x="156" y="237"/>
                  </a:lnTo>
                  <a:close/>
                  <a:moveTo>
                    <a:pt x="68" y="124"/>
                  </a:moveTo>
                  <a:lnTo>
                    <a:pt x="69" y="124"/>
                  </a:lnTo>
                  <a:lnTo>
                    <a:pt x="69" y="126"/>
                  </a:lnTo>
                  <a:lnTo>
                    <a:pt x="68" y="128"/>
                  </a:lnTo>
                  <a:lnTo>
                    <a:pt x="68" y="124"/>
                  </a:lnTo>
                  <a:close/>
                  <a:moveTo>
                    <a:pt x="66" y="133"/>
                  </a:moveTo>
                  <a:lnTo>
                    <a:pt x="68" y="133"/>
                  </a:lnTo>
                  <a:lnTo>
                    <a:pt x="69" y="135"/>
                  </a:lnTo>
                  <a:lnTo>
                    <a:pt x="71" y="136"/>
                  </a:lnTo>
                  <a:lnTo>
                    <a:pt x="69" y="136"/>
                  </a:lnTo>
                  <a:lnTo>
                    <a:pt x="68" y="135"/>
                  </a:lnTo>
                  <a:lnTo>
                    <a:pt x="66" y="133"/>
                  </a:lnTo>
                  <a:close/>
                  <a:moveTo>
                    <a:pt x="241" y="264"/>
                  </a:moveTo>
                  <a:lnTo>
                    <a:pt x="243" y="264"/>
                  </a:lnTo>
                  <a:lnTo>
                    <a:pt x="241" y="264"/>
                  </a:lnTo>
                  <a:lnTo>
                    <a:pt x="239" y="264"/>
                  </a:lnTo>
                  <a:lnTo>
                    <a:pt x="241" y="262"/>
                  </a:lnTo>
                  <a:lnTo>
                    <a:pt x="241" y="264"/>
                  </a:lnTo>
                  <a:close/>
                  <a:moveTo>
                    <a:pt x="76" y="172"/>
                  </a:moveTo>
                  <a:lnTo>
                    <a:pt x="78" y="174"/>
                  </a:lnTo>
                  <a:lnTo>
                    <a:pt x="76" y="174"/>
                  </a:lnTo>
                  <a:lnTo>
                    <a:pt x="74" y="172"/>
                  </a:lnTo>
                  <a:lnTo>
                    <a:pt x="76" y="172"/>
                  </a:lnTo>
                  <a:close/>
                  <a:moveTo>
                    <a:pt x="124" y="250"/>
                  </a:moveTo>
                  <a:lnTo>
                    <a:pt x="125" y="250"/>
                  </a:lnTo>
                  <a:lnTo>
                    <a:pt x="124" y="250"/>
                  </a:lnTo>
                  <a:close/>
                  <a:moveTo>
                    <a:pt x="164" y="266"/>
                  </a:moveTo>
                  <a:lnTo>
                    <a:pt x="168" y="264"/>
                  </a:lnTo>
                  <a:lnTo>
                    <a:pt x="168" y="266"/>
                  </a:lnTo>
                  <a:lnTo>
                    <a:pt x="164" y="267"/>
                  </a:lnTo>
                  <a:lnTo>
                    <a:pt x="164" y="266"/>
                  </a:lnTo>
                  <a:close/>
                  <a:moveTo>
                    <a:pt x="44" y="150"/>
                  </a:moveTo>
                  <a:lnTo>
                    <a:pt x="45" y="150"/>
                  </a:lnTo>
                  <a:lnTo>
                    <a:pt x="45" y="152"/>
                  </a:lnTo>
                  <a:lnTo>
                    <a:pt x="44" y="152"/>
                  </a:lnTo>
                  <a:lnTo>
                    <a:pt x="44" y="150"/>
                  </a:lnTo>
                  <a:close/>
                  <a:moveTo>
                    <a:pt x="64" y="165"/>
                  </a:moveTo>
                  <a:lnTo>
                    <a:pt x="66" y="165"/>
                  </a:lnTo>
                  <a:lnTo>
                    <a:pt x="66" y="167"/>
                  </a:lnTo>
                  <a:lnTo>
                    <a:pt x="64" y="167"/>
                  </a:lnTo>
                  <a:lnTo>
                    <a:pt x="64" y="165"/>
                  </a:lnTo>
                  <a:close/>
                  <a:moveTo>
                    <a:pt x="83" y="172"/>
                  </a:moveTo>
                  <a:lnTo>
                    <a:pt x="83" y="174"/>
                  </a:lnTo>
                  <a:lnTo>
                    <a:pt x="83" y="172"/>
                  </a:lnTo>
                  <a:close/>
                  <a:moveTo>
                    <a:pt x="85" y="181"/>
                  </a:moveTo>
                  <a:lnTo>
                    <a:pt x="86" y="181"/>
                  </a:lnTo>
                  <a:lnTo>
                    <a:pt x="86" y="184"/>
                  </a:lnTo>
                  <a:lnTo>
                    <a:pt x="85" y="184"/>
                  </a:lnTo>
                  <a:lnTo>
                    <a:pt x="85" y="181"/>
                  </a:lnTo>
                  <a:close/>
                  <a:moveTo>
                    <a:pt x="139" y="220"/>
                  </a:moveTo>
                  <a:lnTo>
                    <a:pt x="141" y="218"/>
                  </a:lnTo>
                  <a:lnTo>
                    <a:pt x="141" y="220"/>
                  </a:lnTo>
                  <a:lnTo>
                    <a:pt x="139" y="220"/>
                  </a:lnTo>
                  <a:close/>
                  <a:moveTo>
                    <a:pt x="115" y="203"/>
                  </a:moveTo>
                  <a:lnTo>
                    <a:pt x="117" y="204"/>
                  </a:lnTo>
                  <a:lnTo>
                    <a:pt x="117" y="203"/>
                  </a:lnTo>
                  <a:lnTo>
                    <a:pt x="119" y="204"/>
                  </a:lnTo>
                  <a:lnTo>
                    <a:pt x="117" y="204"/>
                  </a:lnTo>
                  <a:lnTo>
                    <a:pt x="115" y="203"/>
                  </a:lnTo>
                  <a:close/>
                  <a:moveTo>
                    <a:pt x="120" y="203"/>
                  </a:moveTo>
                  <a:lnTo>
                    <a:pt x="122" y="203"/>
                  </a:lnTo>
                  <a:lnTo>
                    <a:pt x="122" y="204"/>
                  </a:lnTo>
                  <a:lnTo>
                    <a:pt x="120" y="204"/>
                  </a:lnTo>
                  <a:lnTo>
                    <a:pt x="120" y="203"/>
                  </a:lnTo>
                  <a:close/>
                  <a:moveTo>
                    <a:pt x="232" y="260"/>
                  </a:moveTo>
                  <a:lnTo>
                    <a:pt x="234" y="260"/>
                  </a:lnTo>
                  <a:lnTo>
                    <a:pt x="232" y="260"/>
                  </a:lnTo>
                  <a:close/>
                  <a:moveTo>
                    <a:pt x="181" y="264"/>
                  </a:moveTo>
                  <a:lnTo>
                    <a:pt x="181" y="266"/>
                  </a:lnTo>
                  <a:lnTo>
                    <a:pt x="181" y="264"/>
                  </a:lnTo>
                  <a:close/>
                  <a:moveTo>
                    <a:pt x="98" y="199"/>
                  </a:moveTo>
                  <a:lnTo>
                    <a:pt x="102" y="199"/>
                  </a:lnTo>
                  <a:lnTo>
                    <a:pt x="100" y="201"/>
                  </a:lnTo>
                  <a:lnTo>
                    <a:pt x="98" y="199"/>
                  </a:lnTo>
                  <a:close/>
                  <a:moveTo>
                    <a:pt x="44" y="131"/>
                  </a:moveTo>
                  <a:lnTo>
                    <a:pt x="44" y="133"/>
                  </a:lnTo>
                  <a:lnTo>
                    <a:pt x="44" y="131"/>
                  </a:lnTo>
                  <a:close/>
                  <a:moveTo>
                    <a:pt x="124" y="199"/>
                  </a:moveTo>
                  <a:lnTo>
                    <a:pt x="124" y="201"/>
                  </a:lnTo>
                  <a:lnTo>
                    <a:pt x="124" y="199"/>
                  </a:lnTo>
                  <a:close/>
                  <a:moveTo>
                    <a:pt x="243" y="264"/>
                  </a:moveTo>
                  <a:lnTo>
                    <a:pt x="244" y="264"/>
                  </a:lnTo>
                  <a:lnTo>
                    <a:pt x="244" y="266"/>
                  </a:lnTo>
                  <a:lnTo>
                    <a:pt x="243" y="266"/>
                  </a:lnTo>
                  <a:lnTo>
                    <a:pt x="243" y="264"/>
                  </a:lnTo>
                  <a:close/>
                  <a:moveTo>
                    <a:pt x="91" y="187"/>
                  </a:moveTo>
                  <a:lnTo>
                    <a:pt x="93" y="187"/>
                  </a:lnTo>
                  <a:lnTo>
                    <a:pt x="93" y="189"/>
                  </a:lnTo>
                  <a:lnTo>
                    <a:pt x="91" y="189"/>
                  </a:lnTo>
                  <a:lnTo>
                    <a:pt x="91" y="187"/>
                  </a:lnTo>
                  <a:close/>
                  <a:moveTo>
                    <a:pt x="76" y="172"/>
                  </a:moveTo>
                  <a:lnTo>
                    <a:pt x="78" y="172"/>
                  </a:lnTo>
                  <a:lnTo>
                    <a:pt x="76" y="174"/>
                  </a:lnTo>
                  <a:lnTo>
                    <a:pt x="76" y="172"/>
                  </a:lnTo>
                  <a:close/>
                  <a:moveTo>
                    <a:pt x="108" y="204"/>
                  </a:moveTo>
                  <a:lnTo>
                    <a:pt x="110" y="204"/>
                  </a:lnTo>
                  <a:lnTo>
                    <a:pt x="108" y="204"/>
                  </a:lnTo>
                  <a:lnTo>
                    <a:pt x="107" y="203"/>
                  </a:lnTo>
                  <a:lnTo>
                    <a:pt x="108" y="204"/>
                  </a:lnTo>
                  <a:close/>
                  <a:moveTo>
                    <a:pt x="96" y="187"/>
                  </a:moveTo>
                  <a:lnTo>
                    <a:pt x="98" y="187"/>
                  </a:lnTo>
                  <a:lnTo>
                    <a:pt x="98" y="189"/>
                  </a:lnTo>
                  <a:lnTo>
                    <a:pt x="96" y="189"/>
                  </a:lnTo>
                  <a:lnTo>
                    <a:pt x="96" y="187"/>
                  </a:lnTo>
                  <a:close/>
                  <a:moveTo>
                    <a:pt x="44" y="145"/>
                  </a:moveTo>
                  <a:lnTo>
                    <a:pt x="45" y="145"/>
                  </a:lnTo>
                  <a:lnTo>
                    <a:pt x="45" y="147"/>
                  </a:lnTo>
                  <a:lnTo>
                    <a:pt x="44" y="147"/>
                  </a:lnTo>
                  <a:lnTo>
                    <a:pt x="44" y="145"/>
                  </a:lnTo>
                  <a:close/>
                  <a:moveTo>
                    <a:pt x="73" y="158"/>
                  </a:moveTo>
                  <a:lnTo>
                    <a:pt x="73" y="157"/>
                  </a:lnTo>
                  <a:lnTo>
                    <a:pt x="73" y="15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198" name="Freeform 28">
              <a:extLst>
                <a:ext uri="{FF2B5EF4-FFF2-40B4-BE49-F238E27FC236}">
                  <a16:creationId xmlns:a16="http://schemas.microsoft.com/office/drawing/2014/main" id="{08C8874B-616F-4A55-B658-510FD5094EDF}"/>
                </a:ext>
              </a:extLst>
            </p:cNvPr>
            <p:cNvSpPr>
              <a:spLocks noEditPoints="1"/>
            </p:cNvSpPr>
            <p:nvPr/>
          </p:nvSpPr>
          <p:spPr bwMode="gray">
            <a:xfrm>
              <a:off x="6304404" y="4016752"/>
              <a:ext cx="1999850" cy="2076882"/>
            </a:xfrm>
            <a:custGeom>
              <a:avLst/>
              <a:gdLst>
                <a:gd name="T0" fmla="*/ 551 w 675"/>
                <a:gd name="T1" fmla="*/ 148 h 701"/>
                <a:gd name="T2" fmla="*/ 595 w 675"/>
                <a:gd name="T3" fmla="*/ 158 h 701"/>
                <a:gd name="T4" fmla="*/ 593 w 675"/>
                <a:gd name="T5" fmla="*/ 204 h 701"/>
                <a:gd name="T6" fmla="*/ 580 w 675"/>
                <a:gd name="T7" fmla="*/ 265 h 701"/>
                <a:gd name="T8" fmla="*/ 546 w 675"/>
                <a:gd name="T9" fmla="*/ 291 h 701"/>
                <a:gd name="T10" fmla="*/ 514 w 675"/>
                <a:gd name="T11" fmla="*/ 343 h 701"/>
                <a:gd name="T12" fmla="*/ 542 w 675"/>
                <a:gd name="T13" fmla="*/ 342 h 701"/>
                <a:gd name="T14" fmla="*/ 542 w 675"/>
                <a:gd name="T15" fmla="*/ 388 h 701"/>
                <a:gd name="T16" fmla="*/ 537 w 675"/>
                <a:gd name="T17" fmla="*/ 430 h 701"/>
                <a:gd name="T18" fmla="*/ 541 w 675"/>
                <a:gd name="T19" fmla="*/ 478 h 701"/>
                <a:gd name="T20" fmla="*/ 583 w 675"/>
                <a:gd name="T21" fmla="*/ 508 h 701"/>
                <a:gd name="T22" fmla="*/ 546 w 675"/>
                <a:gd name="T23" fmla="*/ 542 h 701"/>
                <a:gd name="T24" fmla="*/ 507 w 675"/>
                <a:gd name="T25" fmla="*/ 571 h 701"/>
                <a:gd name="T26" fmla="*/ 469 w 675"/>
                <a:gd name="T27" fmla="*/ 566 h 701"/>
                <a:gd name="T28" fmla="*/ 434 w 675"/>
                <a:gd name="T29" fmla="*/ 549 h 701"/>
                <a:gd name="T30" fmla="*/ 381 w 675"/>
                <a:gd name="T31" fmla="*/ 541 h 701"/>
                <a:gd name="T32" fmla="*/ 337 w 675"/>
                <a:gd name="T33" fmla="*/ 588 h 701"/>
                <a:gd name="T34" fmla="*/ 303 w 675"/>
                <a:gd name="T35" fmla="*/ 607 h 701"/>
                <a:gd name="T36" fmla="*/ 252 w 675"/>
                <a:gd name="T37" fmla="*/ 581 h 701"/>
                <a:gd name="T38" fmla="*/ 201 w 675"/>
                <a:gd name="T39" fmla="*/ 571 h 701"/>
                <a:gd name="T40" fmla="*/ 145 w 675"/>
                <a:gd name="T41" fmla="*/ 551 h 701"/>
                <a:gd name="T42" fmla="*/ 112 w 675"/>
                <a:gd name="T43" fmla="*/ 519 h 701"/>
                <a:gd name="T44" fmla="*/ 123 w 675"/>
                <a:gd name="T45" fmla="*/ 473 h 701"/>
                <a:gd name="T46" fmla="*/ 136 w 675"/>
                <a:gd name="T47" fmla="*/ 425 h 701"/>
                <a:gd name="T48" fmla="*/ 162 w 675"/>
                <a:gd name="T49" fmla="*/ 374 h 701"/>
                <a:gd name="T50" fmla="*/ 172 w 675"/>
                <a:gd name="T51" fmla="*/ 399 h 701"/>
                <a:gd name="T52" fmla="*/ 157 w 675"/>
                <a:gd name="T53" fmla="*/ 342 h 701"/>
                <a:gd name="T54" fmla="*/ 153 w 675"/>
                <a:gd name="T55" fmla="*/ 309 h 701"/>
                <a:gd name="T56" fmla="*/ 117 w 675"/>
                <a:gd name="T57" fmla="*/ 262 h 701"/>
                <a:gd name="T58" fmla="*/ 104 w 675"/>
                <a:gd name="T59" fmla="*/ 231 h 701"/>
                <a:gd name="T60" fmla="*/ 90 w 675"/>
                <a:gd name="T61" fmla="*/ 209 h 701"/>
                <a:gd name="T62" fmla="*/ 85 w 675"/>
                <a:gd name="T63" fmla="*/ 207 h 701"/>
                <a:gd name="T64" fmla="*/ 65 w 675"/>
                <a:gd name="T65" fmla="*/ 190 h 701"/>
                <a:gd name="T66" fmla="*/ 27 w 675"/>
                <a:gd name="T67" fmla="*/ 177 h 701"/>
                <a:gd name="T68" fmla="*/ 24 w 675"/>
                <a:gd name="T69" fmla="*/ 148 h 701"/>
                <a:gd name="T70" fmla="*/ 33 w 675"/>
                <a:gd name="T71" fmla="*/ 143 h 701"/>
                <a:gd name="T72" fmla="*/ 34 w 675"/>
                <a:gd name="T73" fmla="*/ 122 h 701"/>
                <a:gd name="T74" fmla="*/ 75 w 675"/>
                <a:gd name="T75" fmla="*/ 126 h 701"/>
                <a:gd name="T76" fmla="*/ 97 w 675"/>
                <a:gd name="T77" fmla="*/ 124 h 701"/>
                <a:gd name="T78" fmla="*/ 131 w 675"/>
                <a:gd name="T79" fmla="*/ 139 h 701"/>
                <a:gd name="T80" fmla="*/ 153 w 675"/>
                <a:gd name="T81" fmla="*/ 137 h 701"/>
                <a:gd name="T82" fmla="*/ 168 w 675"/>
                <a:gd name="T83" fmla="*/ 115 h 701"/>
                <a:gd name="T84" fmla="*/ 172 w 675"/>
                <a:gd name="T85" fmla="*/ 75 h 701"/>
                <a:gd name="T86" fmla="*/ 218 w 675"/>
                <a:gd name="T87" fmla="*/ 103 h 701"/>
                <a:gd name="T88" fmla="*/ 260 w 675"/>
                <a:gd name="T89" fmla="*/ 102 h 701"/>
                <a:gd name="T90" fmla="*/ 289 w 675"/>
                <a:gd name="T91" fmla="*/ 75 h 701"/>
                <a:gd name="T92" fmla="*/ 323 w 675"/>
                <a:gd name="T93" fmla="*/ 47 h 701"/>
                <a:gd name="T94" fmla="*/ 352 w 675"/>
                <a:gd name="T95" fmla="*/ 3 h 701"/>
                <a:gd name="T96" fmla="*/ 384 w 675"/>
                <a:gd name="T97" fmla="*/ 29 h 701"/>
                <a:gd name="T98" fmla="*/ 418 w 675"/>
                <a:gd name="T99" fmla="*/ 59 h 701"/>
                <a:gd name="T100" fmla="*/ 446 w 675"/>
                <a:gd name="T101" fmla="*/ 86 h 701"/>
                <a:gd name="T102" fmla="*/ 473 w 675"/>
                <a:gd name="T103" fmla="*/ 100 h 701"/>
                <a:gd name="T104" fmla="*/ 279 w 675"/>
                <a:gd name="T105" fmla="*/ 597 h 701"/>
                <a:gd name="T106" fmla="*/ 668 w 675"/>
                <a:gd name="T107" fmla="*/ 658 h 701"/>
                <a:gd name="T108" fmla="*/ 650 w 675"/>
                <a:gd name="T109" fmla="*/ 695 h 701"/>
                <a:gd name="T110" fmla="*/ 634 w 675"/>
                <a:gd name="T111" fmla="*/ 667 h 701"/>
                <a:gd name="T112" fmla="*/ 629 w 675"/>
                <a:gd name="T113" fmla="*/ 634 h 701"/>
                <a:gd name="T114" fmla="*/ 655 w 675"/>
                <a:gd name="T115" fmla="*/ 604 h 701"/>
                <a:gd name="T116" fmla="*/ 145 w 675"/>
                <a:gd name="T117" fmla="*/ 328 h 701"/>
                <a:gd name="T118" fmla="*/ 146 w 675"/>
                <a:gd name="T119" fmla="*/ 318 h 701"/>
                <a:gd name="T120" fmla="*/ 0 w 675"/>
                <a:gd name="T121" fmla="*/ 127 h 701"/>
                <a:gd name="T122" fmla="*/ 362 w 675"/>
                <a:gd name="T123" fmla="*/ 1 h 701"/>
                <a:gd name="T124" fmla="*/ 104 w 675"/>
                <a:gd name="T125" fmla="*/ 119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5" h="701">
                  <a:moveTo>
                    <a:pt x="508" y="119"/>
                  </a:moveTo>
                  <a:lnTo>
                    <a:pt x="510" y="119"/>
                  </a:lnTo>
                  <a:lnTo>
                    <a:pt x="510" y="120"/>
                  </a:lnTo>
                  <a:lnTo>
                    <a:pt x="510" y="122"/>
                  </a:lnTo>
                  <a:lnTo>
                    <a:pt x="512" y="122"/>
                  </a:lnTo>
                  <a:lnTo>
                    <a:pt x="514" y="122"/>
                  </a:lnTo>
                  <a:lnTo>
                    <a:pt x="515" y="124"/>
                  </a:lnTo>
                  <a:lnTo>
                    <a:pt x="515" y="126"/>
                  </a:lnTo>
                  <a:lnTo>
                    <a:pt x="519" y="126"/>
                  </a:lnTo>
                  <a:lnTo>
                    <a:pt x="520" y="126"/>
                  </a:lnTo>
                  <a:lnTo>
                    <a:pt x="522" y="126"/>
                  </a:lnTo>
                  <a:lnTo>
                    <a:pt x="522" y="124"/>
                  </a:lnTo>
                  <a:lnTo>
                    <a:pt x="524" y="124"/>
                  </a:lnTo>
                  <a:lnTo>
                    <a:pt x="525" y="122"/>
                  </a:lnTo>
                  <a:lnTo>
                    <a:pt x="527" y="122"/>
                  </a:lnTo>
                  <a:lnTo>
                    <a:pt x="531" y="124"/>
                  </a:lnTo>
                  <a:lnTo>
                    <a:pt x="531" y="126"/>
                  </a:lnTo>
                  <a:lnTo>
                    <a:pt x="534" y="126"/>
                  </a:lnTo>
                  <a:lnTo>
                    <a:pt x="536" y="126"/>
                  </a:lnTo>
                  <a:lnTo>
                    <a:pt x="537" y="126"/>
                  </a:lnTo>
                  <a:lnTo>
                    <a:pt x="539" y="127"/>
                  </a:lnTo>
                  <a:lnTo>
                    <a:pt x="541" y="129"/>
                  </a:lnTo>
                  <a:lnTo>
                    <a:pt x="542" y="129"/>
                  </a:lnTo>
                  <a:lnTo>
                    <a:pt x="541" y="131"/>
                  </a:lnTo>
                  <a:lnTo>
                    <a:pt x="542" y="132"/>
                  </a:lnTo>
                  <a:lnTo>
                    <a:pt x="544" y="134"/>
                  </a:lnTo>
                  <a:lnTo>
                    <a:pt x="542" y="134"/>
                  </a:lnTo>
                  <a:lnTo>
                    <a:pt x="544" y="136"/>
                  </a:lnTo>
                  <a:lnTo>
                    <a:pt x="544" y="137"/>
                  </a:lnTo>
                  <a:lnTo>
                    <a:pt x="548" y="139"/>
                  </a:lnTo>
                  <a:lnTo>
                    <a:pt x="546" y="141"/>
                  </a:lnTo>
                  <a:lnTo>
                    <a:pt x="548" y="141"/>
                  </a:lnTo>
                  <a:lnTo>
                    <a:pt x="548" y="144"/>
                  </a:lnTo>
                  <a:lnTo>
                    <a:pt x="549" y="144"/>
                  </a:lnTo>
                  <a:lnTo>
                    <a:pt x="548" y="146"/>
                  </a:lnTo>
                  <a:lnTo>
                    <a:pt x="549" y="148"/>
                  </a:lnTo>
                  <a:lnTo>
                    <a:pt x="551" y="148"/>
                  </a:lnTo>
                  <a:lnTo>
                    <a:pt x="554" y="149"/>
                  </a:lnTo>
                  <a:lnTo>
                    <a:pt x="554" y="146"/>
                  </a:lnTo>
                  <a:lnTo>
                    <a:pt x="554" y="144"/>
                  </a:lnTo>
                  <a:lnTo>
                    <a:pt x="556" y="144"/>
                  </a:lnTo>
                  <a:lnTo>
                    <a:pt x="559" y="144"/>
                  </a:lnTo>
                  <a:lnTo>
                    <a:pt x="559" y="146"/>
                  </a:lnTo>
                  <a:lnTo>
                    <a:pt x="561" y="144"/>
                  </a:lnTo>
                  <a:lnTo>
                    <a:pt x="561" y="146"/>
                  </a:lnTo>
                  <a:lnTo>
                    <a:pt x="563" y="146"/>
                  </a:lnTo>
                  <a:lnTo>
                    <a:pt x="563" y="148"/>
                  </a:lnTo>
                  <a:lnTo>
                    <a:pt x="563" y="149"/>
                  </a:lnTo>
                  <a:lnTo>
                    <a:pt x="563" y="153"/>
                  </a:lnTo>
                  <a:lnTo>
                    <a:pt x="566" y="151"/>
                  </a:lnTo>
                  <a:lnTo>
                    <a:pt x="565" y="149"/>
                  </a:lnTo>
                  <a:lnTo>
                    <a:pt x="566" y="149"/>
                  </a:lnTo>
                  <a:lnTo>
                    <a:pt x="566" y="151"/>
                  </a:lnTo>
                  <a:lnTo>
                    <a:pt x="568" y="149"/>
                  </a:lnTo>
                  <a:lnTo>
                    <a:pt x="568" y="151"/>
                  </a:lnTo>
                  <a:lnTo>
                    <a:pt x="570" y="151"/>
                  </a:lnTo>
                  <a:lnTo>
                    <a:pt x="570" y="153"/>
                  </a:lnTo>
                  <a:lnTo>
                    <a:pt x="573" y="151"/>
                  </a:lnTo>
                  <a:lnTo>
                    <a:pt x="575" y="153"/>
                  </a:lnTo>
                  <a:lnTo>
                    <a:pt x="576" y="151"/>
                  </a:lnTo>
                  <a:lnTo>
                    <a:pt x="578" y="151"/>
                  </a:lnTo>
                  <a:lnTo>
                    <a:pt x="578" y="148"/>
                  </a:lnTo>
                  <a:lnTo>
                    <a:pt x="582" y="148"/>
                  </a:lnTo>
                  <a:lnTo>
                    <a:pt x="582" y="149"/>
                  </a:lnTo>
                  <a:lnTo>
                    <a:pt x="583" y="149"/>
                  </a:lnTo>
                  <a:lnTo>
                    <a:pt x="585" y="149"/>
                  </a:lnTo>
                  <a:lnTo>
                    <a:pt x="583" y="151"/>
                  </a:lnTo>
                  <a:lnTo>
                    <a:pt x="585" y="153"/>
                  </a:lnTo>
                  <a:lnTo>
                    <a:pt x="585" y="155"/>
                  </a:lnTo>
                  <a:lnTo>
                    <a:pt x="587" y="155"/>
                  </a:lnTo>
                  <a:lnTo>
                    <a:pt x="590" y="156"/>
                  </a:lnTo>
                  <a:lnTo>
                    <a:pt x="590" y="158"/>
                  </a:lnTo>
                  <a:lnTo>
                    <a:pt x="592" y="158"/>
                  </a:lnTo>
                  <a:lnTo>
                    <a:pt x="595" y="158"/>
                  </a:lnTo>
                  <a:lnTo>
                    <a:pt x="597" y="156"/>
                  </a:lnTo>
                  <a:lnTo>
                    <a:pt x="600" y="158"/>
                  </a:lnTo>
                  <a:lnTo>
                    <a:pt x="600" y="160"/>
                  </a:lnTo>
                  <a:lnTo>
                    <a:pt x="602" y="158"/>
                  </a:lnTo>
                  <a:lnTo>
                    <a:pt x="604" y="158"/>
                  </a:lnTo>
                  <a:lnTo>
                    <a:pt x="605" y="160"/>
                  </a:lnTo>
                  <a:lnTo>
                    <a:pt x="607" y="160"/>
                  </a:lnTo>
                  <a:lnTo>
                    <a:pt x="609" y="161"/>
                  </a:lnTo>
                  <a:lnTo>
                    <a:pt x="610" y="163"/>
                  </a:lnTo>
                  <a:lnTo>
                    <a:pt x="614" y="163"/>
                  </a:lnTo>
                  <a:lnTo>
                    <a:pt x="616" y="163"/>
                  </a:lnTo>
                  <a:lnTo>
                    <a:pt x="616" y="165"/>
                  </a:lnTo>
                  <a:lnTo>
                    <a:pt x="617" y="163"/>
                  </a:lnTo>
                  <a:lnTo>
                    <a:pt x="617" y="165"/>
                  </a:lnTo>
                  <a:lnTo>
                    <a:pt x="616" y="165"/>
                  </a:lnTo>
                  <a:lnTo>
                    <a:pt x="616" y="166"/>
                  </a:lnTo>
                  <a:lnTo>
                    <a:pt x="614" y="168"/>
                  </a:lnTo>
                  <a:lnTo>
                    <a:pt x="612" y="170"/>
                  </a:lnTo>
                  <a:lnTo>
                    <a:pt x="612" y="173"/>
                  </a:lnTo>
                  <a:lnTo>
                    <a:pt x="610" y="175"/>
                  </a:lnTo>
                  <a:lnTo>
                    <a:pt x="607" y="177"/>
                  </a:lnTo>
                  <a:lnTo>
                    <a:pt x="607" y="178"/>
                  </a:lnTo>
                  <a:lnTo>
                    <a:pt x="605" y="178"/>
                  </a:lnTo>
                  <a:lnTo>
                    <a:pt x="605" y="180"/>
                  </a:lnTo>
                  <a:lnTo>
                    <a:pt x="604" y="182"/>
                  </a:lnTo>
                  <a:lnTo>
                    <a:pt x="602" y="183"/>
                  </a:lnTo>
                  <a:lnTo>
                    <a:pt x="602" y="185"/>
                  </a:lnTo>
                  <a:lnTo>
                    <a:pt x="599" y="187"/>
                  </a:lnTo>
                  <a:lnTo>
                    <a:pt x="599" y="189"/>
                  </a:lnTo>
                  <a:lnTo>
                    <a:pt x="597" y="190"/>
                  </a:lnTo>
                  <a:lnTo>
                    <a:pt x="597" y="192"/>
                  </a:lnTo>
                  <a:lnTo>
                    <a:pt x="597" y="195"/>
                  </a:lnTo>
                  <a:lnTo>
                    <a:pt x="595" y="197"/>
                  </a:lnTo>
                  <a:lnTo>
                    <a:pt x="595" y="199"/>
                  </a:lnTo>
                  <a:lnTo>
                    <a:pt x="595" y="200"/>
                  </a:lnTo>
                  <a:lnTo>
                    <a:pt x="593" y="202"/>
                  </a:lnTo>
                  <a:lnTo>
                    <a:pt x="593" y="204"/>
                  </a:lnTo>
                  <a:lnTo>
                    <a:pt x="593" y="206"/>
                  </a:lnTo>
                  <a:lnTo>
                    <a:pt x="593" y="207"/>
                  </a:lnTo>
                  <a:lnTo>
                    <a:pt x="593" y="209"/>
                  </a:lnTo>
                  <a:lnTo>
                    <a:pt x="592" y="211"/>
                  </a:lnTo>
                  <a:lnTo>
                    <a:pt x="590" y="212"/>
                  </a:lnTo>
                  <a:lnTo>
                    <a:pt x="590" y="214"/>
                  </a:lnTo>
                  <a:lnTo>
                    <a:pt x="590" y="216"/>
                  </a:lnTo>
                  <a:lnTo>
                    <a:pt x="588" y="216"/>
                  </a:lnTo>
                  <a:lnTo>
                    <a:pt x="588" y="217"/>
                  </a:lnTo>
                  <a:lnTo>
                    <a:pt x="587" y="219"/>
                  </a:lnTo>
                  <a:lnTo>
                    <a:pt x="587" y="221"/>
                  </a:lnTo>
                  <a:lnTo>
                    <a:pt x="585" y="223"/>
                  </a:lnTo>
                  <a:lnTo>
                    <a:pt x="585" y="226"/>
                  </a:lnTo>
                  <a:lnTo>
                    <a:pt x="585" y="228"/>
                  </a:lnTo>
                  <a:lnTo>
                    <a:pt x="585" y="229"/>
                  </a:lnTo>
                  <a:lnTo>
                    <a:pt x="587" y="231"/>
                  </a:lnTo>
                  <a:lnTo>
                    <a:pt x="587" y="233"/>
                  </a:lnTo>
                  <a:lnTo>
                    <a:pt x="587" y="234"/>
                  </a:lnTo>
                  <a:lnTo>
                    <a:pt x="585" y="236"/>
                  </a:lnTo>
                  <a:lnTo>
                    <a:pt x="585" y="238"/>
                  </a:lnTo>
                  <a:lnTo>
                    <a:pt x="583" y="240"/>
                  </a:lnTo>
                  <a:lnTo>
                    <a:pt x="583" y="241"/>
                  </a:lnTo>
                  <a:lnTo>
                    <a:pt x="583" y="243"/>
                  </a:lnTo>
                  <a:lnTo>
                    <a:pt x="583" y="246"/>
                  </a:lnTo>
                  <a:lnTo>
                    <a:pt x="582" y="246"/>
                  </a:lnTo>
                  <a:lnTo>
                    <a:pt x="583" y="250"/>
                  </a:lnTo>
                  <a:lnTo>
                    <a:pt x="582" y="251"/>
                  </a:lnTo>
                  <a:lnTo>
                    <a:pt x="582" y="255"/>
                  </a:lnTo>
                  <a:lnTo>
                    <a:pt x="583" y="257"/>
                  </a:lnTo>
                  <a:lnTo>
                    <a:pt x="585" y="260"/>
                  </a:lnTo>
                  <a:lnTo>
                    <a:pt x="583" y="260"/>
                  </a:lnTo>
                  <a:lnTo>
                    <a:pt x="583" y="262"/>
                  </a:lnTo>
                  <a:lnTo>
                    <a:pt x="582" y="263"/>
                  </a:lnTo>
                  <a:lnTo>
                    <a:pt x="580" y="263"/>
                  </a:lnTo>
                  <a:lnTo>
                    <a:pt x="582" y="263"/>
                  </a:lnTo>
                  <a:lnTo>
                    <a:pt x="582" y="265"/>
                  </a:lnTo>
                  <a:lnTo>
                    <a:pt x="580" y="265"/>
                  </a:lnTo>
                  <a:lnTo>
                    <a:pt x="582" y="267"/>
                  </a:lnTo>
                  <a:lnTo>
                    <a:pt x="580" y="267"/>
                  </a:lnTo>
                  <a:lnTo>
                    <a:pt x="576" y="265"/>
                  </a:lnTo>
                  <a:lnTo>
                    <a:pt x="576" y="267"/>
                  </a:lnTo>
                  <a:lnTo>
                    <a:pt x="578" y="268"/>
                  </a:lnTo>
                  <a:lnTo>
                    <a:pt x="576" y="268"/>
                  </a:lnTo>
                  <a:lnTo>
                    <a:pt x="575" y="270"/>
                  </a:lnTo>
                  <a:lnTo>
                    <a:pt x="571" y="270"/>
                  </a:lnTo>
                  <a:lnTo>
                    <a:pt x="570" y="270"/>
                  </a:lnTo>
                  <a:lnTo>
                    <a:pt x="568" y="270"/>
                  </a:lnTo>
                  <a:lnTo>
                    <a:pt x="565" y="268"/>
                  </a:lnTo>
                  <a:lnTo>
                    <a:pt x="565" y="267"/>
                  </a:lnTo>
                  <a:lnTo>
                    <a:pt x="566" y="265"/>
                  </a:lnTo>
                  <a:lnTo>
                    <a:pt x="565" y="265"/>
                  </a:lnTo>
                  <a:lnTo>
                    <a:pt x="563" y="265"/>
                  </a:lnTo>
                  <a:lnTo>
                    <a:pt x="559" y="265"/>
                  </a:lnTo>
                  <a:lnTo>
                    <a:pt x="558" y="265"/>
                  </a:lnTo>
                  <a:lnTo>
                    <a:pt x="556" y="265"/>
                  </a:lnTo>
                  <a:lnTo>
                    <a:pt x="556" y="268"/>
                  </a:lnTo>
                  <a:lnTo>
                    <a:pt x="554" y="270"/>
                  </a:lnTo>
                  <a:lnTo>
                    <a:pt x="553" y="272"/>
                  </a:lnTo>
                  <a:lnTo>
                    <a:pt x="551" y="275"/>
                  </a:lnTo>
                  <a:lnTo>
                    <a:pt x="553" y="275"/>
                  </a:lnTo>
                  <a:lnTo>
                    <a:pt x="554" y="275"/>
                  </a:lnTo>
                  <a:lnTo>
                    <a:pt x="558" y="274"/>
                  </a:lnTo>
                  <a:lnTo>
                    <a:pt x="558" y="275"/>
                  </a:lnTo>
                  <a:lnTo>
                    <a:pt x="559" y="277"/>
                  </a:lnTo>
                  <a:lnTo>
                    <a:pt x="556" y="277"/>
                  </a:lnTo>
                  <a:lnTo>
                    <a:pt x="556" y="279"/>
                  </a:lnTo>
                  <a:lnTo>
                    <a:pt x="553" y="280"/>
                  </a:lnTo>
                  <a:lnTo>
                    <a:pt x="554" y="282"/>
                  </a:lnTo>
                  <a:lnTo>
                    <a:pt x="553" y="284"/>
                  </a:lnTo>
                  <a:lnTo>
                    <a:pt x="549" y="285"/>
                  </a:lnTo>
                  <a:lnTo>
                    <a:pt x="549" y="287"/>
                  </a:lnTo>
                  <a:lnTo>
                    <a:pt x="548" y="287"/>
                  </a:lnTo>
                  <a:lnTo>
                    <a:pt x="548" y="289"/>
                  </a:lnTo>
                  <a:lnTo>
                    <a:pt x="546" y="291"/>
                  </a:lnTo>
                  <a:lnTo>
                    <a:pt x="544" y="291"/>
                  </a:lnTo>
                  <a:lnTo>
                    <a:pt x="542" y="292"/>
                  </a:lnTo>
                  <a:lnTo>
                    <a:pt x="541" y="294"/>
                  </a:lnTo>
                  <a:lnTo>
                    <a:pt x="542" y="296"/>
                  </a:lnTo>
                  <a:lnTo>
                    <a:pt x="541" y="297"/>
                  </a:lnTo>
                  <a:lnTo>
                    <a:pt x="539" y="297"/>
                  </a:lnTo>
                  <a:lnTo>
                    <a:pt x="537" y="299"/>
                  </a:lnTo>
                  <a:lnTo>
                    <a:pt x="536" y="299"/>
                  </a:lnTo>
                  <a:lnTo>
                    <a:pt x="534" y="301"/>
                  </a:lnTo>
                  <a:lnTo>
                    <a:pt x="532" y="301"/>
                  </a:lnTo>
                  <a:lnTo>
                    <a:pt x="531" y="301"/>
                  </a:lnTo>
                  <a:lnTo>
                    <a:pt x="529" y="302"/>
                  </a:lnTo>
                  <a:lnTo>
                    <a:pt x="527" y="304"/>
                  </a:lnTo>
                  <a:lnTo>
                    <a:pt x="529" y="306"/>
                  </a:lnTo>
                  <a:lnTo>
                    <a:pt x="529" y="309"/>
                  </a:lnTo>
                  <a:lnTo>
                    <a:pt x="527" y="313"/>
                  </a:lnTo>
                  <a:lnTo>
                    <a:pt x="529" y="314"/>
                  </a:lnTo>
                  <a:lnTo>
                    <a:pt x="527" y="316"/>
                  </a:lnTo>
                  <a:lnTo>
                    <a:pt x="525" y="316"/>
                  </a:lnTo>
                  <a:lnTo>
                    <a:pt x="524" y="318"/>
                  </a:lnTo>
                  <a:lnTo>
                    <a:pt x="522" y="320"/>
                  </a:lnTo>
                  <a:lnTo>
                    <a:pt x="520" y="320"/>
                  </a:lnTo>
                  <a:lnTo>
                    <a:pt x="519" y="321"/>
                  </a:lnTo>
                  <a:lnTo>
                    <a:pt x="517" y="323"/>
                  </a:lnTo>
                  <a:lnTo>
                    <a:pt x="515" y="325"/>
                  </a:lnTo>
                  <a:lnTo>
                    <a:pt x="512" y="326"/>
                  </a:lnTo>
                  <a:lnTo>
                    <a:pt x="510" y="328"/>
                  </a:lnTo>
                  <a:lnTo>
                    <a:pt x="514" y="330"/>
                  </a:lnTo>
                  <a:lnTo>
                    <a:pt x="512" y="331"/>
                  </a:lnTo>
                  <a:lnTo>
                    <a:pt x="510" y="333"/>
                  </a:lnTo>
                  <a:lnTo>
                    <a:pt x="510" y="335"/>
                  </a:lnTo>
                  <a:lnTo>
                    <a:pt x="508" y="335"/>
                  </a:lnTo>
                  <a:lnTo>
                    <a:pt x="510" y="337"/>
                  </a:lnTo>
                  <a:lnTo>
                    <a:pt x="508" y="338"/>
                  </a:lnTo>
                  <a:lnTo>
                    <a:pt x="510" y="340"/>
                  </a:lnTo>
                  <a:lnTo>
                    <a:pt x="512" y="342"/>
                  </a:lnTo>
                  <a:lnTo>
                    <a:pt x="514" y="343"/>
                  </a:lnTo>
                  <a:lnTo>
                    <a:pt x="512" y="345"/>
                  </a:lnTo>
                  <a:lnTo>
                    <a:pt x="510" y="347"/>
                  </a:lnTo>
                  <a:lnTo>
                    <a:pt x="510" y="348"/>
                  </a:lnTo>
                  <a:lnTo>
                    <a:pt x="510" y="350"/>
                  </a:lnTo>
                  <a:lnTo>
                    <a:pt x="508" y="352"/>
                  </a:lnTo>
                  <a:lnTo>
                    <a:pt x="507" y="350"/>
                  </a:lnTo>
                  <a:lnTo>
                    <a:pt x="507" y="352"/>
                  </a:lnTo>
                  <a:lnTo>
                    <a:pt x="503" y="354"/>
                  </a:lnTo>
                  <a:lnTo>
                    <a:pt x="502" y="354"/>
                  </a:lnTo>
                  <a:lnTo>
                    <a:pt x="503" y="355"/>
                  </a:lnTo>
                  <a:lnTo>
                    <a:pt x="502" y="359"/>
                  </a:lnTo>
                  <a:lnTo>
                    <a:pt x="503" y="357"/>
                  </a:lnTo>
                  <a:lnTo>
                    <a:pt x="505" y="359"/>
                  </a:lnTo>
                  <a:lnTo>
                    <a:pt x="507" y="357"/>
                  </a:lnTo>
                  <a:lnTo>
                    <a:pt x="508" y="357"/>
                  </a:lnTo>
                  <a:lnTo>
                    <a:pt x="510" y="359"/>
                  </a:lnTo>
                  <a:lnTo>
                    <a:pt x="514" y="357"/>
                  </a:lnTo>
                  <a:lnTo>
                    <a:pt x="515" y="354"/>
                  </a:lnTo>
                  <a:lnTo>
                    <a:pt x="517" y="354"/>
                  </a:lnTo>
                  <a:lnTo>
                    <a:pt x="519" y="354"/>
                  </a:lnTo>
                  <a:lnTo>
                    <a:pt x="519" y="350"/>
                  </a:lnTo>
                  <a:lnTo>
                    <a:pt x="517" y="350"/>
                  </a:lnTo>
                  <a:lnTo>
                    <a:pt x="515" y="348"/>
                  </a:lnTo>
                  <a:lnTo>
                    <a:pt x="517" y="348"/>
                  </a:lnTo>
                  <a:lnTo>
                    <a:pt x="517" y="347"/>
                  </a:lnTo>
                  <a:lnTo>
                    <a:pt x="519" y="343"/>
                  </a:lnTo>
                  <a:lnTo>
                    <a:pt x="522" y="343"/>
                  </a:lnTo>
                  <a:lnTo>
                    <a:pt x="524" y="345"/>
                  </a:lnTo>
                  <a:lnTo>
                    <a:pt x="525" y="343"/>
                  </a:lnTo>
                  <a:lnTo>
                    <a:pt x="527" y="343"/>
                  </a:lnTo>
                  <a:lnTo>
                    <a:pt x="531" y="340"/>
                  </a:lnTo>
                  <a:lnTo>
                    <a:pt x="531" y="342"/>
                  </a:lnTo>
                  <a:lnTo>
                    <a:pt x="534" y="342"/>
                  </a:lnTo>
                  <a:lnTo>
                    <a:pt x="536" y="342"/>
                  </a:lnTo>
                  <a:lnTo>
                    <a:pt x="537" y="342"/>
                  </a:lnTo>
                  <a:lnTo>
                    <a:pt x="541" y="342"/>
                  </a:lnTo>
                  <a:lnTo>
                    <a:pt x="542" y="342"/>
                  </a:lnTo>
                  <a:lnTo>
                    <a:pt x="544" y="342"/>
                  </a:lnTo>
                  <a:lnTo>
                    <a:pt x="544" y="343"/>
                  </a:lnTo>
                  <a:lnTo>
                    <a:pt x="542" y="345"/>
                  </a:lnTo>
                  <a:lnTo>
                    <a:pt x="544" y="347"/>
                  </a:lnTo>
                  <a:lnTo>
                    <a:pt x="544" y="348"/>
                  </a:lnTo>
                  <a:lnTo>
                    <a:pt x="546" y="350"/>
                  </a:lnTo>
                  <a:lnTo>
                    <a:pt x="546" y="352"/>
                  </a:lnTo>
                  <a:lnTo>
                    <a:pt x="544" y="354"/>
                  </a:lnTo>
                  <a:lnTo>
                    <a:pt x="542" y="355"/>
                  </a:lnTo>
                  <a:lnTo>
                    <a:pt x="544" y="357"/>
                  </a:lnTo>
                  <a:lnTo>
                    <a:pt x="542" y="359"/>
                  </a:lnTo>
                  <a:lnTo>
                    <a:pt x="542" y="360"/>
                  </a:lnTo>
                  <a:lnTo>
                    <a:pt x="544" y="360"/>
                  </a:lnTo>
                  <a:lnTo>
                    <a:pt x="548" y="362"/>
                  </a:lnTo>
                  <a:lnTo>
                    <a:pt x="548" y="364"/>
                  </a:lnTo>
                  <a:lnTo>
                    <a:pt x="548" y="365"/>
                  </a:lnTo>
                  <a:lnTo>
                    <a:pt x="546" y="367"/>
                  </a:lnTo>
                  <a:lnTo>
                    <a:pt x="548" y="367"/>
                  </a:lnTo>
                  <a:lnTo>
                    <a:pt x="549" y="365"/>
                  </a:lnTo>
                  <a:lnTo>
                    <a:pt x="549" y="367"/>
                  </a:lnTo>
                  <a:lnTo>
                    <a:pt x="551" y="369"/>
                  </a:lnTo>
                  <a:lnTo>
                    <a:pt x="551" y="371"/>
                  </a:lnTo>
                  <a:lnTo>
                    <a:pt x="553" y="371"/>
                  </a:lnTo>
                  <a:lnTo>
                    <a:pt x="553" y="372"/>
                  </a:lnTo>
                  <a:lnTo>
                    <a:pt x="554" y="374"/>
                  </a:lnTo>
                  <a:lnTo>
                    <a:pt x="554" y="376"/>
                  </a:lnTo>
                  <a:lnTo>
                    <a:pt x="553" y="377"/>
                  </a:lnTo>
                  <a:lnTo>
                    <a:pt x="551" y="379"/>
                  </a:lnTo>
                  <a:lnTo>
                    <a:pt x="549" y="379"/>
                  </a:lnTo>
                  <a:lnTo>
                    <a:pt x="549" y="381"/>
                  </a:lnTo>
                  <a:lnTo>
                    <a:pt x="546" y="381"/>
                  </a:lnTo>
                  <a:lnTo>
                    <a:pt x="546" y="382"/>
                  </a:lnTo>
                  <a:lnTo>
                    <a:pt x="542" y="381"/>
                  </a:lnTo>
                  <a:lnTo>
                    <a:pt x="542" y="382"/>
                  </a:lnTo>
                  <a:lnTo>
                    <a:pt x="542" y="384"/>
                  </a:lnTo>
                  <a:lnTo>
                    <a:pt x="542" y="386"/>
                  </a:lnTo>
                  <a:lnTo>
                    <a:pt x="542" y="388"/>
                  </a:lnTo>
                  <a:lnTo>
                    <a:pt x="542" y="389"/>
                  </a:lnTo>
                  <a:lnTo>
                    <a:pt x="542" y="391"/>
                  </a:lnTo>
                  <a:lnTo>
                    <a:pt x="544" y="393"/>
                  </a:lnTo>
                  <a:lnTo>
                    <a:pt x="546" y="393"/>
                  </a:lnTo>
                  <a:lnTo>
                    <a:pt x="548" y="394"/>
                  </a:lnTo>
                  <a:lnTo>
                    <a:pt x="549" y="394"/>
                  </a:lnTo>
                  <a:lnTo>
                    <a:pt x="551" y="396"/>
                  </a:lnTo>
                  <a:lnTo>
                    <a:pt x="549" y="399"/>
                  </a:lnTo>
                  <a:lnTo>
                    <a:pt x="551" y="399"/>
                  </a:lnTo>
                  <a:lnTo>
                    <a:pt x="551" y="401"/>
                  </a:lnTo>
                  <a:lnTo>
                    <a:pt x="551" y="403"/>
                  </a:lnTo>
                  <a:lnTo>
                    <a:pt x="551" y="405"/>
                  </a:lnTo>
                  <a:lnTo>
                    <a:pt x="553" y="406"/>
                  </a:lnTo>
                  <a:lnTo>
                    <a:pt x="553" y="408"/>
                  </a:lnTo>
                  <a:lnTo>
                    <a:pt x="556" y="408"/>
                  </a:lnTo>
                  <a:lnTo>
                    <a:pt x="556" y="410"/>
                  </a:lnTo>
                  <a:lnTo>
                    <a:pt x="558" y="411"/>
                  </a:lnTo>
                  <a:lnTo>
                    <a:pt x="559" y="413"/>
                  </a:lnTo>
                  <a:lnTo>
                    <a:pt x="558" y="415"/>
                  </a:lnTo>
                  <a:lnTo>
                    <a:pt x="556" y="416"/>
                  </a:lnTo>
                  <a:lnTo>
                    <a:pt x="556" y="418"/>
                  </a:lnTo>
                  <a:lnTo>
                    <a:pt x="556" y="420"/>
                  </a:lnTo>
                  <a:lnTo>
                    <a:pt x="556" y="422"/>
                  </a:lnTo>
                  <a:lnTo>
                    <a:pt x="556" y="423"/>
                  </a:lnTo>
                  <a:lnTo>
                    <a:pt x="554" y="425"/>
                  </a:lnTo>
                  <a:lnTo>
                    <a:pt x="553" y="427"/>
                  </a:lnTo>
                  <a:lnTo>
                    <a:pt x="553" y="425"/>
                  </a:lnTo>
                  <a:lnTo>
                    <a:pt x="551" y="425"/>
                  </a:lnTo>
                  <a:lnTo>
                    <a:pt x="548" y="427"/>
                  </a:lnTo>
                  <a:lnTo>
                    <a:pt x="548" y="428"/>
                  </a:lnTo>
                  <a:lnTo>
                    <a:pt x="544" y="428"/>
                  </a:lnTo>
                  <a:lnTo>
                    <a:pt x="544" y="430"/>
                  </a:lnTo>
                  <a:lnTo>
                    <a:pt x="542" y="432"/>
                  </a:lnTo>
                  <a:lnTo>
                    <a:pt x="542" y="430"/>
                  </a:lnTo>
                  <a:lnTo>
                    <a:pt x="541" y="430"/>
                  </a:lnTo>
                  <a:lnTo>
                    <a:pt x="539" y="428"/>
                  </a:lnTo>
                  <a:lnTo>
                    <a:pt x="537" y="430"/>
                  </a:lnTo>
                  <a:lnTo>
                    <a:pt x="534" y="430"/>
                  </a:lnTo>
                  <a:lnTo>
                    <a:pt x="534" y="432"/>
                  </a:lnTo>
                  <a:lnTo>
                    <a:pt x="531" y="432"/>
                  </a:lnTo>
                  <a:lnTo>
                    <a:pt x="532" y="435"/>
                  </a:lnTo>
                  <a:lnTo>
                    <a:pt x="532" y="437"/>
                  </a:lnTo>
                  <a:lnTo>
                    <a:pt x="532" y="439"/>
                  </a:lnTo>
                  <a:lnTo>
                    <a:pt x="536" y="439"/>
                  </a:lnTo>
                  <a:lnTo>
                    <a:pt x="537" y="439"/>
                  </a:lnTo>
                  <a:lnTo>
                    <a:pt x="536" y="440"/>
                  </a:lnTo>
                  <a:lnTo>
                    <a:pt x="537" y="442"/>
                  </a:lnTo>
                  <a:lnTo>
                    <a:pt x="536" y="444"/>
                  </a:lnTo>
                  <a:lnTo>
                    <a:pt x="537" y="445"/>
                  </a:lnTo>
                  <a:lnTo>
                    <a:pt x="537" y="447"/>
                  </a:lnTo>
                  <a:lnTo>
                    <a:pt x="539" y="447"/>
                  </a:lnTo>
                  <a:lnTo>
                    <a:pt x="539" y="449"/>
                  </a:lnTo>
                  <a:lnTo>
                    <a:pt x="541" y="450"/>
                  </a:lnTo>
                  <a:lnTo>
                    <a:pt x="542" y="450"/>
                  </a:lnTo>
                  <a:lnTo>
                    <a:pt x="544" y="450"/>
                  </a:lnTo>
                  <a:lnTo>
                    <a:pt x="546" y="450"/>
                  </a:lnTo>
                  <a:lnTo>
                    <a:pt x="548" y="452"/>
                  </a:lnTo>
                  <a:lnTo>
                    <a:pt x="549" y="452"/>
                  </a:lnTo>
                  <a:lnTo>
                    <a:pt x="549" y="454"/>
                  </a:lnTo>
                  <a:lnTo>
                    <a:pt x="549" y="456"/>
                  </a:lnTo>
                  <a:lnTo>
                    <a:pt x="549" y="457"/>
                  </a:lnTo>
                  <a:lnTo>
                    <a:pt x="549" y="459"/>
                  </a:lnTo>
                  <a:lnTo>
                    <a:pt x="551" y="461"/>
                  </a:lnTo>
                  <a:lnTo>
                    <a:pt x="553" y="464"/>
                  </a:lnTo>
                  <a:lnTo>
                    <a:pt x="549" y="462"/>
                  </a:lnTo>
                  <a:lnTo>
                    <a:pt x="548" y="462"/>
                  </a:lnTo>
                  <a:lnTo>
                    <a:pt x="546" y="462"/>
                  </a:lnTo>
                  <a:lnTo>
                    <a:pt x="546" y="464"/>
                  </a:lnTo>
                  <a:lnTo>
                    <a:pt x="546" y="468"/>
                  </a:lnTo>
                  <a:lnTo>
                    <a:pt x="544" y="469"/>
                  </a:lnTo>
                  <a:lnTo>
                    <a:pt x="544" y="471"/>
                  </a:lnTo>
                  <a:lnTo>
                    <a:pt x="542" y="471"/>
                  </a:lnTo>
                  <a:lnTo>
                    <a:pt x="541" y="474"/>
                  </a:lnTo>
                  <a:lnTo>
                    <a:pt x="541" y="478"/>
                  </a:lnTo>
                  <a:lnTo>
                    <a:pt x="542" y="478"/>
                  </a:lnTo>
                  <a:lnTo>
                    <a:pt x="542" y="479"/>
                  </a:lnTo>
                  <a:lnTo>
                    <a:pt x="544" y="481"/>
                  </a:lnTo>
                  <a:lnTo>
                    <a:pt x="542" y="481"/>
                  </a:lnTo>
                  <a:lnTo>
                    <a:pt x="542" y="483"/>
                  </a:lnTo>
                  <a:lnTo>
                    <a:pt x="542" y="485"/>
                  </a:lnTo>
                  <a:lnTo>
                    <a:pt x="544" y="486"/>
                  </a:lnTo>
                  <a:lnTo>
                    <a:pt x="544" y="488"/>
                  </a:lnTo>
                  <a:lnTo>
                    <a:pt x="546" y="490"/>
                  </a:lnTo>
                  <a:lnTo>
                    <a:pt x="548" y="491"/>
                  </a:lnTo>
                  <a:lnTo>
                    <a:pt x="548" y="495"/>
                  </a:lnTo>
                  <a:lnTo>
                    <a:pt x="549" y="495"/>
                  </a:lnTo>
                  <a:lnTo>
                    <a:pt x="551" y="495"/>
                  </a:lnTo>
                  <a:lnTo>
                    <a:pt x="551" y="496"/>
                  </a:lnTo>
                  <a:lnTo>
                    <a:pt x="554" y="496"/>
                  </a:lnTo>
                  <a:lnTo>
                    <a:pt x="556" y="498"/>
                  </a:lnTo>
                  <a:lnTo>
                    <a:pt x="558" y="500"/>
                  </a:lnTo>
                  <a:lnTo>
                    <a:pt x="559" y="500"/>
                  </a:lnTo>
                  <a:lnTo>
                    <a:pt x="561" y="502"/>
                  </a:lnTo>
                  <a:lnTo>
                    <a:pt x="563" y="502"/>
                  </a:lnTo>
                  <a:lnTo>
                    <a:pt x="565" y="502"/>
                  </a:lnTo>
                  <a:lnTo>
                    <a:pt x="565" y="503"/>
                  </a:lnTo>
                  <a:lnTo>
                    <a:pt x="566" y="503"/>
                  </a:lnTo>
                  <a:lnTo>
                    <a:pt x="568" y="503"/>
                  </a:lnTo>
                  <a:lnTo>
                    <a:pt x="570" y="503"/>
                  </a:lnTo>
                  <a:lnTo>
                    <a:pt x="573" y="502"/>
                  </a:lnTo>
                  <a:lnTo>
                    <a:pt x="573" y="503"/>
                  </a:lnTo>
                  <a:lnTo>
                    <a:pt x="575" y="502"/>
                  </a:lnTo>
                  <a:lnTo>
                    <a:pt x="578" y="502"/>
                  </a:lnTo>
                  <a:lnTo>
                    <a:pt x="580" y="500"/>
                  </a:lnTo>
                  <a:lnTo>
                    <a:pt x="582" y="500"/>
                  </a:lnTo>
                  <a:lnTo>
                    <a:pt x="582" y="502"/>
                  </a:lnTo>
                  <a:lnTo>
                    <a:pt x="580" y="503"/>
                  </a:lnTo>
                  <a:lnTo>
                    <a:pt x="582" y="503"/>
                  </a:lnTo>
                  <a:lnTo>
                    <a:pt x="582" y="507"/>
                  </a:lnTo>
                  <a:lnTo>
                    <a:pt x="583" y="507"/>
                  </a:lnTo>
                  <a:lnTo>
                    <a:pt x="583" y="508"/>
                  </a:lnTo>
                  <a:lnTo>
                    <a:pt x="582" y="510"/>
                  </a:lnTo>
                  <a:lnTo>
                    <a:pt x="580" y="510"/>
                  </a:lnTo>
                  <a:lnTo>
                    <a:pt x="580" y="512"/>
                  </a:lnTo>
                  <a:lnTo>
                    <a:pt x="580" y="513"/>
                  </a:lnTo>
                  <a:lnTo>
                    <a:pt x="576" y="515"/>
                  </a:lnTo>
                  <a:lnTo>
                    <a:pt x="575" y="515"/>
                  </a:lnTo>
                  <a:lnTo>
                    <a:pt x="575" y="519"/>
                  </a:lnTo>
                  <a:lnTo>
                    <a:pt x="571" y="520"/>
                  </a:lnTo>
                  <a:lnTo>
                    <a:pt x="571" y="522"/>
                  </a:lnTo>
                  <a:lnTo>
                    <a:pt x="571" y="524"/>
                  </a:lnTo>
                  <a:lnTo>
                    <a:pt x="571" y="525"/>
                  </a:lnTo>
                  <a:lnTo>
                    <a:pt x="573" y="527"/>
                  </a:lnTo>
                  <a:lnTo>
                    <a:pt x="571" y="529"/>
                  </a:lnTo>
                  <a:lnTo>
                    <a:pt x="570" y="530"/>
                  </a:lnTo>
                  <a:lnTo>
                    <a:pt x="570" y="529"/>
                  </a:lnTo>
                  <a:lnTo>
                    <a:pt x="568" y="530"/>
                  </a:lnTo>
                  <a:lnTo>
                    <a:pt x="566" y="530"/>
                  </a:lnTo>
                  <a:lnTo>
                    <a:pt x="566" y="532"/>
                  </a:lnTo>
                  <a:lnTo>
                    <a:pt x="565" y="532"/>
                  </a:lnTo>
                  <a:lnTo>
                    <a:pt x="563" y="532"/>
                  </a:lnTo>
                  <a:lnTo>
                    <a:pt x="563" y="534"/>
                  </a:lnTo>
                  <a:lnTo>
                    <a:pt x="563" y="536"/>
                  </a:lnTo>
                  <a:lnTo>
                    <a:pt x="561" y="532"/>
                  </a:lnTo>
                  <a:lnTo>
                    <a:pt x="561" y="534"/>
                  </a:lnTo>
                  <a:lnTo>
                    <a:pt x="559" y="534"/>
                  </a:lnTo>
                  <a:lnTo>
                    <a:pt x="558" y="534"/>
                  </a:lnTo>
                  <a:lnTo>
                    <a:pt x="556" y="537"/>
                  </a:lnTo>
                  <a:lnTo>
                    <a:pt x="553" y="536"/>
                  </a:lnTo>
                  <a:lnTo>
                    <a:pt x="553" y="537"/>
                  </a:lnTo>
                  <a:lnTo>
                    <a:pt x="551" y="539"/>
                  </a:lnTo>
                  <a:lnTo>
                    <a:pt x="551" y="541"/>
                  </a:lnTo>
                  <a:lnTo>
                    <a:pt x="553" y="544"/>
                  </a:lnTo>
                  <a:lnTo>
                    <a:pt x="551" y="544"/>
                  </a:lnTo>
                  <a:lnTo>
                    <a:pt x="551" y="542"/>
                  </a:lnTo>
                  <a:lnTo>
                    <a:pt x="549" y="542"/>
                  </a:lnTo>
                  <a:lnTo>
                    <a:pt x="548" y="544"/>
                  </a:lnTo>
                  <a:lnTo>
                    <a:pt x="546" y="542"/>
                  </a:lnTo>
                  <a:lnTo>
                    <a:pt x="542" y="544"/>
                  </a:lnTo>
                  <a:lnTo>
                    <a:pt x="542" y="546"/>
                  </a:lnTo>
                  <a:lnTo>
                    <a:pt x="541" y="547"/>
                  </a:lnTo>
                  <a:lnTo>
                    <a:pt x="541" y="549"/>
                  </a:lnTo>
                  <a:lnTo>
                    <a:pt x="539" y="551"/>
                  </a:lnTo>
                  <a:lnTo>
                    <a:pt x="537" y="551"/>
                  </a:lnTo>
                  <a:lnTo>
                    <a:pt x="537" y="553"/>
                  </a:lnTo>
                  <a:lnTo>
                    <a:pt x="536" y="553"/>
                  </a:lnTo>
                  <a:lnTo>
                    <a:pt x="534" y="553"/>
                  </a:lnTo>
                  <a:lnTo>
                    <a:pt x="532" y="551"/>
                  </a:lnTo>
                  <a:lnTo>
                    <a:pt x="531" y="553"/>
                  </a:lnTo>
                  <a:lnTo>
                    <a:pt x="531" y="554"/>
                  </a:lnTo>
                  <a:lnTo>
                    <a:pt x="531" y="556"/>
                  </a:lnTo>
                  <a:lnTo>
                    <a:pt x="527" y="558"/>
                  </a:lnTo>
                  <a:lnTo>
                    <a:pt x="527" y="559"/>
                  </a:lnTo>
                  <a:lnTo>
                    <a:pt x="525" y="559"/>
                  </a:lnTo>
                  <a:lnTo>
                    <a:pt x="522" y="561"/>
                  </a:lnTo>
                  <a:lnTo>
                    <a:pt x="524" y="563"/>
                  </a:lnTo>
                  <a:lnTo>
                    <a:pt x="525" y="561"/>
                  </a:lnTo>
                  <a:lnTo>
                    <a:pt x="527" y="563"/>
                  </a:lnTo>
                  <a:lnTo>
                    <a:pt x="527" y="561"/>
                  </a:lnTo>
                  <a:lnTo>
                    <a:pt x="529" y="563"/>
                  </a:lnTo>
                  <a:lnTo>
                    <a:pt x="527" y="564"/>
                  </a:lnTo>
                  <a:lnTo>
                    <a:pt x="527" y="566"/>
                  </a:lnTo>
                  <a:lnTo>
                    <a:pt x="525" y="568"/>
                  </a:lnTo>
                  <a:lnTo>
                    <a:pt x="525" y="570"/>
                  </a:lnTo>
                  <a:lnTo>
                    <a:pt x="524" y="570"/>
                  </a:lnTo>
                  <a:lnTo>
                    <a:pt x="524" y="568"/>
                  </a:lnTo>
                  <a:lnTo>
                    <a:pt x="522" y="568"/>
                  </a:lnTo>
                  <a:lnTo>
                    <a:pt x="520" y="570"/>
                  </a:lnTo>
                  <a:lnTo>
                    <a:pt x="517" y="570"/>
                  </a:lnTo>
                  <a:lnTo>
                    <a:pt x="515" y="571"/>
                  </a:lnTo>
                  <a:lnTo>
                    <a:pt x="512" y="570"/>
                  </a:lnTo>
                  <a:lnTo>
                    <a:pt x="510" y="571"/>
                  </a:lnTo>
                  <a:lnTo>
                    <a:pt x="510" y="575"/>
                  </a:lnTo>
                  <a:lnTo>
                    <a:pt x="508" y="573"/>
                  </a:lnTo>
                  <a:lnTo>
                    <a:pt x="507" y="571"/>
                  </a:lnTo>
                  <a:lnTo>
                    <a:pt x="505" y="571"/>
                  </a:lnTo>
                  <a:lnTo>
                    <a:pt x="502" y="571"/>
                  </a:lnTo>
                  <a:lnTo>
                    <a:pt x="502" y="573"/>
                  </a:lnTo>
                  <a:lnTo>
                    <a:pt x="500" y="575"/>
                  </a:lnTo>
                  <a:lnTo>
                    <a:pt x="500" y="576"/>
                  </a:lnTo>
                  <a:lnTo>
                    <a:pt x="500" y="578"/>
                  </a:lnTo>
                  <a:lnTo>
                    <a:pt x="498" y="576"/>
                  </a:lnTo>
                  <a:lnTo>
                    <a:pt x="497" y="578"/>
                  </a:lnTo>
                  <a:lnTo>
                    <a:pt x="497" y="576"/>
                  </a:lnTo>
                  <a:lnTo>
                    <a:pt x="498" y="576"/>
                  </a:lnTo>
                  <a:lnTo>
                    <a:pt x="498" y="575"/>
                  </a:lnTo>
                  <a:lnTo>
                    <a:pt x="497" y="573"/>
                  </a:lnTo>
                  <a:lnTo>
                    <a:pt x="493" y="573"/>
                  </a:lnTo>
                  <a:lnTo>
                    <a:pt x="493" y="571"/>
                  </a:lnTo>
                  <a:lnTo>
                    <a:pt x="490" y="571"/>
                  </a:lnTo>
                  <a:lnTo>
                    <a:pt x="488" y="571"/>
                  </a:lnTo>
                  <a:lnTo>
                    <a:pt x="488" y="570"/>
                  </a:lnTo>
                  <a:lnTo>
                    <a:pt x="486" y="571"/>
                  </a:lnTo>
                  <a:lnTo>
                    <a:pt x="488" y="571"/>
                  </a:lnTo>
                  <a:lnTo>
                    <a:pt x="486" y="573"/>
                  </a:lnTo>
                  <a:lnTo>
                    <a:pt x="488" y="573"/>
                  </a:lnTo>
                  <a:lnTo>
                    <a:pt x="490" y="575"/>
                  </a:lnTo>
                  <a:lnTo>
                    <a:pt x="486" y="573"/>
                  </a:lnTo>
                  <a:lnTo>
                    <a:pt x="485" y="576"/>
                  </a:lnTo>
                  <a:lnTo>
                    <a:pt x="483" y="575"/>
                  </a:lnTo>
                  <a:lnTo>
                    <a:pt x="481" y="573"/>
                  </a:lnTo>
                  <a:lnTo>
                    <a:pt x="483" y="571"/>
                  </a:lnTo>
                  <a:lnTo>
                    <a:pt x="480" y="571"/>
                  </a:lnTo>
                  <a:lnTo>
                    <a:pt x="481" y="570"/>
                  </a:lnTo>
                  <a:lnTo>
                    <a:pt x="480" y="570"/>
                  </a:lnTo>
                  <a:lnTo>
                    <a:pt x="478" y="568"/>
                  </a:lnTo>
                  <a:lnTo>
                    <a:pt x="476" y="568"/>
                  </a:lnTo>
                  <a:lnTo>
                    <a:pt x="476" y="566"/>
                  </a:lnTo>
                  <a:lnTo>
                    <a:pt x="474" y="564"/>
                  </a:lnTo>
                  <a:lnTo>
                    <a:pt x="473" y="564"/>
                  </a:lnTo>
                  <a:lnTo>
                    <a:pt x="471" y="566"/>
                  </a:lnTo>
                  <a:lnTo>
                    <a:pt x="469" y="566"/>
                  </a:lnTo>
                  <a:lnTo>
                    <a:pt x="469" y="563"/>
                  </a:lnTo>
                  <a:lnTo>
                    <a:pt x="466" y="564"/>
                  </a:lnTo>
                  <a:lnTo>
                    <a:pt x="464" y="563"/>
                  </a:lnTo>
                  <a:lnTo>
                    <a:pt x="463" y="563"/>
                  </a:lnTo>
                  <a:lnTo>
                    <a:pt x="459" y="563"/>
                  </a:lnTo>
                  <a:lnTo>
                    <a:pt x="461" y="559"/>
                  </a:lnTo>
                  <a:lnTo>
                    <a:pt x="459" y="558"/>
                  </a:lnTo>
                  <a:lnTo>
                    <a:pt x="461" y="556"/>
                  </a:lnTo>
                  <a:lnTo>
                    <a:pt x="459" y="554"/>
                  </a:lnTo>
                  <a:lnTo>
                    <a:pt x="459" y="553"/>
                  </a:lnTo>
                  <a:lnTo>
                    <a:pt x="457" y="551"/>
                  </a:lnTo>
                  <a:lnTo>
                    <a:pt x="457" y="553"/>
                  </a:lnTo>
                  <a:lnTo>
                    <a:pt x="456" y="553"/>
                  </a:lnTo>
                  <a:lnTo>
                    <a:pt x="454" y="554"/>
                  </a:lnTo>
                  <a:lnTo>
                    <a:pt x="451" y="553"/>
                  </a:lnTo>
                  <a:lnTo>
                    <a:pt x="449" y="554"/>
                  </a:lnTo>
                  <a:lnTo>
                    <a:pt x="446" y="553"/>
                  </a:lnTo>
                  <a:lnTo>
                    <a:pt x="444" y="553"/>
                  </a:lnTo>
                  <a:lnTo>
                    <a:pt x="442" y="553"/>
                  </a:lnTo>
                  <a:lnTo>
                    <a:pt x="444" y="551"/>
                  </a:lnTo>
                  <a:lnTo>
                    <a:pt x="442" y="551"/>
                  </a:lnTo>
                  <a:lnTo>
                    <a:pt x="440" y="547"/>
                  </a:lnTo>
                  <a:lnTo>
                    <a:pt x="442" y="547"/>
                  </a:lnTo>
                  <a:lnTo>
                    <a:pt x="440" y="547"/>
                  </a:lnTo>
                  <a:lnTo>
                    <a:pt x="440" y="546"/>
                  </a:lnTo>
                  <a:lnTo>
                    <a:pt x="439" y="546"/>
                  </a:lnTo>
                  <a:lnTo>
                    <a:pt x="437" y="547"/>
                  </a:lnTo>
                  <a:lnTo>
                    <a:pt x="437" y="546"/>
                  </a:lnTo>
                  <a:lnTo>
                    <a:pt x="435" y="546"/>
                  </a:lnTo>
                  <a:lnTo>
                    <a:pt x="435" y="544"/>
                  </a:lnTo>
                  <a:lnTo>
                    <a:pt x="435" y="546"/>
                  </a:lnTo>
                  <a:lnTo>
                    <a:pt x="435" y="547"/>
                  </a:lnTo>
                  <a:lnTo>
                    <a:pt x="434" y="546"/>
                  </a:lnTo>
                  <a:lnTo>
                    <a:pt x="434" y="547"/>
                  </a:lnTo>
                  <a:lnTo>
                    <a:pt x="432" y="547"/>
                  </a:lnTo>
                  <a:lnTo>
                    <a:pt x="434" y="547"/>
                  </a:lnTo>
                  <a:lnTo>
                    <a:pt x="434" y="549"/>
                  </a:lnTo>
                  <a:lnTo>
                    <a:pt x="435" y="551"/>
                  </a:lnTo>
                  <a:lnTo>
                    <a:pt x="437" y="547"/>
                  </a:lnTo>
                  <a:lnTo>
                    <a:pt x="437" y="549"/>
                  </a:lnTo>
                  <a:lnTo>
                    <a:pt x="435" y="551"/>
                  </a:lnTo>
                  <a:lnTo>
                    <a:pt x="434" y="553"/>
                  </a:lnTo>
                  <a:lnTo>
                    <a:pt x="432" y="551"/>
                  </a:lnTo>
                  <a:lnTo>
                    <a:pt x="429" y="551"/>
                  </a:lnTo>
                  <a:lnTo>
                    <a:pt x="427" y="551"/>
                  </a:lnTo>
                  <a:lnTo>
                    <a:pt x="423" y="551"/>
                  </a:lnTo>
                  <a:lnTo>
                    <a:pt x="420" y="549"/>
                  </a:lnTo>
                  <a:lnTo>
                    <a:pt x="418" y="547"/>
                  </a:lnTo>
                  <a:lnTo>
                    <a:pt x="422" y="546"/>
                  </a:lnTo>
                  <a:lnTo>
                    <a:pt x="420" y="544"/>
                  </a:lnTo>
                  <a:lnTo>
                    <a:pt x="420" y="542"/>
                  </a:lnTo>
                  <a:lnTo>
                    <a:pt x="417" y="542"/>
                  </a:lnTo>
                  <a:lnTo>
                    <a:pt x="415" y="542"/>
                  </a:lnTo>
                  <a:lnTo>
                    <a:pt x="413" y="542"/>
                  </a:lnTo>
                  <a:lnTo>
                    <a:pt x="410" y="542"/>
                  </a:lnTo>
                  <a:lnTo>
                    <a:pt x="408" y="541"/>
                  </a:lnTo>
                  <a:lnTo>
                    <a:pt x="406" y="541"/>
                  </a:lnTo>
                  <a:lnTo>
                    <a:pt x="403" y="541"/>
                  </a:lnTo>
                  <a:lnTo>
                    <a:pt x="401" y="541"/>
                  </a:lnTo>
                  <a:lnTo>
                    <a:pt x="398" y="539"/>
                  </a:lnTo>
                  <a:lnTo>
                    <a:pt x="398" y="537"/>
                  </a:lnTo>
                  <a:lnTo>
                    <a:pt x="396" y="537"/>
                  </a:lnTo>
                  <a:lnTo>
                    <a:pt x="398" y="536"/>
                  </a:lnTo>
                  <a:lnTo>
                    <a:pt x="398" y="534"/>
                  </a:lnTo>
                  <a:lnTo>
                    <a:pt x="396" y="532"/>
                  </a:lnTo>
                  <a:lnTo>
                    <a:pt x="396" y="534"/>
                  </a:lnTo>
                  <a:lnTo>
                    <a:pt x="395" y="532"/>
                  </a:lnTo>
                  <a:lnTo>
                    <a:pt x="393" y="534"/>
                  </a:lnTo>
                  <a:lnTo>
                    <a:pt x="391" y="534"/>
                  </a:lnTo>
                  <a:lnTo>
                    <a:pt x="388" y="536"/>
                  </a:lnTo>
                  <a:lnTo>
                    <a:pt x="386" y="536"/>
                  </a:lnTo>
                  <a:lnTo>
                    <a:pt x="384" y="537"/>
                  </a:lnTo>
                  <a:lnTo>
                    <a:pt x="383" y="537"/>
                  </a:lnTo>
                  <a:lnTo>
                    <a:pt x="381" y="541"/>
                  </a:lnTo>
                  <a:lnTo>
                    <a:pt x="378" y="541"/>
                  </a:lnTo>
                  <a:lnTo>
                    <a:pt x="376" y="542"/>
                  </a:lnTo>
                  <a:lnTo>
                    <a:pt x="374" y="542"/>
                  </a:lnTo>
                  <a:lnTo>
                    <a:pt x="372" y="544"/>
                  </a:lnTo>
                  <a:lnTo>
                    <a:pt x="371" y="546"/>
                  </a:lnTo>
                  <a:lnTo>
                    <a:pt x="367" y="547"/>
                  </a:lnTo>
                  <a:lnTo>
                    <a:pt x="367" y="549"/>
                  </a:lnTo>
                  <a:lnTo>
                    <a:pt x="366" y="551"/>
                  </a:lnTo>
                  <a:lnTo>
                    <a:pt x="366" y="549"/>
                  </a:lnTo>
                  <a:lnTo>
                    <a:pt x="364" y="551"/>
                  </a:lnTo>
                  <a:lnTo>
                    <a:pt x="361" y="549"/>
                  </a:lnTo>
                  <a:lnTo>
                    <a:pt x="359" y="549"/>
                  </a:lnTo>
                  <a:lnTo>
                    <a:pt x="357" y="549"/>
                  </a:lnTo>
                  <a:lnTo>
                    <a:pt x="354" y="551"/>
                  </a:lnTo>
                  <a:lnTo>
                    <a:pt x="354" y="553"/>
                  </a:lnTo>
                  <a:lnTo>
                    <a:pt x="352" y="553"/>
                  </a:lnTo>
                  <a:lnTo>
                    <a:pt x="350" y="554"/>
                  </a:lnTo>
                  <a:lnTo>
                    <a:pt x="349" y="556"/>
                  </a:lnTo>
                  <a:lnTo>
                    <a:pt x="347" y="556"/>
                  </a:lnTo>
                  <a:lnTo>
                    <a:pt x="345" y="558"/>
                  </a:lnTo>
                  <a:lnTo>
                    <a:pt x="344" y="561"/>
                  </a:lnTo>
                  <a:lnTo>
                    <a:pt x="342" y="559"/>
                  </a:lnTo>
                  <a:lnTo>
                    <a:pt x="344" y="561"/>
                  </a:lnTo>
                  <a:lnTo>
                    <a:pt x="342" y="564"/>
                  </a:lnTo>
                  <a:lnTo>
                    <a:pt x="340" y="566"/>
                  </a:lnTo>
                  <a:lnTo>
                    <a:pt x="340" y="568"/>
                  </a:lnTo>
                  <a:lnTo>
                    <a:pt x="338" y="570"/>
                  </a:lnTo>
                  <a:lnTo>
                    <a:pt x="338" y="571"/>
                  </a:lnTo>
                  <a:lnTo>
                    <a:pt x="340" y="573"/>
                  </a:lnTo>
                  <a:lnTo>
                    <a:pt x="338" y="576"/>
                  </a:lnTo>
                  <a:lnTo>
                    <a:pt x="338" y="578"/>
                  </a:lnTo>
                  <a:lnTo>
                    <a:pt x="338" y="580"/>
                  </a:lnTo>
                  <a:lnTo>
                    <a:pt x="337" y="581"/>
                  </a:lnTo>
                  <a:lnTo>
                    <a:pt x="337" y="583"/>
                  </a:lnTo>
                  <a:lnTo>
                    <a:pt x="337" y="585"/>
                  </a:lnTo>
                  <a:lnTo>
                    <a:pt x="337" y="587"/>
                  </a:lnTo>
                  <a:lnTo>
                    <a:pt x="337" y="588"/>
                  </a:lnTo>
                  <a:lnTo>
                    <a:pt x="337" y="592"/>
                  </a:lnTo>
                  <a:lnTo>
                    <a:pt x="337" y="593"/>
                  </a:lnTo>
                  <a:lnTo>
                    <a:pt x="337" y="595"/>
                  </a:lnTo>
                  <a:lnTo>
                    <a:pt x="335" y="595"/>
                  </a:lnTo>
                  <a:lnTo>
                    <a:pt x="337" y="595"/>
                  </a:lnTo>
                  <a:lnTo>
                    <a:pt x="337" y="597"/>
                  </a:lnTo>
                  <a:lnTo>
                    <a:pt x="337" y="598"/>
                  </a:lnTo>
                  <a:lnTo>
                    <a:pt x="337" y="600"/>
                  </a:lnTo>
                  <a:lnTo>
                    <a:pt x="338" y="602"/>
                  </a:lnTo>
                  <a:lnTo>
                    <a:pt x="340" y="602"/>
                  </a:lnTo>
                  <a:lnTo>
                    <a:pt x="340" y="604"/>
                  </a:lnTo>
                  <a:lnTo>
                    <a:pt x="342" y="605"/>
                  </a:lnTo>
                  <a:lnTo>
                    <a:pt x="342" y="609"/>
                  </a:lnTo>
                  <a:lnTo>
                    <a:pt x="338" y="607"/>
                  </a:lnTo>
                  <a:lnTo>
                    <a:pt x="337" y="609"/>
                  </a:lnTo>
                  <a:lnTo>
                    <a:pt x="337" y="607"/>
                  </a:lnTo>
                  <a:lnTo>
                    <a:pt x="335" y="605"/>
                  </a:lnTo>
                  <a:lnTo>
                    <a:pt x="332" y="605"/>
                  </a:lnTo>
                  <a:lnTo>
                    <a:pt x="330" y="604"/>
                  </a:lnTo>
                  <a:lnTo>
                    <a:pt x="328" y="605"/>
                  </a:lnTo>
                  <a:lnTo>
                    <a:pt x="327" y="604"/>
                  </a:lnTo>
                  <a:lnTo>
                    <a:pt x="327" y="605"/>
                  </a:lnTo>
                  <a:lnTo>
                    <a:pt x="325" y="605"/>
                  </a:lnTo>
                  <a:lnTo>
                    <a:pt x="323" y="605"/>
                  </a:lnTo>
                  <a:lnTo>
                    <a:pt x="321" y="607"/>
                  </a:lnTo>
                  <a:lnTo>
                    <a:pt x="318" y="607"/>
                  </a:lnTo>
                  <a:lnTo>
                    <a:pt x="316" y="607"/>
                  </a:lnTo>
                  <a:lnTo>
                    <a:pt x="315" y="609"/>
                  </a:lnTo>
                  <a:lnTo>
                    <a:pt x="315" y="610"/>
                  </a:lnTo>
                  <a:lnTo>
                    <a:pt x="315" y="612"/>
                  </a:lnTo>
                  <a:lnTo>
                    <a:pt x="313" y="612"/>
                  </a:lnTo>
                  <a:lnTo>
                    <a:pt x="310" y="610"/>
                  </a:lnTo>
                  <a:lnTo>
                    <a:pt x="308" y="612"/>
                  </a:lnTo>
                  <a:lnTo>
                    <a:pt x="304" y="612"/>
                  </a:lnTo>
                  <a:lnTo>
                    <a:pt x="304" y="609"/>
                  </a:lnTo>
                  <a:lnTo>
                    <a:pt x="303" y="609"/>
                  </a:lnTo>
                  <a:lnTo>
                    <a:pt x="303" y="607"/>
                  </a:lnTo>
                  <a:lnTo>
                    <a:pt x="299" y="607"/>
                  </a:lnTo>
                  <a:lnTo>
                    <a:pt x="299" y="605"/>
                  </a:lnTo>
                  <a:lnTo>
                    <a:pt x="298" y="604"/>
                  </a:lnTo>
                  <a:lnTo>
                    <a:pt x="294" y="604"/>
                  </a:lnTo>
                  <a:lnTo>
                    <a:pt x="291" y="604"/>
                  </a:lnTo>
                  <a:lnTo>
                    <a:pt x="289" y="604"/>
                  </a:lnTo>
                  <a:lnTo>
                    <a:pt x="287" y="604"/>
                  </a:lnTo>
                  <a:lnTo>
                    <a:pt x="286" y="607"/>
                  </a:lnTo>
                  <a:lnTo>
                    <a:pt x="284" y="607"/>
                  </a:lnTo>
                  <a:lnTo>
                    <a:pt x="282" y="607"/>
                  </a:lnTo>
                  <a:lnTo>
                    <a:pt x="281" y="609"/>
                  </a:lnTo>
                  <a:lnTo>
                    <a:pt x="279" y="607"/>
                  </a:lnTo>
                  <a:lnTo>
                    <a:pt x="279" y="605"/>
                  </a:lnTo>
                  <a:lnTo>
                    <a:pt x="279" y="602"/>
                  </a:lnTo>
                  <a:lnTo>
                    <a:pt x="277" y="600"/>
                  </a:lnTo>
                  <a:lnTo>
                    <a:pt x="276" y="600"/>
                  </a:lnTo>
                  <a:lnTo>
                    <a:pt x="274" y="598"/>
                  </a:lnTo>
                  <a:lnTo>
                    <a:pt x="272" y="597"/>
                  </a:lnTo>
                  <a:lnTo>
                    <a:pt x="270" y="597"/>
                  </a:lnTo>
                  <a:lnTo>
                    <a:pt x="269" y="597"/>
                  </a:lnTo>
                  <a:lnTo>
                    <a:pt x="267" y="595"/>
                  </a:lnTo>
                  <a:lnTo>
                    <a:pt x="269" y="592"/>
                  </a:lnTo>
                  <a:lnTo>
                    <a:pt x="270" y="590"/>
                  </a:lnTo>
                  <a:lnTo>
                    <a:pt x="267" y="590"/>
                  </a:lnTo>
                  <a:lnTo>
                    <a:pt x="269" y="588"/>
                  </a:lnTo>
                  <a:lnTo>
                    <a:pt x="265" y="587"/>
                  </a:lnTo>
                  <a:lnTo>
                    <a:pt x="264" y="587"/>
                  </a:lnTo>
                  <a:lnTo>
                    <a:pt x="262" y="587"/>
                  </a:lnTo>
                  <a:lnTo>
                    <a:pt x="260" y="585"/>
                  </a:lnTo>
                  <a:lnTo>
                    <a:pt x="259" y="583"/>
                  </a:lnTo>
                  <a:lnTo>
                    <a:pt x="257" y="585"/>
                  </a:lnTo>
                  <a:lnTo>
                    <a:pt x="255" y="583"/>
                  </a:lnTo>
                  <a:lnTo>
                    <a:pt x="255" y="587"/>
                  </a:lnTo>
                  <a:lnTo>
                    <a:pt x="253" y="587"/>
                  </a:lnTo>
                  <a:lnTo>
                    <a:pt x="252" y="585"/>
                  </a:lnTo>
                  <a:lnTo>
                    <a:pt x="252" y="583"/>
                  </a:lnTo>
                  <a:lnTo>
                    <a:pt x="252" y="581"/>
                  </a:lnTo>
                  <a:lnTo>
                    <a:pt x="252" y="580"/>
                  </a:lnTo>
                  <a:lnTo>
                    <a:pt x="250" y="580"/>
                  </a:lnTo>
                  <a:lnTo>
                    <a:pt x="250" y="578"/>
                  </a:lnTo>
                  <a:lnTo>
                    <a:pt x="248" y="578"/>
                  </a:lnTo>
                  <a:lnTo>
                    <a:pt x="247" y="578"/>
                  </a:lnTo>
                  <a:lnTo>
                    <a:pt x="245" y="578"/>
                  </a:lnTo>
                  <a:lnTo>
                    <a:pt x="243" y="576"/>
                  </a:lnTo>
                  <a:lnTo>
                    <a:pt x="240" y="578"/>
                  </a:lnTo>
                  <a:lnTo>
                    <a:pt x="238" y="576"/>
                  </a:lnTo>
                  <a:lnTo>
                    <a:pt x="238" y="575"/>
                  </a:lnTo>
                  <a:lnTo>
                    <a:pt x="236" y="571"/>
                  </a:lnTo>
                  <a:lnTo>
                    <a:pt x="235" y="571"/>
                  </a:lnTo>
                  <a:lnTo>
                    <a:pt x="233" y="571"/>
                  </a:lnTo>
                  <a:lnTo>
                    <a:pt x="231" y="571"/>
                  </a:lnTo>
                  <a:lnTo>
                    <a:pt x="230" y="570"/>
                  </a:lnTo>
                  <a:lnTo>
                    <a:pt x="228" y="570"/>
                  </a:lnTo>
                  <a:lnTo>
                    <a:pt x="226" y="568"/>
                  </a:lnTo>
                  <a:lnTo>
                    <a:pt x="225" y="568"/>
                  </a:lnTo>
                  <a:lnTo>
                    <a:pt x="223" y="566"/>
                  </a:lnTo>
                  <a:lnTo>
                    <a:pt x="221" y="566"/>
                  </a:lnTo>
                  <a:lnTo>
                    <a:pt x="219" y="564"/>
                  </a:lnTo>
                  <a:lnTo>
                    <a:pt x="218" y="564"/>
                  </a:lnTo>
                  <a:lnTo>
                    <a:pt x="214" y="564"/>
                  </a:lnTo>
                  <a:lnTo>
                    <a:pt x="214" y="568"/>
                  </a:lnTo>
                  <a:lnTo>
                    <a:pt x="214" y="570"/>
                  </a:lnTo>
                  <a:lnTo>
                    <a:pt x="213" y="571"/>
                  </a:lnTo>
                  <a:lnTo>
                    <a:pt x="214" y="571"/>
                  </a:lnTo>
                  <a:lnTo>
                    <a:pt x="214" y="573"/>
                  </a:lnTo>
                  <a:lnTo>
                    <a:pt x="214" y="576"/>
                  </a:lnTo>
                  <a:lnTo>
                    <a:pt x="211" y="575"/>
                  </a:lnTo>
                  <a:lnTo>
                    <a:pt x="209" y="575"/>
                  </a:lnTo>
                  <a:lnTo>
                    <a:pt x="208" y="575"/>
                  </a:lnTo>
                  <a:lnTo>
                    <a:pt x="208" y="573"/>
                  </a:lnTo>
                  <a:lnTo>
                    <a:pt x="206" y="575"/>
                  </a:lnTo>
                  <a:lnTo>
                    <a:pt x="204" y="573"/>
                  </a:lnTo>
                  <a:lnTo>
                    <a:pt x="201" y="573"/>
                  </a:lnTo>
                  <a:lnTo>
                    <a:pt x="201" y="571"/>
                  </a:lnTo>
                  <a:lnTo>
                    <a:pt x="199" y="571"/>
                  </a:lnTo>
                  <a:lnTo>
                    <a:pt x="196" y="573"/>
                  </a:lnTo>
                  <a:lnTo>
                    <a:pt x="194" y="575"/>
                  </a:lnTo>
                  <a:lnTo>
                    <a:pt x="192" y="573"/>
                  </a:lnTo>
                  <a:lnTo>
                    <a:pt x="192" y="571"/>
                  </a:lnTo>
                  <a:lnTo>
                    <a:pt x="189" y="570"/>
                  </a:lnTo>
                  <a:lnTo>
                    <a:pt x="187" y="570"/>
                  </a:lnTo>
                  <a:lnTo>
                    <a:pt x="184" y="570"/>
                  </a:lnTo>
                  <a:lnTo>
                    <a:pt x="182" y="571"/>
                  </a:lnTo>
                  <a:lnTo>
                    <a:pt x="180" y="570"/>
                  </a:lnTo>
                  <a:lnTo>
                    <a:pt x="179" y="571"/>
                  </a:lnTo>
                  <a:lnTo>
                    <a:pt x="177" y="570"/>
                  </a:lnTo>
                  <a:lnTo>
                    <a:pt x="177" y="568"/>
                  </a:lnTo>
                  <a:lnTo>
                    <a:pt x="174" y="568"/>
                  </a:lnTo>
                  <a:lnTo>
                    <a:pt x="174" y="566"/>
                  </a:lnTo>
                  <a:lnTo>
                    <a:pt x="172" y="564"/>
                  </a:lnTo>
                  <a:lnTo>
                    <a:pt x="172" y="563"/>
                  </a:lnTo>
                  <a:lnTo>
                    <a:pt x="170" y="563"/>
                  </a:lnTo>
                  <a:lnTo>
                    <a:pt x="168" y="561"/>
                  </a:lnTo>
                  <a:lnTo>
                    <a:pt x="168" y="559"/>
                  </a:lnTo>
                  <a:lnTo>
                    <a:pt x="167" y="559"/>
                  </a:lnTo>
                  <a:lnTo>
                    <a:pt x="165" y="558"/>
                  </a:lnTo>
                  <a:lnTo>
                    <a:pt x="163" y="558"/>
                  </a:lnTo>
                  <a:lnTo>
                    <a:pt x="162" y="559"/>
                  </a:lnTo>
                  <a:lnTo>
                    <a:pt x="160" y="561"/>
                  </a:lnTo>
                  <a:lnTo>
                    <a:pt x="160" y="559"/>
                  </a:lnTo>
                  <a:lnTo>
                    <a:pt x="158" y="559"/>
                  </a:lnTo>
                  <a:lnTo>
                    <a:pt x="155" y="558"/>
                  </a:lnTo>
                  <a:lnTo>
                    <a:pt x="153" y="559"/>
                  </a:lnTo>
                  <a:lnTo>
                    <a:pt x="151" y="561"/>
                  </a:lnTo>
                  <a:lnTo>
                    <a:pt x="151" y="558"/>
                  </a:lnTo>
                  <a:lnTo>
                    <a:pt x="150" y="559"/>
                  </a:lnTo>
                  <a:lnTo>
                    <a:pt x="150" y="556"/>
                  </a:lnTo>
                  <a:lnTo>
                    <a:pt x="148" y="554"/>
                  </a:lnTo>
                  <a:lnTo>
                    <a:pt x="146" y="553"/>
                  </a:lnTo>
                  <a:lnTo>
                    <a:pt x="145" y="553"/>
                  </a:lnTo>
                  <a:lnTo>
                    <a:pt x="145" y="551"/>
                  </a:lnTo>
                  <a:lnTo>
                    <a:pt x="145" y="549"/>
                  </a:lnTo>
                  <a:lnTo>
                    <a:pt x="145" y="547"/>
                  </a:lnTo>
                  <a:lnTo>
                    <a:pt x="143" y="546"/>
                  </a:lnTo>
                  <a:lnTo>
                    <a:pt x="141" y="546"/>
                  </a:lnTo>
                  <a:lnTo>
                    <a:pt x="138" y="546"/>
                  </a:lnTo>
                  <a:lnTo>
                    <a:pt x="136" y="544"/>
                  </a:lnTo>
                  <a:lnTo>
                    <a:pt x="133" y="546"/>
                  </a:lnTo>
                  <a:lnTo>
                    <a:pt x="133" y="544"/>
                  </a:lnTo>
                  <a:lnTo>
                    <a:pt x="131" y="544"/>
                  </a:lnTo>
                  <a:lnTo>
                    <a:pt x="131" y="542"/>
                  </a:lnTo>
                  <a:lnTo>
                    <a:pt x="129" y="542"/>
                  </a:lnTo>
                  <a:lnTo>
                    <a:pt x="128" y="541"/>
                  </a:lnTo>
                  <a:lnTo>
                    <a:pt x="126" y="539"/>
                  </a:lnTo>
                  <a:lnTo>
                    <a:pt x="124" y="541"/>
                  </a:lnTo>
                  <a:lnTo>
                    <a:pt x="123" y="537"/>
                  </a:lnTo>
                  <a:lnTo>
                    <a:pt x="121" y="536"/>
                  </a:lnTo>
                  <a:lnTo>
                    <a:pt x="117" y="537"/>
                  </a:lnTo>
                  <a:lnTo>
                    <a:pt x="116" y="534"/>
                  </a:lnTo>
                  <a:lnTo>
                    <a:pt x="117" y="532"/>
                  </a:lnTo>
                  <a:lnTo>
                    <a:pt x="119" y="530"/>
                  </a:lnTo>
                  <a:lnTo>
                    <a:pt x="116" y="530"/>
                  </a:lnTo>
                  <a:lnTo>
                    <a:pt x="114" y="532"/>
                  </a:lnTo>
                  <a:lnTo>
                    <a:pt x="114" y="536"/>
                  </a:lnTo>
                  <a:lnTo>
                    <a:pt x="114" y="537"/>
                  </a:lnTo>
                  <a:lnTo>
                    <a:pt x="112" y="537"/>
                  </a:lnTo>
                  <a:lnTo>
                    <a:pt x="112" y="536"/>
                  </a:lnTo>
                  <a:lnTo>
                    <a:pt x="109" y="536"/>
                  </a:lnTo>
                  <a:lnTo>
                    <a:pt x="107" y="532"/>
                  </a:lnTo>
                  <a:lnTo>
                    <a:pt x="109" y="530"/>
                  </a:lnTo>
                  <a:lnTo>
                    <a:pt x="111" y="530"/>
                  </a:lnTo>
                  <a:lnTo>
                    <a:pt x="112" y="529"/>
                  </a:lnTo>
                  <a:lnTo>
                    <a:pt x="112" y="527"/>
                  </a:lnTo>
                  <a:lnTo>
                    <a:pt x="112" y="525"/>
                  </a:lnTo>
                  <a:lnTo>
                    <a:pt x="114" y="525"/>
                  </a:lnTo>
                  <a:lnTo>
                    <a:pt x="114" y="522"/>
                  </a:lnTo>
                  <a:lnTo>
                    <a:pt x="114" y="520"/>
                  </a:lnTo>
                  <a:lnTo>
                    <a:pt x="112" y="519"/>
                  </a:lnTo>
                  <a:lnTo>
                    <a:pt x="112" y="520"/>
                  </a:lnTo>
                  <a:lnTo>
                    <a:pt x="109" y="519"/>
                  </a:lnTo>
                  <a:lnTo>
                    <a:pt x="109" y="517"/>
                  </a:lnTo>
                  <a:lnTo>
                    <a:pt x="107" y="517"/>
                  </a:lnTo>
                  <a:lnTo>
                    <a:pt x="106" y="517"/>
                  </a:lnTo>
                  <a:lnTo>
                    <a:pt x="104" y="520"/>
                  </a:lnTo>
                  <a:lnTo>
                    <a:pt x="102" y="519"/>
                  </a:lnTo>
                  <a:lnTo>
                    <a:pt x="102" y="517"/>
                  </a:lnTo>
                  <a:lnTo>
                    <a:pt x="102" y="515"/>
                  </a:lnTo>
                  <a:lnTo>
                    <a:pt x="100" y="513"/>
                  </a:lnTo>
                  <a:lnTo>
                    <a:pt x="99" y="513"/>
                  </a:lnTo>
                  <a:lnTo>
                    <a:pt x="97" y="515"/>
                  </a:lnTo>
                  <a:lnTo>
                    <a:pt x="97" y="512"/>
                  </a:lnTo>
                  <a:lnTo>
                    <a:pt x="95" y="510"/>
                  </a:lnTo>
                  <a:lnTo>
                    <a:pt x="95" y="508"/>
                  </a:lnTo>
                  <a:lnTo>
                    <a:pt x="97" y="508"/>
                  </a:lnTo>
                  <a:lnTo>
                    <a:pt x="99" y="508"/>
                  </a:lnTo>
                  <a:lnTo>
                    <a:pt x="100" y="508"/>
                  </a:lnTo>
                  <a:lnTo>
                    <a:pt x="102" y="508"/>
                  </a:lnTo>
                  <a:lnTo>
                    <a:pt x="104" y="508"/>
                  </a:lnTo>
                  <a:lnTo>
                    <a:pt x="106" y="507"/>
                  </a:lnTo>
                  <a:lnTo>
                    <a:pt x="107" y="505"/>
                  </a:lnTo>
                  <a:lnTo>
                    <a:pt x="107" y="503"/>
                  </a:lnTo>
                  <a:lnTo>
                    <a:pt x="109" y="503"/>
                  </a:lnTo>
                  <a:lnTo>
                    <a:pt x="111" y="500"/>
                  </a:lnTo>
                  <a:lnTo>
                    <a:pt x="112" y="498"/>
                  </a:lnTo>
                  <a:lnTo>
                    <a:pt x="114" y="495"/>
                  </a:lnTo>
                  <a:lnTo>
                    <a:pt x="116" y="493"/>
                  </a:lnTo>
                  <a:lnTo>
                    <a:pt x="116" y="491"/>
                  </a:lnTo>
                  <a:lnTo>
                    <a:pt x="116" y="490"/>
                  </a:lnTo>
                  <a:lnTo>
                    <a:pt x="117" y="488"/>
                  </a:lnTo>
                  <a:lnTo>
                    <a:pt x="117" y="486"/>
                  </a:lnTo>
                  <a:lnTo>
                    <a:pt x="119" y="483"/>
                  </a:lnTo>
                  <a:lnTo>
                    <a:pt x="121" y="479"/>
                  </a:lnTo>
                  <a:lnTo>
                    <a:pt x="121" y="476"/>
                  </a:lnTo>
                  <a:lnTo>
                    <a:pt x="123" y="474"/>
                  </a:lnTo>
                  <a:lnTo>
                    <a:pt x="123" y="473"/>
                  </a:lnTo>
                  <a:lnTo>
                    <a:pt x="124" y="469"/>
                  </a:lnTo>
                  <a:lnTo>
                    <a:pt x="126" y="462"/>
                  </a:lnTo>
                  <a:lnTo>
                    <a:pt x="128" y="461"/>
                  </a:lnTo>
                  <a:lnTo>
                    <a:pt x="128" y="457"/>
                  </a:lnTo>
                  <a:lnTo>
                    <a:pt x="129" y="454"/>
                  </a:lnTo>
                  <a:lnTo>
                    <a:pt x="131" y="450"/>
                  </a:lnTo>
                  <a:lnTo>
                    <a:pt x="131" y="449"/>
                  </a:lnTo>
                  <a:lnTo>
                    <a:pt x="133" y="445"/>
                  </a:lnTo>
                  <a:lnTo>
                    <a:pt x="133" y="442"/>
                  </a:lnTo>
                  <a:lnTo>
                    <a:pt x="134" y="437"/>
                  </a:lnTo>
                  <a:lnTo>
                    <a:pt x="134" y="435"/>
                  </a:lnTo>
                  <a:lnTo>
                    <a:pt x="134" y="432"/>
                  </a:lnTo>
                  <a:lnTo>
                    <a:pt x="136" y="432"/>
                  </a:lnTo>
                  <a:lnTo>
                    <a:pt x="138" y="428"/>
                  </a:lnTo>
                  <a:lnTo>
                    <a:pt x="138" y="427"/>
                  </a:lnTo>
                  <a:lnTo>
                    <a:pt x="140" y="425"/>
                  </a:lnTo>
                  <a:lnTo>
                    <a:pt x="140" y="423"/>
                  </a:lnTo>
                  <a:lnTo>
                    <a:pt x="141" y="425"/>
                  </a:lnTo>
                  <a:lnTo>
                    <a:pt x="141" y="427"/>
                  </a:lnTo>
                  <a:lnTo>
                    <a:pt x="141" y="425"/>
                  </a:lnTo>
                  <a:lnTo>
                    <a:pt x="143" y="427"/>
                  </a:lnTo>
                  <a:lnTo>
                    <a:pt x="145" y="427"/>
                  </a:lnTo>
                  <a:lnTo>
                    <a:pt x="146" y="425"/>
                  </a:lnTo>
                  <a:lnTo>
                    <a:pt x="148" y="427"/>
                  </a:lnTo>
                  <a:lnTo>
                    <a:pt x="148" y="425"/>
                  </a:lnTo>
                  <a:lnTo>
                    <a:pt x="148" y="423"/>
                  </a:lnTo>
                  <a:lnTo>
                    <a:pt x="146" y="423"/>
                  </a:lnTo>
                  <a:lnTo>
                    <a:pt x="148" y="423"/>
                  </a:lnTo>
                  <a:lnTo>
                    <a:pt x="146" y="422"/>
                  </a:lnTo>
                  <a:lnTo>
                    <a:pt x="146" y="420"/>
                  </a:lnTo>
                  <a:lnTo>
                    <a:pt x="145" y="418"/>
                  </a:lnTo>
                  <a:lnTo>
                    <a:pt x="143" y="418"/>
                  </a:lnTo>
                  <a:lnTo>
                    <a:pt x="143" y="416"/>
                  </a:lnTo>
                  <a:lnTo>
                    <a:pt x="141" y="418"/>
                  </a:lnTo>
                  <a:lnTo>
                    <a:pt x="140" y="420"/>
                  </a:lnTo>
                  <a:lnTo>
                    <a:pt x="138" y="422"/>
                  </a:lnTo>
                  <a:lnTo>
                    <a:pt x="136" y="425"/>
                  </a:lnTo>
                  <a:lnTo>
                    <a:pt x="136" y="427"/>
                  </a:lnTo>
                  <a:lnTo>
                    <a:pt x="136" y="425"/>
                  </a:lnTo>
                  <a:lnTo>
                    <a:pt x="136" y="423"/>
                  </a:lnTo>
                  <a:lnTo>
                    <a:pt x="138" y="420"/>
                  </a:lnTo>
                  <a:lnTo>
                    <a:pt x="138" y="418"/>
                  </a:lnTo>
                  <a:lnTo>
                    <a:pt x="138" y="416"/>
                  </a:lnTo>
                  <a:lnTo>
                    <a:pt x="138" y="415"/>
                  </a:lnTo>
                  <a:lnTo>
                    <a:pt x="140" y="415"/>
                  </a:lnTo>
                  <a:lnTo>
                    <a:pt x="140" y="413"/>
                  </a:lnTo>
                  <a:lnTo>
                    <a:pt x="140" y="411"/>
                  </a:lnTo>
                  <a:lnTo>
                    <a:pt x="140" y="410"/>
                  </a:lnTo>
                  <a:lnTo>
                    <a:pt x="141" y="406"/>
                  </a:lnTo>
                  <a:lnTo>
                    <a:pt x="141" y="403"/>
                  </a:lnTo>
                  <a:lnTo>
                    <a:pt x="143" y="399"/>
                  </a:lnTo>
                  <a:lnTo>
                    <a:pt x="145" y="396"/>
                  </a:lnTo>
                  <a:lnTo>
                    <a:pt x="145" y="391"/>
                  </a:lnTo>
                  <a:lnTo>
                    <a:pt x="146" y="388"/>
                  </a:lnTo>
                  <a:lnTo>
                    <a:pt x="146" y="382"/>
                  </a:lnTo>
                  <a:lnTo>
                    <a:pt x="148" y="381"/>
                  </a:lnTo>
                  <a:lnTo>
                    <a:pt x="148" y="377"/>
                  </a:lnTo>
                  <a:lnTo>
                    <a:pt x="148" y="376"/>
                  </a:lnTo>
                  <a:lnTo>
                    <a:pt x="150" y="374"/>
                  </a:lnTo>
                  <a:lnTo>
                    <a:pt x="150" y="372"/>
                  </a:lnTo>
                  <a:lnTo>
                    <a:pt x="150" y="371"/>
                  </a:lnTo>
                  <a:lnTo>
                    <a:pt x="150" y="367"/>
                  </a:lnTo>
                  <a:lnTo>
                    <a:pt x="151" y="365"/>
                  </a:lnTo>
                  <a:lnTo>
                    <a:pt x="153" y="364"/>
                  </a:lnTo>
                  <a:lnTo>
                    <a:pt x="155" y="362"/>
                  </a:lnTo>
                  <a:lnTo>
                    <a:pt x="157" y="362"/>
                  </a:lnTo>
                  <a:lnTo>
                    <a:pt x="157" y="364"/>
                  </a:lnTo>
                  <a:lnTo>
                    <a:pt x="155" y="364"/>
                  </a:lnTo>
                  <a:lnTo>
                    <a:pt x="155" y="365"/>
                  </a:lnTo>
                  <a:lnTo>
                    <a:pt x="157" y="367"/>
                  </a:lnTo>
                  <a:lnTo>
                    <a:pt x="158" y="369"/>
                  </a:lnTo>
                  <a:lnTo>
                    <a:pt x="158" y="371"/>
                  </a:lnTo>
                  <a:lnTo>
                    <a:pt x="162" y="372"/>
                  </a:lnTo>
                  <a:lnTo>
                    <a:pt x="162" y="374"/>
                  </a:lnTo>
                  <a:lnTo>
                    <a:pt x="163" y="374"/>
                  </a:lnTo>
                  <a:lnTo>
                    <a:pt x="165" y="377"/>
                  </a:lnTo>
                  <a:lnTo>
                    <a:pt x="167" y="379"/>
                  </a:lnTo>
                  <a:lnTo>
                    <a:pt x="167" y="381"/>
                  </a:lnTo>
                  <a:lnTo>
                    <a:pt x="167" y="384"/>
                  </a:lnTo>
                  <a:lnTo>
                    <a:pt x="168" y="388"/>
                  </a:lnTo>
                  <a:lnTo>
                    <a:pt x="167" y="389"/>
                  </a:lnTo>
                  <a:lnTo>
                    <a:pt x="167" y="391"/>
                  </a:lnTo>
                  <a:lnTo>
                    <a:pt x="168" y="393"/>
                  </a:lnTo>
                  <a:lnTo>
                    <a:pt x="168" y="394"/>
                  </a:lnTo>
                  <a:lnTo>
                    <a:pt x="168" y="396"/>
                  </a:lnTo>
                  <a:lnTo>
                    <a:pt x="168" y="398"/>
                  </a:lnTo>
                  <a:lnTo>
                    <a:pt x="170" y="399"/>
                  </a:lnTo>
                  <a:lnTo>
                    <a:pt x="172" y="403"/>
                  </a:lnTo>
                  <a:lnTo>
                    <a:pt x="172" y="405"/>
                  </a:lnTo>
                  <a:lnTo>
                    <a:pt x="174" y="405"/>
                  </a:lnTo>
                  <a:lnTo>
                    <a:pt x="175" y="406"/>
                  </a:lnTo>
                  <a:lnTo>
                    <a:pt x="175" y="408"/>
                  </a:lnTo>
                  <a:lnTo>
                    <a:pt x="174" y="410"/>
                  </a:lnTo>
                  <a:lnTo>
                    <a:pt x="174" y="413"/>
                  </a:lnTo>
                  <a:lnTo>
                    <a:pt x="175" y="413"/>
                  </a:lnTo>
                  <a:lnTo>
                    <a:pt x="174" y="410"/>
                  </a:lnTo>
                  <a:lnTo>
                    <a:pt x="175" y="408"/>
                  </a:lnTo>
                  <a:lnTo>
                    <a:pt x="175" y="406"/>
                  </a:lnTo>
                  <a:lnTo>
                    <a:pt x="175" y="405"/>
                  </a:lnTo>
                  <a:lnTo>
                    <a:pt x="174" y="403"/>
                  </a:lnTo>
                  <a:lnTo>
                    <a:pt x="172" y="401"/>
                  </a:lnTo>
                  <a:lnTo>
                    <a:pt x="174" y="403"/>
                  </a:lnTo>
                  <a:lnTo>
                    <a:pt x="175" y="405"/>
                  </a:lnTo>
                  <a:lnTo>
                    <a:pt x="177" y="405"/>
                  </a:lnTo>
                  <a:lnTo>
                    <a:pt x="179" y="406"/>
                  </a:lnTo>
                  <a:lnTo>
                    <a:pt x="179" y="408"/>
                  </a:lnTo>
                  <a:lnTo>
                    <a:pt x="179" y="406"/>
                  </a:lnTo>
                  <a:lnTo>
                    <a:pt x="177" y="405"/>
                  </a:lnTo>
                  <a:lnTo>
                    <a:pt x="175" y="403"/>
                  </a:lnTo>
                  <a:lnTo>
                    <a:pt x="174" y="401"/>
                  </a:lnTo>
                  <a:lnTo>
                    <a:pt x="172" y="399"/>
                  </a:lnTo>
                  <a:lnTo>
                    <a:pt x="172" y="398"/>
                  </a:lnTo>
                  <a:lnTo>
                    <a:pt x="170" y="396"/>
                  </a:lnTo>
                  <a:lnTo>
                    <a:pt x="170" y="393"/>
                  </a:lnTo>
                  <a:lnTo>
                    <a:pt x="170" y="389"/>
                  </a:lnTo>
                  <a:lnTo>
                    <a:pt x="170" y="388"/>
                  </a:lnTo>
                  <a:lnTo>
                    <a:pt x="170" y="386"/>
                  </a:lnTo>
                  <a:lnTo>
                    <a:pt x="170" y="384"/>
                  </a:lnTo>
                  <a:lnTo>
                    <a:pt x="170" y="381"/>
                  </a:lnTo>
                  <a:lnTo>
                    <a:pt x="170" y="379"/>
                  </a:lnTo>
                  <a:lnTo>
                    <a:pt x="168" y="376"/>
                  </a:lnTo>
                  <a:lnTo>
                    <a:pt x="168" y="374"/>
                  </a:lnTo>
                  <a:lnTo>
                    <a:pt x="168" y="372"/>
                  </a:lnTo>
                  <a:lnTo>
                    <a:pt x="167" y="369"/>
                  </a:lnTo>
                  <a:lnTo>
                    <a:pt x="165" y="367"/>
                  </a:lnTo>
                  <a:lnTo>
                    <a:pt x="163" y="365"/>
                  </a:lnTo>
                  <a:lnTo>
                    <a:pt x="163" y="364"/>
                  </a:lnTo>
                  <a:lnTo>
                    <a:pt x="160" y="364"/>
                  </a:lnTo>
                  <a:lnTo>
                    <a:pt x="160" y="362"/>
                  </a:lnTo>
                  <a:lnTo>
                    <a:pt x="160" y="360"/>
                  </a:lnTo>
                  <a:lnTo>
                    <a:pt x="158" y="359"/>
                  </a:lnTo>
                  <a:lnTo>
                    <a:pt x="157" y="359"/>
                  </a:lnTo>
                  <a:lnTo>
                    <a:pt x="157" y="357"/>
                  </a:lnTo>
                  <a:lnTo>
                    <a:pt x="155" y="355"/>
                  </a:lnTo>
                  <a:lnTo>
                    <a:pt x="151" y="354"/>
                  </a:lnTo>
                  <a:lnTo>
                    <a:pt x="150" y="352"/>
                  </a:lnTo>
                  <a:lnTo>
                    <a:pt x="151" y="354"/>
                  </a:lnTo>
                  <a:lnTo>
                    <a:pt x="148" y="354"/>
                  </a:lnTo>
                  <a:lnTo>
                    <a:pt x="148" y="352"/>
                  </a:lnTo>
                  <a:lnTo>
                    <a:pt x="150" y="350"/>
                  </a:lnTo>
                  <a:lnTo>
                    <a:pt x="150" y="347"/>
                  </a:lnTo>
                  <a:lnTo>
                    <a:pt x="150" y="345"/>
                  </a:lnTo>
                  <a:lnTo>
                    <a:pt x="151" y="345"/>
                  </a:lnTo>
                  <a:lnTo>
                    <a:pt x="153" y="345"/>
                  </a:lnTo>
                  <a:lnTo>
                    <a:pt x="155" y="345"/>
                  </a:lnTo>
                  <a:lnTo>
                    <a:pt x="155" y="343"/>
                  </a:lnTo>
                  <a:lnTo>
                    <a:pt x="153" y="342"/>
                  </a:lnTo>
                  <a:lnTo>
                    <a:pt x="157" y="342"/>
                  </a:lnTo>
                  <a:lnTo>
                    <a:pt x="157" y="340"/>
                  </a:lnTo>
                  <a:lnTo>
                    <a:pt x="158" y="338"/>
                  </a:lnTo>
                  <a:lnTo>
                    <a:pt x="158" y="337"/>
                  </a:lnTo>
                  <a:lnTo>
                    <a:pt x="157" y="335"/>
                  </a:lnTo>
                  <a:lnTo>
                    <a:pt x="160" y="335"/>
                  </a:lnTo>
                  <a:lnTo>
                    <a:pt x="162" y="335"/>
                  </a:lnTo>
                  <a:lnTo>
                    <a:pt x="163" y="335"/>
                  </a:lnTo>
                  <a:lnTo>
                    <a:pt x="162" y="337"/>
                  </a:lnTo>
                  <a:lnTo>
                    <a:pt x="163" y="338"/>
                  </a:lnTo>
                  <a:lnTo>
                    <a:pt x="162" y="337"/>
                  </a:lnTo>
                  <a:lnTo>
                    <a:pt x="163" y="335"/>
                  </a:lnTo>
                  <a:lnTo>
                    <a:pt x="162" y="335"/>
                  </a:lnTo>
                  <a:lnTo>
                    <a:pt x="160" y="335"/>
                  </a:lnTo>
                  <a:lnTo>
                    <a:pt x="160" y="333"/>
                  </a:lnTo>
                  <a:lnTo>
                    <a:pt x="158" y="331"/>
                  </a:lnTo>
                  <a:lnTo>
                    <a:pt x="160" y="331"/>
                  </a:lnTo>
                  <a:lnTo>
                    <a:pt x="162" y="330"/>
                  </a:lnTo>
                  <a:lnTo>
                    <a:pt x="160" y="328"/>
                  </a:lnTo>
                  <a:lnTo>
                    <a:pt x="160" y="325"/>
                  </a:lnTo>
                  <a:lnTo>
                    <a:pt x="158" y="325"/>
                  </a:lnTo>
                  <a:lnTo>
                    <a:pt x="158" y="323"/>
                  </a:lnTo>
                  <a:lnTo>
                    <a:pt x="157" y="321"/>
                  </a:lnTo>
                  <a:lnTo>
                    <a:pt x="158" y="320"/>
                  </a:lnTo>
                  <a:lnTo>
                    <a:pt x="155" y="321"/>
                  </a:lnTo>
                  <a:lnTo>
                    <a:pt x="153" y="320"/>
                  </a:lnTo>
                  <a:lnTo>
                    <a:pt x="155" y="320"/>
                  </a:lnTo>
                  <a:lnTo>
                    <a:pt x="153" y="320"/>
                  </a:lnTo>
                  <a:lnTo>
                    <a:pt x="155" y="318"/>
                  </a:lnTo>
                  <a:lnTo>
                    <a:pt x="157" y="316"/>
                  </a:lnTo>
                  <a:lnTo>
                    <a:pt x="158" y="316"/>
                  </a:lnTo>
                  <a:lnTo>
                    <a:pt x="160" y="314"/>
                  </a:lnTo>
                  <a:lnTo>
                    <a:pt x="160" y="313"/>
                  </a:lnTo>
                  <a:lnTo>
                    <a:pt x="160" y="309"/>
                  </a:lnTo>
                  <a:lnTo>
                    <a:pt x="158" y="309"/>
                  </a:lnTo>
                  <a:lnTo>
                    <a:pt x="157" y="313"/>
                  </a:lnTo>
                  <a:lnTo>
                    <a:pt x="155" y="311"/>
                  </a:lnTo>
                  <a:lnTo>
                    <a:pt x="153" y="309"/>
                  </a:lnTo>
                  <a:lnTo>
                    <a:pt x="153" y="311"/>
                  </a:lnTo>
                  <a:lnTo>
                    <a:pt x="151" y="309"/>
                  </a:lnTo>
                  <a:lnTo>
                    <a:pt x="151" y="308"/>
                  </a:lnTo>
                  <a:lnTo>
                    <a:pt x="150" y="306"/>
                  </a:lnTo>
                  <a:lnTo>
                    <a:pt x="148" y="306"/>
                  </a:lnTo>
                  <a:lnTo>
                    <a:pt x="146" y="304"/>
                  </a:lnTo>
                  <a:lnTo>
                    <a:pt x="145" y="304"/>
                  </a:lnTo>
                  <a:lnTo>
                    <a:pt x="145" y="302"/>
                  </a:lnTo>
                  <a:lnTo>
                    <a:pt x="143" y="301"/>
                  </a:lnTo>
                  <a:lnTo>
                    <a:pt x="141" y="299"/>
                  </a:lnTo>
                  <a:lnTo>
                    <a:pt x="140" y="299"/>
                  </a:lnTo>
                  <a:lnTo>
                    <a:pt x="138" y="299"/>
                  </a:lnTo>
                  <a:lnTo>
                    <a:pt x="136" y="297"/>
                  </a:lnTo>
                  <a:lnTo>
                    <a:pt x="138" y="297"/>
                  </a:lnTo>
                  <a:lnTo>
                    <a:pt x="136" y="297"/>
                  </a:lnTo>
                  <a:lnTo>
                    <a:pt x="134" y="296"/>
                  </a:lnTo>
                  <a:lnTo>
                    <a:pt x="133" y="294"/>
                  </a:lnTo>
                  <a:lnTo>
                    <a:pt x="131" y="292"/>
                  </a:lnTo>
                  <a:lnTo>
                    <a:pt x="131" y="291"/>
                  </a:lnTo>
                  <a:lnTo>
                    <a:pt x="131" y="292"/>
                  </a:lnTo>
                  <a:lnTo>
                    <a:pt x="129" y="292"/>
                  </a:lnTo>
                  <a:lnTo>
                    <a:pt x="129" y="289"/>
                  </a:lnTo>
                  <a:lnTo>
                    <a:pt x="129" y="287"/>
                  </a:lnTo>
                  <a:lnTo>
                    <a:pt x="129" y="285"/>
                  </a:lnTo>
                  <a:lnTo>
                    <a:pt x="129" y="284"/>
                  </a:lnTo>
                  <a:lnTo>
                    <a:pt x="128" y="280"/>
                  </a:lnTo>
                  <a:lnTo>
                    <a:pt x="128" y="279"/>
                  </a:lnTo>
                  <a:lnTo>
                    <a:pt x="126" y="277"/>
                  </a:lnTo>
                  <a:lnTo>
                    <a:pt x="124" y="277"/>
                  </a:lnTo>
                  <a:lnTo>
                    <a:pt x="124" y="275"/>
                  </a:lnTo>
                  <a:lnTo>
                    <a:pt x="123" y="272"/>
                  </a:lnTo>
                  <a:lnTo>
                    <a:pt x="121" y="270"/>
                  </a:lnTo>
                  <a:lnTo>
                    <a:pt x="119" y="267"/>
                  </a:lnTo>
                  <a:lnTo>
                    <a:pt x="117" y="267"/>
                  </a:lnTo>
                  <a:lnTo>
                    <a:pt x="117" y="265"/>
                  </a:lnTo>
                  <a:lnTo>
                    <a:pt x="119" y="263"/>
                  </a:lnTo>
                  <a:lnTo>
                    <a:pt x="117" y="262"/>
                  </a:lnTo>
                  <a:lnTo>
                    <a:pt x="119" y="262"/>
                  </a:lnTo>
                  <a:lnTo>
                    <a:pt x="121" y="260"/>
                  </a:lnTo>
                  <a:lnTo>
                    <a:pt x="123" y="258"/>
                  </a:lnTo>
                  <a:lnTo>
                    <a:pt x="124" y="258"/>
                  </a:lnTo>
                  <a:lnTo>
                    <a:pt x="126" y="255"/>
                  </a:lnTo>
                  <a:lnTo>
                    <a:pt x="128" y="253"/>
                  </a:lnTo>
                  <a:lnTo>
                    <a:pt x="128" y="251"/>
                  </a:lnTo>
                  <a:lnTo>
                    <a:pt x="126" y="250"/>
                  </a:lnTo>
                  <a:lnTo>
                    <a:pt x="126" y="248"/>
                  </a:lnTo>
                  <a:lnTo>
                    <a:pt x="123" y="246"/>
                  </a:lnTo>
                  <a:lnTo>
                    <a:pt x="121" y="246"/>
                  </a:lnTo>
                  <a:lnTo>
                    <a:pt x="117" y="245"/>
                  </a:lnTo>
                  <a:lnTo>
                    <a:pt x="119" y="243"/>
                  </a:lnTo>
                  <a:lnTo>
                    <a:pt x="121" y="243"/>
                  </a:lnTo>
                  <a:lnTo>
                    <a:pt x="123" y="240"/>
                  </a:lnTo>
                  <a:lnTo>
                    <a:pt x="121" y="238"/>
                  </a:lnTo>
                  <a:lnTo>
                    <a:pt x="123" y="234"/>
                  </a:lnTo>
                  <a:lnTo>
                    <a:pt x="126" y="234"/>
                  </a:lnTo>
                  <a:lnTo>
                    <a:pt x="128" y="234"/>
                  </a:lnTo>
                  <a:lnTo>
                    <a:pt x="129" y="234"/>
                  </a:lnTo>
                  <a:lnTo>
                    <a:pt x="128" y="233"/>
                  </a:lnTo>
                  <a:lnTo>
                    <a:pt x="126" y="233"/>
                  </a:lnTo>
                  <a:lnTo>
                    <a:pt x="124" y="233"/>
                  </a:lnTo>
                  <a:lnTo>
                    <a:pt x="123" y="234"/>
                  </a:lnTo>
                  <a:lnTo>
                    <a:pt x="123" y="233"/>
                  </a:lnTo>
                  <a:lnTo>
                    <a:pt x="121" y="234"/>
                  </a:lnTo>
                  <a:lnTo>
                    <a:pt x="119" y="234"/>
                  </a:lnTo>
                  <a:lnTo>
                    <a:pt x="119" y="236"/>
                  </a:lnTo>
                  <a:lnTo>
                    <a:pt x="117" y="236"/>
                  </a:lnTo>
                  <a:lnTo>
                    <a:pt x="116" y="236"/>
                  </a:lnTo>
                  <a:lnTo>
                    <a:pt x="114" y="234"/>
                  </a:lnTo>
                  <a:lnTo>
                    <a:pt x="112" y="233"/>
                  </a:lnTo>
                  <a:lnTo>
                    <a:pt x="111" y="233"/>
                  </a:lnTo>
                  <a:lnTo>
                    <a:pt x="109" y="234"/>
                  </a:lnTo>
                  <a:lnTo>
                    <a:pt x="109" y="233"/>
                  </a:lnTo>
                  <a:lnTo>
                    <a:pt x="107" y="233"/>
                  </a:lnTo>
                  <a:lnTo>
                    <a:pt x="104" y="231"/>
                  </a:lnTo>
                  <a:lnTo>
                    <a:pt x="106" y="229"/>
                  </a:lnTo>
                  <a:lnTo>
                    <a:pt x="107" y="231"/>
                  </a:lnTo>
                  <a:lnTo>
                    <a:pt x="107" y="229"/>
                  </a:lnTo>
                  <a:lnTo>
                    <a:pt x="109" y="229"/>
                  </a:lnTo>
                  <a:lnTo>
                    <a:pt x="106" y="229"/>
                  </a:lnTo>
                  <a:lnTo>
                    <a:pt x="107" y="228"/>
                  </a:lnTo>
                  <a:lnTo>
                    <a:pt x="107" y="226"/>
                  </a:lnTo>
                  <a:lnTo>
                    <a:pt x="106" y="224"/>
                  </a:lnTo>
                  <a:lnTo>
                    <a:pt x="109" y="223"/>
                  </a:lnTo>
                  <a:lnTo>
                    <a:pt x="111" y="223"/>
                  </a:lnTo>
                  <a:lnTo>
                    <a:pt x="112" y="223"/>
                  </a:lnTo>
                  <a:lnTo>
                    <a:pt x="111" y="223"/>
                  </a:lnTo>
                  <a:lnTo>
                    <a:pt x="111" y="221"/>
                  </a:lnTo>
                  <a:lnTo>
                    <a:pt x="109" y="221"/>
                  </a:lnTo>
                  <a:lnTo>
                    <a:pt x="109" y="217"/>
                  </a:lnTo>
                  <a:lnTo>
                    <a:pt x="111" y="217"/>
                  </a:lnTo>
                  <a:lnTo>
                    <a:pt x="114" y="217"/>
                  </a:lnTo>
                  <a:lnTo>
                    <a:pt x="112" y="217"/>
                  </a:lnTo>
                  <a:lnTo>
                    <a:pt x="111" y="216"/>
                  </a:lnTo>
                  <a:lnTo>
                    <a:pt x="109" y="216"/>
                  </a:lnTo>
                  <a:lnTo>
                    <a:pt x="109" y="214"/>
                  </a:lnTo>
                  <a:lnTo>
                    <a:pt x="107" y="216"/>
                  </a:lnTo>
                  <a:lnTo>
                    <a:pt x="106" y="214"/>
                  </a:lnTo>
                  <a:lnTo>
                    <a:pt x="104" y="216"/>
                  </a:lnTo>
                  <a:lnTo>
                    <a:pt x="106" y="214"/>
                  </a:lnTo>
                  <a:lnTo>
                    <a:pt x="107" y="212"/>
                  </a:lnTo>
                  <a:lnTo>
                    <a:pt x="106" y="214"/>
                  </a:lnTo>
                  <a:lnTo>
                    <a:pt x="102" y="212"/>
                  </a:lnTo>
                  <a:lnTo>
                    <a:pt x="104" y="214"/>
                  </a:lnTo>
                  <a:lnTo>
                    <a:pt x="102" y="214"/>
                  </a:lnTo>
                  <a:lnTo>
                    <a:pt x="100" y="216"/>
                  </a:lnTo>
                  <a:lnTo>
                    <a:pt x="99" y="214"/>
                  </a:lnTo>
                  <a:lnTo>
                    <a:pt x="97" y="214"/>
                  </a:lnTo>
                  <a:lnTo>
                    <a:pt x="95" y="216"/>
                  </a:lnTo>
                  <a:lnTo>
                    <a:pt x="94" y="214"/>
                  </a:lnTo>
                  <a:lnTo>
                    <a:pt x="92" y="212"/>
                  </a:lnTo>
                  <a:lnTo>
                    <a:pt x="90" y="209"/>
                  </a:lnTo>
                  <a:lnTo>
                    <a:pt x="92" y="209"/>
                  </a:lnTo>
                  <a:lnTo>
                    <a:pt x="94" y="211"/>
                  </a:lnTo>
                  <a:lnTo>
                    <a:pt x="95" y="211"/>
                  </a:lnTo>
                  <a:lnTo>
                    <a:pt x="95" y="212"/>
                  </a:lnTo>
                  <a:lnTo>
                    <a:pt x="97" y="211"/>
                  </a:lnTo>
                  <a:lnTo>
                    <a:pt x="97" y="212"/>
                  </a:lnTo>
                  <a:lnTo>
                    <a:pt x="99" y="212"/>
                  </a:lnTo>
                  <a:lnTo>
                    <a:pt x="99" y="211"/>
                  </a:lnTo>
                  <a:lnTo>
                    <a:pt x="102" y="209"/>
                  </a:lnTo>
                  <a:lnTo>
                    <a:pt x="102" y="207"/>
                  </a:lnTo>
                  <a:lnTo>
                    <a:pt x="102" y="206"/>
                  </a:lnTo>
                  <a:lnTo>
                    <a:pt x="102" y="207"/>
                  </a:lnTo>
                  <a:lnTo>
                    <a:pt x="100" y="209"/>
                  </a:lnTo>
                  <a:lnTo>
                    <a:pt x="100" y="207"/>
                  </a:lnTo>
                  <a:lnTo>
                    <a:pt x="97" y="206"/>
                  </a:lnTo>
                  <a:lnTo>
                    <a:pt x="100" y="207"/>
                  </a:lnTo>
                  <a:lnTo>
                    <a:pt x="99" y="206"/>
                  </a:lnTo>
                  <a:lnTo>
                    <a:pt x="97" y="206"/>
                  </a:lnTo>
                  <a:lnTo>
                    <a:pt x="95" y="206"/>
                  </a:lnTo>
                  <a:lnTo>
                    <a:pt x="94" y="206"/>
                  </a:lnTo>
                  <a:lnTo>
                    <a:pt x="94" y="207"/>
                  </a:lnTo>
                  <a:lnTo>
                    <a:pt x="92" y="207"/>
                  </a:lnTo>
                  <a:lnTo>
                    <a:pt x="90" y="207"/>
                  </a:lnTo>
                  <a:lnTo>
                    <a:pt x="90" y="206"/>
                  </a:lnTo>
                  <a:lnTo>
                    <a:pt x="90" y="207"/>
                  </a:lnTo>
                  <a:lnTo>
                    <a:pt x="90" y="206"/>
                  </a:lnTo>
                  <a:lnTo>
                    <a:pt x="90" y="204"/>
                  </a:lnTo>
                  <a:lnTo>
                    <a:pt x="89" y="206"/>
                  </a:lnTo>
                  <a:lnTo>
                    <a:pt x="89" y="207"/>
                  </a:lnTo>
                  <a:lnTo>
                    <a:pt x="90" y="207"/>
                  </a:lnTo>
                  <a:lnTo>
                    <a:pt x="90" y="209"/>
                  </a:lnTo>
                  <a:lnTo>
                    <a:pt x="89" y="209"/>
                  </a:lnTo>
                  <a:lnTo>
                    <a:pt x="87" y="206"/>
                  </a:lnTo>
                  <a:lnTo>
                    <a:pt x="87" y="207"/>
                  </a:lnTo>
                  <a:lnTo>
                    <a:pt x="87" y="206"/>
                  </a:lnTo>
                  <a:lnTo>
                    <a:pt x="87" y="207"/>
                  </a:lnTo>
                  <a:lnTo>
                    <a:pt x="85" y="207"/>
                  </a:lnTo>
                  <a:lnTo>
                    <a:pt x="82" y="207"/>
                  </a:lnTo>
                  <a:lnTo>
                    <a:pt x="83" y="206"/>
                  </a:lnTo>
                  <a:lnTo>
                    <a:pt x="82" y="204"/>
                  </a:lnTo>
                  <a:lnTo>
                    <a:pt x="80" y="206"/>
                  </a:lnTo>
                  <a:lnTo>
                    <a:pt x="82" y="206"/>
                  </a:lnTo>
                  <a:lnTo>
                    <a:pt x="80" y="207"/>
                  </a:lnTo>
                  <a:lnTo>
                    <a:pt x="80" y="211"/>
                  </a:lnTo>
                  <a:lnTo>
                    <a:pt x="80" y="212"/>
                  </a:lnTo>
                  <a:lnTo>
                    <a:pt x="82" y="214"/>
                  </a:lnTo>
                  <a:lnTo>
                    <a:pt x="80" y="212"/>
                  </a:lnTo>
                  <a:lnTo>
                    <a:pt x="78" y="212"/>
                  </a:lnTo>
                  <a:lnTo>
                    <a:pt x="78" y="209"/>
                  </a:lnTo>
                  <a:lnTo>
                    <a:pt x="80" y="209"/>
                  </a:lnTo>
                  <a:lnTo>
                    <a:pt x="80" y="207"/>
                  </a:lnTo>
                  <a:lnTo>
                    <a:pt x="80" y="206"/>
                  </a:lnTo>
                  <a:lnTo>
                    <a:pt x="80" y="204"/>
                  </a:lnTo>
                  <a:lnTo>
                    <a:pt x="78" y="202"/>
                  </a:lnTo>
                  <a:lnTo>
                    <a:pt x="78" y="200"/>
                  </a:lnTo>
                  <a:lnTo>
                    <a:pt x="77" y="199"/>
                  </a:lnTo>
                  <a:lnTo>
                    <a:pt x="75" y="197"/>
                  </a:lnTo>
                  <a:lnTo>
                    <a:pt x="73" y="195"/>
                  </a:lnTo>
                  <a:lnTo>
                    <a:pt x="72" y="197"/>
                  </a:lnTo>
                  <a:lnTo>
                    <a:pt x="72" y="195"/>
                  </a:lnTo>
                  <a:lnTo>
                    <a:pt x="73" y="195"/>
                  </a:lnTo>
                  <a:lnTo>
                    <a:pt x="75" y="197"/>
                  </a:lnTo>
                  <a:lnTo>
                    <a:pt x="75" y="195"/>
                  </a:lnTo>
                  <a:lnTo>
                    <a:pt x="72" y="195"/>
                  </a:lnTo>
                  <a:lnTo>
                    <a:pt x="73" y="195"/>
                  </a:lnTo>
                  <a:lnTo>
                    <a:pt x="73" y="194"/>
                  </a:lnTo>
                  <a:lnTo>
                    <a:pt x="75" y="192"/>
                  </a:lnTo>
                  <a:lnTo>
                    <a:pt x="73" y="194"/>
                  </a:lnTo>
                  <a:lnTo>
                    <a:pt x="73" y="192"/>
                  </a:lnTo>
                  <a:lnTo>
                    <a:pt x="72" y="194"/>
                  </a:lnTo>
                  <a:lnTo>
                    <a:pt x="72" y="195"/>
                  </a:lnTo>
                  <a:lnTo>
                    <a:pt x="68" y="195"/>
                  </a:lnTo>
                  <a:lnTo>
                    <a:pt x="66" y="194"/>
                  </a:lnTo>
                  <a:lnTo>
                    <a:pt x="65" y="190"/>
                  </a:lnTo>
                  <a:lnTo>
                    <a:pt x="63" y="190"/>
                  </a:lnTo>
                  <a:lnTo>
                    <a:pt x="63" y="189"/>
                  </a:lnTo>
                  <a:lnTo>
                    <a:pt x="60" y="189"/>
                  </a:lnTo>
                  <a:lnTo>
                    <a:pt x="60" y="187"/>
                  </a:lnTo>
                  <a:lnTo>
                    <a:pt x="58" y="187"/>
                  </a:lnTo>
                  <a:lnTo>
                    <a:pt x="56" y="185"/>
                  </a:lnTo>
                  <a:lnTo>
                    <a:pt x="55" y="185"/>
                  </a:lnTo>
                  <a:lnTo>
                    <a:pt x="53" y="185"/>
                  </a:lnTo>
                  <a:lnTo>
                    <a:pt x="51" y="185"/>
                  </a:lnTo>
                  <a:lnTo>
                    <a:pt x="50" y="185"/>
                  </a:lnTo>
                  <a:lnTo>
                    <a:pt x="51" y="183"/>
                  </a:lnTo>
                  <a:lnTo>
                    <a:pt x="50" y="182"/>
                  </a:lnTo>
                  <a:lnTo>
                    <a:pt x="48" y="182"/>
                  </a:lnTo>
                  <a:lnTo>
                    <a:pt x="50" y="180"/>
                  </a:lnTo>
                  <a:lnTo>
                    <a:pt x="48" y="180"/>
                  </a:lnTo>
                  <a:lnTo>
                    <a:pt x="50" y="180"/>
                  </a:lnTo>
                  <a:lnTo>
                    <a:pt x="50" y="178"/>
                  </a:lnTo>
                  <a:lnTo>
                    <a:pt x="48" y="178"/>
                  </a:lnTo>
                  <a:lnTo>
                    <a:pt x="48" y="177"/>
                  </a:lnTo>
                  <a:lnTo>
                    <a:pt x="44" y="177"/>
                  </a:lnTo>
                  <a:lnTo>
                    <a:pt x="46" y="180"/>
                  </a:lnTo>
                  <a:lnTo>
                    <a:pt x="43" y="180"/>
                  </a:lnTo>
                  <a:lnTo>
                    <a:pt x="39" y="178"/>
                  </a:lnTo>
                  <a:lnTo>
                    <a:pt x="39" y="177"/>
                  </a:lnTo>
                  <a:lnTo>
                    <a:pt x="39" y="178"/>
                  </a:lnTo>
                  <a:lnTo>
                    <a:pt x="36" y="178"/>
                  </a:lnTo>
                  <a:lnTo>
                    <a:pt x="36" y="175"/>
                  </a:lnTo>
                  <a:lnTo>
                    <a:pt x="36" y="177"/>
                  </a:lnTo>
                  <a:lnTo>
                    <a:pt x="36" y="180"/>
                  </a:lnTo>
                  <a:lnTo>
                    <a:pt x="34" y="182"/>
                  </a:lnTo>
                  <a:lnTo>
                    <a:pt x="31" y="182"/>
                  </a:lnTo>
                  <a:lnTo>
                    <a:pt x="29" y="180"/>
                  </a:lnTo>
                  <a:lnTo>
                    <a:pt x="27" y="180"/>
                  </a:lnTo>
                  <a:lnTo>
                    <a:pt x="26" y="180"/>
                  </a:lnTo>
                  <a:lnTo>
                    <a:pt x="26" y="178"/>
                  </a:lnTo>
                  <a:lnTo>
                    <a:pt x="27" y="178"/>
                  </a:lnTo>
                  <a:lnTo>
                    <a:pt x="27" y="177"/>
                  </a:lnTo>
                  <a:lnTo>
                    <a:pt x="27" y="173"/>
                  </a:lnTo>
                  <a:lnTo>
                    <a:pt x="27" y="172"/>
                  </a:lnTo>
                  <a:lnTo>
                    <a:pt x="27" y="170"/>
                  </a:lnTo>
                  <a:lnTo>
                    <a:pt x="26" y="168"/>
                  </a:lnTo>
                  <a:lnTo>
                    <a:pt x="26" y="166"/>
                  </a:lnTo>
                  <a:lnTo>
                    <a:pt x="24" y="166"/>
                  </a:lnTo>
                  <a:lnTo>
                    <a:pt x="22" y="165"/>
                  </a:lnTo>
                  <a:lnTo>
                    <a:pt x="22" y="163"/>
                  </a:lnTo>
                  <a:lnTo>
                    <a:pt x="21" y="165"/>
                  </a:lnTo>
                  <a:lnTo>
                    <a:pt x="17" y="163"/>
                  </a:lnTo>
                  <a:lnTo>
                    <a:pt x="17" y="161"/>
                  </a:lnTo>
                  <a:lnTo>
                    <a:pt x="14" y="161"/>
                  </a:lnTo>
                  <a:lnTo>
                    <a:pt x="12" y="160"/>
                  </a:lnTo>
                  <a:lnTo>
                    <a:pt x="14" y="160"/>
                  </a:lnTo>
                  <a:lnTo>
                    <a:pt x="14" y="158"/>
                  </a:lnTo>
                  <a:lnTo>
                    <a:pt x="16" y="158"/>
                  </a:lnTo>
                  <a:lnTo>
                    <a:pt x="17" y="158"/>
                  </a:lnTo>
                  <a:lnTo>
                    <a:pt x="21" y="158"/>
                  </a:lnTo>
                  <a:lnTo>
                    <a:pt x="22" y="158"/>
                  </a:lnTo>
                  <a:lnTo>
                    <a:pt x="26" y="158"/>
                  </a:lnTo>
                  <a:lnTo>
                    <a:pt x="27" y="158"/>
                  </a:lnTo>
                  <a:lnTo>
                    <a:pt x="31" y="158"/>
                  </a:lnTo>
                  <a:lnTo>
                    <a:pt x="33" y="160"/>
                  </a:lnTo>
                  <a:lnTo>
                    <a:pt x="34" y="160"/>
                  </a:lnTo>
                  <a:lnTo>
                    <a:pt x="36" y="158"/>
                  </a:lnTo>
                  <a:lnTo>
                    <a:pt x="36" y="156"/>
                  </a:lnTo>
                  <a:lnTo>
                    <a:pt x="34" y="156"/>
                  </a:lnTo>
                  <a:lnTo>
                    <a:pt x="36" y="155"/>
                  </a:lnTo>
                  <a:lnTo>
                    <a:pt x="34" y="153"/>
                  </a:lnTo>
                  <a:lnTo>
                    <a:pt x="33" y="151"/>
                  </a:lnTo>
                  <a:lnTo>
                    <a:pt x="29" y="149"/>
                  </a:lnTo>
                  <a:lnTo>
                    <a:pt x="29" y="148"/>
                  </a:lnTo>
                  <a:lnTo>
                    <a:pt x="27" y="149"/>
                  </a:lnTo>
                  <a:lnTo>
                    <a:pt x="26" y="151"/>
                  </a:lnTo>
                  <a:lnTo>
                    <a:pt x="22" y="153"/>
                  </a:lnTo>
                  <a:lnTo>
                    <a:pt x="24" y="149"/>
                  </a:lnTo>
                  <a:lnTo>
                    <a:pt x="24" y="148"/>
                  </a:lnTo>
                  <a:lnTo>
                    <a:pt x="22" y="146"/>
                  </a:lnTo>
                  <a:lnTo>
                    <a:pt x="21" y="146"/>
                  </a:lnTo>
                  <a:lnTo>
                    <a:pt x="21" y="144"/>
                  </a:lnTo>
                  <a:lnTo>
                    <a:pt x="24" y="144"/>
                  </a:lnTo>
                  <a:lnTo>
                    <a:pt x="24" y="143"/>
                  </a:lnTo>
                  <a:lnTo>
                    <a:pt x="26" y="141"/>
                  </a:lnTo>
                  <a:lnTo>
                    <a:pt x="27" y="141"/>
                  </a:lnTo>
                  <a:lnTo>
                    <a:pt x="26" y="143"/>
                  </a:lnTo>
                  <a:lnTo>
                    <a:pt x="26" y="144"/>
                  </a:lnTo>
                  <a:lnTo>
                    <a:pt x="27" y="143"/>
                  </a:lnTo>
                  <a:lnTo>
                    <a:pt x="27" y="144"/>
                  </a:lnTo>
                  <a:lnTo>
                    <a:pt x="27" y="146"/>
                  </a:lnTo>
                  <a:lnTo>
                    <a:pt x="29" y="144"/>
                  </a:lnTo>
                  <a:lnTo>
                    <a:pt x="31" y="144"/>
                  </a:lnTo>
                  <a:lnTo>
                    <a:pt x="33" y="146"/>
                  </a:lnTo>
                  <a:lnTo>
                    <a:pt x="36" y="146"/>
                  </a:lnTo>
                  <a:lnTo>
                    <a:pt x="38" y="146"/>
                  </a:lnTo>
                  <a:lnTo>
                    <a:pt x="38" y="148"/>
                  </a:lnTo>
                  <a:lnTo>
                    <a:pt x="39" y="148"/>
                  </a:lnTo>
                  <a:lnTo>
                    <a:pt x="43" y="148"/>
                  </a:lnTo>
                  <a:lnTo>
                    <a:pt x="39" y="146"/>
                  </a:lnTo>
                  <a:lnTo>
                    <a:pt x="38" y="146"/>
                  </a:lnTo>
                  <a:lnTo>
                    <a:pt x="39" y="144"/>
                  </a:lnTo>
                  <a:lnTo>
                    <a:pt x="38" y="144"/>
                  </a:lnTo>
                  <a:lnTo>
                    <a:pt x="34" y="144"/>
                  </a:lnTo>
                  <a:lnTo>
                    <a:pt x="38" y="144"/>
                  </a:lnTo>
                  <a:lnTo>
                    <a:pt x="36" y="143"/>
                  </a:lnTo>
                  <a:lnTo>
                    <a:pt x="38" y="143"/>
                  </a:lnTo>
                  <a:lnTo>
                    <a:pt x="39" y="143"/>
                  </a:lnTo>
                  <a:lnTo>
                    <a:pt x="38" y="143"/>
                  </a:lnTo>
                  <a:lnTo>
                    <a:pt x="36" y="143"/>
                  </a:lnTo>
                  <a:lnTo>
                    <a:pt x="36" y="141"/>
                  </a:lnTo>
                  <a:lnTo>
                    <a:pt x="36" y="143"/>
                  </a:lnTo>
                  <a:lnTo>
                    <a:pt x="36" y="141"/>
                  </a:lnTo>
                  <a:lnTo>
                    <a:pt x="34" y="143"/>
                  </a:lnTo>
                  <a:lnTo>
                    <a:pt x="31" y="143"/>
                  </a:lnTo>
                  <a:lnTo>
                    <a:pt x="33" y="143"/>
                  </a:lnTo>
                  <a:lnTo>
                    <a:pt x="29" y="143"/>
                  </a:lnTo>
                  <a:lnTo>
                    <a:pt x="31" y="141"/>
                  </a:lnTo>
                  <a:lnTo>
                    <a:pt x="33" y="139"/>
                  </a:lnTo>
                  <a:lnTo>
                    <a:pt x="36" y="137"/>
                  </a:lnTo>
                  <a:lnTo>
                    <a:pt x="38" y="137"/>
                  </a:lnTo>
                  <a:lnTo>
                    <a:pt x="39" y="137"/>
                  </a:lnTo>
                  <a:lnTo>
                    <a:pt x="36" y="137"/>
                  </a:lnTo>
                  <a:lnTo>
                    <a:pt x="33" y="139"/>
                  </a:lnTo>
                  <a:lnTo>
                    <a:pt x="33" y="137"/>
                  </a:lnTo>
                  <a:lnTo>
                    <a:pt x="31" y="139"/>
                  </a:lnTo>
                  <a:lnTo>
                    <a:pt x="29" y="139"/>
                  </a:lnTo>
                  <a:lnTo>
                    <a:pt x="29" y="137"/>
                  </a:lnTo>
                  <a:lnTo>
                    <a:pt x="29" y="139"/>
                  </a:lnTo>
                  <a:lnTo>
                    <a:pt x="27" y="139"/>
                  </a:lnTo>
                  <a:lnTo>
                    <a:pt x="26" y="139"/>
                  </a:lnTo>
                  <a:lnTo>
                    <a:pt x="22" y="141"/>
                  </a:lnTo>
                  <a:lnTo>
                    <a:pt x="21" y="139"/>
                  </a:lnTo>
                  <a:lnTo>
                    <a:pt x="19" y="139"/>
                  </a:lnTo>
                  <a:lnTo>
                    <a:pt x="16" y="139"/>
                  </a:lnTo>
                  <a:lnTo>
                    <a:pt x="16" y="137"/>
                  </a:lnTo>
                  <a:lnTo>
                    <a:pt x="17" y="136"/>
                  </a:lnTo>
                  <a:lnTo>
                    <a:pt x="16" y="134"/>
                  </a:lnTo>
                  <a:lnTo>
                    <a:pt x="16" y="132"/>
                  </a:lnTo>
                  <a:lnTo>
                    <a:pt x="17" y="131"/>
                  </a:lnTo>
                  <a:lnTo>
                    <a:pt x="17" y="127"/>
                  </a:lnTo>
                  <a:lnTo>
                    <a:pt x="19" y="127"/>
                  </a:lnTo>
                  <a:lnTo>
                    <a:pt x="17" y="126"/>
                  </a:lnTo>
                  <a:lnTo>
                    <a:pt x="19" y="126"/>
                  </a:lnTo>
                  <a:lnTo>
                    <a:pt x="21" y="124"/>
                  </a:lnTo>
                  <a:lnTo>
                    <a:pt x="22" y="124"/>
                  </a:lnTo>
                  <a:lnTo>
                    <a:pt x="24" y="124"/>
                  </a:lnTo>
                  <a:lnTo>
                    <a:pt x="27" y="124"/>
                  </a:lnTo>
                  <a:lnTo>
                    <a:pt x="27" y="122"/>
                  </a:lnTo>
                  <a:lnTo>
                    <a:pt x="29" y="122"/>
                  </a:lnTo>
                  <a:lnTo>
                    <a:pt x="31" y="120"/>
                  </a:lnTo>
                  <a:lnTo>
                    <a:pt x="33" y="122"/>
                  </a:lnTo>
                  <a:lnTo>
                    <a:pt x="34" y="122"/>
                  </a:lnTo>
                  <a:lnTo>
                    <a:pt x="34" y="120"/>
                  </a:lnTo>
                  <a:lnTo>
                    <a:pt x="36" y="122"/>
                  </a:lnTo>
                  <a:lnTo>
                    <a:pt x="36" y="120"/>
                  </a:lnTo>
                  <a:lnTo>
                    <a:pt x="38" y="120"/>
                  </a:lnTo>
                  <a:lnTo>
                    <a:pt x="39" y="119"/>
                  </a:lnTo>
                  <a:lnTo>
                    <a:pt x="43" y="120"/>
                  </a:lnTo>
                  <a:lnTo>
                    <a:pt x="41" y="122"/>
                  </a:lnTo>
                  <a:lnTo>
                    <a:pt x="43" y="122"/>
                  </a:lnTo>
                  <a:lnTo>
                    <a:pt x="44" y="122"/>
                  </a:lnTo>
                  <a:lnTo>
                    <a:pt x="48" y="120"/>
                  </a:lnTo>
                  <a:lnTo>
                    <a:pt x="50" y="120"/>
                  </a:lnTo>
                  <a:lnTo>
                    <a:pt x="53" y="120"/>
                  </a:lnTo>
                  <a:lnTo>
                    <a:pt x="56" y="119"/>
                  </a:lnTo>
                  <a:lnTo>
                    <a:pt x="56" y="120"/>
                  </a:lnTo>
                  <a:lnTo>
                    <a:pt x="56" y="119"/>
                  </a:lnTo>
                  <a:lnTo>
                    <a:pt x="58" y="120"/>
                  </a:lnTo>
                  <a:lnTo>
                    <a:pt x="56" y="120"/>
                  </a:lnTo>
                  <a:lnTo>
                    <a:pt x="58" y="122"/>
                  </a:lnTo>
                  <a:lnTo>
                    <a:pt x="56" y="122"/>
                  </a:lnTo>
                  <a:lnTo>
                    <a:pt x="58" y="124"/>
                  </a:lnTo>
                  <a:lnTo>
                    <a:pt x="60" y="124"/>
                  </a:lnTo>
                  <a:lnTo>
                    <a:pt x="60" y="126"/>
                  </a:lnTo>
                  <a:lnTo>
                    <a:pt x="61" y="127"/>
                  </a:lnTo>
                  <a:lnTo>
                    <a:pt x="61" y="124"/>
                  </a:lnTo>
                  <a:lnTo>
                    <a:pt x="61" y="126"/>
                  </a:lnTo>
                  <a:lnTo>
                    <a:pt x="61" y="122"/>
                  </a:lnTo>
                  <a:lnTo>
                    <a:pt x="63" y="122"/>
                  </a:lnTo>
                  <a:lnTo>
                    <a:pt x="65" y="120"/>
                  </a:lnTo>
                  <a:lnTo>
                    <a:pt x="65" y="122"/>
                  </a:lnTo>
                  <a:lnTo>
                    <a:pt x="68" y="122"/>
                  </a:lnTo>
                  <a:lnTo>
                    <a:pt x="70" y="124"/>
                  </a:lnTo>
                  <a:lnTo>
                    <a:pt x="72" y="124"/>
                  </a:lnTo>
                  <a:lnTo>
                    <a:pt x="72" y="126"/>
                  </a:lnTo>
                  <a:lnTo>
                    <a:pt x="73" y="126"/>
                  </a:lnTo>
                  <a:lnTo>
                    <a:pt x="73" y="127"/>
                  </a:lnTo>
                  <a:lnTo>
                    <a:pt x="75" y="127"/>
                  </a:lnTo>
                  <a:lnTo>
                    <a:pt x="75" y="126"/>
                  </a:lnTo>
                  <a:lnTo>
                    <a:pt x="75" y="122"/>
                  </a:lnTo>
                  <a:lnTo>
                    <a:pt x="77" y="124"/>
                  </a:lnTo>
                  <a:lnTo>
                    <a:pt x="77" y="120"/>
                  </a:lnTo>
                  <a:lnTo>
                    <a:pt x="75" y="120"/>
                  </a:lnTo>
                  <a:lnTo>
                    <a:pt x="75" y="119"/>
                  </a:lnTo>
                  <a:lnTo>
                    <a:pt x="77" y="119"/>
                  </a:lnTo>
                  <a:lnTo>
                    <a:pt x="77" y="117"/>
                  </a:lnTo>
                  <a:lnTo>
                    <a:pt x="77" y="119"/>
                  </a:lnTo>
                  <a:lnTo>
                    <a:pt x="78" y="119"/>
                  </a:lnTo>
                  <a:lnTo>
                    <a:pt x="78" y="117"/>
                  </a:lnTo>
                  <a:lnTo>
                    <a:pt x="78" y="115"/>
                  </a:lnTo>
                  <a:lnTo>
                    <a:pt x="80" y="115"/>
                  </a:lnTo>
                  <a:lnTo>
                    <a:pt x="80" y="117"/>
                  </a:lnTo>
                  <a:lnTo>
                    <a:pt x="82" y="115"/>
                  </a:lnTo>
                  <a:lnTo>
                    <a:pt x="82" y="117"/>
                  </a:lnTo>
                  <a:lnTo>
                    <a:pt x="83" y="117"/>
                  </a:lnTo>
                  <a:lnTo>
                    <a:pt x="82" y="119"/>
                  </a:lnTo>
                  <a:lnTo>
                    <a:pt x="85" y="119"/>
                  </a:lnTo>
                  <a:lnTo>
                    <a:pt x="87" y="119"/>
                  </a:lnTo>
                  <a:lnTo>
                    <a:pt x="89" y="117"/>
                  </a:lnTo>
                  <a:lnTo>
                    <a:pt x="90" y="119"/>
                  </a:lnTo>
                  <a:lnTo>
                    <a:pt x="94" y="115"/>
                  </a:lnTo>
                  <a:lnTo>
                    <a:pt x="94" y="117"/>
                  </a:lnTo>
                  <a:lnTo>
                    <a:pt x="94" y="119"/>
                  </a:lnTo>
                  <a:lnTo>
                    <a:pt x="95" y="117"/>
                  </a:lnTo>
                  <a:lnTo>
                    <a:pt x="99" y="117"/>
                  </a:lnTo>
                  <a:lnTo>
                    <a:pt x="100" y="115"/>
                  </a:lnTo>
                  <a:lnTo>
                    <a:pt x="100" y="117"/>
                  </a:lnTo>
                  <a:lnTo>
                    <a:pt x="99" y="117"/>
                  </a:lnTo>
                  <a:lnTo>
                    <a:pt x="100" y="119"/>
                  </a:lnTo>
                  <a:lnTo>
                    <a:pt x="99" y="117"/>
                  </a:lnTo>
                  <a:lnTo>
                    <a:pt x="99" y="119"/>
                  </a:lnTo>
                  <a:lnTo>
                    <a:pt x="100" y="120"/>
                  </a:lnTo>
                  <a:lnTo>
                    <a:pt x="99" y="120"/>
                  </a:lnTo>
                  <a:lnTo>
                    <a:pt x="97" y="124"/>
                  </a:lnTo>
                  <a:lnTo>
                    <a:pt x="97" y="122"/>
                  </a:lnTo>
                  <a:lnTo>
                    <a:pt x="97" y="124"/>
                  </a:lnTo>
                  <a:lnTo>
                    <a:pt x="99" y="120"/>
                  </a:lnTo>
                  <a:lnTo>
                    <a:pt x="102" y="120"/>
                  </a:lnTo>
                  <a:lnTo>
                    <a:pt x="102" y="122"/>
                  </a:lnTo>
                  <a:lnTo>
                    <a:pt x="100" y="124"/>
                  </a:lnTo>
                  <a:lnTo>
                    <a:pt x="102" y="124"/>
                  </a:lnTo>
                  <a:lnTo>
                    <a:pt x="100" y="124"/>
                  </a:lnTo>
                  <a:lnTo>
                    <a:pt x="102" y="126"/>
                  </a:lnTo>
                  <a:lnTo>
                    <a:pt x="104" y="126"/>
                  </a:lnTo>
                  <a:lnTo>
                    <a:pt x="106" y="126"/>
                  </a:lnTo>
                  <a:lnTo>
                    <a:pt x="104" y="129"/>
                  </a:lnTo>
                  <a:lnTo>
                    <a:pt x="106" y="131"/>
                  </a:lnTo>
                  <a:lnTo>
                    <a:pt x="106" y="132"/>
                  </a:lnTo>
                  <a:lnTo>
                    <a:pt x="107" y="132"/>
                  </a:lnTo>
                  <a:lnTo>
                    <a:pt x="107" y="134"/>
                  </a:lnTo>
                  <a:lnTo>
                    <a:pt x="109" y="134"/>
                  </a:lnTo>
                  <a:lnTo>
                    <a:pt x="109" y="137"/>
                  </a:lnTo>
                  <a:lnTo>
                    <a:pt x="107" y="137"/>
                  </a:lnTo>
                  <a:lnTo>
                    <a:pt x="109" y="139"/>
                  </a:lnTo>
                  <a:lnTo>
                    <a:pt x="111" y="141"/>
                  </a:lnTo>
                  <a:lnTo>
                    <a:pt x="112" y="143"/>
                  </a:lnTo>
                  <a:lnTo>
                    <a:pt x="112" y="144"/>
                  </a:lnTo>
                  <a:lnTo>
                    <a:pt x="112" y="146"/>
                  </a:lnTo>
                  <a:lnTo>
                    <a:pt x="114" y="144"/>
                  </a:lnTo>
                  <a:lnTo>
                    <a:pt x="116" y="144"/>
                  </a:lnTo>
                  <a:lnTo>
                    <a:pt x="117" y="143"/>
                  </a:lnTo>
                  <a:lnTo>
                    <a:pt x="119" y="141"/>
                  </a:lnTo>
                  <a:lnTo>
                    <a:pt x="121" y="141"/>
                  </a:lnTo>
                  <a:lnTo>
                    <a:pt x="124" y="139"/>
                  </a:lnTo>
                  <a:lnTo>
                    <a:pt x="124" y="137"/>
                  </a:lnTo>
                  <a:lnTo>
                    <a:pt x="126" y="137"/>
                  </a:lnTo>
                  <a:lnTo>
                    <a:pt x="128" y="137"/>
                  </a:lnTo>
                  <a:lnTo>
                    <a:pt x="128" y="139"/>
                  </a:lnTo>
                  <a:lnTo>
                    <a:pt x="129" y="137"/>
                  </a:lnTo>
                  <a:lnTo>
                    <a:pt x="131" y="137"/>
                  </a:lnTo>
                  <a:lnTo>
                    <a:pt x="133" y="136"/>
                  </a:lnTo>
                  <a:lnTo>
                    <a:pt x="133" y="137"/>
                  </a:lnTo>
                  <a:lnTo>
                    <a:pt x="131" y="139"/>
                  </a:lnTo>
                  <a:lnTo>
                    <a:pt x="131" y="141"/>
                  </a:lnTo>
                  <a:lnTo>
                    <a:pt x="133" y="139"/>
                  </a:lnTo>
                  <a:lnTo>
                    <a:pt x="134" y="139"/>
                  </a:lnTo>
                  <a:lnTo>
                    <a:pt x="134" y="141"/>
                  </a:lnTo>
                  <a:lnTo>
                    <a:pt x="136" y="143"/>
                  </a:lnTo>
                  <a:lnTo>
                    <a:pt x="136" y="144"/>
                  </a:lnTo>
                  <a:lnTo>
                    <a:pt x="136" y="143"/>
                  </a:lnTo>
                  <a:lnTo>
                    <a:pt x="136" y="144"/>
                  </a:lnTo>
                  <a:lnTo>
                    <a:pt x="138" y="144"/>
                  </a:lnTo>
                  <a:lnTo>
                    <a:pt x="140" y="143"/>
                  </a:lnTo>
                  <a:lnTo>
                    <a:pt x="140" y="141"/>
                  </a:lnTo>
                  <a:lnTo>
                    <a:pt x="141" y="141"/>
                  </a:lnTo>
                  <a:lnTo>
                    <a:pt x="143" y="141"/>
                  </a:lnTo>
                  <a:lnTo>
                    <a:pt x="143" y="143"/>
                  </a:lnTo>
                  <a:lnTo>
                    <a:pt x="145" y="143"/>
                  </a:lnTo>
                  <a:lnTo>
                    <a:pt x="145" y="144"/>
                  </a:lnTo>
                  <a:lnTo>
                    <a:pt x="145" y="146"/>
                  </a:lnTo>
                  <a:lnTo>
                    <a:pt x="146" y="148"/>
                  </a:lnTo>
                  <a:lnTo>
                    <a:pt x="145" y="151"/>
                  </a:lnTo>
                  <a:lnTo>
                    <a:pt x="148" y="149"/>
                  </a:lnTo>
                  <a:lnTo>
                    <a:pt x="146" y="149"/>
                  </a:lnTo>
                  <a:lnTo>
                    <a:pt x="146" y="148"/>
                  </a:lnTo>
                  <a:lnTo>
                    <a:pt x="146" y="146"/>
                  </a:lnTo>
                  <a:lnTo>
                    <a:pt x="148" y="146"/>
                  </a:lnTo>
                  <a:lnTo>
                    <a:pt x="146" y="146"/>
                  </a:lnTo>
                  <a:lnTo>
                    <a:pt x="145" y="144"/>
                  </a:lnTo>
                  <a:lnTo>
                    <a:pt x="146" y="144"/>
                  </a:lnTo>
                  <a:lnTo>
                    <a:pt x="145" y="141"/>
                  </a:lnTo>
                  <a:lnTo>
                    <a:pt x="146" y="141"/>
                  </a:lnTo>
                  <a:lnTo>
                    <a:pt x="145" y="141"/>
                  </a:lnTo>
                  <a:lnTo>
                    <a:pt x="146" y="141"/>
                  </a:lnTo>
                  <a:lnTo>
                    <a:pt x="146" y="139"/>
                  </a:lnTo>
                  <a:lnTo>
                    <a:pt x="150" y="139"/>
                  </a:lnTo>
                  <a:lnTo>
                    <a:pt x="148" y="139"/>
                  </a:lnTo>
                  <a:lnTo>
                    <a:pt x="150" y="137"/>
                  </a:lnTo>
                  <a:lnTo>
                    <a:pt x="151" y="139"/>
                  </a:lnTo>
                  <a:lnTo>
                    <a:pt x="153" y="137"/>
                  </a:lnTo>
                  <a:lnTo>
                    <a:pt x="153" y="141"/>
                  </a:lnTo>
                  <a:lnTo>
                    <a:pt x="151" y="143"/>
                  </a:lnTo>
                  <a:lnTo>
                    <a:pt x="153" y="144"/>
                  </a:lnTo>
                  <a:lnTo>
                    <a:pt x="155" y="146"/>
                  </a:lnTo>
                  <a:lnTo>
                    <a:pt x="157" y="146"/>
                  </a:lnTo>
                  <a:lnTo>
                    <a:pt x="158" y="146"/>
                  </a:lnTo>
                  <a:lnTo>
                    <a:pt x="160" y="146"/>
                  </a:lnTo>
                  <a:lnTo>
                    <a:pt x="162" y="146"/>
                  </a:lnTo>
                  <a:lnTo>
                    <a:pt x="163" y="146"/>
                  </a:lnTo>
                  <a:lnTo>
                    <a:pt x="165" y="144"/>
                  </a:lnTo>
                  <a:lnTo>
                    <a:pt x="167" y="144"/>
                  </a:lnTo>
                  <a:lnTo>
                    <a:pt x="168" y="146"/>
                  </a:lnTo>
                  <a:lnTo>
                    <a:pt x="170" y="146"/>
                  </a:lnTo>
                  <a:lnTo>
                    <a:pt x="174" y="146"/>
                  </a:lnTo>
                  <a:lnTo>
                    <a:pt x="174" y="144"/>
                  </a:lnTo>
                  <a:lnTo>
                    <a:pt x="175" y="144"/>
                  </a:lnTo>
                  <a:lnTo>
                    <a:pt x="174" y="144"/>
                  </a:lnTo>
                  <a:lnTo>
                    <a:pt x="172" y="146"/>
                  </a:lnTo>
                  <a:lnTo>
                    <a:pt x="172" y="144"/>
                  </a:lnTo>
                  <a:lnTo>
                    <a:pt x="168" y="143"/>
                  </a:lnTo>
                  <a:lnTo>
                    <a:pt x="168" y="139"/>
                  </a:lnTo>
                  <a:lnTo>
                    <a:pt x="167" y="137"/>
                  </a:lnTo>
                  <a:lnTo>
                    <a:pt x="167" y="134"/>
                  </a:lnTo>
                  <a:lnTo>
                    <a:pt x="167" y="132"/>
                  </a:lnTo>
                  <a:lnTo>
                    <a:pt x="165" y="131"/>
                  </a:lnTo>
                  <a:lnTo>
                    <a:pt x="168" y="129"/>
                  </a:lnTo>
                  <a:lnTo>
                    <a:pt x="168" y="127"/>
                  </a:lnTo>
                  <a:lnTo>
                    <a:pt x="168" y="126"/>
                  </a:lnTo>
                  <a:lnTo>
                    <a:pt x="170" y="124"/>
                  </a:lnTo>
                  <a:lnTo>
                    <a:pt x="168" y="124"/>
                  </a:lnTo>
                  <a:lnTo>
                    <a:pt x="170" y="120"/>
                  </a:lnTo>
                  <a:lnTo>
                    <a:pt x="170" y="119"/>
                  </a:lnTo>
                  <a:lnTo>
                    <a:pt x="172" y="117"/>
                  </a:lnTo>
                  <a:lnTo>
                    <a:pt x="170" y="119"/>
                  </a:lnTo>
                  <a:lnTo>
                    <a:pt x="170" y="120"/>
                  </a:lnTo>
                  <a:lnTo>
                    <a:pt x="168" y="119"/>
                  </a:lnTo>
                  <a:lnTo>
                    <a:pt x="168" y="115"/>
                  </a:lnTo>
                  <a:lnTo>
                    <a:pt x="168" y="114"/>
                  </a:lnTo>
                  <a:lnTo>
                    <a:pt x="168" y="112"/>
                  </a:lnTo>
                  <a:lnTo>
                    <a:pt x="170" y="110"/>
                  </a:lnTo>
                  <a:lnTo>
                    <a:pt x="170" y="109"/>
                  </a:lnTo>
                  <a:lnTo>
                    <a:pt x="170" y="107"/>
                  </a:lnTo>
                  <a:lnTo>
                    <a:pt x="170" y="105"/>
                  </a:lnTo>
                  <a:lnTo>
                    <a:pt x="168" y="103"/>
                  </a:lnTo>
                  <a:lnTo>
                    <a:pt x="168" y="102"/>
                  </a:lnTo>
                  <a:lnTo>
                    <a:pt x="167" y="100"/>
                  </a:lnTo>
                  <a:lnTo>
                    <a:pt x="167" y="97"/>
                  </a:lnTo>
                  <a:lnTo>
                    <a:pt x="165" y="93"/>
                  </a:lnTo>
                  <a:lnTo>
                    <a:pt x="163" y="93"/>
                  </a:lnTo>
                  <a:lnTo>
                    <a:pt x="165" y="92"/>
                  </a:lnTo>
                  <a:lnTo>
                    <a:pt x="163" y="93"/>
                  </a:lnTo>
                  <a:lnTo>
                    <a:pt x="163" y="92"/>
                  </a:lnTo>
                  <a:lnTo>
                    <a:pt x="163" y="90"/>
                  </a:lnTo>
                  <a:lnTo>
                    <a:pt x="163" y="88"/>
                  </a:lnTo>
                  <a:lnTo>
                    <a:pt x="163" y="86"/>
                  </a:lnTo>
                  <a:lnTo>
                    <a:pt x="163" y="85"/>
                  </a:lnTo>
                  <a:lnTo>
                    <a:pt x="163" y="83"/>
                  </a:lnTo>
                  <a:lnTo>
                    <a:pt x="162" y="81"/>
                  </a:lnTo>
                  <a:lnTo>
                    <a:pt x="163" y="80"/>
                  </a:lnTo>
                  <a:lnTo>
                    <a:pt x="163" y="78"/>
                  </a:lnTo>
                  <a:lnTo>
                    <a:pt x="163" y="76"/>
                  </a:lnTo>
                  <a:lnTo>
                    <a:pt x="165" y="75"/>
                  </a:lnTo>
                  <a:lnTo>
                    <a:pt x="163" y="73"/>
                  </a:lnTo>
                  <a:lnTo>
                    <a:pt x="162" y="71"/>
                  </a:lnTo>
                  <a:lnTo>
                    <a:pt x="160" y="71"/>
                  </a:lnTo>
                  <a:lnTo>
                    <a:pt x="162" y="69"/>
                  </a:lnTo>
                  <a:lnTo>
                    <a:pt x="162" y="68"/>
                  </a:lnTo>
                  <a:lnTo>
                    <a:pt x="163" y="69"/>
                  </a:lnTo>
                  <a:lnTo>
                    <a:pt x="165" y="68"/>
                  </a:lnTo>
                  <a:lnTo>
                    <a:pt x="167" y="71"/>
                  </a:lnTo>
                  <a:lnTo>
                    <a:pt x="168" y="71"/>
                  </a:lnTo>
                  <a:lnTo>
                    <a:pt x="170" y="73"/>
                  </a:lnTo>
                  <a:lnTo>
                    <a:pt x="172" y="73"/>
                  </a:lnTo>
                  <a:lnTo>
                    <a:pt x="172" y="75"/>
                  </a:lnTo>
                  <a:lnTo>
                    <a:pt x="175" y="75"/>
                  </a:lnTo>
                  <a:lnTo>
                    <a:pt x="174" y="75"/>
                  </a:lnTo>
                  <a:lnTo>
                    <a:pt x="175" y="76"/>
                  </a:lnTo>
                  <a:lnTo>
                    <a:pt x="175" y="75"/>
                  </a:lnTo>
                  <a:lnTo>
                    <a:pt x="179" y="75"/>
                  </a:lnTo>
                  <a:lnTo>
                    <a:pt x="180" y="75"/>
                  </a:lnTo>
                  <a:lnTo>
                    <a:pt x="182" y="73"/>
                  </a:lnTo>
                  <a:lnTo>
                    <a:pt x="184" y="73"/>
                  </a:lnTo>
                  <a:lnTo>
                    <a:pt x="187" y="73"/>
                  </a:lnTo>
                  <a:lnTo>
                    <a:pt x="189" y="73"/>
                  </a:lnTo>
                  <a:lnTo>
                    <a:pt x="191" y="75"/>
                  </a:lnTo>
                  <a:lnTo>
                    <a:pt x="192" y="78"/>
                  </a:lnTo>
                  <a:lnTo>
                    <a:pt x="192" y="81"/>
                  </a:lnTo>
                  <a:lnTo>
                    <a:pt x="191" y="80"/>
                  </a:lnTo>
                  <a:lnTo>
                    <a:pt x="189" y="83"/>
                  </a:lnTo>
                  <a:lnTo>
                    <a:pt x="189" y="81"/>
                  </a:lnTo>
                  <a:lnTo>
                    <a:pt x="187" y="85"/>
                  </a:lnTo>
                  <a:lnTo>
                    <a:pt x="189" y="86"/>
                  </a:lnTo>
                  <a:lnTo>
                    <a:pt x="189" y="88"/>
                  </a:lnTo>
                  <a:lnTo>
                    <a:pt x="191" y="92"/>
                  </a:lnTo>
                  <a:lnTo>
                    <a:pt x="192" y="93"/>
                  </a:lnTo>
                  <a:lnTo>
                    <a:pt x="192" y="95"/>
                  </a:lnTo>
                  <a:lnTo>
                    <a:pt x="191" y="98"/>
                  </a:lnTo>
                  <a:lnTo>
                    <a:pt x="194" y="98"/>
                  </a:lnTo>
                  <a:lnTo>
                    <a:pt x="194" y="100"/>
                  </a:lnTo>
                  <a:lnTo>
                    <a:pt x="194" y="98"/>
                  </a:lnTo>
                  <a:lnTo>
                    <a:pt x="196" y="97"/>
                  </a:lnTo>
                  <a:lnTo>
                    <a:pt x="199" y="97"/>
                  </a:lnTo>
                  <a:lnTo>
                    <a:pt x="201" y="97"/>
                  </a:lnTo>
                  <a:lnTo>
                    <a:pt x="202" y="98"/>
                  </a:lnTo>
                  <a:lnTo>
                    <a:pt x="204" y="100"/>
                  </a:lnTo>
                  <a:lnTo>
                    <a:pt x="206" y="100"/>
                  </a:lnTo>
                  <a:lnTo>
                    <a:pt x="208" y="102"/>
                  </a:lnTo>
                  <a:lnTo>
                    <a:pt x="211" y="102"/>
                  </a:lnTo>
                  <a:lnTo>
                    <a:pt x="213" y="102"/>
                  </a:lnTo>
                  <a:lnTo>
                    <a:pt x="214" y="102"/>
                  </a:lnTo>
                  <a:lnTo>
                    <a:pt x="218" y="103"/>
                  </a:lnTo>
                  <a:lnTo>
                    <a:pt x="219" y="103"/>
                  </a:lnTo>
                  <a:lnTo>
                    <a:pt x="221" y="103"/>
                  </a:lnTo>
                  <a:lnTo>
                    <a:pt x="223" y="105"/>
                  </a:lnTo>
                  <a:lnTo>
                    <a:pt x="226" y="105"/>
                  </a:lnTo>
                  <a:lnTo>
                    <a:pt x="228" y="107"/>
                  </a:lnTo>
                  <a:lnTo>
                    <a:pt x="230" y="109"/>
                  </a:lnTo>
                  <a:lnTo>
                    <a:pt x="233" y="109"/>
                  </a:lnTo>
                  <a:lnTo>
                    <a:pt x="233" y="110"/>
                  </a:lnTo>
                  <a:lnTo>
                    <a:pt x="236" y="110"/>
                  </a:lnTo>
                  <a:lnTo>
                    <a:pt x="240" y="110"/>
                  </a:lnTo>
                  <a:lnTo>
                    <a:pt x="240" y="109"/>
                  </a:lnTo>
                  <a:lnTo>
                    <a:pt x="242" y="109"/>
                  </a:lnTo>
                  <a:lnTo>
                    <a:pt x="243" y="109"/>
                  </a:lnTo>
                  <a:lnTo>
                    <a:pt x="245" y="109"/>
                  </a:lnTo>
                  <a:lnTo>
                    <a:pt x="247" y="107"/>
                  </a:lnTo>
                  <a:lnTo>
                    <a:pt x="248" y="107"/>
                  </a:lnTo>
                  <a:lnTo>
                    <a:pt x="248" y="105"/>
                  </a:lnTo>
                  <a:lnTo>
                    <a:pt x="248" y="107"/>
                  </a:lnTo>
                  <a:lnTo>
                    <a:pt x="248" y="105"/>
                  </a:lnTo>
                  <a:lnTo>
                    <a:pt x="250" y="103"/>
                  </a:lnTo>
                  <a:lnTo>
                    <a:pt x="253" y="103"/>
                  </a:lnTo>
                  <a:lnTo>
                    <a:pt x="255" y="102"/>
                  </a:lnTo>
                  <a:lnTo>
                    <a:pt x="257" y="103"/>
                  </a:lnTo>
                  <a:lnTo>
                    <a:pt x="259" y="103"/>
                  </a:lnTo>
                  <a:lnTo>
                    <a:pt x="257" y="102"/>
                  </a:lnTo>
                  <a:lnTo>
                    <a:pt x="255" y="100"/>
                  </a:lnTo>
                  <a:lnTo>
                    <a:pt x="252" y="100"/>
                  </a:lnTo>
                  <a:lnTo>
                    <a:pt x="250" y="100"/>
                  </a:lnTo>
                  <a:lnTo>
                    <a:pt x="253" y="100"/>
                  </a:lnTo>
                  <a:lnTo>
                    <a:pt x="250" y="100"/>
                  </a:lnTo>
                  <a:lnTo>
                    <a:pt x="250" y="98"/>
                  </a:lnTo>
                  <a:lnTo>
                    <a:pt x="252" y="100"/>
                  </a:lnTo>
                  <a:lnTo>
                    <a:pt x="253" y="98"/>
                  </a:lnTo>
                  <a:lnTo>
                    <a:pt x="253" y="100"/>
                  </a:lnTo>
                  <a:lnTo>
                    <a:pt x="253" y="98"/>
                  </a:lnTo>
                  <a:lnTo>
                    <a:pt x="257" y="100"/>
                  </a:lnTo>
                  <a:lnTo>
                    <a:pt x="260" y="102"/>
                  </a:lnTo>
                  <a:lnTo>
                    <a:pt x="260" y="100"/>
                  </a:lnTo>
                  <a:lnTo>
                    <a:pt x="259" y="100"/>
                  </a:lnTo>
                  <a:lnTo>
                    <a:pt x="257" y="100"/>
                  </a:lnTo>
                  <a:lnTo>
                    <a:pt x="253" y="98"/>
                  </a:lnTo>
                  <a:lnTo>
                    <a:pt x="255" y="98"/>
                  </a:lnTo>
                  <a:lnTo>
                    <a:pt x="252" y="98"/>
                  </a:lnTo>
                  <a:lnTo>
                    <a:pt x="252" y="97"/>
                  </a:lnTo>
                  <a:lnTo>
                    <a:pt x="250" y="98"/>
                  </a:lnTo>
                  <a:lnTo>
                    <a:pt x="248" y="97"/>
                  </a:lnTo>
                  <a:lnTo>
                    <a:pt x="250" y="95"/>
                  </a:lnTo>
                  <a:lnTo>
                    <a:pt x="250" y="93"/>
                  </a:lnTo>
                  <a:lnTo>
                    <a:pt x="252" y="92"/>
                  </a:lnTo>
                  <a:lnTo>
                    <a:pt x="252" y="90"/>
                  </a:lnTo>
                  <a:lnTo>
                    <a:pt x="253" y="90"/>
                  </a:lnTo>
                  <a:lnTo>
                    <a:pt x="253" y="86"/>
                  </a:lnTo>
                  <a:lnTo>
                    <a:pt x="253" y="85"/>
                  </a:lnTo>
                  <a:lnTo>
                    <a:pt x="255" y="86"/>
                  </a:lnTo>
                  <a:lnTo>
                    <a:pt x="255" y="85"/>
                  </a:lnTo>
                  <a:lnTo>
                    <a:pt x="257" y="83"/>
                  </a:lnTo>
                  <a:lnTo>
                    <a:pt x="259" y="83"/>
                  </a:lnTo>
                  <a:lnTo>
                    <a:pt x="260" y="81"/>
                  </a:lnTo>
                  <a:lnTo>
                    <a:pt x="262" y="81"/>
                  </a:lnTo>
                  <a:lnTo>
                    <a:pt x="265" y="80"/>
                  </a:lnTo>
                  <a:lnTo>
                    <a:pt x="265" y="81"/>
                  </a:lnTo>
                  <a:lnTo>
                    <a:pt x="265" y="80"/>
                  </a:lnTo>
                  <a:lnTo>
                    <a:pt x="267" y="80"/>
                  </a:lnTo>
                  <a:lnTo>
                    <a:pt x="269" y="78"/>
                  </a:lnTo>
                  <a:lnTo>
                    <a:pt x="270" y="78"/>
                  </a:lnTo>
                  <a:lnTo>
                    <a:pt x="272" y="76"/>
                  </a:lnTo>
                  <a:lnTo>
                    <a:pt x="274" y="76"/>
                  </a:lnTo>
                  <a:lnTo>
                    <a:pt x="276" y="75"/>
                  </a:lnTo>
                  <a:lnTo>
                    <a:pt x="277" y="75"/>
                  </a:lnTo>
                  <a:lnTo>
                    <a:pt x="281" y="75"/>
                  </a:lnTo>
                  <a:lnTo>
                    <a:pt x="282" y="75"/>
                  </a:lnTo>
                  <a:lnTo>
                    <a:pt x="284" y="75"/>
                  </a:lnTo>
                  <a:lnTo>
                    <a:pt x="287" y="75"/>
                  </a:lnTo>
                  <a:lnTo>
                    <a:pt x="289" y="75"/>
                  </a:lnTo>
                  <a:lnTo>
                    <a:pt x="291" y="73"/>
                  </a:lnTo>
                  <a:lnTo>
                    <a:pt x="293" y="73"/>
                  </a:lnTo>
                  <a:lnTo>
                    <a:pt x="296" y="73"/>
                  </a:lnTo>
                  <a:lnTo>
                    <a:pt x="298" y="73"/>
                  </a:lnTo>
                  <a:lnTo>
                    <a:pt x="299" y="75"/>
                  </a:lnTo>
                  <a:lnTo>
                    <a:pt x="298" y="73"/>
                  </a:lnTo>
                  <a:lnTo>
                    <a:pt x="299" y="73"/>
                  </a:lnTo>
                  <a:lnTo>
                    <a:pt x="303" y="71"/>
                  </a:lnTo>
                  <a:lnTo>
                    <a:pt x="304" y="71"/>
                  </a:lnTo>
                  <a:lnTo>
                    <a:pt x="304" y="69"/>
                  </a:lnTo>
                  <a:lnTo>
                    <a:pt x="306" y="69"/>
                  </a:lnTo>
                  <a:lnTo>
                    <a:pt x="310" y="68"/>
                  </a:lnTo>
                  <a:lnTo>
                    <a:pt x="310" y="66"/>
                  </a:lnTo>
                  <a:lnTo>
                    <a:pt x="311" y="66"/>
                  </a:lnTo>
                  <a:lnTo>
                    <a:pt x="313" y="64"/>
                  </a:lnTo>
                  <a:lnTo>
                    <a:pt x="313" y="66"/>
                  </a:lnTo>
                  <a:lnTo>
                    <a:pt x="313" y="64"/>
                  </a:lnTo>
                  <a:lnTo>
                    <a:pt x="315" y="63"/>
                  </a:lnTo>
                  <a:lnTo>
                    <a:pt x="316" y="63"/>
                  </a:lnTo>
                  <a:lnTo>
                    <a:pt x="318" y="59"/>
                  </a:lnTo>
                  <a:lnTo>
                    <a:pt x="318" y="58"/>
                  </a:lnTo>
                  <a:lnTo>
                    <a:pt x="320" y="56"/>
                  </a:lnTo>
                  <a:lnTo>
                    <a:pt x="321" y="56"/>
                  </a:lnTo>
                  <a:lnTo>
                    <a:pt x="323" y="58"/>
                  </a:lnTo>
                  <a:lnTo>
                    <a:pt x="325" y="58"/>
                  </a:lnTo>
                  <a:lnTo>
                    <a:pt x="327" y="59"/>
                  </a:lnTo>
                  <a:lnTo>
                    <a:pt x="327" y="58"/>
                  </a:lnTo>
                  <a:lnTo>
                    <a:pt x="325" y="58"/>
                  </a:lnTo>
                  <a:lnTo>
                    <a:pt x="327" y="58"/>
                  </a:lnTo>
                  <a:lnTo>
                    <a:pt x="325" y="58"/>
                  </a:lnTo>
                  <a:lnTo>
                    <a:pt x="327" y="56"/>
                  </a:lnTo>
                  <a:lnTo>
                    <a:pt x="325" y="56"/>
                  </a:lnTo>
                  <a:lnTo>
                    <a:pt x="323" y="52"/>
                  </a:lnTo>
                  <a:lnTo>
                    <a:pt x="321" y="52"/>
                  </a:lnTo>
                  <a:lnTo>
                    <a:pt x="321" y="51"/>
                  </a:lnTo>
                  <a:lnTo>
                    <a:pt x="321" y="49"/>
                  </a:lnTo>
                  <a:lnTo>
                    <a:pt x="323" y="47"/>
                  </a:lnTo>
                  <a:lnTo>
                    <a:pt x="323" y="46"/>
                  </a:lnTo>
                  <a:lnTo>
                    <a:pt x="325" y="46"/>
                  </a:lnTo>
                  <a:lnTo>
                    <a:pt x="325" y="44"/>
                  </a:lnTo>
                  <a:lnTo>
                    <a:pt x="323" y="42"/>
                  </a:lnTo>
                  <a:lnTo>
                    <a:pt x="325" y="41"/>
                  </a:lnTo>
                  <a:lnTo>
                    <a:pt x="325" y="37"/>
                  </a:lnTo>
                  <a:lnTo>
                    <a:pt x="325" y="34"/>
                  </a:lnTo>
                  <a:lnTo>
                    <a:pt x="328" y="35"/>
                  </a:lnTo>
                  <a:lnTo>
                    <a:pt x="327" y="34"/>
                  </a:lnTo>
                  <a:lnTo>
                    <a:pt x="325" y="30"/>
                  </a:lnTo>
                  <a:lnTo>
                    <a:pt x="327" y="29"/>
                  </a:lnTo>
                  <a:lnTo>
                    <a:pt x="327" y="27"/>
                  </a:lnTo>
                  <a:lnTo>
                    <a:pt x="327" y="24"/>
                  </a:lnTo>
                  <a:lnTo>
                    <a:pt x="327" y="22"/>
                  </a:lnTo>
                  <a:lnTo>
                    <a:pt x="327" y="20"/>
                  </a:lnTo>
                  <a:lnTo>
                    <a:pt x="328" y="20"/>
                  </a:lnTo>
                  <a:lnTo>
                    <a:pt x="328" y="22"/>
                  </a:lnTo>
                  <a:lnTo>
                    <a:pt x="328" y="20"/>
                  </a:lnTo>
                  <a:lnTo>
                    <a:pt x="328" y="17"/>
                  </a:lnTo>
                  <a:lnTo>
                    <a:pt x="328" y="15"/>
                  </a:lnTo>
                  <a:lnTo>
                    <a:pt x="328" y="13"/>
                  </a:lnTo>
                  <a:lnTo>
                    <a:pt x="328" y="12"/>
                  </a:lnTo>
                  <a:lnTo>
                    <a:pt x="328" y="10"/>
                  </a:lnTo>
                  <a:lnTo>
                    <a:pt x="332" y="10"/>
                  </a:lnTo>
                  <a:lnTo>
                    <a:pt x="332" y="8"/>
                  </a:lnTo>
                  <a:lnTo>
                    <a:pt x="335" y="7"/>
                  </a:lnTo>
                  <a:lnTo>
                    <a:pt x="337" y="5"/>
                  </a:lnTo>
                  <a:lnTo>
                    <a:pt x="340" y="5"/>
                  </a:lnTo>
                  <a:lnTo>
                    <a:pt x="342" y="5"/>
                  </a:lnTo>
                  <a:lnTo>
                    <a:pt x="340" y="5"/>
                  </a:lnTo>
                  <a:lnTo>
                    <a:pt x="342" y="5"/>
                  </a:lnTo>
                  <a:lnTo>
                    <a:pt x="340" y="5"/>
                  </a:lnTo>
                  <a:lnTo>
                    <a:pt x="342" y="5"/>
                  </a:lnTo>
                  <a:lnTo>
                    <a:pt x="345" y="3"/>
                  </a:lnTo>
                  <a:lnTo>
                    <a:pt x="349" y="3"/>
                  </a:lnTo>
                  <a:lnTo>
                    <a:pt x="350" y="3"/>
                  </a:lnTo>
                  <a:lnTo>
                    <a:pt x="352" y="3"/>
                  </a:lnTo>
                  <a:lnTo>
                    <a:pt x="352" y="5"/>
                  </a:lnTo>
                  <a:lnTo>
                    <a:pt x="352" y="3"/>
                  </a:lnTo>
                  <a:lnTo>
                    <a:pt x="354" y="3"/>
                  </a:lnTo>
                  <a:lnTo>
                    <a:pt x="354" y="1"/>
                  </a:lnTo>
                  <a:lnTo>
                    <a:pt x="355" y="1"/>
                  </a:lnTo>
                  <a:lnTo>
                    <a:pt x="354" y="3"/>
                  </a:lnTo>
                  <a:lnTo>
                    <a:pt x="355" y="3"/>
                  </a:lnTo>
                  <a:lnTo>
                    <a:pt x="359" y="1"/>
                  </a:lnTo>
                  <a:lnTo>
                    <a:pt x="359" y="3"/>
                  </a:lnTo>
                  <a:lnTo>
                    <a:pt x="359" y="1"/>
                  </a:lnTo>
                  <a:lnTo>
                    <a:pt x="362" y="1"/>
                  </a:lnTo>
                  <a:lnTo>
                    <a:pt x="364" y="3"/>
                  </a:lnTo>
                  <a:lnTo>
                    <a:pt x="364" y="1"/>
                  </a:lnTo>
                  <a:lnTo>
                    <a:pt x="366" y="1"/>
                  </a:lnTo>
                  <a:lnTo>
                    <a:pt x="367" y="1"/>
                  </a:lnTo>
                  <a:lnTo>
                    <a:pt x="369" y="1"/>
                  </a:lnTo>
                  <a:lnTo>
                    <a:pt x="371" y="0"/>
                  </a:lnTo>
                  <a:lnTo>
                    <a:pt x="372" y="0"/>
                  </a:lnTo>
                  <a:lnTo>
                    <a:pt x="372" y="1"/>
                  </a:lnTo>
                  <a:lnTo>
                    <a:pt x="372" y="3"/>
                  </a:lnTo>
                  <a:lnTo>
                    <a:pt x="372" y="5"/>
                  </a:lnTo>
                  <a:lnTo>
                    <a:pt x="372" y="7"/>
                  </a:lnTo>
                  <a:lnTo>
                    <a:pt x="374" y="7"/>
                  </a:lnTo>
                  <a:lnTo>
                    <a:pt x="374" y="8"/>
                  </a:lnTo>
                  <a:lnTo>
                    <a:pt x="374" y="10"/>
                  </a:lnTo>
                  <a:lnTo>
                    <a:pt x="372" y="12"/>
                  </a:lnTo>
                  <a:lnTo>
                    <a:pt x="374" y="12"/>
                  </a:lnTo>
                  <a:lnTo>
                    <a:pt x="374" y="15"/>
                  </a:lnTo>
                  <a:lnTo>
                    <a:pt x="372" y="17"/>
                  </a:lnTo>
                  <a:lnTo>
                    <a:pt x="374" y="18"/>
                  </a:lnTo>
                  <a:lnTo>
                    <a:pt x="376" y="18"/>
                  </a:lnTo>
                  <a:lnTo>
                    <a:pt x="378" y="20"/>
                  </a:lnTo>
                  <a:lnTo>
                    <a:pt x="378" y="22"/>
                  </a:lnTo>
                  <a:lnTo>
                    <a:pt x="379" y="24"/>
                  </a:lnTo>
                  <a:lnTo>
                    <a:pt x="381" y="25"/>
                  </a:lnTo>
                  <a:lnTo>
                    <a:pt x="383" y="27"/>
                  </a:lnTo>
                  <a:lnTo>
                    <a:pt x="384" y="29"/>
                  </a:lnTo>
                  <a:lnTo>
                    <a:pt x="386" y="27"/>
                  </a:lnTo>
                  <a:lnTo>
                    <a:pt x="386" y="25"/>
                  </a:lnTo>
                  <a:lnTo>
                    <a:pt x="388" y="25"/>
                  </a:lnTo>
                  <a:lnTo>
                    <a:pt x="391" y="24"/>
                  </a:lnTo>
                  <a:lnTo>
                    <a:pt x="393" y="24"/>
                  </a:lnTo>
                  <a:lnTo>
                    <a:pt x="395" y="22"/>
                  </a:lnTo>
                  <a:lnTo>
                    <a:pt x="396" y="24"/>
                  </a:lnTo>
                  <a:lnTo>
                    <a:pt x="398" y="25"/>
                  </a:lnTo>
                  <a:lnTo>
                    <a:pt x="398" y="27"/>
                  </a:lnTo>
                  <a:lnTo>
                    <a:pt x="398" y="29"/>
                  </a:lnTo>
                  <a:lnTo>
                    <a:pt x="401" y="30"/>
                  </a:lnTo>
                  <a:lnTo>
                    <a:pt x="401" y="32"/>
                  </a:lnTo>
                  <a:lnTo>
                    <a:pt x="400" y="32"/>
                  </a:lnTo>
                  <a:lnTo>
                    <a:pt x="400" y="35"/>
                  </a:lnTo>
                  <a:lnTo>
                    <a:pt x="401" y="37"/>
                  </a:lnTo>
                  <a:lnTo>
                    <a:pt x="400" y="39"/>
                  </a:lnTo>
                  <a:lnTo>
                    <a:pt x="401" y="42"/>
                  </a:lnTo>
                  <a:lnTo>
                    <a:pt x="403" y="44"/>
                  </a:lnTo>
                  <a:lnTo>
                    <a:pt x="405" y="44"/>
                  </a:lnTo>
                  <a:lnTo>
                    <a:pt x="405" y="46"/>
                  </a:lnTo>
                  <a:lnTo>
                    <a:pt x="408" y="44"/>
                  </a:lnTo>
                  <a:lnTo>
                    <a:pt x="410" y="42"/>
                  </a:lnTo>
                  <a:lnTo>
                    <a:pt x="412" y="44"/>
                  </a:lnTo>
                  <a:lnTo>
                    <a:pt x="410" y="46"/>
                  </a:lnTo>
                  <a:lnTo>
                    <a:pt x="412" y="46"/>
                  </a:lnTo>
                  <a:lnTo>
                    <a:pt x="413" y="46"/>
                  </a:lnTo>
                  <a:lnTo>
                    <a:pt x="415" y="46"/>
                  </a:lnTo>
                  <a:lnTo>
                    <a:pt x="417" y="47"/>
                  </a:lnTo>
                  <a:lnTo>
                    <a:pt x="417" y="49"/>
                  </a:lnTo>
                  <a:lnTo>
                    <a:pt x="417" y="52"/>
                  </a:lnTo>
                  <a:lnTo>
                    <a:pt x="417" y="54"/>
                  </a:lnTo>
                  <a:lnTo>
                    <a:pt x="417" y="58"/>
                  </a:lnTo>
                  <a:lnTo>
                    <a:pt x="418" y="58"/>
                  </a:lnTo>
                  <a:lnTo>
                    <a:pt x="417" y="58"/>
                  </a:lnTo>
                  <a:lnTo>
                    <a:pt x="418" y="59"/>
                  </a:lnTo>
                  <a:lnTo>
                    <a:pt x="418" y="58"/>
                  </a:lnTo>
                  <a:lnTo>
                    <a:pt x="418" y="59"/>
                  </a:lnTo>
                  <a:lnTo>
                    <a:pt x="420" y="56"/>
                  </a:lnTo>
                  <a:lnTo>
                    <a:pt x="423" y="56"/>
                  </a:lnTo>
                  <a:lnTo>
                    <a:pt x="425" y="56"/>
                  </a:lnTo>
                  <a:lnTo>
                    <a:pt x="427" y="58"/>
                  </a:lnTo>
                  <a:lnTo>
                    <a:pt x="430" y="58"/>
                  </a:lnTo>
                  <a:lnTo>
                    <a:pt x="432" y="56"/>
                  </a:lnTo>
                  <a:lnTo>
                    <a:pt x="434" y="58"/>
                  </a:lnTo>
                  <a:lnTo>
                    <a:pt x="435" y="59"/>
                  </a:lnTo>
                  <a:lnTo>
                    <a:pt x="435" y="61"/>
                  </a:lnTo>
                  <a:lnTo>
                    <a:pt x="437" y="61"/>
                  </a:lnTo>
                  <a:lnTo>
                    <a:pt x="437" y="63"/>
                  </a:lnTo>
                  <a:lnTo>
                    <a:pt x="437" y="64"/>
                  </a:lnTo>
                  <a:lnTo>
                    <a:pt x="439" y="64"/>
                  </a:lnTo>
                  <a:lnTo>
                    <a:pt x="437" y="63"/>
                  </a:lnTo>
                  <a:lnTo>
                    <a:pt x="439" y="63"/>
                  </a:lnTo>
                  <a:lnTo>
                    <a:pt x="440" y="63"/>
                  </a:lnTo>
                  <a:lnTo>
                    <a:pt x="440" y="64"/>
                  </a:lnTo>
                  <a:lnTo>
                    <a:pt x="439" y="66"/>
                  </a:lnTo>
                  <a:lnTo>
                    <a:pt x="439" y="68"/>
                  </a:lnTo>
                  <a:lnTo>
                    <a:pt x="437" y="68"/>
                  </a:lnTo>
                  <a:lnTo>
                    <a:pt x="437" y="71"/>
                  </a:lnTo>
                  <a:lnTo>
                    <a:pt x="435" y="73"/>
                  </a:lnTo>
                  <a:lnTo>
                    <a:pt x="437" y="73"/>
                  </a:lnTo>
                  <a:lnTo>
                    <a:pt x="439" y="73"/>
                  </a:lnTo>
                  <a:lnTo>
                    <a:pt x="439" y="75"/>
                  </a:lnTo>
                  <a:lnTo>
                    <a:pt x="440" y="78"/>
                  </a:lnTo>
                  <a:lnTo>
                    <a:pt x="439" y="78"/>
                  </a:lnTo>
                  <a:lnTo>
                    <a:pt x="437" y="78"/>
                  </a:lnTo>
                  <a:lnTo>
                    <a:pt x="435" y="80"/>
                  </a:lnTo>
                  <a:lnTo>
                    <a:pt x="435" y="81"/>
                  </a:lnTo>
                  <a:lnTo>
                    <a:pt x="437" y="83"/>
                  </a:lnTo>
                  <a:lnTo>
                    <a:pt x="435" y="83"/>
                  </a:lnTo>
                  <a:lnTo>
                    <a:pt x="437" y="85"/>
                  </a:lnTo>
                  <a:lnTo>
                    <a:pt x="439" y="85"/>
                  </a:lnTo>
                  <a:lnTo>
                    <a:pt x="440" y="85"/>
                  </a:lnTo>
                  <a:lnTo>
                    <a:pt x="442" y="85"/>
                  </a:lnTo>
                  <a:lnTo>
                    <a:pt x="446" y="86"/>
                  </a:lnTo>
                  <a:lnTo>
                    <a:pt x="449" y="88"/>
                  </a:lnTo>
                  <a:lnTo>
                    <a:pt x="452" y="86"/>
                  </a:lnTo>
                  <a:lnTo>
                    <a:pt x="454" y="85"/>
                  </a:lnTo>
                  <a:lnTo>
                    <a:pt x="456" y="85"/>
                  </a:lnTo>
                  <a:lnTo>
                    <a:pt x="457" y="85"/>
                  </a:lnTo>
                  <a:lnTo>
                    <a:pt x="459" y="85"/>
                  </a:lnTo>
                  <a:lnTo>
                    <a:pt x="461" y="85"/>
                  </a:lnTo>
                  <a:lnTo>
                    <a:pt x="461" y="81"/>
                  </a:lnTo>
                  <a:lnTo>
                    <a:pt x="461" y="80"/>
                  </a:lnTo>
                  <a:lnTo>
                    <a:pt x="461" y="78"/>
                  </a:lnTo>
                  <a:lnTo>
                    <a:pt x="464" y="76"/>
                  </a:lnTo>
                  <a:lnTo>
                    <a:pt x="464" y="75"/>
                  </a:lnTo>
                  <a:lnTo>
                    <a:pt x="466" y="73"/>
                  </a:lnTo>
                  <a:lnTo>
                    <a:pt x="468" y="73"/>
                  </a:lnTo>
                  <a:lnTo>
                    <a:pt x="469" y="75"/>
                  </a:lnTo>
                  <a:lnTo>
                    <a:pt x="469" y="76"/>
                  </a:lnTo>
                  <a:lnTo>
                    <a:pt x="469" y="78"/>
                  </a:lnTo>
                  <a:lnTo>
                    <a:pt x="468" y="78"/>
                  </a:lnTo>
                  <a:lnTo>
                    <a:pt x="468" y="80"/>
                  </a:lnTo>
                  <a:lnTo>
                    <a:pt x="466" y="80"/>
                  </a:lnTo>
                  <a:lnTo>
                    <a:pt x="468" y="81"/>
                  </a:lnTo>
                  <a:lnTo>
                    <a:pt x="466" y="83"/>
                  </a:lnTo>
                  <a:lnTo>
                    <a:pt x="466" y="85"/>
                  </a:lnTo>
                  <a:lnTo>
                    <a:pt x="464" y="86"/>
                  </a:lnTo>
                  <a:lnTo>
                    <a:pt x="468" y="88"/>
                  </a:lnTo>
                  <a:lnTo>
                    <a:pt x="468" y="90"/>
                  </a:lnTo>
                  <a:lnTo>
                    <a:pt x="469" y="92"/>
                  </a:lnTo>
                  <a:lnTo>
                    <a:pt x="468" y="92"/>
                  </a:lnTo>
                  <a:lnTo>
                    <a:pt x="468" y="93"/>
                  </a:lnTo>
                  <a:lnTo>
                    <a:pt x="466" y="93"/>
                  </a:lnTo>
                  <a:lnTo>
                    <a:pt x="468" y="95"/>
                  </a:lnTo>
                  <a:lnTo>
                    <a:pt x="468" y="97"/>
                  </a:lnTo>
                  <a:lnTo>
                    <a:pt x="466" y="98"/>
                  </a:lnTo>
                  <a:lnTo>
                    <a:pt x="469" y="100"/>
                  </a:lnTo>
                  <a:lnTo>
                    <a:pt x="471" y="98"/>
                  </a:lnTo>
                  <a:lnTo>
                    <a:pt x="473" y="98"/>
                  </a:lnTo>
                  <a:lnTo>
                    <a:pt x="473" y="100"/>
                  </a:lnTo>
                  <a:lnTo>
                    <a:pt x="476" y="102"/>
                  </a:lnTo>
                  <a:lnTo>
                    <a:pt x="478" y="102"/>
                  </a:lnTo>
                  <a:lnTo>
                    <a:pt x="478" y="103"/>
                  </a:lnTo>
                  <a:lnTo>
                    <a:pt x="478" y="105"/>
                  </a:lnTo>
                  <a:lnTo>
                    <a:pt x="480" y="105"/>
                  </a:lnTo>
                  <a:lnTo>
                    <a:pt x="480" y="107"/>
                  </a:lnTo>
                  <a:lnTo>
                    <a:pt x="481" y="107"/>
                  </a:lnTo>
                  <a:lnTo>
                    <a:pt x="483" y="107"/>
                  </a:lnTo>
                  <a:lnTo>
                    <a:pt x="485" y="107"/>
                  </a:lnTo>
                  <a:lnTo>
                    <a:pt x="485" y="109"/>
                  </a:lnTo>
                  <a:lnTo>
                    <a:pt x="488" y="110"/>
                  </a:lnTo>
                  <a:lnTo>
                    <a:pt x="486" y="112"/>
                  </a:lnTo>
                  <a:lnTo>
                    <a:pt x="486" y="114"/>
                  </a:lnTo>
                  <a:lnTo>
                    <a:pt x="488" y="112"/>
                  </a:lnTo>
                  <a:lnTo>
                    <a:pt x="490" y="114"/>
                  </a:lnTo>
                  <a:lnTo>
                    <a:pt x="491" y="114"/>
                  </a:lnTo>
                  <a:lnTo>
                    <a:pt x="491" y="117"/>
                  </a:lnTo>
                  <a:lnTo>
                    <a:pt x="493" y="117"/>
                  </a:lnTo>
                  <a:lnTo>
                    <a:pt x="491" y="117"/>
                  </a:lnTo>
                  <a:lnTo>
                    <a:pt x="493" y="119"/>
                  </a:lnTo>
                  <a:lnTo>
                    <a:pt x="491" y="120"/>
                  </a:lnTo>
                  <a:lnTo>
                    <a:pt x="493" y="122"/>
                  </a:lnTo>
                  <a:lnTo>
                    <a:pt x="493" y="120"/>
                  </a:lnTo>
                  <a:lnTo>
                    <a:pt x="497" y="120"/>
                  </a:lnTo>
                  <a:lnTo>
                    <a:pt x="497" y="119"/>
                  </a:lnTo>
                  <a:lnTo>
                    <a:pt x="500" y="120"/>
                  </a:lnTo>
                  <a:lnTo>
                    <a:pt x="500" y="119"/>
                  </a:lnTo>
                  <a:lnTo>
                    <a:pt x="502" y="119"/>
                  </a:lnTo>
                  <a:lnTo>
                    <a:pt x="503" y="119"/>
                  </a:lnTo>
                  <a:lnTo>
                    <a:pt x="505" y="119"/>
                  </a:lnTo>
                  <a:lnTo>
                    <a:pt x="507" y="117"/>
                  </a:lnTo>
                  <a:lnTo>
                    <a:pt x="508" y="119"/>
                  </a:lnTo>
                  <a:close/>
                  <a:moveTo>
                    <a:pt x="279" y="597"/>
                  </a:moveTo>
                  <a:lnTo>
                    <a:pt x="282" y="598"/>
                  </a:lnTo>
                  <a:lnTo>
                    <a:pt x="281" y="600"/>
                  </a:lnTo>
                  <a:lnTo>
                    <a:pt x="279" y="600"/>
                  </a:lnTo>
                  <a:lnTo>
                    <a:pt x="279" y="597"/>
                  </a:lnTo>
                  <a:close/>
                  <a:moveTo>
                    <a:pt x="668" y="585"/>
                  </a:moveTo>
                  <a:lnTo>
                    <a:pt x="672" y="587"/>
                  </a:lnTo>
                  <a:lnTo>
                    <a:pt x="670" y="588"/>
                  </a:lnTo>
                  <a:lnTo>
                    <a:pt x="672" y="590"/>
                  </a:lnTo>
                  <a:lnTo>
                    <a:pt x="672" y="593"/>
                  </a:lnTo>
                  <a:lnTo>
                    <a:pt x="672" y="595"/>
                  </a:lnTo>
                  <a:lnTo>
                    <a:pt x="672" y="597"/>
                  </a:lnTo>
                  <a:lnTo>
                    <a:pt x="672" y="598"/>
                  </a:lnTo>
                  <a:lnTo>
                    <a:pt x="672" y="600"/>
                  </a:lnTo>
                  <a:lnTo>
                    <a:pt x="672" y="602"/>
                  </a:lnTo>
                  <a:lnTo>
                    <a:pt x="670" y="605"/>
                  </a:lnTo>
                  <a:lnTo>
                    <a:pt x="670" y="607"/>
                  </a:lnTo>
                  <a:lnTo>
                    <a:pt x="670" y="609"/>
                  </a:lnTo>
                  <a:lnTo>
                    <a:pt x="670" y="610"/>
                  </a:lnTo>
                  <a:lnTo>
                    <a:pt x="672" y="612"/>
                  </a:lnTo>
                  <a:lnTo>
                    <a:pt x="673" y="614"/>
                  </a:lnTo>
                  <a:lnTo>
                    <a:pt x="673" y="615"/>
                  </a:lnTo>
                  <a:lnTo>
                    <a:pt x="675" y="617"/>
                  </a:lnTo>
                  <a:lnTo>
                    <a:pt x="675" y="619"/>
                  </a:lnTo>
                  <a:lnTo>
                    <a:pt x="673" y="621"/>
                  </a:lnTo>
                  <a:lnTo>
                    <a:pt x="675" y="624"/>
                  </a:lnTo>
                  <a:lnTo>
                    <a:pt x="675" y="626"/>
                  </a:lnTo>
                  <a:lnTo>
                    <a:pt x="673" y="629"/>
                  </a:lnTo>
                  <a:lnTo>
                    <a:pt x="675" y="631"/>
                  </a:lnTo>
                  <a:lnTo>
                    <a:pt x="675" y="633"/>
                  </a:lnTo>
                  <a:lnTo>
                    <a:pt x="675" y="634"/>
                  </a:lnTo>
                  <a:lnTo>
                    <a:pt x="675" y="636"/>
                  </a:lnTo>
                  <a:lnTo>
                    <a:pt x="675" y="639"/>
                  </a:lnTo>
                  <a:lnTo>
                    <a:pt x="675" y="643"/>
                  </a:lnTo>
                  <a:lnTo>
                    <a:pt x="675" y="644"/>
                  </a:lnTo>
                  <a:lnTo>
                    <a:pt x="675" y="648"/>
                  </a:lnTo>
                  <a:lnTo>
                    <a:pt x="673" y="650"/>
                  </a:lnTo>
                  <a:lnTo>
                    <a:pt x="673" y="651"/>
                  </a:lnTo>
                  <a:lnTo>
                    <a:pt x="672" y="653"/>
                  </a:lnTo>
                  <a:lnTo>
                    <a:pt x="670" y="655"/>
                  </a:lnTo>
                  <a:lnTo>
                    <a:pt x="670" y="656"/>
                  </a:lnTo>
                  <a:lnTo>
                    <a:pt x="668" y="658"/>
                  </a:lnTo>
                  <a:lnTo>
                    <a:pt x="668" y="660"/>
                  </a:lnTo>
                  <a:lnTo>
                    <a:pt x="668" y="661"/>
                  </a:lnTo>
                  <a:lnTo>
                    <a:pt x="667" y="665"/>
                  </a:lnTo>
                  <a:lnTo>
                    <a:pt x="667" y="667"/>
                  </a:lnTo>
                  <a:lnTo>
                    <a:pt x="667" y="668"/>
                  </a:lnTo>
                  <a:lnTo>
                    <a:pt x="667" y="670"/>
                  </a:lnTo>
                  <a:lnTo>
                    <a:pt x="667" y="672"/>
                  </a:lnTo>
                  <a:lnTo>
                    <a:pt x="667" y="675"/>
                  </a:lnTo>
                  <a:lnTo>
                    <a:pt x="667" y="677"/>
                  </a:lnTo>
                  <a:lnTo>
                    <a:pt x="665" y="678"/>
                  </a:lnTo>
                  <a:lnTo>
                    <a:pt x="667" y="682"/>
                  </a:lnTo>
                  <a:lnTo>
                    <a:pt x="665" y="682"/>
                  </a:lnTo>
                  <a:lnTo>
                    <a:pt x="665" y="684"/>
                  </a:lnTo>
                  <a:lnTo>
                    <a:pt x="663" y="684"/>
                  </a:lnTo>
                  <a:lnTo>
                    <a:pt x="661" y="682"/>
                  </a:lnTo>
                  <a:lnTo>
                    <a:pt x="660" y="684"/>
                  </a:lnTo>
                  <a:lnTo>
                    <a:pt x="661" y="685"/>
                  </a:lnTo>
                  <a:lnTo>
                    <a:pt x="663" y="684"/>
                  </a:lnTo>
                  <a:lnTo>
                    <a:pt x="665" y="685"/>
                  </a:lnTo>
                  <a:lnTo>
                    <a:pt x="663" y="687"/>
                  </a:lnTo>
                  <a:lnTo>
                    <a:pt x="661" y="689"/>
                  </a:lnTo>
                  <a:lnTo>
                    <a:pt x="660" y="689"/>
                  </a:lnTo>
                  <a:lnTo>
                    <a:pt x="660" y="690"/>
                  </a:lnTo>
                  <a:lnTo>
                    <a:pt x="660" y="692"/>
                  </a:lnTo>
                  <a:lnTo>
                    <a:pt x="661" y="692"/>
                  </a:lnTo>
                  <a:lnTo>
                    <a:pt x="660" y="694"/>
                  </a:lnTo>
                  <a:lnTo>
                    <a:pt x="658" y="695"/>
                  </a:lnTo>
                  <a:lnTo>
                    <a:pt x="656" y="697"/>
                  </a:lnTo>
                  <a:lnTo>
                    <a:pt x="660" y="697"/>
                  </a:lnTo>
                  <a:lnTo>
                    <a:pt x="658" y="699"/>
                  </a:lnTo>
                  <a:lnTo>
                    <a:pt x="656" y="701"/>
                  </a:lnTo>
                  <a:lnTo>
                    <a:pt x="655" y="701"/>
                  </a:lnTo>
                  <a:lnTo>
                    <a:pt x="653" y="699"/>
                  </a:lnTo>
                  <a:lnTo>
                    <a:pt x="650" y="699"/>
                  </a:lnTo>
                  <a:lnTo>
                    <a:pt x="651" y="697"/>
                  </a:lnTo>
                  <a:lnTo>
                    <a:pt x="651" y="695"/>
                  </a:lnTo>
                  <a:lnTo>
                    <a:pt x="650" y="695"/>
                  </a:lnTo>
                  <a:lnTo>
                    <a:pt x="650" y="692"/>
                  </a:lnTo>
                  <a:lnTo>
                    <a:pt x="648" y="694"/>
                  </a:lnTo>
                  <a:lnTo>
                    <a:pt x="644" y="692"/>
                  </a:lnTo>
                  <a:lnTo>
                    <a:pt x="644" y="694"/>
                  </a:lnTo>
                  <a:lnTo>
                    <a:pt x="643" y="692"/>
                  </a:lnTo>
                  <a:lnTo>
                    <a:pt x="641" y="692"/>
                  </a:lnTo>
                  <a:lnTo>
                    <a:pt x="641" y="690"/>
                  </a:lnTo>
                  <a:lnTo>
                    <a:pt x="639" y="690"/>
                  </a:lnTo>
                  <a:lnTo>
                    <a:pt x="639" y="689"/>
                  </a:lnTo>
                  <a:lnTo>
                    <a:pt x="638" y="690"/>
                  </a:lnTo>
                  <a:lnTo>
                    <a:pt x="638" y="687"/>
                  </a:lnTo>
                  <a:lnTo>
                    <a:pt x="638" y="689"/>
                  </a:lnTo>
                  <a:lnTo>
                    <a:pt x="636" y="687"/>
                  </a:lnTo>
                  <a:lnTo>
                    <a:pt x="634" y="687"/>
                  </a:lnTo>
                  <a:lnTo>
                    <a:pt x="634" y="685"/>
                  </a:lnTo>
                  <a:lnTo>
                    <a:pt x="634" y="682"/>
                  </a:lnTo>
                  <a:lnTo>
                    <a:pt x="636" y="680"/>
                  </a:lnTo>
                  <a:lnTo>
                    <a:pt x="636" y="682"/>
                  </a:lnTo>
                  <a:lnTo>
                    <a:pt x="639" y="680"/>
                  </a:lnTo>
                  <a:lnTo>
                    <a:pt x="639" y="678"/>
                  </a:lnTo>
                  <a:lnTo>
                    <a:pt x="641" y="677"/>
                  </a:lnTo>
                  <a:lnTo>
                    <a:pt x="639" y="678"/>
                  </a:lnTo>
                  <a:lnTo>
                    <a:pt x="638" y="677"/>
                  </a:lnTo>
                  <a:lnTo>
                    <a:pt x="636" y="675"/>
                  </a:lnTo>
                  <a:lnTo>
                    <a:pt x="634" y="677"/>
                  </a:lnTo>
                  <a:lnTo>
                    <a:pt x="634" y="673"/>
                  </a:lnTo>
                  <a:lnTo>
                    <a:pt x="631" y="675"/>
                  </a:lnTo>
                  <a:lnTo>
                    <a:pt x="629" y="673"/>
                  </a:lnTo>
                  <a:lnTo>
                    <a:pt x="627" y="673"/>
                  </a:lnTo>
                  <a:lnTo>
                    <a:pt x="629" y="673"/>
                  </a:lnTo>
                  <a:lnTo>
                    <a:pt x="631" y="672"/>
                  </a:lnTo>
                  <a:lnTo>
                    <a:pt x="631" y="670"/>
                  </a:lnTo>
                  <a:lnTo>
                    <a:pt x="633" y="670"/>
                  </a:lnTo>
                  <a:lnTo>
                    <a:pt x="634" y="668"/>
                  </a:lnTo>
                  <a:lnTo>
                    <a:pt x="634" y="667"/>
                  </a:lnTo>
                  <a:lnTo>
                    <a:pt x="633" y="667"/>
                  </a:lnTo>
                  <a:lnTo>
                    <a:pt x="634" y="667"/>
                  </a:lnTo>
                  <a:lnTo>
                    <a:pt x="634" y="663"/>
                  </a:lnTo>
                  <a:lnTo>
                    <a:pt x="636" y="663"/>
                  </a:lnTo>
                  <a:lnTo>
                    <a:pt x="634" y="661"/>
                  </a:lnTo>
                  <a:lnTo>
                    <a:pt x="633" y="660"/>
                  </a:lnTo>
                  <a:lnTo>
                    <a:pt x="631" y="661"/>
                  </a:lnTo>
                  <a:lnTo>
                    <a:pt x="629" y="661"/>
                  </a:lnTo>
                  <a:lnTo>
                    <a:pt x="627" y="661"/>
                  </a:lnTo>
                  <a:lnTo>
                    <a:pt x="626" y="663"/>
                  </a:lnTo>
                  <a:lnTo>
                    <a:pt x="626" y="660"/>
                  </a:lnTo>
                  <a:lnTo>
                    <a:pt x="624" y="658"/>
                  </a:lnTo>
                  <a:lnTo>
                    <a:pt x="627" y="658"/>
                  </a:lnTo>
                  <a:lnTo>
                    <a:pt x="629" y="656"/>
                  </a:lnTo>
                  <a:lnTo>
                    <a:pt x="627" y="655"/>
                  </a:lnTo>
                  <a:lnTo>
                    <a:pt x="629" y="653"/>
                  </a:lnTo>
                  <a:lnTo>
                    <a:pt x="631" y="653"/>
                  </a:lnTo>
                  <a:lnTo>
                    <a:pt x="633" y="653"/>
                  </a:lnTo>
                  <a:lnTo>
                    <a:pt x="633" y="651"/>
                  </a:lnTo>
                  <a:lnTo>
                    <a:pt x="631" y="651"/>
                  </a:lnTo>
                  <a:lnTo>
                    <a:pt x="631" y="650"/>
                  </a:lnTo>
                  <a:lnTo>
                    <a:pt x="631" y="648"/>
                  </a:lnTo>
                  <a:lnTo>
                    <a:pt x="627" y="648"/>
                  </a:lnTo>
                  <a:lnTo>
                    <a:pt x="627" y="646"/>
                  </a:lnTo>
                  <a:lnTo>
                    <a:pt x="626" y="646"/>
                  </a:lnTo>
                  <a:lnTo>
                    <a:pt x="624" y="646"/>
                  </a:lnTo>
                  <a:lnTo>
                    <a:pt x="624" y="644"/>
                  </a:lnTo>
                  <a:lnTo>
                    <a:pt x="622" y="644"/>
                  </a:lnTo>
                  <a:lnTo>
                    <a:pt x="624" y="643"/>
                  </a:lnTo>
                  <a:lnTo>
                    <a:pt x="622" y="643"/>
                  </a:lnTo>
                  <a:lnTo>
                    <a:pt x="624" y="643"/>
                  </a:lnTo>
                  <a:lnTo>
                    <a:pt x="624" y="641"/>
                  </a:lnTo>
                  <a:lnTo>
                    <a:pt x="624" y="639"/>
                  </a:lnTo>
                  <a:lnTo>
                    <a:pt x="622" y="638"/>
                  </a:lnTo>
                  <a:lnTo>
                    <a:pt x="624" y="638"/>
                  </a:lnTo>
                  <a:lnTo>
                    <a:pt x="626" y="638"/>
                  </a:lnTo>
                  <a:lnTo>
                    <a:pt x="629" y="636"/>
                  </a:lnTo>
                  <a:lnTo>
                    <a:pt x="631" y="636"/>
                  </a:lnTo>
                  <a:lnTo>
                    <a:pt x="629" y="634"/>
                  </a:lnTo>
                  <a:lnTo>
                    <a:pt x="626" y="634"/>
                  </a:lnTo>
                  <a:lnTo>
                    <a:pt x="626" y="633"/>
                  </a:lnTo>
                  <a:lnTo>
                    <a:pt x="627" y="633"/>
                  </a:lnTo>
                  <a:lnTo>
                    <a:pt x="626" y="631"/>
                  </a:lnTo>
                  <a:lnTo>
                    <a:pt x="624" y="631"/>
                  </a:lnTo>
                  <a:lnTo>
                    <a:pt x="622" y="631"/>
                  </a:lnTo>
                  <a:lnTo>
                    <a:pt x="622" y="629"/>
                  </a:lnTo>
                  <a:lnTo>
                    <a:pt x="624" y="629"/>
                  </a:lnTo>
                  <a:lnTo>
                    <a:pt x="624" y="627"/>
                  </a:lnTo>
                  <a:lnTo>
                    <a:pt x="626" y="627"/>
                  </a:lnTo>
                  <a:lnTo>
                    <a:pt x="626" y="626"/>
                  </a:lnTo>
                  <a:lnTo>
                    <a:pt x="627" y="626"/>
                  </a:lnTo>
                  <a:lnTo>
                    <a:pt x="629" y="624"/>
                  </a:lnTo>
                  <a:lnTo>
                    <a:pt x="627" y="624"/>
                  </a:lnTo>
                  <a:lnTo>
                    <a:pt x="629" y="624"/>
                  </a:lnTo>
                  <a:lnTo>
                    <a:pt x="629" y="622"/>
                  </a:lnTo>
                  <a:lnTo>
                    <a:pt x="627" y="621"/>
                  </a:lnTo>
                  <a:lnTo>
                    <a:pt x="629" y="619"/>
                  </a:lnTo>
                  <a:lnTo>
                    <a:pt x="633" y="619"/>
                  </a:lnTo>
                  <a:lnTo>
                    <a:pt x="633" y="615"/>
                  </a:lnTo>
                  <a:lnTo>
                    <a:pt x="631" y="615"/>
                  </a:lnTo>
                  <a:lnTo>
                    <a:pt x="633" y="614"/>
                  </a:lnTo>
                  <a:lnTo>
                    <a:pt x="633" y="615"/>
                  </a:lnTo>
                  <a:lnTo>
                    <a:pt x="634" y="615"/>
                  </a:lnTo>
                  <a:lnTo>
                    <a:pt x="636" y="615"/>
                  </a:lnTo>
                  <a:lnTo>
                    <a:pt x="636" y="612"/>
                  </a:lnTo>
                  <a:lnTo>
                    <a:pt x="639" y="612"/>
                  </a:lnTo>
                  <a:lnTo>
                    <a:pt x="641" y="610"/>
                  </a:lnTo>
                  <a:lnTo>
                    <a:pt x="643" y="610"/>
                  </a:lnTo>
                  <a:lnTo>
                    <a:pt x="644" y="610"/>
                  </a:lnTo>
                  <a:lnTo>
                    <a:pt x="646" y="610"/>
                  </a:lnTo>
                  <a:lnTo>
                    <a:pt x="648" y="610"/>
                  </a:lnTo>
                  <a:lnTo>
                    <a:pt x="650" y="609"/>
                  </a:lnTo>
                  <a:lnTo>
                    <a:pt x="650" y="607"/>
                  </a:lnTo>
                  <a:lnTo>
                    <a:pt x="651" y="605"/>
                  </a:lnTo>
                  <a:lnTo>
                    <a:pt x="653" y="604"/>
                  </a:lnTo>
                  <a:lnTo>
                    <a:pt x="655" y="604"/>
                  </a:lnTo>
                  <a:lnTo>
                    <a:pt x="656" y="604"/>
                  </a:lnTo>
                  <a:lnTo>
                    <a:pt x="658" y="604"/>
                  </a:lnTo>
                  <a:lnTo>
                    <a:pt x="660" y="605"/>
                  </a:lnTo>
                  <a:lnTo>
                    <a:pt x="661" y="609"/>
                  </a:lnTo>
                  <a:lnTo>
                    <a:pt x="661" y="607"/>
                  </a:lnTo>
                  <a:lnTo>
                    <a:pt x="663" y="607"/>
                  </a:lnTo>
                  <a:lnTo>
                    <a:pt x="665" y="604"/>
                  </a:lnTo>
                  <a:lnTo>
                    <a:pt x="665" y="602"/>
                  </a:lnTo>
                  <a:lnTo>
                    <a:pt x="665" y="598"/>
                  </a:lnTo>
                  <a:lnTo>
                    <a:pt x="663" y="597"/>
                  </a:lnTo>
                  <a:lnTo>
                    <a:pt x="665" y="595"/>
                  </a:lnTo>
                  <a:lnTo>
                    <a:pt x="663" y="592"/>
                  </a:lnTo>
                  <a:lnTo>
                    <a:pt x="665" y="590"/>
                  </a:lnTo>
                  <a:lnTo>
                    <a:pt x="665" y="588"/>
                  </a:lnTo>
                  <a:lnTo>
                    <a:pt x="665" y="585"/>
                  </a:lnTo>
                  <a:lnTo>
                    <a:pt x="668" y="585"/>
                  </a:lnTo>
                  <a:close/>
                  <a:moveTo>
                    <a:pt x="145" y="326"/>
                  </a:moveTo>
                  <a:lnTo>
                    <a:pt x="146" y="326"/>
                  </a:lnTo>
                  <a:lnTo>
                    <a:pt x="146" y="328"/>
                  </a:lnTo>
                  <a:lnTo>
                    <a:pt x="148" y="328"/>
                  </a:lnTo>
                  <a:lnTo>
                    <a:pt x="148" y="330"/>
                  </a:lnTo>
                  <a:lnTo>
                    <a:pt x="150" y="331"/>
                  </a:lnTo>
                  <a:lnTo>
                    <a:pt x="151" y="331"/>
                  </a:lnTo>
                  <a:lnTo>
                    <a:pt x="151" y="333"/>
                  </a:lnTo>
                  <a:lnTo>
                    <a:pt x="151" y="337"/>
                  </a:lnTo>
                  <a:lnTo>
                    <a:pt x="153" y="338"/>
                  </a:lnTo>
                  <a:lnTo>
                    <a:pt x="151" y="342"/>
                  </a:lnTo>
                  <a:lnTo>
                    <a:pt x="151" y="343"/>
                  </a:lnTo>
                  <a:lnTo>
                    <a:pt x="150" y="345"/>
                  </a:lnTo>
                  <a:lnTo>
                    <a:pt x="150" y="343"/>
                  </a:lnTo>
                  <a:lnTo>
                    <a:pt x="150" y="340"/>
                  </a:lnTo>
                  <a:lnTo>
                    <a:pt x="150" y="338"/>
                  </a:lnTo>
                  <a:lnTo>
                    <a:pt x="148" y="337"/>
                  </a:lnTo>
                  <a:lnTo>
                    <a:pt x="146" y="335"/>
                  </a:lnTo>
                  <a:lnTo>
                    <a:pt x="145" y="333"/>
                  </a:lnTo>
                  <a:lnTo>
                    <a:pt x="145" y="330"/>
                  </a:lnTo>
                  <a:lnTo>
                    <a:pt x="145" y="328"/>
                  </a:lnTo>
                  <a:lnTo>
                    <a:pt x="145" y="326"/>
                  </a:lnTo>
                  <a:close/>
                  <a:moveTo>
                    <a:pt x="73" y="217"/>
                  </a:moveTo>
                  <a:lnTo>
                    <a:pt x="75" y="219"/>
                  </a:lnTo>
                  <a:lnTo>
                    <a:pt x="75" y="221"/>
                  </a:lnTo>
                  <a:lnTo>
                    <a:pt x="77" y="221"/>
                  </a:lnTo>
                  <a:lnTo>
                    <a:pt x="77" y="223"/>
                  </a:lnTo>
                  <a:lnTo>
                    <a:pt x="78" y="224"/>
                  </a:lnTo>
                  <a:lnTo>
                    <a:pt x="80" y="224"/>
                  </a:lnTo>
                  <a:lnTo>
                    <a:pt x="80" y="226"/>
                  </a:lnTo>
                  <a:lnTo>
                    <a:pt x="78" y="228"/>
                  </a:lnTo>
                  <a:lnTo>
                    <a:pt x="77" y="226"/>
                  </a:lnTo>
                  <a:lnTo>
                    <a:pt x="75" y="224"/>
                  </a:lnTo>
                  <a:lnTo>
                    <a:pt x="73" y="224"/>
                  </a:lnTo>
                  <a:lnTo>
                    <a:pt x="72" y="223"/>
                  </a:lnTo>
                  <a:lnTo>
                    <a:pt x="73" y="223"/>
                  </a:lnTo>
                  <a:lnTo>
                    <a:pt x="72" y="221"/>
                  </a:lnTo>
                  <a:lnTo>
                    <a:pt x="72" y="219"/>
                  </a:lnTo>
                  <a:lnTo>
                    <a:pt x="73" y="219"/>
                  </a:lnTo>
                  <a:lnTo>
                    <a:pt x="73" y="217"/>
                  </a:lnTo>
                  <a:close/>
                  <a:moveTo>
                    <a:pt x="141" y="311"/>
                  </a:moveTo>
                  <a:lnTo>
                    <a:pt x="143" y="313"/>
                  </a:lnTo>
                  <a:lnTo>
                    <a:pt x="141" y="313"/>
                  </a:lnTo>
                  <a:lnTo>
                    <a:pt x="143" y="314"/>
                  </a:lnTo>
                  <a:lnTo>
                    <a:pt x="145" y="313"/>
                  </a:lnTo>
                  <a:lnTo>
                    <a:pt x="143" y="313"/>
                  </a:lnTo>
                  <a:lnTo>
                    <a:pt x="146" y="313"/>
                  </a:lnTo>
                  <a:lnTo>
                    <a:pt x="145" y="314"/>
                  </a:lnTo>
                  <a:lnTo>
                    <a:pt x="146" y="314"/>
                  </a:lnTo>
                  <a:lnTo>
                    <a:pt x="148" y="316"/>
                  </a:lnTo>
                  <a:lnTo>
                    <a:pt x="150" y="316"/>
                  </a:lnTo>
                  <a:lnTo>
                    <a:pt x="151" y="318"/>
                  </a:lnTo>
                  <a:lnTo>
                    <a:pt x="151" y="320"/>
                  </a:lnTo>
                  <a:lnTo>
                    <a:pt x="153" y="320"/>
                  </a:lnTo>
                  <a:lnTo>
                    <a:pt x="151" y="320"/>
                  </a:lnTo>
                  <a:lnTo>
                    <a:pt x="150" y="320"/>
                  </a:lnTo>
                  <a:lnTo>
                    <a:pt x="148" y="320"/>
                  </a:lnTo>
                  <a:lnTo>
                    <a:pt x="146" y="318"/>
                  </a:lnTo>
                  <a:lnTo>
                    <a:pt x="145" y="316"/>
                  </a:lnTo>
                  <a:lnTo>
                    <a:pt x="143" y="314"/>
                  </a:lnTo>
                  <a:lnTo>
                    <a:pt x="141" y="314"/>
                  </a:lnTo>
                  <a:lnTo>
                    <a:pt x="140" y="314"/>
                  </a:lnTo>
                  <a:lnTo>
                    <a:pt x="140" y="313"/>
                  </a:lnTo>
                  <a:lnTo>
                    <a:pt x="140" y="311"/>
                  </a:lnTo>
                  <a:lnTo>
                    <a:pt x="141" y="311"/>
                  </a:lnTo>
                  <a:close/>
                  <a:moveTo>
                    <a:pt x="114" y="251"/>
                  </a:moveTo>
                  <a:lnTo>
                    <a:pt x="117" y="253"/>
                  </a:lnTo>
                  <a:lnTo>
                    <a:pt x="116" y="255"/>
                  </a:lnTo>
                  <a:lnTo>
                    <a:pt x="116" y="253"/>
                  </a:lnTo>
                  <a:lnTo>
                    <a:pt x="116" y="255"/>
                  </a:lnTo>
                  <a:lnTo>
                    <a:pt x="117" y="257"/>
                  </a:lnTo>
                  <a:lnTo>
                    <a:pt x="119" y="257"/>
                  </a:lnTo>
                  <a:lnTo>
                    <a:pt x="119" y="258"/>
                  </a:lnTo>
                  <a:lnTo>
                    <a:pt x="119" y="262"/>
                  </a:lnTo>
                  <a:lnTo>
                    <a:pt x="117" y="260"/>
                  </a:lnTo>
                  <a:lnTo>
                    <a:pt x="117" y="258"/>
                  </a:lnTo>
                  <a:lnTo>
                    <a:pt x="116" y="257"/>
                  </a:lnTo>
                  <a:lnTo>
                    <a:pt x="114" y="257"/>
                  </a:lnTo>
                  <a:lnTo>
                    <a:pt x="112" y="253"/>
                  </a:lnTo>
                  <a:lnTo>
                    <a:pt x="112" y="251"/>
                  </a:lnTo>
                  <a:lnTo>
                    <a:pt x="114" y="251"/>
                  </a:lnTo>
                  <a:close/>
                  <a:moveTo>
                    <a:pt x="106" y="270"/>
                  </a:moveTo>
                  <a:lnTo>
                    <a:pt x="109" y="272"/>
                  </a:lnTo>
                  <a:lnTo>
                    <a:pt x="111" y="275"/>
                  </a:lnTo>
                  <a:lnTo>
                    <a:pt x="109" y="274"/>
                  </a:lnTo>
                  <a:lnTo>
                    <a:pt x="107" y="274"/>
                  </a:lnTo>
                  <a:lnTo>
                    <a:pt x="106" y="274"/>
                  </a:lnTo>
                  <a:lnTo>
                    <a:pt x="104" y="270"/>
                  </a:lnTo>
                  <a:lnTo>
                    <a:pt x="106" y="270"/>
                  </a:lnTo>
                  <a:close/>
                  <a:moveTo>
                    <a:pt x="4" y="126"/>
                  </a:moveTo>
                  <a:lnTo>
                    <a:pt x="5" y="127"/>
                  </a:lnTo>
                  <a:lnTo>
                    <a:pt x="4" y="129"/>
                  </a:lnTo>
                  <a:lnTo>
                    <a:pt x="2" y="129"/>
                  </a:lnTo>
                  <a:lnTo>
                    <a:pt x="2" y="127"/>
                  </a:lnTo>
                  <a:lnTo>
                    <a:pt x="0" y="127"/>
                  </a:lnTo>
                  <a:lnTo>
                    <a:pt x="2" y="126"/>
                  </a:lnTo>
                  <a:lnTo>
                    <a:pt x="4" y="127"/>
                  </a:lnTo>
                  <a:lnTo>
                    <a:pt x="4" y="126"/>
                  </a:lnTo>
                  <a:close/>
                  <a:moveTo>
                    <a:pt x="65" y="197"/>
                  </a:moveTo>
                  <a:lnTo>
                    <a:pt x="66" y="199"/>
                  </a:lnTo>
                  <a:lnTo>
                    <a:pt x="68" y="199"/>
                  </a:lnTo>
                  <a:lnTo>
                    <a:pt x="68" y="200"/>
                  </a:lnTo>
                  <a:lnTo>
                    <a:pt x="65" y="199"/>
                  </a:lnTo>
                  <a:lnTo>
                    <a:pt x="65" y="197"/>
                  </a:lnTo>
                  <a:close/>
                  <a:moveTo>
                    <a:pt x="505" y="578"/>
                  </a:moveTo>
                  <a:lnTo>
                    <a:pt x="505" y="580"/>
                  </a:lnTo>
                  <a:lnTo>
                    <a:pt x="502" y="581"/>
                  </a:lnTo>
                  <a:lnTo>
                    <a:pt x="500" y="580"/>
                  </a:lnTo>
                  <a:lnTo>
                    <a:pt x="503" y="580"/>
                  </a:lnTo>
                  <a:lnTo>
                    <a:pt x="505" y="578"/>
                  </a:lnTo>
                  <a:close/>
                  <a:moveTo>
                    <a:pt x="519" y="576"/>
                  </a:moveTo>
                  <a:lnTo>
                    <a:pt x="515" y="580"/>
                  </a:lnTo>
                  <a:lnTo>
                    <a:pt x="514" y="580"/>
                  </a:lnTo>
                  <a:lnTo>
                    <a:pt x="515" y="578"/>
                  </a:lnTo>
                  <a:lnTo>
                    <a:pt x="519" y="576"/>
                  </a:lnTo>
                  <a:close/>
                  <a:moveTo>
                    <a:pt x="174" y="405"/>
                  </a:moveTo>
                  <a:lnTo>
                    <a:pt x="172" y="403"/>
                  </a:lnTo>
                  <a:lnTo>
                    <a:pt x="170" y="401"/>
                  </a:lnTo>
                  <a:lnTo>
                    <a:pt x="170" y="399"/>
                  </a:lnTo>
                  <a:lnTo>
                    <a:pt x="170" y="398"/>
                  </a:lnTo>
                  <a:lnTo>
                    <a:pt x="170" y="399"/>
                  </a:lnTo>
                  <a:lnTo>
                    <a:pt x="172" y="401"/>
                  </a:lnTo>
                  <a:lnTo>
                    <a:pt x="172" y="403"/>
                  </a:lnTo>
                  <a:lnTo>
                    <a:pt x="174" y="405"/>
                  </a:lnTo>
                  <a:close/>
                  <a:moveTo>
                    <a:pt x="362" y="1"/>
                  </a:moveTo>
                  <a:lnTo>
                    <a:pt x="359" y="1"/>
                  </a:lnTo>
                  <a:lnTo>
                    <a:pt x="355" y="3"/>
                  </a:lnTo>
                  <a:lnTo>
                    <a:pt x="355" y="1"/>
                  </a:lnTo>
                  <a:lnTo>
                    <a:pt x="357" y="1"/>
                  </a:lnTo>
                  <a:lnTo>
                    <a:pt x="359" y="1"/>
                  </a:lnTo>
                  <a:lnTo>
                    <a:pt x="361" y="1"/>
                  </a:lnTo>
                  <a:lnTo>
                    <a:pt x="362" y="1"/>
                  </a:lnTo>
                  <a:close/>
                  <a:moveTo>
                    <a:pt x="510" y="580"/>
                  </a:moveTo>
                  <a:lnTo>
                    <a:pt x="514" y="580"/>
                  </a:lnTo>
                  <a:lnTo>
                    <a:pt x="514" y="581"/>
                  </a:lnTo>
                  <a:lnTo>
                    <a:pt x="510" y="580"/>
                  </a:lnTo>
                  <a:close/>
                  <a:moveTo>
                    <a:pt x="253" y="98"/>
                  </a:moveTo>
                  <a:lnTo>
                    <a:pt x="252" y="98"/>
                  </a:lnTo>
                  <a:lnTo>
                    <a:pt x="250" y="98"/>
                  </a:lnTo>
                  <a:lnTo>
                    <a:pt x="252" y="98"/>
                  </a:lnTo>
                  <a:lnTo>
                    <a:pt x="253" y="98"/>
                  </a:lnTo>
                  <a:close/>
                  <a:moveTo>
                    <a:pt x="94" y="206"/>
                  </a:moveTo>
                  <a:lnTo>
                    <a:pt x="95" y="207"/>
                  </a:lnTo>
                  <a:lnTo>
                    <a:pt x="95" y="209"/>
                  </a:lnTo>
                  <a:lnTo>
                    <a:pt x="94" y="209"/>
                  </a:lnTo>
                  <a:lnTo>
                    <a:pt x="94" y="206"/>
                  </a:lnTo>
                  <a:close/>
                  <a:moveTo>
                    <a:pt x="168" y="389"/>
                  </a:moveTo>
                  <a:lnTo>
                    <a:pt x="170" y="389"/>
                  </a:lnTo>
                  <a:lnTo>
                    <a:pt x="168" y="393"/>
                  </a:lnTo>
                  <a:lnTo>
                    <a:pt x="168" y="389"/>
                  </a:lnTo>
                  <a:close/>
                  <a:moveTo>
                    <a:pt x="56" y="117"/>
                  </a:moveTo>
                  <a:lnTo>
                    <a:pt x="56" y="119"/>
                  </a:lnTo>
                  <a:lnTo>
                    <a:pt x="55" y="117"/>
                  </a:lnTo>
                  <a:lnTo>
                    <a:pt x="56" y="117"/>
                  </a:lnTo>
                  <a:close/>
                  <a:moveTo>
                    <a:pt x="85" y="219"/>
                  </a:moveTo>
                  <a:lnTo>
                    <a:pt x="87" y="221"/>
                  </a:lnTo>
                  <a:lnTo>
                    <a:pt x="85" y="219"/>
                  </a:lnTo>
                  <a:close/>
                  <a:moveTo>
                    <a:pt x="170" y="396"/>
                  </a:moveTo>
                  <a:lnTo>
                    <a:pt x="170" y="393"/>
                  </a:lnTo>
                  <a:lnTo>
                    <a:pt x="170" y="391"/>
                  </a:lnTo>
                  <a:lnTo>
                    <a:pt x="170" y="394"/>
                  </a:lnTo>
                  <a:lnTo>
                    <a:pt x="170" y="396"/>
                  </a:lnTo>
                  <a:close/>
                  <a:moveTo>
                    <a:pt x="95" y="207"/>
                  </a:moveTo>
                  <a:lnTo>
                    <a:pt x="97" y="207"/>
                  </a:lnTo>
                  <a:lnTo>
                    <a:pt x="97" y="209"/>
                  </a:lnTo>
                  <a:lnTo>
                    <a:pt x="95" y="209"/>
                  </a:lnTo>
                  <a:lnTo>
                    <a:pt x="95" y="207"/>
                  </a:lnTo>
                  <a:close/>
                  <a:moveTo>
                    <a:pt x="102" y="119"/>
                  </a:moveTo>
                  <a:lnTo>
                    <a:pt x="104" y="119"/>
                  </a:lnTo>
                  <a:lnTo>
                    <a:pt x="104" y="120"/>
                  </a:lnTo>
                  <a:lnTo>
                    <a:pt x="102" y="120"/>
                  </a:lnTo>
                  <a:lnTo>
                    <a:pt x="102" y="119"/>
                  </a:lnTo>
                  <a:close/>
                  <a:moveTo>
                    <a:pt x="89" y="224"/>
                  </a:moveTo>
                  <a:lnTo>
                    <a:pt x="90" y="224"/>
                  </a:lnTo>
                  <a:lnTo>
                    <a:pt x="89" y="224"/>
                  </a:lnTo>
                  <a:close/>
                  <a:moveTo>
                    <a:pt x="456" y="556"/>
                  </a:moveTo>
                  <a:lnTo>
                    <a:pt x="457" y="558"/>
                  </a:lnTo>
                  <a:lnTo>
                    <a:pt x="457" y="559"/>
                  </a:lnTo>
                  <a:lnTo>
                    <a:pt x="456" y="559"/>
                  </a:lnTo>
                  <a:lnTo>
                    <a:pt x="456" y="556"/>
                  </a:lnTo>
                  <a:close/>
                  <a:moveTo>
                    <a:pt x="155" y="330"/>
                  </a:moveTo>
                  <a:lnTo>
                    <a:pt x="157" y="330"/>
                  </a:lnTo>
                  <a:lnTo>
                    <a:pt x="155" y="330"/>
                  </a:lnTo>
                  <a:close/>
                  <a:moveTo>
                    <a:pt x="7" y="158"/>
                  </a:moveTo>
                  <a:lnTo>
                    <a:pt x="9" y="158"/>
                  </a:lnTo>
                  <a:lnTo>
                    <a:pt x="9" y="160"/>
                  </a:lnTo>
                  <a:lnTo>
                    <a:pt x="7" y="160"/>
                  </a:lnTo>
                  <a:lnTo>
                    <a:pt x="7" y="158"/>
                  </a:lnTo>
                  <a:close/>
                  <a:moveTo>
                    <a:pt x="168" y="391"/>
                  </a:moveTo>
                  <a:lnTo>
                    <a:pt x="170" y="391"/>
                  </a:lnTo>
                  <a:lnTo>
                    <a:pt x="168" y="394"/>
                  </a:lnTo>
                  <a:lnTo>
                    <a:pt x="168" y="391"/>
                  </a:lnTo>
                  <a:close/>
                  <a:moveTo>
                    <a:pt x="459" y="554"/>
                  </a:moveTo>
                  <a:lnTo>
                    <a:pt x="461" y="554"/>
                  </a:lnTo>
                  <a:lnTo>
                    <a:pt x="459" y="556"/>
                  </a:lnTo>
                  <a:lnTo>
                    <a:pt x="459" y="554"/>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199" name="Freeform 29">
              <a:extLst>
                <a:ext uri="{FF2B5EF4-FFF2-40B4-BE49-F238E27FC236}">
                  <a16:creationId xmlns:a16="http://schemas.microsoft.com/office/drawing/2014/main" id="{065006D1-9DD9-4089-9851-3071FDC7454A}"/>
                </a:ext>
              </a:extLst>
            </p:cNvPr>
            <p:cNvSpPr>
              <a:spLocks noEditPoints="1"/>
            </p:cNvSpPr>
            <p:nvPr/>
          </p:nvSpPr>
          <p:spPr bwMode="gray">
            <a:xfrm>
              <a:off x="7791701" y="4745586"/>
              <a:ext cx="654765" cy="414784"/>
            </a:xfrm>
            <a:custGeom>
              <a:avLst/>
              <a:gdLst>
                <a:gd name="T0" fmla="*/ 156 w 221"/>
                <a:gd name="T1" fmla="*/ 11 h 140"/>
                <a:gd name="T2" fmla="*/ 170 w 221"/>
                <a:gd name="T3" fmla="*/ 21 h 140"/>
                <a:gd name="T4" fmla="*/ 180 w 221"/>
                <a:gd name="T5" fmla="*/ 31 h 140"/>
                <a:gd name="T6" fmla="*/ 173 w 221"/>
                <a:gd name="T7" fmla="*/ 45 h 140"/>
                <a:gd name="T8" fmla="*/ 182 w 221"/>
                <a:gd name="T9" fmla="*/ 53 h 140"/>
                <a:gd name="T10" fmla="*/ 190 w 221"/>
                <a:gd name="T11" fmla="*/ 62 h 140"/>
                <a:gd name="T12" fmla="*/ 205 w 221"/>
                <a:gd name="T13" fmla="*/ 67 h 140"/>
                <a:gd name="T14" fmla="*/ 216 w 221"/>
                <a:gd name="T15" fmla="*/ 56 h 140"/>
                <a:gd name="T16" fmla="*/ 219 w 221"/>
                <a:gd name="T17" fmla="*/ 68 h 140"/>
                <a:gd name="T18" fmla="*/ 216 w 221"/>
                <a:gd name="T19" fmla="*/ 82 h 140"/>
                <a:gd name="T20" fmla="*/ 216 w 221"/>
                <a:gd name="T21" fmla="*/ 89 h 140"/>
                <a:gd name="T22" fmla="*/ 205 w 221"/>
                <a:gd name="T23" fmla="*/ 84 h 140"/>
                <a:gd name="T24" fmla="*/ 199 w 221"/>
                <a:gd name="T25" fmla="*/ 94 h 140"/>
                <a:gd name="T26" fmla="*/ 202 w 221"/>
                <a:gd name="T27" fmla="*/ 106 h 140"/>
                <a:gd name="T28" fmla="*/ 197 w 221"/>
                <a:gd name="T29" fmla="*/ 108 h 140"/>
                <a:gd name="T30" fmla="*/ 188 w 221"/>
                <a:gd name="T31" fmla="*/ 102 h 140"/>
                <a:gd name="T32" fmla="*/ 175 w 221"/>
                <a:gd name="T33" fmla="*/ 106 h 140"/>
                <a:gd name="T34" fmla="*/ 171 w 221"/>
                <a:gd name="T35" fmla="*/ 92 h 140"/>
                <a:gd name="T36" fmla="*/ 161 w 221"/>
                <a:gd name="T37" fmla="*/ 94 h 140"/>
                <a:gd name="T38" fmla="*/ 159 w 221"/>
                <a:gd name="T39" fmla="*/ 113 h 140"/>
                <a:gd name="T40" fmla="*/ 151 w 221"/>
                <a:gd name="T41" fmla="*/ 123 h 140"/>
                <a:gd name="T42" fmla="*/ 153 w 221"/>
                <a:gd name="T43" fmla="*/ 135 h 140"/>
                <a:gd name="T44" fmla="*/ 144 w 221"/>
                <a:gd name="T45" fmla="*/ 133 h 140"/>
                <a:gd name="T46" fmla="*/ 141 w 221"/>
                <a:gd name="T47" fmla="*/ 123 h 140"/>
                <a:gd name="T48" fmla="*/ 129 w 221"/>
                <a:gd name="T49" fmla="*/ 118 h 140"/>
                <a:gd name="T50" fmla="*/ 122 w 221"/>
                <a:gd name="T51" fmla="*/ 108 h 140"/>
                <a:gd name="T52" fmla="*/ 119 w 221"/>
                <a:gd name="T53" fmla="*/ 94 h 140"/>
                <a:gd name="T54" fmla="*/ 108 w 221"/>
                <a:gd name="T55" fmla="*/ 104 h 140"/>
                <a:gd name="T56" fmla="*/ 105 w 221"/>
                <a:gd name="T57" fmla="*/ 118 h 140"/>
                <a:gd name="T58" fmla="*/ 93 w 221"/>
                <a:gd name="T59" fmla="*/ 128 h 140"/>
                <a:gd name="T60" fmla="*/ 81 w 221"/>
                <a:gd name="T61" fmla="*/ 128 h 140"/>
                <a:gd name="T62" fmla="*/ 71 w 221"/>
                <a:gd name="T63" fmla="*/ 131 h 140"/>
                <a:gd name="T64" fmla="*/ 54 w 221"/>
                <a:gd name="T65" fmla="*/ 135 h 140"/>
                <a:gd name="T66" fmla="*/ 47 w 221"/>
                <a:gd name="T67" fmla="*/ 121 h 140"/>
                <a:gd name="T68" fmla="*/ 40 w 221"/>
                <a:gd name="T69" fmla="*/ 114 h 140"/>
                <a:gd name="T70" fmla="*/ 42 w 221"/>
                <a:gd name="T71" fmla="*/ 101 h 140"/>
                <a:gd name="T72" fmla="*/ 46 w 221"/>
                <a:gd name="T73" fmla="*/ 92 h 140"/>
                <a:gd name="T74" fmla="*/ 32 w 221"/>
                <a:gd name="T75" fmla="*/ 87 h 140"/>
                <a:gd name="T76" fmla="*/ 17 w 221"/>
                <a:gd name="T77" fmla="*/ 94 h 140"/>
                <a:gd name="T78" fmla="*/ 13 w 221"/>
                <a:gd name="T79" fmla="*/ 104 h 140"/>
                <a:gd name="T80" fmla="*/ 15 w 221"/>
                <a:gd name="T81" fmla="*/ 108 h 140"/>
                <a:gd name="T82" fmla="*/ 0 w 221"/>
                <a:gd name="T83" fmla="*/ 113 h 140"/>
                <a:gd name="T84" fmla="*/ 8 w 221"/>
                <a:gd name="T85" fmla="*/ 102 h 140"/>
                <a:gd name="T86" fmla="*/ 6 w 221"/>
                <a:gd name="T87" fmla="*/ 89 h 140"/>
                <a:gd name="T88" fmla="*/ 15 w 221"/>
                <a:gd name="T89" fmla="*/ 77 h 140"/>
                <a:gd name="T90" fmla="*/ 25 w 221"/>
                <a:gd name="T91" fmla="*/ 67 h 140"/>
                <a:gd name="T92" fmla="*/ 34 w 221"/>
                <a:gd name="T93" fmla="*/ 53 h 140"/>
                <a:gd name="T94" fmla="*/ 44 w 221"/>
                <a:gd name="T95" fmla="*/ 45 h 140"/>
                <a:gd name="T96" fmla="*/ 54 w 221"/>
                <a:gd name="T97" fmla="*/ 33 h 140"/>
                <a:gd name="T98" fmla="*/ 51 w 221"/>
                <a:gd name="T99" fmla="*/ 26 h 140"/>
                <a:gd name="T100" fmla="*/ 64 w 221"/>
                <a:gd name="T101" fmla="*/ 19 h 140"/>
                <a:gd name="T102" fmla="*/ 76 w 221"/>
                <a:gd name="T103" fmla="*/ 22 h 140"/>
                <a:gd name="T104" fmla="*/ 78 w 221"/>
                <a:gd name="T105" fmla="*/ 17 h 140"/>
                <a:gd name="T106" fmla="*/ 86 w 221"/>
                <a:gd name="T107" fmla="*/ 16 h 140"/>
                <a:gd name="T108" fmla="*/ 97 w 221"/>
                <a:gd name="T109" fmla="*/ 14 h 140"/>
                <a:gd name="T110" fmla="*/ 110 w 221"/>
                <a:gd name="T111" fmla="*/ 14 h 140"/>
                <a:gd name="T112" fmla="*/ 124 w 221"/>
                <a:gd name="T113" fmla="*/ 16 h 140"/>
                <a:gd name="T114" fmla="*/ 132 w 221"/>
                <a:gd name="T115" fmla="*/ 11 h 140"/>
                <a:gd name="T116" fmla="*/ 124 w 221"/>
                <a:gd name="T117" fmla="*/ 5 h 140"/>
                <a:gd name="T118" fmla="*/ 132 w 221"/>
                <a:gd name="T119" fmla="*/ 4 h 140"/>
                <a:gd name="T120" fmla="*/ 137 w 221"/>
                <a:gd name="T121" fmla="*/ 9 h 140"/>
                <a:gd name="T122" fmla="*/ 144 w 221"/>
                <a:gd name="T123" fmla="*/ 11 h 140"/>
                <a:gd name="T124" fmla="*/ 146 w 221"/>
                <a:gd name="T125"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1" h="140">
                  <a:moveTo>
                    <a:pt x="144" y="11"/>
                  </a:moveTo>
                  <a:lnTo>
                    <a:pt x="142" y="11"/>
                  </a:lnTo>
                  <a:lnTo>
                    <a:pt x="144" y="11"/>
                  </a:lnTo>
                  <a:lnTo>
                    <a:pt x="148" y="11"/>
                  </a:lnTo>
                  <a:lnTo>
                    <a:pt x="151" y="9"/>
                  </a:lnTo>
                  <a:lnTo>
                    <a:pt x="153" y="9"/>
                  </a:lnTo>
                  <a:lnTo>
                    <a:pt x="154" y="11"/>
                  </a:lnTo>
                  <a:lnTo>
                    <a:pt x="156" y="11"/>
                  </a:lnTo>
                  <a:lnTo>
                    <a:pt x="158" y="11"/>
                  </a:lnTo>
                  <a:lnTo>
                    <a:pt x="159" y="12"/>
                  </a:lnTo>
                  <a:lnTo>
                    <a:pt x="161" y="12"/>
                  </a:lnTo>
                  <a:lnTo>
                    <a:pt x="163" y="14"/>
                  </a:lnTo>
                  <a:lnTo>
                    <a:pt x="165" y="16"/>
                  </a:lnTo>
                  <a:lnTo>
                    <a:pt x="168" y="17"/>
                  </a:lnTo>
                  <a:lnTo>
                    <a:pt x="168" y="19"/>
                  </a:lnTo>
                  <a:lnTo>
                    <a:pt x="170" y="21"/>
                  </a:lnTo>
                  <a:lnTo>
                    <a:pt x="171" y="22"/>
                  </a:lnTo>
                  <a:lnTo>
                    <a:pt x="175" y="22"/>
                  </a:lnTo>
                  <a:lnTo>
                    <a:pt x="176" y="22"/>
                  </a:lnTo>
                  <a:lnTo>
                    <a:pt x="178" y="24"/>
                  </a:lnTo>
                  <a:lnTo>
                    <a:pt x="180" y="26"/>
                  </a:lnTo>
                  <a:lnTo>
                    <a:pt x="180" y="29"/>
                  </a:lnTo>
                  <a:lnTo>
                    <a:pt x="182" y="29"/>
                  </a:lnTo>
                  <a:lnTo>
                    <a:pt x="180" y="31"/>
                  </a:lnTo>
                  <a:lnTo>
                    <a:pt x="178" y="33"/>
                  </a:lnTo>
                  <a:lnTo>
                    <a:pt x="176" y="34"/>
                  </a:lnTo>
                  <a:lnTo>
                    <a:pt x="175" y="36"/>
                  </a:lnTo>
                  <a:lnTo>
                    <a:pt x="175" y="38"/>
                  </a:lnTo>
                  <a:lnTo>
                    <a:pt x="173" y="39"/>
                  </a:lnTo>
                  <a:lnTo>
                    <a:pt x="173" y="41"/>
                  </a:lnTo>
                  <a:lnTo>
                    <a:pt x="171" y="45"/>
                  </a:lnTo>
                  <a:lnTo>
                    <a:pt x="173" y="45"/>
                  </a:lnTo>
                  <a:lnTo>
                    <a:pt x="173" y="48"/>
                  </a:lnTo>
                  <a:lnTo>
                    <a:pt x="173" y="50"/>
                  </a:lnTo>
                  <a:lnTo>
                    <a:pt x="173" y="51"/>
                  </a:lnTo>
                  <a:lnTo>
                    <a:pt x="171" y="53"/>
                  </a:lnTo>
                  <a:lnTo>
                    <a:pt x="175" y="53"/>
                  </a:lnTo>
                  <a:lnTo>
                    <a:pt x="178" y="53"/>
                  </a:lnTo>
                  <a:lnTo>
                    <a:pt x="180" y="53"/>
                  </a:lnTo>
                  <a:lnTo>
                    <a:pt x="182" y="53"/>
                  </a:lnTo>
                  <a:lnTo>
                    <a:pt x="183" y="53"/>
                  </a:lnTo>
                  <a:lnTo>
                    <a:pt x="185" y="55"/>
                  </a:lnTo>
                  <a:lnTo>
                    <a:pt x="187" y="55"/>
                  </a:lnTo>
                  <a:lnTo>
                    <a:pt x="188" y="56"/>
                  </a:lnTo>
                  <a:lnTo>
                    <a:pt x="190" y="55"/>
                  </a:lnTo>
                  <a:lnTo>
                    <a:pt x="192" y="58"/>
                  </a:lnTo>
                  <a:lnTo>
                    <a:pt x="190" y="60"/>
                  </a:lnTo>
                  <a:lnTo>
                    <a:pt x="190" y="62"/>
                  </a:lnTo>
                  <a:lnTo>
                    <a:pt x="192" y="62"/>
                  </a:lnTo>
                  <a:lnTo>
                    <a:pt x="193" y="63"/>
                  </a:lnTo>
                  <a:lnTo>
                    <a:pt x="195" y="63"/>
                  </a:lnTo>
                  <a:lnTo>
                    <a:pt x="197" y="63"/>
                  </a:lnTo>
                  <a:lnTo>
                    <a:pt x="199" y="67"/>
                  </a:lnTo>
                  <a:lnTo>
                    <a:pt x="200" y="67"/>
                  </a:lnTo>
                  <a:lnTo>
                    <a:pt x="202" y="68"/>
                  </a:lnTo>
                  <a:lnTo>
                    <a:pt x="205" y="67"/>
                  </a:lnTo>
                  <a:lnTo>
                    <a:pt x="207" y="67"/>
                  </a:lnTo>
                  <a:lnTo>
                    <a:pt x="207" y="65"/>
                  </a:lnTo>
                  <a:lnTo>
                    <a:pt x="209" y="62"/>
                  </a:lnTo>
                  <a:lnTo>
                    <a:pt x="210" y="63"/>
                  </a:lnTo>
                  <a:lnTo>
                    <a:pt x="212" y="62"/>
                  </a:lnTo>
                  <a:lnTo>
                    <a:pt x="212" y="60"/>
                  </a:lnTo>
                  <a:lnTo>
                    <a:pt x="214" y="58"/>
                  </a:lnTo>
                  <a:lnTo>
                    <a:pt x="216" y="56"/>
                  </a:lnTo>
                  <a:lnTo>
                    <a:pt x="217" y="58"/>
                  </a:lnTo>
                  <a:lnTo>
                    <a:pt x="217" y="60"/>
                  </a:lnTo>
                  <a:lnTo>
                    <a:pt x="219" y="60"/>
                  </a:lnTo>
                  <a:lnTo>
                    <a:pt x="221" y="62"/>
                  </a:lnTo>
                  <a:lnTo>
                    <a:pt x="221" y="63"/>
                  </a:lnTo>
                  <a:lnTo>
                    <a:pt x="219" y="65"/>
                  </a:lnTo>
                  <a:lnTo>
                    <a:pt x="219" y="67"/>
                  </a:lnTo>
                  <a:lnTo>
                    <a:pt x="219" y="68"/>
                  </a:lnTo>
                  <a:lnTo>
                    <a:pt x="219" y="70"/>
                  </a:lnTo>
                  <a:lnTo>
                    <a:pt x="217" y="72"/>
                  </a:lnTo>
                  <a:lnTo>
                    <a:pt x="217" y="74"/>
                  </a:lnTo>
                  <a:lnTo>
                    <a:pt x="216" y="75"/>
                  </a:lnTo>
                  <a:lnTo>
                    <a:pt x="217" y="77"/>
                  </a:lnTo>
                  <a:lnTo>
                    <a:pt x="216" y="79"/>
                  </a:lnTo>
                  <a:lnTo>
                    <a:pt x="216" y="80"/>
                  </a:lnTo>
                  <a:lnTo>
                    <a:pt x="216" y="82"/>
                  </a:lnTo>
                  <a:lnTo>
                    <a:pt x="219" y="82"/>
                  </a:lnTo>
                  <a:lnTo>
                    <a:pt x="221" y="84"/>
                  </a:lnTo>
                  <a:lnTo>
                    <a:pt x="221" y="85"/>
                  </a:lnTo>
                  <a:lnTo>
                    <a:pt x="219" y="87"/>
                  </a:lnTo>
                  <a:lnTo>
                    <a:pt x="219" y="89"/>
                  </a:lnTo>
                  <a:lnTo>
                    <a:pt x="219" y="91"/>
                  </a:lnTo>
                  <a:lnTo>
                    <a:pt x="217" y="89"/>
                  </a:lnTo>
                  <a:lnTo>
                    <a:pt x="216" y="89"/>
                  </a:lnTo>
                  <a:lnTo>
                    <a:pt x="214" y="89"/>
                  </a:lnTo>
                  <a:lnTo>
                    <a:pt x="210" y="89"/>
                  </a:lnTo>
                  <a:lnTo>
                    <a:pt x="210" y="87"/>
                  </a:lnTo>
                  <a:lnTo>
                    <a:pt x="209" y="87"/>
                  </a:lnTo>
                  <a:lnTo>
                    <a:pt x="209" y="84"/>
                  </a:lnTo>
                  <a:lnTo>
                    <a:pt x="209" y="82"/>
                  </a:lnTo>
                  <a:lnTo>
                    <a:pt x="207" y="84"/>
                  </a:lnTo>
                  <a:lnTo>
                    <a:pt x="205" y="84"/>
                  </a:lnTo>
                  <a:lnTo>
                    <a:pt x="204" y="84"/>
                  </a:lnTo>
                  <a:lnTo>
                    <a:pt x="204" y="85"/>
                  </a:lnTo>
                  <a:lnTo>
                    <a:pt x="202" y="84"/>
                  </a:lnTo>
                  <a:lnTo>
                    <a:pt x="202" y="87"/>
                  </a:lnTo>
                  <a:lnTo>
                    <a:pt x="200" y="87"/>
                  </a:lnTo>
                  <a:lnTo>
                    <a:pt x="199" y="89"/>
                  </a:lnTo>
                  <a:lnTo>
                    <a:pt x="199" y="91"/>
                  </a:lnTo>
                  <a:lnTo>
                    <a:pt x="199" y="94"/>
                  </a:lnTo>
                  <a:lnTo>
                    <a:pt x="199" y="96"/>
                  </a:lnTo>
                  <a:lnTo>
                    <a:pt x="200" y="97"/>
                  </a:lnTo>
                  <a:lnTo>
                    <a:pt x="204" y="97"/>
                  </a:lnTo>
                  <a:lnTo>
                    <a:pt x="205" y="99"/>
                  </a:lnTo>
                  <a:lnTo>
                    <a:pt x="205" y="101"/>
                  </a:lnTo>
                  <a:lnTo>
                    <a:pt x="204" y="101"/>
                  </a:lnTo>
                  <a:lnTo>
                    <a:pt x="202" y="102"/>
                  </a:lnTo>
                  <a:lnTo>
                    <a:pt x="202" y="106"/>
                  </a:lnTo>
                  <a:lnTo>
                    <a:pt x="204" y="106"/>
                  </a:lnTo>
                  <a:lnTo>
                    <a:pt x="205" y="109"/>
                  </a:lnTo>
                  <a:lnTo>
                    <a:pt x="204" y="111"/>
                  </a:lnTo>
                  <a:lnTo>
                    <a:pt x="200" y="113"/>
                  </a:lnTo>
                  <a:lnTo>
                    <a:pt x="199" y="111"/>
                  </a:lnTo>
                  <a:lnTo>
                    <a:pt x="199" y="109"/>
                  </a:lnTo>
                  <a:lnTo>
                    <a:pt x="199" y="108"/>
                  </a:lnTo>
                  <a:lnTo>
                    <a:pt x="197" y="108"/>
                  </a:lnTo>
                  <a:lnTo>
                    <a:pt x="197" y="106"/>
                  </a:lnTo>
                  <a:lnTo>
                    <a:pt x="195" y="104"/>
                  </a:lnTo>
                  <a:lnTo>
                    <a:pt x="197" y="102"/>
                  </a:lnTo>
                  <a:lnTo>
                    <a:pt x="195" y="101"/>
                  </a:lnTo>
                  <a:lnTo>
                    <a:pt x="193" y="101"/>
                  </a:lnTo>
                  <a:lnTo>
                    <a:pt x="192" y="101"/>
                  </a:lnTo>
                  <a:lnTo>
                    <a:pt x="190" y="102"/>
                  </a:lnTo>
                  <a:lnTo>
                    <a:pt x="188" y="102"/>
                  </a:lnTo>
                  <a:lnTo>
                    <a:pt x="187" y="104"/>
                  </a:lnTo>
                  <a:lnTo>
                    <a:pt x="183" y="102"/>
                  </a:lnTo>
                  <a:lnTo>
                    <a:pt x="183" y="106"/>
                  </a:lnTo>
                  <a:lnTo>
                    <a:pt x="183" y="108"/>
                  </a:lnTo>
                  <a:lnTo>
                    <a:pt x="182" y="106"/>
                  </a:lnTo>
                  <a:lnTo>
                    <a:pt x="178" y="108"/>
                  </a:lnTo>
                  <a:lnTo>
                    <a:pt x="176" y="106"/>
                  </a:lnTo>
                  <a:lnTo>
                    <a:pt x="175" y="106"/>
                  </a:lnTo>
                  <a:lnTo>
                    <a:pt x="173" y="104"/>
                  </a:lnTo>
                  <a:lnTo>
                    <a:pt x="173" y="101"/>
                  </a:lnTo>
                  <a:lnTo>
                    <a:pt x="171" y="101"/>
                  </a:lnTo>
                  <a:lnTo>
                    <a:pt x="171" y="99"/>
                  </a:lnTo>
                  <a:lnTo>
                    <a:pt x="170" y="97"/>
                  </a:lnTo>
                  <a:lnTo>
                    <a:pt x="171" y="94"/>
                  </a:lnTo>
                  <a:lnTo>
                    <a:pt x="170" y="94"/>
                  </a:lnTo>
                  <a:lnTo>
                    <a:pt x="171" y="92"/>
                  </a:lnTo>
                  <a:lnTo>
                    <a:pt x="170" y="92"/>
                  </a:lnTo>
                  <a:lnTo>
                    <a:pt x="168" y="94"/>
                  </a:lnTo>
                  <a:lnTo>
                    <a:pt x="166" y="92"/>
                  </a:lnTo>
                  <a:lnTo>
                    <a:pt x="166" y="91"/>
                  </a:lnTo>
                  <a:lnTo>
                    <a:pt x="166" y="92"/>
                  </a:lnTo>
                  <a:lnTo>
                    <a:pt x="163" y="92"/>
                  </a:lnTo>
                  <a:lnTo>
                    <a:pt x="161" y="92"/>
                  </a:lnTo>
                  <a:lnTo>
                    <a:pt x="161" y="94"/>
                  </a:lnTo>
                  <a:lnTo>
                    <a:pt x="159" y="97"/>
                  </a:lnTo>
                  <a:lnTo>
                    <a:pt x="161" y="97"/>
                  </a:lnTo>
                  <a:lnTo>
                    <a:pt x="161" y="101"/>
                  </a:lnTo>
                  <a:lnTo>
                    <a:pt x="163" y="104"/>
                  </a:lnTo>
                  <a:lnTo>
                    <a:pt x="161" y="106"/>
                  </a:lnTo>
                  <a:lnTo>
                    <a:pt x="159" y="108"/>
                  </a:lnTo>
                  <a:lnTo>
                    <a:pt x="159" y="111"/>
                  </a:lnTo>
                  <a:lnTo>
                    <a:pt x="159" y="113"/>
                  </a:lnTo>
                  <a:lnTo>
                    <a:pt x="158" y="113"/>
                  </a:lnTo>
                  <a:lnTo>
                    <a:pt x="158" y="114"/>
                  </a:lnTo>
                  <a:lnTo>
                    <a:pt x="156" y="114"/>
                  </a:lnTo>
                  <a:lnTo>
                    <a:pt x="154" y="116"/>
                  </a:lnTo>
                  <a:lnTo>
                    <a:pt x="154" y="118"/>
                  </a:lnTo>
                  <a:lnTo>
                    <a:pt x="151" y="119"/>
                  </a:lnTo>
                  <a:lnTo>
                    <a:pt x="153" y="121"/>
                  </a:lnTo>
                  <a:lnTo>
                    <a:pt x="151" y="123"/>
                  </a:lnTo>
                  <a:lnTo>
                    <a:pt x="149" y="123"/>
                  </a:lnTo>
                  <a:lnTo>
                    <a:pt x="148" y="125"/>
                  </a:lnTo>
                  <a:lnTo>
                    <a:pt x="149" y="128"/>
                  </a:lnTo>
                  <a:lnTo>
                    <a:pt x="148" y="130"/>
                  </a:lnTo>
                  <a:lnTo>
                    <a:pt x="149" y="130"/>
                  </a:lnTo>
                  <a:lnTo>
                    <a:pt x="149" y="131"/>
                  </a:lnTo>
                  <a:lnTo>
                    <a:pt x="151" y="133"/>
                  </a:lnTo>
                  <a:lnTo>
                    <a:pt x="153" y="135"/>
                  </a:lnTo>
                  <a:lnTo>
                    <a:pt x="151" y="136"/>
                  </a:lnTo>
                  <a:lnTo>
                    <a:pt x="149" y="140"/>
                  </a:lnTo>
                  <a:lnTo>
                    <a:pt x="148" y="140"/>
                  </a:lnTo>
                  <a:lnTo>
                    <a:pt x="148" y="138"/>
                  </a:lnTo>
                  <a:lnTo>
                    <a:pt x="146" y="138"/>
                  </a:lnTo>
                  <a:lnTo>
                    <a:pt x="144" y="138"/>
                  </a:lnTo>
                  <a:lnTo>
                    <a:pt x="146" y="136"/>
                  </a:lnTo>
                  <a:lnTo>
                    <a:pt x="144" y="133"/>
                  </a:lnTo>
                  <a:lnTo>
                    <a:pt x="142" y="131"/>
                  </a:lnTo>
                  <a:lnTo>
                    <a:pt x="142" y="130"/>
                  </a:lnTo>
                  <a:lnTo>
                    <a:pt x="141" y="130"/>
                  </a:lnTo>
                  <a:lnTo>
                    <a:pt x="139" y="128"/>
                  </a:lnTo>
                  <a:lnTo>
                    <a:pt x="137" y="128"/>
                  </a:lnTo>
                  <a:lnTo>
                    <a:pt x="139" y="125"/>
                  </a:lnTo>
                  <a:lnTo>
                    <a:pt x="139" y="123"/>
                  </a:lnTo>
                  <a:lnTo>
                    <a:pt x="141" y="123"/>
                  </a:lnTo>
                  <a:lnTo>
                    <a:pt x="141" y="121"/>
                  </a:lnTo>
                  <a:lnTo>
                    <a:pt x="139" y="119"/>
                  </a:lnTo>
                  <a:lnTo>
                    <a:pt x="136" y="119"/>
                  </a:lnTo>
                  <a:lnTo>
                    <a:pt x="136" y="118"/>
                  </a:lnTo>
                  <a:lnTo>
                    <a:pt x="134" y="119"/>
                  </a:lnTo>
                  <a:lnTo>
                    <a:pt x="131" y="119"/>
                  </a:lnTo>
                  <a:lnTo>
                    <a:pt x="131" y="118"/>
                  </a:lnTo>
                  <a:lnTo>
                    <a:pt x="129" y="118"/>
                  </a:lnTo>
                  <a:lnTo>
                    <a:pt x="129" y="116"/>
                  </a:lnTo>
                  <a:lnTo>
                    <a:pt x="127" y="114"/>
                  </a:lnTo>
                  <a:lnTo>
                    <a:pt x="125" y="113"/>
                  </a:lnTo>
                  <a:lnTo>
                    <a:pt x="125" y="111"/>
                  </a:lnTo>
                  <a:lnTo>
                    <a:pt x="124" y="111"/>
                  </a:lnTo>
                  <a:lnTo>
                    <a:pt x="122" y="111"/>
                  </a:lnTo>
                  <a:lnTo>
                    <a:pt x="120" y="109"/>
                  </a:lnTo>
                  <a:lnTo>
                    <a:pt x="122" y="108"/>
                  </a:lnTo>
                  <a:lnTo>
                    <a:pt x="120" y="106"/>
                  </a:lnTo>
                  <a:lnTo>
                    <a:pt x="122" y="102"/>
                  </a:lnTo>
                  <a:lnTo>
                    <a:pt x="122" y="101"/>
                  </a:lnTo>
                  <a:lnTo>
                    <a:pt x="122" y="99"/>
                  </a:lnTo>
                  <a:lnTo>
                    <a:pt x="122" y="97"/>
                  </a:lnTo>
                  <a:lnTo>
                    <a:pt x="122" y="96"/>
                  </a:lnTo>
                  <a:lnTo>
                    <a:pt x="120" y="94"/>
                  </a:lnTo>
                  <a:lnTo>
                    <a:pt x="119" y="94"/>
                  </a:lnTo>
                  <a:lnTo>
                    <a:pt x="117" y="94"/>
                  </a:lnTo>
                  <a:lnTo>
                    <a:pt x="115" y="96"/>
                  </a:lnTo>
                  <a:lnTo>
                    <a:pt x="114" y="97"/>
                  </a:lnTo>
                  <a:lnTo>
                    <a:pt x="115" y="99"/>
                  </a:lnTo>
                  <a:lnTo>
                    <a:pt x="112" y="101"/>
                  </a:lnTo>
                  <a:lnTo>
                    <a:pt x="112" y="102"/>
                  </a:lnTo>
                  <a:lnTo>
                    <a:pt x="110" y="102"/>
                  </a:lnTo>
                  <a:lnTo>
                    <a:pt x="108" y="104"/>
                  </a:lnTo>
                  <a:lnTo>
                    <a:pt x="107" y="104"/>
                  </a:lnTo>
                  <a:lnTo>
                    <a:pt x="105" y="106"/>
                  </a:lnTo>
                  <a:lnTo>
                    <a:pt x="103" y="108"/>
                  </a:lnTo>
                  <a:lnTo>
                    <a:pt x="105" y="109"/>
                  </a:lnTo>
                  <a:lnTo>
                    <a:pt x="107" y="111"/>
                  </a:lnTo>
                  <a:lnTo>
                    <a:pt x="107" y="113"/>
                  </a:lnTo>
                  <a:lnTo>
                    <a:pt x="107" y="116"/>
                  </a:lnTo>
                  <a:lnTo>
                    <a:pt x="105" y="118"/>
                  </a:lnTo>
                  <a:lnTo>
                    <a:pt x="102" y="119"/>
                  </a:lnTo>
                  <a:lnTo>
                    <a:pt x="100" y="121"/>
                  </a:lnTo>
                  <a:lnTo>
                    <a:pt x="102" y="123"/>
                  </a:lnTo>
                  <a:lnTo>
                    <a:pt x="100" y="125"/>
                  </a:lnTo>
                  <a:lnTo>
                    <a:pt x="98" y="126"/>
                  </a:lnTo>
                  <a:lnTo>
                    <a:pt x="97" y="126"/>
                  </a:lnTo>
                  <a:lnTo>
                    <a:pt x="95" y="126"/>
                  </a:lnTo>
                  <a:lnTo>
                    <a:pt x="93" y="128"/>
                  </a:lnTo>
                  <a:lnTo>
                    <a:pt x="93" y="130"/>
                  </a:lnTo>
                  <a:lnTo>
                    <a:pt x="93" y="131"/>
                  </a:lnTo>
                  <a:lnTo>
                    <a:pt x="90" y="131"/>
                  </a:lnTo>
                  <a:lnTo>
                    <a:pt x="86" y="130"/>
                  </a:lnTo>
                  <a:lnTo>
                    <a:pt x="85" y="131"/>
                  </a:lnTo>
                  <a:lnTo>
                    <a:pt x="85" y="130"/>
                  </a:lnTo>
                  <a:lnTo>
                    <a:pt x="83" y="128"/>
                  </a:lnTo>
                  <a:lnTo>
                    <a:pt x="81" y="128"/>
                  </a:lnTo>
                  <a:lnTo>
                    <a:pt x="80" y="128"/>
                  </a:lnTo>
                  <a:lnTo>
                    <a:pt x="78" y="126"/>
                  </a:lnTo>
                  <a:lnTo>
                    <a:pt x="76" y="126"/>
                  </a:lnTo>
                  <a:lnTo>
                    <a:pt x="76" y="128"/>
                  </a:lnTo>
                  <a:lnTo>
                    <a:pt x="74" y="128"/>
                  </a:lnTo>
                  <a:lnTo>
                    <a:pt x="73" y="130"/>
                  </a:lnTo>
                  <a:lnTo>
                    <a:pt x="71" y="130"/>
                  </a:lnTo>
                  <a:lnTo>
                    <a:pt x="71" y="131"/>
                  </a:lnTo>
                  <a:lnTo>
                    <a:pt x="69" y="131"/>
                  </a:lnTo>
                  <a:lnTo>
                    <a:pt x="66" y="131"/>
                  </a:lnTo>
                  <a:lnTo>
                    <a:pt x="64" y="130"/>
                  </a:lnTo>
                  <a:lnTo>
                    <a:pt x="63" y="133"/>
                  </a:lnTo>
                  <a:lnTo>
                    <a:pt x="61" y="133"/>
                  </a:lnTo>
                  <a:lnTo>
                    <a:pt x="59" y="135"/>
                  </a:lnTo>
                  <a:lnTo>
                    <a:pt x="57" y="133"/>
                  </a:lnTo>
                  <a:lnTo>
                    <a:pt x="54" y="135"/>
                  </a:lnTo>
                  <a:lnTo>
                    <a:pt x="54" y="133"/>
                  </a:lnTo>
                  <a:lnTo>
                    <a:pt x="52" y="130"/>
                  </a:lnTo>
                  <a:lnTo>
                    <a:pt x="52" y="128"/>
                  </a:lnTo>
                  <a:lnTo>
                    <a:pt x="51" y="126"/>
                  </a:lnTo>
                  <a:lnTo>
                    <a:pt x="51" y="125"/>
                  </a:lnTo>
                  <a:lnTo>
                    <a:pt x="49" y="125"/>
                  </a:lnTo>
                  <a:lnTo>
                    <a:pt x="49" y="123"/>
                  </a:lnTo>
                  <a:lnTo>
                    <a:pt x="47" y="121"/>
                  </a:lnTo>
                  <a:lnTo>
                    <a:pt x="47" y="119"/>
                  </a:lnTo>
                  <a:lnTo>
                    <a:pt x="46" y="121"/>
                  </a:lnTo>
                  <a:lnTo>
                    <a:pt x="44" y="121"/>
                  </a:lnTo>
                  <a:lnTo>
                    <a:pt x="46" y="119"/>
                  </a:lnTo>
                  <a:lnTo>
                    <a:pt x="46" y="118"/>
                  </a:lnTo>
                  <a:lnTo>
                    <a:pt x="46" y="116"/>
                  </a:lnTo>
                  <a:lnTo>
                    <a:pt x="42" y="114"/>
                  </a:lnTo>
                  <a:lnTo>
                    <a:pt x="40" y="114"/>
                  </a:lnTo>
                  <a:lnTo>
                    <a:pt x="40" y="113"/>
                  </a:lnTo>
                  <a:lnTo>
                    <a:pt x="42" y="111"/>
                  </a:lnTo>
                  <a:lnTo>
                    <a:pt x="40" y="109"/>
                  </a:lnTo>
                  <a:lnTo>
                    <a:pt x="42" y="108"/>
                  </a:lnTo>
                  <a:lnTo>
                    <a:pt x="44" y="106"/>
                  </a:lnTo>
                  <a:lnTo>
                    <a:pt x="44" y="104"/>
                  </a:lnTo>
                  <a:lnTo>
                    <a:pt x="42" y="102"/>
                  </a:lnTo>
                  <a:lnTo>
                    <a:pt x="42" y="101"/>
                  </a:lnTo>
                  <a:lnTo>
                    <a:pt x="40" y="99"/>
                  </a:lnTo>
                  <a:lnTo>
                    <a:pt x="42" y="97"/>
                  </a:lnTo>
                  <a:lnTo>
                    <a:pt x="42" y="96"/>
                  </a:lnTo>
                  <a:lnTo>
                    <a:pt x="44" y="97"/>
                  </a:lnTo>
                  <a:lnTo>
                    <a:pt x="46" y="96"/>
                  </a:lnTo>
                  <a:lnTo>
                    <a:pt x="47" y="96"/>
                  </a:lnTo>
                  <a:lnTo>
                    <a:pt x="47" y="94"/>
                  </a:lnTo>
                  <a:lnTo>
                    <a:pt x="46" y="92"/>
                  </a:lnTo>
                  <a:lnTo>
                    <a:pt x="44" y="92"/>
                  </a:lnTo>
                  <a:lnTo>
                    <a:pt x="44" y="91"/>
                  </a:lnTo>
                  <a:lnTo>
                    <a:pt x="40" y="91"/>
                  </a:lnTo>
                  <a:lnTo>
                    <a:pt x="39" y="89"/>
                  </a:lnTo>
                  <a:lnTo>
                    <a:pt x="35" y="89"/>
                  </a:lnTo>
                  <a:lnTo>
                    <a:pt x="34" y="89"/>
                  </a:lnTo>
                  <a:lnTo>
                    <a:pt x="34" y="87"/>
                  </a:lnTo>
                  <a:lnTo>
                    <a:pt x="32" y="87"/>
                  </a:lnTo>
                  <a:lnTo>
                    <a:pt x="30" y="87"/>
                  </a:lnTo>
                  <a:lnTo>
                    <a:pt x="29" y="87"/>
                  </a:lnTo>
                  <a:lnTo>
                    <a:pt x="25" y="89"/>
                  </a:lnTo>
                  <a:lnTo>
                    <a:pt x="23" y="91"/>
                  </a:lnTo>
                  <a:lnTo>
                    <a:pt x="20" y="91"/>
                  </a:lnTo>
                  <a:lnTo>
                    <a:pt x="18" y="92"/>
                  </a:lnTo>
                  <a:lnTo>
                    <a:pt x="17" y="92"/>
                  </a:lnTo>
                  <a:lnTo>
                    <a:pt x="17" y="94"/>
                  </a:lnTo>
                  <a:lnTo>
                    <a:pt x="15" y="96"/>
                  </a:lnTo>
                  <a:lnTo>
                    <a:pt x="13" y="97"/>
                  </a:lnTo>
                  <a:lnTo>
                    <a:pt x="12" y="101"/>
                  </a:lnTo>
                  <a:lnTo>
                    <a:pt x="10" y="104"/>
                  </a:lnTo>
                  <a:lnTo>
                    <a:pt x="10" y="108"/>
                  </a:lnTo>
                  <a:lnTo>
                    <a:pt x="12" y="106"/>
                  </a:lnTo>
                  <a:lnTo>
                    <a:pt x="12" y="104"/>
                  </a:lnTo>
                  <a:lnTo>
                    <a:pt x="13" y="104"/>
                  </a:lnTo>
                  <a:lnTo>
                    <a:pt x="13" y="102"/>
                  </a:lnTo>
                  <a:lnTo>
                    <a:pt x="15" y="101"/>
                  </a:lnTo>
                  <a:lnTo>
                    <a:pt x="15" y="102"/>
                  </a:lnTo>
                  <a:lnTo>
                    <a:pt x="13" y="102"/>
                  </a:lnTo>
                  <a:lnTo>
                    <a:pt x="15" y="104"/>
                  </a:lnTo>
                  <a:lnTo>
                    <a:pt x="17" y="104"/>
                  </a:lnTo>
                  <a:lnTo>
                    <a:pt x="17" y="108"/>
                  </a:lnTo>
                  <a:lnTo>
                    <a:pt x="15" y="108"/>
                  </a:lnTo>
                  <a:lnTo>
                    <a:pt x="13" y="108"/>
                  </a:lnTo>
                  <a:lnTo>
                    <a:pt x="12" y="111"/>
                  </a:lnTo>
                  <a:lnTo>
                    <a:pt x="8" y="113"/>
                  </a:lnTo>
                  <a:lnTo>
                    <a:pt x="6" y="111"/>
                  </a:lnTo>
                  <a:lnTo>
                    <a:pt x="5" y="111"/>
                  </a:lnTo>
                  <a:lnTo>
                    <a:pt x="3" y="113"/>
                  </a:lnTo>
                  <a:lnTo>
                    <a:pt x="1" y="111"/>
                  </a:lnTo>
                  <a:lnTo>
                    <a:pt x="0" y="113"/>
                  </a:lnTo>
                  <a:lnTo>
                    <a:pt x="1" y="109"/>
                  </a:lnTo>
                  <a:lnTo>
                    <a:pt x="0" y="108"/>
                  </a:lnTo>
                  <a:lnTo>
                    <a:pt x="1" y="108"/>
                  </a:lnTo>
                  <a:lnTo>
                    <a:pt x="5" y="106"/>
                  </a:lnTo>
                  <a:lnTo>
                    <a:pt x="5" y="104"/>
                  </a:lnTo>
                  <a:lnTo>
                    <a:pt x="6" y="106"/>
                  </a:lnTo>
                  <a:lnTo>
                    <a:pt x="8" y="104"/>
                  </a:lnTo>
                  <a:lnTo>
                    <a:pt x="8" y="102"/>
                  </a:lnTo>
                  <a:lnTo>
                    <a:pt x="8" y="101"/>
                  </a:lnTo>
                  <a:lnTo>
                    <a:pt x="10" y="99"/>
                  </a:lnTo>
                  <a:lnTo>
                    <a:pt x="12" y="97"/>
                  </a:lnTo>
                  <a:lnTo>
                    <a:pt x="10" y="96"/>
                  </a:lnTo>
                  <a:lnTo>
                    <a:pt x="8" y="94"/>
                  </a:lnTo>
                  <a:lnTo>
                    <a:pt x="6" y="92"/>
                  </a:lnTo>
                  <a:lnTo>
                    <a:pt x="8" y="91"/>
                  </a:lnTo>
                  <a:lnTo>
                    <a:pt x="6" y="89"/>
                  </a:lnTo>
                  <a:lnTo>
                    <a:pt x="8" y="89"/>
                  </a:lnTo>
                  <a:lnTo>
                    <a:pt x="8" y="87"/>
                  </a:lnTo>
                  <a:lnTo>
                    <a:pt x="10" y="85"/>
                  </a:lnTo>
                  <a:lnTo>
                    <a:pt x="12" y="84"/>
                  </a:lnTo>
                  <a:lnTo>
                    <a:pt x="8" y="82"/>
                  </a:lnTo>
                  <a:lnTo>
                    <a:pt x="10" y="80"/>
                  </a:lnTo>
                  <a:lnTo>
                    <a:pt x="13" y="79"/>
                  </a:lnTo>
                  <a:lnTo>
                    <a:pt x="15" y="77"/>
                  </a:lnTo>
                  <a:lnTo>
                    <a:pt x="17" y="75"/>
                  </a:lnTo>
                  <a:lnTo>
                    <a:pt x="18" y="74"/>
                  </a:lnTo>
                  <a:lnTo>
                    <a:pt x="20" y="74"/>
                  </a:lnTo>
                  <a:lnTo>
                    <a:pt x="22" y="72"/>
                  </a:lnTo>
                  <a:lnTo>
                    <a:pt x="23" y="70"/>
                  </a:lnTo>
                  <a:lnTo>
                    <a:pt x="25" y="70"/>
                  </a:lnTo>
                  <a:lnTo>
                    <a:pt x="27" y="68"/>
                  </a:lnTo>
                  <a:lnTo>
                    <a:pt x="25" y="67"/>
                  </a:lnTo>
                  <a:lnTo>
                    <a:pt x="27" y="63"/>
                  </a:lnTo>
                  <a:lnTo>
                    <a:pt x="27" y="60"/>
                  </a:lnTo>
                  <a:lnTo>
                    <a:pt x="25" y="58"/>
                  </a:lnTo>
                  <a:lnTo>
                    <a:pt x="27" y="56"/>
                  </a:lnTo>
                  <a:lnTo>
                    <a:pt x="29" y="55"/>
                  </a:lnTo>
                  <a:lnTo>
                    <a:pt x="30" y="55"/>
                  </a:lnTo>
                  <a:lnTo>
                    <a:pt x="32" y="55"/>
                  </a:lnTo>
                  <a:lnTo>
                    <a:pt x="34" y="53"/>
                  </a:lnTo>
                  <a:lnTo>
                    <a:pt x="35" y="53"/>
                  </a:lnTo>
                  <a:lnTo>
                    <a:pt x="37" y="51"/>
                  </a:lnTo>
                  <a:lnTo>
                    <a:pt x="39" y="51"/>
                  </a:lnTo>
                  <a:lnTo>
                    <a:pt x="40" y="50"/>
                  </a:lnTo>
                  <a:lnTo>
                    <a:pt x="39" y="48"/>
                  </a:lnTo>
                  <a:lnTo>
                    <a:pt x="40" y="46"/>
                  </a:lnTo>
                  <a:lnTo>
                    <a:pt x="42" y="45"/>
                  </a:lnTo>
                  <a:lnTo>
                    <a:pt x="44" y="45"/>
                  </a:lnTo>
                  <a:lnTo>
                    <a:pt x="46" y="43"/>
                  </a:lnTo>
                  <a:lnTo>
                    <a:pt x="46" y="41"/>
                  </a:lnTo>
                  <a:lnTo>
                    <a:pt x="47" y="41"/>
                  </a:lnTo>
                  <a:lnTo>
                    <a:pt x="47" y="39"/>
                  </a:lnTo>
                  <a:lnTo>
                    <a:pt x="51" y="38"/>
                  </a:lnTo>
                  <a:lnTo>
                    <a:pt x="52" y="36"/>
                  </a:lnTo>
                  <a:lnTo>
                    <a:pt x="51" y="34"/>
                  </a:lnTo>
                  <a:lnTo>
                    <a:pt x="54" y="33"/>
                  </a:lnTo>
                  <a:lnTo>
                    <a:pt x="54" y="31"/>
                  </a:lnTo>
                  <a:lnTo>
                    <a:pt x="57" y="31"/>
                  </a:lnTo>
                  <a:lnTo>
                    <a:pt x="56" y="29"/>
                  </a:lnTo>
                  <a:lnTo>
                    <a:pt x="56" y="28"/>
                  </a:lnTo>
                  <a:lnTo>
                    <a:pt x="52" y="29"/>
                  </a:lnTo>
                  <a:lnTo>
                    <a:pt x="51" y="29"/>
                  </a:lnTo>
                  <a:lnTo>
                    <a:pt x="49" y="29"/>
                  </a:lnTo>
                  <a:lnTo>
                    <a:pt x="51" y="26"/>
                  </a:lnTo>
                  <a:lnTo>
                    <a:pt x="52" y="24"/>
                  </a:lnTo>
                  <a:lnTo>
                    <a:pt x="54" y="22"/>
                  </a:lnTo>
                  <a:lnTo>
                    <a:pt x="54" y="19"/>
                  </a:lnTo>
                  <a:lnTo>
                    <a:pt x="56" y="19"/>
                  </a:lnTo>
                  <a:lnTo>
                    <a:pt x="57" y="19"/>
                  </a:lnTo>
                  <a:lnTo>
                    <a:pt x="61" y="19"/>
                  </a:lnTo>
                  <a:lnTo>
                    <a:pt x="63" y="19"/>
                  </a:lnTo>
                  <a:lnTo>
                    <a:pt x="64" y="19"/>
                  </a:lnTo>
                  <a:lnTo>
                    <a:pt x="63" y="21"/>
                  </a:lnTo>
                  <a:lnTo>
                    <a:pt x="63" y="22"/>
                  </a:lnTo>
                  <a:lnTo>
                    <a:pt x="66" y="24"/>
                  </a:lnTo>
                  <a:lnTo>
                    <a:pt x="68" y="24"/>
                  </a:lnTo>
                  <a:lnTo>
                    <a:pt x="69" y="24"/>
                  </a:lnTo>
                  <a:lnTo>
                    <a:pt x="73" y="24"/>
                  </a:lnTo>
                  <a:lnTo>
                    <a:pt x="74" y="22"/>
                  </a:lnTo>
                  <a:lnTo>
                    <a:pt x="76" y="22"/>
                  </a:lnTo>
                  <a:lnTo>
                    <a:pt x="74" y="21"/>
                  </a:lnTo>
                  <a:lnTo>
                    <a:pt x="74" y="19"/>
                  </a:lnTo>
                  <a:lnTo>
                    <a:pt x="78" y="21"/>
                  </a:lnTo>
                  <a:lnTo>
                    <a:pt x="80" y="21"/>
                  </a:lnTo>
                  <a:lnTo>
                    <a:pt x="78" y="19"/>
                  </a:lnTo>
                  <a:lnTo>
                    <a:pt x="80" y="19"/>
                  </a:lnTo>
                  <a:lnTo>
                    <a:pt x="80" y="17"/>
                  </a:lnTo>
                  <a:lnTo>
                    <a:pt x="78" y="17"/>
                  </a:lnTo>
                  <a:lnTo>
                    <a:pt x="80" y="17"/>
                  </a:lnTo>
                  <a:lnTo>
                    <a:pt x="81" y="16"/>
                  </a:lnTo>
                  <a:lnTo>
                    <a:pt x="81" y="14"/>
                  </a:lnTo>
                  <a:lnTo>
                    <a:pt x="83" y="14"/>
                  </a:lnTo>
                  <a:lnTo>
                    <a:pt x="85" y="14"/>
                  </a:lnTo>
                  <a:lnTo>
                    <a:pt x="88" y="12"/>
                  </a:lnTo>
                  <a:lnTo>
                    <a:pt x="86" y="14"/>
                  </a:lnTo>
                  <a:lnTo>
                    <a:pt x="86" y="16"/>
                  </a:lnTo>
                  <a:lnTo>
                    <a:pt x="85" y="16"/>
                  </a:lnTo>
                  <a:lnTo>
                    <a:pt x="86" y="17"/>
                  </a:lnTo>
                  <a:lnTo>
                    <a:pt x="88" y="17"/>
                  </a:lnTo>
                  <a:lnTo>
                    <a:pt x="90" y="17"/>
                  </a:lnTo>
                  <a:lnTo>
                    <a:pt x="93" y="16"/>
                  </a:lnTo>
                  <a:lnTo>
                    <a:pt x="93" y="14"/>
                  </a:lnTo>
                  <a:lnTo>
                    <a:pt x="95" y="14"/>
                  </a:lnTo>
                  <a:lnTo>
                    <a:pt x="97" y="14"/>
                  </a:lnTo>
                  <a:lnTo>
                    <a:pt x="98" y="17"/>
                  </a:lnTo>
                  <a:lnTo>
                    <a:pt x="100" y="17"/>
                  </a:lnTo>
                  <a:lnTo>
                    <a:pt x="100" y="16"/>
                  </a:lnTo>
                  <a:lnTo>
                    <a:pt x="103" y="17"/>
                  </a:lnTo>
                  <a:lnTo>
                    <a:pt x="105" y="16"/>
                  </a:lnTo>
                  <a:lnTo>
                    <a:pt x="107" y="17"/>
                  </a:lnTo>
                  <a:lnTo>
                    <a:pt x="107" y="16"/>
                  </a:lnTo>
                  <a:lnTo>
                    <a:pt x="110" y="14"/>
                  </a:lnTo>
                  <a:lnTo>
                    <a:pt x="112" y="12"/>
                  </a:lnTo>
                  <a:lnTo>
                    <a:pt x="114" y="14"/>
                  </a:lnTo>
                  <a:lnTo>
                    <a:pt x="115" y="14"/>
                  </a:lnTo>
                  <a:lnTo>
                    <a:pt x="117" y="16"/>
                  </a:lnTo>
                  <a:lnTo>
                    <a:pt x="120" y="16"/>
                  </a:lnTo>
                  <a:lnTo>
                    <a:pt x="122" y="16"/>
                  </a:lnTo>
                  <a:lnTo>
                    <a:pt x="125" y="16"/>
                  </a:lnTo>
                  <a:lnTo>
                    <a:pt x="124" y="16"/>
                  </a:lnTo>
                  <a:lnTo>
                    <a:pt x="124" y="14"/>
                  </a:lnTo>
                  <a:lnTo>
                    <a:pt x="125" y="12"/>
                  </a:lnTo>
                  <a:lnTo>
                    <a:pt x="127" y="12"/>
                  </a:lnTo>
                  <a:lnTo>
                    <a:pt x="129" y="12"/>
                  </a:lnTo>
                  <a:lnTo>
                    <a:pt x="129" y="14"/>
                  </a:lnTo>
                  <a:lnTo>
                    <a:pt x="131" y="14"/>
                  </a:lnTo>
                  <a:lnTo>
                    <a:pt x="131" y="11"/>
                  </a:lnTo>
                  <a:lnTo>
                    <a:pt x="132" y="11"/>
                  </a:lnTo>
                  <a:lnTo>
                    <a:pt x="131" y="9"/>
                  </a:lnTo>
                  <a:lnTo>
                    <a:pt x="129" y="11"/>
                  </a:lnTo>
                  <a:lnTo>
                    <a:pt x="129" y="9"/>
                  </a:lnTo>
                  <a:lnTo>
                    <a:pt x="127" y="11"/>
                  </a:lnTo>
                  <a:lnTo>
                    <a:pt x="124" y="11"/>
                  </a:lnTo>
                  <a:lnTo>
                    <a:pt x="122" y="9"/>
                  </a:lnTo>
                  <a:lnTo>
                    <a:pt x="122" y="7"/>
                  </a:lnTo>
                  <a:lnTo>
                    <a:pt x="124" y="5"/>
                  </a:lnTo>
                  <a:lnTo>
                    <a:pt x="124" y="4"/>
                  </a:lnTo>
                  <a:lnTo>
                    <a:pt x="125" y="2"/>
                  </a:lnTo>
                  <a:lnTo>
                    <a:pt x="127" y="2"/>
                  </a:lnTo>
                  <a:lnTo>
                    <a:pt x="129" y="0"/>
                  </a:lnTo>
                  <a:lnTo>
                    <a:pt x="129" y="2"/>
                  </a:lnTo>
                  <a:lnTo>
                    <a:pt x="129" y="0"/>
                  </a:lnTo>
                  <a:lnTo>
                    <a:pt x="132" y="0"/>
                  </a:lnTo>
                  <a:lnTo>
                    <a:pt x="132" y="4"/>
                  </a:lnTo>
                  <a:lnTo>
                    <a:pt x="134" y="2"/>
                  </a:lnTo>
                  <a:lnTo>
                    <a:pt x="134" y="0"/>
                  </a:lnTo>
                  <a:lnTo>
                    <a:pt x="136" y="4"/>
                  </a:lnTo>
                  <a:lnTo>
                    <a:pt x="137" y="4"/>
                  </a:lnTo>
                  <a:lnTo>
                    <a:pt x="136" y="5"/>
                  </a:lnTo>
                  <a:lnTo>
                    <a:pt x="137" y="5"/>
                  </a:lnTo>
                  <a:lnTo>
                    <a:pt x="137" y="7"/>
                  </a:lnTo>
                  <a:lnTo>
                    <a:pt x="137" y="9"/>
                  </a:lnTo>
                  <a:lnTo>
                    <a:pt x="139" y="9"/>
                  </a:lnTo>
                  <a:lnTo>
                    <a:pt x="141" y="7"/>
                  </a:lnTo>
                  <a:lnTo>
                    <a:pt x="139" y="5"/>
                  </a:lnTo>
                  <a:lnTo>
                    <a:pt x="141" y="5"/>
                  </a:lnTo>
                  <a:lnTo>
                    <a:pt x="141" y="7"/>
                  </a:lnTo>
                  <a:lnTo>
                    <a:pt x="144" y="7"/>
                  </a:lnTo>
                  <a:lnTo>
                    <a:pt x="142" y="9"/>
                  </a:lnTo>
                  <a:lnTo>
                    <a:pt x="144" y="11"/>
                  </a:lnTo>
                  <a:close/>
                  <a:moveTo>
                    <a:pt x="136" y="5"/>
                  </a:moveTo>
                  <a:lnTo>
                    <a:pt x="134" y="7"/>
                  </a:lnTo>
                  <a:lnTo>
                    <a:pt x="134" y="9"/>
                  </a:lnTo>
                  <a:lnTo>
                    <a:pt x="136" y="7"/>
                  </a:lnTo>
                  <a:lnTo>
                    <a:pt x="136" y="5"/>
                  </a:lnTo>
                  <a:close/>
                  <a:moveTo>
                    <a:pt x="146" y="128"/>
                  </a:moveTo>
                  <a:lnTo>
                    <a:pt x="146" y="130"/>
                  </a:lnTo>
                  <a:lnTo>
                    <a:pt x="146" y="12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00" name="Freeform 30">
              <a:extLst>
                <a:ext uri="{FF2B5EF4-FFF2-40B4-BE49-F238E27FC236}">
                  <a16:creationId xmlns:a16="http://schemas.microsoft.com/office/drawing/2014/main" id="{DC1DBEFD-BB5B-4FF3-9BE2-149B934F6427}"/>
                </a:ext>
              </a:extLst>
            </p:cNvPr>
            <p:cNvSpPr>
              <a:spLocks/>
            </p:cNvSpPr>
            <p:nvPr/>
          </p:nvSpPr>
          <p:spPr bwMode="gray">
            <a:xfrm>
              <a:off x="7406544" y="3954533"/>
              <a:ext cx="494777" cy="423673"/>
            </a:xfrm>
            <a:custGeom>
              <a:avLst/>
              <a:gdLst>
                <a:gd name="T0" fmla="*/ 157 w 167"/>
                <a:gd name="T1" fmla="*/ 63 h 143"/>
                <a:gd name="T2" fmla="*/ 159 w 167"/>
                <a:gd name="T3" fmla="*/ 70 h 143"/>
                <a:gd name="T4" fmla="*/ 162 w 167"/>
                <a:gd name="T5" fmla="*/ 75 h 143"/>
                <a:gd name="T6" fmla="*/ 167 w 167"/>
                <a:gd name="T7" fmla="*/ 85 h 143"/>
                <a:gd name="T8" fmla="*/ 155 w 167"/>
                <a:gd name="T9" fmla="*/ 94 h 143"/>
                <a:gd name="T10" fmla="*/ 153 w 167"/>
                <a:gd name="T11" fmla="*/ 99 h 143"/>
                <a:gd name="T12" fmla="*/ 143 w 167"/>
                <a:gd name="T13" fmla="*/ 101 h 143"/>
                <a:gd name="T14" fmla="*/ 136 w 167"/>
                <a:gd name="T15" fmla="*/ 113 h 143"/>
                <a:gd name="T16" fmla="*/ 136 w 167"/>
                <a:gd name="T17" fmla="*/ 123 h 143"/>
                <a:gd name="T18" fmla="*/ 142 w 167"/>
                <a:gd name="T19" fmla="*/ 133 h 143"/>
                <a:gd name="T20" fmla="*/ 131 w 167"/>
                <a:gd name="T21" fmla="*/ 140 h 143"/>
                <a:gd name="T22" fmla="*/ 121 w 167"/>
                <a:gd name="T23" fmla="*/ 143 h 143"/>
                <a:gd name="T24" fmla="*/ 118 w 167"/>
                <a:gd name="T25" fmla="*/ 135 h 143"/>
                <a:gd name="T26" fmla="*/ 111 w 167"/>
                <a:gd name="T27" fmla="*/ 128 h 143"/>
                <a:gd name="T28" fmla="*/ 104 w 167"/>
                <a:gd name="T29" fmla="*/ 123 h 143"/>
                <a:gd name="T30" fmla="*/ 96 w 167"/>
                <a:gd name="T31" fmla="*/ 116 h 143"/>
                <a:gd name="T32" fmla="*/ 92 w 167"/>
                <a:gd name="T33" fmla="*/ 107 h 143"/>
                <a:gd name="T34" fmla="*/ 97 w 167"/>
                <a:gd name="T35" fmla="*/ 99 h 143"/>
                <a:gd name="T36" fmla="*/ 89 w 167"/>
                <a:gd name="T37" fmla="*/ 99 h 143"/>
                <a:gd name="T38" fmla="*/ 82 w 167"/>
                <a:gd name="T39" fmla="*/ 106 h 143"/>
                <a:gd name="T40" fmla="*/ 65 w 167"/>
                <a:gd name="T41" fmla="*/ 106 h 143"/>
                <a:gd name="T42" fmla="*/ 68 w 167"/>
                <a:gd name="T43" fmla="*/ 99 h 143"/>
                <a:gd name="T44" fmla="*/ 67 w 167"/>
                <a:gd name="T45" fmla="*/ 89 h 143"/>
                <a:gd name="T46" fmla="*/ 65 w 167"/>
                <a:gd name="T47" fmla="*/ 85 h 143"/>
                <a:gd name="T48" fmla="*/ 58 w 167"/>
                <a:gd name="T49" fmla="*/ 79 h 143"/>
                <a:gd name="T50" fmla="*/ 46 w 167"/>
                <a:gd name="T51" fmla="*/ 80 h 143"/>
                <a:gd name="T52" fmla="*/ 45 w 167"/>
                <a:gd name="T53" fmla="*/ 68 h 143"/>
                <a:gd name="T54" fmla="*/ 36 w 167"/>
                <a:gd name="T55" fmla="*/ 65 h 143"/>
                <a:gd name="T56" fmla="*/ 28 w 167"/>
                <a:gd name="T57" fmla="*/ 56 h 143"/>
                <a:gd name="T58" fmla="*/ 24 w 167"/>
                <a:gd name="T59" fmla="*/ 45 h 143"/>
                <a:gd name="T60" fmla="*/ 12 w 167"/>
                <a:gd name="T61" fmla="*/ 50 h 143"/>
                <a:gd name="T62" fmla="*/ 2 w 167"/>
                <a:gd name="T63" fmla="*/ 39 h 143"/>
                <a:gd name="T64" fmla="*/ 2 w 167"/>
                <a:gd name="T65" fmla="*/ 28 h 143"/>
                <a:gd name="T66" fmla="*/ 6 w 167"/>
                <a:gd name="T67" fmla="*/ 19 h 143"/>
                <a:gd name="T68" fmla="*/ 17 w 167"/>
                <a:gd name="T69" fmla="*/ 12 h 143"/>
                <a:gd name="T70" fmla="*/ 23 w 167"/>
                <a:gd name="T71" fmla="*/ 9 h 143"/>
                <a:gd name="T72" fmla="*/ 29 w 167"/>
                <a:gd name="T73" fmla="*/ 5 h 143"/>
                <a:gd name="T74" fmla="*/ 34 w 167"/>
                <a:gd name="T75" fmla="*/ 5 h 143"/>
                <a:gd name="T76" fmla="*/ 45 w 167"/>
                <a:gd name="T77" fmla="*/ 14 h 143"/>
                <a:gd name="T78" fmla="*/ 55 w 167"/>
                <a:gd name="T79" fmla="*/ 14 h 143"/>
                <a:gd name="T80" fmla="*/ 63 w 167"/>
                <a:gd name="T81" fmla="*/ 17 h 143"/>
                <a:gd name="T82" fmla="*/ 74 w 167"/>
                <a:gd name="T83" fmla="*/ 10 h 143"/>
                <a:gd name="T84" fmla="*/ 82 w 167"/>
                <a:gd name="T85" fmla="*/ 9 h 143"/>
                <a:gd name="T86" fmla="*/ 89 w 167"/>
                <a:gd name="T87" fmla="*/ 0 h 143"/>
                <a:gd name="T88" fmla="*/ 96 w 167"/>
                <a:gd name="T89" fmla="*/ 4 h 143"/>
                <a:gd name="T90" fmla="*/ 101 w 167"/>
                <a:gd name="T91" fmla="*/ 4 h 143"/>
                <a:gd name="T92" fmla="*/ 108 w 167"/>
                <a:gd name="T93" fmla="*/ 7 h 143"/>
                <a:gd name="T94" fmla="*/ 113 w 167"/>
                <a:gd name="T95" fmla="*/ 9 h 143"/>
                <a:gd name="T96" fmla="*/ 119 w 167"/>
                <a:gd name="T97" fmla="*/ 19 h 143"/>
                <a:gd name="T98" fmla="*/ 131 w 167"/>
                <a:gd name="T99" fmla="*/ 17 h 143"/>
                <a:gd name="T100" fmla="*/ 140 w 167"/>
                <a:gd name="T101" fmla="*/ 26 h 143"/>
                <a:gd name="T102" fmla="*/ 142 w 167"/>
                <a:gd name="T103" fmla="*/ 34 h 143"/>
                <a:gd name="T104" fmla="*/ 138 w 167"/>
                <a:gd name="T105" fmla="*/ 43 h 143"/>
                <a:gd name="T106" fmla="*/ 136 w 167"/>
                <a:gd name="T107" fmla="*/ 51 h 143"/>
                <a:gd name="T108" fmla="*/ 143 w 167"/>
                <a:gd name="T109" fmla="*/ 5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7" h="143">
                  <a:moveTo>
                    <a:pt x="150" y="56"/>
                  </a:moveTo>
                  <a:lnTo>
                    <a:pt x="152" y="56"/>
                  </a:lnTo>
                  <a:lnTo>
                    <a:pt x="152" y="58"/>
                  </a:lnTo>
                  <a:lnTo>
                    <a:pt x="153" y="58"/>
                  </a:lnTo>
                  <a:lnTo>
                    <a:pt x="155" y="58"/>
                  </a:lnTo>
                  <a:lnTo>
                    <a:pt x="155" y="62"/>
                  </a:lnTo>
                  <a:lnTo>
                    <a:pt x="157" y="63"/>
                  </a:lnTo>
                  <a:lnTo>
                    <a:pt x="157" y="65"/>
                  </a:lnTo>
                  <a:lnTo>
                    <a:pt x="159" y="65"/>
                  </a:lnTo>
                  <a:lnTo>
                    <a:pt x="160" y="65"/>
                  </a:lnTo>
                  <a:lnTo>
                    <a:pt x="162" y="65"/>
                  </a:lnTo>
                  <a:lnTo>
                    <a:pt x="160" y="68"/>
                  </a:lnTo>
                  <a:lnTo>
                    <a:pt x="159" y="68"/>
                  </a:lnTo>
                  <a:lnTo>
                    <a:pt x="159" y="70"/>
                  </a:lnTo>
                  <a:lnTo>
                    <a:pt x="157" y="70"/>
                  </a:lnTo>
                  <a:lnTo>
                    <a:pt x="157" y="72"/>
                  </a:lnTo>
                  <a:lnTo>
                    <a:pt x="159" y="72"/>
                  </a:lnTo>
                  <a:lnTo>
                    <a:pt x="157" y="72"/>
                  </a:lnTo>
                  <a:lnTo>
                    <a:pt x="159" y="75"/>
                  </a:lnTo>
                  <a:lnTo>
                    <a:pt x="160" y="73"/>
                  </a:lnTo>
                  <a:lnTo>
                    <a:pt x="162" y="75"/>
                  </a:lnTo>
                  <a:lnTo>
                    <a:pt x="164" y="75"/>
                  </a:lnTo>
                  <a:lnTo>
                    <a:pt x="164" y="77"/>
                  </a:lnTo>
                  <a:lnTo>
                    <a:pt x="165" y="79"/>
                  </a:lnTo>
                  <a:lnTo>
                    <a:pt x="165" y="80"/>
                  </a:lnTo>
                  <a:lnTo>
                    <a:pt x="164" y="84"/>
                  </a:lnTo>
                  <a:lnTo>
                    <a:pt x="165" y="85"/>
                  </a:lnTo>
                  <a:lnTo>
                    <a:pt x="167" y="85"/>
                  </a:lnTo>
                  <a:lnTo>
                    <a:pt x="164" y="89"/>
                  </a:lnTo>
                  <a:lnTo>
                    <a:pt x="164" y="87"/>
                  </a:lnTo>
                  <a:lnTo>
                    <a:pt x="162" y="87"/>
                  </a:lnTo>
                  <a:lnTo>
                    <a:pt x="160" y="90"/>
                  </a:lnTo>
                  <a:lnTo>
                    <a:pt x="157" y="90"/>
                  </a:lnTo>
                  <a:lnTo>
                    <a:pt x="155" y="92"/>
                  </a:lnTo>
                  <a:lnTo>
                    <a:pt x="155" y="94"/>
                  </a:lnTo>
                  <a:lnTo>
                    <a:pt x="157" y="97"/>
                  </a:lnTo>
                  <a:lnTo>
                    <a:pt x="153" y="97"/>
                  </a:lnTo>
                  <a:lnTo>
                    <a:pt x="153" y="99"/>
                  </a:lnTo>
                  <a:lnTo>
                    <a:pt x="155" y="99"/>
                  </a:lnTo>
                  <a:lnTo>
                    <a:pt x="153" y="101"/>
                  </a:lnTo>
                  <a:lnTo>
                    <a:pt x="152" y="99"/>
                  </a:lnTo>
                  <a:lnTo>
                    <a:pt x="153" y="99"/>
                  </a:lnTo>
                  <a:lnTo>
                    <a:pt x="152" y="97"/>
                  </a:lnTo>
                  <a:lnTo>
                    <a:pt x="150" y="99"/>
                  </a:lnTo>
                  <a:lnTo>
                    <a:pt x="148" y="97"/>
                  </a:lnTo>
                  <a:lnTo>
                    <a:pt x="148" y="96"/>
                  </a:lnTo>
                  <a:lnTo>
                    <a:pt x="147" y="97"/>
                  </a:lnTo>
                  <a:lnTo>
                    <a:pt x="145" y="99"/>
                  </a:lnTo>
                  <a:lnTo>
                    <a:pt x="143" y="101"/>
                  </a:lnTo>
                  <a:lnTo>
                    <a:pt x="142" y="102"/>
                  </a:lnTo>
                  <a:lnTo>
                    <a:pt x="140" y="104"/>
                  </a:lnTo>
                  <a:lnTo>
                    <a:pt x="142" y="106"/>
                  </a:lnTo>
                  <a:lnTo>
                    <a:pt x="138" y="107"/>
                  </a:lnTo>
                  <a:lnTo>
                    <a:pt x="140" y="109"/>
                  </a:lnTo>
                  <a:lnTo>
                    <a:pt x="136" y="111"/>
                  </a:lnTo>
                  <a:lnTo>
                    <a:pt x="136" y="113"/>
                  </a:lnTo>
                  <a:lnTo>
                    <a:pt x="136" y="114"/>
                  </a:lnTo>
                  <a:lnTo>
                    <a:pt x="135" y="114"/>
                  </a:lnTo>
                  <a:lnTo>
                    <a:pt x="136" y="116"/>
                  </a:lnTo>
                  <a:lnTo>
                    <a:pt x="135" y="118"/>
                  </a:lnTo>
                  <a:lnTo>
                    <a:pt x="135" y="119"/>
                  </a:lnTo>
                  <a:lnTo>
                    <a:pt x="135" y="123"/>
                  </a:lnTo>
                  <a:lnTo>
                    <a:pt x="136" y="123"/>
                  </a:lnTo>
                  <a:lnTo>
                    <a:pt x="138" y="126"/>
                  </a:lnTo>
                  <a:lnTo>
                    <a:pt x="138" y="128"/>
                  </a:lnTo>
                  <a:lnTo>
                    <a:pt x="140" y="128"/>
                  </a:lnTo>
                  <a:lnTo>
                    <a:pt x="142" y="130"/>
                  </a:lnTo>
                  <a:lnTo>
                    <a:pt x="140" y="131"/>
                  </a:lnTo>
                  <a:lnTo>
                    <a:pt x="142" y="131"/>
                  </a:lnTo>
                  <a:lnTo>
                    <a:pt x="142" y="133"/>
                  </a:lnTo>
                  <a:lnTo>
                    <a:pt x="140" y="135"/>
                  </a:lnTo>
                  <a:lnTo>
                    <a:pt x="138" y="136"/>
                  </a:lnTo>
                  <a:lnTo>
                    <a:pt x="140" y="138"/>
                  </a:lnTo>
                  <a:lnTo>
                    <a:pt x="136" y="140"/>
                  </a:lnTo>
                  <a:lnTo>
                    <a:pt x="135" y="138"/>
                  </a:lnTo>
                  <a:lnTo>
                    <a:pt x="133" y="140"/>
                  </a:lnTo>
                  <a:lnTo>
                    <a:pt x="131" y="140"/>
                  </a:lnTo>
                  <a:lnTo>
                    <a:pt x="130" y="140"/>
                  </a:lnTo>
                  <a:lnTo>
                    <a:pt x="128" y="140"/>
                  </a:lnTo>
                  <a:lnTo>
                    <a:pt x="128" y="141"/>
                  </a:lnTo>
                  <a:lnTo>
                    <a:pt x="125" y="140"/>
                  </a:lnTo>
                  <a:lnTo>
                    <a:pt x="125" y="141"/>
                  </a:lnTo>
                  <a:lnTo>
                    <a:pt x="121" y="141"/>
                  </a:lnTo>
                  <a:lnTo>
                    <a:pt x="121" y="143"/>
                  </a:lnTo>
                  <a:lnTo>
                    <a:pt x="119" y="141"/>
                  </a:lnTo>
                  <a:lnTo>
                    <a:pt x="121" y="140"/>
                  </a:lnTo>
                  <a:lnTo>
                    <a:pt x="119" y="138"/>
                  </a:lnTo>
                  <a:lnTo>
                    <a:pt x="121" y="138"/>
                  </a:lnTo>
                  <a:lnTo>
                    <a:pt x="119" y="138"/>
                  </a:lnTo>
                  <a:lnTo>
                    <a:pt x="119" y="135"/>
                  </a:lnTo>
                  <a:lnTo>
                    <a:pt x="118" y="135"/>
                  </a:lnTo>
                  <a:lnTo>
                    <a:pt x="116" y="133"/>
                  </a:lnTo>
                  <a:lnTo>
                    <a:pt x="114" y="135"/>
                  </a:lnTo>
                  <a:lnTo>
                    <a:pt x="114" y="133"/>
                  </a:lnTo>
                  <a:lnTo>
                    <a:pt x="116" y="131"/>
                  </a:lnTo>
                  <a:lnTo>
                    <a:pt x="113" y="130"/>
                  </a:lnTo>
                  <a:lnTo>
                    <a:pt x="113" y="128"/>
                  </a:lnTo>
                  <a:lnTo>
                    <a:pt x="111" y="128"/>
                  </a:lnTo>
                  <a:lnTo>
                    <a:pt x="109" y="128"/>
                  </a:lnTo>
                  <a:lnTo>
                    <a:pt x="108" y="128"/>
                  </a:lnTo>
                  <a:lnTo>
                    <a:pt x="108" y="126"/>
                  </a:lnTo>
                  <a:lnTo>
                    <a:pt x="106" y="126"/>
                  </a:lnTo>
                  <a:lnTo>
                    <a:pt x="106" y="124"/>
                  </a:lnTo>
                  <a:lnTo>
                    <a:pt x="106" y="123"/>
                  </a:lnTo>
                  <a:lnTo>
                    <a:pt x="104" y="123"/>
                  </a:lnTo>
                  <a:lnTo>
                    <a:pt x="101" y="121"/>
                  </a:lnTo>
                  <a:lnTo>
                    <a:pt x="101" y="119"/>
                  </a:lnTo>
                  <a:lnTo>
                    <a:pt x="99" y="119"/>
                  </a:lnTo>
                  <a:lnTo>
                    <a:pt x="97" y="121"/>
                  </a:lnTo>
                  <a:lnTo>
                    <a:pt x="94" y="119"/>
                  </a:lnTo>
                  <a:lnTo>
                    <a:pt x="96" y="118"/>
                  </a:lnTo>
                  <a:lnTo>
                    <a:pt x="96" y="116"/>
                  </a:lnTo>
                  <a:lnTo>
                    <a:pt x="94" y="114"/>
                  </a:lnTo>
                  <a:lnTo>
                    <a:pt x="96" y="114"/>
                  </a:lnTo>
                  <a:lnTo>
                    <a:pt x="96" y="113"/>
                  </a:lnTo>
                  <a:lnTo>
                    <a:pt x="97" y="113"/>
                  </a:lnTo>
                  <a:lnTo>
                    <a:pt x="96" y="111"/>
                  </a:lnTo>
                  <a:lnTo>
                    <a:pt x="96" y="109"/>
                  </a:lnTo>
                  <a:lnTo>
                    <a:pt x="92" y="107"/>
                  </a:lnTo>
                  <a:lnTo>
                    <a:pt x="94" y="106"/>
                  </a:lnTo>
                  <a:lnTo>
                    <a:pt x="94" y="104"/>
                  </a:lnTo>
                  <a:lnTo>
                    <a:pt x="96" y="102"/>
                  </a:lnTo>
                  <a:lnTo>
                    <a:pt x="94" y="101"/>
                  </a:lnTo>
                  <a:lnTo>
                    <a:pt x="96" y="101"/>
                  </a:lnTo>
                  <a:lnTo>
                    <a:pt x="96" y="99"/>
                  </a:lnTo>
                  <a:lnTo>
                    <a:pt x="97" y="99"/>
                  </a:lnTo>
                  <a:lnTo>
                    <a:pt x="97" y="97"/>
                  </a:lnTo>
                  <a:lnTo>
                    <a:pt x="97" y="96"/>
                  </a:lnTo>
                  <a:lnTo>
                    <a:pt x="96" y="94"/>
                  </a:lnTo>
                  <a:lnTo>
                    <a:pt x="94" y="94"/>
                  </a:lnTo>
                  <a:lnTo>
                    <a:pt x="92" y="96"/>
                  </a:lnTo>
                  <a:lnTo>
                    <a:pt x="92" y="97"/>
                  </a:lnTo>
                  <a:lnTo>
                    <a:pt x="89" y="99"/>
                  </a:lnTo>
                  <a:lnTo>
                    <a:pt x="89" y="101"/>
                  </a:lnTo>
                  <a:lnTo>
                    <a:pt x="89" y="102"/>
                  </a:lnTo>
                  <a:lnTo>
                    <a:pt x="89" y="106"/>
                  </a:lnTo>
                  <a:lnTo>
                    <a:pt x="87" y="106"/>
                  </a:lnTo>
                  <a:lnTo>
                    <a:pt x="85" y="106"/>
                  </a:lnTo>
                  <a:lnTo>
                    <a:pt x="84" y="106"/>
                  </a:lnTo>
                  <a:lnTo>
                    <a:pt x="82" y="106"/>
                  </a:lnTo>
                  <a:lnTo>
                    <a:pt x="80" y="107"/>
                  </a:lnTo>
                  <a:lnTo>
                    <a:pt x="77" y="109"/>
                  </a:lnTo>
                  <a:lnTo>
                    <a:pt x="74" y="107"/>
                  </a:lnTo>
                  <a:lnTo>
                    <a:pt x="70" y="106"/>
                  </a:lnTo>
                  <a:lnTo>
                    <a:pt x="68" y="106"/>
                  </a:lnTo>
                  <a:lnTo>
                    <a:pt x="67" y="106"/>
                  </a:lnTo>
                  <a:lnTo>
                    <a:pt x="65" y="106"/>
                  </a:lnTo>
                  <a:lnTo>
                    <a:pt x="63" y="104"/>
                  </a:lnTo>
                  <a:lnTo>
                    <a:pt x="65" y="104"/>
                  </a:lnTo>
                  <a:lnTo>
                    <a:pt x="63" y="102"/>
                  </a:lnTo>
                  <a:lnTo>
                    <a:pt x="63" y="101"/>
                  </a:lnTo>
                  <a:lnTo>
                    <a:pt x="65" y="99"/>
                  </a:lnTo>
                  <a:lnTo>
                    <a:pt x="67" y="99"/>
                  </a:lnTo>
                  <a:lnTo>
                    <a:pt x="68" y="99"/>
                  </a:lnTo>
                  <a:lnTo>
                    <a:pt x="67" y="96"/>
                  </a:lnTo>
                  <a:lnTo>
                    <a:pt x="67" y="94"/>
                  </a:lnTo>
                  <a:lnTo>
                    <a:pt x="65" y="94"/>
                  </a:lnTo>
                  <a:lnTo>
                    <a:pt x="63" y="94"/>
                  </a:lnTo>
                  <a:lnTo>
                    <a:pt x="65" y="92"/>
                  </a:lnTo>
                  <a:lnTo>
                    <a:pt x="65" y="89"/>
                  </a:lnTo>
                  <a:lnTo>
                    <a:pt x="67" y="89"/>
                  </a:lnTo>
                  <a:lnTo>
                    <a:pt x="67" y="87"/>
                  </a:lnTo>
                  <a:lnTo>
                    <a:pt x="68" y="85"/>
                  </a:lnTo>
                  <a:lnTo>
                    <a:pt x="68" y="84"/>
                  </a:lnTo>
                  <a:lnTo>
                    <a:pt x="67" y="84"/>
                  </a:lnTo>
                  <a:lnTo>
                    <a:pt x="65" y="84"/>
                  </a:lnTo>
                  <a:lnTo>
                    <a:pt x="67" y="85"/>
                  </a:lnTo>
                  <a:lnTo>
                    <a:pt x="65" y="85"/>
                  </a:lnTo>
                  <a:lnTo>
                    <a:pt x="65" y="84"/>
                  </a:lnTo>
                  <a:lnTo>
                    <a:pt x="65" y="82"/>
                  </a:lnTo>
                  <a:lnTo>
                    <a:pt x="63" y="82"/>
                  </a:lnTo>
                  <a:lnTo>
                    <a:pt x="63" y="80"/>
                  </a:lnTo>
                  <a:lnTo>
                    <a:pt x="62" y="79"/>
                  </a:lnTo>
                  <a:lnTo>
                    <a:pt x="60" y="77"/>
                  </a:lnTo>
                  <a:lnTo>
                    <a:pt x="58" y="79"/>
                  </a:lnTo>
                  <a:lnTo>
                    <a:pt x="55" y="79"/>
                  </a:lnTo>
                  <a:lnTo>
                    <a:pt x="53" y="77"/>
                  </a:lnTo>
                  <a:lnTo>
                    <a:pt x="51" y="77"/>
                  </a:lnTo>
                  <a:lnTo>
                    <a:pt x="48" y="77"/>
                  </a:lnTo>
                  <a:lnTo>
                    <a:pt x="46" y="80"/>
                  </a:lnTo>
                  <a:lnTo>
                    <a:pt x="46" y="79"/>
                  </a:lnTo>
                  <a:lnTo>
                    <a:pt x="46" y="80"/>
                  </a:lnTo>
                  <a:lnTo>
                    <a:pt x="45" y="79"/>
                  </a:lnTo>
                  <a:lnTo>
                    <a:pt x="46" y="79"/>
                  </a:lnTo>
                  <a:lnTo>
                    <a:pt x="45" y="79"/>
                  </a:lnTo>
                  <a:lnTo>
                    <a:pt x="45" y="75"/>
                  </a:lnTo>
                  <a:lnTo>
                    <a:pt x="45" y="73"/>
                  </a:lnTo>
                  <a:lnTo>
                    <a:pt x="45" y="70"/>
                  </a:lnTo>
                  <a:lnTo>
                    <a:pt x="45" y="68"/>
                  </a:lnTo>
                  <a:lnTo>
                    <a:pt x="43" y="67"/>
                  </a:lnTo>
                  <a:lnTo>
                    <a:pt x="41" y="67"/>
                  </a:lnTo>
                  <a:lnTo>
                    <a:pt x="40" y="67"/>
                  </a:lnTo>
                  <a:lnTo>
                    <a:pt x="38" y="67"/>
                  </a:lnTo>
                  <a:lnTo>
                    <a:pt x="40" y="65"/>
                  </a:lnTo>
                  <a:lnTo>
                    <a:pt x="38" y="63"/>
                  </a:lnTo>
                  <a:lnTo>
                    <a:pt x="36" y="65"/>
                  </a:lnTo>
                  <a:lnTo>
                    <a:pt x="33" y="67"/>
                  </a:lnTo>
                  <a:lnTo>
                    <a:pt x="33" y="65"/>
                  </a:lnTo>
                  <a:lnTo>
                    <a:pt x="31" y="65"/>
                  </a:lnTo>
                  <a:lnTo>
                    <a:pt x="29" y="63"/>
                  </a:lnTo>
                  <a:lnTo>
                    <a:pt x="28" y="60"/>
                  </a:lnTo>
                  <a:lnTo>
                    <a:pt x="29" y="58"/>
                  </a:lnTo>
                  <a:lnTo>
                    <a:pt x="28" y="56"/>
                  </a:lnTo>
                  <a:lnTo>
                    <a:pt x="28" y="53"/>
                  </a:lnTo>
                  <a:lnTo>
                    <a:pt x="29" y="53"/>
                  </a:lnTo>
                  <a:lnTo>
                    <a:pt x="29" y="51"/>
                  </a:lnTo>
                  <a:lnTo>
                    <a:pt x="26" y="50"/>
                  </a:lnTo>
                  <a:lnTo>
                    <a:pt x="26" y="48"/>
                  </a:lnTo>
                  <a:lnTo>
                    <a:pt x="26" y="46"/>
                  </a:lnTo>
                  <a:lnTo>
                    <a:pt x="24" y="45"/>
                  </a:lnTo>
                  <a:lnTo>
                    <a:pt x="23" y="43"/>
                  </a:lnTo>
                  <a:lnTo>
                    <a:pt x="21" y="45"/>
                  </a:lnTo>
                  <a:lnTo>
                    <a:pt x="19" y="45"/>
                  </a:lnTo>
                  <a:lnTo>
                    <a:pt x="16" y="46"/>
                  </a:lnTo>
                  <a:lnTo>
                    <a:pt x="14" y="46"/>
                  </a:lnTo>
                  <a:lnTo>
                    <a:pt x="14" y="48"/>
                  </a:lnTo>
                  <a:lnTo>
                    <a:pt x="12" y="50"/>
                  </a:lnTo>
                  <a:lnTo>
                    <a:pt x="11" y="48"/>
                  </a:lnTo>
                  <a:lnTo>
                    <a:pt x="9" y="46"/>
                  </a:lnTo>
                  <a:lnTo>
                    <a:pt x="7" y="45"/>
                  </a:lnTo>
                  <a:lnTo>
                    <a:pt x="6" y="43"/>
                  </a:lnTo>
                  <a:lnTo>
                    <a:pt x="6" y="41"/>
                  </a:lnTo>
                  <a:lnTo>
                    <a:pt x="4" y="39"/>
                  </a:lnTo>
                  <a:lnTo>
                    <a:pt x="2" y="39"/>
                  </a:lnTo>
                  <a:lnTo>
                    <a:pt x="0" y="38"/>
                  </a:lnTo>
                  <a:lnTo>
                    <a:pt x="2" y="36"/>
                  </a:lnTo>
                  <a:lnTo>
                    <a:pt x="2" y="33"/>
                  </a:lnTo>
                  <a:lnTo>
                    <a:pt x="0" y="33"/>
                  </a:lnTo>
                  <a:lnTo>
                    <a:pt x="2" y="31"/>
                  </a:lnTo>
                  <a:lnTo>
                    <a:pt x="2" y="29"/>
                  </a:lnTo>
                  <a:lnTo>
                    <a:pt x="2" y="28"/>
                  </a:lnTo>
                  <a:lnTo>
                    <a:pt x="0" y="28"/>
                  </a:lnTo>
                  <a:lnTo>
                    <a:pt x="0" y="26"/>
                  </a:lnTo>
                  <a:lnTo>
                    <a:pt x="0" y="24"/>
                  </a:lnTo>
                  <a:lnTo>
                    <a:pt x="0" y="22"/>
                  </a:lnTo>
                  <a:lnTo>
                    <a:pt x="0" y="21"/>
                  </a:lnTo>
                  <a:lnTo>
                    <a:pt x="2" y="19"/>
                  </a:lnTo>
                  <a:lnTo>
                    <a:pt x="6" y="19"/>
                  </a:lnTo>
                  <a:lnTo>
                    <a:pt x="7" y="17"/>
                  </a:lnTo>
                  <a:lnTo>
                    <a:pt x="9" y="19"/>
                  </a:lnTo>
                  <a:lnTo>
                    <a:pt x="7" y="17"/>
                  </a:lnTo>
                  <a:lnTo>
                    <a:pt x="11" y="16"/>
                  </a:lnTo>
                  <a:lnTo>
                    <a:pt x="12" y="16"/>
                  </a:lnTo>
                  <a:lnTo>
                    <a:pt x="16" y="14"/>
                  </a:lnTo>
                  <a:lnTo>
                    <a:pt x="17" y="12"/>
                  </a:lnTo>
                  <a:lnTo>
                    <a:pt x="19" y="14"/>
                  </a:lnTo>
                  <a:lnTo>
                    <a:pt x="21" y="14"/>
                  </a:lnTo>
                  <a:lnTo>
                    <a:pt x="17" y="12"/>
                  </a:lnTo>
                  <a:lnTo>
                    <a:pt x="19" y="12"/>
                  </a:lnTo>
                  <a:lnTo>
                    <a:pt x="17" y="12"/>
                  </a:lnTo>
                  <a:lnTo>
                    <a:pt x="21" y="10"/>
                  </a:lnTo>
                  <a:lnTo>
                    <a:pt x="23" y="9"/>
                  </a:lnTo>
                  <a:lnTo>
                    <a:pt x="24" y="9"/>
                  </a:lnTo>
                  <a:lnTo>
                    <a:pt x="26" y="7"/>
                  </a:lnTo>
                  <a:lnTo>
                    <a:pt x="28" y="7"/>
                  </a:lnTo>
                  <a:lnTo>
                    <a:pt x="29" y="7"/>
                  </a:lnTo>
                  <a:lnTo>
                    <a:pt x="29" y="5"/>
                  </a:lnTo>
                  <a:lnTo>
                    <a:pt x="29" y="4"/>
                  </a:lnTo>
                  <a:lnTo>
                    <a:pt x="29" y="5"/>
                  </a:lnTo>
                  <a:lnTo>
                    <a:pt x="31" y="5"/>
                  </a:lnTo>
                  <a:lnTo>
                    <a:pt x="29" y="7"/>
                  </a:lnTo>
                  <a:lnTo>
                    <a:pt x="31" y="5"/>
                  </a:lnTo>
                  <a:lnTo>
                    <a:pt x="31" y="4"/>
                  </a:lnTo>
                  <a:lnTo>
                    <a:pt x="31" y="5"/>
                  </a:lnTo>
                  <a:lnTo>
                    <a:pt x="33" y="5"/>
                  </a:lnTo>
                  <a:lnTo>
                    <a:pt x="34" y="5"/>
                  </a:lnTo>
                  <a:lnTo>
                    <a:pt x="38" y="5"/>
                  </a:lnTo>
                  <a:lnTo>
                    <a:pt x="38" y="7"/>
                  </a:lnTo>
                  <a:lnTo>
                    <a:pt x="38" y="9"/>
                  </a:lnTo>
                  <a:lnTo>
                    <a:pt x="38" y="10"/>
                  </a:lnTo>
                  <a:lnTo>
                    <a:pt x="40" y="14"/>
                  </a:lnTo>
                  <a:lnTo>
                    <a:pt x="41" y="14"/>
                  </a:lnTo>
                  <a:lnTo>
                    <a:pt x="45" y="14"/>
                  </a:lnTo>
                  <a:lnTo>
                    <a:pt x="43" y="10"/>
                  </a:lnTo>
                  <a:lnTo>
                    <a:pt x="46" y="10"/>
                  </a:lnTo>
                  <a:lnTo>
                    <a:pt x="48" y="10"/>
                  </a:lnTo>
                  <a:lnTo>
                    <a:pt x="50" y="10"/>
                  </a:lnTo>
                  <a:lnTo>
                    <a:pt x="51" y="12"/>
                  </a:lnTo>
                  <a:lnTo>
                    <a:pt x="53" y="12"/>
                  </a:lnTo>
                  <a:lnTo>
                    <a:pt x="55" y="14"/>
                  </a:lnTo>
                  <a:lnTo>
                    <a:pt x="55" y="16"/>
                  </a:lnTo>
                  <a:lnTo>
                    <a:pt x="55" y="17"/>
                  </a:lnTo>
                  <a:lnTo>
                    <a:pt x="58" y="17"/>
                  </a:lnTo>
                  <a:lnTo>
                    <a:pt x="60" y="17"/>
                  </a:lnTo>
                  <a:lnTo>
                    <a:pt x="60" y="19"/>
                  </a:lnTo>
                  <a:lnTo>
                    <a:pt x="62" y="17"/>
                  </a:lnTo>
                  <a:lnTo>
                    <a:pt x="63" y="17"/>
                  </a:lnTo>
                  <a:lnTo>
                    <a:pt x="65" y="16"/>
                  </a:lnTo>
                  <a:lnTo>
                    <a:pt x="67" y="16"/>
                  </a:lnTo>
                  <a:lnTo>
                    <a:pt x="68" y="16"/>
                  </a:lnTo>
                  <a:lnTo>
                    <a:pt x="70" y="14"/>
                  </a:lnTo>
                  <a:lnTo>
                    <a:pt x="72" y="14"/>
                  </a:lnTo>
                  <a:lnTo>
                    <a:pt x="72" y="12"/>
                  </a:lnTo>
                  <a:lnTo>
                    <a:pt x="74" y="10"/>
                  </a:lnTo>
                  <a:lnTo>
                    <a:pt x="75" y="9"/>
                  </a:lnTo>
                  <a:lnTo>
                    <a:pt x="77" y="9"/>
                  </a:lnTo>
                  <a:lnTo>
                    <a:pt x="75" y="7"/>
                  </a:lnTo>
                  <a:lnTo>
                    <a:pt x="79" y="7"/>
                  </a:lnTo>
                  <a:lnTo>
                    <a:pt x="80" y="7"/>
                  </a:lnTo>
                  <a:lnTo>
                    <a:pt x="80" y="9"/>
                  </a:lnTo>
                  <a:lnTo>
                    <a:pt x="82" y="9"/>
                  </a:lnTo>
                  <a:lnTo>
                    <a:pt x="84" y="9"/>
                  </a:lnTo>
                  <a:lnTo>
                    <a:pt x="82" y="5"/>
                  </a:lnTo>
                  <a:lnTo>
                    <a:pt x="84" y="4"/>
                  </a:lnTo>
                  <a:lnTo>
                    <a:pt x="82" y="2"/>
                  </a:lnTo>
                  <a:lnTo>
                    <a:pt x="85" y="2"/>
                  </a:lnTo>
                  <a:lnTo>
                    <a:pt x="87" y="0"/>
                  </a:lnTo>
                  <a:lnTo>
                    <a:pt x="89" y="0"/>
                  </a:lnTo>
                  <a:lnTo>
                    <a:pt x="89" y="2"/>
                  </a:lnTo>
                  <a:lnTo>
                    <a:pt x="89" y="4"/>
                  </a:lnTo>
                  <a:lnTo>
                    <a:pt x="89" y="5"/>
                  </a:lnTo>
                  <a:lnTo>
                    <a:pt x="91" y="5"/>
                  </a:lnTo>
                  <a:lnTo>
                    <a:pt x="94" y="5"/>
                  </a:lnTo>
                  <a:lnTo>
                    <a:pt x="94" y="4"/>
                  </a:lnTo>
                  <a:lnTo>
                    <a:pt x="96" y="4"/>
                  </a:lnTo>
                  <a:lnTo>
                    <a:pt x="96" y="2"/>
                  </a:lnTo>
                  <a:lnTo>
                    <a:pt x="97" y="2"/>
                  </a:lnTo>
                  <a:lnTo>
                    <a:pt x="99" y="0"/>
                  </a:lnTo>
                  <a:lnTo>
                    <a:pt x="101" y="2"/>
                  </a:lnTo>
                  <a:lnTo>
                    <a:pt x="102" y="2"/>
                  </a:lnTo>
                  <a:lnTo>
                    <a:pt x="102" y="4"/>
                  </a:lnTo>
                  <a:lnTo>
                    <a:pt x="101" y="4"/>
                  </a:lnTo>
                  <a:lnTo>
                    <a:pt x="102" y="7"/>
                  </a:lnTo>
                  <a:lnTo>
                    <a:pt x="99" y="5"/>
                  </a:lnTo>
                  <a:lnTo>
                    <a:pt x="99" y="7"/>
                  </a:lnTo>
                  <a:lnTo>
                    <a:pt x="102" y="7"/>
                  </a:lnTo>
                  <a:lnTo>
                    <a:pt x="104" y="7"/>
                  </a:lnTo>
                  <a:lnTo>
                    <a:pt x="106" y="9"/>
                  </a:lnTo>
                  <a:lnTo>
                    <a:pt x="108" y="7"/>
                  </a:lnTo>
                  <a:lnTo>
                    <a:pt x="109" y="5"/>
                  </a:lnTo>
                  <a:lnTo>
                    <a:pt x="109" y="4"/>
                  </a:lnTo>
                  <a:lnTo>
                    <a:pt x="111" y="2"/>
                  </a:lnTo>
                  <a:lnTo>
                    <a:pt x="111" y="4"/>
                  </a:lnTo>
                  <a:lnTo>
                    <a:pt x="113" y="4"/>
                  </a:lnTo>
                  <a:lnTo>
                    <a:pt x="114" y="7"/>
                  </a:lnTo>
                  <a:lnTo>
                    <a:pt x="113" y="9"/>
                  </a:lnTo>
                  <a:lnTo>
                    <a:pt x="114" y="10"/>
                  </a:lnTo>
                  <a:lnTo>
                    <a:pt x="114" y="12"/>
                  </a:lnTo>
                  <a:lnTo>
                    <a:pt x="114" y="14"/>
                  </a:lnTo>
                  <a:lnTo>
                    <a:pt x="118" y="14"/>
                  </a:lnTo>
                  <a:lnTo>
                    <a:pt x="119" y="16"/>
                  </a:lnTo>
                  <a:lnTo>
                    <a:pt x="118" y="19"/>
                  </a:lnTo>
                  <a:lnTo>
                    <a:pt x="119" y="19"/>
                  </a:lnTo>
                  <a:lnTo>
                    <a:pt x="121" y="19"/>
                  </a:lnTo>
                  <a:lnTo>
                    <a:pt x="123" y="19"/>
                  </a:lnTo>
                  <a:lnTo>
                    <a:pt x="123" y="17"/>
                  </a:lnTo>
                  <a:lnTo>
                    <a:pt x="126" y="19"/>
                  </a:lnTo>
                  <a:lnTo>
                    <a:pt x="128" y="17"/>
                  </a:lnTo>
                  <a:lnTo>
                    <a:pt x="130" y="17"/>
                  </a:lnTo>
                  <a:lnTo>
                    <a:pt x="131" y="17"/>
                  </a:lnTo>
                  <a:lnTo>
                    <a:pt x="133" y="19"/>
                  </a:lnTo>
                  <a:lnTo>
                    <a:pt x="133" y="22"/>
                  </a:lnTo>
                  <a:lnTo>
                    <a:pt x="135" y="24"/>
                  </a:lnTo>
                  <a:lnTo>
                    <a:pt x="136" y="24"/>
                  </a:lnTo>
                  <a:lnTo>
                    <a:pt x="136" y="26"/>
                  </a:lnTo>
                  <a:lnTo>
                    <a:pt x="138" y="26"/>
                  </a:lnTo>
                  <a:lnTo>
                    <a:pt x="140" y="26"/>
                  </a:lnTo>
                  <a:lnTo>
                    <a:pt x="142" y="26"/>
                  </a:lnTo>
                  <a:lnTo>
                    <a:pt x="142" y="28"/>
                  </a:lnTo>
                  <a:lnTo>
                    <a:pt x="145" y="28"/>
                  </a:lnTo>
                  <a:lnTo>
                    <a:pt x="145" y="29"/>
                  </a:lnTo>
                  <a:lnTo>
                    <a:pt x="143" y="31"/>
                  </a:lnTo>
                  <a:lnTo>
                    <a:pt x="142" y="33"/>
                  </a:lnTo>
                  <a:lnTo>
                    <a:pt x="142" y="34"/>
                  </a:lnTo>
                  <a:lnTo>
                    <a:pt x="140" y="36"/>
                  </a:lnTo>
                  <a:lnTo>
                    <a:pt x="142" y="36"/>
                  </a:lnTo>
                  <a:lnTo>
                    <a:pt x="140" y="38"/>
                  </a:lnTo>
                  <a:lnTo>
                    <a:pt x="140" y="39"/>
                  </a:lnTo>
                  <a:lnTo>
                    <a:pt x="138" y="41"/>
                  </a:lnTo>
                  <a:lnTo>
                    <a:pt x="140" y="41"/>
                  </a:lnTo>
                  <a:lnTo>
                    <a:pt x="138" y="43"/>
                  </a:lnTo>
                  <a:lnTo>
                    <a:pt x="138" y="45"/>
                  </a:lnTo>
                  <a:lnTo>
                    <a:pt x="136" y="45"/>
                  </a:lnTo>
                  <a:lnTo>
                    <a:pt x="136" y="46"/>
                  </a:lnTo>
                  <a:lnTo>
                    <a:pt x="135" y="46"/>
                  </a:lnTo>
                  <a:lnTo>
                    <a:pt x="135" y="48"/>
                  </a:lnTo>
                  <a:lnTo>
                    <a:pt x="135" y="51"/>
                  </a:lnTo>
                  <a:lnTo>
                    <a:pt x="136" y="51"/>
                  </a:lnTo>
                  <a:lnTo>
                    <a:pt x="136" y="53"/>
                  </a:lnTo>
                  <a:lnTo>
                    <a:pt x="136" y="55"/>
                  </a:lnTo>
                  <a:lnTo>
                    <a:pt x="138" y="55"/>
                  </a:lnTo>
                  <a:lnTo>
                    <a:pt x="140" y="53"/>
                  </a:lnTo>
                  <a:lnTo>
                    <a:pt x="142" y="55"/>
                  </a:lnTo>
                  <a:lnTo>
                    <a:pt x="143" y="55"/>
                  </a:lnTo>
                  <a:lnTo>
                    <a:pt x="143" y="56"/>
                  </a:lnTo>
                  <a:lnTo>
                    <a:pt x="145" y="55"/>
                  </a:lnTo>
                  <a:lnTo>
                    <a:pt x="145" y="56"/>
                  </a:lnTo>
                  <a:lnTo>
                    <a:pt x="148" y="55"/>
                  </a:lnTo>
                  <a:lnTo>
                    <a:pt x="150" y="5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01" name="Freeform 31">
              <a:extLst>
                <a:ext uri="{FF2B5EF4-FFF2-40B4-BE49-F238E27FC236}">
                  <a16:creationId xmlns:a16="http://schemas.microsoft.com/office/drawing/2014/main" id="{2060F2E9-6C74-43BA-A0C0-2C2B8C591D8C}"/>
                </a:ext>
              </a:extLst>
            </p:cNvPr>
            <p:cNvSpPr>
              <a:spLocks noEditPoints="1"/>
            </p:cNvSpPr>
            <p:nvPr/>
          </p:nvSpPr>
          <p:spPr bwMode="gray">
            <a:xfrm>
              <a:off x="7519128" y="3542713"/>
              <a:ext cx="512553" cy="577735"/>
            </a:xfrm>
            <a:custGeom>
              <a:avLst/>
              <a:gdLst>
                <a:gd name="T0" fmla="*/ 87 w 173"/>
                <a:gd name="T1" fmla="*/ 83 h 195"/>
                <a:gd name="T2" fmla="*/ 100 w 173"/>
                <a:gd name="T3" fmla="*/ 81 h 195"/>
                <a:gd name="T4" fmla="*/ 81 w 173"/>
                <a:gd name="T5" fmla="*/ 78 h 195"/>
                <a:gd name="T6" fmla="*/ 109 w 173"/>
                <a:gd name="T7" fmla="*/ 68 h 195"/>
                <a:gd name="T8" fmla="*/ 112 w 173"/>
                <a:gd name="T9" fmla="*/ 73 h 195"/>
                <a:gd name="T10" fmla="*/ 112 w 173"/>
                <a:gd name="T11" fmla="*/ 64 h 195"/>
                <a:gd name="T12" fmla="*/ 102 w 173"/>
                <a:gd name="T13" fmla="*/ 49 h 195"/>
                <a:gd name="T14" fmla="*/ 93 w 173"/>
                <a:gd name="T15" fmla="*/ 32 h 195"/>
                <a:gd name="T16" fmla="*/ 119 w 173"/>
                <a:gd name="T17" fmla="*/ 12 h 195"/>
                <a:gd name="T18" fmla="*/ 131 w 173"/>
                <a:gd name="T19" fmla="*/ 15 h 195"/>
                <a:gd name="T20" fmla="*/ 143 w 173"/>
                <a:gd name="T21" fmla="*/ 10 h 195"/>
                <a:gd name="T22" fmla="*/ 160 w 173"/>
                <a:gd name="T23" fmla="*/ 17 h 195"/>
                <a:gd name="T24" fmla="*/ 172 w 173"/>
                <a:gd name="T25" fmla="*/ 42 h 195"/>
                <a:gd name="T26" fmla="*/ 153 w 173"/>
                <a:gd name="T27" fmla="*/ 64 h 195"/>
                <a:gd name="T28" fmla="*/ 163 w 173"/>
                <a:gd name="T29" fmla="*/ 87 h 195"/>
                <a:gd name="T30" fmla="*/ 149 w 173"/>
                <a:gd name="T31" fmla="*/ 109 h 195"/>
                <a:gd name="T32" fmla="*/ 129 w 173"/>
                <a:gd name="T33" fmla="*/ 119 h 195"/>
                <a:gd name="T34" fmla="*/ 117 w 173"/>
                <a:gd name="T35" fmla="*/ 127 h 195"/>
                <a:gd name="T36" fmla="*/ 119 w 173"/>
                <a:gd name="T37" fmla="*/ 160 h 195"/>
                <a:gd name="T38" fmla="*/ 109 w 173"/>
                <a:gd name="T39" fmla="*/ 173 h 195"/>
                <a:gd name="T40" fmla="*/ 114 w 173"/>
                <a:gd name="T41" fmla="*/ 194 h 195"/>
                <a:gd name="T42" fmla="*/ 100 w 173"/>
                <a:gd name="T43" fmla="*/ 184 h 195"/>
                <a:gd name="T44" fmla="*/ 98 w 173"/>
                <a:gd name="T45" fmla="*/ 163 h 195"/>
                <a:gd name="T46" fmla="*/ 75 w 173"/>
                <a:gd name="T47" fmla="*/ 148 h 195"/>
                <a:gd name="T48" fmla="*/ 61 w 173"/>
                <a:gd name="T49" fmla="*/ 139 h 195"/>
                <a:gd name="T50" fmla="*/ 42 w 173"/>
                <a:gd name="T51" fmla="*/ 148 h 195"/>
                <a:gd name="T52" fmla="*/ 19 w 173"/>
                <a:gd name="T53" fmla="*/ 143 h 195"/>
                <a:gd name="T54" fmla="*/ 15 w 173"/>
                <a:gd name="T55" fmla="*/ 121 h 195"/>
                <a:gd name="T56" fmla="*/ 44 w 173"/>
                <a:gd name="T57" fmla="*/ 124 h 195"/>
                <a:gd name="T58" fmla="*/ 32 w 173"/>
                <a:gd name="T59" fmla="*/ 122 h 195"/>
                <a:gd name="T60" fmla="*/ 32 w 173"/>
                <a:gd name="T61" fmla="*/ 127 h 195"/>
                <a:gd name="T62" fmla="*/ 19 w 173"/>
                <a:gd name="T63" fmla="*/ 129 h 195"/>
                <a:gd name="T64" fmla="*/ 17 w 173"/>
                <a:gd name="T65" fmla="*/ 134 h 195"/>
                <a:gd name="T66" fmla="*/ 37 w 173"/>
                <a:gd name="T67" fmla="*/ 141 h 195"/>
                <a:gd name="T68" fmla="*/ 36 w 173"/>
                <a:gd name="T69" fmla="*/ 126 h 195"/>
                <a:gd name="T70" fmla="*/ 59 w 173"/>
                <a:gd name="T71" fmla="*/ 124 h 195"/>
                <a:gd name="T72" fmla="*/ 66 w 173"/>
                <a:gd name="T73" fmla="*/ 119 h 195"/>
                <a:gd name="T74" fmla="*/ 41 w 173"/>
                <a:gd name="T75" fmla="*/ 119 h 195"/>
                <a:gd name="T76" fmla="*/ 34 w 173"/>
                <a:gd name="T77" fmla="*/ 104 h 195"/>
                <a:gd name="T78" fmla="*/ 36 w 173"/>
                <a:gd name="T79" fmla="*/ 105 h 195"/>
                <a:gd name="T80" fmla="*/ 44 w 173"/>
                <a:gd name="T81" fmla="*/ 110 h 195"/>
                <a:gd name="T82" fmla="*/ 54 w 173"/>
                <a:gd name="T83" fmla="*/ 110 h 195"/>
                <a:gd name="T84" fmla="*/ 46 w 173"/>
                <a:gd name="T85" fmla="*/ 93 h 195"/>
                <a:gd name="T86" fmla="*/ 66 w 173"/>
                <a:gd name="T87" fmla="*/ 76 h 195"/>
                <a:gd name="T88" fmla="*/ 71 w 173"/>
                <a:gd name="T89" fmla="*/ 42 h 195"/>
                <a:gd name="T90" fmla="*/ 90 w 173"/>
                <a:gd name="T91" fmla="*/ 58 h 195"/>
                <a:gd name="T92" fmla="*/ 90 w 173"/>
                <a:gd name="T93" fmla="*/ 58 h 195"/>
                <a:gd name="T94" fmla="*/ 80 w 173"/>
                <a:gd name="T95" fmla="*/ 71 h 195"/>
                <a:gd name="T96" fmla="*/ 58 w 173"/>
                <a:gd name="T97" fmla="*/ 71 h 195"/>
                <a:gd name="T98" fmla="*/ 68 w 173"/>
                <a:gd name="T99" fmla="*/ 37 h 195"/>
                <a:gd name="T100" fmla="*/ 15 w 173"/>
                <a:gd name="T101" fmla="*/ 151 h 195"/>
                <a:gd name="T102" fmla="*/ 10 w 173"/>
                <a:gd name="T103" fmla="*/ 143 h 195"/>
                <a:gd name="T104" fmla="*/ 32 w 173"/>
                <a:gd name="T105" fmla="*/ 148 h 195"/>
                <a:gd name="T106" fmla="*/ 75 w 173"/>
                <a:gd name="T107" fmla="*/ 27 h 195"/>
                <a:gd name="T108" fmla="*/ 71 w 173"/>
                <a:gd name="T109" fmla="*/ 24 h 195"/>
                <a:gd name="T110" fmla="*/ 88 w 173"/>
                <a:gd name="T111" fmla="*/ 8 h 195"/>
                <a:gd name="T112" fmla="*/ 112 w 173"/>
                <a:gd name="T113" fmla="*/ 8 h 195"/>
                <a:gd name="T114" fmla="*/ 134 w 173"/>
                <a:gd name="T115" fmla="*/ 3 h 195"/>
                <a:gd name="T116" fmla="*/ 42 w 173"/>
                <a:gd name="T117" fmla="*/ 121 h 195"/>
                <a:gd name="T118" fmla="*/ 29 w 173"/>
                <a:gd name="T119" fmla="*/ 117 h 195"/>
                <a:gd name="T120" fmla="*/ 146 w 173"/>
                <a:gd name="T121" fmla="*/ 2 h 195"/>
                <a:gd name="T122" fmla="*/ 87 w 173"/>
                <a:gd name="T123" fmla="*/ 36 h 195"/>
                <a:gd name="T124" fmla="*/ 126 w 173"/>
                <a:gd name="T125" fmla="*/ 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3" h="195">
                  <a:moveTo>
                    <a:pt x="73" y="78"/>
                  </a:moveTo>
                  <a:lnTo>
                    <a:pt x="73" y="80"/>
                  </a:lnTo>
                  <a:lnTo>
                    <a:pt x="75" y="81"/>
                  </a:lnTo>
                  <a:lnTo>
                    <a:pt x="75" y="80"/>
                  </a:lnTo>
                  <a:lnTo>
                    <a:pt x="73" y="80"/>
                  </a:lnTo>
                  <a:lnTo>
                    <a:pt x="73" y="78"/>
                  </a:lnTo>
                  <a:lnTo>
                    <a:pt x="75" y="78"/>
                  </a:lnTo>
                  <a:lnTo>
                    <a:pt x="75" y="80"/>
                  </a:lnTo>
                  <a:lnTo>
                    <a:pt x="73" y="80"/>
                  </a:lnTo>
                  <a:lnTo>
                    <a:pt x="76" y="81"/>
                  </a:lnTo>
                  <a:lnTo>
                    <a:pt x="78" y="81"/>
                  </a:lnTo>
                  <a:lnTo>
                    <a:pt x="78" y="83"/>
                  </a:lnTo>
                  <a:lnTo>
                    <a:pt x="78" y="81"/>
                  </a:lnTo>
                  <a:lnTo>
                    <a:pt x="80" y="81"/>
                  </a:lnTo>
                  <a:lnTo>
                    <a:pt x="81" y="83"/>
                  </a:lnTo>
                  <a:lnTo>
                    <a:pt x="83" y="85"/>
                  </a:lnTo>
                  <a:lnTo>
                    <a:pt x="85" y="85"/>
                  </a:lnTo>
                  <a:lnTo>
                    <a:pt x="87" y="83"/>
                  </a:lnTo>
                  <a:lnTo>
                    <a:pt x="85" y="85"/>
                  </a:lnTo>
                  <a:lnTo>
                    <a:pt x="87" y="83"/>
                  </a:lnTo>
                  <a:lnTo>
                    <a:pt x="88" y="85"/>
                  </a:lnTo>
                  <a:lnTo>
                    <a:pt x="88" y="87"/>
                  </a:lnTo>
                  <a:lnTo>
                    <a:pt x="90" y="88"/>
                  </a:lnTo>
                  <a:lnTo>
                    <a:pt x="92" y="88"/>
                  </a:lnTo>
                  <a:lnTo>
                    <a:pt x="93" y="90"/>
                  </a:lnTo>
                  <a:lnTo>
                    <a:pt x="95" y="88"/>
                  </a:lnTo>
                  <a:lnTo>
                    <a:pt x="98" y="88"/>
                  </a:lnTo>
                  <a:lnTo>
                    <a:pt x="95" y="88"/>
                  </a:lnTo>
                  <a:lnTo>
                    <a:pt x="98" y="88"/>
                  </a:lnTo>
                  <a:lnTo>
                    <a:pt x="98" y="87"/>
                  </a:lnTo>
                  <a:lnTo>
                    <a:pt x="98" y="85"/>
                  </a:lnTo>
                  <a:lnTo>
                    <a:pt x="102" y="83"/>
                  </a:lnTo>
                  <a:lnTo>
                    <a:pt x="102" y="81"/>
                  </a:lnTo>
                  <a:lnTo>
                    <a:pt x="102" y="83"/>
                  </a:lnTo>
                  <a:lnTo>
                    <a:pt x="102" y="81"/>
                  </a:lnTo>
                  <a:lnTo>
                    <a:pt x="100" y="81"/>
                  </a:lnTo>
                  <a:lnTo>
                    <a:pt x="98" y="83"/>
                  </a:lnTo>
                  <a:lnTo>
                    <a:pt x="98" y="85"/>
                  </a:lnTo>
                  <a:lnTo>
                    <a:pt x="98" y="87"/>
                  </a:lnTo>
                  <a:lnTo>
                    <a:pt x="97" y="88"/>
                  </a:lnTo>
                  <a:lnTo>
                    <a:pt x="95" y="88"/>
                  </a:lnTo>
                  <a:lnTo>
                    <a:pt x="93" y="88"/>
                  </a:lnTo>
                  <a:lnTo>
                    <a:pt x="92" y="88"/>
                  </a:lnTo>
                  <a:lnTo>
                    <a:pt x="90" y="87"/>
                  </a:lnTo>
                  <a:lnTo>
                    <a:pt x="90" y="85"/>
                  </a:lnTo>
                  <a:lnTo>
                    <a:pt x="88" y="85"/>
                  </a:lnTo>
                  <a:lnTo>
                    <a:pt x="87" y="83"/>
                  </a:lnTo>
                  <a:lnTo>
                    <a:pt x="85" y="83"/>
                  </a:lnTo>
                  <a:lnTo>
                    <a:pt x="83" y="83"/>
                  </a:lnTo>
                  <a:lnTo>
                    <a:pt x="81" y="83"/>
                  </a:lnTo>
                  <a:lnTo>
                    <a:pt x="81" y="81"/>
                  </a:lnTo>
                  <a:lnTo>
                    <a:pt x="81" y="80"/>
                  </a:lnTo>
                  <a:lnTo>
                    <a:pt x="83" y="78"/>
                  </a:lnTo>
                  <a:lnTo>
                    <a:pt x="81" y="78"/>
                  </a:lnTo>
                  <a:lnTo>
                    <a:pt x="83" y="78"/>
                  </a:lnTo>
                  <a:lnTo>
                    <a:pt x="85" y="76"/>
                  </a:lnTo>
                  <a:lnTo>
                    <a:pt x="87" y="76"/>
                  </a:lnTo>
                  <a:lnTo>
                    <a:pt x="92" y="73"/>
                  </a:lnTo>
                  <a:lnTo>
                    <a:pt x="93" y="73"/>
                  </a:lnTo>
                  <a:lnTo>
                    <a:pt x="95" y="71"/>
                  </a:lnTo>
                  <a:lnTo>
                    <a:pt x="95" y="68"/>
                  </a:lnTo>
                  <a:lnTo>
                    <a:pt x="97" y="68"/>
                  </a:lnTo>
                  <a:lnTo>
                    <a:pt x="98" y="68"/>
                  </a:lnTo>
                  <a:lnTo>
                    <a:pt x="98" y="66"/>
                  </a:lnTo>
                  <a:lnTo>
                    <a:pt x="100" y="66"/>
                  </a:lnTo>
                  <a:lnTo>
                    <a:pt x="104" y="64"/>
                  </a:lnTo>
                  <a:lnTo>
                    <a:pt x="105" y="66"/>
                  </a:lnTo>
                  <a:lnTo>
                    <a:pt x="107" y="66"/>
                  </a:lnTo>
                  <a:lnTo>
                    <a:pt x="109" y="66"/>
                  </a:lnTo>
                  <a:lnTo>
                    <a:pt x="109" y="68"/>
                  </a:lnTo>
                  <a:lnTo>
                    <a:pt x="109" y="66"/>
                  </a:lnTo>
                  <a:lnTo>
                    <a:pt x="109" y="68"/>
                  </a:lnTo>
                  <a:lnTo>
                    <a:pt x="110" y="68"/>
                  </a:lnTo>
                  <a:lnTo>
                    <a:pt x="112" y="70"/>
                  </a:lnTo>
                  <a:lnTo>
                    <a:pt x="112" y="71"/>
                  </a:lnTo>
                  <a:lnTo>
                    <a:pt x="112" y="73"/>
                  </a:lnTo>
                  <a:lnTo>
                    <a:pt x="110" y="76"/>
                  </a:lnTo>
                  <a:lnTo>
                    <a:pt x="107" y="78"/>
                  </a:lnTo>
                  <a:lnTo>
                    <a:pt x="104" y="80"/>
                  </a:lnTo>
                  <a:lnTo>
                    <a:pt x="102" y="81"/>
                  </a:lnTo>
                  <a:lnTo>
                    <a:pt x="104" y="81"/>
                  </a:lnTo>
                  <a:lnTo>
                    <a:pt x="105" y="81"/>
                  </a:lnTo>
                  <a:lnTo>
                    <a:pt x="107" y="80"/>
                  </a:lnTo>
                  <a:lnTo>
                    <a:pt x="109" y="78"/>
                  </a:lnTo>
                  <a:lnTo>
                    <a:pt x="110" y="78"/>
                  </a:lnTo>
                  <a:lnTo>
                    <a:pt x="110" y="76"/>
                  </a:lnTo>
                  <a:lnTo>
                    <a:pt x="112" y="76"/>
                  </a:lnTo>
                  <a:lnTo>
                    <a:pt x="110" y="76"/>
                  </a:lnTo>
                  <a:lnTo>
                    <a:pt x="112" y="75"/>
                  </a:lnTo>
                  <a:lnTo>
                    <a:pt x="112" y="73"/>
                  </a:lnTo>
                  <a:lnTo>
                    <a:pt x="114" y="71"/>
                  </a:lnTo>
                  <a:lnTo>
                    <a:pt x="112" y="70"/>
                  </a:lnTo>
                  <a:lnTo>
                    <a:pt x="112" y="68"/>
                  </a:lnTo>
                  <a:lnTo>
                    <a:pt x="110" y="66"/>
                  </a:lnTo>
                  <a:lnTo>
                    <a:pt x="112" y="66"/>
                  </a:lnTo>
                  <a:lnTo>
                    <a:pt x="110" y="66"/>
                  </a:lnTo>
                  <a:lnTo>
                    <a:pt x="112" y="66"/>
                  </a:lnTo>
                  <a:lnTo>
                    <a:pt x="112" y="64"/>
                  </a:lnTo>
                  <a:lnTo>
                    <a:pt x="114" y="64"/>
                  </a:lnTo>
                  <a:lnTo>
                    <a:pt x="115" y="64"/>
                  </a:lnTo>
                  <a:lnTo>
                    <a:pt x="119" y="64"/>
                  </a:lnTo>
                  <a:lnTo>
                    <a:pt x="121" y="63"/>
                  </a:lnTo>
                  <a:lnTo>
                    <a:pt x="119" y="63"/>
                  </a:lnTo>
                  <a:lnTo>
                    <a:pt x="117" y="63"/>
                  </a:lnTo>
                  <a:lnTo>
                    <a:pt x="115" y="64"/>
                  </a:lnTo>
                  <a:lnTo>
                    <a:pt x="112" y="64"/>
                  </a:lnTo>
                  <a:lnTo>
                    <a:pt x="109" y="64"/>
                  </a:lnTo>
                  <a:lnTo>
                    <a:pt x="112" y="64"/>
                  </a:lnTo>
                  <a:lnTo>
                    <a:pt x="109" y="64"/>
                  </a:lnTo>
                  <a:lnTo>
                    <a:pt x="107" y="64"/>
                  </a:lnTo>
                  <a:lnTo>
                    <a:pt x="105" y="64"/>
                  </a:lnTo>
                  <a:lnTo>
                    <a:pt x="104" y="64"/>
                  </a:lnTo>
                  <a:lnTo>
                    <a:pt x="104" y="61"/>
                  </a:lnTo>
                  <a:lnTo>
                    <a:pt x="102" y="61"/>
                  </a:lnTo>
                  <a:lnTo>
                    <a:pt x="102" y="59"/>
                  </a:lnTo>
                  <a:lnTo>
                    <a:pt x="102" y="58"/>
                  </a:lnTo>
                  <a:lnTo>
                    <a:pt x="102" y="56"/>
                  </a:lnTo>
                  <a:lnTo>
                    <a:pt x="102" y="54"/>
                  </a:lnTo>
                  <a:lnTo>
                    <a:pt x="104" y="53"/>
                  </a:lnTo>
                  <a:lnTo>
                    <a:pt x="105" y="49"/>
                  </a:lnTo>
                  <a:lnTo>
                    <a:pt x="109" y="49"/>
                  </a:lnTo>
                  <a:lnTo>
                    <a:pt x="107" y="47"/>
                  </a:lnTo>
                  <a:lnTo>
                    <a:pt x="107" y="49"/>
                  </a:lnTo>
                  <a:lnTo>
                    <a:pt x="105" y="47"/>
                  </a:lnTo>
                  <a:lnTo>
                    <a:pt x="102" y="47"/>
                  </a:lnTo>
                  <a:lnTo>
                    <a:pt x="102" y="49"/>
                  </a:lnTo>
                  <a:lnTo>
                    <a:pt x="100" y="49"/>
                  </a:lnTo>
                  <a:lnTo>
                    <a:pt x="98" y="47"/>
                  </a:lnTo>
                  <a:lnTo>
                    <a:pt x="97" y="47"/>
                  </a:lnTo>
                  <a:lnTo>
                    <a:pt x="95" y="47"/>
                  </a:lnTo>
                  <a:lnTo>
                    <a:pt x="93" y="46"/>
                  </a:lnTo>
                  <a:lnTo>
                    <a:pt x="93" y="44"/>
                  </a:lnTo>
                  <a:lnTo>
                    <a:pt x="95" y="42"/>
                  </a:lnTo>
                  <a:lnTo>
                    <a:pt x="95" y="41"/>
                  </a:lnTo>
                  <a:lnTo>
                    <a:pt x="97" y="39"/>
                  </a:lnTo>
                  <a:lnTo>
                    <a:pt x="95" y="39"/>
                  </a:lnTo>
                  <a:lnTo>
                    <a:pt x="95" y="37"/>
                  </a:lnTo>
                  <a:lnTo>
                    <a:pt x="97" y="36"/>
                  </a:lnTo>
                  <a:lnTo>
                    <a:pt x="95" y="36"/>
                  </a:lnTo>
                  <a:lnTo>
                    <a:pt x="95" y="34"/>
                  </a:lnTo>
                  <a:lnTo>
                    <a:pt x="95" y="32"/>
                  </a:lnTo>
                  <a:lnTo>
                    <a:pt x="95" y="34"/>
                  </a:lnTo>
                  <a:lnTo>
                    <a:pt x="95" y="30"/>
                  </a:lnTo>
                  <a:lnTo>
                    <a:pt x="93" y="32"/>
                  </a:lnTo>
                  <a:lnTo>
                    <a:pt x="93" y="30"/>
                  </a:lnTo>
                  <a:lnTo>
                    <a:pt x="95" y="29"/>
                  </a:lnTo>
                  <a:lnTo>
                    <a:pt x="97" y="29"/>
                  </a:lnTo>
                  <a:lnTo>
                    <a:pt x="97" y="25"/>
                  </a:lnTo>
                  <a:lnTo>
                    <a:pt x="98" y="24"/>
                  </a:lnTo>
                  <a:lnTo>
                    <a:pt x="97" y="24"/>
                  </a:lnTo>
                  <a:lnTo>
                    <a:pt x="98" y="22"/>
                  </a:lnTo>
                  <a:lnTo>
                    <a:pt x="100" y="20"/>
                  </a:lnTo>
                  <a:lnTo>
                    <a:pt x="102" y="19"/>
                  </a:lnTo>
                  <a:lnTo>
                    <a:pt x="104" y="17"/>
                  </a:lnTo>
                  <a:lnTo>
                    <a:pt x="105" y="17"/>
                  </a:lnTo>
                  <a:lnTo>
                    <a:pt x="107" y="15"/>
                  </a:lnTo>
                  <a:lnTo>
                    <a:pt x="109" y="15"/>
                  </a:lnTo>
                  <a:lnTo>
                    <a:pt x="112" y="13"/>
                  </a:lnTo>
                  <a:lnTo>
                    <a:pt x="115" y="12"/>
                  </a:lnTo>
                  <a:lnTo>
                    <a:pt x="117" y="12"/>
                  </a:lnTo>
                  <a:lnTo>
                    <a:pt x="117" y="10"/>
                  </a:lnTo>
                  <a:lnTo>
                    <a:pt x="119" y="12"/>
                  </a:lnTo>
                  <a:lnTo>
                    <a:pt x="121" y="10"/>
                  </a:lnTo>
                  <a:lnTo>
                    <a:pt x="122" y="10"/>
                  </a:lnTo>
                  <a:lnTo>
                    <a:pt x="126" y="10"/>
                  </a:lnTo>
                  <a:lnTo>
                    <a:pt x="127" y="10"/>
                  </a:lnTo>
                  <a:lnTo>
                    <a:pt x="129" y="10"/>
                  </a:lnTo>
                  <a:lnTo>
                    <a:pt x="131" y="10"/>
                  </a:lnTo>
                  <a:lnTo>
                    <a:pt x="129" y="10"/>
                  </a:lnTo>
                  <a:lnTo>
                    <a:pt x="129" y="12"/>
                  </a:lnTo>
                  <a:lnTo>
                    <a:pt x="129" y="13"/>
                  </a:lnTo>
                  <a:lnTo>
                    <a:pt x="127" y="13"/>
                  </a:lnTo>
                  <a:lnTo>
                    <a:pt x="129" y="15"/>
                  </a:lnTo>
                  <a:lnTo>
                    <a:pt x="129" y="17"/>
                  </a:lnTo>
                  <a:lnTo>
                    <a:pt x="129" y="15"/>
                  </a:lnTo>
                  <a:lnTo>
                    <a:pt x="131" y="15"/>
                  </a:lnTo>
                  <a:lnTo>
                    <a:pt x="129" y="13"/>
                  </a:lnTo>
                  <a:lnTo>
                    <a:pt x="131" y="15"/>
                  </a:lnTo>
                  <a:lnTo>
                    <a:pt x="131" y="13"/>
                  </a:lnTo>
                  <a:lnTo>
                    <a:pt x="131" y="15"/>
                  </a:lnTo>
                  <a:lnTo>
                    <a:pt x="132" y="15"/>
                  </a:lnTo>
                  <a:lnTo>
                    <a:pt x="131" y="13"/>
                  </a:lnTo>
                  <a:lnTo>
                    <a:pt x="132" y="15"/>
                  </a:lnTo>
                  <a:lnTo>
                    <a:pt x="134" y="15"/>
                  </a:lnTo>
                  <a:lnTo>
                    <a:pt x="132" y="15"/>
                  </a:lnTo>
                  <a:lnTo>
                    <a:pt x="132" y="13"/>
                  </a:lnTo>
                  <a:lnTo>
                    <a:pt x="131" y="13"/>
                  </a:lnTo>
                  <a:lnTo>
                    <a:pt x="132" y="13"/>
                  </a:lnTo>
                  <a:lnTo>
                    <a:pt x="129" y="12"/>
                  </a:lnTo>
                  <a:lnTo>
                    <a:pt x="131" y="12"/>
                  </a:lnTo>
                  <a:lnTo>
                    <a:pt x="129" y="10"/>
                  </a:lnTo>
                  <a:lnTo>
                    <a:pt x="132" y="12"/>
                  </a:lnTo>
                  <a:lnTo>
                    <a:pt x="131" y="10"/>
                  </a:lnTo>
                  <a:lnTo>
                    <a:pt x="132" y="10"/>
                  </a:lnTo>
                  <a:lnTo>
                    <a:pt x="136" y="12"/>
                  </a:lnTo>
                  <a:lnTo>
                    <a:pt x="138" y="10"/>
                  </a:lnTo>
                  <a:lnTo>
                    <a:pt x="141" y="10"/>
                  </a:lnTo>
                  <a:lnTo>
                    <a:pt x="143" y="10"/>
                  </a:lnTo>
                  <a:lnTo>
                    <a:pt x="144" y="10"/>
                  </a:lnTo>
                  <a:lnTo>
                    <a:pt x="146" y="8"/>
                  </a:lnTo>
                  <a:lnTo>
                    <a:pt x="146" y="10"/>
                  </a:lnTo>
                  <a:lnTo>
                    <a:pt x="146" y="8"/>
                  </a:lnTo>
                  <a:lnTo>
                    <a:pt x="148" y="8"/>
                  </a:lnTo>
                  <a:lnTo>
                    <a:pt x="151" y="8"/>
                  </a:lnTo>
                  <a:lnTo>
                    <a:pt x="153" y="7"/>
                  </a:lnTo>
                  <a:lnTo>
                    <a:pt x="156" y="8"/>
                  </a:lnTo>
                  <a:lnTo>
                    <a:pt x="158" y="10"/>
                  </a:lnTo>
                  <a:lnTo>
                    <a:pt x="158" y="8"/>
                  </a:lnTo>
                  <a:lnTo>
                    <a:pt x="160" y="8"/>
                  </a:lnTo>
                  <a:lnTo>
                    <a:pt x="158" y="12"/>
                  </a:lnTo>
                  <a:lnTo>
                    <a:pt x="160" y="13"/>
                  </a:lnTo>
                  <a:lnTo>
                    <a:pt x="160" y="15"/>
                  </a:lnTo>
                  <a:lnTo>
                    <a:pt x="161" y="17"/>
                  </a:lnTo>
                  <a:lnTo>
                    <a:pt x="163" y="19"/>
                  </a:lnTo>
                  <a:lnTo>
                    <a:pt x="161" y="17"/>
                  </a:lnTo>
                  <a:lnTo>
                    <a:pt x="160" y="17"/>
                  </a:lnTo>
                  <a:lnTo>
                    <a:pt x="161" y="19"/>
                  </a:lnTo>
                  <a:lnTo>
                    <a:pt x="163" y="19"/>
                  </a:lnTo>
                  <a:lnTo>
                    <a:pt x="165" y="19"/>
                  </a:lnTo>
                  <a:lnTo>
                    <a:pt x="165" y="20"/>
                  </a:lnTo>
                  <a:lnTo>
                    <a:pt x="168" y="19"/>
                  </a:lnTo>
                  <a:lnTo>
                    <a:pt x="166" y="20"/>
                  </a:lnTo>
                  <a:lnTo>
                    <a:pt x="166" y="22"/>
                  </a:lnTo>
                  <a:lnTo>
                    <a:pt x="170" y="24"/>
                  </a:lnTo>
                  <a:lnTo>
                    <a:pt x="172" y="24"/>
                  </a:lnTo>
                  <a:lnTo>
                    <a:pt x="172" y="27"/>
                  </a:lnTo>
                  <a:lnTo>
                    <a:pt x="173" y="29"/>
                  </a:lnTo>
                  <a:lnTo>
                    <a:pt x="172" y="29"/>
                  </a:lnTo>
                  <a:lnTo>
                    <a:pt x="170" y="30"/>
                  </a:lnTo>
                  <a:lnTo>
                    <a:pt x="172" y="32"/>
                  </a:lnTo>
                  <a:lnTo>
                    <a:pt x="172" y="36"/>
                  </a:lnTo>
                  <a:lnTo>
                    <a:pt x="172" y="37"/>
                  </a:lnTo>
                  <a:lnTo>
                    <a:pt x="172" y="41"/>
                  </a:lnTo>
                  <a:lnTo>
                    <a:pt x="172" y="42"/>
                  </a:lnTo>
                  <a:lnTo>
                    <a:pt x="170" y="44"/>
                  </a:lnTo>
                  <a:lnTo>
                    <a:pt x="168" y="47"/>
                  </a:lnTo>
                  <a:lnTo>
                    <a:pt x="168" y="49"/>
                  </a:lnTo>
                  <a:lnTo>
                    <a:pt x="166" y="49"/>
                  </a:lnTo>
                  <a:lnTo>
                    <a:pt x="166" y="51"/>
                  </a:lnTo>
                  <a:lnTo>
                    <a:pt x="165" y="54"/>
                  </a:lnTo>
                  <a:lnTo>
                    <a:pt x="165" y="56"/>
                  </a:lnTo>
                  <a:lnTo>
                    <a:pt x="165" y="59"/>
                  </a:lnTo>
                  <a:lnTo>
                    <a:pt x="165" y="61"/>
                  </a:lnTo>
                  <a:lnTo>
                    <a:pt x="165" y="63"/>
                  </a:lnTo>
                  <a:lnTo>
                    <a:pt x="163" y="64"/>
                  </a:lnTo>
                  <a:lnTo>
                    <a:pt x="165" y="64"/>
                  </a:lnTo>
                  <a:lnTo>
                    <a:pt x="163" y="66"/>
                  </a:lnTo>
                  <a:lnTo>
                    <a:pt x="161" y="64"/>
                  </a:lnTo>
                  <a:lnTo>
                    <a:pt x="158" y="66"/>
                  </a:lnTo>
                  <a:lnTo>
                    <a:pt x="156" y="64"/>
                  </a:lnTo>
                  <a:lnTo>
                    <a:pt x="155" y="64"/>
                  </a:lnTo>
                  <a:lnTo>
                    <a:pt x="153" y="64"/>
                  </a:lnTo>
                  <a:lnTo>
                    <a:pt x="151" y="64"/>
                  </a:lnTo>
                  <a:lnTo>
                    <a:pt x="149" y="66"/>
                  </a:lnTo>
                  <a:lnTo>
                    <a:pt x="149" y="68"/>
                  </a:lnTo>
                  <a:lnTo>
                    <a:pt x="151" y="71"/>
                  </a:lnTo>
                  <a:lnTo>
                    <a:pt x="149" y="70"/>
                  </a:lnTo>
                  <a:lnTo>
                    <a:pt x="149" y="71"/>
                  </a:lnTo>
                  <a:lnTo>
                    <a:pt x="148" y="71"/>
                  </a:lnTo>
                  <a:lnTo>
                    <a:pt x="149" y="73"/>
                  </a:lnTo>
                  <a:lnTo>
                    <a:pt x="148" y="76"/>
                  </a:lnTo>
                  <a:lnTo>
                    <a:pt x="151" y="78"/>
                  </a:lnTo>
                  <a:lnTo>
                    <a:pt x="155" y="78"/>
                  </a:lnTo>
                  <a:lnTo>
                    <a:pt x="156" y="78"/>
                  </a:lnTo>
                  <a:lnTo>
                    <a:pt x="158" y="80"/>
                  </a:lnTo>
                  <a:lnTo>
                    <a:pt x="161" y="78"/>
                  </a:lnTo>
                  <a:lnTo>
                    <a:pt x="161" y="80"/>
                  </a:lnTo>
                  <a:lnTo>
                    <a:pt x="163" y="83"/>
                  </a:lnTo>
                  <a:lnTo>
                    <a:pt x="163" y="85"/>
                  </a:lnTo>
                  <a:lnTo>
                    <a:pt x="163" y="87"/>
                  </a:lnTo>
                  <a:lnTo>
                    <a:pt x="163" y="88"/>
                  </a:lnTo>
                  <a:lnTo>
                    <a:pt x="161" y="90"/>
                  </a:lnTo>
                  <a:lnTo>
                    <a:pt x="161" y="92"/>
                  </a:lnTo>
                  <a:lnTo>
                    <a:pt x="163" y="93"/>
                  </a:lnTo>
                  <a:lnTo>
                    <a:pt x="161" y="95"/>
                  </a:lnTo>
                  <a:lnTo>
                    <a:pt x="160" y="95"/>
                  </a:lnTo>
                  <a:lnTo>
                    <a:pt x="158" y="97"/>
                  </a:lnTo>
                  <a:lnTo>
                    <a:pt x="156" y="98"/>
                  </a:lnTo>
                  <a:lnTo>
                    <a:pt x="155" y="98"/>
                  </a:lnTo>
                  <a:lnTo>
                    <a:pt x="155" y="100"/>
                  </a:lnTo>
                  <a:lnTo>
                    <a:pt x="155" y="102"/>
                  </a:lnTo>
                  <a:lnTo>
                    <a:pt x="153" y="102"/>
                  </a:lnTo>
                  <a:lnTo>
                    <a:pt x="149" y="102"/>
                  </a:lnTo>
                  <a:lnTo>
                    <a:pt x="149" y="104"/>
                  </a:lnTo>
                  <a:lnTo>
                    <a:pt x="146" y="105"/>
                  </a:lnTo>
                  <a:lnTo>
                    <a:pt x="146" y="107"/>
                  </a:lnTo>
                  <a:lnTo>
                    <a:pt x="149" y="107"/>
                  </a:lnTo>
                  <a:lnTo>
                    <a:pt x="149" y="109"/>
                  </a:lnTo>
                  <a:lnTo>
                    <a:pt x="151" y="110"/>
                  </a:lnTo>
                  <a:lnTo>
                    <a:pt x="153" y="110"/>
                  </a:lnTo>
                  <a:lnTo>
                    <a:pt x="153" y="112"/>
                  </a:lnTo>
                  <a:lnTo>
                    <a:pt x="151" y="112"/>
                  </a:lnTo>
                  <a:lnTo>
                    <a:pt x="151" y="115"/>
                  </a:lnTo>
                  <a:lnTo>
                    <a:pt x="149" y="115"/>
                  </a:lnTo>
                  <a:lnTo>
                    <a:pt x="148" y="117"/>
                  </a:lnTo>
                  <a:lnTo>
                    <a:pt x="146" y="115"/>
                  </a:lnTo>
                  <a:lnTo>
                    <a:pt x="144" y="117"/>
                  </a:lnTo>
                  <a:lnTo>
                    <a:pt x="141" y="117"/>
                  </a:lnTo>
                  <a:lnTo>
                    <a:pt x="139" y="117"/>
                  </a:lnTo>
                  <a:lnTo>
                    <a:pt x="138" y="119"/>
                  </a:lnTo>
                  <a:lnTo>
                    <a:pt x="136" y="119"/>
                  </a:lnTo>
                  <a:lnTo>
                    <a:pt x="132" y="117"/>
                  </a:lnTo>
                  <a:lnTo>
                    <a:pt x="134" y="119"/>
                  </a:lnTo>
                  <a:lnTo>
                    <a:pt x="134" y="121"/>
                  </a:lnTo>
                  <a:lnTo>
                    <a:pt x="131" y="119"/>
                  </a:lnTo>
                  <a:lnTo>
                    <a:pt x="129" y="119"/>
                  </a:lnTo>
                  <a:lnTo>
                    <a:pt x="129" y="117"/>
                  </a:lnTo>
                  <a:lnTo>
                    <a:pt x="126" y="117"/>
                  </a:lnTo>
                  <a:lnTo>
                    <a:pt x="124" y="115"/>
                  </a:lnTo>
                  <a:lnTo>
                    <a:pt x="122" y="115"/>
                  </a:lnTo>
                  <a:lnTo>
                    <a:pt x="121" y="115"/>
                  </a:lnTo>
                  <a:lnTo>
                    <a:pt x="122" y="117"/>
                  </a:lnTo>
                  <a:lnTo>
                    <a:pt x="124" y="119"/>
                  </a:lnTo>
                  <a:lnTo>
                    <a:pt x="121" y="119"/>
                  </a:lnTo>
                  <a:lnTo>
                    <a:pt x="119" y="117"/>
                  </a:lnTo>
                  <a:lnTo>
                    <a:pt x="117" y="119"/>
                  </a:lnTo>
                  <a:lnTo>
                    <a:pt x="115" y="121"/>
                  </a:lnTo>
                  <a:lnTo>
                    <a:pt x="114" y="119"/>
                  </a:lnTo>
                  <a:lnTo>
                    <a:pt x="114" y="121"/>
                  </a:lnTo>
                  <a:lnTo>
                    <a:pt x="115" y="122"/>
                  </a:lnTo>
                  <a:lnTo>
                    <a:pt x="115" y="124"/>
                  </a:lnTo>
                  <a:lnTo>
                    <a:pt x="114" y="126"/>
                  </a:lnTo>
                  <a:lnTo>
                    <a:pt x="115" y="126"/>
                  </a:lnTo>
                  <a:lnTo>
                    <a:pt x="117" y="127"/>
                  </a:lnTo>
                  <a:lnTo>
                    <a:pt x="117" y="129"/>
                  </a:lnTo>
                  <a:lnTo>
                    <a:pt x="117" y="131"/>
                  </a:lnTo>
                  <a:lnTo>
                    <a:pt x="119" y="132"/>
                  </a:lnTo>
                  <a:lnTo>
                    <a:pt x="121" y="132"/>
                  </a:lnTo>
                  <a:lnTo>
                    <a:pt x="119" y="134"/>
                  </a:lnTo>
                  <a:lnTo>
                    <a:pt x="119" y="136"/>
                  </a:lnTo>
                  <a:lnTo>
                    <a:pt x="121" y="138"/>
                  </a:lnTo>
                  <a:lnTo>
                    <a:pt x="122" y="139"/>
                  </a:lnTo>
                  <a:lnTo>
                    <a:pt x="122" y="141"/>
                  </a:lnTo>
                  <a:lnTo>
                    <a:pt x="124" y="141"/>
                  </a:lnTo>
                  <a:lnTo>
                    <a:pt x="124" y="143"/>
                  </a:lnTo>
                  <a:lnTo>
                    <a:pt x="124" y="144"/>
                  </a:lnTo>
                  <a:lnTo>
                    <a:pt x="124" y="148"/>
                  </a:lnTo>
                  <a:lnTo>
                    <a:pt x="124" y="151"/>
                  </a:lnTo>
                  <a:lnTo>
                    <a:pt x="124" y="153"/>
                  </a:lnTo>
                  <a:lnTo>
                    <a:pt x="122" y="155"/>
                  </a:lnTo>
                  <a:lnTo>
                    <a:pt x="121" y="156"/>
                  </a:lnTo>
                  <a:lnTo>
                    <a:pt x="119" y="160"/>
                  </a:lnTo>
                  <a:lnTo>
                    <a:pt x="117" y="161"/>
                  </a:lnTo>
                  <a:lnTo>
                    <a:pt x="117" y="163"/>
                  </a:lnTo>
                  <a:lnTo>
                    <a:pt x="117" y="165"/>
                  </a:lnTo>
                  <a:lnTo>
                    <a:pt x="117" y="167"/>
                  </a:lnTo>
                  <a:lnTo>
                    <a:pt x="119" y="165"/>
                  </a:lnTo>
                  <a:lnTo>
                    <a:pt x="121" y="165"/>
                  </a:lnTo>
                  <a:lnTo>
                    <a:pt x="122" y="165"/>
                  </a:lnTo>
                  <a:lnTo>
                    <a:pt x="119" y="167"/>
                  </a:lnTo>
                  <a:lnTo>
                    <a:pt x="121" y="167"/>
                  </a:lnTo>
                  <a:lnTo>
                    <a:pt x="121" y="168"/>
                  </a:lnTo>
                  <a:lnTo>
                    <a:pt x="119" y="168"/>
                  </a:lnTo>
                  <a:lnTo>
                    <a:pt x="117" y="168"/>
                  </a:lnTo>
                  <a:lnTo>
                    <a:pt x="117" y="170"/>
                  </a:lnTo>
                  <a:lnTo>
                    <a:pt x="115" y="172"/>
                  </a:lnTo>
                  <a:lnTo>
                    <a:pt x="114" y="172"/>
                  </a:lnTo>
                  <a:lnTo>
                    <a:pt x="112" y="173"/>
                  </a:lnTo>
                  <a:lnTo>
                    <a:pt x="110" y="175"/>
                  </a:lnTo>
                  <a:lnTo>
                    <a:pt x="109" y="173"/>
                  </a:lnTo>
                  <a:lnTo>
                    <a:pt x="107" y="173"/>
                  </a:lnTo>
                  <a:lnTo>
                    <a:pt x="107" y="177"/>
                  </a:lnTo>
                  <a:lnTo>
                    <a:pt x="109" y="177"/>
                  </a:lnTo>
                  <a:lnTo>
                    <a:pt x="109" y="180"/>
                  </a:lnTo>
                  <a:lnTo>
                    <a:pt x="110" y="178"/>
                  </a:lnTo>
                  <a:lnTo>
                    <a:pt x="112" y="178"/>
                  </a:lnTo>
                  <a:lnTo>
                    <a:pt x="114" y="178"/>
                  </a:lnTo>
                  <a:lnTo>
                    <a:pt x="114" y="180"/>
                  </a:lnTo>
                  <a:lnTo>
                    <a:pt x="114" y="182"/>
                  </a:lnTo>
                  <a:lnTo>
                    <a:pt x="115" y="184"/>
                  </a:lnTo>
                  <a:lnTo>
                    <a:pt x="117" y="184"/>
                  </a:lnTo>
                  <a:lnTo>
                    <a:pt x="115" y="185"/>
                  </a:lnTo>
                  <a:lnTo>
                    <a:pt x="115" y="187"/>
                  </a:lnTo>
                  <a:lnTo>
                    <a:pt x="115" y="189"/>
                  </a:lnTo>
                  <a:lnTo>
                    <a:pt x="114" y="189"/>
                  </a:lnTo>
                  <a:lnTo>
                    <a:pt x="114" y="190"/>
                  </a:lnTo>
                  <a:lnTo>
                    <a:pt x="110" y="192"/>
                  </a:lnTo>
                  <a:lnTo>
                    <a:pt x="114" y="194"/>
                  </a:lnTo>
                  <a:lnTo>
                    <a:pt x="112" y="195"/>
                  </a:lnTo>
                  <a:lnTo>
                    <a:pt x="110" y="194"/>
                  </a:lnTo>
                  <a:lnTo>
                    <a:pt x="107" y="195"/>
                  </a:lnTo>
                  <a:lnTo>
                    <a:pt x="107" y="194"/>
                  </a:lnTo>
                  <a:lnTo>
                    <a:pt x="105" y="195"/>
                  </a:lnTo>
                  <a:lnTo>
                    <a:pt x="105" y="194"/>
                  </a:lnTo>
                  <a:lnTo>
                    <a:pt x="104" y="194"/>
                  </a:lnTo>
                  <a:lnTo>
                    <a:pt x="102" y="192"/>
                  </a:lnTo>
                  <a:lnTo>
                    <a:pt x="100" y="194"/>
                  </a:lnTo>
                  <a:lnTo>
                    <a:pt x="98" y="194"/>
                  </a:lnTo>
                  <a:lnTo>
                    <a:pt x="98" y="192"/>
                  </a:lnTo>
                  <a:lnTo>
                    <a:pt x="98" y="190"/>
                  </a:lnTo>
                  <a:lnTo>
                    <a:pt x="97" y="190"/>
                  </a:lnTo>
                  <a:lnTo>
                    <a:pt x="97" y="187"/>
                  </a:lnTo>
                  <a:lnTo>
                    <a:pt x="97" y="185"/>
                  </a:lnTo>
                  <a:lnTo>
                    <a:pt x="98" y="185"/>
                  </a:lnTo>
                  <a:lnTo>
                    <a:pt x="98" y="184"/>
                  </a:lnTo>
                  <a:lnTo>
                    <a:pt x="100" y="184"/>
                  </a:lnTo>
                  <a:lnTo>
                    <a:pt x="100" y="182"/>
                  </a:lnTo>
                  <a:lnTo>
                    <a:pt x="102" y="180"/>
                  </a:lnTo>
                  <a:lnTo>
                    <a:pt x="100" y="180"/>
                  </a:lnTo>
                  <a:lnTo>
                    <a:pt x="102" y="178"/>
                  </a:lnTo>
                  <a:lnTo>
                    <a:pt x="102" y="177"/>
                  </a:lnTo>
                  <a:lnTo>
                    <a:pt x="104" y="175"/>
                  </a:lnTo>
                  <a:lnTo>
                    <a:pt x="102" y="175"/>
                  </a:lnTo>
                  <a:lnTo>
                    <a:pt x="104" y="173"/>
                  </a:lnTo>
                  <a:lnTo>
                    <a:pt x="104" y="172"/>
                  </a:lnTo>
                  <a:lnTo>
                    <a:pt x="105" y="170"/>
                  </a:lnTo>
                  <a:lnTo>
                    <a:pt x="107" y="168"/>
                  </a:lnTo>
                  <a:lnTo>
                    <a:pt x="107" y="167"/>
                  </a:lnTo>
                  <a:lnTo>
                    <a:pt x="104" y="167"/>
                  </a:lnTo>
                  <a:lnTo>
                    <a:pt x="104" y="165"/>
                  </a:lnTo>
                  <a:lnTo>
                    <a:pt x="102" y="165"/>
                  </a:lnTo>
                  <a:lnTo>
                    <a:pt x="100" y="165"/>
                  </a:lnTo>
                  <a:lnTo>
                    <a:pt x="98" y="165"/>
                  </a:lnTo>
                  <a:lnTo>
                    <a:pt x="98" y="163"/>
                  </a:lnTo>
                  <a:lnTo>
                    <a:pt x="97" y="163"/>
                  </a:lnTo>
                  <a:lnTo>
                    <a:pt x="95" y="161"/>
                  </a:lnTo>
                  <a:lnTo>
                    <a:pt x="95" y="158"/>
                  </a:lnTo>
                  <a:lnTo>
                    <a:pt x="93" y="156"/>
                  </a:lnTo>
                  <a:lnTo>
                    <a:pt x="92" y="156"/>
                  </a:lnTo>
                  <a:lnTo>
                    <a:pt x="90" y="156"/>
                  </a:lnTo>
                  <a:lnTo>
                    <a:pt x="88" y="158"/>
                  </a:lnTo>
                  <a:lnTo>
                    <a:pt x="85" y="156"/>
                  </a:lnTo>
                  <a:lnTo>
                    <a:pt x="85" y="158"/>
                  </a:lnTo>
                  <a:lnTo>
                    <a:pt x="83" y="158"/>
                  </a:lnTo>
                  <a:lnTo>
                    <a:pt x="81" y="158"/>
                  </a:lnTo>
                  <a:lnTo>
                    <a:pt x="80" y="158"/>
                  </a:lnTo>
                  <a:lnTo>
                    <a:pt x="81" y="155"/>
                  </a:lnTo>
                  <a:lnTo>
                    <a:pt x="80" y="153"/>
                  </a:lnTo>
                  <a:lnTo>
                    <a:pt x="76" y="153"/>
                  </a:lnTo>
                  <a:lnTo>
                    <a:pt x="76" y="151"/>
                  </a:lnTo>
                  <a:lnTo>
                    <a:pt x="76" y="149"/>
                  </a:lnTo>
                  <a:lnTo>
                    <a:pt x="75" y="148"/>
                  </a:lnTo>
                  <a:lnTo>
                    <a:pt x="76" y="146"/>
                  </a:lnTo>
                  <a:lnTo>
                    <a:pt x="75" y="143"/>
                  </a:lnTo>
                  <a:lnTo>
                    <a:pt x="73" y="143"/>
                  </a:lnTo>
                  <a:lnTo>
                    <a:pt x="73" y="141"/>
                  </a:lnTo>
                  <a:lnTo>
                    <a:pt x="71" y="143"/>
                  </a:lnTo>
                  <a:lnTo>
                    <a:pt x="71" y="144"/>
                  </a:lnTo>
                  <a:lnTo>
                    <a:pt x="70" y="146"/>
                  </a:lnTo>
                  <a:lnTo>
                    <a:pt x="68" y="148"/>
                  </a:lnTo>
                  <a:lnTo>
                    <a:pt x="66" y="146"/>
                  </a:lnTo>
                  <a:lnTo>
                    <a:pt x="64" y="146"/>
                  </a:lnTo>
                  <a:lnTo>
                    <a:pt x="61" y="146"/>
                  </a:lnTo>
                  <a:lnTo>
                    <a:pt x="61" y="144"/>
                  </a:lnTo>
                  <a:lnTo>
                    <a:pt x="64" y="146"/>
                  </a:lnTo>
                  <a:lnTo>
                    <a:pt x="63" y="143"/>
                  </a:lnTo>
                  <a:lnTo>
                    <a:pt x="64" y="143"/>
                  </a:lnTo>
                  <a:lnTo>
                    <a:pt x="64" y="141"/>
                  </a:lnTo>
                  <a:lnTo>
                    <a:pt x="63" y="141"/>
                  </a:lnTo>
                  <a:lnTo>
                    <a:pt x="61" y="139"/>
                  </a:lnTo>
                  <a:lnTo>
                    <a:pt x="59" y="141"/>
                  </a:lnTo>
                  <a:lnTo>
                    <a:pt x="58" y="141"/>
                  </a:lnTo>
                  <a:lnTo>
                    <a:pt x="58" y="143"/>
                  </a:lnTo>
                  <a:lnTo>
                    <a:pt x="56" y="143"/>
                  </a:lnTo>
                  <a:lnTo>
                    <a:pt x="56" y="144"/>
                  </a:lnTo>
                  <a:lnTo>
                    <a:pt x="53" y="144"/>
                  </a:lnTo>
                  <a:lnTo>
                    <a:pt x="51" y="144"/>
                  </a:lnTo>
                  <a:lnTo>
                    <a:pt x="51" y="143"/>
                  </a:lnTo>
                  <a:lnTo>
                    <a:pt x="51" y="141"/>
                  </a:lnTo>
                  <a:lnTo>
                    <a:pt x="51" y="139"/>
                  </a:lnTo>
                  <a:lnTo>
                    <a:pt x="49" y="139"/>
                  </a:lnTo>
                  <a:lnTo>
                    <a:pt x="47" y="141"/>
                  </a:lnTo>
                  <a:lnTo>
                    <a:pt x="44" y="141"/>
                  </a:lnTo>
                  <a:lnTo>
                    <a:pt x="46" y="143"/>
                  </a:lnTo>
                  <a:lnTo>
                    <a:pt x="44" y="144"/>
                  </a:lnTo>
                  <a:lnTo>
                    <a:pt x="46" y="148"/>
                  </a:lnTo>
                  <a:lnTo>
                    <a:pt x="44" y="148"/>
                  </a:lnTo>
                  <a:lnTo>
                    <a:pt x="42" y="148"/>
                  </a:lnTo>
                  <a:lnTo>
                    <a:pt x="42" y="146"/>
                  </a:lnTo>
                  <a:lnTo>
                    <a:pt x="41" y="146"/>
                  </a:lnTo>
                  <a:lnTo>
                    <a:pt x="37" y="146"/>
                  </a:lnTo>
                  <a:lnTo>
                    <a:pt x="36" y="144"/>
                  </a:lnTo>
                  <a:lnTo>
                    <a:pt x="34" y="144"/>
                  </a:lnTo>
                  <a:lnTo>
                    <a:pt x="32" y="144"/>
                  </a:lnTo>
                  <a:lnTo>
                    <a:pt x="30" y="143"/>
                  </a:lnTo>
                  <a:lnTo>
                    <a:pt x="29" y="141"/>
                  </a:lnTo>
                  <a:lnTo>
                    <a:pt x="29" y="139"/>
                  </a:lnTo>
                  <a:lnTo>
                    <a:pt x="29" y="141"/>
                  </a:lnTo>
                  <a:lnTo>
                    <a:pt x="27" y="139"/>
                  </a:lnTo>
                  <a:lnTo>
                    <a:pt x="24" y="139"/>
                  </a:lnTo>
                  <a:lnTo>
                    <a:pt x="25" y="141"/>
                  </a:lnTo>
                  <a:lnTo>
                    <a:pt x="24" y="141"/>
                  </a:lnTo>
                  <a:lnTo>
                    <a:pt x="24" y="144"/>
                  </a:lnTo>
                  <a:lnTo>
                    <a:pt x="22" y="144"/>
                  </a:lnTo>
                  <a:lnTo>
                    <a:pt x="19" y="144"/>
                  </a:lnTo>
                  <a:lnTo>
                    <a:pt x="19" y="143"/>
                  </a:lnTo>
                  <a:lnTo>
                    <a:pt x="15" y="143"/>
                  </a:lnTo>
                  <a:lnTo>
                    <a:pt x="15" y="141"/>
                  </a:lnTo>
                  <a:lnTo>
                    <a:pt x="13" y="139"/>
                  </a:lnTo>
                  <a:lnTo>
                    <a:pt x="15" y="139"/>
                  </a:lnTo>
                  <a:lnTo>
                    <a:pt x="15" y="138"/>
                  </a:lnTo>
                  <a:lnTo>
                    <a:pt x="13" y="139"/>
                  </a:lnTo>
                  <a:lnTo>
                    <a:pt x="10" y="139"/>
                  </a:lnTo>
                  <a:lnTo>
                    <a:pt x="7" y="138"/>
                  </a:lnTo>
                  <a:lnTo>
                    <a:pt x="7" y="136"/>
                  </a:lnTo>
                  <a:lnTo>
                    <a:pt x="3" y="132"/>
                  </a:lnTo>
                  <a:lnTo>
                    <a:pt x="7" y="131"/>
                  </a:lnTo>
                  <a:lnTo>
                    <a:pt x="10" y="129"/>
                  </a:lnTo>
                  <a:lnTo>
                    <a:pt x="12" y="129"/>
                  </a:lnTo>
                  <a:lnTo>
                    <a:pt x="15" y="129"/>
                  </a:lnTo>
                  <a:lnTo>
                    <a:pt x="15" y="127"/>
                  </a:lnTo>
                  <a:lnTo>
                    <a:pt x="17" y="126"/>
                  </a:lnTo>
                  <a:lnTo>
                    <a:pt x="15" y="122"/>
                  </a:lnTo>
                  <a:lnTo>
                    <a:pt x="15" y="121"/>
                  </a:lnTo>
                  <a:lnTo>
                    <a:pt x="17" y="119"/>
                  </a:lnTo>
                  <a:lnTo>
                    <a:pt x="20" y="119"/>
                  </a:lnTo>
                  <a:lnTo>
                    <a:pt x="22" y="119"/>
                  </a:lnTo>
                  <a:lnTo>
                    <a:pt x="24" y="117"/>
                  </a:lnTo>
                  <a:lnTo>
                    <a:pt x="24" y="114"/>
                  </a:lnTo>
                  <a:lnTo>
                    <a:pt x="27" y="114"/>
                  </a:lnTo>
                  <a:lnTo>
                    <a:pt x="29" y="112"/>
                  </a:lnTo>
                  <a:lnTo>
                    <a:pt x="30" y="112"/>
                  </a:lnTo>
                  <a:lnTo>
                    <a:pt x="29" y="112"/>
                  </a:lnTo>
                  <a:lnTo>
                    <a:pt x="30" y="112"/>
                  </a:lnTo>
                  <a:lnTo>
                    <a:pt x="29" y="114"/>
                  </a:lnTo>
                  <a:lnTo>
                    <a:pt x="30" y="114"/>
                  </a:lnTo>
                  <a:lnTo>
                    <a:pt x="32" y="115"/>
                  </a:lnTo>
                  <a:lnTo>
                    <a:pt x="36" y="117"/>
                  </a:lnTo>
                  <a:lnTo>
                    <a:pt x="37" y="119"/>
                  </a:lnTo>
                  <a:lnTo>
                    <a:pt x="41" y="121"/>
                  </a:lnTo>
                  <a:lnTo>
                    <a:pt x="41" y="122"/>
                  </a:lnTo>
                  <a:lnTo>
                    <a:pt x="44" y="124"/>
                  </a:lnTo>
                  <a:lnTo>
                    <a:pt x="46" y="124"/>
                  </a:lnTo>
                  <a:lnTo>
                    <a:pt x="46" y="126"/>
                  </a:lnTo>
                  <a:lnTo>
                    <a:pt x="46" y="124"/>
                  </a:lnTo>
                  <a:lnTo>
                    <a:pt x="44" y="124"/>
                  </a:lnTo>
                  <a:lnTo>
                    <a:pt x="46" y="126"/>
                  </a:lnTo>
                  <a:lnTo>
                    <a:pt x="44" y="126"/>
                  </a:lnTo>
                  <a:lnTo>
                    <a:pt x="44" y="127"/>
                  </a:lnTo>
                  <a:lnTo>
                    <a:pt x="41" y="127"/>
                  </a:lnTo>
                  <a:lnTo>
                    <a:pt x="39" y="127"/>
                  </a:lnTo>
                  <a:lnTo>
                    <a:pt x="39" y="126"/>
                  </a:lnTo>
                  <a:lnTo>
                    <a:pt x="37" y="124"/>
                  </a:lnTo>
                  <a:lnTo>
                    <a:pt x="36" y="124"/>
                  </a:lnTo>
                  <a:lnTo>
                    <a:pt x="36" y="126"/>
                  </a:lnTo>
                  <a:lnTo>
                    <a:pt x="37" y="126"/>
                  </a:lnTo>
                  <a:lnTo>
                    <a:pt x="36" y="126"/>
                  </a:lnTo>
                  <a:lnTo>
                    <a:pt x="36" y="124"/>
                  </a:lnTo>
                  <a:lnTo>
                    <a:pt x="36" y="122"/>
                  </a:lnTo>
                  <a:lnTo>
                    <a:pt x="32" y="122"/>
                  </a:lnTo>
                  <a:lnTo>
                    <a:pt x="32" y="124"/>
                  </a:lnTo>
                  <a:lnTo>
                    <a:pt x="32" y="122"/>
                  </a:lnTo>
                  <a:lnTo>
                    <a:pt x="30" y="121"/>
                  </a:lnTo>
                  <a:lnTo>
                    <a:pt x="30" y="119"/>
                  </a:lnTo>
                  <a:lnTo>
                    <a:pt x="30" y="115"/>
                  </a:lnTo>
                  <a:lnTo>
                    <a:pt x="27" y="115"/>
                  </a:lnTo>
                  <a:lnTo>
                    <a:pt x="25" y="115"/>
                  </a:lnTo>
                  <a:lnTo>
                    <a:pt x="24" y="119"/>
                  </a:lnTo>
                  <a:lnTo>
                    <a:pt x="22" y="119"/>
                  </a:lnTo>
                  <a:lnTo>
                    <a:pt x="25" y="119"/>
                  </a:lnTo>
                  <a:lnTo>
                    <a:pt x="25" y="121"/>
                  </a:lnTo>
                  <a:lnTo>
                    <a:pt x="29" y="121"/>
                  </a:lnTo>
                  <a:lnTo>
                    <a:pt x="30" y="124"/>
                  </a:lnTo>
                  <a:lnTo>
                    <a:pt x="32" y="126"/>
                  </a:lnTo>
                  <a:lnTo>
                    <a:pt x="34" y="124"/>
                  </a:lnTo>
                  <a:lnTo>
                    <a:pt x="36" y="126"/>
                  </a:lnTo>
                  <a:lnTo>
                    <a:pt x="34" y="126"/>
                  </a:lnTo>
                  <a:lnTo>
                    <a:pt x="32" y="127"/>
                  </a:lnTo>
                  <a:lnTo>
                    <a:pt x="29" y="129"/>
                  </a:lnTo>
                  <a:lnTo>
                    <a:pt x="27" y="129"/>
                  </a:lnTo>
                  <a:lnTo>
                    <a:pt x="25" y="127"/>
                  </a:lnTo>
                  <a:lnTo>
                    <a:pt x="24" y="127"/>
                  </a:lnTo>
                  <a:lnTo>
                    <a:pt x="25" y="126"/>
                  </a:lnTo>
                  <a:lnTo>
                    <a:pt x="24" y="127"/>
                  </a:lnTo>
                  <a:lnTo>
                    <a:pt x="24" y="124"/>
                  </a:lnTo>
                  <a:lnTo>
                    <a:pt x="20" y="124"/>
                  </a:lnTo>
                  <a:lnTo>
                    <a:pt x="22" y="122"/>
                  </a:lnTo>
                  <a:lnTo>
                    <a:pt x="20" y="122"/>
                  </a:lnTo>
                  <a:lnTo>
                    <a:pt x="19" y="124"/>
                  </a:lnTo>
                  <a:lnTo>
                    <a:pt x="17" y="124"/>
                  </a:lnTo>
                  <a:lnTo>
                    <a:pt x="17" y="126"/>
                  </a:lnTo>
                  <a:lnTo>
                    <a:pt x="17" y="127"/>
                  </a:lnTo>
                  <a:lnTo>
                    <a:pt x="15" y="127"/>
                  </a:lnTo>
                  <a:lnTo>
                    <a:pt x="15" y="129"/>
                  </a:lnTo>
                  <a:lnTo>
                    <a:pt x="17" y="129"/>
                  </a:lnTo>
                  <a:lnTo>
                    <a:pt x="19" y="129"/>
                  </a:lnTo>
                  <a:lnTo>
                    <a:pt x="20" y="129"/>
                  </a:lnTo>
                  <a:lnTo>
                    <a:pt x="22" y="129"/>
                  </a:lnTo>
                  <a:lnTo>
                    <a:pt x="24" y="131"/>
                  </a:lnTo>
                  <a:lnTo>
                    <a:pt x="24" y="132"/>
                  </a:lnTo>
                  <a:lnTo>
                    <a:pt x="22" y="134"/>
                  </a:lnTo>
                  <a:lnTo>
                    <a:pt x="22" y="132"/>
                  </a:lnTo>
                  <a:lnTo>
                    <a:pt x="20" y="132"/>
                  </a:lnTo>
                  <a:lnTo>
                    <a:pt x="19" y="132"/>
                  </a:lnTo>
                  <a:lnTo>
                    <a:pt x="17" y="132"/>
                  </a:lnTo>
                  <a:lnTo>
                    <a:pt x="15" y="134"/>
                  </a:lnTo>
                  <a:lnTo>
                    <a:pt x="15" y="131"/>
                  </a:lnTo>
                  <a:lnTo>
                    <a:pt x="15" y="132"/>
                  </a:lnTo>
                  <a:lnTo>
                    <a:pt x="13" y="131"/>
                  </a:lnTo>
                  <a:lnTo>
                    <a:pt x="13" y="129"/>
                  </a:lnTo>
                  <a:lnTo>
                    <a:pt x="12" y="131"/>
                  </a:lnTo>
                  <a:lnTo>
                    <a:pt x="13" y="132"/>
                  </a:lnTo>
                  <a:lnTo>
                    <a:pt x="15" y="136"/>
                  </a:lnTo>
                  <a:lnTo>
                    <a:pt x="17" y="134"/>
                  </a:lnTo>
                  <a:lnTo>
                    <a:pt x="15" y="134"/>
                  </a:lnTo>
                  <a:lnTo>
                    <a:pt x="17" y="134"/>
                  </a:lnTo>
                  <a:lnTo>
                    <a:pt x="17" y="132"/>
                  </a:lnTo>
                  <a:lnTo>
                    <a:pt x="19" y="132"/>
                  </a:lnTo>
                  <a:lnTo>
                    <a:pt x="17" y="132"/>
                  </a:lnTo>
                  <a:lnTo>
                    <a:pt x="19" y="132"/>
                  </a:lnTo>
                  <a:lnTo>
                    <a:pt x="20" y="132"/>
                  </a:lnTo>
                  <a:lnTo>
                    <a:pt x="22" y="134"/>
                  </a:lnTo>
                  <a:lnTo>
                    <a:pt x="25" y="134"/>
                  </a:lnTo>
                  <a:lnTo>
                    <a:pt x="27" y="134"/>
                  </a:lnTo>
                  <a:lnTo>
                    <a:pt x="29" y="136"/>
                  </a:lnTo>
                  <a:lnTo>
                    <a:pt x="30" y="138"/>
                  </a:lnTo>
                  <a:lnTo>
                    <a:pt x="30" y="139"/>
                  </a:lnTo>
                  <a:lnTo>
                    <a:pt x="32" y="141"/>
                  </a:lnTo>
                  <a:lnTo>
                    <a:pt x="34" y="143"/>
                  </a:lnTo>
                  <a:lnTo>
                    <a:pt x="36" y="141"/>
                  </a:lnTo>
                  <a:lnTo>
                    <a:pt x="37" y="143"/>
                  </a:lnTo>
                  <a:lnTo>
                    <a:pt x="37" y="141"/>
                  </a:lnTo>
                  <a:lnTo>
                    <a:pt x="37" y="138"/>
                  </a:lnTo>
                  <a:lnTo>
                    <a:pt x="36" y="138"/>
                  </a:lnTo>
                  <a:lnTo>
                    <a:pt x="36" y="136"/>
                  </a:lnTo>
                  <a:lnTo>
                    <a:pt x="34" y="136"/>
                  </a:lnTo>
                  <a:lnTo>
                    <a:pt x="32" y="136"/>
                  </a:lnTo>
                  <a:lnTo>
                    <a:pt x="30" y="134"/>
                  </a:lnTo>
                  <a:lnTo>
                    <a:pt x="29" y="132"/>
                  </a:lnTo>
                  <a:lnTo>
                    <a:pt x="27" y="131"/>
                  </a:lnTo>
                  <a:lnTo>
                    <a:pt x="29" y="131"/>
                  </a:lnTo>
                  <a:lnTo>
                    <a:pt x="32" y="129"/>
                  </a:lnTo>
                  <a:lnTo>
                    <a:pt x="34" y="131"/>
                  </a:lnTo>
                  <a:lnTo>
                    <a:pt x="36" y="131"/>
                  </a:lnTo>
                  <a:lnTo>
                    <a:pt x="36" y="129"/>
                  </a:lnTo>
                  <a:lnTo>
                    <a:pt x="34" y="129"/>
                  </a:lnTo>
                  <a:lnTo>
                    <a:pt x="34" y="127"/>
                  </a:lnTo>
                  <a:lnTo>
                    <a:pt x="36" y="127"/>
                  </a:lnTo>
                  <a:lnTo>
                    <a:pt x="37" y="129"/>
                  </a:lnTo>
                  <a:lnTo>
                    <a:pt x="36" y="126"/>
                  </a:lnTo>
                  <a:lnTo>
                    <a:pt x="37" y="126"/>
                  </a:lnTo>
                  <a:lnTo>
                    <a:pt x="36" y="126"/>
                  </a:lnTo>
                  <a:lnTo>
                    <a:pt x="36" y="127"/>
                  </a:lnTo>
                  <a:lnTo>
                    <a:pt x="37" y="127"/>
                  </a:lnTo>
                  <a:lnTo>
                    <a:pt x="37" y="129"/>
                  </a:lnTo>
                  <a:lnTo>
                    <a:pt x="39" y="127"/>
                  </a:lnTo>
                  <a:lnTo>
                    <a:pt x="41" y="129"/>
                  </a:lnTo>
                  <a:lnTo>
                    <a:pt x="44" y="127"/>
                  </a:lnTo>
                  <a:lnTo>
                    <a:pt x="46" y="127"/>
                  </a:lnTo>
                  <a:lnTo>
                    <a:pt x="46" y="126"/>
                  </a:lnTo>
                  <a:lnTo>
                    <a:pt x="47" y="124"/>
                  </a:lnTo>
                  <a:lnTo>
                    <a:pt x="47" y="126"/>
                  </a:lnTo>
                  <a:lnTo>
                    <a:pt x="47" y="124"/>
                  </a:lnTo>
                  <a:lnTo>
                    <a:pt x="51" y="126"/>
                  </a:lnTo>
                  <a:lnTo>
                    <a:pt x="53" y="126"/>
                  </a:lnTo>
                  <a:lnTo>
                    <a:pt x="56" y="126"/>
                  </a:lnTo>
                  <a:lnTo>
                    <a:pt x="58" y="124"/>
                  </a:lnTo>
                  <a:lnTo>
                    <a:pt x="59" y="124"/>
                  </a:lnTo>
                  <a:lnTo>
                    <a:pt x="61" y="124"/>
                  </a:lnTo>
                  <a:lnTo>
                    <a:pt x="64" y="126"/>
                  </a:lnTo>
                  <a:lnTo>
                    <a:pt x="66" y="126"/>
                  </a:lnTo>
                  <a:lnTo>
                    <a:pt x="66" y="124"/>
                  </a:lnTo>
                  <a:lnTo>
                    <a:pt x="64" y="124"/>
                  </a:lnTo>
                  <a:lnTo>
                    <a:pt x="61" y="124"/>
                  </a:lnTo>
                  <a:lnTo>
                    <a:pt x="64" y="122"/>
                  </a:lnTo>
                  <a:lnTo>
                    <a:pt x="63" y="122"/>
                  </a:lnTo>
                  <a:lnTo>
                    <a:pt x="61" y="122"/>
                  </a:lnTo>
                  <a:lnTo>
                    <a:pt x="63" y="121"/>
                  </a:lnTo>
                  <a:lnTo>
                    <a:pt x="61" y="122"/>
                  </a:lnTo>
                  <a:lnTo>
                    <a:pt x="59" y="122"/>
                  </a:lnTo>
                  <a:lnTo>
                    <a:pt x="59" y="124"/>
                  </a:lnTo>
                  <a:lnTo>
                    <a:pt x="61" y="122"/>
                  </a:lnTo>
                  <a:lnTo>
                    <a:pt x="63" y="119"/>
                  </a:lnTo>
                  <a:lnTo>
                    <a:pt x="66" y="119"/>
                  </a:lnTo>
                  <a:lnTo>
                    <a:pt x="68" y="117"/>
                  </a:lnTo>
                  <a:lnTo>
                    <a:pt x="66" y="119"/>
                  </a:lnTo>
                  <a:lnTo>
                    <a:pt x="64" y="119"/>
                  </a:lnTo>
                  <a:lnTo>
                    <a:pt x="63" y="119"/>
                  </a:lnTo>
                  <a:lnTo>
                    <a:pt x="61" y="121"/>
                  </a:lnTo>
                  <a:lnTo>
                    <a:pt x="59" y="122"/>
                  </a:lnTo>
                  <a:lnTo>
                    <a:pt x="58" y="124"/>
                  </a:lnTo>
                  <a:lnTo>
                    <a:pt x="58" y="122"/>
                  </a:lnTo>
                  <a:lnTo>
                    <a:pt x="58" y="124"/>
                  </a:lnTo>
                  <a:lnTo>
                    <a:pt x="56" y="122"/>
                  </a:lnTo>
                  <a:lnTo>
                    <a:pt x="56" y="124"/>
                  </a:lnTo>
                  <a:lnTo>
                    <a:pt x="53" y="124"/>
                  </a:lnTo>
                  <a:lnTo>
                    <a:pt x="49" y="124"/>
                  </a:lnTo>
                  <a:lnTo>
                    <a:pt x="47" y="122"/>
                  </a:lnTo>
                  <a:lnTo>
                    <a:pt x="46" y="122"/>
                  </a:lnTo>
                  <a:lnTo>
                    <a:pt x="44" y="121"/>
                  </a:lnTo>
                  <a:lnTo>
                    <a:pt x="42" y="121"/>
                  </a:lnTo>
                  <a:lnTo>
                    <a:pt x="41" y="119"/>
                  </a:lnTo>
                  <a:lnTo>
                    <a:pt x="39" y="119"/>
                  </a:lnTo>
                  <a:lnTo>
                    <a:pt x="41" y="119"/>
                  </a:lnTo>
                  <a:lnTo>
                    <a:pt x="41" y="117"/>
                  </a:lnTo>
                  <a:lnTo>
                    <a:pt x="39" y="115"/>
                  </a:lnTo>
                  <a:lnTo>
                    <a:pt x="37" y="117"/>
                  </a:lnTo>
                  <a:lnTo>
                    <a:pt x="37" y="115"/>
                  </a:lnTo>
                  <a:lnTo>
                    <a:pt x="36" y="115"/>
                  </a:lnTo>
                  <a:lnTo>
                    <a:pt x="36" y="114"/>
                  </a:lnTo>
                  <a:lnTo>
                    <a:pt x="34" y="114"/>
                  </a:lnTo>
                  <a:lnTo>
                    <a:pt x="32" y="114"/>
                  </a:lnTo>
                  <a:lnTo>
                    <a:pt x="32" y="112"/>
                  </a:lnTo>
                  <a:lnTo>
                    <a:pt x="32" y="110"/>
                  </a:lnTo>
                  <a:lnTo>
                    <a:pt x="32" y="109"/>
                  </a:lnTo>
                  <a:lnTo>
                    <a:pt x="32" y="107"/>
                  </a:lnTo>
                  <a:lnTo>
                    <a:pt x="30" y="109"/>
                  </a:lnTo>
                  <a:lnTo>
                    <a:pt x="30" y="107"/>
                  </a:lnTo>
                  <a:lnTo>
                    <a:pt x="29" y="105"/>
                  </a:lnTo>
                  <a:lnTo>
                    <a:pt x="30" y="104"/>
                  </a:lnTo>
                  <a:lnTo>
                    <a:pt x="32" y="104"/>
                  </a:lnTo>
                  <a:lnTo>
                    <a:pt x="34" y="104"/>
                  </a:lnTo>
                  <a:lnTo>
                    <a:pt x="34" y="105"/>
                  </a:lnTo>
                  <a:lnTo>
                    <a:pt x="34" y="104"/>
                  </a:lnTo>
                  <a:lnTo>
                    <a:pt x="34" y="105"/>
                  </a:lnTo>
                  <a:lnTo>
                    <a:pt x="30" y="104"/>
                  </a:lnTo>
                  <a:lnTo>
                    <a:pt x="29" y="105"/>
                  </a:lnTo>
                  <a:lnTo>
                    <a:pt x="30" y="105"/>
                  </a:lnTo>
                  <a:lnTo>
                    <a:pt x="30" y="107"/>
                  </a:lnTo>
                  <a:lnTo>
                    <a:pt x="32" y="105"/>
                  </a:lnTo>
                  <a:lnTo>
                    <a:pt x="30" y="104"/>
                  </a:lnTo>
                  <a:lnTo>
                    <a:pt x="32" y="105"/>
                  </a:lnTo>
                  <a:lnTo>
                    <a:pt x="34" y="105"/>
                  </a:lnTo>
                  <a:lnTo>
                    <a:pt x="32" y="105"/>
                  </a:lnTo>
                  <a:lnTo>
                    <a:pt x="34" y="107"/>
                  </a:lnTo>
                  <a:lnTo>
                    <a:pt x="32" y="107"/>
                  </a:lnTo>
                  <a:lnTo>
                    <a:pt x="32" y="105"/>
                  </a:lnTo>
                  <a:lnTo>
                    <a:pt x="32" y="107"/>
                  </a:lnTo>
                  <a:lnTo>
                    <a:pt x="34" y="107"/>
                  </a:lnTo>
                  <a:lnTo>
                    <a:pt x="36" y="105"/>
                  </a:lnTo>
                  <a:lnTo>
                    <a:pt x="36" y="107"/>
                  </a:lnTo>
                  <a:lnTo>
                    <a:pt x="37" y="105"/>
                  </a:lnTo>
                  <a:lnTo>
                    <a:pt x="37" y="107"/>
                  </a:lnTo>
                  <a:lnTo>
                    <a:pt x="39" y="107"/>
                  </a:lnTo>
                  <a:lnTo>
                    <a:pt x="39" y="109"/>
                  </a:lnTo>
                  <a:lnTo>
                    <a:pt x="41" y="110"/>
                  </a:lnTo>
                  <a:lnTo>
                    <a:pt x="41" y="109"/>
                  </a:lnTo>
                  <a:lnTo>
                    <a:pt x="37" y="107"/>
                  </a:lnTo>
                  <a:lnTo>
                    <a:pt x="37" y="105"/>
                  </a:lnTo>
                  <a:lnTo>
                    <a:pt x="36" y="105"/>
                  </a:lnTo>
                  <a:lnTo>
                    <a:pt x="37" y="105"/>
                  </a:lnTo>
                  <a:lnTo>
                    <a:pt x="39" y="107"/>
                  </a:lnTo>
                  <a:lnTo>
                    <a:pt x="41" y="109"/>
                  </a:lnTo>
                  <a:lnTo>
                    <a:pt x="42" y="110"/>
                  </a:lnTo>
                  <a:lnTo>
                    <a:pt x="44" y="110"/>
                  </a:lnTo>
                  <a:lnTo>
                    <a:pt x="42" y="110"/>
                  </a:lnTo>
                  <a:lnTo>
                    <a:pt x="42" y="112"/>
                  </a:lnTo>
                  <a:lnTo>
                    <a:pt x="44" y="110"/>
                  </a:lnTo>
                  <a:lnTo>
                    <a:pt x="42" y="112"/>
                  </a:lnTo>
                  <a:lnTo>
                    <a:pt x="44" y="112"/>
                  </a:lnTo>
                  <a:lnTo>
                    <a:pt x="44" y="110"/>
                  </a:lnTo>
                  <a:lnTo>
                    <a:pt x="44" y="112"/>
                  </a:lnTo>
                  <a:lnTo>
                    <a:pt x="44" y="110"/>
                  </a:lnTo>
                  <a:lnTo>
                    <a:pt x="46" y="112"/>
                  </a:lnTo>
                  <a:lnTo>
                    <a:pt x="46" y="110"/>
                  </a:lnTo>
                  <a:lnTo>
                    <a:pt x="46" y="112"/>
                  </a:lnTo>
                  <a:lnTo>
                    <a:pt x="46" y="110"/>
                  </a:lnTo>
                  <a:lnTo>
                    <a:pt x="49" y="112"/>
                  </a:lnTo>
                  <a:lnTo>
                    <a:pt x="47" y="110"/>
                  </a:lnTo>
                  <a:lnTo>
                    <a:pt x="49" y="110"/>
                  </a:lnTo>
                  <a:lnTo>
                    <a:pt x="49" y="112"/>
                  </a:lnTo>
                  <a:lnTo>
                    <a:pt x="51" y="110"/>
                  </a:lnTo>
                  <a:lnTo>
                    <a:pt x="49" y="110"/>
                  </a:lnTo>
                  <a:lnTo>
                    <a:pt x="51" y="110"/>
                  </a:lnTo>
                  <a:lnTo>
                    <a:pt x="53" y="110"/>
                  </a:lnTo>
                  <a:lnTo>
                    <a:pt x="54" y="110"/>
                  </a:lnTo>
                  <a:lnTo>
                    <a:pt x="53" y="109"/>
                  </a:lnTo>
                  <a:lnTo>
                    <a:pt x="51" y="110"/>
                  </a:lnTo>
                  <a:lnTo>
                    <a:pt x="47" y="110"/>
                  </a:lnTo>
                  <a:lnTo>
                    <a:pt x="46" y="110"/>
                  </a:lnTo>
                  <a:lnTo>
                    <a:pt x="42" y="110"/>
                  </a:lnTo>
                  <a:lnTo>
                    <a:pt x="41" y="109"/>
                  </a:lnTo>
                  <a:lnTo>
                    <a:pt x="41" y="107"/>
                  </a:lnTo>
                  <a:lnTo>
                    <a:pt x="37" y="105"/>
                  </a:lnTo>
                  <a:lnTo>
                    <a:pt x="36" y="104"/>
                  </a:lnTo>
                  <a:lnTo>
                    <a:pt x="37" y="102"/>
                  </a:lnTo>
                  <a:lnTo>
                    <a:pt x="37" y="100"/>
                  </a:lnTo>
                  <a:lnTo>
                    <a:pt x="39" y="100"/>
                  </a:lnTo>
                  <a:lnTo>
                    <a:pt x="39" y="98"/>
                  </a:lnTo>
                  <a:lnTo>
                    <a:pt x="42" y="97"/>
                  </a:lnTo>
                  <a:lnTo>
                    <a:pt x="42" y="95"/>
                  </a:lnTo>
                  <a:lnTo>
                    <a:pt x="42" y="97"/>
                  </a:lnTo>
                  <a:lnTo>
                    <a:pt x="42" y="95"/>
                  </a:lnTo>
                  <a:lnTo>
                    <a:pt x="46" y="93"/>
                  </a:lnTo>
                  <a:lnTo>
                    <a:pt x="47" y="90"/>
                  </a:lnTo>
                  <a:lnTo>
                    <a:pt x="49" y="88"/>
                  </a:lnTo>
                  <a:lnTo>
                    <a:pt x="51" y="87"/>
                  </a:lnTo>
                  <a:lnTo>
                    <a:pt x="51" y="85"/>
                  </a:lnTo>
                  <a:lnTo>
                    <a:pt x="53" y="83"/>
                  </a:lnTo>
                  <a:lnTo>
                    <a:pt x="54" y="81"/>
                  </a:lnTo>
                  <a:lnTo>
                    <a:pt x="54" y="80"/>
                  </a:lnTo>
                  <a:lnTo>
                    <a:pt x="54" y="78"/>
                  </a:lnTo>
                  <a:lnTo>
                    <a:pt x="56" y="78"/>
                  </a:lnTo>
                  <a:lnTo>
                    <a:pt x="58" y="75"/>
                  </a:lnTo>
                  <a:lnTo>
                    <a:pt x="58" y="73"/>
                  </a:lnTo>
                  <a:lnTo>
                    <a:pt x="56" y="71"/>
                  </a:lnTo>
                  <a:lnTo>
                    <a:pt x="58" y="73"/>
                  </a:lnTo>
                  <a:lnTo>
                    <a:pt x="61" y="71"/>
                  </a:lnTo>
                  <a:lnTo>
                    <a:pt x="61" y="73"/>
                  </a:lnTo>
                  <a:lnTo>
                    <a:pt x="64" y="75"/>
                  </a:lnTo>
                  <a:lnTo>
                    <a:pt x="66" y="75"/>
                  </a:lnTo>
                  <a:lnTo>
                    <a:pt x="66" y="76"/>
                  </a:lnTo>
                  <a:lnTo>
                    <a:pt x="68" y="76"/>
                  </a:lnTo>
                  <a:lnTo>
                    <a:pt x="66" y="75"/>
                  </a:lnTo>
                  <a:lnTo>
                    <a:pt x="68" y="76"/>
                  </a:lnTo>
                  <a:lnTo>
                    <a:pt x="68" y="78"/>
                  </a:lnTo>
                  <a:lnTo>
                    <a:pt x="70" y="76"/>
                  </a:lnTo>
                  <a:lnTo>
                    <a:pt x="68" y="76"/>
                  </a:lnTo>
                  <a:lnTo>
                    <a:pt x="70" y="76"/>
                  </a:lnTo>
                  <a:lnTo>
                    <a:pt x="71" y="76"/>
                  </a:lnTo>
                  <a:lnTo>
                    <a:pt x="70" y="76"/>
                  </a:lnTo>
                  <a:lnTo>
                    <a:pt x="71" y="76"/>
                  </a:lnTo>
                  <a:lnTo>
                    <a:pt x="71" y="78"/>
                  </a:lnTo>
                  <a:lnTo>
                    <a:pt x="73" y="78"/>
                  </a:lnTo>
                  <a:close/>
                  <a:moveTo>
                    <a:pt x="70" y="37"/>
                  </a:moveTo>
                  <a:lnTo>
                    <a:pt x="70" y="39"/>
                  </a:lnTo>
                  <a:lnTo>
                    <a:pt x="70" y="37"/>
                  </a:lnTo>
                  <a:lnTo>
                    <a:pt x="70" y="39"/>
                  </a:lnTo>
                  <a:lnTo>
                    <a:pt x="70" y="41"/>
                  </a:lnTo>
                  <a:lnTo>
                    <a:pt x="71" y="42"/>
                  </a:lnTo>
                  <a:lnTo>
                    <a:pt x="73" y="42"/>
                  </a:lnTo>
                  <a:lnTo>
                    <a:pt x="76" y="42"/>
                  </a:lnTo>
                  <a:lnTo>
                    <a:pt x="76" y="41"/>
                  </a:lnTo>
                  <a:lnTo>
                    <a:pt x="80" y="39"/>
                  </a:lnTo>
                  <a:lnTo>
                    <a:pt x="80" y="41"/>
                  </a:lnTo>
                  <a:lnTo>
                    <a:pt x="81" y="44"/>
                  </a:lnTo>
                  <a:lnTo>
                    <a:pt x="81" y="46"/>
                  </a:lnTo>
                  <a:lnTo>
                    <a:pt x="83" y="46"/>
                  </a:lnTo>
                  <a:lnTo>
                    <a:pt x="83" y="47"/>
                  </a:lnTo>
                  <a:lnTo>
                    <a:pt x="81" y="51"/>
                  </a:lnTo>
                  <a:lnTo>
                    <a:pt x="83" y="51"/>
                  </a:lnTo>
                  <a:lnTo>
                    <a:pt x="81" y="53"/>
                  </a:lnTo>
                  <a:lnTo>
                    <a:pt x="83" y="54"/>
                  </a:lnTo>
                  <a:lnTo>
                    <a:pt x="85" y="54"/>
                  </a:lnTo>
                  <a:lnTo>
                    <a:pt x="85" y="53"/>
                  </a:lnTo>
                  <a:lnTo>
                    <a:pt x="88" y="54"/>
                  </a:lnTo>
                  <a:lnTo>
                    <a:pt x="90" y="54"/>
                  </a:lnTo>
                  <a:lnTo>
                    <a:pt x="90" y="58"/>
                  </a:lnTo>
                  <a:lnTo>
                    <a:pt x="88" y="58"/>
                  </a:lnTo>
                  <a:lnTo>
                    <a:pt x="90" y="58"/>
                  </a:lnTo>
                  <a:lnTo>
                    <a:pt x="92" y="59"/>
                  </a:lnTo>
                  <a:lnTo>
                    <a:pt x="93" y="61"/>
                  </a:lnTo>
                  <a:lnTo>
                    <a:pt x="95" y="63"/>
                  </a:lnTo>
                  <a:lnTo>
                    <a:pt x="95" y="64"/>
                  </a:lnTo>
                  <a:lnTo>
                    <a:pt x="97" y="64"/>
                  </a:lnTo>
                  <a:lnTo>
                    <a:pt x="97" y="66"/>
                  </a:lnTo>
                  <a:lnTo>
                    <a:pt x="97" y="68"/>
                  </a:lnTo>
                  <a:lnTo>
                    <a:pt x="95" y="68"/>
                  </a:lnTo>
                  <a:lnTo>
                    <a:pt x="95" y="70"/>
                  </a:lnTo>
                  <a:lnTo>
                    <a:pt x="95" y="68"/>
                  </a:lnTo>
                  <a:lnTo>
                    <a:pt x="97" y="66"/>
                  </a:lnTo>
                  <a:lnTo>
                    <a:pt x="95" y="64"/>
                  </a:lnTo>
                  <a:lnTo>
                    <a:pt x="95" y="63"/>
                  </a:lnTo>
                  <a:lnTo>
                    <a:pt x="93" y="61"/>
                  </a:lnTo>
                  <a:lnTo>
                    <a:pt x="92" y="59"/>
                  </a:lnTo>
                  <a:lnTo>
                    <a:pt x="90" y="58"/>
                  </a:lnTo>
                  <a:lnTo>
                    <a:pt x="88" y="58"/>
                  </a:lnTo>
                  <a:lnTo>
                    <a:pt x="87" y="61"/>
                  </a:lnTo>
                  <a:lnTo>
                    <a:pt x="85" y="61"/>
                  </a:lnTo>
                  <a:lnTo>
                    <a:pt x="83" y="63"/>
                  </a:lnTo>
                  <a:lnTo>
                    <a:pt x="81" y="63"/>
                  </a:lnTo>
                  <a:lnTo>
                    <a:pt x="81" y="61"/>
                  </a:lnTo>
                  <a:lnTo>
                    <a:pt x="78" y="61"/>
                  </a:lnTo>
                  <a:lnTo>
                    <a:pt x="78" y="64"/>
                  </a:lnTo>
                  <a:lnTo>
                    <a:pt x="78" y="66"/>
                  </a:lnTo>
                  <a:lnTo>
                    <a:pt x="80" y="70"/>
                  </a:lnTo>
                  <a:lnTo>
                    <a:pt x="80" y="71"/>
                  </a:lnTo>
                  <a:lnTo>
                    <a:pt x="78" y="71"/>
                  </a:lnTo>
                  <a:lnTo>
                    <a:pt x="80" y="73"/>
                  </a:lnTo>
                  <a:lnTo>
                    <a:pt x="78" y="73"/>
                  </a:lnTo>
                  <a:lnTo>
                    <a:pt x="78" y="75"/>
                  </a:lnTo>
                  <a:lnTo>
                    <a:pt x="80" y="75"/>
                  </a:lnTo>
                  <a:lnTo>
                    <a:pt x="80" y="73"/>
                  </a:lnTo>
                  <a:lnTo>
                    <a:pt x="80" y="71"/>
                  </a:lnTo>
                  <a:lnTo>
                    <a:pt x="80" y="73"/>
                  </a:lnTo>
                  <a:lnTo>
                    <a:pt x="81" y="73"/>
                  </a:lnTo>
                  <a:lnTo>
                    <a:pt x="80" y="75"/>
                  </a:lnTo>
                  <a:lnTo>
                    <a:pt x="78" y="76"/>
                  </a:lnTo>
                  <a:lnTo>
                    <a:pt x="76" y="78"/>
                  </a:lnTo>
                  <a:lnTo>
                    <a:pt x="76" y="80"/>
                  </a:lnTo>
                  <a:lnTo>
                    <a:pt x="73" y="78"/>
                  </a:lnTo>
                  <a:lnTo>
                    <a:pt x="71" y="78"/>
                  </a:lnTo>
                  <a:lnTo>
                    <a:pt x="70" y="76"/>
                  </a:lnTo>
                  <a:lnTo>
                    <a:pt x="70" y="75"/>
                  </a:lnTo>
                  <a:lnTo>
                    <a:pt x="70" y="76"/>
                  </a:lnTo>
                  <a:lnTo>
                    <a:pt x="66" y="75"/>
                  </a:lnTo>
                  <a:lnTo>
                    <a:pt x="64" y="75"/>
                  </a:lnTo>
                  <a:lnTo>
                    <a:pt x="61" y="71"/>
                  </a:lnTo>
                  <a:lnTo>
                    <a:pt x="63" y="71"/>
                  </a:lnTo>
                  <a:lnTo>
                    <a:pt x="61" y="71"/>
                  </a:lnTo>
                  <a:lnTo>
                    <a:pt x="59" y="71"/>
                  </a:lnTo>
                  <a:lnTo>
                    <a:pt x="58" y="71"/>
                  </a:lnTo>
                  <a:lnTo>
                    <a:pt x="56" y="71"/>
                  </a:lnTo>
                  <a:lnTo>
                    <a:pt x="58" y="71"/>
                  </a:lnTo>
                  <a:lnTo>
                    <a:pt x="59" y="70"/>
                  </a:lnTo>
                  <a:lnTo>
                    <a:pt x="59" y="68"/>
                  </a:lnTo>
                  <a:lnTo>
                    <a:pt x="59" y="64"/>
                  </a:lnTo>
                  <a:lnTo>
                    <a:pt x="61" y="63"/>
                  </a:lnTo>
                  <a:lnTo>
                    <a:pt x="61" y="59"/>
                  </a:lnTo>
                  <a:lnTo>
                    <a:pt x="61" y="58"/>
                  </a:lnTo>
                  <a:lnTo>
                    <a:pt x="61" y="56"/>
                  </a:lnTo>
                  <a:lnTo>
                    <a:pt x="63" y="54"/>
                  </a:lnTo>
                  <a:lnTo>
                    <a:pt x="63" y="51"/>
                  </a:lnTo>
                  <a:lnTo>
                    <a:pt x="64" y="47"/>
                  </a:lnTo>
                  <a:lnTo>
                    <a:pt x="64" y="44"/>
                  </a:lnTo>
                  <a:lnTo>
                    <a:pt x="66" y="44"/>
                  </a:lnTo>
                  <a:lnTo>
                    <a:pt x="66" y="42"/>
                  </a:lnTo>
                  <a:lnTo>
                    <a:pt x="66" y="41"/>
                  </a:lnTo>
                  <a:lnTo>
                    <a:pt x="66" y="39"/>
                  </a:lnTo>
                  <a:lnTo>
                    <a:pt x="68" y="37"/>
                  </a:lnTo>
                  <a:lnTo>
                    <a:pt x="70" y="37"/>
                  </a:lnTo>
                  <a:close/>
                  <a:moveTo>
                    <a:pt x="37" y="148"/>
                  </a:moveTo>
                  <a:lnTo>
                    <a:pt x="36" y="149"/>
                  </a:lnTo>
                  <a:lnTo>
                    <a:pt x="34" y="151"/>
                  </a:lnTo>
                  <a:lnTo>
                    <a:pt x="34" y="153"/>
                  </a:lnTo>
                  <a:lnTo>
                    <a:pt x="32" y="153"/>
                  </a:lnTo>
                  <a:lnTo>
                    <a:pt x="30" y="155"/>
                  </a:lnTo>
                  <a:lnTo>
                    <a:pt x="29" y="155"/>
                  </a:lnTo>
                  <a:lnTo>
                    <a:pt x="27" y="155"/>
                  </a:lnTo>
                  <a:lnTo>
                    <a:pt x="25" y="156"/>
                  </a:lnTo>
                  <a:lnTo>
                    <a:pt x="24" y="156"/>
                  </a:lnTo>
                  <a:lnTo>
                    <a:pt x="22" y="158"/>
                  </a:lnTo>
                  <a:lnTo>
                    <a:pt x="22" y="156"/>
                  </a:lnTo>
                  <a:lnTo>
                    <a:pt x="20" y="156"/>
                  </a:lnTo>
                  <a:lnTo>
                    <a:pt x="17" y="156"/>
                  </a:lnTo>
                  <a:lnTo>
                    <a:pt x="17" y="155"/>
                  </a:lnTo>
                  <a:lnTo>
                    <a:pt x="17" y="153"/>
                  </a:lnTo>
                  <a:lnTo>
                    <a:pt x="15" y="151"/>
                  </a:lnTo>
                  <a:lnTo>
                    <a:pt x="13" y="151"/>
                  </a:lnTo>
                  <a:lnTo>
                    <a:pt x="12" y="149"/>
                  </a:lnTo>
                  <a:lnTo>
                    <a:pt x="10" y="149"/>
                  </a:lnTo>
                  <a:lnTo>
                    <a:pt x="8" y="149"/>
                  </a:lnTo>
                  <a:lnTo>
                    <a:pt x="5" y="149"/>
                  </a:lnTo>
                  <a:lnTo>
                    <a:pt x="7" y="153"/>
                  </a:lnTo>
                  <a:lnTo>
                    <a:pt x="3" y="153"/>
                  </a:lnTo>
                  <a:lnTo>
                    <a:pt x="2" y="153"/>
                  </a:lnTo>
                  <a:lnTo>
                    <a:pt x="0" y="149"/>
                  </a:lnTo>
                  <a:lnTo>
                    <a:pt x="0" y="148"/>
                  </a:lnTo>
                  <a:lnTo>
                    <a:pt x="0" y="146"/>
                  </a:lnTo>
                  <a:lnTo>
                    <a:pt x="0" y="144"/>
                  </a:lnTo>
                  <a:lnTo>
                    <a:pt x="0" y="143"/>
                  </a:lnTo>
                  <a:lnTo>
                    <a:pt x="3" y="143"/>
                  </a:lnTo>
                  <a:lnTo>
                    <a:pt x="5" y="143"/>
                  </a:lnTo>
                  <a:lnTo>
                    <a:pt x="7" y="141"/>
                  </a:lnTo>
                  <a:lnTo>
                    <a:pt x="8" y="141"/>
                  </a:lnTo>
                  <a:lnTo>
                    <a:pt x="10" y="143"/>
                  </a:lnTo>
                  <a:lnTo>
                    <a:pt x="12" y="144"/>
                  </a:lnTo>
                  <a:lnTo>
                    <a:pt x="13" y="144"/>
                  </a:lnTo>
                  <a:lnTo>
                    <a:pt x="15" y="146"/>
                  </a:lnTo>
                  <a:lnTo>
                    <a:pt x="17" y="148"/>
                  </a:lnTo>
                  <a:lnTo>
                    <a:pt x="17" y="146"/>
                  </a:lnTo>
                  <a:lnTo>
                    <a:pt x="19" y="148"/>
                  </a:lnTo>
                  <a:lnTo>
                    <a:pt x="22" y="148"/>
                  </a:lnTo>
                  <a:lnTo>
                    <a:pt x="24" y="146"/>
                  </a:lnTo>
                  <a:lnTo>
                    <a:pt x="25" y="146"/>
                  </a:lnTo>
                  <a:lnTo>
                    <a:pt x="27" y="143"/>
                  </a:lnTo>
                  <a:lnTo>
                    <a:pt x="25" y="143"/>
                  </a:lnTo>
                  <a:lnTo>
                    <a:pt x="27" y="143"/>
                  </a:lnTo>
                  <a:lnTo>
                    <a:pt x="29" y="144"/>
                  </a:lnTo>
                  <a:lnTo>
                    <a:pt x="29" y="146"/>
                  </a:lnTo>
                  <a:lnTo>
                    <a:pt x="32" y="146"/>
                  </a:lnTo>
                  <a:lnTo>
                    <a:pt x="32" y="149"/>
                  </a:lnTo>
                  <a:lnTo>
                    <a:pt x="34" y="149"/>
                  </a:lnTo>
                  <a:lnTo>
                    <a:pt x="32" y="148"/>
                  </a:lnTo>
                  <a:lnTo>
                    <a:pt x="34" y="149"/>
                  </a:lnTo>
                  <a:lnTo>
                    <a:pt x="34" y="148"/>
                  </a:lnTo>
                  <a:lnTo>
                    <a:pt x="34" y="149"/>
                  </a:lnTo>
                  <a:lnTo>
                    <a:pt x="36" y="149"/>
                  </a:lnTo>
                  <a:lnTo>
                    <a:pt x="34" y="148"/>
                  </a:lnTo>
                  <a:lnTo>
                    <a:pt x="36" y="148"/>
                  </a:lnTo>
                  <a:lnTo>
                    <a:pt x="34" y="148"/>
                  </a:lnTo>
                  <a:lnTo>
                    <a:pt x="36" y="148"/>
                  </a:lnTo>
                  <a:lnTo>
                    <a:pt x="36" y="146"/>
                  </a:lnTo>
                  <a:lnTo>
                    <a:pt x="36" y="148"/>
                  </a:lnTo>
                  <a:lnTo>
                    <a:pt x="37" y="146"/>
                  </a:lnTo>
                  <a:lnTo>
                    <a:pt x="37" y="148"/>
                  </a:lnTo>
                  <a:lnTo>
                    <a:pt x="36" y="149"/>
                  </a:lnTo>
                  <a:lnTo>
                    <a:pt x="37" y="148"/>
                  </a:lnTo>
                  <a:close/>
                  <a:moveTo>
                    <a:pt x="73" y="22"/>
                  </a:moveTo>
                  <a:lnTo>
                    <a:pt x="75" y="24"/>
                  </a:lnTo>
                  <a:lnTo>
                    <a:pt x="75" y="25"/>
                  </a:lnTo>
                  <a:lnTo>
                    <a:pt x="75" y="27"/>
                  </a:lnTo>
                  <a:lnTo>
                    <a:pt x="75" y="29"/>
                  </a:lnTo>
                  <a:lnTo>
                    <a:pt x="75" y="30"/>
                  </a:lnTo>
                  <a:lnTo>
                    <a:pt x="73" y="30"/>
                  </a:lnTo>
                  <a:lnTo>
                    <a:pt x="73" y="32"/>
                  </a:lnTo>
                  <a:lnTo>
                    <a:pt x="71" y="34"/>
                  </a:lnTo>
                  <a:lnTo>
                    <a:pt x="70" y="36"/>
                  </a:lnTo>
                  <a:lnTo>
                    <a:pt x="68" y="34"/>
                  </a:lnTo>
                  <a:lnTo>
                    <a:pt x="70" y="36"/>
                  </a:lnTo>
                  <a:lnTo>
                    <a:pt x="66" y="36"/>
                  </a:lnTo>
                  <a:lnTo>
                    <a:pt x="66" y="34"/>
                  </a:lnTo>
                  <a:lnTo>
                    <a:pt x="66" y="32"/>
                  </a:lnTo>
                  <a:lnTo>
                    <a:pt x="68" y="29"/>
                  </a:lnTo>
                  <a:lnTo>
                    <a:pt x="70" y="27"/>
                  </a:lnTo>
                  <a:lnTo>
                    <a:pt x="71" y="25"/>
                  </a:lnTo>
                  <a:lnTo>
                    <a:pt x="73" y="25"/>
                  </a:lnTo>
                  <a:lnTo>
                    <a:pt x="71" y="24"/>
                  </a:lnTo>
                  <a:lnTo>
                    <a:pt x="71" y="25"/>
                  </a:lnTo>
                  <a:lnTo>
                    <a:pt x="71" y="24"/>
                  </a:lnTo>
                  <a:lnTo>
                    <a:pt x="73" y="22"/>
                  </a:lnTo>
                  <a:close/>
                  <a:moveTo>
                    <a:pt x="104" y="7"/>
                  </a:moveTo>
                  <a:lnTo>
                    <a:pt x="102" y="7"/>
                  </a:lnTo>
                  <a:lnTo>
                    <a:pt x="102" y="8"/>
                  </a:lnTo>
                  <a:lnTo>
                    <a:pt x="100" y="7"/>
                  </a:lnTo>
                  <a:lnTo>
                    <a:pt x="100" y="8"/>
                  </a:lnTo>
                  <a:lnTo>
                    <a:pt x="100" y="7"/>
                  </a:lnTo>
                  <a:lnTo>
                    <a:pt x="100" y="8"/>
                  </a:lnTo>
                  <a:lnTo>
                    <a:pt x="98" y="7"/>
                  </a:lnTo>
                  <a:lnTo>
                    <a:pt x="100" y="8"/>
                  </a:lnTo>
                  <a:lnTo>
                    <a:pt x="97" y="8"/>
                  </a:lnTo>
                  <a:lnTo>
                    <a:pt x="93" y="10"/>
                  </a:lnTo>
                  <a:lnTo>
                    <a:pt x="92" y="10"/>
                  </a:lnTo>
                  <a:lnTo>
                    <a:pt x="90" y="12"/>
                  </a:lnTo>
                  <a:lnTo>
                    <a:pt x="90" y="10"/>
                  </a:lnTo>
                  <a:lnTo>
                    <a:pt x="88" y="12"/>
                  </a:lnTo>
                  <a:lnTo>
                    <a:pt x="87" y="12"/>
                  </a:lnTo>
                  <a:lnTo>
                    <a:pt x="88" y="8"/>
                  </a:lnTo>
                  <a:lnTo>
                    <a:pt x="92" y="8"/>
                  </a:lnTo>
                  <a:lnTo>
                    <a:pt x="95" y="8"/>
                  </a:lnTo>
                  <a:lnTo>
                    <a:pt x="97" y="7"/>
                  </a:lnTo>
                  <a:lnTo>
                    <a:pt x="98" y="7"/>
                  </a:lnTo>
                  <a:lnTo>
                    <a:pt x="100" y="7"/>
                  </a:lnTo>
                  <a:lnTo>
                    <a:pt x="102" y="7"/>
                  </a:lnTo>
                  <a:lnTo>
                    <a:pt x="104" y="7"/>
                  </a:lnTo>
                  <a:close/>
                  <a:moveTo>
                    <a:pt x="109" y="5"/>
                  </a:moveTo>
                  <a:lnTo>
                    <a:pt x="110" y="5"/>
                  </a:lnTo>
                  <a:lnTo>
                    <a:pt x="112" y="5"/>
                  </a:lnTo>
                  <a:lnTo>
                    <a:pt x="114" y="5"/>
                  </a:lnTo>
                  <a:lnTo>
                    <a:pt x="115" y="5"/>
                  </a:lnTo>
                  <a:lnTo>
                    <a:pt x="117" y="5"/>
                  </a:lnTo>
                  <a:lnTo>
                    <a:pt x="119" y="5"/>
                  </a:lnTo>
                  <a:lnTo>
                    <a:pt x="121" y="7"/>
                  </a:lnTo>
                  <a:lnTo>
                    <a:pt x="117" y="7"/>
                  </a:lnTo>
                  <a:lnTo>
                    <a:pt x="114" y="7"/>
                  </a:lnTo>
                  <a:lnTo>
                    <a:pt x="112" y="8"/>
                  </a:lnTo>
                  <a:lnTo>
                    <a:pt x="110" y="7"/>
                  </a:lnTo>
                  <a:lnTo>
                    <a:pt x="110" y="8"/>
                  </a:lnTo>
                  <a:lnTo>
                    <a:pt x="109" y="8"/>
                  </a:lnTo>
                  <a:lnTo>
                    <a:pt x="107" y="7"/>
                  </a:lnTo>
                  <a:lnTo>
                    <a:pt x="109" y="5"/>
                  </a:lnTo>
                  <a:close/>
                  <a:moveTo>
                    <a:pt x="139" y="3"/>
                  </a:moveTo>
                  <a:lnTo>
                    <a:pt x="136" y="3"/>
                  </a:lnTo>
                  <a:lnTo>
                    <a:pt x="134" y="5"/>
                  </a:lnTo>
                  <a:lnTo>
                    <a:pt x="132" y="5"/>
                  </a:lnTo>
                  <a:lnTo>
                    <a:pt x="131" y="5"/>
                  </a:lnTo>
                  <a:lnTo>
                    <a:pt x="132" y="5"/>
                  </a:lnTo>
                  <a:lnTo>
                    <a:pt x="131" y="7"/>
                  </a:lnTo>
                  <a:lnTo>
                    <a:pt x="129" y="5"/>
                  </a:lnTo>
                  <a:lnTo>
                    <a:pt x="129" y="7"/>
                  </a:lnTo>
                  <a:lnTo>
                    <a:pt x="127" y="5"/>
                  </a:lnTo>
                  <a:lnTo>
                    <a:pt x="129" y="3"/>
                  </a:lnTo>
                  <a:lnTo>
                    <a:pt x="132" y="3"/>
                  </a:lnTo>
                  <a:lnTo>
                    <a:pt x="134" y="3"/>
                  </a:lnTo>
                  <a:lnTo>
                    <a:pt x="136" y="3"/>
                  </a:lnTo>
                  <a:lnTo>
                    <a:pt x="139" y="3"/>
                  </a:lnTo>
                  <a:close/>
                  <a:moveTo>
                    <a:pt x="83" y="15"/>
                  </a:moveTo>
                  <a:lnTo>
                    <a:pt x="85" y="15"/>
                  </a:lnTo>
                  <a:lnTo>
                    <a:pt x="83" y="15"/>
                  </a:lnTo>
                  <a:lnTo>
                    <a:pt x="81" y="17"/>
                  </a:lnTo>
                  <a:lnTo>
                    <a:pt x="78" y="17"/>
                  </a:lnTo>
                  <a:lnTo>
                    <a:pt x="80" y="19"/>
                  </a:lnTo>
                  <a:lnTo>
                    <a:pt x="78" y="19"/>
                  </a:lnTo>
                  <a:lnTo>
                    <a:pt x="76" y="20"/>
                  </a:lnTo>
                  <a:lnTo>
                    <a:pt x="73" y="20"/>
                  </a:lnTo>
                  <a:lnTo>
                    <a:pt x="75" y="19"/>
                  </a:lnTo>
                  <a:lnTo>
                    <a:pt x="76" y="19"/>
                  </a:lnTo>
                  <a:lnTo>
                    <a:pt x="78" y="17"/>
                  </a:lnTo>
                  <a:lnTo>
                    <a:pt x="80" y="15"/>
                  </a:lnTo>
                  <a:lnTo>
                    <a:pt x="83" y="15"/>
                  </a:lnTo>
                  <a:close/>
                  <a:moveTo>
                    <a:pt x="41" y="121"/>
                  </a:moveTo>
                  <a:lnTo>
                    <a:pt x="42" y="121"/>
                  </a:lnTo>
                  <a:lnTo>
                    <a:pt x="44" y="122"/>
                  </a:lnTo>
                  <a:lnTo>
                    <a:pt x="42" y="122"/>
                  </a:lnTo>
                  <a:lnTo>
                    <a:pt x="41" y="121"/>
                  </a:lnTo>
                  <a:close/>
                  <a:moveTo>
                    <a:pt x="143" y="0"/>
                  </a:moveTo>
                  <a:lnTo>
                    <a:pt x="144" y="2"/>
                  </a:lnTo>
                  <a:lnTo>
                    <a:pt x="143" y="2"/>
                  </a:lnTo>
                  <a:lnTo>
                    <a:pt x="144" y="2"/>
                  </a:lnTo>
                  <a:lnTo>
                    <a:pt x="143" y="2"/>
                  </a:lnTo>
                  <a:lnTo>
                    <a:pt x="143" y="3"/>
                  </a:lnTo>
                  <a:lnTo>
                    <a:pt x="141" y="2"/>
                  </a:lnTo>
                  <a:lnTo>
                    <a:pt x="143" y="0"/>
                  </a:lnTo>
                  <a:close/>
                  <a:moveTo>
                    <a:pt x="64" y="36"/>
                  </a:moveTo>
                  <a:lnTo>
                    <a:pt x="66" y="36"/>
                  </a:lnTo>
                  <a:lnTo>
                    <a:pt x="66" y="37"/>
                  </a:lnTo>
                  <a:lnTo>
                    <a:pt x="64" y="37"/>
                  </a:lnTo>
                  <a:lnTo>
                    <a:pt x="64" y="36"/>
                  </a:lnTo>
                  <a:close/>
                  <a:moveTo>
                    <a:pt x="27" y="117"/>
                  </a:moveTo>
                  <a:lnTo>
                    <a:pt x="29" y="117"/>
                  </a:lnTo>
                  <a:lnTo>
                    <a:pt x="25" y="117"/>
                  </a:lnTo>
                  <a:lnTo>
                    <a:pt x="27" y="117"/>
                  </a:lnTo>
                  <a:close/>
                  <a:moveTo>
                    <a:pt x="29" y="119"/>
                  </a:moveTo>
                  <a:lnTo>
                    <a:pt x="30" y="119"/>
                  </a:lnTo>
                  <a:lnTo>
                    <a:pt x="30" y="121"/>
                  </a:lnTo>
                  <a:lnTo>
                    <a:pt x="29" y="121"/>
                  </a:lnTo>
                  <a:lnTo>
                    <a:pt x="29" y="119"/>
                  </a:lnTo>
                  <a:close/>
                  <a:moveTo>
                    <a:pt x="32" y="146"/>
                  </a:moveTo>
                  <a:lnTo>
                    <a:pt x="34" y="146"/>
                  </a:lnTo>
                  <a:lnTo>
                    <a:pt x="34" y="148"/>
                  </a:lnTo>
                  <a:lnTo>
                    <a:pt x="32" y="148"/>
                  </a:lnTo>
                  <a:lnTo>
                    <a:pt x="32" y="146"/>
                  </a:lnTo>
                  <a:close/>
                  <a:moveTo>
                    <a:pt x="85" y="15"/>
                  </a:moveTo>
                  <a:lnTo>
                    <a:pt x="87" y="15"/>
                  </a:lnTo>
                  <a:lnTo>
                    <a:pt x="87" y="17"/>
                  </a:lnTo>
                  <a:lnTo>
                    <a:pt x="85" y="17"/>
                  </a:lnTo>
                  <a:lnTo>
                    <a:pt x="85" y="15"/>
                  </a:lnTo>
                  <a:close/>
                  <a:moveTo>
                    <a:pt x="146" y="2"/>
                  </a:moveTo>
                  <a:lnTo>
                    <a:pt x="148" y="2"/>
                  </a:lnTo>
                  <a:lnTo>
                    <a:pt x="148" y="3"/>
                  </a:lnTo>
                  <a:lnTo>
                    <a:pt x="146" y="3"/>
                  </a:lnTo>
                  <a:lnTo>
                    <a:pt x="146" y="2"/>
                  </a:lnTo>
                  <a:close/>
                  <a:moveTo>
                    <a:pt x="93" y="32"/>
                  </a:moveTo>
                  <a:lnTo>
                    <a:pt x="92" y="32"/>
                  </a:lnTo>
                  <a:lnTo>
                    <a:pt x="88" y="34"/>
                  </a:lnTo>
                  <a:lnTo>
                    <a:pt x="88" y="36"/>
                  </a:lnTo>
                  <a:lnTo>
                    <a:pt x="87" y="36"/>
                  </a:lnTo>
                  <a:lnTo>
                    <a:pt x="88" y="36"/>
                  </a:lnTo>
                  <a:lnTo>
                    <a:pt x="87" y="36"/>
                  </a:lnTo>
                  <a:lnTo>
                    <a:pt x="83" y="37"/>
                  </a:lnTo>
                  <a:lnTo>
                    <a:pt x="81" y="39"/>
                  </a:lnTo>
                  <a:lnTo>
                    <a:pt x="81" y="41"/>
                  </a:lnTo>
                  <a:lnTo>
                    <a:pt x="80" y="41"/>
                  </a:lnTo>
                  <a:lnTo>
                    <a:pt x="81" y="41"/>
                  </a:lnTo>
                  <a:lnTo>
                    <a:pt x="85" y="36"/>
                  </a:lnTo>
                  <a:lnTo>
                    <a:pt x="87" y="36"/>
                  </a:lnTo>
                  <a:lnTo>
                    <a:pt x="92" y="32"/>
                  </a:lnTo>
                  <a:lnTo>
                    <a:pt x="93" y="32"/>
                  </a:lnTo>
                  <a:close/>
                  <a:moveTo>
                    <a:pt x="75" y="80"/>
                  </a:moveTo>
                  <a:lnTo>
                    <a:pt x="76" y="80"/>
                  </a:lnTo>
                  <a:lnTo>
                    <a:pt x="76" y="81"/>
                  </a:lnTo>
                  <a:lnTo>
                    <a:pt x="75" y="81"/>
                  </a:lnTo>
                  <a:lnTo>
                    <a:pt x="75" y="80"/>
                  </a:lnTo>
                  <a:close/>
                  <a:moveTo>
                    <a:pt x="34" y="146"/>
                  </a:moveTo>
                  <a:lnTo>
                    <a:pt x="36" y="146"/>
                  </a:lnTo>
                  <a:lnTo>
                    <a:pt x="34" y="148"/>
                  </a:lnTo>
                  <a:lnTo>
                    <a:pt x="34" y="146"/>
                  </a:lnTo>
                  <a:close/>
                  <a:moveTo>
                    <a:pt x="53" y="124"/>
                  </a:moveTo>
                  <a:lnTo>
                    <a:pt x="54" y="126"/>
                  </a:lnTo>
                  <a:lnTo>
                    <a:pt x="53" y="126"/>
                  </a:lnTo>
                  <a:lnTo>
                    <a:pt x="53" y="124"/>
                  </a:lnTo>
                  <a:close/>
                  <a:moveTo>
                    <a:pt x="124" y="5"/>
                  </a:moveTo>
                  <a:lnTo>
                    <a:pt x="126" y="5"/>
                  </a:lnTo>
                  <a:lnTo>
                    <a:pt x="126" y="7"/>
                  </a:lnTo>
                  <a:lnTo>
                    <a:pt x="124" y="7"/>
                  </a:lnTo>
                  <a:lnTo>
                    <a:pt x="124" y="5"/>
                  </a:lnTo>
                  <a:close/>
                  <a:moveTo>
                    <a:pt x="61" y="122"/>
                  </a:moveTo>
                  <a:lnTo>
                    <a:pt x="63" y="122"/>
                  </a:lnTo>
                  <a:lnTo>
                    <a:pt x="63" y="124"/>
                  </a:lnTo>
                  <a:lnTo>
                    <a:pt x="61" y="124"/>
                  </a:lnTo>
                  <a:lnTo>
                    <a:pt x="61" y="122"/>
                  </a:lnTo>
                  <a:close/>
                  <a:moveTo>
                    <a:pt x="44" y="122"/>
                  </a:moveTo>
                  <a:lnTo>
                    <a:pt x="46" y="122"/>
                  </a:lnTo>
                  <a:lnTo>
                    <a:pt x="46" y="124"/>
                  </a:lnTo>
                  <a:lnTo>
                    <a:pt x="44" y="124"/>
                  </a:lnTo>
                  <a:lnTo>
                    <a:pt x="44" y="122"/>
                  </a:lnTo>
                  <a:close/>
                  <a:moveTo>
                    <a:pt x="93" y="71"/>
                  </a:moveTo>
                  <a:lnTo>
                    <a:pt x="95" y="71"/>
                  </a:lnTo>
                  <a:lnTo>
                    <a:pt x="93" y="71"/>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02" name="Freeform 32">
              <a:extLst>
                <a:ext uri="{FF2B5EF4-FFF2-40B4-BE49-F238E27FC236}">
                  <a16:creationId xmlns:a16="http://schemas.microsoft.com/office/drawing/2014/main" id="{6563CB45-ECED-4E69-9545-4D70E303086C}"/>
                </a:ext>
              </a:extLst>
            </p:cNvPr>
            <p:cNvSpPr>
              <a:spLocks noEditPoints="1"/>
            </p:cNvSpPr>
            <p:nvPr/>
          </p:nvSpPr>
          <p:spPr bwMode="gray">
            <a:xfrm>
              <a:off x="7836141" y="3240514"/>
              <a:ext cx="1188058" cy="1617656"/>
            </a:xfrm>
            <a:custGeom>
              <a:avLst/>
              <a:gdLst>
                <a:gd name="T0" fmla="*/ 114 w 401"/>
                <a:gd name="T1" fmla="*/ 510 h 546"/>
                <a:gd name="T2" fmla="*/ 90 w 401"/>
                <a:gd name="T3" fmla="*/ 524 h 546"/>
                <a:gd name="T4" fmla="*/ 68 w 401"/>
                <a:gd name="T5" fmla="*/ 491 h 546"/>
                <a:gd name="T6" fmla="*/ 93 w 401"/>
                <a:gd name="T7" fmla="*/ 437 h 546"/>
                <a:gd name="T8" fmla="*/ 61 w 401"/>
                <a:gd name="T9" fmla="*/ 410 h 546"/>
                <a:gd name="T10" fmla="*/ 31 w 401"/>
                <a:gd name="T11" fmla="*/ 401 h 546"/>
                <a:gd name="T12" fmla="*/ 15 w 401"/>
                <a:gd name="T13" fmla="*/ 360 h 546"/>
                <a:gd name="T14" fmla="*/ 20 w 401"/>
                <a:gd name="T15" fmla="*/ 320 h 546"/>
                <a:gd name="T16" fmla="*/ 8 w 401"/>
                <a:gd name="T17" fmla="*/ 286 h 546"/>
                <a:gd name="T18" fmla="*/ 17 w 401"/>
                <a:gd name="T19" fmla="*/ 253 h 546"/>
                <a:gd name="T20" fmla="*/ 22 w 401"/>
                <a:gd name="T21" fmla="*/ 221 h 546"/>
                <a:gd name="T22" fmla="*/ 56 w 401"/>
                <a:gd name="T23" fmla="*/ 195 h 546"/>
                <a:gd name="T24" fmla="*/ 58 w 401"/>
                <a:gd name="T25" fmla="*/ 161 h 546"/>
                <a:gd name="T26" fmla="*/ 68 w 401"/>
                <a:gd name="T27" fmla="*/ 119 h 546"/>
                <a:gd name="T28" fmla="*/ 88 w 401"/>
                <a:gd name="T29" fmla="*/ 95 h 546"/>
                <a:gd name="T30" fmla="*/ 112 w 401"/>
                <a:gd name="T31" fmla="*/ 102 h 546"/>
                <a:gd name="T32" fmla="*/ 124 w 401"/>
                <a:gd name="T33" fmla="*/ 83 h 546"/>
                <a:gd name="T34" fmla="*/ 173 w 401"/>
                <a:gd name="T35" fmla="*/ 109 h 546"/>
                <a:gd name="T36" fmla="*/ 143 w 401"/>
                <a:gd name="T37" fmla="*/ 81 h 546"/>
                <a:gd name="T38" fmla="*/ 126 w 401"/>
                <a:gd name="T39" fmla="*/ 56 h 546"/>
                <a:gd name="T40" fmla="*/ 134 w 401"/>
                <a:gd name="T41" fmla="*/ 37 h 546"/>
                <a:gd name="T42" fmla="*/ 114 w 401"/>
                <a:gd name="T43" fmla="*/ 15 h 546"/>
                <a:gd name="T44" fmla="*/ 134 w 401"/>
                <a:gd name="T45" fmla="*/ 12 h 546"/>
                <a:gd name="T46" fmla="*/ 180 w 401"/>
                <a:gd name="T47" fmla="*/ 20 h 546"/>
                <a:gd name="T48" fmla="*/ 178 w 401"/>
                <a:gd name="T49" fmla="*/ 30 h 546"/>
                <a:gd name="T50" fmla="*/ 190 w 401"/>
                <a:gd name="T51" fmla="*/ 46 h 546"/>
                <a:gd name="T52" fmla="*/ 223 w 401"/>
                <a:gd name="T53" fmla="*/ 64 h 546"/>
                <a:gd name="T54" fmla="*/ 233 w 401"/>
                <a:gd name="T55" fmla="*/ 76 h 546"/>
                <a:gd name="T56" fmla="*/ 267 w 401"/>
                <a:gd name="T57" fmla="*/ 64 h 546"/>
                <a:gd name="T58" fmla="*/ 294 w 401"/>
                <a:gd name="T59" fmla="*/ 42 h 546"/>
                <a:gd name="T60" fmla="*/ 282 w 401"/>
                <a:gd name="T61" fmla="*/ 51 h 546"/>
                <a:gd name="T62" fmla="*/ 318 w 401"/>
                <a:gd name="T63" fmla="*/ 61 h 546"/>
                <a:gd name="T64" fmla="*/ 342 w 401"/>
                <a:gd name="T65" fmla="*/ 85 h 546"/>
                <a:gd name="T66" fmla="*/ 365 w 401"/>
                <a:gd name="T67" fmla="*/ 124 h 546"/>
                <a:gd name="T68" fmla="*/ 377 w 401"/>
                <a:gd name="T69" fmla="*/ 168 h 546"/>
                <a:gd name="T70" fmla="*/ 382 w 401"/>
                <a:gd name="T71" fmla="*/ 217 h 546"/>
                <a:gd name="T72" fmla="*/ 399 w 401"/>
                <a:gd name="T73" fmla="*/ 275 h 546"/>
                <a:gd name="T74" fmla="*/ 371 w 401"/>
                <a:gd name="T75" fmla="*/ 277 h 546"/>
                <a:gd name="T76" fmla="*/ 337 w 401"/>
                <a:gd name="T77" fmla="*/ 304 h 546"/>
                <a:gd name="T78" fmla="*/ 294 w 401"/>
                <a:gd name="T79" fmla="*/ 325 h 546"/>
                <a:gd name="T80" fmla="*/ 286 w 401"/>
                <a:gd name="T81" fmla="*/ 348 h 546"/>
                <a:gd name="T82" fmla="*/ 304 w 401"/>
                <a:gd name="T83" fmla="*/ 393 h 546"/>
                <a:gd name="T84" fmla="*/ 354 w 401"/>
                <a:gd name="T85" fmla="*/ 430 h 546"/>
                <a:gd name="T86" fmla="*/ 338 w 401"/>
                <a:gd name="T87" fmla="*/ 466 h 546"/>
                <a:gd name="T88" fmla="*/ 320 w 401"/>
                <a:gd name="T89" fmla="*/ 512 h 546"/>
                <a:gd name="T90" fmla="*/ 297 w 401"/>
                <a:gd name="T91" fmla="*/ 517 h 546"/>
                <a:gd name="T92" fmla="*/ 257 w 401"/>
                <a:gd name="T93" fmla="*/ 527 h 546"/>
                <a:gd name="T94" fmla="*/ 214 w 401"/>
                <a:gd name="T95" fmla="*/ 525 h 546"/>
                <a:gd name="T96" fmla="*/ 185 w 401"/>
                <a:gd name="T97" fmla="*/ 537 h 546"/>
                <a:gd name="T98" fmla="*/ 143 w 401"/>
                <a:gd name="T99" fmla="*/ 510 h 546"/>
                <a:gd name="T100" fmla="*/ 328 w 401"/>
                <a:gd name="T101" fmla="*/ 42 h 546"/>
                <a:gd name="T102" fmla="*/ 316 w 401"/>
                <a:gd name="T103" fmla="*/ 54 h 546"/>
                <a:gd name="T104" fmla="*/ 316 w 401"/>
                <a:gd name="T105" fmla="*/ 34 h 546"/>
                <a:gd name="T106" fmla="*/ 313 w 401"/>
                <a:gd name="T107" fmla="*/ 34 h 546"/>
                <a:gd name="T108" fmla="*/ 342 w 401"/>
                <a:gd name="T109" fmla="*/ 80 h 546"/>
                <a:gd name="T110" fmla="*/ 335 w 401"/>
                <a:gd name="T111" fmla="*/ 59 h 546"/>
                <a:gd name="T112" fmla="*/ 226 w 401"/>
                <a:gd name="T113" fmla="*/ 37 h 546"/>
                <a:gd name="T114" fmla="*/ 48 w 401"/>
                <a:gd name="T115" fmla="*/ 102 h 546"/>
                <a:gd name="T116" fmla="*/ 78 w 401"/>
                <a:gd name="T117" fmla="*/ 92 h 546"/>
                <a:gd name="T118" fmla="*/ 309 w 401"/>
                <a:gd name="T119" fmla="*/ 30 h 546"/>
                <a:gd name="T120" fmla="*/ 104 w 401"/>
                <a:gd name="T121" fmla="*/ 93 h 546"/>
                <a:gd name="T122" fmla="*/ 306 w 401"/>
                <a:gd name="T123" fmla="*/ 41 h 546"/>
                <a:gd name="T124" fmla="*/ 158 w 401"/>
                <a:gd name="T125" fmla="*/ 95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1" h="546">
                  <a:moveTo>
                    <a:pt x="139" y="517"/>
                  </a:moveTo>
                  <a:lnTo>
                    <a:pt x="139" y="515"/>
                  </a:lnTo>
                  <a:lnTo>
                    <a:pt x="136" y="513"/>
                  </a:lnTo>
                  <a:lnTo>
                    <a:pt x="134" y="512"/>
                  </a:lnTo>
                  <a:lnTo>
                    <a:pt x="136" y="513"/>
                  </a:lnTo>
                  <a:lnTo>
                    <a:pt x="133" y="513"/>
                  </a:lnTo>
                  <a:lnTo>
                    <a:pt x="131" y="513"/>
                  </a:lnTo>
                  <a:lnTo>
                    <a:pt x="133" y="513"/>
                  </a:lnTo>
                  <a:lnTo>
                    <a:pt x="134" y="515"/>
                  </a:lnTo>
                  <a:lnTo>
                    <a:pt x="134" y="517"/>
                  </a:lnTo>
                  <a:lnTo>
                    <a:pt x="133" y="519"/>
                  </a:lnTo>
                  <a:lnTo>
                    <a:pt x="131" y="519"/>
                  </a:lnTo>
                  <a:lnTo>
                    <a:pt x="129" y="519"/>
                  </a:lnTo>
                  <a:lnTo>
                    <a:pt x="127" y="517"/>
                  </a:lnTo>
                  <a:lnTo>
                    <a:pt x="129" y="515"/>
                  </a:lnTo>
                  <a:lnTo>
                    <a:pt x="126" y="515"/>
                  </a:lnTo>
                  <a:lnTo>
                    <a:pt x="126" y="513"/>
                  </a:lnTo>
                  <a:lnTo>
                    <a:pt x="124" y="513"/>
                  </a:lnTo>
                  <a:lnTo>
                    <a:pt x="126" y="515"/>
                  </a:lnTo>
                  <a:lnTo>
                    <a:pt x="124" y="517"/>
                  </a:lnTo>
                  <a:lnTo>
                    <a:pt x="122" y="517"/>
                  </a:lnTo>
                  <a:lnTo>
                    <a:pt x="122" y="515"/>
                  </a:lnTo>
                  <a:lnTo>
                    <a:pt x="122" y="513"/>
                  </a:lnTo>
                  <a:lnTo>
                    <a:pt x="121" y="513"/>
                  </a:lnTo>
                  <a:lnTo>
                    <a:pt x="122" y="512"/>
                  </a:lnTo>
                  <a:lnTo>
                    <a:pt x="121" y="512"/>
                  </a:lnTo>
                  <a:lnTo>
                    <a:pt x="119" y="508"/>
                  </a:lnTo>
                  <a:lnTo>
                    <a:pt x="119" y="510"/>
                  </a:lnTo>
                  <a:lnTo>
                    <a:pt x="117" y="512"/>
                  </a:lnTo>
                  <a:lnTo>
                    <a:pt x="117" y="508"/>
                  </a:lnTo>
                  <a:lnTo>
                    <a:pt x="114" y="508"/>
                  </a:lnTo>
                  <a:lnTo>
                    <a:pt x="114" y="510"/>
                  </a:lnTo>
                  <a:lnTo>
                    <a:pt x="114" y="508"/>
                  </a:lnTo>
                  <a:lnTo>
                    <a:pt x="112" y="510"/>
                  </a:lnTo>
                  <a:lnTo>
                    <a:pt x="110" y="510"/>
                  </a:lnTo>
                  <a:lnTo>
                    <a:pt x="109" y="512"/>
                  </a:lnTo>
                  <a:lnTo>
                    <a:pt x="109" y="513"/>
                  </a:lnTo>
                  <a:lnTo>
                    <a:pt x="107" y="515"/>
                  </a:lnTo>
                  <a:lnTo>
                    <a:pt x="107" y="517"/>
                  </a:lnTo>
                  <a:lnTo>
                    <a:pt x="109" y="519"/>
                  </a:lnTo>
                  <a:lnTo>
                    <a:pt x="112" y="519"/>
                  </a:lnTo>
                  <a:lnTo>
                    <a:pt x="114" y="517"/>
                  </a:lnTo>
                  <a:lnTo>
                    <a:pt x="114" y="519"/>
                  </a:lnTo>
                  <a:lnTo>
                    <a:pt x="116" y="517"/>
                  </a:lnTo>
                  <a:lnTo>
                    <a:pt x="117" y="519"/>
                  </a:lnTo>
                  <a:lnTo>
                    <a:pt x="116" y="519"/>
                  </a:lnTo>
                  <a:lnTo>
                    <a:pt x="116" y="522"/>
                  </a:lnTo>
                  <a:lnTo>
                    <a:pt x="114" y="522"/>
                  </a:lnTo>
                  <a:lnTo>
                    <a:pt x="114" y="520"/>
                  </a:lnTo>
                  <a:lnTo>
                    <a:pt x="112" y="520"/>
                  </a:lnTo>
                  <a:lnTo>
                    <a:pt x="110" y="520"/>
                  </a:lnTo>
                  <a:lnTo>
                    <a:pt x="109" y="522"/>
                  </a:lnTo>
                  <a:lnTo>
                    <a:pt x="109" y="524"/>
                  </a:lnTo>
                  <a:lnTo>
                    <a:pt x="110" y="524"/>
                  </a:lnTo>
                  <a:lnTo>
                    <a:pt x="107" y="524"/>
                  </a:lnTo>
                  <a:lnTo>
                    <a:pt x="105" y="524"/>
                  </a:lnTo>
                  <a:lnTo>
                    <a:pt x="102" y="524"/>
                  </a:lnTo>
                  <a:lnTo>
                    <a:pt x="100" y="522"/>
                  </a:lnTo>
                  <a:lnTo>
                    <a:pt x="99" y="522"/>
                  </a:lnTo>
                  <a:lnTo>
                    <a:pt x="97" y="520"/>
                  </a:lnTo>
                  <a:lnTo>
                    <a:pt x="95" y="522"/>
                  </a:lnTo>
                  <a:lnTo>
                    <a:pt x="92" y="524"/>
                  </a:lnTo>
                  <a:lnTo>
                    <a:pt x="92" y="525"/>
                  </a:lnTo>
                  <a:lnTo>
                    <a:pt x="90" y="524"/>
                  </a:lnTo>
                  <a:lnTo>
                    <a:pt x="88" y="525"/>
                  </a:lnTo>
                  <a:lnTo>
                    <a:pt x="85" y="524"/>
                  </a:lnTo>
                  <a:lnTo>
                    <a:pt x="85" y="525"/>
                  </a:lnTo>
                  <a:lnTo>
                    <a:pt x="83" y="525"/>
                  </a:lnTo>
                  <a:lnTo>
                    <a:pt x="82" y="522"/>
                  </a:lnTo>
                  <a:lnTo>
                    <a:pt x="80" y="522"/>
                  </a:lnTo>
                  <a:lnTo>
                    <a:pt x="78" y="522"/>
                  </a:lnTo>
                  <a:lnTo>
                    <a:pt x="78" y="524"/>
                  </a:lnTo>
                  <a:lnTo>
                    <a:pt x="75" y="525"/>
                  </a:lnTo>
                  <a:lnTo>
                    <a:pt x="73" y="525"/>
                  </a:lnTo>
                  <a:lnTo>
                    <a:pt x="71" y="525"/>
                  </a:lnTo>
                  <a:lnTo>
                    <a:pt x="70" y="524"/>
                  </a:lnTo>
                  <a:lnTo>
                    <a:pt x="71" y="524"/>
                  </a:lnTo>
                  <a:lnTo>
                    <a:pt x="71" y="522"/>
                  </a:lnTo>
                  <a:lnTo>
                    <a:pt x="73" y="520"/>
                  </a:lnTo>
                  <a:lnTo>
                    <a:pt x="70" y="522"/>
                  </a:lnTo>
                  <a:lnTo>
                    <a:pt x="68" y="522"/>
                  </a:lnTo>
                  <a:lnTo>
                    <a:pt x="66" y="519"/>
                  </a:lnTo>
                  <a:lnTo>
                    <a:pt x="65" y="517"/>
                  </a:lnTo>
                  <a:lnTo>
                    <a:pt x="65" y="513"/>
                  </a:lnTo>
                  <a:lnTo>
                    <a:pt x="66" y="512"/>
                  </a:lnTo>
                  <a:lnTo>
                    <a:pt x="65" y="508"/>
                  </a:lnTo>
                  <a:lnTo>
                    <a:pt x="66" y="508"/>
                  </a:lnTo>
                  <a:lnTo>
                    <a:pt x="66" y="505"/>
                  </a:lnTo>
                  <a:lnTo>
                    <a:pt x="66" y="503"/>
                  </a:lnTo>
                  <a:lnTo>
                    <a:pt x="66" y="502"/>
                  </a:lnTo>
                  <a:lnTo>
                    <a:pt x="68" y="500"/>
                  </a:lnTo>
                  <a:lnTo>
                    <a:pt x="68" y="498"/>
                  </a:lnTo>
                  <a:lnTo>
                    <a:pt x="70" y="496"/>
                  </a:lnTo>
                  <a:lnTo>
                    <a:pt x="70" y="495"/>
                  </a:lnTo>
                  <a:lnTo>
                    <a:pt x="70" y="493"/>
                  </a:lnTo>
                  <a:lnTo>
                    <a:pt x="68" y="491"/>
                  </a:lnTo>
                  <a:lnTo>
                    <a:pt x="68" y="490"/>
                  </a:lnTo>
                  <a:lnTo>
                    <a:pt x="68" y="488"/>
                  </a:lnTo>
                  <a:lnTo>
                    <a:pt x="68" y="485"/>
                  </a:lnTo>
                  <a:lnTo>
                    <a:pt x="70" y="483"/>
                  </a:lnTo>
                  <a:lnTo>
                    <a:pt x="70" y="481"/>
                  </a:lnTo>
                  <a:lnTo>
                    <a:pt x="71" y="479"/>
                  </a:lnTo>
                  <a:lnTo>
                    <a:pt x="71" y="478"/>
                  </a:lnTo>
                  <a:lnTo>
                    <a:pt x="73" y="478"/>
                  </a:lnTo>
                  <a:lnTo>
                    <a:pt x="73" y="476"/>
                  </a:lnTo>
                  <a:lnTo>
                    <a:pt x="73" y="474"/>
                  </a:lnTo>
                  <a:lnTo>
                    <a:pt x="75" y="473"/>
                  </a:lnTo>
                  <a:lnTo>
                    <a:pt x="76" y="471"/>
                  </a:lnTo>
                  <a:lnTo>
                    <a:pt x="76" y="469"/>
                  </a:lnTo>
                  <a:lnTo>
                    <a:pt x="76" y="468"/>
                  </a:lnTo>
                  <a:lnTo>
                    <a:pt x="76" y="466"/>
                  </a:lnTo>
                  <a:lnTo>
                    <a:pt x="76" y="464"/>
                  </a:lnTo>
                  <a:lnTo>
                    <a:pt x="78" y="462"/>
                  </a:lnTo>
                  <a:lnTo>
                    <a:pt x="78" y="461"/>
                  </a:lnTo>
                  <a:lnTo>
                    <a:pt x="78" y="459"/>
                  </a:lnTo>
                  <a:lnTo>
                    <a:pt x="80" y="457"/>
                  </a:lnTo>
                  <a:lnTo>
                    <a:pt x="80" y="454"/>
                  </a:lnTo>
                  <a:lnTo>
                    <a:pt x="80" y="452"/>
                  </a:lnTo>
                  <a:lnTo>
                    <a:pt x="82" y="451"/>
                  </a:lnTo>
                  <a:lnTo>
                    <a:pt x="82" y="449"/>
                  </a:lnTo>
                  <a:lnTo>
                    <a:pt x="85" y="447"/>
                  </a:lnTo>
                  <a:lnTo>
                    <a:pt x="85" y="445"/>
                  </a:lnTo>
                  <a:lnTo>
                    <a:pt x="87" y="444"/>
                  </a:lnTo>
                  <a:lnTo>
                    <a:pt x="88" y="442"/>
                  </a:lnTo>
                  <a:lnTo>
                    <a:pt x="88" y="440"/>
                  </a:lnTo>
                  <a:lnTo>
                    <a:pt x="90" y="440"/>
                  </a:lnTo>
                  <a:lnTo>
                    <a:pt x="90" y="439"/>
                  </a:lnTo>
                  <a:lnTo>
                    <a:pt x="93" y="437"/>
                  </a:lnTo>
                  <a:lnTo>
                    <a:pt x="95" y="435"/>
                  </a:lnTo>
                  <a:lnTo>
                    <a:pt x="95" y="432"/>
                  </a:lnTo>
                  <a:lnTo>
                    <a:pt x="97" y="430"/>
                  </a:lnTo>
                  <a:lnTo>
                    <a:pt x="99" y="428"/>
                  </a:lnTo>
                  <a:lnTo>
                    <a:pt x="99" y="427"/>
                  </a:lnTo>
                  <a:lnTo>
                    <a:pt x="100" y="427"/>
                  </a:lnTo>
                  <a:lnTo>
                    <a:pt x="100" y="425"/>
                  </a:lnTo>
                  <a:lnTo>
                    <a:pt x="99" y="427"/>
                  </a:lnTo>
                  <a:lnTo>
                    <a:pt x="99" y="425"/>
                  </a:lnTo>
                  <a:lnTo>
                    <a:pt x="97" y="425"/>
                  </a:lnTo>
                  <a:lnTo>
                    <a:pt x="93" y="425"/>
                  </a:lnTo>
                  <a:lnTo>
                    <a:pt x="92" y="423"/>
                  </a:lnTo>
                  <a:lnTo>
                    <a:pt x="90" y="422"/>
                  </a:lnTo>
                  <a:lnTo>
                    <a:pt x="88" y="422"/>
                  </a:lnTo>
                  <a:lnTo>
                    <a:pt x="87" y="420"/>
                  </a:lnTo>
                  <a:lnTo>
                    <a:pt x="85" y="420"/>
                  </a:lnTo>
                  <a:lnTo>
                    <a:pt x="83" y="422"/>
                  </a:lnTo>
                  <a:lnTo>
                    <a:pt x="83" y="420"/>
                  </a:lnTo>
                  <a:lnTo>
                    <a:pt x="80" y="418"/>
                  </a:lnTo>
                  <a:lnTo>
                    <a:pt x="78" y="420"/>
                  </a:lnTo>
                  <a:lnTo>
                    <a:pt x="75" y="420"/>
                  </a:lnTo>
                  <a:lnTo>
                    <a:pt x="73" y="420"/>
                  </a:lnTo>
                  <a:lnTo>
                    <a:pt x="73" y="418"/>
                  </a:lnTo>
                  <a:lnTo>
                    <a:pt x="70" y="417"/>
                  </a:lnTo>
                  <a:lnTo>
                    <a:pt x="68" y="417"/>
                  </a:lnTo>
                  <a:lnTo>
                    <a:pt x="68" y="415"/>
                  </a:lnTo>
                  <a:lnTo>
                    <a:pt x="66" y="413"/>
                  </a:lnTo>
                  <a:lnTo>
                    <a:pt x="68" y="411"/>
                  </a:lnTo>
                  <a:lnTo>
                    <a:pt x="66" y="411"/>
                  </a:lnTo>
                  <a:lnTo>
                    <a:pt x="65" y="411"/>
                  </a:lnTo>
                  <a:lnTo>
                    <a:pt x="65" y="410"/>
                  </a:lnTo>
                  <a:lnTo>
                    <a:pt x="61" y="410"/>
                  </a:lnTo>
                  <a:lnTo>
                    <a:pt x="61" y="413"/>
                  </a:lnTo>
                  <a:lnTo>
                    <a:pt x="59" y="413"/>
                  </a:lnTo>
                  <a:lnTo>
                    <a:pt x="58" y="415"/>
                  </a:lnTo>
                  <a:lnTo>
                    <a:pt x="56" y="413"/>
                  </a:lnTo>
                  <a:lnTo>
                    <a:pt x="53" y="415"/>
                  </a:lnTo>
                  <a:lnTo>
                    <a:pt x="53" y="413"/>
                  </a:lnTo>
                  <a:lnTo>
                    <a:pt x="51" y="413"/>
                  </a:lnTo>
                  <a:lnTo>
                    <a:pt x="51" y="411"/>
                  </a:lnTo>
                  <a:lnTo>
                    <a:pt x="49" y="413"/>
                  </a:lnTo>
                  <a:lnTo>
                    <a:pt x="49" y="411"/>
                  </a:lnTo>
                  <a:lnTo>
                    <a:pt x="48" y="411"/>
                  </a:lnTo>
                  <a:lnTo>
                    <a:pt x="49" y="413"/>
                  </a:lnTo>
                  <a:lnTo>
                    <a:pt x="46" y="415"/>
                  </a:lnTo>
                  <a:lnTo>
                    <a:pt x="46" y="411"/>
                  </a:lnTo>
                  <a:lnTo>
                    <a:pt x="46" y="410"/>
                  </a:lnTo>
                  <a:lnTo>
                    <a:pt x="46" y="408"/>
                  </a:lnTo>
                  <a:lnTo>
                    <a:pt x="44" y="408"/>
                  </a:lnTo>
                  <a:lnTo>
                    <a:pt x="44" y="406"/>
                  </a:lnTo>
                  <a:lnTo>
                    <a:pt x="42" y="408"/>
                  </a:lnTo>
                  <a:lnTo>
                    <a:pt x="42" y="406"/>
                  </a:lnTo>
                  <a:lnTo>
                    <a:pt x="39" y="406"/>
                  </a:lnTo>
                  <a:lnTo>
                    <a:pt x="37" y="406"/>
                  </a:lnTo>
                  <a:lnTo>
                    <a:pt x="37" y="408"/>
                  </a:lnTo>
                  <a:lnTo>
                    <a:pt x="37" y="411"/>
                  </a:lnTo>
                  <a:lnTo>
                    <a:pt x="34" y="410"/>
                  </a:lnTo>
                  <a:lnTo>
                    <a:pt x="32" y="410"/>
                  </a:lnTo>
                  <a:lnTo>
                    <a:pt x="31" y="408"/>
                  </a:lnTo>
                  <a:lnTo>
                    <a:pt x="32" y="406"/>
                  </a:lnTo>
                  <a:lnTo>
                    <a:pt x="31" y="406"/>
                  </a:lnTo>
                  <a:lnTo>
                    <a:pt x="31" y="403"/>
                  </a:lnTo>
                  <a:lnTo>
                    <a:pt x="29" y="403"/>
                  </a:lnTo>
                  <a:lnTo>
                    <a:pt x="31" y="401"/>
                  </a:lnTo>
                  <a:lnTo>
                    <a:pt x="27" y="399"/>
                  </a:lnTo>
                  <a:lnTo>
                    <a:pt x="27" y="398"/>
                  </a:lnTo>
                  <a:lnTo>
                    <a:pt x="25" y="396"/>
                  </a:lnTo>
                  <a:lnTo>
                    <a:pt x="27" y="396"/>
                  </a:lnTo>
                  <a:lnTo>
                    <a:pt x="25" y="394"/>
                  </a:lnTo>
                  <a:lnTo>
                    <a:pt x="24" y="393"/>
                  </a:lnTo>
                  <a:lnTo>
                    <a:pt x="25" y="391"/>
                  </a:lnTo>
                  <a:lnTo>
                    <a:pt x="24" y="391"/>
                  </a:lnTo>
                  <a:lnTo>
                    <a:pt x="22" y="389"/>
                  </a:lnTo>
                  <a:lnTo>
                    <a:pt x="20" y="388"/>
                  </a:lnTo>
                  <a:lnTo>
                    <a:pt x="19" y="388"/>
                  </a:lnTo>
                  <a:lnTo>
                    <a:pt x="17" y="388"/>
                  </a:lnTo>
                  <a:lnTo>
                    <a:pt x="17" y="386"/>
                  </a:lnTo>
                  <a:lnTo>
                    <a:pt x="17" y="384"/>
                  </a:lnTo>
                  <a:lnTo>
                    <a:pt x="17" y="381"/>
                  </a:lnTo>
                  <a:lnTo>
                    <a:pt x="17" y="379"/>
                  </a:lnTo>
                  <a:lnTo>
                    <a:pt x="19" y="377"/>
                  </a:lnTo>
                  <a:lnTo>
                    <a:pt x="20" y="376"/>
                  </a:lnTo>
                  <a:lnTo>
                    <a:pt x="20" y="374"/>
                  </a:lnTo>
                  <a:lnTo>
                    <a:pt x="22" y="372"/>
                  </a:lnTo>
                  <a:lnTo>
                    <a:pt x="24" y="371"/>
                  </a:lnTo>
                  <a:lnTo>
                    <a:pt x="24" y="369"/>
                  </a:lnTo>
                  <a:lnTo>
                    <a:pt x="24" y="367"/>
                  </a:lnTo>
                  <a:lnTo>
                    <a:pt x="24" y="365"/>
                  </a:lnTo>
                  <a:lnTo>
                    <a:pt x="25" y="364"/>
                  </a:lnTo>
                  <a:lnTo>
                    <a:pt x="24" y="365"/>
                  </a:lnTo>
                  <a:lnTo>
                    <a:pt x="22" y="364"/>
                  </a:lnTo>
                  <a:lnTo>
                    <a:pt x="20" y="364"/>
                  </a:lnTo>
                  <a:lnTo>
                    <a:pt x="19" y="364"/>
                  </a:lnTo>
                  <a:lnTo>
                    <a:pt x="17" y="360"/>
                  </a:lnTo>
                  <a:lnTo>
                    <a:pt x="15" y="362"/>
                  </a:lnTo>
                  <a:lnTo>
                    <a:pt x="15" y="360"/>
                  </a:lnTo>
                  <a:lnTo>
                    <a:pt x="15" y="359"/>
                  </a:lnTo>
                  <a:lnTo>
                    <a:pt x="14" y="359"/>
                  </a:lnTo>
                  <a:lnTo>
                    <a:pt x="12" y="357"/>
                  </a:lnTo>
                  <a:lnTo>
                    <a:pt x="12" y="355"/>
                  </a:lnTo>
                  <a:lnTo>
                    <a:pt x="12" y="354"/>
                  </a:lnTo>
                  <a:lnTo>
                    <a:pt x="10" y="354"/>
                  </a:lnTo>
                  <a:lnTo>
                    <a:pt x="10" y="352"/>
                  </a:lnTo>
                  <a:lnTo>
                    <a:pt x="10" y="354"/>
                  </a:lnTo>
                  <a:lnTo>
                    <a:pt x="10" y="352"/>
                  </a:lnTo>
                  <a:lnTo>
                    <a:pt x="8" y="350"/>
                  </a:lnTo>
                  <a:lnTo>
                    <a:pt x="8" y="348"/>
                  </a:lnTo>
                  <a:lnTo>
                    <a:pt x="7" y="345"/>
                  </a:lnTo>
                  <a:lnTo>
                    <a:pt x="8" y="345"/>
                  </a:lnTo>
                  <a:lnTo>
                    <a:pt x="7" y="345"/>
                  </a:lnTo>
                  <a:lnTo>
                    <a:pt x="8" y="343"/>
                  </a:lnTo>
                  <a:lnTo>
                    <a:pt x="8" y="342"/>
                  </a:lnTo>
                  <a:lnTo>
                    <a:pt x="10" y="340"/>
                  </a:lnTo>
                  <a:lnTo>
                    <a:pt x="8" y="340"/>
                  </a:lnTo>
                  <a:lnTo>
                    <a:pt x="8" y="338"/>
                  </a:lnTo>
                  <a:lnTo>
                    <a:pt x="12" y="338"/>
                  </a:lnTo>
                  <a:lnTo>
                    <a:pt x="10" y="335"/>
                  </a:lnTo>
                  <a:lnTo>
                    <a:pt x="10" y="333"/>
                  </a:lnTo>
                  <a:lnTo>
                    <a:pt x="12" y="331"/>
                  </a:lnTo>
                  <a:lnTo>
                    <a:pt x="15" y="331"/>
                  </a:lnTo>
                  <a:lnTo>
                    <a:pt x="17" y="328"/>
                  </a:lnTo>
                  <a:lnTo>
                    <a:pt x="19" y="328"/>
                  </a:lnTo>
                  <a:lnTo>
                    <a:pt x="19" y="330"/>
                  </a:lnTo>
                  <a:lnTo>
                    <a:pt x="22" y="326"/>
                  </a:lnTo>
                  <a:lnTo>
                    <a:pt x="20" y="326"/>
                  </a:lnTo>
                  <a:lnTo>
                    <a:pt x="19" y="325"/>
                  </a:lnTo>
                  <a:lnTo>
                    <a:pt x="20" y="321"/>
                  </a:lnTo>
                  <a:lnTo>
                    <a:pt x="20" y="320"/>
                  </a:lnTo>
                  <a:lnTo>
                    <a:pt x="19" y="318"/>
                  </a:lnTo>
                  <a:lnTo>
                    <a:pt x="19" y="316"/>
                  </a:lnTo>
                  <a:lnTo>
                    <a:pt x="17" y="316"/>
                  </a:lnTo>
                  <a:lnTo>
                    <a:pt x="15" y="314"/>
                  </a:lnTo>
                  <a:lnTo>
                    <a:pt x="14" y="316"/>
                  </a:lnTo>
                  <a:lnTo>
                    <a:pt x="12" y="313"/>
                  </a:lnTo>
                  <a:lnTo>
                    <a:pt x="14" y="313"/>
                  </a:lnTo>
                  <a:lnTo>
                    <a:pt x="12" y="313"/>
                  </a:lnTo>
                  <a:lnTo>
                    <a:pt x="12" y="311"/>
                  </a:lnTo>
                  <a:lnTo>
                    <a:pt x="14" y="311"/>
                  </a:lnTo>
                  <a:lnTo>
                    <a:pt x="14" y="309"/>
                  </a:lnTo>
                  <a:lnTo>
                    <a:pt x="15" y="309"/>
                  </a:lnTo>
                  <a:lnTo>
                    <a:pt x="17" y="306"/>
                  </a:lnTo>
                  <a:lnTo>
                    <a:pt x="15" y="306"/>
                  </a:lnTo>
                  <a:lnTo>
                    <a:pt x="14" y="306"/>
                  </a:lnTo>
                  <a:lnTo>
                    <a:pt x="12" y="306"/>
                  </a:lnTo>
                  <a:lnTo>
                    <a:pt x="12" y="304"/>
                  </a:lnTo>
                  <a:lnTo>
                    <a:pt x="10" y="303"/>
                  </a:lnTo>
                  <a:lnTo>
                    <a:pt x="10" y="299"/>
                  </a:lnTo>
                  <a:lnTo>
                    <a:pt x="8" y="299"/>
                  </a:lnTo>
                  <a:lnTo>
                    <a:pt x="7" y="299"/>
                  </a:lnTo>
                  <a:lnTo>
                    <a:pt x="7" y="297"/>
                  </a:lnTo>
                  <a:lnTo>
                    <a:pt x="5" y="297"/>
                  </a:lnTo>
                  <a:lnTo>
                    <a:pt x="7" y="296"/>
                  </a:lnTo>
                  <a:lnTo>
                    <a:pt x="3" y="294"/>
                  </a:lnTo>
                  <a:lnTo>
                    <a:pt x="7" y="292"/>
                  </a:lnTo>
                  <a:lnTo>
                    <a:pt x="7" y="291"/>
                  </a:lnTo>
                  <a:lnTo>
                    <a:pt x="8" y="291"/>
                  </a:lnTo>
                  <a:lnTo>
                    <a:pt x="8" y="289"/>
                  </a:lnTo>
                  <a:lnTo>
                    <a:pt x="8" y="287"/>
                  </a:lnTo>
                  <a:lnTo>
                    <a:pt x="10" y="286"/>
                  </a:lnTo>
                  <a:lnTo>
                    <a:pt x="8" y="286"/>
                  </a:lnTo>
                  <a:lnTo>
                    <a:pt x="7" y="284"/>
                  </a:lnTo>
                  <a:lnTo>
                    <a:pt x="7" y="282"/>
                  </a:lnTo>
                  <a:lnTo>
                    <a:pt x="7" y="280"/>
                  </a:lnTo>
                  <a:lnTo>
                    <a:pt x="5" y="280"/>
                  </a:lnTo>
                  <a:lnTo>
                    <a:pt x="3" y="280"/>
                  </a:lnTo>
                  <a:lnTo>
                    <a:pt x="2" y="282"/>
                  </a:lnTo>
                  <a:lnTo>
                    <a:pt x="2" y="279"/>
                  </a:lnTo>
                  <a:lnTo>
                    <a:pt x="0" y="279"/>
                  </a:lnTo>
                  <a:lnTo>
                    <a:pt x="0" y="275"/>
                  </a:lnTo>
                  <a:lnTo>
                    <a:pt x="2" y="275"/>
                  </a:lnTo>
                  <a:lnTo>
                    <a:pt x="3" y="277"/>
                  </a:lnTo>
                  <a:lnTo>
                    <a:pt x="5" y="275"/>
                  </a:lnTo>
                  <a:lnTo>
                    <a:pt x="7" y="274"/>
                  </a:lnTo>
                  <a:lnTo>
                    <a:pt x="8" y="274"/>
                  </a:lnTo>
                  <a:lnTo>
                    <a:pt x="10" y="272"/>
                  </a:lnTo>
                  <a:lnTo>
                    <a:pt x="10" y="270"/>
                  </a:lnTo>
                  <a:lnTo>
                    <a:pt x="12" y="270"/>
                  </a:lnTo>
                  <a:lnTo>
                    <a:pt x="14" y="270"/>
                  </a:lnTo>
                  <a:lnTo>
                    <a:pt x="14" y="269"/>
                  </a:lnTo>
                  <a:lnTo>
                    <a:pt x="12" y="269"/>
                  </a:lnTo>
                  <a:lnTo>
                    <a:pt x="15" y="267"/>
                  </a:lnTo>
                  <a:lnTo>
                    <a:pt x="14" y="267"/>
                  </a:lnTo>
                  <a:lnTo>
                    <a:pt x="12" y="267"/>
                  </a:lnTo>
                  <a:lnTo>
                    <a:pt x="10" y="269"/>
                  </a:lnTo>
                  <a:lnTo>
                    <a:pt x="10" y="267"/>
                  </a:lnTo>
                  <a:lnTo>
                    <a:pt x="10" y="265"/>
                  </a:lnTo>
                  <a:lnTo>
                    <a:pt x="10" y="263"/>
                  </a:lnTo>
                  <a:lnTo>
                    <a:pt x="12" y="262"/>
                  </a:lnTo>
                  <a:lnTo>
                    <a:pt x="14" y="258"/>
                  </a:lnTo>
                  <a:lnTo>
                    <a:pt x="15" y="257"/>
                  </a:lnTo>
                  <a:lnTo>
                    <a:pt x="17" y="255"/>
                  </a:lnTo>
                  <a:lnTo>
                    <a:pt x="17" y="253"/>
                  </a:lnTo>
                  <a:lnTo>
                    <a:pt x="17" y="250"/>
                  </a:lnTo>
                  <a:lnTo>
                    <a:pt x="17" y="246"/>
                  </a:lnTo>
                  <a:lnTo>
                    <a:pt x="17" y="245"/>
                  </a:lnTo>
                  <a:lnTo>
                    <a:pt x="17" y="243"/>
                  </a:lnTo>
                  <a:lnTo>
                    <a:pt x="15" y="243"/>
                  </a:lnTo>
                  <a:lnTo>
                    <a:pt x="15" y="241"/>
                  </a:lnTo>
                  <a:lnTo>
                    <a:pt x="14" y="240"/>
                  </a:lnTo>
                  <a:lnTo>
                    <a:pt x="12" y="238"/>
                  </a:lnTo>
                  <a:lnTo>
                    <a:pt x="12" y="236"/>
                  </a:lnTo>
                  <a:lnTo>
                    <a:pt x="14" y="234"/>
                  </a:lnTo>
                  <a:lnTo>
                    <a:pt x="12" y="234"/>
                  </a:lnTo>
                  <a:lnTo>
                    <a:pt x="10" y="233"/>
                  </a:lnTo>
                  <a:lnTo>
                    <a:pt x="10" y="231"/>
                  </a:lnTo>
                  <a:lnTo>
                    <a:pt x="10" y="229"/>
                  </a:lnTo>
                  <a:lnTo>
                    <a:pt x="8" y="228"/>
                  </a:lnTo>
                  <a:lnTo>
                    <a:pt x="7" y="228"/>
                  </a:lnTo>
                  <a:lnTo>
                    <a:pt x="8" y="226"/>
                  </a:lnTo>
                  <a:lnTo>
                    <a:pt x="8" y="224"/>
                  </a:lnTo>
                  <a:lnTo>
                    <a:pt x="7" y="223"/>
                  </a:lnTo>
                  <a:lnTo>
                    <a:pt x="7" y="221"/>
                  </a:lnTo>
                  <a:lnTo>
                    <a:pt x="8" y="223"/>
                  </a:lnTo>
                  <a:lnTo>
                    <a:pt x="10" y="221"/>
                  </a:lnTo>
                  <a:lnTo>
                    <a:pt x="12" y="219"/>
                  </a:lnTo>
                  <a:lnTo>
                    <a:pt x="14" y="221"/>
                  </a:lnTo>
                  <a:lnTo>
                    <a:pt x="17" y="221"/>
                  </a:lnTo>
                  <a:lnTo>
                    <a:pt x="15" y="219"/>
                  </a:lnTo>
                  <a:lnTo>
                    <a:pt x="14" y="217"/>
                  </a:lnTo>
                  <a:lnTo>
                    <a:pt x="15" y="217"/>
                  </a:lnTo>
                  <a:lnTo>
                    <a:pt x="17" y="217"/>
                  </a:lnTo>
                  <a:lnTo>
                    <a:pt x="19" y="219"/>
                  </a:lnTo>
                  <a:lnTo>
                    <a:pt x="22" y="219"/>
                  </a:lnTo>
                  <a:lnTo>
                    <a:pt x="22" y="221"/>
                  </a:lnTo>
                  <a:lnTo>
                    <a:pt x="24" y="221"/>
                  </a:lnTo>
                  <a:lnTo>
                    <a:pt x="27" y="223"/>
                  </a:lnTo>
                  <a:lnTo>
                    <a:pt x="27" y="221"/>
                  </a:lnTo>
                  <a:lnTo>
                    <a:pt x="25" y="219"/>
                  </a:lnTo>
                  <a:lnTo>
                    <a:pt x="29" y="221"/>
                  </a:lnTo>
                  <a:lnTo>
                    <a:pt x="31" y="221"/>
                  </a:lnTo>
                  <a:lnTo>
                    <a:pt x="32" y="219"/>
                  </a:lnTo>
                  <a:lnTo>
                    <a:pt x="34" y="219"/>
                  </a:lnTo>
                  <a:lnTo>
                    <a:pt x="37" y="219"/>
                  </a:lnTo>
                  <a:lnTo>
                    <a:pt x="39" y="217"/>
                  </a:lnTo>
                  <a:lnTo>
                    <a:pt x="41" y="219"/>
                  </a:lnTo>
                  <a:lnTo>
                    <a:pt x="42" y="217"/>
                  </a:lnTo>
                  <a:lnTo>
                    <a:pt x="44" y="217"/>
                  </a:lnTo>
                  <a:lnTo>
                    <a:pt x="44" y="214"/>
                  </a:lnTo>
                  <a:lnTo>
                    <a:pt x="46" y="214"/>
                  </a:lnTo>
                  <a:lnTo>
                    <a:pt x="46" y="212"/>
                  </a:lnTo>
                  <a:lnTo>
                    <a:pt x="44" y="212"/>
                  </a:lnTo>
                  <a:lnTo>
                    <a:pt x="42" y="211"/>
                  </a:lnTo>
                  <a:lnTo>
                    <a:pt x="42" y="209"/>
                  </a:lnTo>
                  <a:lnTo>
                    <a:pt x="39" y="209"/>
                  </a:lnTo>
                  <a:lnTo>
                    <a:pt x="39" y="207"/>
                  </a:lnTo>
                  <a:lnTo>
                    <a:pt x="42" y="206"/>
                  </a:lnTo>
                  <a:lnTo>
                    <a:pt x="42" y="204"/>
                  </a:lnTo>
                  <a:lnTo>
                    <a:pt x="46" y="204"/>
                  </a:lnTo>
                  <a:lnTo>
                    <a:pt x="48" y="204"/>
                  </a:lnTo>
                  <a:lnTo>
                    <a:pt x="48" y="202"/>
                  </a:lnTo>
                  <a:lnTo>
                    <a:pt x="48" y="200"/>
                  </a:lnTo>
                  <a:lnTo>
                    <a:pt x="49" y="200"/>
                  </a:lnTo>
                  <a:lnTo>
                    <a:pt x="51" y="199"/>
                  </a:lnTo>
                  <a:lnTo>
                    <a:pt x="53" y="197"/>
                  </a:lnTo>
                  <a:lnTo>
                    <a:pt x="54" y="197"/>
                  </a:lnTo>
                  <a:lnTo>
                    <a:pt x="56" y="195"/>
                  </a:lnTo>
                  <a:lnTo>
                    <a:pt x="54" y="194"/>
                  </a:lnTo>
                  <a:lnTo>
                    <a:pt x="54" y="192"/>
                  </a:lnTo>
                  <a:lnTo>
                    <a:pt x="56" y="190"/>
                  </a:lnTo>
                  <a:lnTo>
                    <a:pt x="56" y="189"/>
                  </a:lnTo>
                  <a:lnTo>
                    <a:pt x="56" y="187"/>
                  </a:lnTo>
                  <a:lnTo>
                    <a:pt x="56" y="185"/>
                  </a:lnTo>
                  <a:lnTo>
                    <a:pt x="54" y="182"/>
                  </a:lnTo>
                  <a:lnTo>
                    <a:pt x="54" y="180"/>
                  </a:lnTo>
                  <a:lnTo>
                    <a:pt x="51" y="182"/>
                  </a:lnTo>
                  <a:lnTo>
                    <a:pt x="49" y="180"/>
                  </a:lnTo>
                  <a:lnTo>
                    <a:pt x="48" y="180"/>
                  </a:lnTo>
                  <a:lnTo>
                    <a:pt x="44" y="180"/>
                  </a:lnTo>
                  <a:lnTo>
                    <a:pt x="41" y="178"/>
                  </a:lnTo>
                  <a:lnTo>
                    <a:pt x="42" y="175"/>
                  </a:lnTo>
                  <a:lnTo>
                    <a:pt x="41" y="173"/>
                  </a:lnTo>
                  <a:lnTo>
                    <a:pt x="42" y="173"/>
                  </a:lnTo>
                  <a:lnTo>
                    <a:pt x="42" y="172"/>
                  </a:lnTo>
                  <a:lnTo>
                    <a:pt x="44" y="173"/>
                  </a:lnTo>
                  <a:lnTo>
                    <a:pt x="42" y="170"/>
                  </a:lnTo>
                  <a:lnTo>
                    <a:pt x="42" y="168"/>
                  </a:lnTo>
                  <a:lnTo>
                    <a:pt x="44" y="166"/>
                  </a:lnTo>
                  <a:lnTo>
                    <a:pt x="46" y="166"/>
                  </a:lnTo>
                  <a:lnTo>
                    <a:pt x="48" y="166"/>
                  </a:lnTo>
                  <a:lnTo>
                    <a:pt x="49" y="166"/>
                  </a:lnTo>
                  <a:lnTo>
                    <a:pt x="51" y="168"/>
                  </a:lnTo>
                  <a:lnTo>
                    <a:pt x="54" y="166"/>
                  </a:lnTo>
                  <a:lnTo>
                    <a:pt x="56" y="168"/>
                  </a:lnTo>
                  <a:lnTo>
                    <a:pt x="58" y="166"/>
                  </a:lnTo>
                  <a:lnTo>
                    <a:pt x="56" y="166"/>
                  </a:lnTo>
                  <a:lnTo>
                    <a:pt x="58" y="165"/>
                  </a:lnTo>
                  <a:lnTo>
                    <a:pt x="58" y="163"/>
                  </a:lnTo>
                  <a:lnTo>
                    <a:pt x="58" y="161"/>
                  </a:lnTo>
                  <a:lnTo>
                    <a:pt x="58" y="158"/>
                  </a:lnTo>
                  <a:lnTo>
                    <a:pt x="58" y="156"/>
                  </a:lnTo>
                  <a:lnTo>
                    <a:pt x="59" y="153"/>
                  </a:lnTo>
                  <a:lnTo>
                    <a:pt x="59" y="151"/>
                  </a:lnTo>
                  <a:lnTo>
                    <a:pt x="61" y="151"/>
                  </a:lnTo>
                  <a:lnTo>
                    <a:pt x="61" y="149"/>
                  </a:lnTo>
                  <a:lnTo>
                    <a:pt x="63" y="146"/>
                  </a:lnTo>
                  <a:lnTo>
                    <a:pt x="65" y="144"/>
                  </a:lnTo>
                  <a:lnTo>
                    <a:pt x="65" y="143"/>
                  </a:lnTo>
                  <a:lnTo>
                    <a:pt x="65" y="139"/>
                  </a:lnTo>
                  <a:lnTo>
                    <a:pt x="65" y="138"/>
                  </a:lnTo>
                  <a:lnTo>
                    <a:pt x="65" y="134"/>
                  </a:lnTo>
                  <a:lnTo>
                    <a:pt x="63" y="132"/>
                  </a:lnTo>
                  <a:lnTo>
                    <a:pt x="65" y="131"/>
                  </a:lnTo>
                  <a:lnTo>
                    <a:pt x="66" y="131"/>
                  </a:lnTo>
                  <a:lnTo>
                    <a:pt x="65" y="129"/>
                  </a:lnTo>
                  <a:lnTo>
                    <a:pt x="65" y="126"/>
                  </a:lnTo>
                  <a:lnTo>
                    <a:pt x="66" y="124"/>
                  </a:lnTo>
                  <a:lnTo>
                    <a:pt x="66" y="122"/>
                  </a:lnTo>
                  <a:lnTo>
                    <a:pt x="66" y="121"/>
                  </a:lnTo>
                  <a:lnTo>
                    <a:pt x="68" y="121"/>
                  </a:lnTo>
                  <a:lnTo>
                    <a:pt x="70" y="121"/>
                  </a:lnTo>
                  <a:lnTo>
                    <a:pt x="71" y="122"/>
                  </a:lnTo>
                  <a:lnTo>
                    <a:pt x="73" y="122"/>
                  </a:lnTo>
                  <a:lnTo>
                    <a:pt x="73" y="126"/>
                  </a:lnTo>
                  <a:lnTo>
                    <a:pt x="73" y="127"/>
                  </a:lnTo>
                  <a:lnTo>
                    <a:pt x="73" y="126"/>
                  </a:lnTo>
                  <a:lnTo>
                    <a:pt x="73" y="124"/>
                  </a:lnTo>
                  <a:lnTo>
                    <a:pt x="73" y="122"/>
                  </a:lnTo>
                  <a:lnTo>
                    <a:pt x="71" y="122"/>
                  </a:lnTo>
                  <a:lnTo>
                    <a:pt x="71" y="121"/>
                  </a:lnTo>
                  <a:lnTo>
                    <a:pt x="68" y="119"/>
                  </a:lnTo>
                  <a:lnTo>
                    <a:pt x="68" y="121"/>
                  </a:lnTo>
                  <a:lnTo>
                    <a:pt x="66" y="119"/>
                  </a:lnTo>
                  <a:lnTo>
                    <a:pt x="65" y="119"/>
                  </a:lnTo>
                  <a:lnTo>
                    <a:pt x="63" y="119"/>
                  </a:lnTo>
                  <a:lnTo>
                    <a:pt x="61" y="119"/>
                  </a:lnTo>
                  <a:lnTo>
                    <a:pt x="59" y="119"/>
                  </a:lnTo>
                  <a:lnTo>
                    <a:pt x="58" y="119"/>
                  </a:lnTo>
                  <a:lnTo>
                    <a:pt x="56" y="117"/>
                  </a:lnTo>
                  <a:lnTo>
                    <a:pt x="58" y="115"/>
                  </a:lnTo>
                  <a:lnTo>
                    <a:pt x="58" y="112"/>
                  </a:lnTo>
                  <a:lnTo>
                    <a:pt x="58" y="109"/>
                  </a:lnTo>
                  <a:lnTo>
                    <a:pt x="59" y="105"/>
                  </a:lnTo>
                  <a:lnTo>
                    <a:pt x="61" y="105"/>
                  </a:lnTo>
                  <a:lnTo>
                    <a:pt x="59" y="105"/>
                  </a:lnTo>
                  <a:lnTo>
                    <a:pt x="61" y="107"/>
                  </a:lnTo>
                  <a:lnTo>
                    <a:pt x="61" y="105"/>
                  </a:lnTo>
                  <a:lnTo>
                    <a:pt x="63" y="105"/>
                  </a:lnTo>
                  <a:lnTo>
                    <a:pt x="61" y="102"/>
                  </a:lnTo>
                  <a:lnTo>
                    <a:pt x="63" y="100"/>
                  </a:lnTo>
                  <a:lnTo>
                    <a:pt x="65" y="98"/>
                  </a:lnTo>
                  <a:lnTo>
                    <a:pt x="68" y="97"/>
                  </a:lnTo>
                  <a:lnTo>
                    <a:pt x="70" y="95"/>
                  </a:lnTo>
                  <a:lnTo>
                    <a:pt x="71" y="95"/>
                  </a:lnTo>
                  <a:lnTo>
                    <a:pt x="73" y="95"/>
                  </a:lnTo>
                  <a:lnTo>
                    <a:pt x="75" y="95"/>
                  </a:lnTo>
                  <a:lnTo>
                    <a:pt x="78" y="95"/>
                  </a:lnTo>
                  <a:lnTo>
                    <a:pt x="80" y="97"/>
                  </a:lnTo>
                  <a:lnTo>
                    <a:pt x="82" y="95"/>
                  </a:lnTo>
                  <a:lnTo>
                    <a:pt x="83" y="95"/>
                  </a:lnTo>
                  <a:lnTo>
                    <a:pt x="85" y="95"/>
                  </a:lnTo>
                  <a:lnTo>
                    <a:pt x="87" y="95"/>
                  </a:lnTo>
                  <a:lnTo>
                    <a:pt x="88" y="95"/>
                  </a:lnTo>
                  <a:lnTo>
                    <a:pt x="92" y="93"/>
                  </a:lnTo>
                  <a:lnTo>
                    <a:pt x="93" y="93"/>
                  </a:lnTo>
                  <a:lnTo>
                    <a:pt x="95" y="93"/>
                  </a:lnTo>
                  <a:lnTo>
                    <a:pt x="97" y="93"/>
                  </a:lnTo>
                  <a:lnTo>
                    <a:pt x="100" y="93"/>
                  </a:lnTo>
                  <a:lnTo>
                    <a:pt x="100" y="95"/>
                  </a:lnTo>
                  <a:lnTo>
                    <a:pt x="100" y="97"/>
                  </a:lnTo>
                  <a:lnTo>
                    <a:pt x="100" y="98"/>
                  </a:lnTo>
                  <a:lnTo>
                    <a:pt x="102" y="98"/>
                  </a:lnTo>
                  <a:lnTo>
                    <a:pt x="104" y="100"/>
                  </a:lnTo>
                  <a:lnTo>
                    <a:pt x="104" y="104"/>
                  </a:lnTo>
                  <a:lnTo>
                    <a:pt x="105" y="105"/>
                  </a:lnTo>
                  <a:lnTo>
                    <a:pt x="105" y="107"/>
                  </a:lnTo>
                  <a:lnTo>
                    <a:pt x="105" y="109"/>
                  </a:lnTo>
                  <a:lnTo>
                    <a:pt x="102" y="109"/>
                  </a:lnTo>
                  <a:lnTo>
                    <a:pt x="100" y="109"/>
                  </a:lnTo>
                  <a:lnTo>
                    <a:pt x="102" y="110"/>
                  </a:lnTo>
                  <a:lnTo>
                    <a:pt x="102" y="112"/>
                  </a:lnTo>
                  <a:lnTo>
                    <a:pt x="105" y="112"/>
                  </a:lnTo>
                  <a:lnTo>
                    <a:pt x="105" y="114"/>
                  </a:lnTo>
                  <a:lnTo>
                    <a:pt x="107" y="115"/>
                  </a:lnTo>
                  <a:lnTo>
                    <a:pt x="109" y="115"/>
                  </a:lnTo>
                  <a:lnTo>
                    <a:pt x="110" y="114"/>
                  </a:lnTo>
                  <a:lnTo>
                    <a:pt x="112" y="112"/>
                  </a:lnTo>
                  <a:lnTo>
                    <a:pt x="112" y="109"/>
                  </a:lnTo>
                  <a:lnTo>
                    <a:pt x="112" y="107"/>
                  </a:lnTo>
                  <a:lnTo>
                    <a:pt x="110" y="107"/>
                  </a:lnTo>
                  <a:lnTo>
                    <a:pt x="109" y="107"/>
                  </a:lnTo>
                  <a:lnTo>
                    <a:pt x="109" y="105"/>
                  </a:lnTo>
                  <a:lnTo>
                    <a:pt x="109" y="104"/>
                  </a:lnTo>
                  <a:lnTo>
                    <a:pt x="110" y="102"/>
                  </a:lnTo>
                  <a:lnTo>
                    <a:pt x="112" y="102"/>
                  </a:lnTo>
                  <a:lnTo>
                    <a:pt x="114" y="102"/>
                  </a:lnTo>
                  <a:lnTo>
                    <a:pt x="114" y="104"/>
                  </a:lnTo>
                  <a:lnTo>
                    <a:pt x="116" y="104"/>
                  </a:lnTo>
                  <a:lnTo>
                    <a:pt x="117" y="105"/>
                  </a:lnTo>
                  <a:lnTo>
                    <a:pt x="121" y="105"/>
                  </a:lnTo>
                  <a:lnTo>
                    <a:pt x="122" y="107"/>
                  </a:lnTo>
                  <a:lnTo>
                    <a:pt x="121" y="109"/>
                  </a:lnTo>
                  <a:lnTo>
                    <a:pt x="119" y="110"/>
                  </a:lnTo>
                  <a:lnTo>
                    <a:pt x="119" y="112"/>
                  </a:lnTo>
                  <a:lnTo>
                    <a:pt x="119" y="115"/>
                  </a:lnTo>
                  <a:lnTo>
                    <a:pt x="119" y="117"/>
                  </a:lnTo>
                  <a:lnTo>
                    <a:pt x="119" y="119"/>
                  </a:lnTo>
                  <a:lnTo>
                    <a:pt x="119" y="121"/>
                  </a:lnTo>
                  <a:lnTo>
                    <a:pt x="119" y="117"/>
                  </a:lnTo>
                  <a:lnTo>
                    <a:pt x="119" y="115"/>
                  </a:lnTo>
                  <a:lnTo>
                    <a:pt x="119" y="114"/>
                  </a:lnTo>
                  <a:lnTo>
                    <a:pt x="119" y="110"/>
                  </a:lnTo>
                  <a:lnTo>
                    <a:pt x="121" y="109"/>
                  </a:lnTo>
                  <a:lnTo>
                    <a:pt x="122" y="109"/>
                  </a:lnTo>
                  <a:lnTo>
                    <a:pt x="122" y="107"/>
                  </a:lnTo>
                  <a:lnTo>
                    <a:pt x="122" y="105"/>
                  </a:lnTo>
                  <a:lnTo>
                    <a:pt x="121" y="104"/>
                  </a:lnTo>
                  <a:lnTo>
                    <a:pt x="121" y="102"/>
                  </a:lnTo>
                  <a:lnTo>
                    <a:pt x="119" y="98"/>
                  </a:lnTo>
                  <a:lnTo>
                    <a:pt x="119" y="95"/>
                  </a:lnTo>
                  <a:lnTo>
                    <a:pt x="121" y="93"/>
                  </a:lnTo>
                  <a:lnTo>
                    <a:pt x="121" y="92"/>
                  </a:lnTo>
                  <a:lnTo>
                    <a:pt x="121" y="90"/>
                  </a:lnTo>
                  <a:lnTo>
                    <a:pt x="122" y="90"/>
                  </a:lnTo>
                  <a:lnTo>
                    <a:pt x="122" y="88"/>
                  </a:lnTo>
                  <a:lnTo>
                    <a:pt x="122" y="85"/>
                  </a:lnTo>
                  <a:lnTo>
                    <a:pt x="124" y="83"/>
                  </a:lnTo>
                  <a:lnTo>
                    <a:pt x="126" y="83"/>
                  </a:lnTo>
                  <a:lnTo>
                    <a:pt x="127" y="81"/>
                  </a:lnTo>
                  <a:lnTo>
                    <a:pt x="127" y="83"/>
                  </a:lnTo>
                  <a:lnTo>
                    <a:pt x="129" y="83"/>
                  </a:lnTo>
                  <a:lnTo>
                    <a:pt x="129" y="85"/>
                  </a:lnTo>
                  <a:lnTo>
                    <a:pt x="131" y="86"/>
                  </a:lnTo>
                  <a:lnTo>
                    <a:pt x="133" y="86"/>
                  </a:lnTo>
                  <a:lnTo>
                    <a:pt x="134" y="86"/>
                  </a:lnTo>
                  <a:lnTo>
                    <a:pt x="136" y="86"/>
                  </a:lnTo>
                  <a:lnTo>
                    <a:pt x="138" y="86"/>
                  </a:lnTo>
                  <a:lnTo>
                    <a:pt x="139" y="86"/>
                  </a:lnTo>
                  <a:lnTo>
                    <a:pt x="141" y="86"/>
                  </a:lnTo>
                  <a:lnTo>
                    <a:pt x="143" y="85"/>
                  </a:lnTo>
                  <a:lnTo>
                    <a:pt x="144" y="85"/>
                  </a:lnTo>
                  <a:lnTo>
                    <a:pt x="146" y="85"/>
                  </a:lnTo>
                  <a:lnTo>
                    <a:pt x="148" y="85"/>
                  </a:lnTo>
                  <a:lnTo>
                    <a:pt x="150" y="85"/>
                  </a:lnTo>
                  <a:lnTo>
                    <a:pt x="151" y="85"/>
                  </a:lnTo>
                  <a:lnTo>
                    <a:pt x="155" y="86"/>
                  </a:lnTo>
                  <a:lnTo>
                    <a:pt x="155" y="90"/>
                  </a:lnTo>
                  <a:lnTo>
                    <a:pt x="156" y="93"/>
                  </a:lnTo>
                  <a:lnTo>
                    <a:pt x="158" y="93"/>
                  </a:lnTo>
                  <a:lnTo>
                    <a:pt x="160" y="97"/>
                  </a:lnTo>
                  <a:lnTo>
                    <a:pt x="161" y="98"/>
                  </a:lnTo>
                  <a:lnTo>
                    <a:pt x="161" y="100"/>
                  </a:lnTo>
                  <a:lnTo>
                    <a:pt x="163" y="102"/>
                  </a:lnTo>
                  <a:lnTo>
                    <a:pt x="165" y="104"/>
                  </a:lnTo>
                  <a:lnTo>
                    <a:pt x="167" y="105"/>
                  </a:lnTo>
                  <a:lnTo>
                    <a:pt x="168" y="107"/>
                  </a:lnTo>
                  <a:lnTo>
                    <a:pt x="170" y="107"/>
                  </a:lnTo>
                  <a:lnTo>
                    <a:pt x="172" y="107"/>
                  </a:lnTo>
                  <a:lnTo>
                    <a:pt x="173" y="109"/>
                  </a:lnTo>
                  <a:lnTo>
                    <a:pt x="175" y="107"/>
                  </a:lnTo>
                  <a:lnTo>
                    <a:pt x="177" y="107"/>
                  </a:lnTo>
                  <a:lnTo>
                    <a:pt x="178" y="107"/>
                  </a:lnTo>
                  <a:lnTo>
                    <a:pt x="177" y="107"/>
                  </a:lnTo>
                  <a:lnTo>
                    <a:pt x="173" y="105"/>
                  </a:lnTo>
                  <a:lnTo>
                    <a:pt x="172" y="105"/>
                  </a:lnTo>
                  <a:lnTo>
                    <a:pt x="170" y="105"/>
                  </a:lnTo>
                  <a:lnTo>
                    <a:pt x="168" y="105"/>
                  </a:lnTo>
                  <a:lnTo>
                    <a:pt x="167" y="104"/>
                  </a:lnTo>
                  <a:lnTo>
                    <a:pt x="165" y="104"/>
                  </a:lnTo>
                  <a:lnTo>
                    <a:pt x="163" y="102"/>
                  </a:lnTo>
                  <a:lnTo>
                    <a:pt x="163" y="100"/>
                  </a:lnTo>
                  <a:lnTo>
                    <a:pt x="163" y="98"/>
                  </a:lnTo>
                  <a:lnTo>
                    <a:pt x="163" y="100"/>
                  </a:lnTo>
                  <a:lnTo>
                    <a:pt x="165" y="100"/>
                  </a:lnTo>
                  <a:lnTo>
                    <a:pt x="163" y="100"/>
                  </a:lnTo>
                  <a:lnTo>
                    <a:pt x="163" y="98"/>
                  </a:lnTo>
                  <a:lnTo>
                    <a:pt x="161" y="95"/>
                  </a:lnTo>
                  <a:lnTo>
                    <a:pt x="160" y="95"/>
                  </a:lnTo>
                  <a:lnTo>
                    <a:pt x="160" y="93"/>
                  </a:lnTo>
                  <a:lnTo>
                    <a:pt x="158" y="93"/>
                  </a:lnTo>
                  <a:lnTo>
                    <a:pt x="158" y="90"/>
                  </a:lnTo>
                  <a:lnTo>
                    <a:pt x="156" y="88"/>
                  </a:lnTo>
                  <a:lnTo>
                    <a:pt x="156" y="86"/>
                  </a:lnTo>
                  <a:lnTo>
                    <a:pt x="153" y="85"/>
                  </a:lnTo>
                  <a:lnTo>
                    <a:pt x="153" y="83"/>
                  </a:lnTo>
                  <a:lnTo>
                    <a:pt x="151" y="83"/>
                  </a:lnTo>
                  <a:lnTo>
                    <a:pt x="150" y="83"/>
                  </a:lnTo>
                  <a:lnTo>
                    <a:pt x="148" y="83"/>
                  </a:lnTo>
                  <a:lnTo>
                    <a:pt x="146" y="83"/>
                  </a:lnTo>
                  <a:lnTo>
                    <a:pt x="144" y="83"/>
                  </a:lnTo>
                  <a:lnTo>
                    <a:pt x="143" y="81"/>
                  </a:lnTo>
                  <a:lnTo>
                    <a:pt x="139" y="83"/>
                  </a:lnTo>
                  <a:lnTo>
                    <a:pt x="139" y="81"/>
                  </a:lnTo>
                  <a:lnTo>
                    <a:pt x="138" y="81"/>
                  </a:lnTo>
                  <a:lnTo>
                    <a:pt x="138" y="80"/>
                  </a:lnTo>
                  <a:lnTo>
                    <a:pt x="136" y="78"/>
                  </a:lnTo>
                  <a:lnTo>
                    <a:pt x="136" y="76"/>
                  </a:lnTo>
                  <a:lnTo>
                    <a:pt x="134" y="73"/>
                  </a:lnTo>
                  <a:lnTo>
                    <a:pt x="133" y="73"/>
                  </a:lnTo>
                  <a:lnTo>
                    <a:pt x="136" y="71"/>
                  </a:lnTo>
                  <a:lnTo>
                    <a:pt x="138" y="73"/>
                  </a:lnTo>
                  <a:lnTo>
                    <a:pt x="139" y="71"/>
                  </a:lnTo>
                  <a:lnTo>
                    <a:pt x="139" y="69"/>
                  </a:lnTo>
                  <a:lnTo>
                    <a:pt x="139" y="68"/>
                  </a:lnTo>
                  <a:lnTo>
                    <a:pt x="138" y="66"/>
                  </a:lnTo>
                  <a:lnTo>
                    <a:pt x="134" y="66"/>
                  </a:lnTo>
                  <a:lnTo>
                    <a:pt x="134" y="64"/>
                  </a:lnTo>
                  <a:lnTo>
                    <a:pt x="133" y="63"/>
                  </a:lnTo>
                  <a:lnTo>
                    <a:pt x="133" y="61"/>
                  </a:lnTo>
                  <a:lnTo>
                    <a:pt x="134" y="59"/>
                  </a:lnTo>
                  <a:lnTo>
                    <a:pt x="134" y="58"/>
                  </a:lnTo>
                  <a:lnTo>
                    <a:pt x="138" y="56"/>
                  </a:lnTo>
                  <a:lnTo>
                    <a:pt x="139" y="52"/>
                  </a:lnTo>
                  <a:lnTo>
                    <a:pt x="138" y="54"/>
                  </a:lnTo>
                  <a:lnTo>
                    <a:pt x="136" y="54"/>
                  </a:lnTo>
                  <a:lnTo>
                    <a:pt x="136" y="56"/>
                  </a:lnTo>
                  <a:lnTo>
                    <a:pt x="134" y="56"/>
                  </a:lnTo>
                  <a:lnTo>
                    <a:pt x="134" y="54"/>
                  </a:lnTo>
                  <a:lnTo>
                    <a:pt x="133" y="54"/>
                  </a:lnTo>
                  <a:lnTo>
                    <a:pt x="131" y="54"/>
                  </a:lnTo>
                  <a:lnTo>
                    <a:pt x="129" y="54"/>
                  </a:lnTo>
                  <a:lnTo>
                    <a:pt x="127" y="56"/>
                  </a:lnTo>
                  <a:lnTo>
                    <a:pt x="126" y="56"/>
                  </a:lnTo>
                  <a:lnTo>
                    <a:pt x="124" y="52"/>
                  </a:lnTo>
                  <a:lnTo>
                    <a:pt x="126" y="54"/>
                  </a:lnTo>
                  <a:lnTo>
                    <a:pt x="124" y="52"/>
                  </a:lnTo>
                  <a:lnTo>
                    <a:pt x="126" y="54"/>
                  </a:lnTo>
                  <a:lnTo>
                    <a:pt x="124" y="54"/>
                  </a:lnTo>
                  <a:lnTo>
                    <a:pt x="124" y="52"/>
                  </a:lnTo>
                  <a:lnTo>
                    <a:pt x="124" y="49"/>
                  </a:lnTo>
                  <a:lnTo>
                    <a:pt x="126" y="51"/>
                  </a:lnTo>
                  <a:lnTo>
                    <a:pt x="127" y="49"/>
                  </a:lnTo>
                  <a:lnTo>
                    <a:pt x="126" y="49"/>
                  </a:lnTo>
                  <a:lnTo>
                    <a:pt x="126" y="47"/>
                  </a:lnTo>
                  <a:lnTo>
                    <a:pt x="127" y="47"/>
                  </a:lnTo>
                  <a:lnTo>
                    <a:pt x="127" y="46"/>
                  </a:lnTo>
                  <a:lnTo>
                    <a:pt x="127" y="47"/>
                  </a:lnTo>
                  <a:lnTo>
                    <a:pt x="129" y="46"/>
                  </a:lnTo>
                  <a:lnTo>
                    <a:pt x="131" y="46"/>
                  </a:lnTo>
                  <a:lnTo>
                    <a:pt x="134" y="46"/>
                  </a:lnTo>
                  <a:lnTo>
                    <a:pt x="136" y="46"/>
                  </a:lnTo>
                  <a:lnTo>
                    <a:pt x="138" y="46"/>
                  </a:lnTo>
                  <a:lnTo>
                    <a:pt x="139" y="42"/>
                  </a:lnTo>
                  <a:lnTo>
                    <a:pt x="141" y="42"/>
                  </a:lnTo>
                  <a:lnTo>
                    <a:pt x="141" y="41"/>
                  </a:lnTo>
                  <a:lnTo>
                    <a:pt x="141" y="39"/>
                  </a:lnTo>
                  <a:lnTo>
                    <a:pt x="139" y="39"/>
                  </a:lnTo>
                  <a:lnTo>
                    <a:pt x="138" y="42"/>
                  </a:lnTo>
                  <a:lnTo>
                    <a:pt x="136" y="42"/>
                  </a:lnTo>
                  <a:lnTo>
                    <a:pt x="133" y="42"/>
                  </a:lnTo>
                  <a:lnTo>
                    <a:pt x="133" y="41"/>
                  </a:lnTo>
                  <a:lnTo>
                    <a:pt x="134" y="39"/>
                  </a:lnTo>
                  <a:lnTo>
                    <a:pt x="136" y="37"/>
                  </a:lnTo>
                  <a:lnTo>
                    <a:pt x="136" y="35"/>
                  </a:lnTo>
                  <a:lnTo>
                    <a:pt x="134" y="37"/>
                  </a:lnTo>
                  <a:lnTo>
                    <a:pt x="133" y="35"/>
                  </a:lnTo>
                  <a:lnTo>
                    <a:pt x="134" y="35"/>
                  </a:lnTo>
                  <a:lnTo>
                    <a:pt x="136" y="35"/>
                  </a:lnTo>
                  <a:lnTo>
                    <a:pt x="136" y="34"/>
                  </a:lnTo>
                  <a:lnTo>
                    <a:pt x="134" y="32"/>
                  </a:lnTo>
                  <a:lnTo>
                    <a:pt x="134" y="29"/>
                  </a:lnTo>
                  <a:lnTo>
                    <a:pt x="131" y="27"/>
                  </a:lnTo>
                  <a:lnTo>
                    <a:pt x="131" y="25"/>
                  </a:lnTo>
                  <a:lnTo>
                    <a:pt x="129" y="24"/>
                  </a:lnTo>
                  <a:lnTo>
                    <a:pt x="131" y="27"/>
                  </a:lnTo>
                  <a:lnTo>
                    <a:pt x="129" y="27"/>
                  </a:lnTo>
                  <a:lnTo>
                    <a:pt x="127" y="27"/>
                  </a:lnTo>
                  <a:lnTo>
                    <a:pt x="127" y="30"/>
                  </a:lnTo>
                  <a:lnTo>
                    <a:pt x="124" y="30"/>
                  </a:lnTo>
                  <a:lnTo>
                    <a:pt x="122" y="32"/>
                  </a:lnTo>
                  <a:lnTo>
                    <a:pt x="122" y="30"/>
                  </a:lnTo>
                  <a:lnTo>
                    <a:pt x="126" y="30"/>
                  </a:lnTo>
                  <a:lnTo>
                    <a:pt x="127" y="29"/>
                  </a:lnTo>
                  <a:lnTo>
                    <a:pt x="127" y="27"/>
                  </a:lnTo>
                  <a:lnTo>
                    <a:pt x="129" y="27"/>
                  </a:lnTo>
                  <a:lnTo>
                    <a:pt x="129" y="24"/>
                  </a:lnTo>
                  <a:lnTo>
                    <a:pt x="129" y="20"/>
                  </a:lnTo>
                  <a:lnTo>
                    <a:pt x="127" y="18"/>
                  </a:lnTo>
                  <a:lnTo>
                    <a:pt x="127" y="17"/>
                  </a:lnTo>
                  <a:lnTo>
                    <a:pt x="126" y="15"/>
                  </a:lnTo>
                  <a:lnTo>
                    <a:pt x="126" y="13"/>
                  </a:lnTo>
                  <a:lnTo>
                    <a:pt x="122" y="13"/>
                  </a:lnTo>
                  <a:lnTo>
                    <a:pt x="119" y="15"/>
                  </a:lnTo>
                  <a:lnTo>
                    <a:pt x="117" y="15"/>
                  </a:lnTo>
                  <a:lnTo>
                    <a:pt x="116" y="13"/>
                  </a:lnTo>
                  <a:lnTo>
                    <a:pt x="114" y="13"/>
                  </a:lnTo>
                  <a:lnTo>
                    <a:pt x="114" y="15"/>
                  </a:lnTo>
                  <a:lnTo>
                    <a:pt x="114" y="18"/>
                  </a:lnTo>
                  <a:lnTo>
                    <a:pt x="112" y="18"/>
                  </a:lnTo>
                  <a:lnTo>
                    <a:pt x="114" y="22"/>
                  </a:lnTo>
                  <a:lnTo>
                    <a:pt x="112" y="22"/>
                  </a:lnTo>
                  <a:lnTo>
                    <a:pt x="112" y="20"/>
                  </a:lnTo>
                  <a:lnTo>
                    <a:pt x="112" y="18"/>
                  </a:lnTo>
                  <a:lnTo>
                    <a:pt x="112" y="15"/>
                  </a:lnTo>
                  <a:lnTo>
                    <a:pt x="112" y="12"/>
                  </a:lnTo>
                  <a:lnTo>
                    <a:pt x="114" y="10"/>
                  </a:lnTo>
                  <a:lnTo>
                    <a:pt x="114" y="8"/>
                  </a:lnTo>
                  <a:lnTo>
                    <a:pt x="114" y="7"/>
                  </a:lnTo>
                  <a:lnTo>
                    <a:pt x="116" y="5"/>
                  </a:lnTo>
                  <a:lnTo>
                    <a:pt x="117" y="1"/>
                  </a:lnTo>
                  <a:lnTo>
                    <a:pt x="117" y="0"/>
                  </a:lnTo>
                  <a:lnTo>
                    <a:pt x="121" y="1"/>
                  </a:lnTo>
                  <a:lnTo>
                    <a:pt x="117" y="1"/>
                  </a:lnTo>
                  <a:lnTo>
                    <a:pt x="119" y="3"/>
                  </a:lnTo>
                  <a:lnTo>
                    <a:pt x="117" y="5"/>
                  </a:lnTo>
                  <a:lnTo>
                    <a:pt x="116" y="7"/>
                  </a:lnTo>
                  <a:lnTo>
                    <a:pt x="116" y="10"/>
                  </a:lnTo>
                  <a:lnTo>
                    <a:pt x="117" y="12"/>
                  </a:lnTo>
                  <a:lnTo>
                    <a:pt x="119" y="13"/>
                  </a:lnTo>
                  <a:lnTo>
                    <a:pt x="121" y="13"/>
                  </a:lnTo>
                  <a:lnTo>
                    <a:pt x="122" y="13"/>
                  </a:lnTo>
                  <a:lnTo>
                    <a:pt x="124" y="13"/>
                  </a:lnTo>
                  <a:lnTo>
                    <a:pt x="126" y="12"/>
                  </a:lnTo>
                  <a:lnTo>
                    <a:pt x="127" y="12"/>
                  </a:lnTo>
                  <a:lnTo>
                    <a:pt x="127" y="10"/>
                  </a:lnTo>
                  <a:lnTo>
                    <a:pt x="129" y="12"/>
                  </a:lnTo>
                  <a:lnTo>
                    <a:pt x="131" y="12"/>
                  </a:lnTo>
                  <a:lnTo>
                    <a:pt x="133" y="12"/>
                  </a:lnTo>
                  <a:lnTo>
                    <a:pt x="134" y="12"/>
                  </a:lnTo>
                  <a:lnTo>
                    <a:pt x="136" y="12"/>
                  </a:lnTo>
                  <a:lnTo>
                    <a:pt x="138" y="12"/>
                  </a:lnTo>
                  <a:lnTo>
                    <a:pt x="139" y="12"/>
                  </a:lnTo>
                  <a:lnTo>
                    <a:pt x="143" y="13"/>
                  </a:lnTo>
                  <a:lnTo>
                    <a:pt x="144" y="13"/>
                  </a:lnTo>
                  <a:lnTo>
                    <a:pt x="148" y="13"/>
                  </a:lnTo>
                  <a:lnTo>
                    <a:pt x="150" y="15"/>
                  </a:lnTo>
                  <a:lnTo>
                    <a:pt x="151" y="15"/>
                  </a:lnTo>
                  <a:lnTo>
                    <a:pt x="151" y="18"/>
                  </a:lnTo>
                  <a:lnTo>
                    <a:pt x="153" y="18"/>
                  </a:lnTo>
                  <a:lnTo>
                    <a:pt x="155" y="18"/>
                  </a:lnTo>
                  <a:lnTo>
                    <a:pt x="156" y="17"/>
                  </a:lnTo>
                  <a:lnTo>
                    <a:pt x="158" y="17"/>
                  </a:lnTo>
                  <a:lnTo>
                    <a:pt x="160" y="20"/>
                  </a:lnTo>
                  <a:lnTo>
                    <a:pt x="160" y="17"/>
                  </a:lnTo>
                  <a:lnTo>
                    <a:pt x="161" y="17"/>
                  </a:lnTo>
                  <a:lnTo>
                    <a:pt x="163" y="17"/>
                  </a:lnTo>
                  <a:lnTo>
                    <a:pt x="165" y="15"/>
                  </a:lnTo>
                  <a:lnTo>
                    <a:pt x="165" y="13"/>
                  </a:lnTo>
                  <a:lnTo>
                    <a:pt x="167" y="13"/>
                  </a:lnTo>
                  <a:lnTo>
                    <a:pt x="165" y="15"/>
                  </a:lnTo>
                  <a:lnTo>
                    <a:pt x="167" y="17"/>
                  </a:lnTo>
                  <a:lnTo>
                    <a:pt x="168" y="17"/>
                  </a:lnTo>
                  <a:lnTo>
                    <a:pt x="170" y="18"/>
                  </a:lnTo>
                  <a:lnTo>
                    <a:pt x="172" y="18"/>
                  </a:lnTo>
                  <a:lnTo>
                    <a:pt x="173" y="20"/>
                  </a:lnTo>
                  <a:lnTo>
                    <a:pt x="173" y="18"/>
                  </a:lnTo>
                  <a:lnTo>
                    <a:pt x="175" y="22"/>
                  </a:lnTo>
                  <a:lnTo>
                    <a:pt x="177" y="22"/>
                  </a:lnTo>
                  <a:lnTo>
                    <a:pt x="178" y="22"/>
                  </a:lnTo>
                  <a:lnTo>
                    <a:pt x="178" y="18"/>
                  </a:lnTo>
                  <a:lnTo>
                    <a:pt x="180" y="20"/>
                  </a:lnTo>
                  <a:lnTo>
                    <a:pt x="180" y="22"/>
                  </a:lnTo>
                  <a:lnTo>
                    <a:pt x="182" y="25"/>
                  </a:lnTo>
                  <a:lnTo>
                    <a:pt x="184" y="27"/>
                  </a:lnTo>
                  <a:lnTo>
                    <a:pt x="184" y="29"/>
                  </a:lnTo>
                  <a:lnTo>
                    <a:pt x="184" y="27"/>
                  </a:lnTo>
                  <a:lnTo>
                    <a:pt x="182" y="27"/>
                  </a:lnTo>
                  <a:lnTo>
                    <a:pt x="182" y="25"/>
                  </a:lnTo>
                  <a:lnTo>
                    <a:pt x="180" y="27"/>
                  </a:lnTo>
                  <a:lnTo>
                    <a:pt x="178" y="29"/>
                  </a:lnTo>
                  <a:lnTo>
                    <a:pt x="178" y="30"/>
                  </a:lnTo>
                  <a:lnTo>
                    <a:pt x="175" y="34"/>
                  </a:lnTo>
                  <a:lnTo>
                    <a:pt x="173" y="34"/>
                  </a:lnTo>
                  <a:lnTo>
                    <a:pt x="172" y="34"/>
                  </a:lnTo>
                  <a:lnTo>
                    <a:pt x="172" y="35"/>
                  </a:lnTo>
                  <a:lnTo>
                    <a:pt x="170" y="37"/>
                  </a:lnTo>
                  <a:lnTo>
                    <a:pt x="170" y="39"/>
                  </a:lnTo>
                  <a:lnTo>
                    <a:pt x="167" y="39"/>
                  </a:lnTo>
                  <a:lnTo>
                    <a:pt x="167" y="37"/>
                  </a:lnTo>
                  <a:lnTo>
                    <a:pt x="165" y="39"/>
                  </a:lnTo>
                  <a:lnTo>
                    <a:pt x="163" y="39"/>
                  </a:lnTo>
                  <a:lnTo>
                    <a:pt x="165" y="41"/>
                  </a:lnTo>
                  <a:lnTo>
                    <a:pt x="167" y="39"/>
                  </a:lnTo>
                  <a:lnTo>
                    <a:pt x="170" y="41"/>
                  </a:lnTo>
                  <a:lnTo>
                    <a:pt x="170" y="39"/>
                  </a:lnTo>
                  <a:lnTo>
                    <a:pt x="170" y="37"/>
                  </a:lnTo>
                  <a:lnTo>
                    <a:pt x="172" y="39"/>
                  </a:lnTo>
                  <a:lnTo>
                    <a:pt x="172" y="35"/>
                  </a:lnTo>
                  <a:lnTo>
                    <a:pt x="173" y="35"/>
                  </a:lnTo>
                  <a:lnTo>
                    <a:pt x="175" y="34"/>
                  </a:lnTo>
                  <a:lnTo>
                    <a:pt x="177" y="34"/>
                  </a:lnTo>
                  <a:lnTo>
                    <a:pt x="178" y="32"/>
                  </a:lnTo>
                  <a:lnTo>
                    <a:pt x="178" y="30"/>
                  </a:lnTo>
                  <a:lnTo>
                    <a:pt x="180" y="29"/>
                  </a:lnTo>
                  <a:lnTo>
                    <a:pt x="182" y="29"/>
                  </a:lnTo>
                  <a:lnTo>
                    <a:pt x="184" y="29"/>
                  </a:lnTo>
                  <a:lnTo>
                    <a:pt x="182" y="29"/>
                  </a:lnTo>
                  <a:lnTo>
                    <a:pt x="184" y="29"/>
                  </a:lnTo>
                  <a:lnTo>
                    <a:pt x="184" y="32"/>
                  </a:lnTo>
                  <a:lnTo>
                    <a:pt x="184" y="34"/>
                  </a:lnTo>
                  <a:lnTo>
                    <a:pt x="184" y="37"/>
                  </a:lnTo>
                  <a:lnTo>
                    <a:pt x="182" y="39"/>
                  </a:lnTo>
                  <a:lnTo>
                    <a:pt x="180" y="41"/>
                  </a:lnTo>
                  <a:lnTo>
                    <a:pt x="178" y="41"/>
                  </a:lnTo>
                  <a:lnTo>
                    <a:pt x="177" y="42"/>
                  </a:lnTo>
                  <a:lnTo>
                    <a:pt x="175" y="42"/>
                  </a:lnTo>
                  <a:lnTo>
                    <a:pt x="177" y="44"/>
                  </a:lnTo>
                  <a:lnTo>
                    <a:pt x="178" y="42"/>
                  </a:lnTo>
                  <a:lnTo>
                    <a:pt x="182" y="42"/>
                  </a:lnTo>
                  <a:lnTo>
                    <a:pt x="185" y="41"/>
                  </a:lnTo>
                  <a:lnTo>
                    <a:pt x="187" y="41"/>
                  </a:lnTo>
                  <a:lnTo>
                    <a:pt x="189" y="42"/>
                  </a:lnTo>
                  <a:lnTo>
                    <a:pt x="190" y="42"/>
                  </a:lnTo>
                  <a:lnTo>
                    <a:pt x="189" y="44"/>
                  </a:lnTo>
                  <a:lnTo>
                    <a:pt x="190" y="47"/>
                  </a:lnTo>
                  <a:lnTo>
                    <a:pt x="189" y="47"/>
                  </a:lnTo>
                  <a:lnTo>
                    <a:pt x="189" y="49"/>
                  </a:lnTo>
                  <a:lnTo>
                    <a:pt x="185" y="49"/>
                  </a:lnTo>
                  <a:lnTo>
                    <a:pt x="189" y="49"/>
                  </a:lnTo>
                  <a:lnTo>
                    <a:pt x="189" y="51"/>
                  </a:lnTo>
                  <a:lnTo>
                    <a:pt x="187" y="52"/>
                  </a:lnTo>
                  <a:lnTo>
                    <a:pt x="189" y="52"/>
                  </a:lnTo>
                  <a:lnTo>
                    <a:pt x="189" y="49"/>
                  </a:lnTo>
                  <a:lnTo>
                    <a:pt x="190" y="49"/>
                  </a:lnTo>
                  <a:lnTo>
                    <a:pt x="190" y="46"/>
                  </a:lnTo>
                  <a:lnTo>
                    <a:pt x="194" y="46"/>
                  </a:lnTo>
                  <a:lnTo>
                    <a:pt x="195" y="44"/>
                  </a:lnTo>
                  <a:lnTo>
                    <a:pt x="197" y="46"/>
                  </a:lnTo>
                  <a:lnTo>
                    <a:pt x="199" y="46"/>
                  </a:lnTo>
                  <a:lnTo>
                    <a:pt x="201" y="47"/>
                  </a:lnTo>
                  <a:lnTo>
                    <a:pt x="204" y="49"/>
                  </a:lnTo>
                  <a:lnTo>
                    <a:pt x="206" y="49"/>
                  </a:lnTo>
                  <a:lnTo>
                    <a:pt x="207" y="51"/>
                  </a:lnTo>
                  <a:lnTo>
                    <a:pt x="209" y="52"/>
                  </a:lnTo>
                  <a:lnTo>
                    <a:pt x="211" y="54"/>
                  </a:lnTo>
                  <a:lnTo>
                    <a:pt x="212" y="54"/>
                  </a:lnTo>
                  <a:lnTo>
                    <a:pt x="214" y="52"/>
                  </a:lnTo>
                  <a:lnTo>
                    <a:pt x="216" y="51"/>
                  </a:lnTo>
                  <a:lnTo>
                    <a:pt x="218" y="49"/>
                  </a:lnTo>
                  <a:lnTo>
                    <a:pt x="219" y="47"/>
                  </a:lnTo>
                  <a:lnTo>
                    <a:pt x="221" y="47"/>
                  </a:lnTo>
                  <a:lnTo>
                    <a:pt x="223" y="47"/>
                  </a:lnTo>
                  <a:lnTo>
                    <a:pt x="221" y="49"/>
                  </a:lnTo>
                  <a:lnTo>
                    <a:pt x="223" y="49"/>
                  </a:lnTo>
                  <a:lnTo>
                    <a:pt x="226" y="49"/>
                  </a:lnTo>
                  <a:lnTo>
                    <a:pt x="226" y="47"/>
                  </a:lnTo>
                  <a:lnTo>
                    <a:pt x="228" y="47"/>
                  </a:lnTo>
                  <a:lnTo>
                    <a:pt x="228" y="49"/>
                  </a:lnTo>
                  <a:lnTo>
                    <a:pt x="224" y="51"/>
                  </a:lnTo>
                  <a:lnTo>
                    <a:pt x="226" y="51"/>
                  </a:lnTo>
                  <a:lnTo>
                    <a:pt x="226" y="52"/>
                  </a:lnTo>
                  <a:lnTo>
                    <a:pt x="226" y="54"/>
                  </a:lnTo>
                  <a:lnTo>
                    <a:pt x="226" y="58"/>
                  </a:lnTo>
                  <a:lnTo>
                    <a:pt x="226" y="59"/>
                  </a:lnTo>
                  <a:lnTo>
                    <a:pt x="226" y="61"/>
                  </a:lnTo>
                  <a:lnTo>
                    <a:pt x="224" y="63"/>
                  </a:lnTo>
                  <a:lnTo>
                    <a:pt x="223" y="64"/>
                  </a:lnTo>
                  <a:lnTo>
                    <a:pt x="221" y="64"/>
                  </a:lnTo>
                  <a:lnTo>
                    <a:pt x="219" y="66"/>
                  </a:lnTo>
                  <a:lnTo>
                    <a:pt x="218" y="68"/>
                  </a:lnTo>
                  <a:lnTo>
                    <a:pt x="218" y="69"/>
                  </a:lnTo>
                  <a:lnTo>
                    <a:pt x="216" y="68"/>
                  </a:lnTo>
                  <a:lnTo>
                    <a:pt x="214" y="68"/>
                  </a:lnTo>
                  <a:lnTo>
                    <a:pt x="214" y="69"/>
                  </a:lnTo>
                  <a:lnTo>
                    <a:pt x="212" y="71"/>
                  </a:lnTo>
                  <a:lnTo>
                    <a:pt x="212" y="73"/>
                  </a:lnTo>
                  <a:lnTo>
                    <a:pt x="214" y="75"/>
                  </a:lnTo>
                  <a:lnTo>
                    <a:pt x="218" y="75"/>
                  </a:lnTo>
                  <a:lnTo>
                    <a:pt x="218" y="78"/>
                  </a:lnTo>
                  <a:lnTo>
                    <a:pt x="218" y="80"/>
                  </a:lnTo>
                  <a:lnTo>
                    <a:pt x="216" y="81"/>
                  </a:lnTo>
                  <a:lnTo>
                    <a:pt x="212" y="81"/>
                  </a:lnTo>
                  <a:lnTo>
                    <a:pt x="214" y="83"/>
                  </a:lnTo>
                  <a:lnTo>
                    <a:pt x="216" y="81"/>
                  </a:lnTo>
                  <a:lnTo>
                    <a:pt x="218" y="80"/>
                  </a:lnTo>
                  <a:lnTo>
                    <a:pt x="219" y="81"/>
                  </a:lnTo>
                  <a:lnTo>
                    <a:pt x="221" y="81"/>
                  </a:lnTo>
                  <a:lnTo>
                    <a:pt x="219" y="80"/>
                  </a:lnTo>
                  <a:lnTo>
                    <a:pt x="219" y="78"/>
                  </a:lnTo>
                  <a:lnTo>
                    <a:pt x="218" y="80"/>
                  </a:lnTo>
                  <a:lnTo>
                    <a:pt x="218" y="78"/>
                  </a:lnTo>
                  <a:lnTo>
                    <a:pt x="219" y="78"/>
                  </a:lnTo>
                  <a:lnTo>
                    <a:pt x="223" y="76"/>
                  </a:lnTo>
                  <a:lnTo>
                    <a:pt x="224" y="75"/>
                  </a:lnTo>
                  <a:lnTo>
                    <a:pt x="226" y="73"/>
                  </a:lnTo>
                  <a:lnTo>
                    <a:pt x="229" y="75"/>
                  </a:lnTo>
                  <a:lnTo>
                    <a:pt x="229" y="73"/>
                  </a:lnTo>
                  <a:lnTo>
                    <a:pt x="231" y="76"/>
                  </a:lnTo>
                  <a:lnTo>
                    <a:pt x="233" y="76"/>
                  </a:lnTo>
                  <a:lnTo>
                    <a:pt x="233" y="78"/>
                  </a:lnTo>
                  <a:lnTo>
                    <a:pt x="233" y="80"/>
                  </a:lnTo>
                  <a:lnTo>
                    <a:pt x="235" y="80"/>
                  </a:lnTo>
                  <a:lnTo>
                    <a:pt x="236" y="78"/>
                  </a:lnTo>
                  <a:lnTo>
                    <a:pt x="238" y="80"/>
                  </a:lnTo>
                  <a:lnTo>
                    <a:pt x="240" y="80"/>
                  </a:lnTo>
                  <a:lnTo>
                    <a:pt x="241" y="81"/>
                  </a:lnTo>
                  <a:lnTo>
                    <a:pt x="243" y="80"/>
                  </a:lnTo>
                  <a:lnTo>
                    <a:pt x="241" y="76"/>
                  </a:lnTo>
                  <a:lnTo>
                    <a:pt x="243" y="76"/>
                  </a:lnTo>
                  <a:lnTo>
                    <a:pt x="243" y="75"/>
                  </a:lnTo>
                  <a:lnTo>
                    <a:pt x="245" y="73"/>
                  </a:lnTo>
                  <a:lnTo>
                    <a:pt x="246" y="73"/>
                  </a:lnTo>
                  <a:lnTo>
                    <a:pt x="246" y="69"/>
                  </a:lnTo>
                  <a:lnTo>
                    <a:pt x="248" y="69"/>
                  </a:lnTo>
                  <a:lnTo>
                    <a:pt x="248" y="68"/>
                  </a:lnTo>
                  <a:lnTo>
                    <a:pt x="245" y="69"/>
                  </a:lnTo>
                  <a:lnTo>
                    <a:pt x="245" y="71"/>
                  </a:lnTo>
                  <a:lnTo>
                    <a:pt x="245" y="69"/>
                  </a:lnTo>
                  <a:lnTo>
                    <a:pt x="245" y="68"/>
                  </a:lnTo>
                  <a:lnTo>
                    <a:pt x="248" y="66"/>
                  </a:lnTo>
                  <a:lnTo>
                    <a:pt x="250" y="64"/>
                  </a:lnTo>
                  <a:lnTo>
                    <a:pt x="250" y="63"/>
                  </a:lnTo>
                  <a:lnTo>
                    <a:pt x="253" y="63"/>
                  </a:lnTo>
                  <a:lnTo>
                    <a:pt x="255" y="64"/>
                  </a:lnTo>
                  <a:lnTo>
                    <a:pt x="257" y="64"/>
                  </a:lnTo>
                  <a:lnTo>
                    <a:pt x="258" y="63"/>
                  </a:lnTo>
                  <a:lnTo>
                    <a:pt x="262" y="63"/>
                  </a:lnTo>
                  <a:lnTo>
                    <a:pt x="263" y="61"/>
                  </a:lnTo>
                  <a:lnTo>
                    <a:pt x="267" y="61"/>
                  </a:lnTo>
                  <a:lnTo>
                    <a:pt x="267" y="63"/>
                  </a:lnTo>
                  <a:lnTo>
                    <a:pt x="267" y="64"/>
                  </a:lnTo>
                  <a:lnTo>
                    <a:pt x="267" y="66"/>
                  </a:lnTo>
                  <a:lnTo>
                    <a:pt x="269" y="68"/>
                  </a:lnTo>
                  <a:lnTo>
                    <a:pt x="270" y="68"/>
                  </a:lnTo>
                  <a:lnTo>
                    <a:pt x="267" y="66"/>
                  </a:lnTo>
                  <a:lnTo>
                    <a:pt x="267" y="63"/>
                  </a:lnTo>
                  <a:lnTo>
                    <a:pt x="269" y="63"/>
                  </a:lnTo>
                  <a:lnTo>
                    <a:pt x="269" y="61"/>
                  </a:lnTo>
                  <a:lnTo>
                    <a:pt x="267" y="63"/>
                  </a:lnTo>
                  <a:lnTo>
                    <a:pt x="267" y="61"/>
                  </a:lnTo>
                  <a:lnTo>
                    <a:pt x="269" y="61"/>
                  </a:lnTo>
                  <a:lnTo>
                    <a:pt x="270" y="59"/>
                  </a:lnTo>
                  <a:lnTo>
                    <a:pt x="270" y="58"/>
                  </a:lnTo>
                  <a:lnTo>
                    <a:pt x="272" y="58"/>
                  </a:lnTo>
                  <a:lnTo>
                    <a:pt x="272" y="56"/>
                  </a:lnTo>
                  <a:lnTo>
                    <a:pt x="274" y="56"/>
                  </a:lnTo>
                  <a:lnTo>
                    <a:pt x="275" y="54"/>
                  </a:lnTo>
                  <a:lnTo>
                    <a:pt x="277" y="52"/>
                  </a:lnTo>
                  <a:lnTo>
                    <a:pt x="279" y="51"/>
                  </a:lnTo>
                  <a:lnTo>
                    <a:pt x="279" y="49"/>
                  </a:lnTo>
                  <a:lnTo>
                    <a:pt x="279" y="47"/>
                  </a:lnTo>
                  <a:lnTo>
                    <a:pt x="280" y="46"/>
                  </a:lnTo>
                  <a:lnTo>
                    <a:pt x="282" y="44"/>
                  </a:lnTo>
                  <a:lnTo>
                    <a:pt x="282" y="42"/>
                  </a:lnTo>
                  <a:lnTo>
                    <a:pt x="284" y="41"/>
                  </a:lnTo>
                  <a:lnTo>
                    <a:pt x="284" y="39"/>
                  </a:lnTo>
                  <a:lnTo>
                    <a:pt x="284" y="41"/>
                  </a:lnTo>
                  <a:lnTo>
                    <a:pt x="286" y="41"/>
                  </a:lnTo>
                  <a:lnTo>
                    <a:pt x="287" y="42"/>
                  </a:lnTo>
                  <a:lnTo>
                    <a:pt x="289" y="42"/>
                  </a:lnTo>
                  <a:lnTo>
                    <a:pt x="291" y="42"/>
                  </a:lnTo>
                  <a:lnTo>
                    <a:pt x="292" y="42"/>
                  </a:lnTo>
                  <a:lnTo>
                    <a:pt x="294" y="42"/>
                  </a:lnTo>
                  <a:lnTo>
                    <a:pt x="296" y="42"/>
                  </a:lnTo>
                  <a:lnTo>
                    <a:pt x="297" y="42"/>
                  </a:lnTo>
                  <a:lnTo>
                    <a:pt x="299" y="42"/>
                  </a:lnTo>
                  <a:lnTo>
                    <a:pt x="301" y="42"/>
                  </a:lnTo>
                  <a:lnTo>
                    <a:pt x="303" y="42"/>
                  </a:lnTo>
                  <a:lnTo>
                    <a:pt x="301" y="42"/>
                  </a:lnTo>
                  <a:lnTo>
                    <a:pt x="301" y="44"/>
                  </a:lnTo>
                  <a:lnTo>
                    <a:pt x="299" y="44"/>
                  </a:lnTo>
                  <a:lnTo>
                    <a:pt x="297" y="44"/>
                  </a:lnTo>
                  <a:lnTo>
                    <a:pt x="296" y="44"/>
                  </a:lnTo>
                  <a:lnTo>
                    <a:pt x="292" y="44"/>
                  </a:lnTo>
                  <a:lnTo>
                    <a:pt x="292" y="42"/>
                  </a:lnTo>
                  <a:lnTo>
                    <a:pt x="291" y="42"/>
                  </a:lnTo>
                  <a:lnTo>
                    <a:pt x="291" y="44"/>
                  </a:lnTo>
                  <a:lnTo>
                    <a:pt x="289" y="44"/>
                  </a:lnTo>
                  <a:lnTo>
                    <a:pt x="287" y="46"/>
                  </a:lnTo>
                  <a:lnTo>
                    <a:pt x="286" y="46"/>
                  </a:lnTo>
                  <a:lnTo>
                    <a:pt x="284" y="47"/>
                  </a:lnTo>
                  <a:lnTo>
                    <a:pt x="284" y="46"/>
                  </a:lnTo>
                  <a:lnTo>
                    <a:pt x="280" y="47"/>
                  </a:lnTo>
                  <a:lnTo>
                    <a:pt x="280" y="49"/>
                  </a:lnTo>
                  <a:lnTo>
                    <a:pt x="279" y="49"/>
                  </a:lnTo>
                  <a:lnTo>
                    <a:pt x="279" y="51"/>
                  </a:lnTo>
                  <a:lnTo>
                    <a:pt x="277" y="52"/>
                  </a:lnTo>
                  <a:lnTo>
                    <a:pt x="279" y="54"/>
                  </a:lnTo>
                  <a:lnTo>
                    <a:pt x="280" y="56"/>
                  </a:lnTo>
                  <a:lnTo>
                    <a:pt x="282" y="56"/>
                  </a:lnTo>
                  <a:lnTo>
                    <a:pt x="280" y="56"/>
                  </a:lnTo>
                  <a:lnTo>
                    <a:pt x="280" y="54"/>
                  </a:lnTo>
                  <a:lnTo>
                    <a:pt x="280" y="52"/>
                  </a:lnTo>
                  <a:lnTo>
                    <a:pt x="282" y="52"/>
                  </a:lnTo>
                  <a:lnTo>
                    <a:pt x="282" y="51"/>
                  </a:lnTo>
                  <a:lnTo>
                    <a:pt x="286" y="49"/>
                  </a:lnTo>
                  <a:lnTo>
                    <a:pt x="286" y="47"/>
                  </a:lnTo>
                  <a:lnTo>
                    <a:pt x="287" y="47"/>
                  </a:lnTo>
                  <a:lnTo>
                    <a:pt x="289" y="47"/>
                  </a:lnTo>
                  <a:lnTo>
                    <a:pt x="291" y="46"/>
                  </a:lnTo>
                  <a:lnTo>
                    <a:pt x="291" y="44"/>
                  </a:lnTo>
                  <a:lnTo>
                    <a:pt x="292" y="44"/>
                  </a:lnTo>
                  <a:lnTo>
                    <a:pt x="291" y="47"/>
                  </a:lnTo>
                  <a:lnTo>
                    <a:pt x="291" y="46"/>
                  </a:lnTo>
                  <a:lnTo>
                    <a:pt x="292" y="47"/>
                  </a:lnTo>
                  <a:lnTo>
                    <a:pt x="294" y="46"/>
                  </a:lnTo>
                  <a:lnTo>
                    <a:pt x="294" y="47"/>
                  </a:lnTo>
                  <a:lnTo>
                    <a:pt x="296" y="46"/>
                  </a:lnTo>
                  <a:lnTo>
                    <a:pt x="296" y="49"/>
                  </a:lnTo>
                  <a:lnTo>
                    <a:pt x="299" y="47"/>
                  </a:lnTo>
                  <a:lnTo>
                    <a:pt x="299" y="44"/>
                  </a:lnTo>
                  <a:lnTo>
                    <a:pt x="303" y="42"/>
                  </a:lnTo>
                  <a:lnTo>
                    <a:pt x="304" y="42"/>
                  </a:lnTo>
                  <a:lnTo>
                    <a:pt x="304" y="44"/>
                  </a:lnTo>
                  <a:lnTo>
                    <a:pt x="308" y="46"/>
                  </a:lnTo>
                  <a:lnTo>
                    <a:pt x="308" y="47"/>
                  </a:lnTo>
                  <a:lnTo>
                    <a:pt x="308" y="51"/>
                  </a:lnTo>
                  <a:lnTo>
                    <a:pt x="308" y="52"/>
                  </a:lnTo>
                  <a:lnTo>
                    <a:pt x="311" y="52"/>
                  </a:lnTo>
                  <a:lnTo>
                    <a:pt x="309" y="54"/>
                  </a:lnTo>
                  <a:lnTo>
                    <a:pt x="311" y="54"/>
                  </a:lnTo>
                  <a:lnTo>
                    <a:pt x="313" y="56"/>
                  </a:lnTo>
                  <a:lnTo>
                    <a:pt x="316" y="56"/>
                  </a:lnTo>
                  <a:lnTo>
                    <a:pt x="316" y="58"/>
                  </a:lnTo>
                  <a:lnTo>
                    <a:pt x="318" y="59"/>
                  </a:lnTo>
                  <a:lnTo>
                    <a:pt x="320" y="59"/>
                  </a:lnTo>
                  <a:lnTo>
                    <a:pt x="318" y="61"/>
                  </a:lnTo>
                  <a:lnTo>
                    <a:pt x="320" y="59"/>
                  </a:lnTo>
                  <a:lnTo>
                    <a:pt x="321" y="59"/>
                  </a:lnTo>
                  <a:lnTo>
                    <a:pt x="320" y="61"/>
                  </a:lnTo>
                  <a:lnTo>
                    <a:pt x="321" y="61"/>
                  </a:lnTo>
                  <a:lnTo>
                    <a:pt x="321" y="63"/>
                  </a:lnTo>
                  <a:lnTo>
                    <a:pt x="323" y="64"/>
                  </a:lnTo>
                  <a:lnTo>
                    <a:pt x="323" y="66"/>
                  </a:lnTo>
                  <a:lnTo>
                    <a:pt x="325" y="66"/>
                  </a:lnTo>
                  <a:lnTo>
                    <a:pt x="325" y="63"/>
                  </a:lnTo>
                  <a:lnTo>
                    <a:pt x="326" y="63"/>
                  </a:lnTo>
                  <a:lnTo>
                    <a:pt x="328" y="63"/>
                  </a:lnTo>
                  <a:lnTo>
                    <a:pt x="330" y="61"/>
                  </a:lnTo>
                  <a:lnTo>
                    <a:pt x="331" y="61"/>
                  </a:lnTo>
                  <a:lnTo>
                    <a:pt x="333" y="59"/>
                  </a:lnTo>
                  <a:lnTo>
                    <a:pt x="333" y="61"/>
                  </a:lnTo>
                  <a:lnTo>
                    <a:pt x="335" y="61"/>
                  </a:lnTo>
                  <a:lnTo>
                    <a:pt x="337" y="63"/>
                  </a:lnTo>
                  <a:lnTo>
                    <a:pt x="338" y="64"/>
                  </a:lnTo>
                  <a:lnTo>
                    <a:pt x="337" y="66"/>
                  </a:lnTo>
                  <a:lnTo>
                    <a:pt x="337" y="68"/>
                  </a:lnTo>
                  <a:lnTo>
                    <a:pt x="335" y="69"/>
                  </a:lnTo>
                  <a:lnTo>
                    <a:pt x="338" y="71"/>
                  </a:lnTo>
                  <a:lnTo>
                    <a:pt x="340" y="71"/>
                  </a:lnTo>
                  <a:lnTo>
                    <a:pt x="340" y="75"/>
                  </a:lnTo>
                  <a:lnTo>
                    <a:pt x="342" y="75"/>
                  </a:lnTo>
                  <a:lnTo>
                    <a:pt x="343" y="76"/>
                  </a:lnTo>
                  <a:lnTo>
                    <a:pt x="340" y="78"/>
                  </a:lnTo>
                  <a:lnTo>
                    <a:pt x="340" y="80"/>
                  </a:lnTo>
                  <a:lnTo>
                    <a:pt x="338" y="81"/>
                  </a:lnTo>
                  <a:lnTo>
                    <a:pt x="340" y="81"/>
                  </a:lnTo>
                  <a:lnTo>
                    <a:pt x="342" y="83"/>
                  </a:lnTo>
                  <a:lnTo>
                    <a:pt x="342" y="85"/>
                  </a:lnTo>
                  <a:lnTo>
                    <a:pt x="343" y="85"/>
                  </a:lnTo>
                  <a:lnTo>
                    <a:pt x="345" y="86"/>
                  </a:lnTo>
                  <a:lnTo>
                    <a:pt x="347" y="86"/>
                  </a:lnTo>
                  <a:lnTo>
                    <a:pt x="348" y="88"/>
                  </a:lnTo>
                  <a:lnTo>
                    <a:pt x="350" y="88"/>
                  </a:lnTo>
                  <a:lnTo>
                    <a:pt x="352" y="88"/>
                  </a:lnTo>
                  <a:lnTo>
                    <a:pt x="354" y="88"/>
                  </a:lnTo>
                  <a:lnTo>
                    <a:pt x="355" y="88"/>
                  </a:lnTo>
                  <a:lnTo>
                    <a:pt x="357" y="86"/>
                  </a:lnTo>
                  <a:lnTo>
                    <a:pt x="359" y="88"/>
                  </a:lnTo>
                  <a:lnTo>
                    <a:pt x="357" y="90"/>
                  </a:lnTo>
                  <a:lnTo>
                    <a:pt x="355" y="90"/>
                  </a:lnTo>
                  <a:lnTo>
                    <a:pt x="359" y="92"/>
                  </a:lnTo>
                  <a:lnTo>
                    <a:pt x="359" y="93"/>
                  </a:lnTo>
                  <a:lnTo>
                    <a:pt x="359" y="95"/>
                  </a:lnTo>
                  <a:lnTo>
                    <a:pt x="360" y="97"/>
                  </a:lnTo>
                  <a:lnTo>
                    <a:pt x="360" y="98"/>
                  </a:lnTo>
                  <a:lnTo>
                    <a:pt x="360" y="100"/>
                  </a:lnTo>
                  <a:lnTo>
                    <a:pt x="360" y="102"/>
                  </a:lnTo>
                  <a:lnTo>
                    <a:pt x="362" y="104"/>
                  </a:lnTo>
                  <a:lnTo>
                    <a:pt x="362" y="105"/>
                  </a:lnTo>
                  <a:lnTo>
                    <a:pt x="362" y="107"/>
                  </a:lnTo>
                  <a:lnTo>
                    <a:pt x="364" y="107"/>
                  </a:lnTo>
                  <a:lnTo>
                    <a:pt x="364" y="109"/>
                  </a:lnTo>
                  <a:lnTo>
                    <a:pt x="364" y="110"/>
                  </a:lnTo>
                  <a:lnTo>
                    <a:pt x="365" y="114"/>
                  </a:lnTo>
                  <a:lnTo>
                    <a:pt x="365" y="115"/>
                  </a:lnTo>
                  <a:lnTo>
                    <a:pt x="365" y="117"/>
                  </a:lnTo>
                  <a:lnTo>
                    <a:pt x="365" y="121"/>
                  </a:lnTo>
                  <a:lnTo>
                    <a:pt x="367" y="121"/>
                  </a:lnTo>
                  <a:lnTo>
                    <a:pt x="367" y="122"/>
                  </a:lnTo>
                  <a:lnTo>
                    <a:pt x="365" y="124"/>
                  </a:lnTo>
                  <a:lnTo>
                    <a:pt x="365" y="126"/>
                  </a:lnTo>
                  <a:lnTo>
                    <a:pt x="364" y="127"/>
                  </a:lnTo>
                  <a:lnTo>
                    <a:pt x="365" y="129"/>
                  </a:lnTo>
                  <a:lnTo>
                    <a:pt x="365" y="132"/>
                  </a:lnTo>
                  <a:lnTo>
                    <a:pt x="365" y="134"/>
                  </a:lnTo>
                  <a:lnTo>
                    <a:pt x="364" y="136"/>
                  </a:lnTo>
                  <a:lnTo>
                    <a:pt x="362" y="138"/>
                  </a:lnTo>
                  <a:lnTo>
                    <a:pt x="360" y="139"/>
                  </a:lnTo>
                  <a:lnTo>
                    <a:pt x="360" y="141"/>
                  </a:lnTo>
                  <a:lnTo>
                    <a:pt x="357" y="141"/>
                  </a:lnTo>
                  <a:lnTo>
                    <a:pt x="355" y="143"/>
                  </a:lnTo>
                  <a:lnTo>
                    <a:pt x="355" y="144"/>
                  </a:lnTo>
                  <a:lnTo>
                    <a:pt x="357" y="146"/>
                  </a:lnTo>
                  <a:lnTo>
                    <a:pt x="357" y="148"/>
                  </a:lnTo>
                  <a:lnTo>
                    <a:pt x="357" y="149"/>
                  </a:lnTo>
                  <a:lnTo>
                    <a:pt x="355" y="151"/>
                  </a:lnTo>
                  <a:lnTo>
                    <a:pt x="357" y="153"/>
                  </a:lnTo>
                  <a:lnTo>
                    <a:pt x="359" y="153"/>
                  </a:lnTo>
                  <a:lnTo>
                    <a:pt x="360" y="153"/>
                  </a:lnTo>
                  <a:lnTo>
                    <a:pt x="362" y="155"/>
                  </a:lnTo>
                  <a:lnTo>
                    <a:pt x="364" y="156"/>
                  </a:lnTo>
                  <a:lnTo>
                    <a:pt x="365" y="156"/>
                  </a:lnTo>
                  <a:lnTo>
                    <a:pt x="365" y="158"/>
                  </a:lnTo>
                  <a:lnTo>
                    <a:pt x="367" y="158"/>
                  </a:lnTo>
                  <a:lnTo>
                    <a:pt x="369" y="160"/>
                  </a:lnTo>
                  <a:lnTo>
                    <a:pt x="369" y="161"/>
                  </a:lnTo>
                  <a:lnTo>
                    <a:pt x="371" y="161"/>
                  </a:lnTo>
                  <a:lnTo>
                    <a:pt x="371" y="163"/>
                  </a:lnTo>
                  <a:lnTo>
                    <a:pt x="372" y="165"/>
                  </a:lnTo>
                  <a:lnTo>
                    <a:pt x="376" y="165"/>
                  </a:lnTo>
                  <a:lnTo>
                    <a:pt x="377" y="166"/>
                  </a:lnTo>
                  <a:lnTo>
                    <a:pt x="377" y="168"/>
                  </a:lnTo>
                  <a:lnTo>
                    <a:pt x="379" y="168"/>
                  </a:lnTo>
                  <a:lnTo>
                    <a:pt x="377" y="170"/>
                  </a:lnTo>
                  <a:lnTo>
                    <a:pt x="377" y="172"/>
                  </a:lnTo>
                  <a:lnTo>
                    <a:pt x="379" y="173"/>
                  </a:lnTo>
                  <a:lnTo>
                    <a:pt x="377" y="177"/>
                  </a:lnTo>
                  <a:lnTo>
                    <a:pt x="377" y="178"/>
                  </a:lnTo>
                  <a:lnTo>
                    <a:pt x="376" y="178"/>
                  </a:lnTo>
                  <a:lnTo>
                    <a:pt x="376" y="182"/>
                  </a:lnTo>
                  <a:lnTo>
                    <a:pt x="376" y="183"/>
                  </a:lnTo>
                  <a:lnTo>
                    <a:pt x="376" y="185"/>
                  </a:lnTo>
                  <a:lnTo>
                    <a:pt x="377" y="187"/>
                  </a:lnTo>
                  <a:lnTo>
                    <a:pt x="377" y="189"/>
                  </a:lnTo>
                  <a:lnTo>
                    <a:pt x="377" y="190"/>
                  </a:lnTo>
                  <a:lnTo>
                    <a:pt x="379" y="190"/>
                  </a:lnTo>
                  <a:lnTo>
                    <a:pt x="381" y="190"/>
                  </a:lnTo>
                  <a:lnTo>
                    <a:pt x="382" y="190"/>
                  </a:lnTo>
                  <a:lnTo>
                    <a:pt x="382" y="192"/>
                  </a:lnTo>
                  <a:lnTo>
                    <a:pt x="382" y="194"/>
                  </a:lnTo>
                  <a:lnTo>
                    <a:pt x="382" y="195"/>
                  </a:lnTo>
                  <a:lnTo>
                    <a:pt x="382" y="197"/>
                  </a:lnTo>
                  <a:lnTo>
                    <a:pt x="382" y="199"/>
                  </a:lnTo>
                  <a:lnTo>
                    <a:pt x="382" y="200"/>
                  </a:lnTo>
                  <a:lnTo>
                    <a:pt x="382" y="202"/>
                  </a:lnTo>
                  <a:lnTo>
                    <a:pt x="386" y="202"/>
                  </a:lnTo>
                  <a:lnTo>
                    <a:pt x="386" y="204"/>
                  </a:lnTo>
                  <a:lnTo>
                    <a:pt x="386" y="206"/>
                  </a:lnTo>
                  <a:lnTo>
                    <a:pt x="384" y="207"/>
                  </a:lnTo>
                  <a:lnTo>
                    <a:pt x="384" y="211"/>
                  </a:lnTo>
                  <a:lnTo>
                    <a:pt x="384" y="212"/>
                  </a:lnTo>
                  <a:lnTo>
                    <a:pt x="384" y="216"/>
                  </a:lnTo>
                  <a:lnTo>
                    <a:pt x="382" y="216"/>
                  </a:lnTo>
                  <a:lnTo>
                    <a:pt x="382" y="217"/>
                  </a:lnTo>
                  <a:lnTo>
                    <a:pt x="381" y="219"/>
                  </a:lnTo>
                  <a:lnTo>
                    <a:pt x="379" y="221"/>
                  </a:lnTo>
                  <a:lnTo>
                    <a:pt x="382" y="223"/>
                  </a:lnTo>
                  <a:lnTo>
                    <a:pt x="382" y="226"/>
                  </a:lnTo>
                  <a:lnTo>
                    <a:pt x="384" y="228"/>
                  </a:lnTo>
                  <a:lnTo>
                    <a:pt x="384" y="229"/>
                  </a:lnTo>
                  <a:lnTo>
                    <a:pt x="386" y="229"/>
                  </a:lnTo>
                  <a:lnTo>
                    <a:pt x="388" y="231"/>
                  </a:lnTo>
                  <a:lnTo>
                    <a:pt x="388" y="234"/>
                  </a:lnTo>
                  <a:lnTo>
                    <a:pt x="388" y="236"/>
                  </a:lnTo>
                  <a:lnTo>
                    <a:pt x="386" y="238"/>
                  </a:lnTo>
                  <a:lnTo>
                    <a:pt x="388" y="241"/>
                  </a:lnTo>
                  <a:lnTo>
                    <a:pt x="389" y="241"/>
                  </a:lnTo>
                  <a:lnTo>
                    <a:pt x="393" y="243"/>
                  </a:lnTo>
                  <a:lnTo>
                    <a:pt x="396" y="243"/>
                  </a:lnTo>
                  <a:lnTo>
                    <a:pt x="398" y="245"/>
                  </a:lnTo>
                  <a:lnTo>
                    <a:pt x="398" y="246"/>
                  </a:lnTo>
                  <a:lnTo>
                    <a:pt x="398" y="250"/>
                  </a:lnTo>
                  <a:lnTo>
                    <a:pt x="399" y="251"/>
                  </a:lnTo>
                  <a:lnTo>
                    <a:pt x="398" y="251"/>
                  </a:lnTo>
                  <a:lnTo>
                    <a:pt x="399" y="255"/>
                  </a:lnTo>
                  <a:lnTo>
                    <a:pt x="401" y="257"/>
                  </a:lnTo>
                  <a:lnTo>
                    <a:pt x="401" y="258"/>
                  </a:lnTo>
                  <a:lnTo>
                    <a:pt x="401" y="260"/>
                  </a:lnTo>
                  <a:lnTo>
                    <a:pt x="401" y="262"/>
                  </a:lnTo>
                  <a:lnTo>
                    <a:pt x="401" y="263"/>
                  </a:lnTo>
                  <a:lnTo>
                    <a:pt x="401" y="265"/>
                  </a:lnTo>
                  <a:lnTo>
                    <a:pt x="401" y="269"/>
                  </a:lnTo>
                  <a:lnTo>
                    <a:pt x="399" y="269"/>
                  </a:lnTo>
                  <a:lnTo>
                    <a:pt x="399" y="272"/>
                  </a:lnTo>
                  <a:lnTo>
                    <a:pt x="399" y="274"/>
                  </a:lnTo>
                  <a:lnTo>
                    <a:pt x="399" y="275"/>
                  </a:lnTo>
                  <a:lnTo>
                    <a:pt x="398" y="277"/>
                  </a:lnTo>
                  <a:lnTo>
                    <a:pt x="398" y="279"/>
                  </a:lnTo>
                  <a:lnTo>
                    <a:pt x="398" y="282"/>
                  </a:lnTo>
                  <a:lnTo>
                    <a:pt x="396" y="282"/>
                  </a:lnTo>
                  <a:lnTo>
                    <a:pt x="396" y="284"/>
                  </a:lnTo>
                  <a:lnTo>
                    <a:pt x="394" y="286"/>
                  </a:lnTo>
                  <a:lnTo>
                    <a:pt x="394" y="287"/>
                  </a:lnTo>
                  <a:lnTo>
                    <a:pt x="394" y="289"/>
                  </a:lnTo>
                  <a:lnTo>
                    <a:pt x="393" y="291"/>
                  </a:lnTo>
                  <a:lnTo>
                    <a:pt x="389" y="291"/>
                  </a:lnTo>
                  <a:lnTo>
                    <a:pt x="389" y="289"/>
                  </a:lnTo>
                  <a:lnTo>
                    <a:pt x="388" y="289"/>
                  </a:lnTo>
                  <a:lnTo>
                    <a:pt x="386" y="289"/>
                  </a:lnTo>
                  <a:lnTo>
                    <a:pt x="386" y="286"/>
                  </a:lnTo>
                  <a:lnTo>
                    <a:pt x="386" y="284"/>
                  </a:lnTo>
                  <a:lnTo>
                    <a:pt x="386" y="282"/>
                  </a:lnTo>
                  <a:lnTo>
                    <a:pt x="384" y="284"/>
                  </a:lnTo>
                  <a:lnTo>
                    <a:pt x="382" y="284"/>
                  </a:lnTo>
                  <a:lnTo>
                    <a:pt x="384" y="282"/>
                  </a:lnTo>
                  <a:lnTo>
                    <a:pt x="384" y="280"/>
                  </a:lnTo>
                  <a:lnTo>
                    <a:pt x="382" y="277"/>
                  </a:lnTo>
                  <a:lnTo>
                    <a:pt x="381" y="279"/>
                  </a:lnTo>
                  <a:lnTo>
                    <a:pt x="379" y="277"/>
                  </a:lnTo>
                  <a:lnTo>
                    <a:pt x="379" y="275"/>
                  </a:lnTo>
                  <a:lnTo>
                    <a:pt x="379" y="277"/>
                  </a:lnTo>
                  <a:lnTo>
                    <a:pt x="377" y="277"/>
                  </a:lnTo>
                  <a:lnTo>
                    <a:pt x="376" y="277"/>
                  </a:lnTo>
                  <a:lnTo>
                    <a:pt x="374" y="277"/>
                  </a:lnTo>
                  <a:lnTo>
                    <a:pt x="372" y="277"/>
                  </a:lnTo>
                  <a:lnTo>
                    <a:pt x="371" y="275"/>
                  </a:lnTo>
                  <a:lnTo>
                    <a:pt x="369" y="277"/>
                  </a:lnTo>
                  <a:lnTo>
                    <a:pt x="371" y="277"/>
                  </a:lnTo>
                  <a:lnTo>
                    <a:pt x="369" y="280"/>
                  </a:lnTo>
                  <a:lnTo>
                    <a:pt x="371" y="280"/>
                  </a:lnTo>
                  <a:lnTo>
                    <a:pt x="372" y="280"/>
                  </a:lnTo>
                  <a:lnTo>
                    <a:pt x="371" y="282"/>
                  </a:lnTo>
                  <a:lnTo>
                    <a:pt x="374" y="284"/>
                  </a:lnTo>
                  <a:lnTo>
                    <a:pt x="374" y="282"/>
                  </a:lnTo>
                  <a:lnTo>
                    <a:pt x="376" y="284"/>
                  </a:lnTo>
                  <a:lnTo>
                    <a:pt x="376" y="286"/>
                  </a:lnTo>
                  <a:lnTo>
                    <a:pt x="374" y="286"/>
                  </a:lnTo>
                  <a:lnTo>
                    <a:pt x="371" y="287"/>
                  </a:lnTo>
                  <a:lnTo>
                    <a:pt x="369" y="287"/>
                  </a:lnTo>
                  <a:lnTo>
                    <a:pt x="367" y="289"/>
                  </a:lnTo>
                  <a:lnTo>
                    <a:pt x="365" y="291"/>
                  </a:lnTo>
                  <a:lnTo>
                    <a:pt x="364" y="291"/>
                  </a:lnTo>
                  <a:lnTo>
                    <a:pt x="362" y="292"/>
                  </a:lnTo>
                  <a:lnTo>
                    <a:pt x="360" y="294"/>
                  </a:lnTo>
                  <a:lnTo>
                    <a:pt x="357" y="292"/>
                  </a:lnTo>
                  <a:lnTo>
                    <a:pt x="355" y="294"/>
                  </a:lnTo>
                  <a:lnTo>
                    <a:pt x="354" y="294"/>
                  </a:lnTo>
                  <a:lnTo>
                    <a:pt x="354" y="296"/>
                  </a:lnTo>
                  <a:lnTo>
                    <a:pt x="354" y="297"/>
                  </a:lnTo>
                  <a:lnTo>
                    <a:pt x="352" y="297"/>
                  </a:lnTo>
                  <a:lnTo>
                    <a:pt x="352" y="299"/>
                  </a:lnTo>
                  <a:lnTo>
                    <a:pt x="350" y="299"/>
                  </a:lnTo>
                  <a:lnTo>
                    <a:pt x="348" y="299"/>
                  </a:lnTo>
                  <a:lnTo>
                    <a:pt x="347" y="299"/>
                  </a:lnTo>
                  <a:lnTo>
                    <a:pt x="345" y="301"/>
                  </a:lnTo>
                  <a:lnTo>
                    <a:pt x="343" y="299"/>
                  </a:lnTo>
                  <a:lnTo>
                    <a:pt x="342" y="301"/>
                  </a:lnTo>
                  <a:lnTo>
                    <a:pt x="338" y="301"/>
                  </a:lnTo>
                  <a:lnTo>
                    <a:pt x="338" y="303"/>
                  </a:lnTo>
                  <a:lnTo>
                    <a:pt x="337" y="304"/>
                  </a:lnTo>
                  <a:lnTo>
                    <a:pt x="338" y="306"/>
                  </a:lnTo>
                  <a:lnTo>
                    <a:pt x="337" y="306"/>
                  </a:lnTo>
                  <a:lnTo>
                    <a:pt x="335" y="309"/>
                  </a:lnTo>
                  <a:lnTo>
                    <a:pt x="333" y="308"/>
                  </a:lnTo>
                  <a:lnTo>
                    <a:pt x="331" y="306"/>
                  </a:lnTo>
                  <a:lnTo>
                    <a:pt x="331" y="308"/>
                  </a:lnTo>
                  <a:lnTo>
                    <a:pt x="330" y="309"/>
                  </a:lnTo>
                  <a:lnTo>
                    <a:pt x="330" y="311"/>
                  </a:lnTo>
                  <a:lnTo>
                    <a:pt x="328" y="311"/>
                  </a:lnTo>
                  <a:lnTo>
                    <a:pt x="328" y="309"/>
                  </a:lnTo>
                  <a:lnTo>
                    <a:pt x="326" y="309"/>
                  </a:lnTo>
                  <a:lnTo>
                    <a:pt x="325" y="313"/>
                  </a:lnTo>
                  <a:lnTo>
                    <a:pt x="323" y="316"/>
                  </a:lnTo>
                  <a:lnTo>
                    <a:pt x="321" y="316"/>
                  </a:lnTo>
                  <a:lnTo>
                    <a:pt x="320" y="316"/>
                  </a:lnTo>
                  <a:lnTo>
                    <a:pt x="316" y="316"/>
                  </a:lnTo>
                  <a:lnTo>
                    <a:pt x="316" y="320"/>
                  </a:lnTo>
                  <a:lnTo>
                    <a:pt x="316" y="321"/>
                  </a:lnTo>
                  <a:lnTo>
                    <a:pt x="314" y="323"/>
                  </a:lnTo>
                  <a:lnTo>
                    <a:pt x="313" y="323"/>
                  </a:lnTo>
                  <a:lnTo>
                    <a:pt x="311" y="323"/>
                  </a:lnTo>
                  <a:lnTo>
                    <a:pt x="311" y="321"/>
                  </a:lnTo>
                  <a:lnTo>
                    <a:pt x="308" y="321"/>
                  </a:lnTo>
                  <a:lnTo>
                    <a:pt x="308" y="320"/>
                  </a:lnTo>
                  <a:lnTo>
                    <a:pt x="306" y="321"/>
                  </a:lnTo>
                  <a:lnTo>
                    <a:pt x="304" y="323"/>
                  </a:lnTo>
                  <a:lnTo>
                    <a:pt x="303" y="325"/>
                  </a:lnTo>
                  <a:lnTo>
                    <a:pt x="301" y="323"/>
                  </a:lnTo>
                  <a:lnTo>
                    <a:pt x="297" y="323"/>
                  </a:lnTo>
                  <a:lnTo>
                    <a:pt x="297" y="325"/>
                  </a:lnTo>
                  <a:lnTo>
                    <a:pt x="296" y="325"/>
                  </a:lnTo>
                  <a:lnTo>
                    <a:pt x="294" y="325"/>
                  </a:lnTo>
                  <a:lnTo>
                    <a:pt x="292" y="326"/>
                  </a:lnTo>
                  <a:lnTo>
                    <a:pt x="292" y="328"/>
                  </a:lnTo>
                  <a:lnTo>
                    <a:pt x="291" y="330"/>
                  </a:lnTo>
                  <a:lnTo>
                    <a:pt x="289" y="330"/>
                  </a:lnTo>
                  <a:lnTo>
                    <a:pt x="289" y="333"/>
                  </a:lnTo>
                  <a:lnTo>
                    <a:pt x="287" y="333"/>
                  </a:lnTo>
                  <a:lnTo>
                    <a:pt x="287" y="337"/>
                  </a:lnTo>
                  <a:lnTo>
                    <a:pt x="286" y="337"/>
                  </a:lnTo>
                  <a:lnTo>
                    <a:pt x="286" y="338"/>
                  </a:lnTo>
                  <a:lnTo>
                    <a:pt x="286" y="340"/>
                  </a:lnTo>
                  <a:lnTo>
                    <a:pt x="286" y="342"/>
                  </a:lnTo>
                  <a:lnTo>
                    <a:pt x="284" y="340"/>
                  </a:lnTo>
                  <a:lnTo>
                    <a:pt x="284" y="338"/>
                  </a:lnTo>
                  <a:lnTo>
                    <a:pt x="282" y="337"/>
                  </a:lnTo>
                  <a:lnTo>
                    <a:pt x="282" y="335"/>
                  </a:lnTo>
                  <a:lnTo>
                    <a:pt x="280" y="335"/>
                  </a:lnTo>
                  <a:lnTo>
                    <a:pt x="280" y="331"/>
                  </a:lnTo>
                  <a:lnTo>
                    <a:pt x="279" y="331"/>
                  </a:lnTo>
                  <a:lnTo>
                    <a:pt x="277" y="331"/>
                  </a:lnTo>
                  <a:lnTo>
                    <a:pt x="275" y="331"/>
                  </a:lnTo>
                  <a:lnTo>
                    <a:pt x="277" y="331"/>
                  </a:lnTo>
                  <a:lnTo>
                    <a:pt x="277" y="333"/>
                  </a:lnTo>
                  <a:lnTo>
                    <a:pt x="275" y="337"/>
                  </a:lnTo>
                  <a:lnTo>
                    <a:pt x="277" y="337"/>
                  </a:lnTo>
                  <a:lnTo>
                    <a:pt x="279" y="338"/>
                  </a:lnTo>
                  <a:lnTo>
                    <a:pt x="280" y="340"/>
                  </a:lnTo>
                  <a:lnTo>
                    <a:pt x="280" y="342"/>
                  </a:lnTo>
                  <a:lnTo>
                    <a:pt x="280" y="343"/>
                  </a:lnTo>
                  <a:lnTo>
                    <a:pt x="280" y="345"/>
                  </a:lnTo>
                  <a:lnTo>
                    <a:pt x="282" y="347"/>
                  </a:lnTo>
                  <a:lnTo>
                    <a:pt x="284" y="348"/>
                  </a:lnTo>
                  <a:lnTo>
                    <a:pt x="286" y="348"/>
                  </a:lnTo>
                  <a:lnTo>
                    <a:pt x="286" y="350"/>
                  </a:lnTo>
                  <a:lnTo>
                    <a:pt x="287" y="350"/>
                  </a:lnTo>
                  <a:lnTo>
                    <a:pt x="287" y="352"/>
                  </a:lnTo>
                  <a:lnTo>
                    <a:pt x="291" y="352"/>
                  </a:lnTo>
                  <a:lnTo>
                    <a:pt x="291" y="354"/>
                  </a:lnTo>
                  <a:lnTo>
                    <a:pt x="292" y="354"/>
                  </a:lnTo>
                  <a:lnTo>
                    <a:pt x="294" y="354"/>
                  </a:lnTo>
                  <a:lnTo>
                    <a:pt x="292" y="357"/>
                  </a:lnTo>
                  <a:lnTo>
                    <a:pt x="294" y="357"/>
                  </a:lnTo>
                  <a:lnTo>
                    <a:pt x="296" y="359"/>
                  </a:lnTo>
                  <a:lnTo>
                    <a:pt x="296" y="360"/>
                  </a:lnTo>
                  <a:lnTo>
                    <a:pt x="296" y="362"/>
                  </a:lnTo>
                  <a:lnTo>
                    <a:pt x="294" y="362"/>
                  </a:lnTo>
                  <a:lnTo>
                    <a:pt x="294" y="364"/>
                  </a:lnTo>
                  <a:lnTo>
                    <a:pt x="292" y="365"/>
                  </a:lnTo>
                  <a:lnTo>
                    <a:pt x="294" y="367"/>
                  </a:lnTo>
                  <a:lnTo>
                    <a:pt x="292" y="367"/>
                  </a:lnTo>
                  <a:lnTo>
                    <a:pt x="291" y="369"/>
                  </a:lnTo>
                  <a:lnTo>
                    <a:pt x="291" y="371"/>
                  </a:lnTo>
                  <a:lnTo>
                    <a:pt x="292" y="374"/>
                  </a:lnTo>
                  <a:lnTo>
                    <a:pt x="294" y="374"/>
                  </a:lnTo>
                  <a:lnTo>
                    <a:pt x="296" y="374"/>
                  </a:lnTo>
                  <a:lnTo>
                    <a:pt x="296" y="377"/>
                  </a:lnTo>
                  <a:lnTo>
                    <a:pt x="296" y="379"/>
                  </a:lnTo>
                  <a:lnTo>
                    <a:pt x="297" y="379"/>
                  </a:lnTo>
                  <a:lnTo>
                    <a:pt x="299" y="381"/>
                  </a:lnTo>
                  <a:lnTo>
                    <a:pt x="299" y="384"/>
                  </a:lnTo>
                  <a:lnTo>
                    <a:pt x="303" y="386"/>
                  </a:lnTo>
                  <a:lnTo>
                    <a:pt x="303" y="389"/>
                  </a:lnTo>
                  <a:lnTo>
                    <a:pt x="301" y="389"/>
                  </a:lnTo>
                  <a:lnTo>
                    <a:pt x="303" y="393"/>
                  </a:lnTo>
                  <a:lnTo>
                    <a:pt x="304" y="393"/>
                  </a:lnTo>
                  <a:lnTo>
                    <a:pt x="308" y="394"/>
                  </a:lnTo>
                  <a:lnTo>
                    <a:pt x="308" y="396"/>
                  </a:lnTo>
                  <a:lnTo>
                    <a:pt x="309" y="398"/>
                  </a:lnTo>
                  <a:lnTo>
                    <a:pt x="311" y="398"/>
                  </a:lnTo>
                  <a:lnTo>
                    <a:pt x="313" y="399"/>
                  </a:lnTo>
                  <a:lnTo>
                    <a:pt x="313" y="398"/>
                  </a:lnTo>
                  <a:lnTo>
                    <a:pt x="316" y="398"/>
                  </a:lnTo>
                  <a:lnTo>
                    <a:pt x="318" y="398"/>
                  </a:lnTo>
                  <a:lnTo>
                    <a:pt x="320" y="401"/>
                  </a:lnTo>
                  <a:lnTo>
                    <a:pt x="320" y="403"/>
                  </a:lnTo>
                  <a:lnTo>
                    <a:pt x="323" y="405"/>
                  </a:lnTo>
                  <a:lnTo>
                    <a:pt x="325" y="406"/>
                  </a:lnTo>
                  <a:lnTo>
                    <a:pt x="325" y="408"/>
                  </a:lnTo>
                  <a:lnTo>
                    <a:pt x="326" y="410"/>
                  </a:lnTo>
                  <a:lnTo>
                    <a:pt x="328" y="411"/>
                  </a:lnTo>
                  <a:lnTo>
                    <a:pt x="330" y="413"/>
                  </a:lnTo>
                  <a:lnTo>
                    <a:pt x="331" y="413"/>
                  </a:lnTo>
                  <a:lnTo>
                    <a:pt x="335" y="415"/>
                  </a:lnTo>
                  <a:lnTo>
                    <a:pt x="337" y="417"/>
                  </a:lnTo>
                  <a:lnTo>
                    <a:pt x="338" y="418"/>
                  </a:lnTo>
                  <a:lnTo>
                    <a:pt x="337" y="418"/>
                  </a:lnTo>
                  <a:lnTo>
                    <a:pt x="338" y="422"/>
                  </a:lnTo>
                  <a:lnTo>
                    <a:pt x="338" y="423"/>
                  </a:lnTo>
                  <a:lnTo>
                    <a:pt x="342" y="425"/>
                  </a:lnTo>
                  <a:lnTo>
                    <a:pt x="343" y="423"/>
                  </a:lnTo>
                  <a:lnTo>
                    <a:pt x="347" y="423"/>
                  </a:lnTo>
                  <a:lnTo>
                    <a:pt x="348" y="425"/>
                  </a:lnTo>
                  <a:lnTo>
                    <a:pt x="348" y="423"/>
                  </a:lnTo>
                  <a:lnTo>
                    <a:pt x="348" y="425"/>
                  </a:lnTo>
                  <a:lnTo>
                    <a:pt x="350" y="428"/>
                  </a:lnTo>
                  <a:lnTo>
                    <a:pt x="354" y="428"/>
                  </a:lnTo>
                  <a:lnTo>
                    <a:pt x="354" y="430"/>
                  </a:lnTo>
                  <a:lnTo>
                    <a:pt x="355" y="432"/>
                  </a:lnTo>
                  <a:lnTo>
                    <a:pt x="357" y="432"/>
                  </a:lnTo>
                  <a:lnTo>
                    <a:pt x="357" y="434"/>
                  </a:lnTo>
                  <a:lnTo>
                    <a:pt x="357" y="435"/>
                  </a:lnTo>
                  <a:lnTo>
                    <a:pt x="359" y="435"/>
                  </a:lnTo>
                  <a:lnTo>
                    <a:pt x="359" y="439"/>
                  </a:lnTo>
                  <a:lnTo>
                    <a:pt x="357" y="440"/>
                  </a:lnTo>
                  <a:lnTo>
                    <a:pt x="359" y="440"/>
                  </a:lnTo>
                  <a:lnTo>
                    <a:pt x="359" y="442"/>
                  </a:lnTo>
                  <a:lnTo>
                    <a:pt x="359" y="444"/>
                  </a:lnTo>
                  <a:lnTo>
                    <a:pt x="359" y="447"/>
                  </a:lnTo>
                  <a:lnTo>
                    <a:pt x="357" y="449"/>
                  </a:lnTo>
                  <a:lnTo>
                    <a:pt x="357" y="451"/>
                  </a:lnTo>
                  <a:lnTo>
                    <a:pt x="357" y="452"/>
                  </a:lnTo>
                  <a:lnTo>
                    <a:pt x="355" y="451"/>
                  </a:lnTo>
                  <a:lnTo>
                    <a:pt x="355" y="454"/>
                  </a:lnTo>
                  <a:lnTo>
                    <a:pt x="354" y="454"/>
                  </a:lnTo>
                  <a:lnTo>
                    <a:pt x="352" y="452"/>
                  </a:lnTo>
                  <a:lnTo>
                    <a:pt x="350" y="452"/>
                  </a:lnTo>
                  <a:lnTo>
                    <a:pt x="348" y="451"/>
                  </a:lnTo>
                  <a:lnTo>
                    <a:pt x="347" y="451"/>
                  </a:lnTo>
                  <a:lnTo>
                    <a:pt x="345" y="449"/>
                  </a:lnTo>
                  <a:lnTo>
                    <a:pt x="343" y="449"/>
                  </a:lnTo>
                  <a:lnTo>
                    <a:pt x="343" y="452"/>
                  </a:lnTo>
                  <a:lnTo>
                    <a:pt x="342" y="452"/>
                  </a:lnTo>
                  <a:lnTo>
                    <a:pt x="342" y="454"/>
                  </a:lnTo>
                  <a:lnTo>
                    <a:pt x="342" y="456"/>
                  </a:lnTo>
                  <a:lnTo>
                    <a:pt x="342" y="459"/>
                  </a:lnTo>
                  <a:lnTo>
                    <a:pt x="342" y="461"/>
                  </a:lnTo>
                  <a:lnTo>
                    <a:pt x="340" y="462"/>
                  </a:lnTo>
                  <a:lnTo>
                    <a:pt x="340" y="464"/>
                  </a:lnTo>
                  <a:lnTo>
                    <a:pt x="338" y="466"/>
                  </a:lnTo>
                  <a:lnTo>
                    <a:pt x="337" y="469"/>
                  </a:lnTo>
                  <a:lnTo>
                    <a:pt x="335" y="469"/>
                  </a:lnTo>
                  <a:lnTo>
                    <a:pt x="333" y="471"/>
                  </a:lnTo>
                  <a:lnTo>
                    <a:pt x="330" y="471"/>
                  </a:lnTo>
                  <a:lnTo>
                    <a:pt x="328" y="473"/>
                  </a:lnTo>
                  <a:lnTo>
                    <a:pt x="325" y="473"/>
                  </a:lnTo>
                  <a:lnTo>
                    <a:pt x="323" y="474"/>
                  </a:lnTo>
                  <a:lnTo>
                    <a:pt x="321" y="476"/>
                  </a:lnTo>
                  <a:lnTo>
                    <a:pt x="320" y="478"/>
                  </a:lnTo>
                  <a:lnTo>
                    <a:pt x="318" y="478"/>
                  </a:lnTo>
                  <a:lnTo>
                    <a:pt x="316" y="478"/>
                  </a:lnTo>
                  <a:lnTo>
                    <a:pt x="314" y="481"/>
                  </a:lnTo>
                  <a:lnTo>
                    <a:pt x="313" y="483"/>
                  </a:lnTo>
                  <a:lnTo>
                    <a:pt x="311" y="483"/>
                  </a:lnTo>
                  <a:lnTo>
                    <a:pt x="311" y="485"/>
                  </a:lnTo>
                  <a:lnTo>
                    <a:pt x="311" y="486"/>
                  </a:lnTo>
                  <a:lnTo>
                    <a:pt x="311" y="488"/>
                  </a:lnTo>
                  <a:lnTo>
                    <a:pt x="313" y="488"/>
                  </a:lnTo>
                  <a:lnTo>
                    <a:pt x="314" y="490"/>
                  </a:lnTo>
                  <a:lnTo>
                    <a:pt x="316" y="491"/>
                  </a:lnTo>
                  <a:lnTo>
                    <a:pt x="316" y="495"/>
                  </a:lnTo>
                  <a:lnTo>
                    <a:pt x="318" y="495"/>
                  </a:lnTo>
                  <a:lnTo>
                    <a:pt x="320" y="496"/>
                  </a:lnTo>
                  <a:lnTo>
                    <a:pt x="320" y="498"/>
                  </a:lnTo>
                  <a:lnTo>
                    <a:pt x="321" y="498"/>
                  </a:lnTo>
                  <a:lnTo>
                    <a:pt x="321" y="500"/>
                  </a:lnTo>
                  <a:lnTo>
                    <a:pt x="323" y="503"/>
                  </a:lnTo>
                  <a:lnTo>
                    <a:pt x="321" y="507"/>
                  </a:lnTo>
                  <a:lnTo>
                    <a:pt x="320" y="508"/>
                  </a:lnTo>
                  <a:lnTo>
                    <a:pt x="321" y="508"/>
                  </a:lnTo>
                  <a:lnTo>
                    <a:pt x="320" y="510"/>
                  </a:lnTo>
                  <a:lnTo>
                    <a:pt x="320" y="512"/>
                  </a:lnTo>
                  <a:lnTo>
                    <a:pt x="321" y="512"/>
                  </a:lnTo>
                  <a:lnTo>
                    <a:pt x="323" y="512"/>
                  </a:lnTo>
                  <a:lnTo>
                    <a:pt x="325" y="512"/>
                  </a:lnTo>
                  <a:lnTo>
                    <a:pt x="326" y="513"/>
                  </a:lnTo>
                  <a:lnTo>
                    <a:pt x="326" y="515"/>
                  </a:lnTo>
                  <a:lnTo>
                    <a:pt x="328" y="517"/>
                  </a:lnTo>
                  <a:lnTo>
                    <a:pt x="326" y="520"/>
                  </a:lnTo>
                  <a:lnTo>
                    <a:pt x="326" y="522"/>
                  </a:lnTo>
                  <a:lnTo>
                    <a:pt x="325" y="525"/>
                  </a:lnTo>
                  <a:lnTo>
                    <a:pt x="326" y="527"/>
                  </a:lnTo>
                  <a:lnTo>
                    <a:pt x="325" y="529"/>
                  </a:lnTo>
                  <a:lnTo>
                    <a:pt x="323" y="529"/>
                  </a:lnTo>
                  <a:lnTo>
                    <a:pt x="321" y="529"/>
                  </a:lnTo>
                  <a:lnTo>
                    <a:pt x="320" y="527"/>
                  </a:lnTo>
                  <a:lnTo>
                    <a:pt x="318" y="525"/>
                  </a:lnTo>
                  <a:lnTo>
                    <a:pt x="316" y="525"/>
                  </a:lnTo>
                  <a:lnTo>
                    <a:pt x="316" y="524"/>
                  </a:lnTo>
                  <a:lnTo>
                    <a:pt x="314" y="524"/>
                  </a:lnTo>
                  <a:lnTo>
                    <a:pt x="313" y="522"/>
                  </a:lnTo>
                  <a:lnTo>
                    <a:pt x="314" y="519"/>
                  </a:lnTo>
                  <a:lnTo>
                    <a:pt x="313" y="519"/>
                  </a:lnTo>
                  <a:lnTo>
                    <a:pt x="313" y="517"/>
                  </a:lnTo>
                  <a:lnTo>
                    <a:pt x="313" y="515"/>
                  </a:lnTo>
                  <a:lnTo>
                    <a:pt x="311" y="515"/>
                  </a:lnTo>
                  <a:lnTo>
                    <a:pt x="308" y="515"/>
                  </a:lnTo>
                  <a:lnTo>
                    <a:pt x="306" y="515"/>
                  </a:lnTo>
                  <a:lnTo>
                    <a:pt x="304" y="515"/>
                  </a:lnTo>
                  <a:lnTo>
                    <a:pt x="304" y="517"/>
                  </a:lnTo>
                  <a:lnTo>
                    <a:pt x="303" y="519"/>
                  </a:lnTo>
                  <a:lnTo>
                    <a:pt x="301" y="519"/>
                  </a:lnTo>
                  <a:lnTo>
                    <a:pt x="299" y="519"/>
                  </a:lnTo>
                  <a:lnTo>
                    <a:pt x="297" y="517"/>
                  </a:lnTo>
                  <a:lnTo>
                    <a:pt x="297" y="515"/>
                  </a:lnTo>
                  <a:lnTo>
                    <a:pt x="297" y="513"/>
                  </a:lnTo>
                  <a:lnTo>
                    <a:pt x="296" y="515"/>
                  </a:lnTo>
                  <a:lnTo>
                    <a:pt x="294" y="515"/>
                  </a:lnTo>
                  <a:lnTo>
                    <a:pt x="292" y="513"/>
                  </a:lnTo>
                  <a:lnTo>
                    <a:pt x="289" y="515"/>
                  </a:lnTo>
                  <a:lnTo>
                    <a:pt x="287" y="515"/>
                  </a:lnTo>
                  <a:lnTo>
                    <a:pt x="289" y="512"/>
                  </a:lnTo>
                  <a:lnTo>
                    <a:pt x="287" y="512"/>
                  </a:lnTo>
                  <a:lnTo>
                    <a:pt x="287" y="513"/>
                  </a:lnTo>
                  <a:lnTo>
                    <a:pt x="286" y="513"/>
                  </a:lnTo>
                  <a:lnTo>
                    <a:pt x="284" y="513"/>
                  </a:lnTo>
                  <a:lnTo>
                    <a:pt x="284" y="515"/>
                  </a:lnTo>
                  <a:lnTo>
                    <a:pt x="286" y="519"/>
                  </a:lnTo>
                  <a:lnTo>
                    <a:pt x="286" y="520"/>
                  </a:lnTo>
                  <a:lnTo>
                    <a:pt x="284" y="522"/>
                  </a:lnTo>
                  <a:lnTo>
                    <a:pt x="284" y="520"/>
                  </a:lnTo>
                  <a:lnTo>
                    <a:pt x="282" y="520"/>
                  </a:lnTo>
                  <a:lnTo>
                    <a:pt x="280" y="520"/>
                  </a:lnTo>
                  <a:lnTo>
                    <a:pt x="279" y="520"/>
                  </a:lnTo>
                  <a:lnTo>
                    <a:pt x="277" y="520"/>
                  </a:lnTo>
                  <a:lnTo>
                    <a:pt x="275" y="520"/>
                  </a:lnTo>
                  <a:lnTo>
                    <a:pt x="272" y="520"/>
                  </a:lnTo>
                  <a:lnTo>
                    <a:pt x="269" y="522"/>
                  </a:lnTo>
                  <a:lnTo>
                    <a:pt x="269" y="524"/>
                  </a:lnTo>
                  <a:lnTo>
                    <a:pt x="265" y="522"/>
                  </a:lnTo>
                  <a:lnTo>
                    <a:pt x="262" y="522"/>
                  </a:lnTo>
                  <a:lnTo>
                    <a:pt x="260" y="524"/>
                  </a:lnTo>
                  <a:lnTo>
                    <a:pt x="258" y="522"/>
                  </a:lnTo>
                  <a:lnTo>
                    <a:pt x="258" y="524"/>
                  </a:lnTo>
                  <a:lnTo>
                    <a:pt x="257" y="525"/>
                  </a:lnTo>
                  <a:lnTo>
                    <a:pt x="257" y="527"/>
                  </a:lnTo>
                  <a:lnTo>
                    <a:pt x="257" y="529"/>
                  </a:lnTo>
                  <a:lnTo>
                    <a:pt x="253" y="529"/>
                  </a:lnTo>
                  <a:lnTo>
                    <a:pt x="250" y="529"/>
                  </a:lnTo>
                  <a:lnTo>
                    <a:pt x="248" y="530"/>
                  </a:lnTo>
                  <a:lnTo>
                    <a:pt x="250" y="534"/>
                  </a:lnTo>
                  <a:lnTo>
                    <a:pt x="246" y="534"/>
                  </a:lnTo>
                  <a:lnTo>
                    <a:pt x="245" y="532"/>
                  </a:lnTo>
                  <a:lnTo>
                    <a:pt x="243" y="534"/>
                  </a:lnTo>
                  <a:lnTo>
                    <a:pt x="241" y="537"/>
                  </a:lnTo>
                  <a:lnTo>
                    <a:pt x="240" y="537"/>
                  </a:lnTo>
                  <a:lnTo>
                    <a:pt x="241" y="534"/>
                  </a:lnTo>
                  <a:lnTo>
                    <a:pt x="240" y="534"/>
                  </a:lnTo>
                  <a:lnTo>
                    <a:pt x="238" y="534"/>
                  </a:lnTo>
                  <a:lnTo>
                    <a:pt x="236" y="536"/>
                  </a:lnTo>
                  <a:lnTo>
                    <a:pt x="235" y="536"/>
                  </a:lnTo>
                  <a:lnTo>
                    <a:pt x="235" y="537"/>
                  </a:lnTo>
                  <a:lnTo>
                    <a:pt x="233" y="537"/>
                  </a:lnTo>
                  <a:lnTo>
                    <a:pt x="231" y="537"/>
                  </a:lnTo>
                  <a:lnTo>
                    <a:pt x="228" y="537"/>
                  </a:lnTo>
                  <a:lnTo>
                    <a:pt x="228" y="534"/>
                  </a:lnTo>
                  <a:lnTo>
                    <a:pt x="228" y="532"/>
                  </a:lnTo>
                  <a:lnTo>
                    <a:pt x="226" y="532"/>
                  </a:lnTo>
                  <a:lnTo>
                    <a:pt x="226" y="530"/>
                  </a:lnTo>
                  <a:lnTo>
                    <a:pt x="223" y="530"/>
                  </a:lnTo>
                  <a:lnTo>
                    <a:pt x="223" y="529"/>
                  </a:lnTo>
                  <a:lnTo>
                    <a:pt x="224" y="529"/>
                  </a:lnTo>
                  <a:lnTo>
                    <a:pt x="224" y="527"/>
                  </a:lnTo>
                  <a:lnTo>
                    <a:pt x="221" y="527"/>
                  </a:lnTo>
                  <a:lnTo>
                    <a:pt x="219" y="529"/>
                  </a:lnTo>
                  <a:lnTo>
                    <a:pt x="218" y="527"/>
                  </a:lnTo>
                  <a:lnTo>
                    <a:pt x="214" y="527"/>
                  </a:lnTo>
                  <a:lnTo>
                    <a:pt x="214" y="525"/>
                  </a:lnTo>
                  <a:lnTo>
                    <a:pt x="212" y="525"/>
                  </a:lnTo>
                  <a:lnTo>
                    <a:pt x="211" y="525"/>
                  </a:lnTo>
                  <a:lnTo>
                    <a:pt x="209" y="527"/>
                  </a:lnTo>
                  <a:lnTo>
                    <a:pt x="207" y="527"/>
                  </a:lnTo>
                  <a:lnTo>
                    <a:pt x="206" y="527"/>
                  </a:lnTo>
                  <a:lnTo>
                    <a:pt x="204" y="525"/>
                  </a:lnTo>
                  <a:lnTo>
                    <a:pt x="204" y="524"/>
                  </a:lnTo>
                  <a:lnTo>
                    <a:pt x="202" y="524"/>
                  </a:lnTo>
                  <a:lnTo>
                    <a:pt x="204" y="525"/>
                  </a:lnTo>
                  <a:lnTo>
                    <a:pt x="202" y="529"/>
                  </a:lnTo>
                  <a:lnTo>
                    <a:pt x="204" y="532"/>
                  </a:lnTo>
                  <a:lnTo>
                    <a:pt x="204" y="534"/>
                  </a:lnTo>
                  <a:lnTo>
                    <a:pt x="202" y="536"/>
                  </a:lnTo>
                  <a:lnTo>
                    <a:pt x="202" y="539"/>
                  </a:lnTo>
                  <a:lnTo>
                    <a:pt x="201" y="539"/>
                  </a:lnTo>
                  <a:lnTo>
                    <a:pt x="201" y="541"/>
                  </a:lnTo>
                  <a:lnTo>
                    <a:pt x="199" y="541"/>
                  </a:lnTo>
                  <a:lnTo>
                    <a:pt x="197" y="544"/>
                  </a:lnTo>
                  <a:lnTo>
                    <a:pt x="195" y="544"/>
                  </a:lnTo>
                  <a:lnTo>
                    <a:pt x="192" y="546"/>
                  </a:lnTo>
                  <a:lnTo>
                    <a:pt x="190" y="546"/>
                  </a:lnTo>
                  <a:lnTo>
                    <a:pt x="190" y="544"/>
                  </a:lnTo>
                  <a:lnTo>
                    <a:pt x="192" y="542"/>
                  </a:lnTo>
                  <a:lnTo>
                    <a:pt x="190" y="542"/>
                  </a:lnTo>
                  <a:lnTo>
                    <a:pt x="192" y="541"/>
                  </a:lnTo>
                  <a:lnTo>
                    <a:pt x="194" y="539"/>
                  </a:lnTo>
                  <a:lnTo>
                    <a:pt x="192" y="539"/>
                  </a:lnTo>
                  <a:lnTo>
                    <a:pt x="190" y="537"/>
                  </a:lnTo>
                  <a:lnTo>
                    <a:pt x="190" y="539"/>
                  </a:lnTo>
                  <a:lnTo>
                    <a:pt x="187" y="539"/>
                  </a:lnTo>
                  <a:lnTo>
                    <a:pt x="187" y="541"/>
                  </a:lnTo>
                  <a:lnTo>
                    <a:pt x="185" y="537"/>
                  </a:lnTo>
                  <a:lnTo>
                    <a:pt x="185" y="536"/>
                  </a:lnTo>
                  <a:lnTo>
                    <a:pt x="187" y="536"/>
                  </a:lnTo>
                  <a:lnTo>
                    <a:pt x="185" y="532"/>
                  </a:lnTo>
                  <a:lnTo>
                    <a:pt x="184" y="530"/>
                  </a:lnTo>
                  <a:lnTo>
                    <a:pt x="182" y="530"/>
                  </a:lnTo>
                  <a:lnTo>
                    <a:pt x="180" y="529"/>
                  </a:lnTo>
                  <a:lnTo>
                    <a:pt x="180" y="527"/>
                  </a:lnTo>
                  <a:lnTo>
                    <a:pt x="178" y="527"/>
                  </a:lnTo>
                  <a:lnTo>
                    <a:pt x="177" y="527"/>
                  </a:lnTo>
                  <a:lnTo>
                    <a:pt x="175" y="527"/>
                  </a:lnTo>
                  <a:lnTo>
                    <a:pt x="173" y="527"/>
                  </a:lnTo>
                  <a:lnTo>
                    <a:pt x="173" y="524"/>
                  </a:lnTo>
                  <a:lnTo>
                    <a:pt x="172" y="524"/>
                  </a:lnTo>
                  <a:lnTo>
                    <a:pt x="170" y="525"/>
                  </a:lnTo>
                  <a:lnTo>
                    <a:pt x="168" y="527"/>
                  </a:lnTo>
                  <a:lnTo>
                    <a:pt x="167" y="527"/>
                  </a:lnTo>
                  <a:lnTo>
                    <a:pt x="167" y="525"/>
                  </a:lnTo>
                  <a:lnTo>
                    <a:pt x="165" y="525"/>
                  </a:lnTo>
                  <a:lnTo>
                    <a:pt x="163" y="525"/>
                  </a:lnTo>
                  <a:lnTo>
                    <a:pt x="163" y="524"/>
                  </a:lnTo>
                  <a:lnTo>
                    <a:pt x="160" y="524"/>
                  </a:lnTo>
                  <a:lnTo>
                    <a:pt x="160" y="522"/>
                  </a:lnTo>
                  <a:lnTo>
                    <a:pt x="158" y="520"/>
                  </a:lnTo>
                  <a:lnTo>
                    <a:pt x="158" y="519"/>
                  </a:lnTo>
                  <a:lnTo>
                    <a:pt x="156" y="519"/>
                  </a:lnTo>
                  <a:lnTo>
                    <a:pt x="153" y="519"/>
                  </a:lnTo>
                  <a:lnTo>
                    <a:pt x="151" y="519"/>
                  </a:lnTo>
                  <a:lnTo>
                    <a:pt x="150" y="517"/>
                  </a:lnTo>
                  <a:lnTo>
                    <a:pt x="148" y="517"/>
                  </a:lnTo>
                  <a:lnTo>
                    <a:pt x="146" y="515"/>
                  </a:lnTo>
                  <a:lnTo>
                    <a:pt x="144" y="512"/>
                  </a:lnTo>
                  <a:lnTo>
                    <a:pt x="143" y="510"/>
                  </a:lnTo>
                  <a:lnTo>
                    <a:pt x="141" y="510"/>
                  </a:lnTo>
                  <a:lnTo>
                    <a:pt x="139" y="508"/>
                  </a:lnTo>
                  <a:lnTo>
                    <a:pt x="138" y="507"/>
                  </a:lnTo>
                  <a:lnTo>
                    <a:pt x="136" y="507"/>
                  </a:lnTo>
                  <a:lnTo>
                    <a:pt x="136" y="508"/>
                  </a:lnTo>
                  <a:lnTo>
                    <a:pt x="138" y="508"/>
                  </a:lnTo>
                  <a:lnTo>
                    <a:pt x="138" y="510"/>
                  </a:lnTo>
                  <a:lnTo>
                    <a:pt x="141" y="512"/>
                  </a:lnTo>
                  <a:lnTo>
                    <a:pt x="143" y="513"/>
                  </a:lnTo>
                  <a:lnTo>
                    <a:pt x="143" y="515"/>
                  </a:lnTo>
                  <a:lnTo>
                    <a:pt x="144" y="517"/>
                  </a:lnTo>
                  <a:lnTo>
                    <a:pt x="144" y="519"/>
                  </a:lnTo>
                  <a:lnTo>
                    <a:pt x="143" y="519"/>
                  </a:lnTo>
                  <a:lnTo>
                    <a:pt x="141" y="519"/>
                  </a:lnTo>
                  <a:lnTo>
                    <a:pt x="141" y="517"/>
                  </a:lnTo>
                  <a:lnTo>
                    <a:pt x="139" y="517"/>
                  </a:lnTo>
                  <a:close/>
                  <a:moveTo>
                    <a:pt x="320" y="24"/>
                  </a:moveTo>
                  <a:lnTo>
                    <a:pt x="320" y="25"/>
                  </a:lnTo>
                  <a:lnTo>
                    <a:pt x="318" y="27"/>
                  </a:lnTo>
                  <a:lnTo>
                    <a:pt x="320" y="30"/>
                  </a:lnTo>
                  <a:lnTo>
                    <a:pt x="321" y="32"/>
                  </a:lnTo>
                  <a:lnTo>
                    <a:pt x="323" y="32"/>
                  </a:lnTo>
                  <a:lnTo>
                    <a:pt x="325" y="32"/>
                  </a:lnTo>
                  <a:lnTo>
                    <a:pt x="325" y="30"/>
                  </a:lnTo>
                  <a:lnTo>
                    <a:pt x="326" y="30"/>
                  </a:lnTo>
                  <a:lnTo>
                    <a:pt x="328" y="30"/>
                  </a:lnTo>
                  <a:lnTo>
                    <a:pt x="331" y="32"/>
                  </a:lnTo>
                  <a:lnTo>
                    <a:pt x="330" y="35"/>
                  </a:lnTo>
                  <a:lnTo>
                    <a:pt x="328" y="37"/>
                  </a:lnTo>
                  <a:lnTo>
                    <a:pt x="326" y="37"/>
                  </a:lnTo>
                  <a:lnTo>
                    <a:pt x="326" y="41"/>
                  </a:lnTo>
                  <a:lnTo>
                    <a:pt x="328" y="42"/>
                  </a:lnTo>
                  <a:lnTo>
                    <a:pt x="331" y="44"/>
                  </a:lnTo>
                  <a:lnTo>
                    <a:pt x="333" y="44"/>
                  </a:lnTo>
                  <a:lnTo>
                    <a:pt x="333" y="46"/>
                  </a:lnTo>
                  <a:lnTo>
                    <a:pt x="335" y="47"/>
                  </a:lnTo>
                  <a:lnTo>
                    <a:pt x="333" y="49"/>
                  </a:lnTo>
                  <a:lnTo>
                    <a:pt x="333" y="52"/>
                  </a:lnTo>
                  <a:lnTo>
                    <a:pt x="331" y="51"/>
                  </a:lnTo>
                  <a:lnTo>
                    <a:pt x="333" y="51"/>
                  </a:lnTo>
                  <a:lnTo>
                    <a:pt x="331" y="51"/>
                  </a:lnTo>
                  <a:lnTo>
                    <a:pt x="330" y="51"/>
                  </a:lnTo>
                  <a:lnTo>
                    <a:pt x="333" y="49"/>
                  </a:lnTo>
                  <a:lnTo>
                    <a:pt x="331" y="47"/>
                  </a:lnTo>
                  <a:lnTo>
                    <a:pt x="328" y="49"/>
                  </a:lnTo>
                  <a:lnTo>
                    <a:pt x="331" y="47"/>
                  </a:lnTo>
                  <a:lnTo>
                    <a:pt x="328" y="47"/>
                  </a:lnTo>
                  <a:lnTo>
                    <a:pt x="326" y="47"/>
                  </a:lnTo>
                  <a:lnTo>
                    <a:pt x="325" y="47"/>
                  </a:lnTo>
                  <a:lnTo>
                    <a:pt x="323" y="49"/>
                  </a:lnTo>
                  <a:lnTo>
                    <a:pt x="323" y="47"/>
                  </a:lnTo>
                  <a:lnTo>
                    <a:pt x="323" y="49"/>
                  </a:lnTo>
                  <a:lnTo>
                    <a:pt x="321" y="51"/>
                  </a:lnTo>
                  <a:lnTo>
                    <a:pt x="320" y="52"/>
                  </a:lnTo>
                  <a:lnTo>
                    <a:pt x="318" y="52"/>
                  </a:lnTo>
                  <a:lnTo>
                    <a:pt x="320" y="54"/>
                  </a:lnTo>
                  <a:lnTo>
                    <a:pt x="321" y="54"/>
                  </a:lnTo>
                  <a:lnTo>
                    <a:pt x="321" y="56"/>
                  </a:lnTo>
                  <a:lnTo>
                    <a:pt x="320" y="56"/>
                  </a:lnTo>
                  <a:lnTo>
                    <a:pt x="318" y="56"/>
                  </a:lnTo>
                  <a:lnTo>
                    <a:pt x="316" y="54"/>
                  </a:lnTo>
                  <a:lnTo>
                    <a:pt x="318" y="54"/>
                  </a:lnTo>
                  <a:lnTo>
                    <a:pt x="318" y="52"/>
                  </a:lnTo>
                  <a:lnTo>
                    <a:pt x="316" y="54"/>
                  </a:lnTo>
                  <a:lnTo>
                    <a:pt x="318" y="54"/>
                  </a:lnTo>
                  <a:lnTo>
                    <a:pt x="314" y="54"/>
                  </a:lnTo>
                  <a:lnTo>
                    <a:pt x="313" y="52"/>
                  </a:lnTo>
                  <a:lnTo>
                    <a:pt x="311" y="51"/>
                  </a:lnTo>
                  <a:lnTo>
                    <a:pt x="309" y="52"/>
                  </a:lnTo>
                  <a:lnTo>
                    <a:pt x="311" y="51"/>
                  </a:lnTo>
                  <a:lnTo>
                    <a:pt x="309" y="51"/>
                  </a:lnTo>
                  <a:lnTo>
                    <a:pt x="309" y="49"/>
                  </a:lnTo>
                  <a:lnTo>
                    <a:pt x="309" y="46"/>
                  </a:lnTo>
                  <a:lnTo>
                    <a:pt x="311" y="46"/>
                  </a:lnTo>
                  <a:lnTo>
                    <a:pt x="313" y="46"/>
                  </a:lnTo>
                  <a:lnTo>
                    <a:pt x="314" y="46"/>
                  </a:lnTo>
                  <a:lnTo>
                    <a:pt x="313" y="46"/>
                  </a:lnTo>
                  <a:lnTo>
                    <a:pt x="313" y="44"/>
                  </a:lnTo>
                  <a:lnTo>
                    <a:pt x="313" y="42"/>
                  </a:lnTo>
                  <a:lnTo>
                    <a:pt x="309" y="42"/>
                  </a:lnTo>
                  <a:lnTo>
                    <a:pt x="311" y="41"/>
                  </a:lnTo>
                  <a:lnTo>
                    <a:pt x="313" y="41"/>
                  </a:lnTo>
                  <a:lnTo>
                    <a:pt x="314" y="39"/>
                  </a:lnTo>
                  <a:lnTo>
                    <a:pt x="313" y="39"/>
                  </a:lnTo>
                  <a:lnTo>
                    <a:pt x="314" y="39"/>
                  </a:lnTo>
                  <a:lnTo>
                    <a:pt x="313" y="39"/>
                  </a:lnTo>
                  <a:lnTo>
                    <a:pt x="313" y="37"/>
                  </a:lnTo>
                  <a:lnTo>
                    <a:pt x="311" y="37"/>
                  </a:lnTo>
                  <a:lnTo>
                    <a:pt x="309" y="34"/>
                  </a:lnTo>
                  <a:lnTo>
                    <a:pt x="311" y="34"/>
                  </a:lnTo>
                  <a:lnTo>
                    <a:pt x="313" y="34"/>
                  </a:lnTo>
                  <a:lnTo>
                    <a:pt x="314" y="34"/>
                  </a:lnTo>
                  <a:lnTo>
                    <a:pt x="316" y="35"/>
                  </a:lnTo>
                  <a:lnTo>
                    <a:pt x="316" y="34"/>
                  </a:lnTo>
                  <a:lnTo>
                    <a:pt x="318" y="32"/>
                  </a:lnTo>
                  <a:lnTo>
                    <a:pt x="316" y="34"/>
                  </a:lnTo>
                  <a:lnTo>
                    <a:pt x="318" y="34"/>
                  </a:lnTo>
                  <a:lnTo>
                    <a:pt x="318" y="35"/>
                  </a:lnTo>
                  <a:lnTo>
                    <a:pt x="320" y="35"/>
                  </a:lnTo>
                  <a:lnTo>
                    <a:pt x="318" y="34"/>
                  </a:lnTo>
                  <a:lnTo>
                    <a:pt x="318" y="32"/>
                  </a:lnTo>
                  <a:lnTo>
                    <a:pt x="318" y="34"/>
                  </a:lnTo>
                  <a:lnTo>
                    <a:pt x="320" y="35"/>
                  </a:lnTo>
                  <a:lnTo>
                    <a:pt x="320" y="37"/>
                  </a:lnTo>
                  <a:lnTo>
                    <a:pt x="321" y="39"/>
                  </a:lnTo>
                  <a:lnTo>
                    <a:pt x="323" y="37"/>
                  </a:lnTo>
                  <a:lnTo>
                    <a:pt x="323" y="41"/>
                  </a:lnTo>
                  <a:lnTo>
                    <a:pt x="325" y="41"/>
                  </a:lnTo>
                  <a:lnTo>
                    <a:pt x="323" y="41"/>
                  </a:lnTo>
                  <a:lnTo>
                    <a:pt x="323" y="42"/>
                  </a:lnTo>
                  <a:lnTo>
                    <a:pt x="326" y="42"/>
                  </a:lnTo>
                  <a:lnTo>
                    <a:pt x="325" y="41"/>
                  </a:lnTo>
                  <a:lnTo>
                    <a:pt x="326" y="41"/>
                  </a:lnTo>
                  <a:lnTo>
                    <a:pt x="325" y="41"/>
                  </a:lnTo>
                  <a:lnTo>
                    <a:pt x="326" y="39"/>
                  </a:lnTo>
                  <a:lnTo>
                    <a:pt x="323" y="37"/>
                  </a:lnTo>
                  <a:lnTo>
                    <a:pt x="325" y="35"/>
                  </a:lnTo>
                  <a:lnTo>
                    <a:pt x="323" y="32"/>
                  </a:lnTo>
                  <a:lnTo>
                    <a:pt x="325" y="32"/>
                  </a:lnTo>
                  <a:lnTo>
                    <a:pt x="323" y="32"/>
                  </a:lnTo>
                  <a:lnTo>
                    <a:pt x="323" y="34"/>
                  </a:lnTo>
                  <a:lnTo>
                    <a:pt x="321" y="34"/>
                  </a:lnTo>
                  <a:lnTo>
                    <a:pt x="321" y="32"/>
                  </a:lnTo>
                  <a:lnTo>
                    <a:pt x="320" y="30"/>
                  </a:lnTo>
                  <a:lnTo>
                    <a:pt x="318" y="29"/>
                  </a:lnTo>
                  <a:lnTo>
                    <a:pt x="316" y="30"/>
                  </a:lnTo>
                  <a:lnTo>
                    <a:pt x="314" y="32"/>
                  </a:lnTo>
                  <a:lnTo>
                    <a:pt x="313" y="34"/>
                  </a:lnTo>
                  <a:lnTo>
                    <a:pt x="313" y="30"/>
                  </a:lnTo>
                  <a:lnTo>
                    <a:pt x="314" y="29"/>
                  </a:lnTo>
                  <a:lnTo>
                    <a:pt x="314" y="27"/>
                  </a:lnTo>
                  <a:lnTo>
                    <a:pt x="313" y="29"/>
                  </a:lnTo>
                  <a:lnTo>
                    <a:pt x="313" y="30"/>
                  </a:lnTo>
                  <a:lnTo>
                    <a:pt x="311" y="34"/>
                  </a:lnTo>
                  <a:lnTo>
                    <a:pt x="309" y="34"/>
                  </a:lnTo>
                  <a:lnTo>
                    <a:pt x="309" y="32"/>
                  </a:lnTo>
                  <a:lnTo>
                    <a:pt x="311" y="30"/>
                  </a:lnTo>
                  <a:lnTo>
                    <a:pt x="311" y="27"/>
                  </a:lnTo>
                  <a:lnTo>
                    <a:pt x="313" y="25"/>
                  </a:lnTo>
                  <a:lnTo>
                    <a:pt x="314" y="25"/>
                  </a:lnTo>
                  <a:lnTo>
                    <a:pt x="316" y="25"/>
                  </a:lnTo>
                  <a:lnTo>
                    <a:pt x="318" y="24"/>
                  </a:lnTo>
                  <a:lnTo>
                    <a:pt x="320" y="24"/>
                  </a:lnTo>
                  <a:close/>
                  <a:moveTo>
                    <a:pt x="355" y="75"/>
                  </a:moveTo>
                  <a:lnTo>
                    <a:pt x="354" y="76"/>
                  </a:lnTo>
                  <a:lnTo>
                    <a:pt x="355" y="76"/>
                  </a:lnTo>
                  <a:lnTo>
                    <a:pt x="355" y="80"/>
                  </a:lnTo>
                  <a:lnTo>
                    <a:pt x="354" y="80"/>
                  </a:lnTo>
                  <a:lnTo>
                    <a:pt x="352" y="80"/>
                  </a:lnTo>
                  <a:lnTo>
                    <a:pt x="350" y="80"/>
                  </a:lnTo>
                  <a:lnTo>
                    <a:pt x="348" y="80"/>
                  </a:lnTo>
                  <a:lnTo>
                    <a:pt x="347" y="81"/>
                  </a:lnTo>
                  <a:lnTo>
                    <a:pt x="343" y="81"/>
                  </a:lnTo>
                  <a:lnTo>
                    <a:pt x="345" y="80"/>
                  </a:lnTo>
                  <a:lnTo>
                    <a:pt x="343" y="80"/>
                  </a:lnTo>
                  <a:lnTo>
                    <a:pt x="343" y="81"/>
                  </a:lnTo>
                  <a:lnTo>
                    <a:pt x="342" y="81"/>
                  </a:lnTo>
                  <a:lnTo>
                    <a:pt x="340" y="81"/>
                  </a:lnTo>
                  <a:lnTo>
                    <a:pt x="340" y="80"/>
                  </a:lnTo>
                  <a:lnTo>
                    <a:pt x="342" y="80"/>
                  </a:lnTo>
                  <a:lnTo>
                    <a:pt x="343" y="76"/>
                  </a:lnTo>
                  <a:lnTo>
                    <a:pt x="343" y="75"/>
                  </a:lnTo>
                  <a:lnTo>
                    <a:pt x="342" y="73"/>
                  </a:lnTo>
                  <a:lnTo>
                    <a:pt x="342" y="71"/>
                  </a:lnTo>
                  <a:lnTo>
                    <a:pt x="345" y="71"/>
                  </a:lnTo>
                  <a:lnTo>
                    <a:pt x="345" y="73"/>
                  </a:lnTo>
                  <a:lnTo>
                    <a:pt x="343" y="73"/>
                  </a:lnTo>
                  <a:lnTo>
                    <a:pt x="345" y="75"/>
                  </a:lnTo>
                  <a:lnTo>
                    <a:pt x="345" y="73"/>
                  </a:lnTo>
                  <a:lnTo>
                    <a:pt x="347" y="73"/>
                  </a:lnTo>
                  <a:lnTo>
                    <a:pt x="347" y="75"/>
                  </a:lnTo>
                  <a:lnTo>
                    <a:pt x="348" y="75"/>
                  </a:lnTo>
                  <a:lnTo>
                    <a:pt x="347" y="75"/>
                  </a:lnTo>
                  <a:lnTo>
                    <a:pt x="348" y="71"/>
                  </a:lnTo>
                  <a:lnTo>
                    <a:pt x="348" y="69"/>
                  </a:lnTo>
                  <a:lnTo>
                    <a:pt x="347" y="69"/>
                  </a:lnTo>
                  <a:lnTo>
                    <a:pt x="345" y="68"/>
                  </a:lnTo>
                  <a:lnTo>
                    <a:pt x="345" y="66"/>
                  </a:lnTo>
                  <a:lnTo>
                    <a:pt x="342" y="66"/>
                  </a:lnTo>
                  <a:lnTo>
                    <a:pt x="342" y="68"/>
                  </a:lnTo>
                  <a:lnTo>
                    <a:pt x="343" y="69"/>
                  </a:lnTo>
                  <a:lnTo>
                    <a:pt x="343" y="68"/>
                  </a:lnTo>
                  <a:lnTo>
                    <a:pt x="342" y="69"/>
                  </a:lnTo>
                  <a:lnTo>
                    <a:pt x="340" y="71"/>
                  </a:lnTo>
                  <a:lnTo>
                    <a:pt x="340" y="68"/>
                  </a:lnTo>
                  <a:lnTo>
                    <a:pt x="338" y="69"/>
                  </a:lnTo>
                  <a:lnTo>
                    <a:pt x="337" y="69"/>
                  </a:lnTo>
                  <a:lnTo>
                    <a:pt x="337" y="68"/>
                  </a:lnTo>
                  <a:lnTo>
                    <a:pt x="338" y="66"/>
                  </a:lnTo>
                  <a:lnTo>
                    <a:pt x="338" y="63"/>
                  </a:lnTo>
                  <a:lnTo>
                    <a:pt x="337" y="63"/>
                  </a:lnTo>
                  <a:lnTo>
                    <a:pt x="335" y="59"/>
                  </a:lnTo>
                  <a:lnTo>
                    <a:pt x="338" y="59"/>
                  </a:lnTo>
                  <a:lnTo>
                    <a:pt x="338" y="63"/>
                  </a:lnTo>
                  <a:lnTo>
                    <a:pt x="340" y="64"/>
                  </a:lnTo>
                  <a:lnTo>
                    <a:pt x="343" y="64"/>
                  </a:lnTo>
                  <a:lnTo>
                    <a:pt x="345" y="66"/>
                  </a:lnTo>
                  <a:lnTo>
                    <a:pt x="347" y="66"/>
                  </a:lnTo>
                  <a:lnTo>
                    <a:pt x="347" y="68"/>
                  </a:lnTo>
                  <a:lnTo>
                    <a:pt x="348" y="69"/>
                  </a:lnTo>
                  <a:lnTo>
                    <a:pt x="350" y="71"/>
                  </a:lnTo>
                  <a:lnTo>
                    <a:pt x="352" y="71"/>
                  </a:lnTo>
                  <a:lnTo>
                    <a:pt x="354" y="73"/>
                  </a:lnTo>
                  <a:lnTo>
                    <a:pt x="355" y="75"/>
                  </a:lnTo>
                  <a:close/>
                  <a:moveTo>
                    <a:pt x="226" y="37"/>
                  </a:moveTo>
                  <a:lnTo>
                    <a:pt x="228" y="37"/>
                  </a:lnTo>
                  <a:lnTo>
                    <a:pt x="229" y="39"/>
                  </a:lnTo>
                  <a:lnTo>
                    <a:pt x="231" y="39"/>
                  </a:lnTo>
                  <a:lnTo>
                    <a:pt x="233" y="42"/>
                  </a:lnTo>
                  <a:lnTo>
                    <a:pt x="235" y="44"/>
                  </a:lnTo>
                  <a:lnTo>
                    <a:pt x="235" y="46"/>
                  </a:lnTo>
                  <a:lnTo>
                    <a:pt x="233" y="46"/>
                  </a:lnTo>
                  <a:lnTo>
                    <a:pt x="231" y="46"/>
                  </a:lnTo>
                  <a:lnTo>
                    <a:pt x="229" y="46"/>
                  </a:lnTo>
                  <a:lnTo>
                    <a:pt x="228" y="47"/>
                  </a:lnTo>
                  <a:lnTo>
                    <a:pt x="226" y="46"/>
                  </a:lnTo>
                  <a:lnTo>
                    <a:pt x="226" y="44"/>
                  </a:lnTo>
                  <a:lnTo>
                    <a:pt x="223" y="44"/>
                  </a:lnTo>
                  <a:lnTo>
                    <a:pt x="224" y="44"/>
                  </a:lnTo>
                  <a:lnTo>
                    <a:pt x="223" y="44"/>
                  </a:lnTo>
                  <a:lnTo>
                    <a:pt x="223" y="41"/>
                  </a:lnTo>
                  <a:lnTo>
                    <a:pt x="223" y="39"/>
                  </a:lnTo>
                  <a:lnTo>
                    <a:pt x="224" y="37"/>
                  </a:lnTo>
                  <a:lnTo>
                    <a:pt x="226" y="37"/>
                  </a:lnTo>
                  <a:close/>
                  <a:moveTo>
                    <a:pt x="122" y="22"/>
                  </a:moveTo>
                  <a:lnTo>
                    <a:pt x="124" y="22"/>
                  </a:lnTo>
                  <a:lnTo>
                    <a:pt x="126" y="24"/>
                  </a:lnTo>
                  <a:lnTo>
                    <a:pt x="124" y="27"/>
                  </a:lnTo>
                  <a:lnTo>
                    <a:pt x="121" y="27"/>
                  </a:lnTo>
                  <a:lnTo>
                    <a:pt x="119" y="25"/>
                  </a:lnTo>
                  <a:lnTo>
                    <a:pt x="117" y="25"/>
                  </a:lnTo>
                  <a:lnTo>
                    <a:pt x="117" y="24"/>
                  </a:lnTo>
                  <a:lnTo>
                    <a:pt x="119" y="22"/>
                  </a:lnTo>
                  <a:lnTo>
                    <a:pt x="121" y="22"/>
                  </a:lnTo>
                  <a:lnTo>
                    <a:pt x="122" y="22"/>
                  </a:lnTo>
                  <a:close/>
                  <a:moveTo>
                    <a:pt x="129" y="35"/>
                  </a:moveTo>
                  <a:lnTo>
                    <a:pt x="129" y="39"/>
                  </a:lnTo>
                  <a:lnTo>
                    <a:pt x="127" y="41"/>
                  </a:lnTo>
                  <a:lnTo>
                    <a:pt x="126" y="41"/>
                  </a:lnTo>
                  <a:lnTo>
                    <a:pt x="124" y="37"/>
                  </a:lnTo>
                  <a:lnTo>
                    <a:pt x="126" y="37"/>
                  </a:lnTo>
                  <a:lnTo>
                    <a:pt x="129" y="35"/>
                  </a:lnTo>
                  <a:close/>
                  <a:moveTo>
                    <a:pt x="243" y="75"/>
                  </a:moveTo>
                  <a:lnTo>
                    <a:pt x="243" y="76"/>
                  </a:lnTo>
                  <a:lnTo>
                    <a:pt x="241" y="78"/>
                  </a:lnTo>
                  <a:lnTo>
                    <a:pt x="241" y="75"/>
                  </a:lnTo>
                  <a:lnTo>
                    <a:pt x="240" y="76"/>
                  </a:lnTo>
                  <a:lnTo>
                    <a:pt x="238" y="76"/>
                  </a:lnTo>
                  <a:lnTo>
                    <a:pt x="238" y="75"/>
                  </a:lnTo>
                  <a:lnTo>
                    <a:pt x="240" y="75"/>
                  </a:lnTo>
                  <a:lnTo>
                    <a:pt x="241" y="73"/>
                  </a:lnTo>
                  <a:lnTo>
                    <a:pt x="243" y="75"/>
                  </a:lnTo>
                  <a:close/>
                  <a:moveTo>
                    <a:pt x="49" y="100"/>
                  </a:moveTo>
                  <a:lnTo>
                    <a:pt x="48" y="100"/>
                  </a:lnTo>
                  <a:lnTo>
                    <a:pt x="46" y="102"/>
                  </a:lnTo>
                  <a:lnTo>
                    <a:pt x="48" y="102"/>
                  </a:lnTo>
                  <a:lnTo>
                    <a:pt x="48" y="104"/>
                  </a:lnTo>
                  <a:lnTo>
                    <a:pt x="46" y="102"/>
                  </a:lnTo>
                  <a:lnTo>
                    <a:pt x="46" y="104"/>
                  </a:lnTo>
                  <a:lnTo>
                    <a:pt x="44" y="102"/>
                  </a:lnTo>
                  <a:lnTo>
                    <a:pt x="42" y="100"/>
                  </a:lnTo>
                  <a:lnTo>
                    <a:pt x="44" y="100"/>
                  </a:lnTo>
                  <a:lnTo>
                    <a:pt x="48" y="98"/>
                  </a:lnTo>
                  <a:lnTo>
                    <a:pt x="49" y="100"/>
                  </a:lnTo>
                  <a:close/>
                  <a:moveTo>
                    <a:pt x="116" y="30"/>
                  </a:moveTo>
                  <a:lnTo>
                    <a:pt x="117" y="32"/>
                  </a:lnTo>
                  <a:lnTo>
                    <a:pt x="116" y="32"/>
                  </a:lnTo>
                  <a:lnTo>
                    <a:pt x="114" y="30"/>
                  </a:lnTo>
                  <a:lnTo>
                    <a:pt x="114" y="29"/>
                  </a:lnTo>
                  <a:lnTo>
                    <a:pt x="112" y="27"/>
                  </a:lnTo>
                  <a:lnTo>
                    <a:pt x="114" y="25"/>
                  </a:lnTo>
                  <a:lnTo>
                    <a:pt x="116" y="24"/>
                  </a:lnTo>
                  <a:lnTo>
                    <a:pt x="114" y="25"/>
                  </a:lnTo>
                  <a:lnTo>
                    <a:pt x="116" y="29"/>
                  </a:lnTo>
                  <a:lnTo>
                    <a:pt x="116" y="30"/>
                  </a:lnTo>
                  <a:close/>
                  <a:moveTo>
                    <a:pt x="71" y="92"/>
                  </a:moveTo>
                  <a:lnTo>
                    <a:pt x="71" y="93"/>
                  </a:lnTo>
                  <a:lnTo>
                    <a:pt x="68" y="93"/>
                  </a:lnTo>
                  <a:lnTo>
                    <a:pt x="66" y="93"/>
                  </a:lnTo>
                  <a:lnTo>
                    <a:pt x="65" y="93"/>
                  </a:lnTo>
                  <a:lnTo>
                    <a:pt x="63" y="93"/>
                  </a:lnTo>
                  <a:lnTo>
                    <a:pt x="66" y="92"/>
                  </a:lnTo>
                  <a:lnTo>
                    <a:pt x="68" y="92"/>
                  </a:lnTo>
                  <a:lnTo>
                    <a:pt x="71" y="92"/>
                  </a:lnTo>
                  <a:close/>
                  <a:moveTo>
                    <a:pt x="82" y="90"/>
                  </a:moveTo>
                  <a:lnTo>
                    <a:pt x="83" y="92"/>
                  </a:lnTo>
                  <a:lnTo>
                    <a:pt x="82" y="92"/>
                  </a:lnTo>
                  <a:lnTo>
                    <a:pt x="78" y="92"/>
                  </a:lnTo>
                  <a:lnTo>
                    <a:pt x="78" y="93"/>
                  </a:lnTo>
                  <a:lnTo>
                    <a:pt x="76" y="93"/>
                  </a:lnTo>
                  <a:lnTo>
                    <a:pt x="78" y="90"/>
                  </a:lnTo>
                  <a:lnTo>
                    <a:pt x="82" y="90"/>
                  </a:lnTo>
                  <a:close/>
                  <a:moveTo>
                    <a:pt x="311" y="37"/>
                  </a:moveTo>
                  <a:lnTo>
                    <a:pt x="313" y="39"/>
                  </a:lnTo>
                  <a:lnTo>
                    <a:pt x="311" y="39"/>
                  </a:lnTo>
                  <a:lnTo>
                    <a:pt x="309" y="41"/>
                  </a:lnTo>
                  <a:lnTo>
                    <a:pt x="309" y="39"/>
                  </a:lnTo>
                  <a:lnTo>
                    <a:pt x="311" y="37"/>
                  </a:lnTo>
                  <a:close/>
                  <a:moveTo>
                    <a:pt x="88" y="88"/>
                  </a:moveTo>
                  <a:lnTo>
                    <a:pt x="90" y="88"/>
                  </a:lnTo>
                  <a:lnTo>
                    <a:pt x="92" y="90"/>
                  </a:lnTo>
                  <a:lnTo>
                    <a:pt x="88" y="90"/>
                  </a:lnTo>
                  <a:lnTo>
                    <a:pt x="87" y="90"/>
                  </a:lnTo>
                  <a:lnTo>
                    <a:pt x="87" y="92"/>
                  </a:lnTo>
                  <a:lnTo>
                    <a:pt x="85" y="90"/>
                  </a:lnTo>
                  <a:lnTo>
                    <a:pt x="88" y="88"/>
                  </a:lnTo>
                  <a:close/>
                  <a:moveTo>
                    <a:pt x="309" y="30"/>
                  </a:moveTo>
                  <a:lnTo>
                    <a:pt x="309" y="32"/>
                  </a:lnTo>
                  <a:lnTo>
                    <a:pt x="309" y="30"/>
                  </a:lnTo>
                  <a:lnTo>
                    <a:pt x="308" y="32"/>
                  </a:lnTo>
                  <a:lnTo>
                    <a:pt x="308" y="35"/>
                  </a:lnTo>
                  <a:lnTo>
                    <a:pt x="306" y="35"/>
                  </a:lnTo>
                  <a:lnTo>
                    <a:pt x="306" y="37"/>
                  </a:lnTo>
                  <a:lnTo>
                    <a:pt x="306" y="41"/>
                  </a:lnTo>
                  <a:lnTo>
                    <a:pt x="306" y="39"/>
                  </a:lnTo>
                  <a:lnTo>
                    <a:pt x="306" y="37"/>
                  </a:lnTo>
                  <a:lnTo>
                    <a:pt x="306" y="35"/>
                  </a:lnTo>
                  <a:lnTo>
                    <a:pt x="308" y="34"/>
                  </a:lnTo>
                  <a:lnTo>
                    <a:pt x="308" y="30"/>
                  </a:lnTo>
                  <a:lnTo>
                    <a:pt x="309" y="30"/>
                  </a:lnTo>
                  <a:close/>
                  <a:moveTo>
                    <a:pt x="121" y="42"/>
                  </a:moveTo>
                  <a:lnTo>
                    <a:pt x="121" y="44"/>
                  </a:lnTo>
                  <a:lnTo>
                    <a:pt x="121" y="46"/>
                  </a:lnTo>
                  <a:lnTo>
                    <a:pt x="119" y="44"/>
                  </a:lnTo>
                  <a:lnTo>
                    <a:pt x="119" y="42"/>
                  </a:lnTo>
                  <a:lnTo>
                    <a:pt x="121" y="42"/>
                  </a:lnTo>
                  <a:close/>
                  <a:moveTo>
                    <a:pt x="61" y="95"/>
                  </a:moveTo>
                  <a:lnTo>
                    <a:pt x="59" y="95"/>
                  </a:lnTo>
                  <a:lnTo>
                    <a:pt x="58" y="95"/>
                  </a:lnTo>
                  <a:lnTo>
                    <a:pt x="56" y="95"/>
                  </a:lnTo>
                  <a:lnTo>
                    <a:pt x="53" y="95"/>
                  </a:lnTo>
                  <a:lnTo>
                    <a:pt x="54" y="95"/>
                  </a:lnTo>
                  <a:lnTo>
                    <a:pt x="56" y="95"/>
                  </a:lnTo>
                  <a:lnTo>
                    <a:pt x="59" y="95"/>
                  </a:lnTo>
                  <a:lnTo>
                    <a:pt x="61" y="95"/>
                  </a:lnTo>
                  <a:close/>
                  <a:moveTo>
                    <a:pt x="121" y="39"/>
                  </a:moveTo>
                  <a:lnTo>
                    <a:pt x="119" y="39"/>
                  </a:lnTo>
                  <a:lnTo>
                    <a:pt x="119" y="37"/>
                  </a:lnTo>
                  <a:lnTo>
                    <a:pt x="119" y="35"/>
                  </a:lnTo>
                  <a:lnTo>
                    <a:pt x="121" y="37"/>
                  </a:lnTo>
                  <a:lnTo>
                    <a:pt x="121" y="39"/>
                  </a:lnTo>
                  <a:close/>
                  <a:moveTo>
                    <a:pt x="97" y="88"/>
                  </a:moveTo>
                  <a:lnTo>
                    <a:pt x="99" y="90"/>
                  </a:lnTo>
                  <a:lnTo>
                    <a:pt x="97" y="88"/>
                  </a:lnTo>
                  <a:lnTo>
                    <a:pt x="93" y="88"/>
                  </a:lnTo>
                  <a:lnTo>
                    <a:pt x="93" y="90"/>
                  </a:lnTo>
                  <a:lnTo>
                    <a:pt x="93" y="88"/>
                  </a:lnTo>
                  <a:lnTo>
                    <a:pt x="97" y="88"/>
                  </a:lnTo>
                  <a:close/>
                  <a:moveTo>
                    <a:pt x="105" y="93"/>
                  </a:moveTo>
                  <a:lnTo>
                    <a:pt x="107" y="93"/>
                  </a:lnTo>
                  <a:lnTo>
                    <a:pt x="105" y="95"/>
                  </a:lnTo>
                  <a:lnTo>
                    <a:pt x="104" y="93"/>
                  </a:lnTo>
                  <a:lnTo>
                    <a:pt x="105" y="93"/>
                  </a:lnTo>
                  <a:close/>
                  <a:moveTo>
                    <a:pt x="75" y="92"/>
                  </a:moveTo>
                  <a:lnTo>
                    <a:pt x="76" y="93"/>
                  </a:lnTo>
                  <a:lnTo>
                    <a:pt x="73" y="92"/>
                  </a:lnTo>
                  <a:lnTo>
                    <a:pt x="75" y="92"/>
                  </a:lnTo>
                  <a:close/>
                  <a:moveTo>
                    <a:pt x="121" y="513"/>
                  </a:moveTo>
                  <a:lnTo>
                    <a:pt x="121" y="515"/>
                  </a:lnTo>
                  <a:lnTo>
                    <a:pt x="119" y="517"/>
                  </a:lnTo>
                  <a:lnTo>
                    <a:pt x="119" y="515"/>
                  </a:lnTo>
                  <a:lnTo>
                    <a:pt x="121" y="513"/>
                  </a:lnTo>
                  <a:close/>
                  <a:moveTo>
                    <a:pt x="124" y="34"/>
                  </a:moveTo>
                  <a:lnTo>
                    <a:pt x="124" y="35"/>
                  </a:lnTo>
                  <a:lnTo>
                    <a:pt x="122" y="35"/>
                  </a:lnTo>
                  <a:lnTo>
                    <a:pt x="121" y="34"/>
                  </a:lnTo>
                  <a:lnTo>
                    <a:pt x="124" y="34"/>
                  </a:lnTo>
                  <a:close/>
                  <a:moveTo>
                    <a:pt x="53" y="97"/>
                  </a:moveTo>
                  <a:lnTo>
                    <a:pt x="54" y="97"/>
                  </a:lnTo>
                  <a:lnTo>
                    <a:pt x="53" y="98"/>
                  </a:lnTo>
                  <a:lnTo>
                    <a:pt x="53" y="97"/>
                  </a:lnTo>
                  <a:close/>
                  <a:moveTo>
                    <a:pt x="139" y="517"/>
                  </a:moveTo>
                  <a:lnTo>
                    <a:pt x="136" y="515"/>
                  </a:lnTo>
                  <a:lnTo>
                    <a:pt x="139" y="517"/>
                  </a:lnTo>
                  <a:close/>
                  <a:moveTo>
                    <a:pt x="160" y="95"/>
                  </a:moveTo>
                  <a:lnTo>
                    <a:pt x="161" y="97"/>
                  </a:lnTo>
                  <a:lnTo>
                    <a:pt x="161" y="98"/>
                  </a:lnTo>
                  <a:lnTo>
                    <a:pt x="161" y="97"/>
                  </a:lnTo>
                  <a:lnTo>
                    <a:pt x="160" y="95"/>
                  </a:lnTo>
                  <a:close/>
                  <a:moveTo>
                    <a:pt x="291" y="42"/>
                  </a:moveTo>
                  <a:lnTo>
                    <a:pt x="292" y="44"/>
                  </a:lnTo>
                  <a:lnTo>
                    <a:pt x="291" y="44"/>
                  </a:lnTo>
                  <a:lnTo>
                    <a:pt x="291" y="42"/>
                  </a:lnTo>
                  <a:close/>
                  <a:moveTo>
                    <a:pt x="306" y="41"/>
                  </a:moveTo>
                  <a:lnTo>
                    <a:pt x="304" y="42"/>
                  </a:lnTo>
                  <a:lnTo>
                    <a:pt x="303" y="42"/>
                  </a:lnTo>
                  <a:lnTo>
                    <a:pt x="304" y="41"/>
                  </a:lnTo>
                  <a:lnTo>
                    <a:pt x="306" y="41"/>
                  </a:lnTo>
                  <a:close/>
                  <a:moveTo>
                    <a:pt x="127" y="69"/>
                  </a:moveTo>
                  <a:lnTo>
                    <a:pt x="129" y="69"/>
                  </a:lnTo>
                  <a:lnTo>
                    <a:pt x="127" y="71"/>
                  </a:lnTo>
                  <a:lnTo>
                    <a:pt x="127" y="69"/>
                  </a:lnTo>
                  <a:close/>
                  <a:moveTo>
                    <a:pt x="117" y="76"/>
                  </a:moveTo>
                  <a:lnTo>
                    <a:pt x="119" y="76"/>
                  </a:lnTo>
                  <a:lnTo>
                    <a:pt x="119" y="78"/>
                  </a:lnTo>
                  <a:lnTo>
                    <a:pt x="117" y="78"/>
                  </a:lnTo>
                  <a:lnTo>
                    <a:pt x="117" y="76"/>
                  </a:lnTo>
                  <a:close/>
                  <a:moveTo>
                    <a:pt x="119" y="34"/>
                  </a:moveTo>
                  <a:lnTo>
                    <a:pt x="119" y="35"/>
                  </a:lnTo>
                  <a:lnTo>
                    <a:pt x="119" y="34"/>
                  </a:lnTo>
                  <a:close/>
                  <a:moveTo>
                    <a:pt x="119" y="80"/>
                  </a:moveTo>
                  <a:lnTo>
                    <a:pt x="121" y="80"/>
                  </a:lnTo>
                  <a:lnTo>
                    <a:pt x="119" y="80"/>
                  </a:lnTo>
                  <a:close/>
                  <a:moveTo>
                    <a:pt x="170" y="105"/>
                  </a:moveTo>
                  <a:lnTo>
                    <a:pt x="168" y="107"/>
                  </a:lnTo>
                  <a:lnTo>
                    <a:pt x="168" y="105"/>
                  </a:lnTo>
                  <a:lnTo>
                    <a:pt x="170" y="105"/>
                  </a:lnTo>
                  <a:close/>
                  <a:moveTo>
                    <a:pt x="172" y="105"/>
                  </a:moveTo>
                  <a:lnTo>
                    <a:pt x="173" y="107"/>
                  </a:lnTo>
                  <a:lnTo>
                    <a:pt x="170" y="107"/>
                  </a:lnTo>
                  <a:lnTo>
                    <a:pt x="172" y="105"/>
                  </a:lnTo>
                  <a:close/>
                  <a:moveTo>
                    <a:pt x="158" y="95"/>
                  </a:moveTo>
                  <a:lnTo>
                    <a:pt x="160" y="95"/>
                  </a:lnTo>
                  <a:lnTo>
                    <a:pt x="160" y="97"/>
                  </a:lnTo>
                  <a:lnTo>
                    <a:pt x="158" y="97"/>
                  </a:lnTo>
                  <a:lnTo>
                    <a:pt x="158" y="95"/>
                  </a:lnTo>
                  <a:close/>
                  <a:moveTo>
                    <a:pt x="163" y="104"/>
                  </a:moveTo>
                  <a:lnTo>
                    <a:pt x="165" y="104"/>
                  </a:lnTo>
                  <a:lnTo>
                    <a:pt x="163" y="104"/>
                  </a:lnTo>
                  <a:close/>
                  <a:moveTo>
                    <a:pt x="325" y="49"/>
                  </a:moveTo>
                  <a:lnTo>
                    <a:pt x="326" y="47"/>
                  </a:lnTo>
                  <a:lnTo>
                    <a:pt x="326" y="49"/>
                  </a:lnTo>
                  <a:lnTo>
                    <a:pt x="325" y="49"/>
                  </a:lnTo>
                  <a:close/>
                  <a:moveTo>
                    <a:pt x="243" y="69"/>
                  </a:moveTo>
                  <a:lnTo>
                    <a:pt x="245" y="69"/>
                  </a:lnTo>
                  <a:lnTo>
                    <a:pt x="245" y="71"/>
                  </a:lnTo>
                  <a:lnTo>
                    <a:pt x="243" y="71"/>
                  </a:lnTo>
                  <a:lnTo>
                    <a:pt x="243" y="69"/>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03" name="Freeform 33">
              <a:extLst>
                <a:ext uri="{FF2B5EF4-FFF2-40B4-BE49-F238E27FC236}">
                  <a16:creationId xmlns:a16="http://schemas.microsoft.com/office/drawing/2014/main" id="{4FCC38CF-1606-4CA2-BC23-55C51B7D0358}"/>
                </a:ext>
              </a:extLst>
            </p:cNvPr>
            <p:cNvSpPr>
              <a:spLocks noEditPoints="1"/>
            </p:cNvSpPr>
            <p:nvPr/>
          </p:nvSpPr>
          <p:spPr bwMode="gray">
            <a:xfrm>
              <a:off x="8147230" y="2686480"/>
              <a:ext cx="838455" cy="657728"/>
            </a:xfrm>
            <a:custGeom>
              <a:avLst/>
              <a:gdLst>
                <a:gd name="T0" fmla="*/ 17 w 283"/>
                <a:gd name="T1" fmla="*/ 187 h 222"/>
                <a:gd name="T2" fmla="*/ 14 w 283"/>
                <a:gd name="T3" fmla="*/ 160 h 222"/>
                <a:gd name="T4" fmla="*/ 4 w 283"/>
                <a:gd name="T5" fmla="*/ 129 h 222"/>
                <a:gd name="T6" fmla="*/ 7 w 283"/>
                <a:gd name="T7" fmla="*/ 115 h 222"/>
                <a:gd name="T8" fmla="*/ 7 w 283"/>
                <a:gd name="T9" fmla="*/ 95 h 222"/>
                <a:gd name="T10" fmla="*/ 12 w 283"/>
                <a:gd name="T11" fmla="*/ 81 h 222"/>
                <a:gd name="T12" fmla="*/ 31 w 283"/>
                <a:gd name="T13" fmla="*/ 73 h 222"/>
                <a:gd name="T14" fmla="*/ 50 w 283"/>
                <a:gd name="T15" fmla="*/ 85 h 222"/>
                <a:gd name="T16" fmla="*/ 62 w 283"/>
                <a:gd name="T17" fmla="*/ 52 h 222"/>
                <a:gd name="T18" fmla="*/ 89 w 283"/>
                <a:gd name="T19" fmla="*/ 73 h 222"/>
                <a:gd name="T20" fmla="*/ 85 w 283"/>
                <a:gd name="T21" fmla="*/ 85 h 222"/>
                <a:gd name="T22" fmla="*/ 106 w 283"/>
                <a:gd name="T23" fmla="*/ 85 h 222"/>
                <a:gd name="T24" fmla="*/ 97 w 283"/>
                <a:gd name="T25" fmla="*/ 115 h 222"/>
                <a:gd name="T26" fmla="*/ 85 w 283"/>
                <a:gd name="T27" fmla="*/ 112 h 222"/>
                <a:gd name="T28" fmla="*/ 73 w 283"/>
                <a:gd name="T29" fmla="*/ 131 h 222"/>
                <a:gd name="T30" fmla="*/ 67 w 283"/>
                <a:gd name="T31" fmla="*/ 149 h 222"/>
                <a:gd name="T32" fmla="*/ 60 w 283"/>
                <a:gd name="T33" fmla="*/ 173 h 222"/>
                <a:gd name="T34" fmla="*/ 62 w 283"/>
                <a:gd name="T35" fmla="*/ 192 h 222"/>
                <a:gd name="T36" fmla="*/ 179 w 283"/>
                <a:gd name="T37" fmla="*/ 117 h 222"/>
                <a:gd name="T38" fmla="*/ 167 w 283"/>
                <a:gd name="T39" fmla="*/ 161 h 222"/>
                <a:gd name="T40" fmla="*/ 162 w 283"/>
                <a:gd name="T41" fmla="*/ 192 h 222"/>
                <a:gd name="T42" fmla="*/ 143 w 283"/>
                <a:gd name="T43" fmla="*/ 177 h 222"/>
                <a:gd name="T44" fmla="*/ 124 w 283"/>
                <a:gd name="T45" fmla="*/ 168 h 222"/>
                <a:gd name="T46" fmla="*/ 113 w 283"/>
                <a:gd name="T47" fmla="*/ 141 h 222"/>
                <a:gd name="T48" fmla="*/ 130 w 283"/>
                <a:gd name="T49" fmla="*/ 124 h 222"/>
                <a:gd name="T50" fmla="*/ 145 w 283"/>
                <a:gd name="T51" fmla="*/ 137 h 222"/>
                <a:gd name="T52" fmla="*/ 157 w 283"/>
                <a:gd name="T53" fmla="*/ 132 h 222"/>
                <a:gd name="T54" fmla="*/ 158 w 283"/>
                <a:gd name="T55" fmla="*/ 136 h 222"/>
                <a:gd name="T56" fmla="*/ 94 w 283"/>
                <a:gd name="T57" fmla="*/ 15 h 222"/>
                <a:gd name="T58" fmla="*/ 73 w 283"/>
                <a:gd name="T59" fmla="*/ 47 h 222"/>
                <a:gd name="T60" fmla="*/ 34 w 283"/>
                <a:gd name="T61" fmla="*/ 52 h 222"/>
                <a:gd name="T62" fmla="*/ 21 w 283"/>
                <a:gd name="T63" fmla="*/ 81 h 222"/>
                <a:gd name="T64" fmla="*/ 24 w 283"/>
                <a:gd name="T65" fmla="*/ 42 h 222"/>
                <a:gd name="T66" fmla="*/ 73 w 283"/>
                <a:gd name="T67" fmla="*/ 13 h 222"/>
                <a:gd name="T68" fmla="*/ 94 w 283"/>
                <a:gd name="T69" fmla="*/ 161 h 222"/>
                <a:gd name="T70" fmla="*/ 99 w 283"/>
                <a:gd name="T71" fmla="*/ 161 h 222"/>
                <a:gd name="T72" fmla="*/ 90 w 283"/>
                <a:gd name="T73" fmla="*/ 188 h 222"/>
                <a:gd name="T74" fmla="*/ 72 w 283"/>
                <a:gd name="T75" fmla="*/ 166 h 222"/>
                <a:gd name="T76" fmla="*/ 84 w 283"/>
                <a:gd name="T77" fmla="*/ 151 h 222"/>
                <a:gd name="T78" fmla="*/ 150 w 283"/>
                <a:gd name="T79" fmla="*/ 205 h 222"/>
                <a:gd name="T80" fmla="*/ 124 w 283"/>
                <a:gd name="T81" fmla="*/ 211 h 222"/>
                <a:gd name="T82" fmla="*/ 274 w 283"/>
                <a:gd name="T83" fmla="*/ 171 h 222"/>
                <a:gd name="T84" fmla="*/ 266 w 283"/>
                <a:gd name="T85" fmla="*/ 168 h 222"/>
                <a:gd name="T86" fmla="*/ 153 w 283"/>
                <a:gd name="T87" fmla="*/ 212 h 222"/>
                <a:gd name="T88" fmla="*/ 28 w 283"/>
                <a:gd name="T89" fmla="*/ 74 h 222"/>
                <a:gd name="T90" fmla="*/ 34 w 283"/>
                <a:gd name="T91" fmla="*/ 56 h 222"/>
                <a:gd name="T92" fmla="*/ 70 w 283"/>
                <a:gd name="T93" fmla="*/ 197 h 222"/>
                <a:gd name="T94" fmla="*/ 106 w 283"/>
                <a:gd name="T95" fmla="*/ 211 h 222"/>
                <a:gd name="T96" fmla="*/ 175 w 283"/>
                <a:gd name="T97" fmla="*/ 194 h 222"/>
                <a:gd name="T98" fmla="*/ 121 w 283"/>
                <a:gd name="T99" fmla="*/ 32 h 222"/>
                <a:gd name="T100" fmla="*/ 97 w 283"/>
                <a:gd name="T101" fmla="*/ 134 h 222"/>
                <a:gd name="T102" fmla="*/ 92 w 283"/>
                <a:gd name="T103" fmla="*/ 199 h 222"/>
                <a:gd name="T104" fmla="*/ 97 w 283"/>
                <a:gd name="T105" fmla="*/ 192 h 222"/>
                <a:gd name="T106" fmla="*/ 136 w 283"/>
                <a:gd name="T107" fmla="*/ 71 h 222"/>
                <a:gd name="T108" fmla="*/ 148 w 283"/>
                <a:gd name="T109" fmla="*/ 136 h 222"/>
                <a:gd name="T110" fmla="*/ 138 w 283"/>
                <a:gd name="T111" fmla="*/ 192 h 222"/>
                <a:gd name="T112" fmla="*/ 70 w 283"/>
                <a:gd name="T113" fmla="*/ 47 h 222"/>
                <a:gd name="T114" fmla="*/ 147 w 283"/>
                <a:gd name="T115" fmla="*/ 177 h 222"/>
                <a:gd name="T116" fmla="*/ 92 w 283"/>
                <a:gd name="T117" fmla="*/ 126 h 222"/>
                <a:gd name="T118" fmla="*/ 84 w 283"/>
                <a:gd name="T119" fmla="*/ 148 h 222"/>
                <a:gd name="T120" fmla="*/ 116 w 283"/>
                <a:gd name="T121" fmla="*/ 170 h 222"/>
                <a:gd name="T122" fmla="*/ 11 w 283"/>
                <a:gd name="T123" fmla="*/ 12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3" h="222">
                  <a:moveTo>
                    <a:pt x="53" y="204"/>
                  </a:moveTo>
                  <a:lnTo>
                    <a:pt x="51" y="204"/>
                  </a:lnTo>
                  <a:lnTo>
                    <a:pt x="50" y="205"/>
                  </a:lnTo>
                  <a:lnTo>
                    <a:pt x="48" y="205"/>
                  </a:lnTo>
                  <a:lnTo>
                    <a:pt x="46" y="205"/>
                  </a:lnTo>
                  <a:lnTo>
                    <a:pt x="46" y="202"/>
                  </a:lnTo>
                  <a:lnTo>
                    <a:pt x="45" y="202"/>
                  </a:lnTo>
                  <a:lnTo>
                    <a:pt x="43" y="200"/>
                  </a:lnTo>
                  <a:lnTo>
                    <a:pt x="39" y="200"/>
                  </a:lnTo>
                  <a:lnTo>
                    <a:pt x="38" y="200"/>
                  </a:lnTo>
                  <a:lnTo>
                    <a:pt x="34" y="199"/>
                  </a:lnTo>
                  <a:lnTo>
                    <a:pt x="33" y="199"/>
                  </a:lnTo>
                  <a:lnTo>
                    <a:pt x="31" y="199"/>
                  </a:lnTo>
                  <a:lnTo>
                    <a:pt x="29" y="199"/>
                  </a:lnTo>
                  <a:lnTo>
                    <a:pt x="28" y="199"/>
                  </a:lnTo>
                  <a:lnTo>
                    <a:pt x="26" y="199"/>
                  </a:lnTo>
                  <a:lnTo>
                    <a:pt x="24" y="199"/>
                  </a:lnTo>
                  <a:lnTo>
                    <a:pt x="22" y="197"/>
                  </a:lnTo>
                  <a:lnTo>
                    <a:pt x="22" y="195"/>
                  </a:lnTo>
                  <a:lnTo>
                    <a:pt x="22" y="194"/>
                  </a:lnTo>
                  <a:lnTo>
                    <a:pt x="22" y="192"/>
                  </a:lnTo>
                  <a:lnTo>
                    <a:pt x="22" y="188"/>
                  </a:lnTo>
                  <a:lnTo>
                    <a:pt x="22" y="185"/>
                  </a:lnTo>
                  <a:lnTo>
                    <a:pt x="24" y="182"/>
                  </a:lnTo>
                  <a:lnTo>
                    <a:pt x="22" y="182"/>
                  </a:lnTo>
                  <a:lnTo>
                    <a:pt x="21" y="182"/>
                  </a:lnTo>
                  <a:lnTo>
                    <a:pt x="19" y="182"/>
                  </a:lnTo>
                  <a:lnTo>
                    <a:pt x="19" y="183"/>
                  </a:lnTo>
                  <a:lnTo>
                    <a:pt x="19" y="185"/>
                  </a:lnTo>
                  <a:lnTo>
                    <a:pt x="17" y="187"/>
                  </a:lnTo>
                  <a:lnTo>
                    <a:pt x="16" y="185"/>
                  </a:lnTo>
                  <a:lnTo>
                    <a:pt x="16" y="182"/>
                  </a:lnTo>
                  <a:lnTo>
                    <a:pt x="16" y="180"/>
                  </a:lnTo>
                  <a:lnTo>
                    <a:pt x="17" y="177"/>
                  </a:lnTo>
                  <a:lnTo>
                    <a:pt x="17" y="178"/>
                  </a:lnTo>
                  <a:lnTo>
                    <a:pt x="17" y="177"/>
                  </a:lnTo>
                  <a:lnTo>
                    <a:pt x="21" y="178"/>
                  </a:lnTo>
                  <a:lnTo>
                    <a:pt x="19" y="180"/>
                  </a:lnTo>
                  <a:lnTo>
                    <a:pt x="22" y="182"/>
                  </a:lnTo>
                  <a:lnTo>
                    <a:pt x="24" y="180"/>
                  </a:lnTo>
                  <a:lnTo>
                    <a:pt x="24" y="178"/>
                  </a:lnTo>
                  <a:lnTo>
                    <a:pt x="24" y="177"/>
                  </a:lnTo>
                  <a:lnTo>
                    <a:pt x="22" y="177"/>
                  </a:lnTo>
                  <a:lnTo>
                    <a:pt x="24" y="173"/>
                  </a:lnTo>
                  <a:lnTo>
                    <a:pt x="22" y="173"/>
                  </a:lnTo>
                  <a:lnTo>
                    <a:pt x="22" y="170"/>
                  </a:lnTo>
                  <a:lnTo>
                    <a:pt x="21" y="171"/>
                  </a:lnTo>
                  <a:lnTo>
                    <a:pt x="19" y="173"/>
                  </a:lnTo>
                  <a:lnTo>
                    <a:pt x="17" y="171"/>
                  </a:lnTo>
                  <a:lnTo>
                    <a:pt x="19" y="171"/>
                  </a:lnTo>
                  <a:lnTo>
                    <a:pt x="21" y="171"/>
                  </a:lnTo>
                  <a:lnTo>
                    <a:pt x="24" y="170"/>
                  </a:lnTo>
                  <a:lnTo>
                    <a:pt x="24" y="168"/>
                  </a:lnTo>
                  <a:lnTo>
                    <a:pt x="22" y="166"/>
                  </a:lnTo>
                  <a:lnTo>
                    <a:pt x="22" y="165"/>
                  </a:lnTo>
                  <a:lnTo>
                    <a:pt x="22" y="163"/>
                  </a:lnTo>
                  <a:lnTo>
                    <a:pt x="22" y="161"/>
                  </a:lnTo>
                  <a:lnTo>
                    <a:pt x="19" y="160"/>
                  </a:lnTo>
                  <a:lnTo>
                    <a:pt x="16" y="160"/>
                  </a:lnTo>
                  <a:lnTo>
                    <a:pt x="14" y="160"/>
                  </a:lnTo>
                  <a:lnTo>
                    <a:pt x="14" y="158"/>
                  </a:lnTo>
                  <a:lnTo>
                    <a:pt x="12" y="156"/>
                  </a:lnTo>
                  <a:lnTo>
                    <a:pt x="12" y="154"/>
                  </a:lnTo>
                  <a:lnTo>
                    <a:pt x="11" y="153"/>
                  </a:lnTo>
                  <a:lnTo>
                    <a:pt x="9" y="151"/>
                  </a:lnTo>
                  <a:lnTo>
                    <a:pt x="11" y="151"/>
                  </a:lnTo>
                  <a:lnTo>
                    <a:pt x="9" y="149"/>
                  </a:lnTo>
                  <a:lnTo>
                    <a:pt x="7" y="151"/>
                  </a:lnTo>
                  <a:lnTo>
                    <a:pt x="7" y="153"/>
                  </a:lnTo>
                  <a:lnTo>
                    <a:pt x="9" y="154"/>
                  </a:lnTo>
                  <a:lnTo>
                    <a:pt x="7" y="154"/>
                  </a:lnTo>
                  <a:lnTo>
                    <a:pt x="9" y="156"/>
                  </a:lnTo>
                  <a:lnTo>
                    <a:pt x="9" y="158"/>
                  </a:lnTo>
                  <a:lnTo>
                    <a:pt x="7" y="156"/>
                  </a:lnTo>
                  <a:lnTo>
                    <a:pt x="5" y="154"/>
                  </a:lnTo>
                  <a:lnTo>
                    <a:pt x="4" y="154"/>
                  </a:lnTo>
                  <a:lnTo>
                    <a:pt x="4" y="153"/>
                  </a:lnTo>
                  <a:lnTo>
                    <a:pt x="0" y="153"/>
                  </a:lnTo>
                  <a:lnTo>
                    <a:pt x="0" y="151"/>
                  </a:lnTo>
                  <a:lnTo>
                    <a:pt x="2" y="149"/>
                  </a:lnTo>
                  <a:lnTo>
                    <a:pt x="2" y="146"/>
                  </a:lnTo>
                  <a:lnTo>
                    <a:pt x="4" y="146"/>
                  </a:lnTo>
                  <a:lnTo>
                    <a:pt x="4" y="143"/>
                  </a:lnTo>
                  <a:lnTo>
                    <a:pt x="4" y="141"/>
                  </a:lnTo>
                  <a:lnTo>
                    <a:pt x="5" y="139"/>
                  </a:lnTo>
                  <a:lnTo>
                    <a:pt x="5" y="137"/>
                  </a:lnTo>
                  <a:lnTo>
                    <a:pt x="5" y="134"/>
                  </a:lnTo>
                  <a:lnTo>
                    <a:pt x="4" y="132"/>
                  </a:lnTo>
                  <a:lnTo>
                    <a:pt x="4" y="131"/>
                  </a:lnTo>
                  <a:lnTo>
                    <a:pt x="4" y="129"/>
                  </a:lnTo>
                  <a:lnTo>
                    <a:pt x="4" y="126"/>
                  </a:lnTo>
                  <a:lnTo>
                    <a:pt x="4" y="122"/>
                  </a:lnTo>
                  <a:lnTo>
                    <a:pt x="2" y="120"/>
                  </a:lnTo>
                  <a:lnTo>
                    <a:pt x="4" y="122"/>
                  </a:lnTo>
                  <a:lnTo>
                    <a:pt x="4" y="124"/>
                  </a:lnTo>
                  <a:lnTo>
                    <a:pt x="5" y="126"/>
                  </a:lnTo>
                  <a:lnTo>
                    <a:pt x="5" y="127"/>
                  </a:lnTo>
                  <a:lnTo>
                    <a:pt x="5" y="131"/>
                  </a:lnTo>
                  <a:lnTo>
                    <a:pt x="5" y="132"/>
                  </a:lnTo>
                  <a:lnTo>
                    <a:pt x="5" y="134"/>
                  </a:lnTo>
                  <a:lnTo>
                    <a:pt x="5" y="132"/>
                  </a:lnTo>
                  <a:lnTo>
                    <a:pt x="7" y="131"/>
                  </a:lnTo>
                  <a:lnTo>
                    <a:pt x="7" y="129"/>
                  </a:lnTo>
                  <a:lnTo>
                    <a:pt x="7" y="131"/>
                  </a:lnTo>
                  <a:lnTo>
                    <a:pt x="9" y="129"/>
                  </a:lnTo>
                  <a:lnTo>
                    <a:pt x="9" y="132"/>
                  </a:lnTo>
                  <a:lnTo>
                    <a:pt x="11" y="131"/>
                  </a:lnTo>
                  <a:lnTo>
                    <a:pt x="12" y="129"/>
                  </a:lnTo>
                  <a:lnTo>
                    <a:pt x="14" y="127"/>
                  </a:lnTo>
                  <a:lnTo>
                    <a:pt x="12" y="127"/>
                  </a:lnTo>
                  <a:lnTo>
                    <a:pt x="14" y="127"/>
                  </a:lnTo>
                  <a:lnTo>
                    <a:pt x="12" y="127"/>
                  </a:lnTo>
                  <a:lnTo>
                    <a:pt x="14" y="126"/>
                  </a:lnTo>
                  <a:lnTo>
                    <a:pt x="12" y="126"/>
                  </a:lnTo>
                  <a:lnTo>
                    <a:pt x="12" y="124"/>
                  </a:lnTo>
                  <a:lnTo>
                    <a:pt x="11" y="122"/>
                  </a:lnTo>
                  <a:lnTo>
                    <a:pt x="11" y="119"/>
                  </a:lnTo>
                  <a:lnTo>
                    <a:pt x="11" y="117"/>
                  </a:lnTo>
                  <a:lnTo>
                    <a:pt x="9" y="115"/>
                  </a:lnTo>
                  <a:lnTo>
                    <a:pt x="7" y="115"/>
                  </a:lnTo>
                  <a:lnTo>
                    <a:pt x="5" y="114"/>
                  </a:lnTo>
                  <a:lnTo>
                    <a:pt x="4" y="114"/>
                  </a:lnTo>
                  <a:lnTo>
                    <a:pt x="4" y="115"/>
                  </a:lnTo>
                  <a:lnTo>
                    <a:pt x="4" y="117"/>
                  </a:lnTo>
                  <a:lnTo>
                    <a:pt x="4" y="119"/>
                  </a:lnTo>
                  <a:lnTo>
                    <a:pt x="4" y="120"/>
                  </a:lnTo>
                  <a:lnTo>
                    <a:pt x="2" y="120"/>
                  </a:lnTo>
                  <a:lnTo>
                    <a:pt x="2" y="119"/>
                  </a:lnTo>
                  <a:lnTo>
                    <a:pt x="2" y="117"/>
                  </a:lnTo>
                  <a:lnTo>
                    <a:pt x="2" y="114"/>
                  </a:lnTo>
                  <a:lnTo>
                    <a:pt x="4" y="112"/>
                  </a:lnTo>
                  <a:lnTo>
                    <a:pt x="4" y="110"/>
                  </a:lnTo>
                  <a:lnTo>
                    <a:pt x="4" y="108"/>
                  </a:lnTo>
                  <a:lnTo>
                    <a:pt x="4" y="107"/>
                  </a:lnTo>
                  <a:lnTo>
                    <a:pt x="4" y="105"/>
                  </a:lnTo>
                  <a:lnTo>
                    <a:pt x="4" y="103"/>
                  </a:lnTo>
                  <a:lnTo>
                    <a:pt x="4" y="102"/>
                  </a:lnTo>
                  <a:lnTo>
                    <a:pt x="4" y="100"/>
                  </a:lnTo>
                  <a:lnTo>
                    <a:pt x="4" y="98"/>
                  </a:lnTo>
                  <a:lnTo>
                    <a:pt x="4" y="97"/>
                  </a:lnTo>
                  <a:lnTo>
                    <a:pt x="4" y="95"/>
                  </a:lnTo>
                  <a:lnTo>
                    <a:pt x="4" y="98"/>
                  </a:lnTo>
                  <a:lnTo>
                    <a:pt x="5" y="98"/>
                  </a:lnTo>
                  <a:lnTo>
                    <a:pt x="9" y="98"/>
                  </a:lnTo>
                  <a:lnTo>
                    <a:pt x="9" y="102"/>
                  </a:lnTo>
                  <a:lnTo>
                    <a:pt x="11" y="98"/>
                  </a:lnTo>
                  <a:lnTo>
                    <a:pt x="9" y="98"/>
                  </a:lnTo>
                  <a:lnTo>
                    <a:pt x="11" y="98"/>
                  </a:lnTo>
                  <a:lnTo>
                    <a:pt x="9" y="97"/>
                  </a:lnTo>
                  <a:lnTo>
                    <a:pt x="7" y="95"/>
                  </a:lnTo>
                  <a:lnTo>
                    <a:pt x="5" y="93"/>
                  </a:lnTo>
                  <a:lnTo>
                    <a:pt x="5" y="91"/>
                  </a:lnTo>
                  <a:lnTo>
                    <a:pt x="4" y="91"/>
                  </a:lnTo>
                  <a:lnTo>
                    <a:pt x="4" y="93"/>
                  </a:lnTo>
                  <a:lnTo>
                    <a:pt x="4" y="95"/>
                  </a:lnTo>
                  <a:lnTo>
                    <a:pt x="4" y="93"/>
                  </a:lnTo>
                  <a:lnTo>
                    <a:pt x="4" y="91"/>
                  </a:lnTo>
                  <a:lnTo>
                    <a:pt x="4" y="88"/>
                  </a:lnTo>
                  <a:lnTo>
                    <a:pt x="4" y="86"/>
                  </a:lnTo>
                  <a:lnTo>
                    <a:pt x="4" y="85"/>
                  </a:lnTo>
                  <a:lnTo>
                    <a:pt x="4" y="81"/>
                  </a:lnTo>
                  <a:lnTo>
                    <a:pt x="5" y="78"/>
                  </a:lnTo>
                  <a:lnTo>
                    <a:pt x="5" y="76"/>
                  </a:lnTo>
                  <a:lnTo>
                    <a:pt x="5" y="74"/>
                  </a:lnTo>
                  <a:lnTo>
                    <a:pt x="7" y="73"/>
                  </a:lnTo>
                  <a:lnTo>
                    <a:pt x="9" y="71"/>
                  </a:lnTo>
                  <a:lnTo>
                    <a:pt x="9" y="73"/>
                  </a:lnTo>
                  <a:lnTo>
                    <a:pt x="7" y="74"/>
                  </a:lnTo>
                  <a:lnTo>
                    <a:pt x="9" y="74"/>
                  </a:lnTo>
                  <a:lnTo>
                    <a:pt x="9" y="76"/>
                  </a:lnTo>
                  <a:lnTo>
                    <a:pt x="7" y="74"/>
                  </a:lnTo>
                  <a:lnTo>
                    <a:pt x="7" y="76"/>
                  </a:lnTo>
                  <a:lnTo>
                    <a:pt x="9" y="78"/>
                  </a:lnTo>
                  <a:lnTo>
                    <a:pt x="7" y="78"/>
                  </a:lnTo>
                  <a:lnTo>
                    <a:pt x="9" y="78"/>
                  </a:lnTo>
                  <a:lnTo>
                    <a:pt x="9" y="80"/>
                  </a:lnTo>
                  <a:lnTo>
                    <a:pt x="11" y="80"/>
                  </a:lnTo>
                  <a:lnTo>
                    <a:pt x="11" y="81"/>
                  </a:lnTo>
                  <a:lnTo>
                    <a:pt x="11" y="83"/>
                  </a:lnTo>
                  <a:lnTo>
                    <a:pt x="12" y="81"/>
                  </a:lnTo>
                  <a:lnTo>
                    <a:pt x="14" y="81"/>
                  </a:lnTo>
                  <a:lnTo>
                    <a:pt x="17" y="83"/>
                  </a:lnTo>
                  <a:lnTo>
                    <a:pt x="19" y="83"/>
                  </a:lnTo>
                  <a:lnTo>
                    <a:pt x="21" y="83"/>
                  </a:lnTo>
                  <a:lnTo>
                    <a:pt x="21" y="81"/>
                  </a:lnTo>
                  <a:lnTo>
                    <a:pt x="22" y="83"/>
                  </a:lnTo>
                  <a:lnTo>
                    <a:pt x="22" y="85"/>
                  </a:lnTo>
                  <a:lnTo>
                    <a:pt x="22" y="86"/>
                  </a:lnTo>
                  <a:lnTo>
                    <a:pt x="21" y="86"/>
                  </a:lnTo>
                  <a:lnTo>
                    <a:pt x="19" y="88"/>
                  </a:lnTo>
                  <a:lnTo>
                    <a:pt x="21" y="86"/>
                  </a:lnTo>
                  <a:lnTo>
                    <a:pt x="22" y="86"/>
                  </a:lnTo>
                  <a:lnTo>
                    <a:pt x="24" y="88"/>
                  </a:lnTo>
                  <a:lnTo>
                    <a:pt x="26" y="88"/>
                  </a:lnTo>
                  <a:lnTo>
                    <a:pt x="28" y="88"/>
                  </a:lnTo>
                  <a:lnTo>
                    <a:pt x="28" y="86"/>
                  </a:lnTo>
                  <a:lnTo>
                    <a:pt x="28" y="85"/>
                  </a:lnTo>
                  <a:lnTo>
                    <a:pt x="29" y="83"/>
                  </a:lnTo>
                  <a:lnTo>
                    <a:pt x="28" y="81"/>
                  </a:lnTo>
                  <a:lnTo>
                    <a:pt x="26" y="80"/>
                  </a:lnTo>
                  <a:lnTo>
                    <a:pt x="26" y="78"/>
                  </a:lnTo>
                  <a:lnTo>
                    <a:pt x="28" y="78"/>
                  </a:lnTo>
                  <a:lnTo>
                    <a:pt x="29" y="76"/>
                  </a:lnTo>
                  <a:lnTo>
                    <a:pt x="29" y="74"/>
                  </a:lnTo>
                  <a:lnTo>
                    <a:pt x="31" y="73"/>
                  </a:lnTo>
                  <a:lnTo>
                    <a:pt x="33" y="74"/>
                  </a:lnTo>
                  <a:lnTo>
                    <a:pt x="34" y="73"/>
                  </a:lnTo>
                  <a:lnTo>
                    <a:pt x="34" y="71"/>
                  </a:lnTo>
                  <a:lnTo>
                    <a:pt x="33" y="73"/>
                  </a:lnTo>
                  <a:lnTo>
                    <a:pt x="31" y="73"/>
                  </a:lnTo>
                  <a:lnTo>
                    <a:pt x="33" y="69"/>
                  </a:lnTo>
                  <a:lnTo>
                    <a:pt x="33" y="68"/>
                  </a:lnTo>
                  <a:lnTo>
                    <a:pt x="34" y="68"/>
                  </a:lnTo>
                  <a:lnTo>
                    <a:pt x="36" y="66"/>
                  </a:lnTo>
                  <a:lnTo>
                    <a:pt x="39" y="68"/>
                  </a:lnTo>
                  <a:lnTo>
                    <a:pt x="39" y="66"/>
                  </a:lnTo>
                  <a:lnTo>
                    <a:pt x="41" y="66"/>
                  </a:lnTo>
                  <a:lnTo>
                    <a:pt x="43" y="66"/>
                  </a:lnTo>
                  <a:lnTo>
                    <a:pt x="43" y="68"/>
                  </a:lnTo>
                  <a:lnTo>
                    <a:pt x="43" y="69"/>
                  </a:lnTo>
                  <a:lnTo>
                    <a:pt x="45" y="73"/>
                  </a:lnTo>
                  <a:lnTo>
                    <a:pt x="41" y="74"/>
                  </a:lnTo>
                  <a:lnTo>
                    <a:pt x="43" y="76"/>
                  </a:lnTo>
                  <a:lnTo>
                    <a:pt x="39" y="78"/>
                  </a:lnTo>
                  <a:lnTo>
                    <a:pt x="39" y="80"/>
                  </a:lnTo>
                  <a:lnTo>
                    <a:pt x="39" y="81"/>
                  </a:lnTo>
                  <a:lnTo>
                    <a:pt x="39" y="83"/>
                  </a:lnTo>
                  <a:lnTo>
                    <a:pt x="41" y="83"/>
                  </a:lnTo>
                  <a:lnTo>
                    <a:pt x="41" y="81"/>
                  </a:lnTo>
                  <a:lnTo>
                    <a:pt x="41" y="80"/>
                  </a:lnTo>
                  <a:lnTo>
                    <a:pt x="45" y="80"/>
                  </a:lnTo>
                  <a:lnTo>
                    <a:pt x="43" y="78"/>
                  </a:lnTo>
                  <a:lnTo>
                    <a:pt x="45" y="76"/>
                  </a:lnTo>
                  <a:lnTo>
                    <a:pt x="45" y="78"/>
                  </a:lnTo>
                  <a:lnTo>
                    <a:pt x="46" y="78"/>
                  </a:lnTo>
                  <a:lnTo>
                    <a:pt x="50" y="78"/>
                  </a:lnTo>
                  <a:lnTo>
                    <a:pt x="50" y="80"/>
                  </a:lnTo>
                  <a:lnTo>
                    <a:pt x="48" y="81"/>
                  </a:lnTo>
                  <a:lnTo>
                    <a:pt x="48" y="85"/>
                  </a:lnTo>
                  <a:lnTo>
                    <a:pt x="50" y="85"/>
                  </a:lnTo>
                  <a:lnTo>
                    <a:pt x="51" y="85"/>
                  </a:lnTo>
                  <a:lnTo>
                    <a:pt x="53" y="85"/>
                  </a:lnTo>
                  <a:lnTo>
                    <a:pt x="53" y="83"/>
                  </a:lnTo>
                  <a:lnTo>
                    <a:pt x="51" y="83"/>
                  </a:lnTo>
                  <a:lnTo>
                    <a:pt x="50" y="83"/>
                  </a:lnTo>
                  <a:lnTo>
                    <a:pt x="50" y="80"/>
                  </a:lnTo>
                  <a:lnTo>
                    <a:pt x="51" y="76"/>
                  </a:lnTo>
                  <a:lnTo>
                    <a:pt x="50" y="73"/>
                  </a:lnTo>
                  <a:lnTo>
                    <a:pt x="48" y="73"/>
                  </a:lnTo>
                  <a:lnTo>
                    <a:pt x="48" y="74"/>
                  </a:lnTo>
                  <a:lnTo>
                    <a:pt x="45" y="74"/>
                  </a:lnTo>
                  <a:lnTo>
                    <a:pt x="46" y="71"/>
                  </a:lnTo>
                  <a:lnTo>
                    <a:pt x="48" y="69"/>
                  </a:lnTo>
                  <a:lnTo>
                    <a:pt x="46" y="68"/>
                  </a:lnTo>
                  <a:lnTo>
                    <a:pt x="45" y="66"/>
                  </a:lnTo>
                  <a:lnTo>
                    <a:pt x="46" y="64"/>
                  </a:lnTo>
                  <a:lnTo>
                    <a:pt x="46" y="63"/>
                  </a:lnTo>
                  <a:lnTo>
                    <a:pt x="46" y="61"/>
                  </a:lnTo>
                  <a:lnTo>
                    <a:pt x="45" y="59"/>
                  </a:lnTo>
                  <a:lnTo>
                    <a:pt x="45" y="57"/>
                  </a:lnTo>
                  <a:lnTo>
                    <a:pt x="46" y="56"/>
                  </a:lnTo>
                  <a:lnTo>
                    <a:pt x="48" y="56"/>
                  </a:lnTo>
                  <a:lnTo>
                    <a:pt x="48" y="54"/>
                  </a:lnTo>
                  <a:lnTo>
                    <a:pt x="50" y="54"/>
                  </a:lnTo>
                  <a:lnTo>
                    <a:pt x="50" y="52"/>
                  </a:lnTo>
                  <a:lnTo>
                    <a:pt x="51" y="51"/>
                  </a:lnTo>
                  <a:lnTo>
                    <a:pt x="55" y="51"/>
                  </a:lnTo>
                  <a:lnTo>
                    <a:pt x="56" y="51"/>
                  </a:lnTo>
                  <a:lnTo>
                    <a:pt x="60" y="52"/>
                  </a:lnTo>
                  <a:lnTo>
                    <a:pt x="62" y="52"/>
                  </a:lnTo>
                  <a:lnTo>
                    <a:pt x="60" y="54"/>
                  </a:lnTo>
                  <a:lnTo>
                    <a:pt x="60" y="56"/>
                  </a:lnTo>
                  <a:lnTo>
                    <a:pt x="60" y="57"/>
                  </a:lnTo>
                  <a:lnTo>
                    <a:pt x="60" y="54"/>
                  </a:lnTo>
                  <a:lnTo>
                    <a:pt x="62" y="54"/>
                  </a:lnTo>
                  <a:lnTo>
                    <a:pt x="63" y="52"/>
                  </a:lnTo>
                  <a:lnTo>
                    <a:pt x="65" y="51"/>
                  </a:lnTo>
                  <a:lnTo>
                    <a:pt x="65" y="49"/>
                  </a:lnTo>
                  <a:lnTo>
                    <a:pt x="67" y="49"/>
                  </a:lnTo>
                  <a:lnTo>
                    <a:pt x="68" y="49"/>
                  </a:lnTo>
                  <a:lnTo>
                    <a:pt x="70" y="49"/>
                  </a:lnTo>
                  <a:lnTo>
                    <a:pt x="73" y="47"/>
                  </a:lnTo>
                  <a:lnTo>
                    <a:pt x="75" y="49"/>
                  </a:lnTo>
                  <a:lnTo>
                    <a:pt x="77" y="47"/>
                  </a:lnTo>
                  <a:lnTo>
                    <a:pt x="79" y="49"/>
                  </a:lnTo>
                  <a:lnTo>
                    <a:pt x="80" y="51"/>
                  </a:lnTo>
                  <a:lnTo>
                    <a:pt x="82" y="51"/>
                  </a:lnTo>
                  <a:lnTo>
                    <a:pt x="84" y="52"/>
                  </a:lnTo>
                  <a:lnTo>
                    <a:pt x="85" y="54"/>
                  </a:lnTo>
                  <a:lnTo>
                    <a:pt x="89" y="52"/>
                  </a:lnTo>
                  <a:lnTo>
                    <a:pt x="87" y="54"/>
                  </a:lnTo>
                  <a:lnTo>
                    <a:pt x="87" y="56"/>
                  </a:lnTo>
                  <a:lnTo>
                    <a:pt x="87" y="59"/>
                  </a:lnTo>
                  <a:lnTo>
                    <a:pt x="87" y="61"/>
                  </a:lnTo>
                  <a:lnTo>
                    <a:pt x="87" y="63"/>
                  </a:lnTo>
                  <a:lnTo>
                    <a:pt x="87" y="66"/>
                  </a:lnTo>
                  <a:lnTo>
                    <a:pt x="87" y="68"/>
                  </a:lnTo>
                  <a:lnTo>
                    <a:pt x="89" y="69"/>
                  </a:lnTo>
                  <a:lnTo>
                    <a:pt x="89" y="71"/>
                  </a:lnTo>
                  <a:lnTo>
                    <a:pt x="89" y="73"/>
                  </a:lnTo>
                  <a:lnTo>
                    <a:pt x="85" y="71"/>
                  </a:lnTo>
                  <a:lnTo>
                    <a:pt x="84" y="73"/>
                  </a:lnTo>
                  <a:lnTo>
                    <a:pt x="82" y="71"/>
                  </a:lnTo>
                  <a:lnTo>
                    <a:pt x="82" y="73"/>
                  </a:lnTo>
                  <a:lnTo>
                    <a:pt x="80" y="73"/>
                  </a:lnTo>
                  <a:lnTo>
                    <a:pt x="77" y="73"/>
                  </a:lnTo>
                  <a:lnTo>
                    <a:pt x="77" y="74"/>
                  </a:lnTo>
                  <a:lnTo>
                    <a:pt x="75" y="76"/>
                  </a:lnTo>
                  <a:lnTo>
                    <a:pt x="73" y="76"/>
                  </a:lnTo>
                  <a:lnTo>
                    <a:pt x="70" y="76"/>
                  </a:lnTo>
                  <a:lnTo>
                    <a:pt x="68" y="78"/>
                  </a:lnTo>
                  <a:lnTo>
                    <a:pt x="70" y="78"/>
                  </a:lnTo>
                  <a:lnTo>
                    <a:pt x="72" y="76"/>
                  </a:lnTo>
                  <a:lnTo>
                    <a:pt x="75" y="76"/>
                  </a:lnTo>
                  <a:lnTo>
                    <a:pt x="77" y="76"/>
                  </a:lnTo>
                  <a:lnTo>
                    <a:pt x="79" y="74"/>
                  </a:lnTo>
                  <a:lnTo>
                    <a:pt x="80" y="74"/>
                  </a:lnTo>
                  <a:lnTo>
                    <a:pt x="82" y="73"/>
                  </a:lnTo>
                  <a:lnTo>
                    <a:pt x="84" y="73"/>
                  </a:lnTo>
                  <a:lnTo>
                    <a:pt x="85" y="74"/>
                  </a:lnTo>
                  <a:lnTo>
                    <a:pt x="87" y="73"/>
                  </a:lnTo>
                  <a:lnTo>
                    <a:pt x="90" y="73"/>
                  </a:lnTo>
                  <a:lnTo>
                    <a:pt x="90" y="76"/>
                  </a:lnTo>
                  <a:lnTo>
                    <a:pt x="90" y="78"/>
                  </a:lnTo>
                  <a:lnTo>
                    <a:pt x="89" y="80"/>
                  </a:lnTo>
                  <a:lnTo>
                    <a:pt x="87" y="80"/>
                  </a:lnTo>
                  <a:lnTo>
                    <a:pt x="87" y="81"/>
                  </a:lnTo>
                  <a:lnTo>
                    <a:pt x="85" y="81"/>
                  </a:lnTo>
                  <a:lnTo>
                    <a:pt x="85" y="83"/>
                  </a:lnTo>
                  <a:lnTo>
                    <a:pt x="85" y="85"/>
                  </a:lnTo>
                  <a:lnTo>
                    <a:pt x="85" y="86"/>
                  </a:lnTo>
                  <a:lnTo>
                    <a:pt x="85" y="88"/>
                  </a:lnTo>
                  <a:lnTo>
                    <a:pt x="84" y="90"/>
                  </a:lnTo>
                  <a:lnTo>
                    <a:pt x="82" y="90"/>
                  </a:lnTo>
                  <a:lnTo>
                    <a:pt x="80" y="90"/>
                  </a:lnTo>
                  <a:lnTo>
                    <a:pt x="79" y="90"/>
                  </a:lnTo>
                  <a:lnTo>
                    <a:pt x="80" y="90"/>
                  </a:lnTo>
                  <a:lnTo>
                    <a:pt x="82" y="90"/>
                  </a:lnTo>
                  <a:lnTo>
                    <a:pt x="84" y="90"/>
                  </a:lnTo>
                  <a:lnTo>
                    <a:pt x="85" y="88"/>
                  </a:lnTo>
                  <a:lnTo>
                    <a:pt x="87" y="90"/>
                  </a:lnTo>
                  <a:lnTo>
                    <a:pt x="89" y="90"/>
                  </a:lnTo>
                  <a:lnTo>
                    <a:pt x="87" y="90"/>
                  </a:lnTo>
                  <a:lnTo>
                    <a:pt x="85" y="88"/>
                  </a:lnTo>
                  <a:lnTo>
                    <a:pt x="85" y="86"/>
                  </a:lnTo>
                  <a:lnTo>
                    <a:pt x="85" y="85"/>
                  </a:lnTo>
                  <a:lnTo>
                    <a:pt x="87" y="83"/>
                  </a:lnTo>
                  <a:lnTo>
                    <a:pt x="87" y="81"/>
                  </a:lnTo>
                  <a:lnTo>
                    <a:pt x="89" y="81"/>
                  </a:lnTo>
                  <a:lnTo>
                    <a:pt x="89" y="80"/>
                  </a:lnTo>
                  <a:lnTo>
                    <a:pt x="90" y="80"/>
                  </a:lnTo>
                  <a:lnTo>
                    <a:pt x="90" y="81"/>
                  </a:lnTo>
                  <a:lnTo>
                    <a:pt x="90" y="83"/>
                  </a:lnTo>
                  <a:lnTo>
                    <a:pt x="92" y="85"/>
                  </a:lnTo>
                  <a:lnTo>
                    <a:pt x="94" y="85"/>
                  </a:lnTo>
                  <a:lnTo>
                    <a:pt x="96" y="86"/>
                  </a:lnTo>
                  <a:lnTo>
                    <a:pt x="99" y="86"/>
                  </a:lnTo>
                  <a:lnTo>
                    <a:pt x="101" y="85"/>
                  </a:lnTo>
                  <a:lnTo>
                    <a:pt x="104" y="85"/>
                  </a:lnTo>
                  <a:lnTo>
                    <a:pt x="106" y="85"/>
                  </a:lnTo>
                  <a:lnTo>
                    <a:pt x="109" y="85"/>
                  </a:lnTo>
                  <a:lnTo>
                    <a:pt x="109" y="86"/>
                  </a:lnTo>
                  <a:lnTo>
                    <a:pt x="111" y="88"/>
                  </a:lnTo>
                  <a:lnTo>
                    <a:pt x="113" y="90"/>
                  </a:lnTo>
                  <a:lnTo>
                    <a:pt x="114" y="90"/>
                  </a:lnTo>
                  <a:lnTo>
                    <a:pt x="114" y="91"/>
                  </a:lnTo>
                  <a:lnTo>
                    <a:pt x="113" y="93"/>
                  </a:lnTo>
                  <a:lnTo>
                    <a:pt x="113" y="95"/>
                  </a:lnTo>
                  <a:lnTo>
                    <a:pt x="113" y="98"/>
                  </a:lnTo>
                  <a:lnTo>
                    <a:pt x="111" y="100"/>
                  </a:lnTo>
                  <a:lnTo>
                    <a:pt x="111" y="102"/>
                  </a:lnTo>
                  <a:lnTo>
                    <a:pt x="109" y="102"/>
                  </a:lnTo>
                  <a:lnTo>
                    <a:pt x="107" y="103"/>
                  </a:lnTo>
                  <a:lnTo>
                    <a:pt x="107" y="105"/>
                  </a:lnTo>
                  <a:lnTo>
                    <a:pt x="106" y="107"/>
                  </a:lnTo>
                  <a:lnTo>
                    <a:pt x="106" y="108"/>
                  </a:lnTo>
                  <a:lnTo>
                    <a:pt x="104" y="112"/>
                  </a:lnTo>
                  <a:lnTo>
                    <a:pt x="102" y="112"/>
                  </a:lnTo>
                  <a:lnTo>
                    <a:pt x="104" y="112"/>
                  </a:lnTo>
                  <a:lnTo>
                    <a:pt x="102" y="112"/>
                  </a:lnTo>
                  <a:lnTo>
                    <a:pt x="102" y="110"/>
                  </a:lnTo>
                  <a:lnTo>
                    <a:pt x="102" y="108"/>
                  </a:lnTo>
                  <a:lnTo>
                    <a:pt x="102" y="107"/>
                  </a:lnTo>
                  <a:lnTo>
                    <a:pt x="101" y="107"/>
                  </a:lnTo>
                  <a:lnTo>
                    <a:pt x="99" y="107"/>
                  </a:lnTo>
                  <a:lnTo>
                    <a:pt x="97" y="108"/>
                  </a:lnTo>
                  <a:lnTo>
                    <a:pt x="97" y="110"/>
                  </a:lnTo>
                  <a:lnTo>
                    <a:pt x="99" y="112"/>
                  </a:lnTo>
                  <a:lnTo>
                    <a:pt x="99" y="114"/>
                  </a:lnTo>
                  <a:lnTo>
                    <a:pt x="97" y="115"/>
                  </a:lnTo>
                  <a:lnTo>
                    <a:pt x="96" y="114"/>
                  </a:lnTo>
                  <a:lnTo>
                    <a:pt x="96" y="112"/>
                  </a:lnTo>
                  <a:lnTo>
                    <a:pt x="97" y="112"/>
                  </a:lnTo>
                  <a:lnTo>
                    <a:pt x="97" y="110"/>
                  </a:lnTo>
                  <a:lnTo>
                    <a:pt x="94" y="108"/>
                  </a:lnTo>
                  <a:lnTo>
                    <a:pt x="94" y="110"/>
                  </a:lnTo>
                  <a:lnTo>
                    <a:pt x="92" y="110"/>
                  </a:lnTo>
                  <a:lnTo>
                    <a:pt x="90" y="108"/>
                  </a:lnTo>
                  <a:lnTo>
                    <a:pt x="92" y="108"/>
                  </a:lnTo>
                  <a:lnTo>
                    <a:pt x="92" y="107"/>
                  </a:lnTo>
                  <a:lnTo>
                    <a:pt x="94" y="107"/>
                  </a:lnTo>
                  <a:lnTo>
                    <a:pt x="94" y="108"/>
                  </a:lnTo>
                  <a:lnTo>
                    <a:pt x="96" y="107"/>
                  </a:lnTo>
                  <a:lnTo>
                    <a:pt x="94" y="107"/>
                  </a:lnTo>
                  <a:lnTo>
                    <a:pt x="96" y="105"/>
                  </a:lnTo>
                  <a:lnTo>
                    <a:pt x="96" y="103"/>
                  </a:lnTo>
                  <a:lnTo>
                    <a:pt x="97" y="103"/>
                  </a:lnTo>
                  <a:lnTo>
                    <a:pt x="96" y="102"/>
                  </a:lnTo>
                  <a:lnTo>
                    <a:pt x="96" y="103"/>
                  </a:lnTo>
                  <a:lnTo>
                    <a:pt x="94" y="102"/>
                  </a:lnTo>
                  <a:lnTo>
                    <a:pt x="92" y="102"/>
                  </a:lnTo>
                  <a:lnTo>
                    <a:pt x="92" y="103"/>
                  </a:lnTo>
                  <a:lnTo>
                    <a:pt x="90" y="103"/>
                  </a:lnTo>
                  <a:lnTo>
                    <a:pt x="90" y="105"/>
                  </a:lnTo>
                  <a:lnTo>
                    <a:pt x="89" y="107"/>
                  </a:lnTo>
                  <a:lnTo>
                    <a:pt x="87" y="108"/>
                  </a:lnTo>
                  <a:lnTo>
                    <a:pt x="85" y="108"/>
                  </a:lnTo>
                  <a:lnTo>
                    <a:pt x="85" y="112"/>
                  </a:lnTo>
                  <a:lnTo>
                    <a:pt x="85" y="110"/>
                  </a:lnTo>
                  <a:lnTo>
                    <a:pt x="85" y="112"/>
                  </a:lnTo>
                  <a:lnTo>
                    <a:pt x="87" y="110"/>
                  </a:lnTo>
                  <a:lnTo>
                    <a:pt x="87" y="112"/>
                  </a:lnTo>
                  <a:lnTo>
                    <a:pt x="85" y="112"/>
                  </a:lnTo>
                  <a:lnTo>
                    <a:pt x="85" y="114"/>
                  </a:lnTo>
                  <a:lnTo>
                    <a:pt x="87" y="115"/>
                  </a:lnTo>
                  <a:lnTo>
                    <a:pt x="87" y="119"/>
                  </a:lnTo>
                  <a:lnTo>
                    <a:pt x="87" y="120"/>
                  </a:lnTo>
                  <a:lnTo>
                    <a:pt x="85" y="122"/>
                  </a:lnTo>
                  <a:lnTo>
                    <a:pt x="87" y="120"/>
                  </a:lnTo>
                  <a:lnTo>
                    <a:pt x="87" y="122"/>
                  </a:lnTo>
                  <a:lnTo>
                    <a:pt x="87" y="126"/>
                  </a:lnTo>
                  <a:lnTo>
                    <a:pt x="87" y="127"/>
                  </a:lnTo>
                  <a:lnTo>
                    <a:pt x="87" y="129"/>
                  </a:lnTo>
                  <a:lnTo>
                    <a:pt x="85" y="131"/>
                  </a:lnTo>
                  <a:lnTo>
                    <a:pt x="84" y="131"/>
                  </a:lnTo>
                  <a:lnTo>
                    <a:pt x="85" y="132"/>
                  </a:lnTo>
                  <a:lnTo>
                    <a:pt x="84" y="132"/>
                  </a:lnTo>
                  <a:lnTo>
                    <a:pt x="84" y="134"/>
                  </a:lnTo>
                  <a:lnTo>
                    <a:pt x="82" y="132"/>
                  </a:lnTo>
                  <a:lnTo>
                    <a:pt x="82" y="131"/>
                  </a:lnTo>
                  <a:lnTo>
                    <a:pt x="82" y="132"/>
                  </a:lnTo>
                  <a:lnTo>
                    <a:pt x="80" y="132"/>
                  </a:lnTo>
                  <a:lnTo>
                    <a:pt x="79" y="132"/>
                  </a:lnTo>
                  <a:lnTo>
                    <a:pt x="79" y="131"/>
                  </a:lnTo>
                  <a:lnTo>
                    <a:pt x="82" y="132"/>
                  </a:lnTo>
                  <a:lnTo>
                    <a:pt x="80" y="131"/>
                  </a:lnTo>
                  <a:lnTo>
                    <a:pt x="79" y="131"/>
                  </a:lnTo>
                  <a:lnTo>
                    <a:pt x="75" y="131"/>
                  </a:lnTo>
                  <a:lnTo>
                    <a:pt x="75" y="132"/>
                  </a:lnTo>
                  <a:lnTo>
                    <a:pt x="73" y="131"/>
                  </a:lnTo>
                  <a:lnTo>
                    <a:pt x="72" y="132"/>
                  </a:lnTo>
                  <a:lnTo>
                    <a:pt x="75" y="134"/>
                  </a:lnTo>
                  <a:lnTo>
                    <a:pt x="77" y="134"/>
                  </a:lnTo>
                  <a:lnTo>
                    <a:pt x="77" y="132"/>
                  </a:lnTo>
                  <a:lnTo>
                    <a:pt x="77" y="136"/>
                  </a:lnTo>
                  <a:lnTo>
                    <a:pt x="79" y="134"/>
                  </a:lnTo>
                  <a:lnTo>
                    <a:pt x="79" y="136"/>
                  </a:lnTo>
                  <a:lnTo>
                    <a:pt x="77" y="137"/>
                  </a:lnTo>
                  <a:lnTo>
                    <a:pt x="77" y="139"/>
                  </a:lnTo>
                  <a:lnTo>
                    <a:pt x="80" y="139"/>
                  </a:lnTo>
                  <a:lnTo>
                    <a:pt x="79" y="139"/>
                  </a:lnTo>
                  <a:lnTo>
                    <a:pt x="77" y="141"/>
                  </a:lnTo>
                  <a:lnTo>
                    <a:pt x="77" y="143"/>
                  </a:lnTo>
                  <a:lnTo>
                    <a:pt x="79" y="143"/>
                  </a:lnTo>
                  <a:lnTo>
                    <a:pt x="77" y="143"/>
                  </a:lnTo>
                  <a:lnTo>
                    <a:pt x="75" y="144"/>
                  </a:lnTo>
                  <a:lnTo>
                    <a:pt x="73" y="144"/>
                  </a:lnTo>
                  <a:lnTo>
                    <a:pt x="72" y="144"/>
                  </a:lnTo>
                  <a:lnTo>
                    <a:pt x="70" y="146"/>
                  </a:lnTo>
                  <a:lnTo>
                    <a:pt x="67" y="144"/>
                  </a:lnTo>
                  <a:lnTo>
                    <a:pt x="65" y="143"/>
                  </a:lnTo>
                  <a:lnTo>
                    <a:pt x="63" y="143"/>
                  </a:lnTo>
                  <a:lnTo>
                    <a:pt x="60" y="143"/>
                  </a:lnTo>
                  <a:lnTo>
                    <a:pt x="58" y="143"/>
                  </a:lnTo>
                  <a:lnTo>
                    <a:pt x="60" y="144"/>
                  </a:lnTo>
                  <a:lnTo>
                    <a:pt x="63" y="144"/>
                  </a:lnTo>
                  <a:lnTo>
                    <a:pt x="65" y="146"/>
                  </a:lnTo>
                  <a:lnTo>
                    <a:pt x="67" y="146"/>
                  </a:lnTo>
                  <a:lnTo>
                    <a:pt x="67" y="148"/>
                  </a:lnTo>
                  <a:lnTo>
                    <a:pt x="67" y="149"/>
                  </a:lnTo>
                  <a:lnTo>
                    <a:pt x="68" y="148"/>
                  </a:lnTo>
                  <a:lnTo>
                    <a:pt x="72" y="148"/>
                  </a:lnTo>
                  <a:lnTo>
                    <a:pt x="70" y="149"/>
                  </a:lnTo>
                  <a:lnTo>
                    <a:pt x="68" y="151"/>
                  </a:lnTo>
                  <a:lnTo>
                    <a:pt x="67" y="153"/>
                  </a:lnTo>
                  <a:lnTo>
                    <a:pt x="67" y="156"/>
                  </a:lnTo>
                  <a:lnTo>
                    <a:pt x="63" y="154"/>
                  </a:lnTo>
                  <a:lnTo>
                    <a:pt x="62" y="156"/>
                  </a:lnTo>
                  <a:lnTo>
                    <a:pt x="60" y="154"/>
                  </a:lnTo>
                  <a:lnTo>
                    <a:pt x="60" y="156"/>
                  </a:lnTo>
                  <a:lnTo>
                    <a:pt x="60" y="158"/>
                  </a:lnTo>
                  <a:lnTo>
                    <a:pt x="58" y="156"/>
                  </a:lnTo>
                  <a:lnTo>
                    <a:pt x="56" y="158"/>
                  </a:lnTo>
                  <a:lnTo>
                    <a:pt x="58" y="158"/>
                  </a:lnTo>
                  <a:lnTo>
                    <a:pt x="60" y="158"/>
                  </a:lnTo>
                  <a:lnTo>
                    <a:pt x="62" y="158"/>
                  </a:lnTo>
                  <a:lnTo>
                    <a:pt x="63" y="158"/>
                  </a:lnTo>
                  <a:lnTo>
                    <a:pt x="65" y="160"/>
                  </a:lnTo>
                  <a:lnTo>
                    <a:pt x="63" y="161"/>
                  </a:lnTo>
                  <a:lnTo>
                    <a:pt x="60" y="163"/>
                  </a:lnTo>
                  <a:lnTo>
                    <a:pt x="62" y="165"/>
                  </a:lnTo>
                  <a:lnTo>
                    <a:pt x="62" y="166"/>
                  </a:lnTo>
                  <a:lnTo>
                    <a:pt x="60" y="166"/>
                  </a:lnTo>
                  <a:lnTo>
                    <a:pt x="62" y="166"/>
                  </a:lnTo>
                  <a:lnTo>
                    <a:pt x="63" y="168"/>
                  </a:lnTo>
                  <a:lnTo>
                    <a:pt x="62" y="170"/>
                  </a:lnTo>
                  <a:lnTo>
                    <a:pt x="63" y="170"/>
                  </a:lnTo>
                  <a:lnTo>
                    <a:pt x="63" y="171"/>
                  </a:lnTo>
                  <a:lnTo>
                    <a:pt x="62" y="171"/>
                  </a:lnTo>
                  <a:lnTo>
                    <a:pt x="60" y="173"/>
                  </a:lnTo>
                  <a:lnTo>
                    <a:pt x="60" y="175"/>
                  </a:lnTo>
                  <a:lnTo>
                    <a:pt x="56" y="175"/>
                  </a:lnTo>
                  <a:lnTo>
                    <a:pt x="60" y="175"/>
                  </a:lnTo>
                  <a:lnTo>
                    <a:pt x="60" y="173"/>
                  </a:lnTo>
                  <a:lnTo>
                    <a:pt x="62" y="171"/>
                  </a:lnTo>
                  <a:lnTo>
                    <a:pt x="63" y="171"/>
                  </a:lnTo>
                  <a:lnTo>
                    <a:pt x="65" y="173"/>
                  </a:lnTo>
                  <a:lnTo>
                    <a:pt x="65" y="175"/>
                  </a:lnTo>
                  <a:lnTo>
                    <a:pt x="65" y="177"/>
                  </a:lnTo>
                  <a:lnTo>
                    <a:pt x="63" y="177"/>
                  </a:lnTo>
                  <a:lnTo>
                    <a:pt x="65" y="177"/>
                  </a:lnTo>
                  <a:lnTo>
                    <a:pt x="65" y="178"/>
                  </a:lnTo>
                  <a:lnTo>
                    <a:pt x="62" y="180"/>
                  </a:lnTo>
                  <a:lnTo>
                    <a:pt x="62" y="178"/>
                  </a:lnTo>
                  <a:lnTo>
                    <a:pt x="60" y="178"/>
                  </a:lnTo>
                  <a:lnTo>
                    <a:pt x="60" y="180"/>
                  </a:lnTo>
                  <a:lnTo>
                    <a:pt x="56" y="182"/>
                  </a:lnTo>
                  <a:lnTo>
                    <a:pt x="58" y="183"/>
                  </a:lnTo>
                  <a:lnTo>
                    <a:pt x="56" y="183"/>
                  </a:lnTo>
                  <a:lnTo>
                    <a:pt x="55" y="183"/>
                  </a:lnTo>
                  <a:lnTo>
                    <a:pt x="58" y="185"/>
                  </a:lnTo>
                  <a:lnTo>
                    <a:pt x="58" y="187"/>
                  </a:lnTo>
                  <a:lnTo>
                    <a:pt x="56" y="188"/>
                  </a:lnTo>
                  <a:lnTo>
                    <a:pt x="53" y="188"/>
                  </a:lnTo>
                  <a:lnTo>
                    <a:pt x="53" y="190"/>
                  </a:lnTo>
                  <a:lnTo>
                    <a:pt x="56" y="190"/>
                  </a:lnTo>
                  <a:lnTo>
                    <a:pt x="58" y="190"/>
                  </a:lnTo>
                  <a:lnTo>
                    <a:pt x="60" y="190"/>
                  </a:lnTo>
                  <a:lnTo>
                    <a:pt x="60" y="188"/>
                  </a:lnTo>
                  <a:lnTo>
                    <a:pt x="62" y="192"/>
                  </a:lnTo>
                  <a:lnTo>
                    <a:pt x="65" y="194"/>
                  </a:lnTo>
                  <a:lnTo>
                    <a:pt x="67" y="194"/>
                  </a:lnTo>
                  <a:lnTo>
                    <a:pt x="67" y="195"/>
                  </a:lnTo>
                  <a:lnTo>
                    <a:pt x="67" y="197"/>
                  </a:lnTo>
                  <a:lnTo>
                    <a:pt x="67" y="199"/>
                  </a:lnTo>
                  <a:lnTo>
                    <a:pt x="68" y="199"/>
                  </a:lnTo>
                  <a:lnTo>
                    <a:pt x="67" y="199"/>
                  </a:lnTo>
                  <a:lnTo>
                    <a:pt x="65" y="199"/>
                  </a:lnTo>
                  <a:lnTo>
                    <a:pt x="67" y="200"/>
                  </a:lnTo>
                  <a:lnTo>
                    <a:pt x="67" y="202"/>
                  </a:lnTo>
                  <a:lnTo>
                    <a:pt x="67" y="204"/>
                  </a:lnTo>
                  <a:lnTo>
                    <a:pt x="65" y="202"/>
                  </a:lnTo>
                  <a:lnTo>
                    <a:pt x="62" y="202"/>
                  </a:lnTo>
                  <a:lnTo>
                    <a:pt x="63" y="200"/>
                  </a:lnTo>
                  <a:lnTo>
                    <a:pt x="60" y="199"/>
                  </a:lnTo>
                  <a:lnTo>
                    <a:pt x="63" y="199"/>
                  </a:lnTo>
                  <a:lnTo>
                    <a:pt x="62" y="197"/>
                  </a:lnTo>
                  <a:lnTo>
                    <a:pt x="60" y="199"/>
                  </a:lnTo>
                  <a:lnTo>
                    <a:pt x="60" y="200"/>
                  </a:lnTo>
                  <a:lnTo>
                    <a:pt x="58" y="200"/>
                  </a:lnTo>
                  <a:lnTo>
                    <a:pt x="56" y="202"/>
                  </a:lnTo>
                  <a:lnTo>
                    <a:pt x="53" y="204"/>
                  </a:lnTo>
                  <a:close/>
                  <a:moveTo>
                    <a:pt x="167" y="112"/>
                  </a:moveTo>
                  <a:lnTo>
                    <a:pt x="169" y="112"/>
                  </a:lnTo>
                  <a:lnTo>
                    <a:pt x="170" y="114"/>
                  </a:lnTo>
                  <a:lnTo>
                    <a:pt x="172" y="114"/>
                  </a:lnTo>
                  <a:lnTo>
                    <a:pt x="175" y="114"/>
                  </a:lnTo>
                  <a:lnTo>
                    <a:pt x="175" y="115"/>
                  </a:lnTo>
                  <a:lnTo>
                    <a:pt x="177" y="115"/>
                  </a:lnTo>
                  <a:lnTo>
                    <a:pt x="179" y="117"/>
                  </a:lnTo>
                  <a:lnTo>
                    <a:pt x="179" y="119"/>
                  </a:lnTo>
                  <a:lnTo>
                    <a:pt x="177" y="122"/>
                  </a:lnTo>
                  <a:lnTo>
                    <a:pt x="175" y="124"/>
                  </a:lnTo>
                  <a:lnTo>
                    <a:pt x="175" y="126"/>
                  </a:lnTo>
                  <a:lnTo>
                    <a:pt x="177" y="129"/>
                  </a:lnTo>
                  <a:lnTo>
                    <a:pt x="177" y="131"/>
                  </a:lnTo>
                  <a:lnTo>
                    <a:pt x="177" y="134"/>
                  </a:lnTo>
                  <a:lnTo>
                    <a:pt x="179" y="136"/>
                  </a:lnTo>
                  <a:lnTo>
                    <a:pt x="179" y="137"/>
                  </a:lnTo>
                  <a:lnTo>
                    <a:pt x="179" y="139"/>
                  </a:lnTo>
                  <a:lnTo>
                    <a:pt x="179" y="141"/>
                  </a:lnTo>
                  <a:lnTo>
                    <a:pt x="181" y="139"/>
                  </a:lnTo>
                  <a:lnTo>
                    <a:pt x="179" y="141"/>
                  </a:lnTo>
                  <a:lnTo>
                    <a:pt x="179" y="143"/>
                  </a:lnTo>
                  <a:lnTo>
                    <a:pt x="177" y="144"/>
                  </a:lnTo>
                  <a:lnTo>
                    <a:pt x="177" y="146"/>
                  </a:lnTo>
                  <a:lnTo>
                    <a:pt x="175" y="146"/>
                  </a:lnTo>
                  <a:lnTo>
                    <a:pt x="175" y="148"/>
                  </a:lnTo>
                  <a:lnTo>
                    <a:pt x="174" y="148"/>
                  </a:lnTo>
                  <a:lnTo>
                    <a:pt x="172" y="148"/>
                  </a:lnTo>
                  <a:lnTo>
                    <a:pt x="170" y="149"/>
                  </a:lnTo>
                  <a:lnTo>
                    <a:pt x="169" y="149"/>
                  </a:lnTo>
                  <a:lnTo>
                    <a:pt x="165" y="151"/>
                  </a:lnTo>
                  <a:lnTo>
                    <a:pt x="165" y="153"/>
                  </a:lnTo>
                  <a:lnTo>
                    <a:pt x="165" y="154"/>
                  </a:lnTo>
                  <a:lnTo>
                    <a:pt x="164" y="154"/>
                  </a:lnTo>
                  <a:lnTo>
                    <a:pt x="164" y="158"/>
                  </a:lnTo>
                  <a:lnTo>
                    <a:pt x="164" y="160"/>
                  </a:lnTo>
                  <a:lnTo>
                    <a:pt x="165" y="161"/>
                  </a:lnTo>
                  <a:lnTo>
                    <a:pt x="167" y="161"/>
                  </a:lnTo>
                  <a:lnTo>
                    <a:pt x="169" y="163"/>
                  </a:lnTo>
                  <a:lnTo>
                    <a:pt x="170" y="163"/>
                  </a:lnTo>
                  <a:lnTo>
                    <a:pt x="172" y="165"/>
                  </a:lnTo>
                  <a:lnTo>
                    <a:pt x="174" y="166"/>
                  </a:lnTo>
                  <a:lnTo>
                    <a:pt x="174" y="168"/>
                  </a:lnTo>
                  <a:lnTo>
                    <a:pt x="174" y="170"/>
                  </a:lnTo>
                  <a:lnTo>
                    <a:pt x="172" y="171"/>
                  </a:lnTo>
                  <a:lnTo>
                    <a:pt x="170" y="173"/>
                  </a:lnTo>
                  <a:lnTo>
                    <a:pt x="170" y="175"/>
                  </a:lnTo>
                  <a:lnTo>
                    <a:pt x="169" y="175"/>
                  </a:lnTo>
                  <a:lnTo>
                    <a:pt x="167" y="173"/>
                  </a:lnTo>
                  <a:lnTo>
                    <a:pt x="164" y="175"/>
                  </a:lnTo>
                  <a:lnTo>
                    <a:pt x="164" y="177"/>
                  </a:lnTo>
                  <a:lnTo>
                    <a:pt x="160" y="178"/>
                  </a:lnTo>
                  <a:lnTo>
                    <a:pt x="162" y="182"/>
                  </a:lnTo>
                  <a:lnTo>
                    <a:pt x="160" y="182"/>
                  </a:lnTo>
                  <a:lnTo>
                    <a:pt x="160" y="178"/>
                  </a:lnTo>
                  <a:lnTo>
                    <a:pt x="157" y="180"/>
                  </a:lnTo>
                  <a:lnTo>
                    <a:pt x="158" y="182"/>
                  </a:lnTo>
                  <a:lnTo>
                    <a:pt x="160" y="182"/>
                  </a:lnTo>
                  <a:lnTo>
                    <a:pt x="162" y="182"/>
                  </a:lnTo>
                  <a:lnTo>
                    <a:pt x="164" y="183"/>
                  </a:lnTo>
                  <a:lnTo>
                    <a:pt x="164" y="185"/>
                  </a:lnTo>
                  <a:lnTo>
                    <a:pt x="160" y="185"/>
                  </a:lnTo>
                  <a:lnTo>
                    <a:pt x="162" y="185"/>
                  </a:lnTo>
                  <a:lnTo>
                    <a:pt x="162" y="187"/>
                  </a:lnTo>
                  <a:lnTo>
                    <a:pt x="162" y="188"/>
                  </a:lnTo>
                  <a:lnTo>
                    <a:pt x="164" y="190"/>
                  </a:lnTo>
                  <a:lnTo>
                    <a:pt x="164" y="192"/>
                  </a:lnTo>
                  <a:lnTo>
                    <a:pt x="162" y="192"/>
                  </a:lnTo>
                  <a:lnTo>
                    <a:pt x="160" y="194"/>
                  </a:lnTo>
                  <a:lnTo>
                    <a:pt x="158" y="194"/>
                  </a:lnTo>
                  <a:lnTo>
                    <a:pt x="157" y="192"/>
                  </a:lnTo>
                  <a:lnTo>
                    <a:pt x="155" y="192"/>
                  </a:lnTo>
                  <a:lnTo>
                    <a:pt x="153" y="190"/>
                  </a:lnTo>
                  <a:lnTo>
                    <a:pt x="153" y="192"/>
                  </a:lnTo>
                  <a:lnTo>
                    <a:pt x="150" y="190"/>
                  </a:lnTo>
                  <a:lnTo>
                    <a:pt x="150" y="188"/>
                  </a:lnTo>
                  <a:lnTo>
                    <a:pt x="148" y="188"/>
                  </a:lnTo>
                  <a:lnTo>
                    <a:pt x="147" y="187"/>
                  </a:lnTo>
                  <a:lnTo>
                    <a:pt x="143" y="187"/>
                  </a:lnTo>
                  <a:lnTo>
                    <a:pt x="141" y="185"/>
                  </a:lnTo>
                  <a:lnTo>
                    <a:pt x="143" y="187"/>
                  </a:lnTo>
                  <a:lnTo>
                    <a:pt x="145" y="187"/>
                  </a:lnTo>
                  <a:lnTo>
                    <a:pt x="147" y="187"/>
                  </a:lnTo>
                  <a:lnTo>
                    <a:pt x="150" y="188"/>
                  </a:lnTo>
                  <a:lnTo>
                    <a:pt x="148" y="187"/>
                  </a:lnTo>
                  <a:lnTo>
                    <a:pt x="148" y="185"/>
                  </a:lnTo>
                  <a:lnTo>
                    <a:pt x="147" y="185"/>
                  </a:lnTo>
                  <a:lnTo>
                    <a:pt x="145" y="183"/>
                  </a:lnTo>
                  <a:lnTo>
                    <a:pt x="145" y="182"/>
                  </a:lnTo>
                  <a:lnTo>
                    <a:pt x="147" y="183"/>
                  </a:lnTo>
                  <a:lnTo>
                    <a:pt x="148" y="182"/>
                  </a:lnTo>
                  <a:lnTo>
                    <a:pt x="150" y="182"/>
                  </a:lnTo>
                  <a:lnTo>
                    <a:pt x="148" y="180"/>
                  </a:lnTo>
                  <a:lnTo>
                    <a:pt x="148" y="182"/>
                  </a:lnTo>
                  <a:lnTo>
                    <a:pt x="145" y="180"/>
                  </a:lnTo>
                  <a:lnTo>
                    <a:pt x="147" y="178"/>
                  </a:lnTo>
                  <a:lnTo>
                    <a:pt x="145" y="177"/>
                  </a:lnTo>
                  <a:lnTo>
                    <a:pt x="143" y="177"/>
                  </a:lnTo>
                  <a:lnTo>
                    <a:pt x="141" y="178"/>
                  </a:lnTo>
                  <a:lnTo>
                    <a:pt x="140" y="178"/>
                  </a:lnTo>
                  <a:lnTo>
                    <a:pt x="138" y="178"/>
                  </a:lnTo>
                  <a:lnTo>
                    <a:pt x="136" y="178"/>
                  </a:lnTo>
                  <a:lnTo>
                    <a:pt x="136" y="177"/>
                  </a:lnTo>
                  <a:lnTo>
                    <a:pt x="135" y="177"/>
                  </a:lnTo>
                  <a:lnTo>
                    <a:pt x="133" y="177"/>
                  </a:lnTo>
                  <a:lnTo>
                    <a:pt x="135" y="177"/>
                  </a:lnTo>
                  <a:lnTo>
                    <a:pt x="135" y="178"/>
                  </a:lnTo>
                  <a:lnTo>
                    <a:pt x="131" y="178"/>
                  </a:lnTo>
                  <a:lnTo>
                    <a:pt x="133" y="178"/>
                  </a:lnTo>
                  <a:lnTo>
                    <a:pt x="133" y="177"/>
                  </a:lnTo>
                  <a:lnTo>
                    <a:pt x="131" y="178"/>
                  </a:lnTo>
                  <a:lnTo>
                    <a:pt x="130" y="177"/>
                  </a:lnTo>
                  <a:lnTo>
                    <a:pt x="130" y="178"/>
                  </a:lnTo>
                  <a:lnTo>
                    <a:pt x="131" y="178"/>
                  </a:lnTo>
                  <a:lnTo>
                    <a:pt x="128" y="178"/>
                  </a:lnTo>
                  <a:lnTo>
                    <a:pt x="126" y="178"/>
                  </a:lnTo>
                  <a:lnTo>
                    <a:pt x="126" y="177"/>
                  </a:lnTo>
                  <a:lnTo>
                    <a:pt x="126" y="175"/>
                  </a:lnTo>
                  <a:lnTo>
                    <a:pt x="128" y="175"/>
                  </a:lnTo>
                  <a:lnTo>
                    <a:pt x="128" y="173"/>
                  </a:lnTo>
                  <a:lnTo>
                    <a:pt x="128" y="171"/>
                  </a:lnTo>
                  <a:lnTo>
                    <a:pt x="128" y="175"/>
                  </a:lnTo>
                  <a:lnTo>
                    <a:pt x="126" y="175"/>
                  </a:lnTo>
                  <a:lnTo>
                    <a:pt x="126" y="171"/>
                  </a:lnTo>
                  <a:lnTo>
                    <a:pt x="123" y="170"/>
                  </a:lnTo>
                  <a:lnTo>
                    <a:pt x="121" y="168"/>
                  </a:lnTo>
                  <a:lnTo>
                    <a:pt x="124" y="170"/>
                  </a:lnTo>
                  <a:lnTo>
                    <a:pt x="124" y="168"/>
                  </a:lnTo>
                  <a:lnTo>
                    <a:pt x="123" y="166"/>
                  </a:lnTo>
                  <a:lnTo>
                    <a:pt x="123" y="168"/>
                  </a:lnTo>
                  <a:lnTo>
                    <a:pt x="119" y="168"/>
                  </a:lnTo>
                  <a:lnTo>
                    <a:pt x="121" y="166"/>
                  </a:lnTo>
                  <a:lnTo>
                    <a:pt x="123" y="166"/>
                  </a:lnTo>
                  <a:lnTo>
                    <a:pt x="124" y="165"/>
                  </a:lnTo>
                  <a:lnTo>
                    <a:pt x="124" y="163"/>
                  </a:lnTo>
                  <a:lnTo>
                    <a:pt x="124" y="160"/>
                  </a:lnTo>
                  <a:lnTo>
                    <a:pt x="123" y="158"/>
                  </a:lnTo>
                  <a:lnTo>
                    <a:pt x="123" y="156"/>
                  </a:lnTo>
                  <a:lnTo>
                    <a:pt x="121" y="154"/>
                  </a:lnTo>
                  <a:lnTo>
                    <a:pt x="121" y="156"/>
                  </a:lnTo>
                  <a:lnTo>
                    <a:pt x="119" y="156"/>
                  </a:lnTo>
                  <a:lnTo>
                    <a:pt x="119" y="154"/>
                  </a:lnTo>
                  <a:lnTo>
                    <a:pt x="123" y="154"/>
                  </a:lnTo>
                  <a:lnTo>
                    <a:pt x="121" y="154"/>
                  </a:lnTo>
                  <a:lnTo>
                    <a:pt x="123" y="153"/>
                  </a:lnTo>
                  <a:lnTo>
                    <a:pt x="123" y="151"/>
                  </a:lnTo>
                  <a:lnTo>
                    <a:pt x="121" y="148"/>
                  </a:lnTo>
                  <a:lnTo>
                    <a:pt x="118" y="146"/>
                  </a:lnTo>
                  <a:lnTo>
                    <a:pt x="116" y="146"/>
                  </a:lnTo>
                  <a:lnTo>
                    <a:pt x="114" y="146"/>
                  </a:lnTo>
                  <a:lnTo>
                    <a:pt x="114" y="144"/>
                  </a:lnTo>
                  <a:lnTo>
                    <a:pt x="116" y="144"/>
                  </a:lnTo>
                  <a:lnTo>
                    <a:pt x="118" y="146"/>
                  </a:lnTo>
                  <a:lnTo>
                    <a:pt x="119" y="146"/>
                  </a:lnTo>
                  <a:lnTo>
                    <a:pt x="119" y="144"/>
                  </a:lnTo>
                  <a:lnTo>
                    <a:pt x="118" y="143"/>
                  </a:lnTo>
                  <a:lnTo>
                    <a:pt x="116" y="141"/>
                  </a:lnTo>
                  <a:lnTo>
                    <a:pt x="113" y="141"/>
                  </a:lnTo>
                  <a:lnTo>
                    <a:pt x="111" y="139"/>
                  </a:lnTo>
                  <a:lnTo>
                    <a:pt x="114" y="139"/>
                  </a:lnTo>
                  <a:lnTo>
                    <a:pt x="116" y="139"/>
                  </a:lnTo>
                  <a:lnTo>
                    <a:pt x="118" y="141"/>
                  </a:lnTo>
                  <a:lnTo>
                    <a:pt x="119" y="141"/>
                  </a:lnTo>
                  <a:lnTo>
                    <a:pt x="121" y="139"/>
                  </a:lnTo>
                  <a:lnTo>
                    <a:pt x="123" y="139"/>
                  </a:lnTo>
                  <a:lnTo>
                    <a:pt x="123" y="141"/>
                  </a:lnTo>
                  <a:lnTo>
                    <a:pt x="124" y="141"/>
                  </a:lnTo>
                  <a:lnTo>
                    <a:pt x="124" y="139"/>
                  </a:lnTo>
                  <a:lnTo>
                    <a:pt x="126" y="141"/>
                  </a:lnTo>
                  <a:lnTo>
                    <a:pt x="128" y="139"/>
                  </a:lnTo>
                  <a:lnTo>
                    <a:pt x="130" y="139"/>
                  </a:lnTo>
                  <a:lnTo>
                    <a:pt x="131" y="137"/>
                  </a:lnTo>
                  <a:lnTo>
                    <a:pt x="131" y="136"/>
                  </a:lnTo>
                  <a:lnTo>
                    <a:pt x="131" y="134"/>
                  </a:lnTo>
                  <a:lnTo>
                    <a:pt x="130" y="132"/>
                  </a:lnTo>
                  <a:lnTo>
                    <a:pt x="131" y="134"/>
                  </a:lnTo>
                  <a:lnTo>
                    <a:pt x="133" y="132"/>
                  </a:lnTo>
                  <a:lnTo>
                    <a:pt x="136" y="132"/>
                  </a:lnTo>
                  <a:lnTo>
                    <a:pt x="136" y="129"/>
                  </a:lnTo>
                  <a:lnTo>
                    <a:pt x="136" y="126"/>
                  </a:lnTo>
                  <a:lnTo>
                    <a:pt x="135" y="126"/>
                  </a:lnTo>
                  <a:lnTo>
                    <a:pt x="133" y="126"/>
                  </a:lnTo>
                  <a:lnTo>
                    <a:pt x="131" y="126"/>
                  </a:lnTo>
                  <a:lnTo>
                    <a:pt x="130" y="124"/>
                  </a:lnTo>
                  <a:lnTo>
                    <a:pt x="128" y="124"/>
                  </a:lnTo>
                  <a:lnTo>
                    <a:pt x="126" y="120"/>
                  </a:lnTo>
                  <a:lnTo>
                    <a:pt x="128" y="122"/>
                  </a:lnTo>
                  <a:lnTo>
                    <a:pt x="130" y="124"/>
                  </a:lnTo>
                  <a:lnTo>
                    <a:pt x="131" y="124"/>
                  </a:lnTo>
                  <a:lnTo>
                    <a:pt x="133" y="124"/>
                  </a:lnTo>
                  <a:lnTo>
                    <a:pt x="135" y="124"/>
                  </a:lnTo>
                  <a:lnTo>
                    <a:pt x="136" y="126"/>
                  </a:lnTo>
                  <a:lnTo>
                    <a:pt x="140" y="124"/>
                  </a:lnTo>
                  <a:lnTo>
                    <a:pt x="141" y="126"/>
                  </a:lnTo>
                  <a:lnTo>
                    <a:pt x="143" y="126"/>
                  </a:lnTo>
                  <a:lnTo>
                    <a:pt x="145" y="124"/>
                  </a:lnTo>
                  <a:lnTo>
                    <a:pt x="147" y="122"/>
                  </a:lnTo>
                  <a:lnTo>
                    <a:pt x="147" y="126"/>
                  </a:lnTo>
                  <a:lnTo>
                    <a:pt x="145" y="126"/>
                  </a:lnTo>
                  <a:lnTo>
                    <a:pt x="145" y="127"/>
                  </a:lnTo>
                  <a:lnTo>
                    <a:pt x="145" y="129"/>
                  </a:lnTo>
                  <a:lnTo>
                    <a:pt x="143" y="127"/>
                  </a:lnTo>
                  <a:lnTo>
                    <a:pt x="141" y="127"/>
                  </a:lnTo>
                  <a:lnTo>
                    <a:pt x="143" y="127"/>
                  </a:lnTo>
                  <a:lnTo>
                    <a:pt x="141" y="129"/>
                  </a:lnTo>
                  <a:lnTo>
                    <a:pt x="143" y="131"/>
                  </a:lnTo>
                  <a:lnTo>
                    <a:pt x="143" y="132"/>
                  </a:lnTo>
                  <a:lnTo>
                    <a:pt x="145" y="132"/>
                  </a:lnTo>
                  <a:lnTo>
                    <a:pt x="145" y="134"/>
                  </a:lnTo>
                  <a:lnTo>
                    <a:pt x="145" y="136"/>
                  </a:lnTo>
                  <a:lnTo>
                    <a:pt x="141" y="134"/>
                  </a:lnTo>
                  <a:lnTo>
                    <a:pt x="141" y="136"/>
                  </a:lnTo>
                  <a:lnTo>
                    <a:pt x="140" y="137"/>
                  </a:lnTo>
                  <a:lnTo>
                    <a:pt x="141" y="137"/>
                  </a:lnTo>
                  <a:lnTo>
                    <a:pt x="143" y="136"/>
                  </a:lnTo>
                  <a:lnTo>
                    <a:pt x="145" y="136"/>
                  </a:lnTo>
                  <a:lnTo>
                    <a:pt x="147" y="137"/>
                  </a:lnTo>
                  <a:lnTo>
                    <a:pt x="145" y="137"/>
                  </a:lnTo>
                  <a:lnTo>
                    <a:pt x="147" y="139"/>
                  </a:lnTo>
                  <a:lnTo>
                    <a:pt x="143" y="139"/>
                  </a:lnTo>
                  <a:lnTo>
                    <a:pt x="141" y="139"/>
                  </a:lnTo>
                  <a:lnTo>
                    <a:pt x="141" y="141"/>
                  </a:lnTo>
                  <a:lnTo>
                    <a:pt x="143" y="141"/>
                  </a:lnTo>
                  <a:lnTo>
                    <a:pt x="145" y="141"/>
                  </a:lnTo>
                  <a:lnTo>
                    <a:pt x="147" y="141"/>
                  </a:lnTo>
                  <a:lnTo>
                    <a:pt x="147" y="143"/>
                  </a:lnTo>
                  <a:lnTo>
                    <a:pt x="148" y="143"/>
                  </a:lnTo>
                  <a:lnTo>
                    <a:pt x="148" y="144"/>
                  </a:lnTo>
                  <a:lnTo>
                    <a:pt x="147" y="144"/>
                  </a:lnTo>
                  <a:lnTo>
                    <a:pt x="147" y="146"/>
                  </a:lnTo>
                  <a:lnTo>
                    <a:pt x="148" y="144"/>
                  </a:lnTo>
                  <a:lnTo>
                    <a:pt x="148" y="143"/>
                  </a:lnTo>
                  <a:lnTo>
                    <a:pt x="150" y="141"/>
                  </a:lnTo>
                  <a:lnTo>
                    <a:pt x="150" y="139"/>
                  </a:lnTo>
                  <a:lnTo>
                    <a:pt x="150" y="137"/>
                  </a:lnTo>
                  <a:lnTo>
                    <a:pt x="150" y="136"/>
                  </a:lnTo>
                  <a:lnTo>
                    <a:pt x="150" y="134"/>
                  </a:lnTo>
                  <a:lnTo>
                    <a:pt x="153" y="134"/>
                  </a:lnTo>
                  <a:lnTo>
                    <a:pt x="153" y="132"/>
                  </a:lnTo>
                  <a:lnTo>
                    <a:pt x="152" y="129"/>
                  </a:lnTo>
                  <a:lnTo>
                    <a:pt x="152" y="127"/>
                  </a:lnTo>
                  <a:lnTo>
                    <a:pt x="152" y="126"/>
                  </a:lnTo>
                  <a:lnTo>
                    <a:pt x="153" y="126"/>
                  </a:lnTo>
                  <a:lnTo>
                    <a:pt x="155" y="127"/>
                  </a:lnTo>
                  <a:lnTo>
                    <a:pt x="157" y="127"/>
                  </a:lnTo>
                  <a:lnTo>
                    <a:pt x="155" y="129"/>
                  </a:lnTo>
                  <a:lnTo>
                    <a:pt x="155" y="131"/>
                  </a:lnTo>
                  <a:lnTo>
                    <a:pt x="157" y="132"/>
                  </a:lnTo>
                  <a:lnTo>
                    <a:pt x="157" y="134"/>
                  </a:lnTo>
                  <a:lnTo>
                    <a:pt x="157" y="136"/>
                  </a:lnTo>
                  <a:lnTo>
                    <a:pt x="158" y="136"/>
                  </a:lnTo>
                  <a:lnTo>
                    <a:pt x="157" y="136"/>
                  </a:lnTo>
                  <a:lnTo>
                    <a:pt x="158" y="137"/>
                  </a:lnTo>
                  <a:lnTo>
                    <a:pt x="157" y="137"/>
                  </a:lnTo>
                  <a:lnTo>
                    <a:pt x="158" y="139"/>
                  </a:lnTo>
                  <a:lnTo>
                    <a:pt x="157" y="139"/>
                  </a:lnTo>
                  <a:lnTo>
                    <a:pt x="157" y="141"/>
                  </a:lnTo>
                  <a:lnTo>
                    <a:pt x="155" y="139"/>
                  </a:lnTo>
                  <a:lnTo>
                    <a:pt x="155" y="141"/>
                  </a:lnTo>
                  <a:lnTo>
                    <a:pt x="153" y="144"/>
                  </a:lnTo>
                  <a:lnTo>
                    <a:pt x="153" y="146"/>
                  </a:lnTo>
                  <a:lnTo>
                    <a:pt x="153" y="144"/>
                  </a:lnTo>
                  <a:lnTo>
                    <a:pt x="155" y="144"/>
                  </a:lnTo>
                  <a:lnTo>
                    <a:pt x="155" y="141"/>
                  </a:lnTo>
                  <a:lnTo>
                    <a:pt x="158" y="143"/>
                  </a:lnTo>
                  <a:lnTo>
                    <a:pt x="155" y="143"/>
                  </a:lnTo>
                  <a:lnTo>
                    <a:pt x="155" y="144"/>
                  </a:lnTo>
                  <a:lnTo>
                    <a:pt x="158" y="144"/>
                  </a:lnTo>
                  <a:lnTo>
                    <a:pt x="158" y="146"/>
                  </a:lnTo>
                  <a:lnTo>
                    <a:pt x="158" y="144"/>
                  </a:lnTo>
                  <a:lnTo>
                    <a:pt x="158" y="143"/>
                  </a:lnTo>
                  <a:lnTo>
                    <a:pt x="160" y="143"/>
                  </a:lnTo>
                  <a:lnTo>
                    <a:pt x="160" y="141"/>
                  </a:lnTo>
                  <a:lnTo>
                    <a:pt x="160" y="139"/>
                  </a:lnTo>
                  <a:lnTo>
                    <a:pt x="158" y="139"/>
                  </a:lnTo>
                  <a:lnTo>
                    <a:pt x="160" y="139"/>
                  </a:lnTo>
                  <a:lnTo>
                    <a:pt x="160" y="137"/>
                  </a:lnTo>
                  <a:lnTo>
                    <a:pt x="158" y="136"/>
                  </a:lnTo>
                  <a:lnTo>
                    <a:pt x="158" y="132"/>
                  </a:lnTo>
                  <a:lnTo>
                    <a:pt x="157" y="132"/>
                  </a:lnTo>
                  <a:lnTo>
                    <a:pt x="158" y="131"/>
                  </a:lnTo>
                  <a:lnTo>
                    <a:pt x="158" y="129"/>
                  </a:lnTo>
                  <a:lnTo>
                    <a:pt x="157" y="127"/>
                  </a:lnTo>
                  <a:lnTo>
                    <a:pt x="157" y="126"/>
                  </a:lnTo>
                  <a:lnTo>
                    <a:pt x="155" y="124"/>
                  </a:lnTo>
                  <a:lnTo>
                    <a:pt x="153" y="124"/>
                  </a:lnTo>
                  <a:lnTo>
                    <a:pt x="152" y="124"/>
                  </a:lnTo>
                  <a:lnTo>
                    <a:pt x="150" y="126"/>
                  </a:lnTo>
                  <a:lnTo>
                    <a:pt x="148" y="124"/>
                  </a:lnTo>
                  <a:lnTo>
                    <a:pt x="150" y="122"/>
                  </a:lnTo>
                  <a:lnTo>
                    <a:pt x="153" y="120"/>
                  </a:lnTo>
                  <a:lnTo>
                    <a:pt x="155" y="119"/>
                  </a:lnTo>
                  <a:lnTo>
                    <a:pt x="157" y="117"/>
                  </a:lnTo>
                  <a:lnTo>
                    <a:pt x="158" y="115"/>
                  </a:lnTo>
                  <a:lnTo>
                    <a:pt x="160" y="114"/>
                  </a:lnTo>
                  <a:lnTo>
                    <a:pt x="162" y="114"/>
                  </a:lnTo>
                  <a:lnTo>
                    <a:pt x="164" y="114"/>
                  </a:lnTo>
                  <a:lnTo>
                    <a:pt x="165" y="112"/>
                  </a:lnTo>
                  <a:lnTo>
                    <a:pt x="167" y="112"/>
                  </a:lnTo>
                  <a:close/>
                  <a:moveTo>
                    <a:pt x="99" y="0"/>
                  </a:moveTo>
                  <a:lnTo>
                    <a:pt x="101" y="0"/>
                  </a:lnTo>
                  <a:lnTo>
                    <a:pt x="99" y="1"/>
                  </a:lnTo>
                  <a:lnTo>
                    <a:pt x="97" y="1"/>
                  </a:lnTo>
                  <a:lnTo>
                    <a:pt x="96" y="5"/>
                  </a:lnTo>
                  <a:lnTo>
                    <a:pt x="96" y="6"/>
                  </a:lnTo>
                  <a:lnTo>
                    <a:pt x="94" y="8"/>
                  </a:lnTo>
                  <a:lnTo>
                    <a:pt x="92" y="12"/>
                  </a:lnTo>
                  <a:lnTo>
                    <a:pt x="94" y="15"/>
                  </a:lnTo>
                  <a:lnTo>
                    <a:pt x="96" y="17"/>
                  </a:lnTo>
                  <a:lnTo>
                    <a:pt x="96" y="18"/>
                  </a:lnTo>
                  <a:lnTo>
                    <a:pt x="97" y="20"/>
                  </a:lnTo>
                  <a:lnTo>
                    <a:pt x="97" y="22"/>
                  </a:lnTo>
                  <a:lnTo>
                    <a:pt x="96" y="25"/>
                  </a:lnTo>
                  <a:lnTo>
                    <a:pt x="97" y="29"/>
                  </a:lnTo>
                  <a:lnTo>
                    <a:pt x="97" y="30"/>
                  </a:lnTo>
                  <a:lnTo>
                    <a:pt x="97" y="32"/>
                  </a:lnTo>
                  <a:lnTo>
                    <a:pt x="97" y="34"/>
                  </a:lnTo>
                  <a:lnTo>
                    <a:pt x="97" y="37"/>
                  </a:lnTo>
                  <a:lnTo>
                    <a:pt x="97" y="35"/>
                  </a:lnTo>
                  <a:lnTo>
                    <a:pt x="96" y="37"/>
                  </a:lnTo>
                  <a:lnTo>
                    <a:pt x="96" y="39"/>
                  </a:lnTo>
                  <a:lnTo>
                    <a:pt x="94" y="40"/>
                  </a:lnTo>
                  <a:lnTo>
                    <a:pt x="92" y="44"/>
                  </a:lnTo>
                  <a:lnTo>
                    <a:pt x="92" y="46"/>
                  </a:lnTo>
                  <a:lnTo>
                    <a:pt x="90" y="47"/>
                  </a:lnTo>
                  <a:lnTo>
                    <a:pt x="90" y="49"/>
                  </a:lnTo>
                  <a:lnTo>
                    <a:pt x="90" y="51"/>
                  </a:lnTo>
                  <a:lnTo>
                    <a:pt x="89" y="52"/>
                  </a:lnTo>
                  <a:lnTo>
                    <a:pt x="85" y="52"/>
                  </a:lnTo>
                  <a:lnTo>
                    <a:pt x="84" y="52"/>
                  </a:lnTo>
                  <a:lnTo>
                    <a:pt x="84" y="51"/>
                  </a:lnTo>
                  <a:lnTo>
                    <a:pt x="82" y="51"/>
                  </a:lnTo>
                  <a:lnTo>
                    <a:pt x="80" y="49"/>
                  </a:lnTo>
                  <a:lnTo>
                    <a:pt x="79" y="47"/>
                  </a:lnTo>
                  <a:lnTo>
                    <a:pt x="77" y="46"/>
                  </a:lnTo>
                  <a:lnTo>
                    <a:pt x="75" y="46"/>
                  </a:lnTo>
                  <a:lnTo>
                    <a:pt x="73" y="49"/>
                  </a:lnTo>
                  <a:lnTo>
                    <a:pt x="73" y="47"/>
                  </a:lnTo>
                  <a:lnTo>
                    <a:pt x="72" y="47"/>
                  </a:lnTo>
                  <a:lnTo>
                    <a:pt x="70" y="46"/>
                  </a:lnTo>
                  <a:lnTo>
                    <a:pt x="68" y="44"/>
                  </a:lnTo>
                  <a:lnTo>
                    <a:pt x="68" y="46"/>
                  </a:lnTo>
                  <a:lnTo>
                    <a:pt x="67" y="47"/>
                  </a:lnTo>
                  <a:lnTo>
                    <a:pt x="65" y="47"/>
                  </a:lnTo>
                  <a:lnTo>
                    <a:pt x="63" y="47"/>
                  </a:lnTo>
                  <a:lnTo>
                    <a:pt x="65" y="46"/>
                  </a:lnTo>
                  <a:lnTo>
                    <a:pt x="63" y="46"/>
                  </a:lnTo>
                  <a:lnTo>
                    <a:pt x="62" y="47"/>
                  </a:lnTo>
                  <a:lnTo>
                    <a:pt x="63" y="47"/>
                  </a:lnTo>
                  <a:lnTo>
                    <a:pt x="62" y="49"/>
                  </a:lnTo>
                  <a:lnTo>
                    <a:pt x="60" y="49"/>
                  </a:lnTo>
                  <a:lnTo>
                    <a:pt x="58" y="49"/>
                  </a:lnTo>
                  <a:lnTo>
                    <a:pt x="56" y="49"/>
                  </a:lnTo>
                  <a:lnTo>
                    <a:pt x="55" y="49"/>
                  </a:lnTo>
                  <a:lnTo>
                    <a:pt x="53" y="51"/>
                  </a:lnTo>
                  <a:lnTo>
                    <a:pt x="51" y="51"/>
                  </a:lnTo>
                  <a:lnTo>
                    <a:pt x="50" y="51"/>
                  </a:lnTo>
                  <a:lnTo>
                    <a:pt x="48" y="52"/>
                  </a:lnTo>
                  <a:lnTo>
                    <a:pt x="45" y="51"/>
                  </a:lnTo>
                  <a:lnTo>
                    <a:pt x="45" y="49"/>
                  </a:lnTo>
                  <a:lnTo>
                    <a:pt x="45" y="51"/>
                  </a:lnTo>
                  <a:lnTo>
                    <a:pt x="45" y="49"/>
                  </a:lnTo>
                  <a:lnTo>
                    <a:pt x="41" y="51"/>
                  </a:lnTo>
                  <a:lnTo>
                    <a:pt x="39" y="51"/>
                  </a:lnTo>
                  <a:lnTo>
                    <a:pt x="38" y="51"/>
                  </a:lnTo>
                  <a:lnTo>
                    <a:pt x="36" y="51"/>
                  </a:lnTo>
                  <a:lnTo>
                    <a:pt x="36" y="52"/>
                  </a:lnTo>
                  <a:lnTo>
                    <a:pt x="34" y="52"/>
                  </a:lnTo>
                  <a:lnTo>
                    <a:pt x="34" y="54"/>
                  </a:lnTo>
                  <a:lnTo>
                    <a:pt x="34" y="52"/>
                  </a:lnTo>
                  <a:lnTo>
                    <a:pt x="33" y="52"/>
                  </a:lnTo>
                  <a:lnTo>
                    <a:pt x="33" y="54"/>
                  </a:lnTo>
                  <a:lnTo>
                    <a:pt x="31" y="54"/>
                  </a:lnTo>
                  <a:lnTo>
                    <a:pt x="29" y="56"/>
                  </a:lnTo>
                  <a:lnTo>
                    <a:pt x="28" y="54"/>
                  </a:lnTo>
                  <a:lnTo>
                    <a:pt x="26" y="56"/>
                  </a:lnTo>
                  <a:lnTo>
                    <a:pt x="26" y="57"/>
                  </a:lnTo>
                  <a:lnTo>
                    <a:pt x="24" y="59"/>
                  </a:lnTo>
                  <a:lnTo>
                    <a:pt x="24" y="61"/>
                  </a:lnTo>
                  <a:lnTo>
                    <a:pt x="24" y="63"/>
                  </a:lnTo>
                  <a:lnTo>
                    <a:pt x="22" y="64"/>
                  </a:lnTo>
                  <a:lnTo>
                    <a:pt x="21" y="64"/>
                  </a:lnTo>
                  <a:lnTo>
                    <a:pt x="17" y="66"/>
                  </a:lnTo>
                  <a:lnTo>
                    <a:pt x="19" y="69"/>
                  </a:lnTo>
                  <a:lnTo>
                    <a:pt x="17" y="71"/>
                  </a:lnTo>
                  <a:lnTo>
                    <a:pt x="19" y="71"/>
                  </a:lnTo>
                  <a:lnTo>
                    <a:pt x="19" y="74"/>
                  </a:lnTo>
                  <a:lnTo>
                    <a:pt x="17" y="73"/>
                  </a:lnTo>
                  <a:lnTo>
                    <a:pt x="16" y="73"/>
                  </a:lnTo>
                  <a:lnTo>
                    <a:pt x="16" y="74"/>
                  </a:lnTo>
                  <a:lnTo>
                    <a:pt x="19" y="73"/>
                  </a:lnTo>
                  <a:lnTo>
                    <a:pt x="19" y="74"/>
                  </a:lnTo>
                  <a:lnTo>
                    <a:pt x="22" y="73"/>
                  </a:lnTo>
                  <a:lnTo>
                    <a:pt x="22" y="76"/>
                  </a:lnTo>
                  <a:lnTo>
                    <a:pt x="22" y="78"/>
                  </a:lnTo>
                  <a:lnTo>
                    <a:pt x="22" y="80"/>
                  </a:lnTo>
                  <a:lnTo>
                    <a:pt x="21" y="80"/>
                  </a:lnTo>
                  <a:lnTo>
                    <a:pt x="21" y="81"/>
                  </a:lnTo>
                  <a:lnTo>
                    <a:pt x="19" y="80"/>
                  </a:lnTo>
                  <a:lnTo>
                    <a:pt x="19" y="78"/>
                  </a:lnTo>
                  <a:lnTo>
                    <a:pt x="17" y="76"/>
                  </a:lnTo>
                  <a:lnTo>
                    <a:pt x="16" y="74"/>
                  </a:lnTo>
                  <a:lnTo>
                    <a:pt x="14" y="74"/>
                  </a:lnTo>
                  <a:lnTo>
                    <a:pt x="14" y="73"/>
                  </a:lnTo>
                  <a:lnTo>
                    <a:pt x="12" y="71"/>
                  </a:lnTo>
                  <a:lnTo>
                    <a:pt x="11" y="68"/>
                  </a:lnTo>
                  <a:lnTo>
                    <a:pt x="9" y="68"/>
                  </a:lnTo>
                  <a:lnTo>
                    <a:pt x="9" y="71"/>
                  </a:lnTo>
                  <a:lnTo>
                    <a:pt x="9" y="73"/>
                  </a:lnTo>
                  <a:lnTo>
                    <a:pt x="7" y="71"/>
                  </a:lnTo>
                  <a:lnTo>
                    <a:pt x="9" y="69"/>
                  </a:lnTo>
                  <a:lnTo>
                    <a:pt x="9" y="68"/>
                  </a:lnTo>
                  <a:lnTo>
                    <a:pt x="9" y="66"/>
                  </a:lnTo>
                  <a:lnTo>
                    <a:pt x="11" y="63"/>
                  </a:lnTo>
                  <a:lnTo>
                    <a:pt x="11" y="61"/>
                  </a:lnTo>
                  <a:lnTo>
                    <a:pt x="11" y="59"/>
                  </a:lnTo>
                  <a:lnTo>
                    <a:pt x="12" y="57"/>
                  </a:lnTo>
                  <a:lnTo>
                    <a:pt x="14" y="56"/>
                  </a:lnTo>
                  <a:lnTo>
                    <a:pt x="14" y="54"/>
                  </a:lnTo>
                  <a:lnTo>
                    <a:pt x="16" y="54"/>
                  </a:lnTo>
                  <a:lnTo>
                    <a:pt x="17" y="51"/>
                  </a:lnTo>
                  <a:lnTo>
                    <a:pt x="19" y="49"/>
                  </a:lnTo>
                  <a:lnTo>
                    <a:pt x="21" y="47"/>
                  </a:lnTo>
                  <a:lnTo>
                    <a:pt x="21" y="46"/>
                  </a:lnTo>
                  <a:lnTo>
                    <a:pt x="22" y="44"/>
                  </a:lnTo>
                  <a:lnTo>
                    <a:pt x="22" y="42"/>
                  </a:lnTo>
                  <a:lnTo>
                    <a:pt x="22" y="44"/>
                  </a:lnTo>
                  <a:lnTo>
                    <a:pt x="24" y="42"/>
                  </a:lnTo>
                  <a:lnTo>
                    <a:pt x="26" y="44"/>
                  </a:lnTo>
                  <a:lnTo>
                    <a:pt x="29" y="44"/>
                  </a:lnTo>
                  <a:lnTo>
                    <a:pt x="29" y="46"/>
                  </a:lnTo>
                  <a:lnTo>
                    <a:pt x="31" y="44"/>
                  </a:lnTo>
                  <a:lnTo>
                    <a:pt x="34" y="44"/>
                  </a:lnTo>
                  <a:lnTo>
                    <a:pt x="34" y="42"/>
                  </a:lnTo>
                  <a:lnTo>
                    <a:pt x="38" y="40"/>
                  </a:lnTo>
                  <a:lnTo>
                    <a:pt x="39" y="40"/>
                  </a:lnTo>
                  <a:lnTo>
                    <a:pt x="41" y="40"/>
                  </a:lnTo>
                  <a:lnTo>
                    <a:pt x="43" y="42"/>
                  </a:lnTo>
                  <a:lnTo>
                    <a:pt x="46" y="42"/>
                  </a:lnTo>
                  <a:lnTo>
                    <a:pt x="48" y="42"/>
                  </a:lnTo>
                  <a:lnTo>
                    <a:pt x="50" y="42"/>
                  </a:lnTo>
                  <a:lnTo>
                    <a:pt x="51" y="40"/>
                  </a:lnTo>
                  <a:lnTo>
                    <a:pt x="53" y="40"/>
                  </a:lnTo>
                  <a:lnTo>
                    <a:pt x="55" y="40"/>
                  </a:lnTo>
                  <a:lnTo>
                    <a:pt x="56" y="39"/>
                  </a:lnTo>
                  <a:lnTo>
                    <a:pt x="58" y="37"/>
                  </a:lnTo>
                  <a:lnTo>
                    <a:pt x="60" y="35"/>
                  </a:lnTo>
                  <a:lnTo>
                    <a:pt x="62" y="34"/>
                  </a:lnTo>
                  <a:lnTo>
                    <a:pt x="63" y="30"/>
                  </a:lnTo>
                  <a:lnTo>
                    <a:pt x="65" y="27"/>
                  </a:lnTo>
                  <a:lnTo>
                    <a:pt x="65" y="25"/>
                  </a:lnTo>
                  <a:lnTo>
                    <a:pt x="67" y="25"/>
                  </a:lnTo>
                  <a:lnTo>
                    <a:pt x="67" y="23"/>
                  </a:lnTo>
                  <a:lnTo>
                    <a:pt x="68" y="20"/>
                  </a:lnTo>
                  <a:lnTo>
                    <a:pt x="68" y="18"/>
                  </a:lnTo>
                  <a:lnTo>
                    <a:pt x="70" y="17"/>
                  </a:lnTo>
                  <a:lnTo>
                    <a:pt x="72" y="15"/>
                  </a:lnTo>
                  <a:lnTo>
                    <a:pt x="73" y="13"/>
                  </a:lnTo>
                  <a:lnTo>
                    <a:pt x="73" y="12"/>
                  </a:lnTo>
                  <a:lnTo>
                    <a:pt x="75" y="10"/>
                  </a:lnTo>
                  <a:lnTo>
                    <a:pt x="77" y="10"/>
                  </a:lnTo>
                  <a:lnTo>
                    <a:pt x="75" y="10"/>
                  </a:lnTo>
                  <a:lnTo>
                    <a:pt x="77" y="10"/>
                  </a:lnTo>
                  <a:lnTo>
                    <a:pt x="79" y="10"/>
                  </a:lnTo>
                  <a:lnTo>
                    <a:pt x="82" y="12"/>
                  </a:lnTo>
                  <a:lnTo>
                    <a:pt x="84" y="10"/>
                  </a:lnTo>
                  <a:lnTo>
                    <a:pt x="85" y="10"/>
                  </a:lnTo>
                  <a:lnTo>
                    <a:pt x="87" y="8"/>
                  </a:lnTo>
                  <a:lnTo>
                    <a:pt x="89" y="8"/>
                  </a:lnTo>
                  <a:lnTo>
                    <a:pt x="89" y="6"/>
                  </a:lnTo>
                  <a:lnTo>
                    <a:pt x="90" y="6"/>
                  </a:lnTo>
                  <a:lnTo>
                    <a:pt x="92" y="5"/>
                  </a:lnTo>
                  <a:lnTo>
                    <a:pt x="94" y="3"/>
                  </a:lnTo>
                  <a:lnTo>
                    <a:pt x="96" y="1"/>
                  </a:lnTo>
                  <a:lnTo>
                    <a:pt x="99" y="0"/>
                  </a:lnTo>
                  <a:close/>
                  <a:moveTo>
                    <a:pt x="89" y="149"/>
                  </a:moveTo>
                  <a:lnTo>
                    <a:pt x="90" y="149"/>
                  </a:lnTo>
                  <a:lnTo>
                    <a:pt x="94" y="151"/>
                  </a:lnTo>
                  <a:lnTo>
                    <a:pt x="96" y="153"/>
                  </a:lnTo>
                  <a:lnTo>
                    <a:pt x="97" y="154"/>
                  </a:lnTo>
                  <a:lnTo>
                    <a:pt x="99" y="156"/>
                  </a:lnTo>
                  <a:lnTo>
                    <a:pt x="97" y="154"/>
                  </a:lnTo>
                  <a:lnTo>
                    <a:pt x="96" y="154"/>
                  </a:lnTo>
                  <a:lnTo>
                    <a:pt x="97" y="158"/>
                  </a:lnTo>
                  <a:lnTo>
                    <a:pt x="94" y="158"/>
                  </a:lnTo>
                  <a:lnTo>
                    <a:pt x="94" y="161"/>
                  </a:lnTo>
                  <a:lnTo>
                    <a:pt x="92" y="163"/>
                  </a:lnTo>
                  <a:lnTo>
                    <a:pt x="94" y="161"/>
                  </a:lnTo>
                  <a:lnTo>
                    <a:pt x="94" y="160"/>
                  </a:lnTo>
                  <a:lnTo>
                    <a:pt x="94" y="161"/>
                  </a:lnTo>
                  <a:lnTo>
                    <a:pt x="96" y="161"/>
                  </a:lnTo>
                  <a:lnTo>
                    <a:pt x="97" y="161"/>
                  </a:lnTo>
                  <a:lnTo>
                    <a:pt x="96" y="160"/>
                  </a:lnTo>
                  <a:lnTo>
                    <a:pt x="97" y="160"/>
                  </a:lnTo>
                  <a:lnTo>
                    <a:pt x="99" y="158"/>
                  </a:lnTo>
                  <a:lnTo>
                    <a:pt x="99" y="160"/>
                  </a:lnTo>
                  <a:lnTo>
                    <a:pt x="101" y="158"/>
                  </a:lnTo>
                  <a:lnTo>
                    <a:pt x="101" y="156"/>
                  </a:lnTo>
                  <a:lnTo>
                    <a:pt x="99" y="156"/>
                  </a:lnTo>
                  <a:lnTo>
                    <a:pt x="101" y="154"/>
                  </a:lnTo>
                  <a:lnTo>
                    <a:pt x="102" y="156"/>
                  </a:lnTo>
                  <a:lnTo>
                    <a:pt x="101" y="154"/>
                  </a:lnTo>
                  <a:lnTo>
                    <a:pt x="101" y="151"/>
                  </a:lnTo>
                  <a:lnTo>
                    <a:pt x="101" y="153"/>
                  </a:lnTo>
                  <a:lnTo>
                    <a:pt x="102" y="153"/>
                  </a:lnTo>
                  <a:lnTo>
                    <a:pt x="102" y="151"/>
                  </a:lnTo>
                  <a:lnTo>
                    <a:pt x="101" y="149"/>
                  </a:lnTo>
                  <a:lnTo>
                    <a:pt x="102" y="151"/>
                  </a:lnTo>
                  <a:lnTo>
                    <a:pt x="104" y="153"/>
                  </a:lnTo>
                  <a:lnTo>
                    <a:pt x="104" y="154"/>
                  </a:lnTo>
                  <a:lnTo>
                    <a:pt x="104" y="156"/>
                  </a:lnTo>
                  <a:lnTo>
                    <a:pt x="106" y="158"/>
                  </a:lnTo>
                  <a:lnTo>
                    <a:pt x="106" y="160"/>
                  </a:lnTo>
                  <a:lnTo>
                    <a:pt x="104" y="160"/>
                  </a:lnTo>
                  <a:lnTo>
                    <a:pt x="102" y="161"/>
                  </a:lnTo>
                  <a:lnTo>
                    <a:pt x="101" y="160"/>
                  </a:lnTo>
                  <a:lnTo>
                    <a:pt x="99" y="160"/>
                  </a:lnTo>
                  <a:lnTo>
                    <a:pt x="99" y="161"/>
                  </a:lnTo>
                  <a:lnTo>
                    <a:pt x="99" y="163"/>
                  </a:lnTo>
                  <a:lnTo>
                    <a:pt x="101" y="160"/>
                  </a:lnTo>
                  <a:lnTo>
                    <a:pt x="102" y="161"/>
                  </a:lnTo>
                  <a:lnTo>
                    <a:pt x="104" y="161"/>
                  </a:lnTo>
                  <a:lnTo>
                    <a:pt x="106" y="163"/>
                  </a:lnTo>
                  <a:lnTo>
                    <a:pt x="107" y="165"/>
                  </a:lnTo>
                  <a:lnTo>
                    <a:pt x="107" y="166"/>
                  </a:lnTo>
                  <a:lnTo>
                    <a:pt x="109" y="168"/>
                  </a:lnTo>
                  <a:lnTo>
                    <a:pt x="109" y="170"/>
                  </a:lnTo>
                  <a:lnTo>
                    <a:pt x="111" y="171"/>
                  </a:lnTo>
                  <a:lnTo>
                    <a:pt x="109" y="171"/>
                  </a:lnTo>
                  <a:lnTo>
                    <a:pt x="107" y="170"/>
                  </a:lnTo>
                  <a:lnTo>
                    <a:pt x="107" y="171"/>
                  </a:lnTo>
                  <a:lnTo>
                    <a:pt x="106" y="171"/>
                  </a:lnTo>
                  <a:lnTo>
                    <a:pt x="107" y="171"/>
                  </a:lnTo>
                  <a:lnTo>
                    <a:pt x="107" y="173"/>
                  </a:lnTo>
                  <a:lnTo>
                    <a:pt x="109" y="177"/>
                  </a:lnTo>
                  <a:lnTo>
                    <a:pt x="109" y="178"/>
                  </a:lnTo>
                  <a:lnTo>
                    <a:pt x="109" y="180"/>
                  </a:lnTo>
                  <a:lnTo>
                    <a:pt x="107" y="182"/>
                  </a:lnTo>
                  <a:lnTo>
                    <a:pt x="107" y="185"/>
                  </a:lnTo>
                  <a:lnTo>
                    <a:pt x="106" y="187"/>
                  </a:lnTo>
                  <a:lnTo>
                    <a:pt x="106" y="188"/>
                  </a:lnTo>
                  <a:lnTo>
                    <a:pt x="104" y="187"/>
                  </a:lnTo>
                  <a:lnTo>
                    <a:pt x="101" y="188"/>
                  </a:lnTo>
                  <a:lnTo>
                    <a:pt x="97" y="190"/>
                  </a:lnTo>
                  <a:lnTo>
                    <a:pt x="96" y="188"/>
                  </a:lnTo>
                  <a:lnTo>
                    <a:pt x="94" y="188"/>
                  </a:lnTo>
                  <a:lnTo>
                    <a:pt x="92" y="187"/>
                  </a:lnTo>
                  <a:lnTo>
                    <a:pt x="90" y="188"/>
                  </a:lnTo>
                  <a:lnTo>
                    <a:pt x="89" y="188"/>
                  </a:lnTo>
                  <a:lnTo>
                    <a:pt x="89" y="187"/>
                  </a:lnTo>
                  <a:lnTo>
                    <a:pt x="85" y="185"/>
                  </a:lnTo>
                  <a:lnTo>
                    <a:pt x="85" y="187"/>
                  </a:lnTo>
                  <a:lnTo>
                    <a:pt x="85" y="188"/>
                  </a:lnTo>
                  <a:lnTo>
                    <a:pt x="84" y="187"/>
                  </a:lnTo>
                  <a:lnTo>
                    <a:pt x="82" y="185"/>
                  </a:lnTo>
                  <a:lnTo>
                    <a:pt x="80" y="187"/>
                  </a:lnTo>
                  <a:lnTo>
                    <a:pt x="80" y="185"/>
                  </a:lnTo>
                  <a:lnTo>
                    <a:pt x="82" y="183"/>
                  </a:lnTo>
                  <a:lnTo>
                    <a:pt x="84" y="183"/>
                  </a:lnTo>
                  <a:lnTo>
                    <a:pt x="82" y="182"/>
                  </a:lnTo>
                  <a:lnTo>
                    <a:pt x="82" y="178"/>
                  </a:lnTo>
                  <a:lnTo>
                    <a:pt x="79" y="180"/>
                  </a:lnTo>
                  <a:lnTo>
                    <a:pt x="77" y="178"/>
                  </a:lnTo>
                  <a:lnTo>
                    <a:pt x="77" y="180"/>
                  </a:lnTo>
                  <a:lnTo>
                    <a:pt x="79" y="183"/>
                  </a:lnTo>
                  <a:lnTo>
                    <a:pt x="77" y="183"/>
                  </a:lnTo>
                  <a:lnTo>
                    <a:pt x="75" y="183"/>
                  </a:lnTo>
                  <a:lnTo>
                    <a:pt x="77" y="182"/>
                  </a:lnTo>
                  <a:lnTo>
                    <a:pt x="75" y="180"/>
                  </a:lnTo>
                  <a:lnTo>
                    <a:pt x="75" y="177"/>
                  </a:lnTo>
                  <a:lnTo>
                    <a:pt x="73" y="177"/>
                  </a:lnTo>
                  <a:lnTo>
                    <a:pt x="72" y="175"/>
                  </a:lnTo>
                  <a:lnTo>
                    <a:pt x="73" y="175"/>
                  </a:lnTo>
                  <a:lnTo>
                    <a:pt x="72" y="173"/>
                  </a:lnTo>
                  <a:lnTo>
                    <a:pt x="72" y="171"/>
                  </a:lnTo>
                  <a:lnTo>
                    <a:pt x="72" y="168"/>
                  </a:lnTo>
                  <a:lnTo>
                    <a:pt x="73" y="168"/>
                  </a:lnTo>
                  <a:lnTo>
                    <a:pt x="72" y="166"/>
                  </a:lnTo>
                  <a:lnTo>
                    <a:pt x="70" y="168"/>
                  </a:lnTo>
                  <a:lnTo>
                    <a:pt x="68" y="166"/>
                  </a:lnTo>
                  <a:lnTo>
                    <a:pt x="70" y="165"/>
                  </a:lnTo>
                  <a:lnTo>
                    <a:pt x="68" y="163"/>
                  </a:lnTo>
                  <a:lnTo>
                    <a:pt x="70" y="163"/>
                  </a:lnTo>
                  <a:lnTo>
                    <a:pt x="68" y="161"/>
                  </a:lnTo>
                  <a:lnTo>
                    <a:pt x="67" y="161"/>
                  </a:lnTo>
                  <a:lnTo>
                    <a:pt x="65" y="160"/>
                  </a:lnTo>
                  <a:lnTo>
                    <a:pt x="67" y="160"/>
                  </a:lnTo>
                  <a:lnTo>
                    <a:pt x="68" y="161"/>
                  </a:lnTo>
                  <a:lnTo>
                    <a:pt x="70" y="161"/>
                  </a:lnTo>
                  <a:lnTo>
                    <a:pt x="68" y="160"/>
                  </a:lnTo>
                  <a:lnTo>
                    <a:pt x="67" y="160"/>
                  </a:lnTo>
                  <a:lnTo>
                    <a:pt x="67" y="158"/>
                  </a:lnTo>
                  <a:lnTo>
                    <a:pt x="63" y="156"/>
                  </a:lnTo>
                  <a:lnTo>
                    <a:pt x="65" y="156"/>
                  </a:lnTo>
                  <a:lnTo>
                    <a:pt x="67" y="156"/>
                  </a:lnTo>
                  <a:lnTo>
                    <a:pt x="68" y="154"/>
                  </a:lnTo>
                  <a:lnTo>
                    <a:pt x="67" y="154"/>
                  </a:lnTo>
                  <a:lnTo>
                    <a:pt x="68" y="154"/>
                  </a:lnTo>
                  <a:lnTo>
                    <a:pt x="70" y="153"/>
                  </a:lnTo>
                  <a:lnTo>
                    <a:pt x="72" y="156"/>
                  </a:lnTo>
                  <a:lnTo>
                    <a:pt x="73" y="156"/>
                  </a:lnTo>
                  <a:lnTo>
                    <a:pt x="75" y="156"/>
                  </a:lnTo>
                  <a:lnTo>
                    <a:pt x="77" y="154"/>
                  </a:lnTo>
                  <a:lnTo>
                    <a:pt x="79" y="153"/>
                  </a:lnTo>
                  <a:lnTo>
                    <a:pt x="80" y="153"/>
                  </a:lnTo>
                  <a:lnTo>
                    <a:pt x="82" y="151"/>
                  </a:lnTo>
                  <a:lnTo>
                    <a:pt x="85" y="151"/>
                  </a:lnTo>
                  <a:lnTo>
                    <a:pt x="84" y="151"/>
                  </a:lnTo>
                  <a:lnTo>
                    <a:pt x="85" y="151"/>
                  </a:lnTo>
                  <a:lnTo>
                    <a:pt x="85" y="149"/>
                  </a:lnTo>
                  <a:lnTo>
                    <a:pt x="89" y="149"/>
                  </a:lnTo>
                  <a:lnTo>
                    <a:pt x="87" y="151"/>
                  </a:lnTo>
                  <a:lnTo>
                    <a:pt x="89" y="151"/>
                  </a:lnTo>
                  <a:lnTo>
                    <a:pt x="89" y="149"/>
                  </a:lnTo>
                  <a:close/>
                  <a:moveTo>
                    <a:pt x="124" y="195"/>
                  </a:moveTo>
                  <a:lnTo>
                    <a:pt x="128" y="195"/>
                  </a:lnTo>
                  <a:lnTo>
                    <a:pt x="130" y="197"/>
                  </a:lnTo>
                  <a:lnTo>
                    <a:pt x="131" y="197"/>
                  </a:lnTo>
                  <a:lnTo>
                    <a:pt x="133" y="200"/>
                  </a:lnTo>
                  <a:lnTo>
                    <a:pt x="135" y="202"/>
                  </a:lnTo>
                  <a:lnTo>
                    <a:pt x="136" y="200"/>
                  </a:lnTo>
                  <a:lnTo>
                    <a:pt x="136" y="202"/>
                  </a:lnTo>
                  <a:lnTo>
                    <a:pt x="136" y="204"/>
                  </a:lnTo>
                  <a:lnTo>
                    <a:pt x="140" y="204"/>
                  </a:lnTo>
                  <a:lnTo>
                    <a:pt x="141" y="204"/>
                  </a:lnTo>
                  <a:lnTo>
                    <a:pt x="143" y="205"/>
                  </a:lnTo>
                  <a:lnTo>
                    <a:pt x="141" y="204"/>
                  </a:lnTo>
                  <a:lnTo>
                    <a:pt x="140" y="204"/>
                  </a:lnTo>
                  <a:lnTo>
                    <a:pt x="140" y="202"/>
                  </a:lnTo>
                  <a:lnTo>
                    <a:pt x="141" y="202"/>
                  </a:lnTo>
                  <a:lnTo>
                    <a:pt x="143" y="202"/>
                  </a:lnTo>
                  <a:lnTo>
                    <a:pt x="143" y="199"/>
                  </a:lnTo>
                  <a:lnTo>
                    <a:pt x="145" y="200"/>
                  </a:lnTo>
                  <a:lnTo>
                    <a:pt x="147" y="200"/>
                  </a:lnTo>
                  <a:lnTo>
                    <a:pt x="147" y="202"/>
                  </a:lnTo>
                  <a:lnTo>
                    <a:pt x="148" y="202"/>
                  </a:lnTo>
                  <a:lnTo>
                    <a:pt x="148" y="205"/>
                  </a:lnTo>
                  <a:lnTo>
                    <a:pt x="150" y="205"/>
                  </a:lnTo>
                  <a:lnTo>
                    <a:pt x="152" y="207"/>
                  </a:lnTo>
                  <a:lnTo>
                    <a:pt x="152" y="209"/>
                  </a:lnTo>
                  <a:lnTo>
                    <a:pt x="152" y="211"/>
                  </a:lnTo>
                  <a:lnTo>
                    <a:pt x="150" y="209"/>
                  </a:lnTo>
                  <a:lnTo>
                    <a:pt x="150" y="212"/>
                  </a:lnTo>
                  <a:lnTo>
                    <a:pt x="152" y="212"/>
                  </a:lnTo>
                  <a:lnTo>
                    <a:pt x="152" y="214"/>
                  </a:lnTo>
                  <a:lnTo>
                    <a:pt x="150" y="216"/>
                  </a:lnTo>
                  <a:lnTo>
                    <a:pt x="152" y="216"/>
                  </a:lnTo>
                  <a:lnTo>
                    <a:pt x="150" y="216"/>
                  </a:lnTo>
                  <a:lnTo>
                    <a:pt x="148" y="216"/>
                  </a:lnTo>
                  <a:lnTo>
                    <a:pt x="147" y="216"/>
                  </a:lnTo>
                  <a:lnTo>
                    <a:pt x="147" y="214"/>
                  </a:lnTo>
                  <a:lnTo>
                    <a:pt x="147" y="216"/>
                  </a:lnTo>
                  <a:lnTo>
                    <a:pt x="143" y="214"/>
                  </a:lnTo>
                  <a:lnTo>
                    <a:pt x="143" y="216"/>
                  </a:lnTo>
                  <a:lnTo>
                    <a:pt x="141" y="216"/>
                  </a:lnTo>
                  <a:lnTo>
                    <a:pt x="140" y="216"/>
                  </a:lnTo>
                  <a:lnTo>
                    <a:pt x="140" y="217"/>
                  </a:lnTo>
                  <a:lnTo>
                    <a:pt x="138" y="217"/>
                  </a:lnTo>
                  <a:lnTo>
                    <a:pt x="136" y="219"/>
                  </a:lnTo>
                  <a:lnTo>
                    <a:pt x="138" y="219"/>
                  </a:lnTo>
                  <a:lnTo>
                    <a:pt x="136" y="219"/>
                  </a:lnTo>
                  <a:lnTo>
                    <a:pt x="135" y="219"/>
                  </a:lnTo>
                  <a:lnTo>
                    <a:pt x="133" y="217"/>
                  </a:lnTo>
                  <a:lnTo>
                    <a:pt x="131" y="216"/>
                  </a:lnTo>
                  <a:lnTo>
                    <a:pt x="130" y="214"/>
                  </a:lnTo>
                  <a:lnTo>
                    <a:pt x="128" y="212"/>
                  </a:lnTo>
                  <a:lnTo>
                    <a:pt x="126" y="212"/>
                  </a:lnTo>
                  <a:lnTo>
                    <a:pt x="124" y="211"/>
                  </a:lnTo>
                  <a:lnTo>
                    <a:pt x="121" y="211"/>
                  </a:lnTo>
                  <a:lnTo>
                    <a:pt x="119" y="209"/>
                  </a:lnTo>
                  <a:lnTo>
                    <a:pt x="118" y="209"/>
                  </a:lnTo>
                  <a:lnTo>
                    <a:pt x="118" y="207"/>
                  </a:lnTo>
                  <a:lnTo>
                    <a:pt x="116" y="205"/>
                  </a:lnTo>
                  <a:lnTo>
                    <a:pt x="116" y="204"/>
                  </a:lnTo>
                  <a:lnTo>
                    <a:pt x="116" y="207"/>
                  </a:lnTo>
                  <a:lnTo>
                    <a:pt x="118" y="205"/>
                  </a:lnTo>
                  <a:lnTo>
                    <a:pt x="116" y="204"/>
                  </a:lnTo>
                  <a:lnTo>
                    <a:pt x="119" y="205"/>
                  </a:lnTo>
                  <a:lnTo>
                    <a:pt x="119" y="204"/>
                  </a:lnTo>
                  <a:lnTo>
                    <a:pt x="121" y="205"/>
                  </a:lnTo>
                  <a:lnTo>
                    <a:pt x="121" y="204"/>
                  </a:lnTo>
                  <a:lnTo>
                    <a:pt x="123" y="204"/>
                  </a:lnTo>
                  <a:lnTo>
                    <a:pt x="121" y="204"/>
                  </a:lnTo>
                  <a:lnTo>
                    <a:pt x="119" y="200"/>
                  </a:lnTo>
                  <a:lnTo>
                    <a:pt x="118" y="200"/>
                  </a:lnTo>
                  <a:lnTo>
                    <a:pt x="118" y="199"/>
                  </a:lnTo>
                  <a:lnTo>
                    <a:pt x="119" y="195"/>
                  </a:lnTo>
                  <a:lnTo>
                    <a:pt x="121" y="197"/>
                  </a:lnTo>
                  <a:lnTo>
                    <a:pt x="121" y="195"/>
                  </a:lnTo>
                  <a:lnTo>
                    <a:pt x="123" y="195"/>
                  </a:lnTo>
                  <a:lnTo>
                    <a:pt x="124" y="195"/>
                  </a:lnTo>
                  <a:close/>
                  <a:moveTo>
                    <a:pt x="267" y="165"/>
                  </a:moveTo>
                  <a:lnTo>
                    <a:pt x="267" y="166"/>
                  </a:lnTo>
                  <a:lnTo>
                    <a:pt x="269" y="166"/>
                  </a:lnTo>
                  <a:lnTo>
                    <a:pt x="269" y="168"/>
                  </a:lnTo>
                  <a:lnTo>
                    <a:pt x="271" y="168"/>
                  </a:lnTo>
                  <a:lnTo>
                    <a:pt x="271" y="170"/>
                  </a:lnTo>
                  <a:lnTo>
                    <a:pt x="274" y="171"/>
                  </a:lnTo>
                  <a:lnTo>
                    <a:pt x="274" y="170"/>
                  </a:lnTo>
                  <a:lnTo>
                    <a:pt x="276" y="171"/>
                  </a:lnTo>
                  <a:lnTo>
                    <a:pt x="277" y="173"/>
                  </a:lnTo>
                  <a:lnTo>
                    <a:pt x="279" y="173"/>
                  </a:lnTo>
                  <a:lnTo>
                    <a:pt x="279" y="175"/>
                  </a:lnTo>
                  <a:lnTo>
                    <a:pt x="281" y="175"/>
                  </a:lnTo>
                  <a:lnTo>
                    <a:pt x="283" y="175"/>
                  </a:lnTo>
                  <a:lnTo>
                    <a:pt x="283" y="177"/>
                  </a:lnTo>
                  <a:lnTo>
                    <a:pt x="283" y="178"/>
                  </a:lnTo>
                  <a:lnTo>
                    <a:pt x="283" y="180"/>
                  </a:lnTo>
                  <a:lnTo>
                    <a:pt x="283" y="182"/>
                  </a:lnTo>
                  <a:lnTo>
                    <a:pt x="281" y="182"/>
                  </a:lnTo>
                  <a:lnTo>
                    <a:pt x="283" y="183"/>
                  </a:lnTo>
                  <a:lnTo>
                    <a:pt x="281" y="185"/>
                  </a:lnTo>
                  <a:lnTo>
                    <a:pt x="279" y="185"/>
                  </a:lnTo>
                  <a:lnTo>
                    <a:pt x="277" y="185"/>
                  </a:lnTo>
                  <a:lnTo>
                    <a:pt x="276" y="185"/>
                  </a:lnTo>
                  <a:lnTo>
                    <a:pt x="274" y="185"/>
                  </a:lnTo>
                  <a:lnTo>
                    <a:pt x="271" y="183"/>
                  </a:lnTo>
                  <a:lnTo>
                    <a:pt x="269" y="182"/>
                  </a:lnTo>
                  <a:lnTo>
                    <a:pt x="267" y="182"/>
                  </a:lnTo>
                  <a:lnTo>
                    <a:pt x="266" y="180"/>
                  </a:lnTo>
                  <a:lnTo>
                    <a:pt x="264" y="180"/>
                  </a:lnTo>
                  <a:lnTo>
                    <a:pt x="264" y="178"/>
                  </a:lnTo>
                  <a:lnTo>
                    <a:pt x="264" y="180"/>
                  </a:lnTo>
                  <a:lnTo>
                    <a:pt x="266" y="177"/>
                  </a:lnTo>
                  <a:lnTo>
                    <a:pt x="264" y="175"/>
                  </a:lnTo>
                  <a:lnTo>
                    <a:pt x="264" y="173"/>
                  </a:lnTo>
                  <a:lnTo>
                    <a:pt x="264" y="170"/>
                  </a:lnTo>
                  <a:lnTo>
                    <a:pt x="266" y="168"/>
                  </a:lnTo>
                  <a:lnTo>
                    <a:pt x="266" y="166"/>
                  </a:lnTo>
                  <a:lnTo>
                    <a:pt x="266" y="165"/>
                  </a:lnTo>
                  <a:lnTo>
                    <a:pt x="267" y="165"/>
                  </a:lnTo>
                  <a:close/>
                  <a:moveTo>
                    <a:pt x="150" y="194"/>
                  </a:moveTo>
                  <a:lnTo>
                    <a:pt x="152" y="194"/>
                  </a:lnTo>
                  <a:lnTo>
                    <a:pt x="153" y="197"/>
                  </a:lnTo>
                  <a:lnTo>
                    <a:pt x="153" y="195"/>
                  </a:lnTo>
                  <a:lnTo>
                    <a:pt x="155" y="195"/>
                  </a:lnTo>
                  <a:lnTo>
                    <a:pt x="157" y="195"/>
                  </a:lnTo>
                  <a:lnTo>
                    <a:pt x="157" y="199"/>
                  </a:lnTo>
                  <a:lnTo>
                    <a:pt x="160" y="199"/>
                  </a:lnTo>
                  <a:lnTo>
                    <a:pt x="162" y="199"/>
                  </a:lnTo>
                  <a:lnTo>
                    <a:pt x="162" y="200"/>
                  </a:lnTo>
                  <a:lnTo>
                    <a:pt x="164" y="202"/>
                  </a:lnTo>
                  <a:lnTo>
                    <a:pt x="162" y="204"/>
                  </a:lnTo>
                  <a:lnTo>
                    <a:pt x="162" y="205"/>
                  </a:lnTo>
                  <a:lnTo>
                    <a:pt x="160" y="207"/>
                  </a:lnTo>
                  <a:lnTo>
                    <a:pt x="158" y="207"/>
                  </a:lnTo>
                  <a:lnTo>
                    <a:pt x="158" y="211"/>
                  </a:lnTo>
                  <a:lnTo>
                    <a:pt x="157" y="212"/>
                  </a:lnTo>
                  <a:lnTo>
                    <a:pt x="157" y="216"/>
                  </a:lnTo>
                  <a:lnTo>
                    <a:pt x="157" y="217"/>
                  </a:lnTo>
                  <a:lnTo>
                    <a:pt x="157" y="219"/>
                  </a:lnTo>
                  <a:lnTo>
                    <a:pt x="157" y="221"/>
                  </a:lnTo>
                  <a:lnTo>
                    <a:pt x="157" y="222"/>
                  </a:lnTo>
                  <a:lnTo>
                    <a:pt x="155" y="221"/>
                  </a:lnTo>
                  <a:lnTo>
                    <a:pt x="155" y="219"/>
                  </a:lnTo>
                  <a:lnTo>
                    <a:pt x="153" y="217"/>
                  </a:lnTo>
                  <a:lnTo>
                    <a:pt x="152" y="216"/>
                  </a:lnTo>
                  <a:lnTo>
                    <a:pt x="153" y="212"/>
                  </a:lnTo>
                  <a:lnTo>
                    <a:pt x="153" y="211"/>
                  </a:lnTo>
                  <a:lnTo>
                    <a:pt x="152" y="211"/>
                  </a:lnTo>
                  <a:lnTo>
                    <a:pt x="153" y="209"/>
                  </a:lnTo>
                  <a:lnTo>
                    <a:pt x="152" y="207"/>
                  </a:lnTo>
                  <a:lnTo>
                    <a:pt x="150" y="205"/>
                  </a:lnTo>
                  <a:lnTo>
                    <a:pt x="148" y="204"/>
                  </a:lnTo>
                  <a:lnTo>
                    <a:pt x="150" y="202"/>
                  </a:lnTo>
                  <a:lnTo>
                    <a:pt x="147" y="202"/>
                  </a:lnTo>
                  <a:lnTo>
                    <a:pt x="147" y="199"/>
                  </a:lnTo>
                  <a:lnTo>
                    <a:pt x="147" y="197"/>
                  </a:lnTo>
                  <a:lnTo>
                    <a:pt x="145" y="195"/>
                  </a:lnTo>
                  <a:lnTo>
                    <a:pt x="147" y="194"/>
                  </a:lnTo>
                  <a:lnTo>
                    <a:pt x="150" y="195"/>
                  </a:lnTo>
                  <a:lnTo>
                    <a:pt x="150" y="194"/>
                  </a:lnTo>
                  <a:close/>
                  <a:moveTo>
                    <a:pt x="36" y="52"/>
                  </a:moveTo>
                  <a:lnTo>
                    <a:pt x="34" y="54"/>
                  </a:lnTo>
                  <a:lnTo>
                    <a:pt x="36" y="57"/>
                  </a:lnTo>
                  <a:lnTo>
                    <a:pt x="34" y="57"/>
                  </a:lnTo>
                  <a:lnTo>
                    <a:pt x="34" y="61"/>
                  </a:lnTo>
                  <a:lnTo>
                    <a:pt x="33" y="59"/>
                  </a:lnTo>
                  <a:lnTo>
                    <a:pt x="33" y="61"/>
                  </a:lnTo>
                  <a:lnTo>
                    <a:pt x="33" y="64"/>
                  </a:lnTo>
                  <a:lnTo>
                    <a:pt x="34" y="66"/>
                  </a:lnTo>
                  <a:lnTo>
                    <a:pt x="34" y="68"/>
                  </a:lnTo>
                  <a:lnTo>
                    <a:pt x="33" y="66"/>
                  </a:lnTo>
                  <a:lnTo>
                    <a:pt x="33" y="68"/>
                  </a:lnTo>
                  <a:lnTo>
                    <a:pt x="31" y="69"/>
                  </a:lnTo>
                  <a:lnTo>
                    <a:pt x="29" y="71"/>
                  </a:lnTo>
                  <a:lnTo>
                    <a:pt x="29" y="73"/>
                  </a:lnTo>
                  <a:lnTo>
                    <a:pt x="28" y="74"/>
                  </a:lnTo>
                  <a:lnTo>
                    <a:pt x="24" y="74"/>
                  </a:lnTo>
                  <a:lnTo>
                    <a:pt x="24" y="73"/>
                  </a:lnTo>
                  <a:lnTo>
                    <a:pt x="24" y="74"/>
                  </a:lnTo>
                  <a:lnTo>
                    <a:pt x="24" y="73"/>
                  </a:lnTo>
                  <a:lnTo>
                    <a:pt x="24" y="71"/>
                  </a:lnTo>
                  <a:lnTo>
                    <a:pt x="22" y="71"/>
                  </a:lnTo>
                  <a:lnTo>
                    <a:pt x="22" y="73"/>
                  </a:lnTo>
                  <a:lnTo>
                    <a:pt x="21" y="73"/>
                  </a:lnTo>
                  <a:lnTo>
                    <a:pt x="21" y="71"/>
                  </a:lnTo>
                  <a:lnTo>
                    <a:pt x="22" y="71"/>
                  </a:lnTo>
                  <a:lnTo>
                    <a:pt x="21" y="71"/>
                  </a:lnTo>
                  <a:lnTo>
                    <a:pt x="21" y="69"/>
                  </a:lnTo>
                  <a:lnTo>
                    <a:pt x="19" y="71"/>
                  </a:lnTo>
                  <a:lnTo>
                    <a:pt x="19" y="69"/>
                  </a:lnTo>
                  <a:lnTo>
                    <a:pt x="21" y="68"/>
                  </a:lnTo>
                  <a:lnTo>
                    <a:pt x="21" y="66"/>
                  </a:lnTo>
                  <a:lnTo>
                    <a:pt x="22" y="66"/>
                  </a:lnTo>
                  <a:lnTo>
                    <a:pt x="24" y="66"/>
                  </a:lnTo>
                  <a:lnTo>
                    <a:pt x="26" y="66"/>
                  </a:lnTo>
                  <a:lnTo>
                    <a:pt x="24" y="64"/>
                  </a:lnTo>
                  <a:lnTo>
                    <a:pt x="24" y="63"/>
                  </a:lnTo>
                  <a:lnTo>
                    <a:pt x="24" y="61"/>
                  </a:lnTo>
                  <a:lnTo>
                    <a:pt x="24" y="59"/>
                  </a:lnTo>
                  <a:lnTo>
                    <a:pt x="26" y="59"/>
                  </a:lnTo>
                  <a:lnTo>
                    <a:pt x="28" y="59"/>
                  </a:lnTo>
                  <a:lnTo>
                    <a:pt x="29" y="59"/>
                  </a:lnTo>
                  <a:lnTo>
                    <a:pt x="31" y="59"/>
                  </a:lnTo>
                  <a:lnTo>
                    <a:pt x="33" y="56"/>
                  </a:lnTo>
                  <a:lnTo>
                    <a:pt x="33" y="54"/>
                  </a:lnTo>
                  <a:lnTo>
                    <a:pt x="34" y="56"/>
                  </a:lnTo>
                  <a:lnTo>
                    <a:pt x="36" y="54"/>
                  </a:lnTo>
                  <a:lnTo>
                    <a:pt x="36" y="52"/>
                  </a:lnTo>
                  <a:close/>
                  <a:moveTo>
                    <a:pt x="67" y="187"/>
                  </a:moveTo>
                  <a:lnTo>
                    <a:pt x="70" y="187"/>
                  </a:lnTo>
                  <a:lnTo>
                    <a:pt x="70" y="188"/>
                  </a:lnTo>
                  <a:lnTo>
                    <a:pt x="72" y="190"/>
                  </a:lnTo>
                  <a:lnTo>
                    <a:pt x="75" y="190"/>
                  </a:lnTo>
                  <a:lnTo>
                    <a:pt x="77" y="192"/>
                  </a:lnTo>
                  <a:lnTo>
                    <a:pt x="77" y="194"/>
                  </a:lnTo>
                  <a:lnTo>
                    <a:pt x="79" y="195"/>
                  </a:lnTo>
                  <a:lnTo>
                    <a:pt x="79" y="197"/>
                  </a:lnTo>
                  <a:lnTo>
                    <a:pt x="79" y="200"/>
                  </a:lnTo>
                  <a:lnTo>
                    <a:pt x="77" y="200"/>
                  </a:lnTo>
                  <a:lnTo>
                    <a:pt x="77" y="202"/>
                  </a:lnTo>
                  <a:lnTo>
                    <a:pt x="75" y="202"/>
                  </a:lnTo>
                  <a:lnTo>
                    <a:pt x="72" y="202"/>
                  </a:lnTo>
                  <a:lnTo>
                    <a:pt x="72" y="200"/>
                  </a:lnTo>
                  <a:lnTo>
                    <a:pt x="73" y="199"/>
                  </a:lnTo>
                  <a:lnTo>
                    <a:pt x="73" y="200"/>
                  </a:lnTo>
                  <a:lnTo>
                    <a:pt x="75" y="200"/>
                  </a:lnTo>
                  <a:lnTo>
                    <a:pt x="77" y="202"/>
                  </a:lnTo>
                  <a:lnTo>
                    <a:pt x="75" y="200"/>
                  </a:lnTo>
                  <a:lnTo>
                    <a:pt x="73" y="199"/>
                  </a:lnTo>
                  <a:lnTo>
                    <a:pt x="72" y="199"/>
                  </a:lnTo>
                  <a:lnTo>
                    <a:pt x="70" y="200"/>
                  </a:lnTo>
                  <a:lnTo>
                    <a:pt x="68" y="199"/>
                  </a:lnTo>
                  <a:lnTo>
                    <a:pt x="67" y="197"/>
                  </a:lnTo>
                  <a:lnTo>
                    <a:pt x="67" y="194"/>
                  </a:lnTo>
                  <a:lnTo>
                    <a:pt x="68" y="194"/>
                  </a:lnTo>
                  <a:lnTo>
                    <a:pt x="70" y="197"/>
                  </a:lnTo>
                  <a:lnTo>
                    <a:pt x="72" y="195"/>
                  </a:lnTo>
                  <a:lnTo>
                    <a:pt x="70" y="195"/>
                  </a:lnTo>
                  <a:lnTo>
                    <a:pt x="72" y="194"/>
                  </a:lnTo>
                  <a:lnTo>
                    <a:pt x="70" y="194"/>
                  </a:lnTo>
                  <a:lnTo>
                    <a:pt x="68" y="194"/>
                  </a:lnTo>
                  <a:lnTo>
                    <a:pt x="68" y="192"/>
                  </a:lnTo>
                  <a:lnTo>
                    <a:pt x="65" y="192"/>
                  </a:lnTo>
                  <a:lnTo>
                    <a:pt x="63" y="190"/>
                  </a:lnTo>
                  <a:lnTo>
                    <a:pt x="65" y="190"/>
                  </a:lnTo>
                  <a:lnTo>
                    <a:pt x="65" y="188"/>
                  </a:lnTo>
                  <a:lnTo>
                    <a:pt x="63" y="190"/>
                  </a:lnTo>
                  <a:lnTo>
                    <a:pt x="62" y="188"/>
                  </a:lnTo>
                  <a:lnTo>
                    <a:pt x="63" y="187"/>
                  </a:lnTo>
                  <a:lnTo>
                    <a:pt x="65" y="187"/>
                  </a:lnTo>
                  <a:lnTo>
                    <a:pt x="67" y="187"/>
                  </a:lnTo>
                  <a:close/>
                  <a:moveTo>
                    <a:pt x="114" y="180"/>
                  </a:moveTo>
                  <a:lnTo>
                    <a:pt x="114" y="182"/>
                  </a:lnTo>
                  <a:lnTo>
                    <a:pt x="114" y="183"/>
                  </a:lnTo>
                  <a:lnTo>
                    <a:pt x="114" y="187"/>
                  </a:lnTo>
                  <a:lnTo>
                    <a:pt x="114" y="188"/>
                  </a:lnTo>
                  <a:lnTo>
                    <a:pt x="113" y="192"/>
                  </a:lnTo>
                  <a:lnTo>
                    <a:pt x="111" y="194"/>
                  </a:lnTo>
                  <a:lnTo>
                    <a:pt x="111" y="197"/>
                  </a:lnTo>
                  <a:lnTo>
                    <a:pt x="109" y="199"/>
                  </a:lnTo>
                  <a:lnTo>
                    <a:pt x="109" y="200"/>
                  </a:lnTo>
                  <a:lnTo>
                    <a:pt x="107" y="202"/>
                  </a:lnTo>
                  <a:lnTo>
                    <a:pt x="107" y="204"/>
                  </a:lnTo>
                  <a:lnTo>
                    <a:pt x="107" y="207"/>
                  </a:lnTo>
                  <a:lnTo>
                    <a:pt x="107" y="209"/>
                  </a:lnTo>
                  <a:lnTo>
                    <a:pt x="106" y="211"/>
                  </a:lnTo>
                  <a:lnTo>
                    <a:pt x="104" y="211"/>
                  </a:lnTo>
                  <a:lnTo>
                    <a:pt x="104" y="209"/>
                  </a:lnTo>
                  <a:lnTo>
                    <a:pt x="104" y="207"/>
                  </a:lnTo>
                  <a:lnTo>
                    <a:pt x="102" y="205"/>
                  </a:lnTo>
                  <a:lnTo>
                    <a:pt x="101" y="204"/>
                  </a:lnTo>
                  <a:lnTo>
                    <a:pt x="102" y="204"/>
                  </a:lnTo>
                  <a:lnTo>
                    <a:pt x="104" y="202"/>
                  </a:lnTo>
                  <a:lnTo>
                    <a:pt x="104" y="200"/>
                  </a:lnTo>
                  <a:lnTo>
                    <a:pt x="106" y="200"/>
                  </a:lnTo>
                  <a:lnTo>
                    <a:pt x="106" y="199"/>
                  </a:lnTo>
                  <a:lnTo>
                    <a:pt x="104" y="199"/>
                  </a:lnTo>
                  <a:lnTo>
                    <a:pt x="106" y="195"/>
                  </a:lnTo>
                  <a:lnTo>
                    <a:pt x="107" y="194"/>
                  </a:lnTo>
                  <a:lnTo>
                    <a:pt x="109" y="192"/>
                  </a:lnTo>
                  <a:lnTo>
                    <a:pt x="109" y="190"/>
                  </a:lnTo>
                  <a:lnTo>
                    <a:pt x="111" y="190"/>
                  </a:lnTo>
                  <a:lnTo>
                    <a:pt x="111" y="188"/>
                  </a:lnTo>
                  <a:lnTo>
                    <a:pt x="113" y="185"/>
                  </a:lnTo>
                  <a:lnTo>
                    <a:pt x="113" y="182"/>
                  </a:lnTo>
                  <a:lnTo>
                    <a:pt x="114" y="180"/>
                  </a:lnTo>
                  <a:close/>
                  <a:moveTo>
                    <a:pt x="167" y="187"/>
                  </a:moveTo>
                  <a:lnTo>
                    <a:pt x="169" y="188"/>
                  </a:lnTo>
                  <a:lnTo>
                    <a:pt x="172" y="188"/>
                  </a:lnTo>
                  <a:lnTo>
                    <a:pt x="174" y="188"/>
                  </a:lnTo>
                  <a:lnTo>
                    <a:pt x="175" y="188"/>
                  </a:lnTo>
                  <a:lnTo>
                    <a:pt x="177" y="190"/>
                  </a:lnTo>
                  <a:lnTo>
                    <a:pt x="179" y="192"/>
                  </a:lnTo>
                  <a:lnTo>
                    <a:pt x="179" y="194"/>
                  </a:lnTo>
                  <a:lnTo>
                    <a:pt x="177" y="194"/>
                  </a:lnTo>
                  <a:lnTo>
                    <a:pt x="175" y="194"/>
                  </a:lnTo>
                  <a:lnTo>
                    <a:pt x="174" y="194"/>
                  </a:lnTo>
                  <a:lnTo>
                    <a:pt x="172" y="194"/>
                  </a:lnTo>
                  <a:lnTo>
                    <a:pt x="170" y="194"/>
                  </a:lnTo>
                  <a:lnTo>
                    <a:pt x="169" y="195"/>
                  </a:lnTo>
                  <a:lnTo>
                    <a:pt x="167" y="197"/>
                  </a:lnTo>
                  <a:lnTo>
                    <a:pt x="167" y="199"/>
                  </a:lnTo>
                  <a:lnTo>
                    <a:pt x="165" y="199"/>
                  </a:lnTo>
                  <a:lnTo>
                    <a:pt x="164" y="199"/>
                  </a:lnTo>
                  <a:lnTo>
                    <a:pt x="162" y="199"/>
                  </a:lnTo>
                  <a:lnTo>
                    <a:pt x="164" y="197"/>
                  </a:lnTo>
                  <a:lnTo>
                    <a:pt x="162" y="197"/>
                  </a:lnTo>
                  <a:lnTo>
                    <a:pt x="164" y="195"/>
                  </a:lnTo>
                  <a:lnTo>
                    <a:pt x="162" y="194"/>
                  </a:lnTo>
                  <a:lnTo>
                    <a:pt x="164" y="194"/>
                  </a:lnTo>
                  <a:lnTo>
                    <a:pt x="164" y="192"/>
                  </a:lnTo>
                  <a:lnTo>
                    <a:pt x="165" y="194"/>
                  </a:lnTo>
                  <a:lnTo>
                    <a:pt x="169" y="192"/>
                  </a:lnTo>
                  <a:lnTo>
                    <a:pt x="169" y="194"/>
                  </a:lnTo>
                  <a:lnTo>
                    <a:pt x="169" y="192"/>
                  </a:lnTo>
                  <a:lnTo>
                    <a:pt x="170" y="192"/>
                  </a:lnTo>
                  <a:lnTo>
                    <a:pt x="169" y="192"/>
                  </a:lnTo>
                  <a:lnTo>
                    <a:pt x="167" y="190"/>
                  </a:lnTo>
                  <a:lnTo>
                    <a:pt x="169" y="190"/>
                  </a:lnTo>
                  <a:lnTo>
                    <a:pt x="169" y="188"/>
                  </a:lnTo>
                  <a:lnTo>
                    <a:pt x="165" y="188"/>
                  </a:lnTo>
                  <a:lnTo>
                    <a:pt x="167" y="187"/>
                  </a:lnTo>
                  <a:close/>
                  <a:moveTo>
                    <a:pt x="119" y="29"/>
                  </a:moveTo>
                  <a:lnTo>
                    <a:pt x="123" y="29"/>
                  </a:lnTo>
                  <a:lnTo>
                    <a:pt x="123" y="32"/>
                  </a:lnTo>
                  <a:lnTo>
                    <a:pt x="121" y="32"/>
                  </a:lnTo>
                  <a:lnTo>
                    <a:pt x="123" y="30"/>
                  </a:lnTo>
                  <a:lnTo>
                    <a:pt x="121" y="30"/>
                  </a:lnTo>
                  <a:lnTo>
                    <a:pt x="119" y="30"/>
                  </a:lnTo>
                  <a:lnTo>
                    <a:pt x="118" y="32"/>
                  </a:lnTo>
                  <a:lnTo>
                    <a:pt x="118" y="34"/>
                  </a:lnTo>
                  <a:lnTo>
                    <a:pt x="118" y="35"/>
                  </a:lnTo>
                  <a:lnTo>
                    <a:pt x="114" y="37"/>
                  </a:lnTo>
                  <a:lnTo>
                    <a:pt x="113" y="35"/>
                  </a:lnTo>
                  <a:lnTo>
                    <a:pt x="109" y="34"/>
                  </a:lnTo>
                  <a:lnTo>
                    <a:pt x="111" y="32"/>
                  </a:lnTo>
                  <a:lnTo>
                    <a:pt x="111" y="30"/>
                  </a:lnTo>
                  <a:lnTo>
                    <a:pt x="114" y="30"/>
                  </a:lnTo>
                  <a:lnTo>
                    <a:pt x="116" y="30"/>
                  </a:lnTo>
                  <a:lnTo>
                    <a:pt x="119" y="29"/>
                  </a:lnTo>
                  <a:close/>
                  <a:moveTo>
                    <a:pt x="101" y="126"/>
                  </a:moveTo>
                  <a:lnTo>
                    <a:pt x="102" y="127"/>
                  </a:lnTo>
                  <a:lnTo>
                    <a:pt x="101" y="127"/>
                  </a:lnTo>
                  <a:lnTo>
                    <a:pt x="101" y="129"/>
                  </a:lnTo>
                  <a:lnTo>
                    <a:pt x="102" y="131"/>
                  </a:lnTo>
                  <a:lnTo>
                    <a:pt x="104" y="131"/>
                  </a:lnTo>
                  <a:lnTo>
                    <a:pt x="104" y="129"/>
                  </a:lnTo>
                  <a:lnTo>
                    <a:pt x="102" y="127"/>
                  </a:lnTo>
                  <a:lnTo>
                    <a:pt x="104" y="129"/>
                  </a:lnTo>
                  <a:lnTo>
                    <a:pt x="104" y="131"/>
                  </a:lnTo>
                  <a:lnTo>
                    <a:pt x="102" y="134"/>
                  </a:lnTo>
                  <a:lnTo>
                    <a:pt x="102" y="136"/>
                  </a:lnTo>
                  <a:lnTo>
                    <a:pt x="101" y="139"/>
                  </a:lnTo>
                  <a:lnTo>
                    <a:pt x="99" y="137"/>
                  </a:lnTo>
                  <a:lnTo>
                    <a:pt x="97" y="136"/>
                  </a:lnTo>
                  <a:lnTo>
                    <a:pt x="97" y="134"/>
                  </a:lnTo>
                  <a:lnTo>
                    <a:pt x="97" y="132"/>
                  </a:lnTo>
                  <a:lnTo>
                    <a:pt x="99" y="131"/>
                  </a:lnTo>
                  <a:lnTo>
                    <a:pt x="101" y="129"/>
                  </a:lnTo>
                  <a:lnTo>
                    <a:pt x="99" y="127"/>
                  </a:lnTo>
                  <a:lnTo>
                    <a:pt x="97" y="127"/>
                  </a:lnTo>
                  <a:lnTo>
                    <a:pt x="97" y="124"/>
                  </a:lnTo>
                  <a:lnTo>
                    <a:pt x="99" y="122"/>
                  </a:lnTo>
                  <a:lnTo>
                    <a:pt x="99" y="126"/>
                  </a:lnTo>
                  <a:lnTo>
                    <a:pt x="101" y="126"/>
                  </a:lnTo>
                  <a:close/>
                  <a:moveTo>
                    <a:pt x="181" y="141"/>
                  </a:moveTo>
                  <a:lnTo>
                    <a:pt x="181" y="143"/>
                  </a:lnTo>
                  <a:lnTo>
                    <a:pt x="181" y="144"/>
                  </a:lnTo>
                  <a:lnTo>
                    <a:pt x="182" y="146"/>
                  </a:lnTo>
                  <a:lnTo>
                    <a:pt x="182" y="148"/>
                  </a:lnTo>
                  <a:lnTo>
                    <a:pt x="182" y="149"/>
                  </a:lnTo>
                  <a:lnTo>
                    <a:pt x="181" y="149"/>
                  </a:lnTo>
                  <a:lnTo>
                    <a:pt x="179" y="151"/>
                  </a:lnTo>
                  <a:lnTo>
                    <a:pt x="179" y="149"/>
                  </a:lnTo>
                  <a:lnTo>
                    <a:pt x="177" y="149"/>
                  </a:lnTo>
                  <a:lnTo>
                    <a:pt x="175" y="148"/>
                  </a:lnTo>
                  <a:lnTo>
                    <a:pt x="177" y="146"/>
                  </a:lnTo>
                  <a:lnTo>
                    <a:pt x="179" y="143"/>
                  </a:lnTo>
                  <a:lnTo>
                    <a:pt x="179" y="141"/>
                  </a:lnTo>
                  <a:lnTo>
                    <a:pt x="181" y="141"/>
                  </a:lnTo>
                  <a:close/>
                  <a:moveTo>
                    <a:pt x="85" y="194"/>
                  </a:moveTo>
                  <a:lnTo>
                    <a:pt x="87" y="197"/>
                  </a:lnTo>
                  <a:lnTo>
                    <a:pt x="89" y="197"/>
                  </a:lnTo>
                  <a:lnTo>
                    <a:pt x="90" y="199"/>
                  </a:lnTo>
                  <a:lnTo>
                    <a:pt x="92" y="200"/>
                  </a:lnTo>
                  <a:lnTo>
                    <a:pt x="92" y="199"/>
                  </a:lnTo>
                  <a:lnTo>
                    <a:pt x="94" y="199"/>
                  </a:lnTo>
                  <a:lnTo>
                    <a:pt x="92" y="199"/>
                  </a:lnTo>
                  <a:lnTo>
                    <a:pt x="94" y="202"/>
                  </a:lnTo>
                  <a:lnTo>
                    <a:pt x="96" y="200"/>
                  </a:lnTo>
                  <a:lnTo>
                    <a:pt x="96" y="202"/>
                  </a:lnTo>
                  <a:lnTo>
                    <a:pt x="96" y="200"/>
                  </a:lnTo>
                  <a:lnTo>
                    <a:pt x="96" y="199"/>
                  </a:lnTo>
                  <a:lnTo>
                    <a:pt x="96" y="200"/>
                  </a:lnTo>
                  <a:lnTo>
                    <a:pt x="97" y="202"/>
                  </a:lnTo>
                  <a:lnTo>
                    <a:pt x="99" y="202"/>
                  </a:lnTo>
                  <a:lnTo>
                    <a:pt x="97" y="202"/>
                  </a:lnTo>
                  <a:lnTo>
                    <a:pt x="99" y="202"/>
                  </a:lnTo>
                  <a:lnTo>
                    <a:pt x="97" y="204"/>
                  </a:lnTo>
                  <a:lnTo>
                    <a:pt x="96" y="204"/>
                  </a:lnTo>
                  <a:lnTo>
                    <a:pt x="94" y="205"/>
                  </a:lnTo>
                  <a:lnTo>
                    <a:pt x="90" y="202"/>
                  </a:lnTo>
                  <a:lnTo>
                    <a:pt x="89" y="200"/>
                  </a:lnTo>
                  <a:lnTo>
                    <a:pt x="87" y="197"/>
                  </a:lnTo>
                  <a:lnTo>
                    <a:pt x="85" y="194"/>
                  </a:lnTo>
                  <a:close/>
                  <a:moveTo>
                    <a:pt x="102" y="188"/>
                  </a:moveTo>
                  <a:lnTo>
                    <a:pt x="102" y="190"/>
                  </a:lnTo>
                  <a:lnTo>
                    <a:pt x="102" y="194"/>
                  </a:lnTo>
                  <a:lnTo>
                    <a:pt x="104" y="192"/>
                  </a:lnTo>
                  <a:lnTo>
                    <a:pt x="104" y="194"/>
                  </a:lnTo>
                  <a:lnTo>
                    <a:pt x="102" y="194"/>
                  </a:lnTo>
                  <a:lnTo>
                    <a:pt x="102" y="195"/>
                  </a:lnTo>
                  <a:lnTo>
                    <a:pt x="101" y="195"/>
                  </a:lnTo>
                  <a:lnTo>
                    <a:pt x="99" y="195"/>
                  </a:lnTo>
                  <a:lnTo>
                    <a:pt x="97" y="194"/>
                  </a:lnTo>
                  <a:lnTo>
                    <a:pt x="97" y="192"/>
                  </a:lnTo>
                  <a:lnTo>
                    <a:pt x="99" y="190"/>
                  </a:lnTo>
                  <a:lnTo>
                    <a:pt x="102" y="188"/>
                  </a:lnTo>
                  <a:close/>
                  <a:moveTo>
                    <a:pt x="12" y="158"/>
                  </a:moveTo>
                  <a:lnTo>
                    <a:pt x="14" y="161"/>
                  </a:lnTo>
                  <a:lnTo>
                    <a:pt x="16" y="161"/>
                  </a:lnTo>
                  <a:lnTo>
                    <a:pt x="16" y="163"/>
                  </a:lnTo>
                  <a:lnTo>
                    <a:pt x="16" y="165"/>
                  </a:lnTo>
                  <a:lnTo>
                    <a:pt x="16" y="166"/>
                  </a:lnTo>
                  <a:lnTo>
                    <a:pt x="16" y="168"/>
                  </a:lnTo>
                  <a:lnTo>
                    <a:pt x="14" y="166"/>
                  </a:lnTo>
                  <a:lnTo>
                    <a:pt x="12" y="163"/>
                  </a:lnTo>
                  <a:lnTo>
                    <a:pt x="11" y="160"/>
                  </a:lnTo>
                  <a:lnTo>
                    <a:pt x="12" y="158"/>
                  </a:lnTo>
                  <a:lnTo>
                    <a:pt x="11" y="160"/>
                  </a:lnTo>
                  <a:lnTo>
                    <a:pt x="12" y="158"/>
                  </a:lnTo>
                  <a:close/>
                  <a:moveTo>
                    <a:pt x="39" y="63"/>
                  </a:moveTo>
                  <a:lnTo>
                    <a:pt x="41" y="63"/>
                  </a:lnTo>
                  <a:lnTo>
                    <a:pt x="41" y="64"/>
                  </a:lnTo>
                  <a:lnTo>
                    <a:pt x="39" y="64"/>
                  </a:lnTo>
                  <a:lnTo>
                    <a:pt x="39" y="66"/>
                  </a:lnTo>
                  <a:lnTo>
                    <a:pt x="38" y="64"/>
                  </a:lnTo>
                  <a:lnTo>
                    <a:pt x="36" y="64"/>
                  </a:lnTo>
                  <a:lnTo>
                    <a:pt x="36" y="63"/>
                  </a:lnTo>
                  <a:lnTo>
                    <a:pt x="39" y="63"/>
                  </a:lnTo>
                  <a:close/>
                  <a:moveTo>
                    <a:pt x="140" y="69"/>
                  </a:moveTo>
                  <a:lnTo>
                    <a:pt x="138" y="71"/>
                  </a:lnTo>
                  <a:lnTo>
                    <a:pt x="138" y="73"/>
                  </a:lnTo>
                  <a:lnTo>
                    <a:pt x="136" y="73"/>
                  </a:lnTo>
                  <a:lnTo>
                    <a:pt x="135" y="71"/>
                  </a:lnTo>
                  <a:lnTo>
                    <a:pt x="136" y="71"/>
                  </a:lnTo>
                  <a:lnTo>
                    <a:pt x="140" y="69"/>
                  </a:lnTo>
                  <a:close/>
                  <a:moveTo>
                    <a:pt x="133" y="194"/>
                  </a:moveTo>
                  <a:lnTo>
                    <a:pt x="135" y="194"/>
                  </a:lnTo>
                  <a:lnTo>
                    <a:pt x="136" y="195"/>
                  </a:lnTo>
                  <a:lnTo>
                    <a:pt x="135" y="195"/>
                  </a:lnTo>
                  <a:lnTo>
                    <a:pt x="133" y="197"/>
                  </a:lnTo>
                  <a:lnTo>
                    <a:pt x="131" y="195"/>
                  </a:lnTo>
                  <a:lnTo>
                    <a:pt x="131" y="194"/>
                  </a:lnTo>
                  <a:lnTo>
                    <a:pt x="131" y="195"/>
                  </a:lnTo>
                  <a:lnTo>
                    <a:pt x="133" y="195"/>
                  </a:lnTo>
                  <a:lnTo>
                    <a:pt x="133" y="194"/>
                  </a:lnTo>
                  <a:close/>
                  <a:moveTo>
                    <a:pt x="186" y="143"/>
                  </a:moveTo>
                  <a:lnTo>
                    <a:pt x="186" y="146"/>
                  </a:lnTo>
                  <a:lnTo>
                    <a:pt x="187" y="148"/>
                  </a:lnTo>
                  <a:lnTo>
                    <a:pt x="186" y="148"/>
                  </a:lnTo>
                  <a:lnTo>
                    <a:pt x="186" y="146"/>
                  </a:lnTo>
                  <a:lnTo>
                    <a:pt x="186" y="148"/>
                  </a:lnTo>
                  <a:lnTo>
                    <a:pt x="186" y="146"/>
                  </a:lnTo>
                  <a:lnTo>
                    <a:pt x="184" y="146"/>
                  </a:lnTo>
                  <a:lnTo>
                    <a:pt x="186" y="144"/>
                  </a:lnTo>
                  <a:lnTo>
                    <a:pt x="184" y="144"/>
                  </a:lnTo>
                  <a:lnTo>
                    <a:pt x="186" y="144"/>
                  </a:lnTo>
                  <a:lnTo>
                    <a:pt x="184" y="143"/>
                  </a:lnTo>
                  <a:lnTo>
                    <a:pt x="186" y="144"/>
                  </a:lnTo>
                  <a:lnTo>
                    <a:pt x="186" y="143"/>
                  </a:lnTo>
                  <a:close/>
                  <a:moveTo>
                    <a:pt x="148" y="134"/>
                  </a:moveTo>
                  <a:lnTo>
                    <a:pt x="150" y="136"/>
                  </a:lnTo>
                  <a:lnTo>
                    <a:pt x="148" y="139"/>
                  </a:lnTo>
                  <a:lnTo>
                    <a:pt x="147" y="136"/>
                  </a:lnTo>
                  <a:lnTo>
                    <a:pt x="148" y="136"/>
                  </a:lnTo>
                  <a:lnTo>
                    <a:pt x="148" y="134"/>
                  </a:lnTo>
                  <a:close/>
                  <a:moveTo>
                    <a:pt x="157" y="194"/>
                  </a:moveTo>
                  <a:lnTo>
                    <a:pt x="157" y="195"/>
                  </a:lnTo>
                  <a:lnTo>
                    <a:pt x="160" y="195"/>
                  </a:lnTo>
                  <a:lnTo>
                    <a:pt x="160" y="197"/>
                  </a:lnTo>
                  <a:lnTo>
                    <a:pt x="162" y="197"/>
                  </a:lnTo>
                  <a:lnTo>
                    <a:pt x="160" y="197"/>
                  </a:lnTo>
                  <a:lnTo>
                    <a:pt x="157" y="197"/>
                  </a:lnTo>
                  <a:lnTo>
                    <a:pt x="157" y="194"/>
                  </a:lnTo>
                  <a:close/>
                  <a:moveTo>
                    <a:pt x="89" y="137"/>
                  </a:moveTo>
                  <a:lnTo>
                    <a:pt x="89" y="141"/>
                  </a:lnTo>
                  <a:lnTo>
                    <a:pt x="85" y="139"/>
                  </a:lnTo>
                  <a:lnTo>
                    <a:pt x="89" y="139"/>
                  </a:lnTo>
                  <a:lnTo>
                    <a:pt x="89" y="136"/>
                  </a:lnTo>
                  <a:lnTo>
                    <a:pt x="89" y="137"/>
                  </a:lnTo>
                  <a:close/>
                  <a:moveTo>
                    <a:pt x="119" y="127"/>
                  </a:moveTo>
                  <a:lnTo>
                    <a:pt x="121" y="127"/>
                  </a:lnTo>
                  <a:lnTo>
                    <a:pt x="121" y="129"/>
                  </a:lnTo>
                  <a:lnTo>
                    <a:pt x="123" y="131"/>
                  </a:lnTo>
                  <a:lnTo>
                    <a:pt x="124" y="131"/>
                  </a:lnTo>
                  <a:lnTo>
                    <a:pt x="124" y="132"/>
                  </a:lnTo>
                  <a:lnTo>
                    <a:pt x="124" y="131"/>
                  </a:lnTo>
                  <a:lnTo>
                    <a:pt x="121" y="131"/>
                  </a:lnTo>
                  <a:lnTo>
                    <a:pt x="119" y="129"/>
                  </a:lnTo>
                  <a:lnTo>
                    <a:pt x="119" y="127"/>
                  </a:lnTo>
                  <a:close/>
                  <a:moveTo>
                    <a:pt x="138" y="192"/>
                  </a:moveTo>
                  <a:lnTo>
                    <a:pt x="140" y="194"/>
                  </a:lnTo>
                  <a:lnTo>
                    <a:pt x="138" y="195"/>
                  </a:lnTo>
                  <a:lnTo>
                    <a:pt x="136" y="194"/>
                  </a:lnTo>
                  <a:lnTo>
                    <a:pt x="138" y="192"/>
                  </a:lnTo>
                  <a:close/>
                  <a:moveTo>
                    <a:pt x="123" y="175"/>
                  </a:moveTo>
                  <a:lnTo>
                    <a:pt x="124" y="175"/>
                  </a:lnTo>
                  <a:lnTo>
                    <a:pt x="123" y="175"/>
                  </a:lnTo>
                  <a:lnTo>
                    <a:pt x="124" y="178"/>
                  </a:lnTo>
                  <a:lnTo>
                    <a:pt x="126" y="178"/>
                  </a:lnTo>
                  <a:lnTo>
                    <a:pt x="124" y="178"/>
                  </a:lnTo>
                  <a:lnTo>
                    <a:pt x="123" y="178"/>
                  </a:lnTo>
                  <a:lnTo>
                    <a:pt x="123" y="175"/>
                  </a:lnTo>
                  <a:close/>
                  <a:moveTo>
                    <a:pt x="22" y="74"/>
                  </a:moveTo>
                  <a:lnTo>
                    <a:pt x="24" y="74"/>
                  </a:lnTo>
                  <a:lnTo>
                    <a:pt x="24" y="78"/>
                  </a:lnTo>
                  <a:lnTo>
                    <a:pt x="22" y="76"/>
                  </a:lnTo>
                  <a:lnTo>
                    <a:pt x="22" y="74"/>
                  </a:lnTo>
                  <a:close/>
                  <a:moveTo>
                    <a:pt x="104" y="188"/>
                  </a:moveTo>
                  <a:lnTo>
                    <a:pt x="106" y="190"/>
                  </a:lnTo>
                  <a:lnTo>
                    <a:pt x="104" y="190"/>
                  </a:lnTo>
                  <a:lnTo>
                    <a:pt x="104" y="188"/>
                  </a:lnTo>
                  <a:lnTo>
                    <a:pt x="102" y="188"/>
                  </a:lnTo>
                  <a:lnTo>
                    <a:pt x="104" y="188"/>
                  </a:lnTo>
                  <a:close/>
                  <a:moveTo>
                    <a:pt x="26" y="81"/>
                  </a:moveTo>
                  <a:lnTo>
                    <a:pt x="24" y="81"/>
                  </a:lnTo>
                  <a:lnTo>
                    <a:pt x="26" y="81"/>
                  </a:lnTo>
                  <a:lnTo>
                    <a:pt x="24" y="83"/>
                  </a:lnTo>
                  <a:lnTo>
                    <a:pt x="24" y="86"/>
                  </a:lnTo>
                  <a:lnTo>
                    <a:pt x="22" y="83"/>
                  </a:lnTo>
                  <a:lnTo>
                    <a:pt x="24" y="81"/>
                  </a:lnTo>
                  <a:lnTo>
                    <a:pt x="26" y="81"/>
                  </a:lnTo>
                  <a:close/>
                  <a:moveTo>
                    <a:pt x="70" y="47"/>
                  </a:moveTo>
                  <a:lnTo>
                    <a:pt x="72" y="47"/>
                  </a:lnTo>
                  <a:lnTo>
                    <a:pt x="70" y="47"/>
                  </a:lnTo>
                  <a:close/>
                  <a:moveTo>
                    <a:pt x="82" y="188"/>
                  </a:moveTo>
                  <a:lnTo>
                    <a:pt x="84" y="188"/>
                  </a:lnTo>
                  <a:lnTo>
                    <a:pt x="82" y="190"/>
                  </a:lnTo>
                  <a:lnTo>
                    <a:pt x="82" y="188"/>
                  </a:lnTo>
                  <a:close/>
                  <a:moveTo>
                    <a:pt x="68" y="170"/>
                  </a:moveTo>
                  <a:lnTo>
                    <a:pt x="70" y="170"/>
                  </a:lnTo>
                  <a:lnTo>
                    <a:pt x="70" y="171"/>
                  </a:lnTo>
                  <a:lnTo>
                    <a:pt x="68" y="171"/>
                  </a:lnTo>
                  <a:lnTo>
                    <a:pt x="68" y="170"/>
                  </a:lnTo>
                  <a:close/>
                  <a:moveTo>
                    <a:pt x="68" y="173"/>
                  </a:moveTo>
                  <a:lnTo>
                    <a:pt x="67" y="175"/>
                  </a:lnTo>
                  <a:lnTo>
                    <a:pt x="67" y="173"/>
                  </a:lnTo>
                  <a:lnTo>
                    <a:pt x="67" y="175"/>
                  </a:lnTo>
                  <a:lnTo>
                    <a:pt x="68" y="173"/>
                  </a:lnTo>
                  <a:lnTo>
                    <a:pt x="67" y="173"/>
                  </a:lnTo>
                  <a:lnTo>
                    <a:pt x="68" y="173"/>
                  </a:lnTo>
                  <a:close/>
                  <a:moveTo>
                    <a:pt x="17" y="166"/>
                  </a:moveTo>
                  <a:lnTo>
                    <a:pt x="19" y="168"/>
                  </a:lnTo>
                  <a:lnTo>
                    <a:pt x="16" y="168"/>
                  </a:lnTo>
                  <a:lnTo>
                    <a:pt x="17" y="166"/>
                  </a:lnTo>
                  <a:close/>
                  <a:moveTo>
                    <a:pt x="87" y="188"/>
                  </a:moveTo>
                  <a:lnTo>
                    <a:pt x="89" y="190"/>
                  </a:lnTo>
                  <a:lnTo>
                    <a:pt x="90" y="190"/>
                  </a:lnTo>
                  <a:lnTo>
                    <a:pt x="90" y="192"/>
                  </a:lnTo>
                  <a:lnTo>
                    <a:pt x="89" y="190"/>
                  </a:lnTo>
                  <a:lnTo>
                    <a:pt x="87" y="190"/>
                  </a:lnTo>
                  <a:lnTo>
                    <a:pt x="85" y="190"/>
                  </a:lnTo>
                  <a:lnTo>
                    <a:pt x="87" y="188"/>
                  </a:lnTo>
                  <a:close/>
                  <a:moveTo>
                    <a:pt x="145" y="177"/>
                  </a:moveTo>
                  <a:lnTo>
                    <a:pt x="147" y="177"/>
                  </a:lnTo>
                  <a:lnTo>
                    <a:pt x="147" y="180"/>
                  </a:lnTo>
                  <a:lnTo>
                    <a:pt x="145" y="180"/>
                  </a:lnTo>
                  <a:lnTo>
                    <a:pt x="145" y="177"/>
                  </a:lnTo>
                  <a:close/>
                  <a:moveTo>
                    <a:pt x="164" y="187"/>
                  </a:moveTo>
                  <a:lnTo>
                    <a:pt x="165" y="187"/>
                  </a:lnTo>
                  <a:lnTo>
                    <a:pt x="165" y="188"/>
                  </a:lnTo>
                  <a:lnTo>
                    <a:pt x="164" y="188"/>
                  </a:lnTo>
                  <a:lnTo>
                    <a:pt x="164" y="187"/>
                  </a:lnTo>
                  <a:close/>
                  <a:moveTo>
                    <a:pt x="101" y="197"/>
                  </a:moveTo>
                  <a:lnTo>
                    <a:pt x="102" y="197"/>
                  </a:lnTo>
                  <a:lnTo>
                    <a:pt x="102" y="200"/>
                  </a:lnTo>
                  <a:lnTo>
                    <a:pt x="101" y="200"/>
                  </a:lnTo>
                  <a:lnTo>
                    <a:pt x="101" y="197"/>
                  </a:lnTo>
                  <a:close/>
                  <a:moveTo>
                    <a:pt x="123" y="180"/>
                  </a:moveTo>
                  <a:lnTo>
                    <a:pt x="124" y="180"/>
                  </a:lnTo>
                  <a:lnTo>
                    <a:pt x="124" y="182"/>
                  </a:lnTo>
                  <a:lnTo>
                    <a:pt x="123" y="182"/>
                  </a:lnTo>
                  <a:lnTo>
                    <a:pt x="123" y="180"/>
                  </a:lnTo>
                  <a:close/>
                  <a:moveTo>
                    <a:pt x="94" y="194"/>
                  </a:moveTo>
                  <a:lnTo>
                    <a:pt x="94" y="195"/>
                  </a:lnTo>
                  <a:lnTo>
                    <a:pt x="90" y="194"/>
                  </a:lnTo>
                  <a:lnTo>
                    <a:pt x="94" y="194"/>
                  </a:lnTo>
                  <a:close/>
                  <a:moveTo>
                    <a:pt x="63" y="158"/>
                  </a:moveTo>
                  <a:lnTo>
                    <a:pt x="65" y="158"/>
                  </a:lnTo>
                  <a:lnTo>
                    <a:pt x="65" y="160"/>
                  </a:lnTo>
                  <a:lnTo>
                    <a:pt x="63" y="160"/>
                  </a:lnTo>
                  <a:lnTo>
                    <a:pt x="63" y="158"/>
                  </a:lnTo>
                  <a:close/>
                  <a:moveTo>
                    <a:pt x="92" y="126"/>
                  </a:moveTo>
                  <a:lnTo>
                    <a:pt x="96" y="126"/>
                  </a:lnTo>
                  <a:lnTo>
                    <a:pt x="92" y="126"/>
                  </a:lnTo>
                  <a:close/>
                  <a:moveTo>
                    <a:pt x="136" y="197"/>
                  </a:moveTo>
                  <a:lnTo>
                    <a:pt x="138" y="197"/>
                  </a:lnTo>
                  <a:lnTo>
                    <a:pt x="138" y="200"/>
                  </a:lnTo>
                  <a:lnTo>
                    <a:pt x="136" y="200"/>
                  </a:lnTo>
                  <a:lnTo>
                    <a:pt x="136" y="197"/>
                  </a:lnTo>
                  <a:close/>
                  <a:moveTo>
                    <a:pt x="143" y="178"/>
                  </a:moveTo>
                  <a:lnTo>
                    <a:pt x="143" y="180"/>
                  </a:lnTo>
                  <a:lnTo>
                    <a:pt x="145" y="182"/>
                  </a:lnTo>
                  <a:lnTo>
                    <a:pt x="143" y="180"/>
                  </a:lnTo>
                  <a:lnTo>
                    <a:pt x="143" y="178"/>
                  </a:lnTo>
                  <a:lnTo>
                    <a:pt x="141" y="180"/>
                  </a:lnTo>
                  <a:lnTo>
                    <a:pt x="143" y="178"/>
                  </a:lnTo>
                  <a:lnTo>
                    <a:pt x="143" y="180"/>
                  </a:lnTo>
                  <a:lnTo>
                    <a:pt x="143" y="178"/>
                  </a:lnTo>
                  <a:close/>
                  <a:moveTo>
                    <a:pt x="79" y="134"/>
                  </a:moveTo>
                  <a:lnTo>
                    <a:pt x="80" y="134"/>
                  </a:lnTo>
                  <a:lnTo>
                    <a:pt x="79" y="134"/>
                  </a:lnTo>
                  <a:close/>
                  <a:moveTo>
                    <a:pt x="41" y="59"/>
                  </a:moveTo>
                  <a:lnTo>
                    <a:pt x="43" y="61"/>
                  </a:lnTo>
                  <a:lnTo>
                    <a:pt x="41" y="61"/>
                  </a:lnTo>
                  <a:lnTo>
                    <a:pt x="41" y="59"/>
                  </a:lnTo>
                  <a:close/>
                  <a:moveTo>
                    <a:pt x="114" y="37"/>
                  </a:moveTo>
                  <a:lnTo>
                    <a:pt x="116" y="37"/>
                  </a:lnTo>
                  <a:lnTo>
                    <a:pt x="114" y="37"/>
                  </a:lnTo>
                  <a:close/>
                  <a:moveTo>
                    <a:pt x="58" y="183"/>
                  </a:moveTo>
                  <a:lnTo>
                    <a:pt x="60" y="183"/>
                  </a:lnTo>
                  <a:lnTo>
                    <a:pt x="60" y="185"/>
                  </a:lnTo>
                  <a:lnTo>
                    <a:pt x="58" y="185"/>
                  </a:lnTo>
                  <a:lnTo>
                    <a:pt x="58" y="183"/>
                  </a:lnTo>
                  <a:close/>
                  <a:moveTo>
                    <a:pt x="84" y="148"/>
                  </a:moveTo>
                  <a:lnTo>
                    <a:pt x="84" y="149"/>
                  </a:lnTo>
                  <a:lnTo>
                    <a:pt x="84" y="148"/>
                  </a:lnTo>
                  <a:close/>
                  <a:moveTo>
                    <a:pt x="128" y="136"/>
                  </a:moveTo>
                  <a:lnTo>
                    <a:pt x="128" y="137"/>
                  </a:lnTo>
                  <a:lnTo>
                    <a:pt x="128" y="136"/>
                  </a:lnTo>
                  <a:close/>
                  <a:moveTo>
                    <a:pt x="152" y="192"/>
                  </a:moveTo>
                  <a:lnTo>
                    <a:pt x="153" y="192"/>
                  </a:lnTo>
                  <a:lnTo>
                    <a:pt x="153" y="194"/>
                  </a:lnTo>
                  <a:lnTo>
                    <a:pt x="152" y="194"/>
                  </a:lnTo>
                  <a:lnTo>
                    <a:pt x="152" y="192"/>
                  </a:lnTo>
                  <a:close/>
                  <a:moveTo>
                    <a:pt x="160" y="194"/>
                  </a:moveTo>
                  <a:lnTo>
                    <a:pt x="162" y="194"/>
                  </a:lnTo>
                  <a:lnTo>
                    <a:pt x="162" y="195"/>
                  </a:lnTo>
                  <a:lnTo>
                    <a:pt x="160" y="195"/>
                  </a:lnTo>
                  <a:lnTo>
                    <a:pt x="160" y="194"/>
                  </a:lnTo>
                  <a:close/>
                  <a:moveTo>
                    <a:pt x="158" y="139"/>
                  </a:moveTo>
                  <a:lnTo>
                    <a:pt x="160" y="141"/>
                  </a:lnTo>
                  <a:lnTo>
                    <a:pt x="158" y="141"/>
                  </a:lnTo>
                  <a:lnTo>
                    <a:pt x="158" y="139"/>
                  </a:lnTo>
                  <a:close/>
                  <a:moveTo>
                    <a:pt x="131" y="188"/>
                  </a:moveTo>
                  <a:lnTo>
                    <a:pt x="131" y="190"/>
                  </a:lnTo>
                  <a:lnTo>
                    <a:pt x="131" y="188"/>
                  </a:lnTo>
                  <a:close/>
                  <a:moveTo>
                    <a:pt x="85" y="187"/>
                  </a:moveTo>
                  <a:lnTo>
                    <a:pt x="87" y="187"/>
                  </a:lnTo>
                  <a:lnTo>
                    <a:pt x="87" y="188"/>
                  </a:lnTo>
                  <a:lnTo>
                    <a:pt x="85" y="188"/>
                  </a:lnTo>
                  <a:lnTo>
                    <a:pt x="85" y="187"/>
                  </a:lnTo>
                  <a:close/>
                  <a:moveTo>
                    <a:pt x="114" y="168"/>
                  </a:moveTo>
                  <a:lnTo>
                    <a:pt x="116" y="168"/>
                  </a:lnTo>
                  <a:lnTo>
                    <a:pt x="116" y="170"/>
                  </a:lnTo>
                  <a:lnTo>
                    <a:pt x="114" y="170"/>
                  </a:lnTo>
                  <a:lnTo>
                    <a:pt x="114" y="168"/>
                  </a:lnTo>
                  <a:close/>
                  <a:moveTo>
                    <a:pt x="96" y="158"/>
                  </a:moveTo>
                  <a:lnTo>
                    <a:pt x="96" y="160"/>
                  </a:lnTo>
                  <a:lnTo>
                    <a:pt x="96" y="158"/>
                  </a:lnTo>
                  <a:close/>
                  <a:moveTo>
                    <a:pt x="145" y="182"/>
                  </a:moveTo>
                  <a:lnTo>
                    <a:pt x="145" y="183"/>
                  </a:lnTo>
                  <a:lnTo>
                    <a:pt x="145" y="182"/>
                  </a:lnTo>
                  <a:close/>
                  <a:moveTo>
                    <a:pt x="162" y="192"/>
                  </a:moveTo>
                  <a:lnTo>
                    <a:pt x="162" y="194"/>
                  </a:lnTo>
                  <a:lnTo>
                    <a:pt x="162" y="192"/>
                  </a:lnTo>
                  <a:close/>
                  <a:moveTo>
                    <a:pt x="184" y="148"/>
                  </a:moveTo>
                  <a:lnTo>
                    <a:pt x="186" y="149"/>
                  </a:lnTo>
                  <a:lnTo>
                    <a:pt x="184" y="148"/>
                  </a:lnTo>
                  <a:close/>
                  <a:moveTo>
                    <a:pt x="118" y="202"/>
                  </a:moveTo>
                  <a:lnTo>
                    <a:pt x="118" y="204"/>
                  </a:lnTo>
                  <a:lnTo>
                    <a:pt x="118" y="202"/>
                  </a:lnTo>
                  <a:close/>
                  <a:moveTo>
                    <a:pt x="167" y="185"/>
                  </a:moveTo>
                  <a:lnTo>
                    <a:pt x="167" y="187"/>
                  </a:lnTo>
                  <a:lnTo>
                    <a:pt x="167" y="185"/>
                  </a:lnTo>
                  <a:close/>
                  <a:moveTo>
                    <a:pt x="80" y="183"/>
                  </a:moveTo>
                  <a:lnTo>
                    <a:pt x="79" y="183"/>
                  </a:lnTo>
                  <a:lnTo>
                    <a:pt x="80" y="183"/>
                  </a:lnTo>
                  <a:close/>
                  <a:moveTo>
                    <a:pt x="109" y="34"/>
                  </a:moveTo>
                  <a:lnTo>
                    <a:pt x="111" y="34"/>
                  </a:lnTo>
                  <a:lnTo>
                    <a:pt x="111" y="35"/>
                  </a:lnTo>
                  <a:lnTo>
                    <a:pt x="109" y="35"/>
                  </a:lnTo>
                  <a:lnTo>
                    <a:pt x="109" y="34"/>
                  </a:lnTo>
                  <a:close/>
                  <a:moveTo>
                    <a:pt x="9" y="120"/>
                  </a:moveTo>
                  <a:lnTo>
                    <a:pt x="11" y="120"/>
                  </a:lnTo>
                  <a:lnTo>
                    <a:pt x="11" y="122"/>
                  </a:lnTo>
                  <a:lnTo>
                    <a:pt x="9" y="122"/>
                  </a:lnTo>
                  <a:lnTo>
                    <a:pt x="9" y="120"/>
                  </a:lnTo>
                  <a:close/>
                  <a:moveTo>
                    <a:pt x="152" y="221"/>
                  </a:moveTo>
                  <a:lnTo>
                    <a:pt x="153" y="221"/>
                  </a:lnTo>
                  <a:lnTo>
                    <a:pt x="152" y="221"/>
                  </a:lnTo>
                  <a:close/>
                  <a:moveTo>
                    <a:pt x="99" y="202"/>
                  </a:moveTo>
                  <a:lnTo>
                    <a:pt x="101" y="202"/>
                  </a:lnTo>
                  <a:lnTo>
                    <a:pt x="101" y="204"/>
                  </a:lnTo>
                  <a:lnTo>
                    <a:pt x="99" y="204"/>
                  </a:lnTo>
                  <a:lnTo>
                    <a:pt x="99" y="202"/>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04" name="Freeform 34">
              <a:extLst>
                <a:ext uri="{FF2B5EF4-FFF2-40B4-BE49-F238E27FC236}">
                  <a16:creationId xmlns:a16="http://schemas.microsoft.com/office/drawing/2014/main" id="{4E02FA6B-2685-4510-95DB-523A58EF7C28}"/>
                </a:ext>
              </a:extLst>
            </p:cNvPr>
            <p:cNvSpPr>
              <a:spLocks noEditPoints="1"/>
            </p:cNvSpPr>
            <p:nvPr/>
          </p:nvSpPr>
          <p:spPr bwMode="gray">
            <a:xfrm>
              <a:off x="8884951" y="3234588"/>
              <a:ext cx="1333234" cy="1134730"/>
            </a:xfrm>
            <a:custGeom>
              <a:avLst/>
              <a:gdLst>
                <a:gd name="T0" fmla="*/ 210 w 450"/>
                <a:gd name="T1" fmla="*/ 34 h 383"/>
                <a:gd name="T2" fmla="*/ 232 w 450"/>
                <a:gd name="T3" fmla="*/ 19 h 383"/>
                <a:gd name="T4" fmla="*/ 272 w 450"/>
                <a:gd name="T5" fmla="*/ 19 h 383"/>
                <a:gd name="T6" fmla="*/ 311 w 450"/>
                <a:gd name="T7" fmla="*/ 14 h 383"/>
                <a:gd name="T8" fmla="*/ 346 w 450"/>
                <a:gd name="T9" fmla="*/ 5 h 383"/>
                <a:gd name="T10" fmla="*/ 374 w 450"/>
                <a:gd name="T11" fmla="*/ 12 h 383"/>
                <a:gd name="T12" fmla="*/ 384 w 450"/>
                <a:gd name="T13" fmla="*/ 39 h 383"/>
                <a:gd name="T14" fmla="*/ 401 w 450"/>
                <a:gd name="T15" fmla="*/ 71 h 383"/>
                <a:gd name="T16" fmla="*/ 411 w 450"/>
                <a:gd name="T17" fmla="*/ 100 h 383"/>
                <a:gd name="T18" fmla="*/ 397 w 450"/>
                <a:gd name="T19" fmla="*/ 124 h 383"/>
                <a:gd name="T20" fmla="*/ 392 w 450"/>
                <a:gd name="T21" fmla="*/ 150 h 383"/>
                <a:gd name="T22" fmla="*/ 413 w 450"/>
                <a:gd name="T23" fmla="*/ 163 h 383"/>
                <a:gd name="T24" fmla="*/ 413 w 450"/>
                <a:gd name="T25" fmla="*/ 191 h 383"/>
                <a:gd name="T26" fmla="*/ 425 w 450"/>
                <a:gd name="T27" fmla="*/ 211 h 383"/>
                <a:gd name="T28" fmla="*/ 443 w 450"/>
                <a:gd name="T29" fmla="*/ 233 h 383"/>
                <a:gd name="T30" fmla="*/ 450 w 450"/>
                <a:gd name="T31" fmla="*/ 253 h 383"/>
                <a:gd name="T32" fmla="*/ 435 w 450"/>
                <a:gd name="T33" fmla="*/ 276 h 383"/>
                <a:gd name="T34" fmla="*/ 416 w 450"/>
                <a:gd name="T35" fmla="*/ 305 h 383"/>
                <a:gd name="T36" fmla="*/ 399 w 450"/>
                <a:gd name="T37" fmla="*/ 339 h 383"/>
                <a:gd name="T38" fmla="*/ 414 w 450"/>
                <a:gd name="T39" fmla="*/ 369 h 383"/>
                <a:gd name="T40" fmla="*/ 391 w 450"/>
                <a:gd name="T41" fmla="*/ 367 h 383"/>
                <a:gd name="T42" fmla="*/ 365 w 450"/>
                <a:gd name="T43" fmla="*/ 357 h 383"/>
                <a:gd name="T44" fmla="*/ 336 w 450"/>
                <a:gd name="T45" fmla="*/ 356 h 383"/>
                <a:gd name="T46" fmla="*/ 319 w 450"/>
                <a:gd name="T47" fmla="*/ 364 h 383"/>
                <a:gd name="T48" fmla="*/ 297 w 450"/>
                <a:gd name="T49" fmla="*/ 369 h 383"/>
                <a:gd name="T50" fmla="*/ 277 w 450"/>
                <a:gd name="T51" fmla="*/ 383 h 383"/>
                <a:gd name="T52" fmla="*/ 263 w 450"/>
                <a:gd name="T53" fmla="*/ 366 h 383"/>
                <a:gd name="T54" fmla="*/ 244 w 450"/>
                <a:gd name="T55" fmla="*/ 369 h 383"/>
                <a:gd name="T56" fmla="*/ 227 w 450"/>
                <a:gd name="T57" fmla="*/ 362 h 383"/>
                <a:gd name="T58" fmla="*/ 212 w 450"/>
                <a:gd name="T59" fmla="*/ 339 h 383"/>
                <a:gd name="T60" fmla="*/ 188 w 450"/>
                <a:gd name="T61" fmla="*/ 332 h 383"/>
                <a:gd name="T62" fmla="*/ 168 w 450"/>
                <a:gd name="T63" fmla="*/ 327 h 383"/>
                <a:gd name="T64" fmla="*/ 159 w 450"/>
                <a:gd name="T65" fmla="*/ 320 h 383"/>
                <a:gd name="T66" fmla="*/ 136 w 450"/>
                <a:gd name="T67" fmla="*/ 311 h 383"/>
                <a:gd name="T68" fmla="*/ 132 w 450"/>
                <a:gd name="T69" fmla="*/ 330 h 383"/>
                <a:gd name="T70" fmla="*/ 107 w 450"/>
                <a:gd name="T71" fmla="*/ 318 h 383"/>
                <a:gd name="T72" fmla="*/ 108 w 450"/>
                <a:gd name="T73" fmla="*/ 298 h 383"/>
                <a:gd name="T74" fmla="*/ 88 w 450"/>
                <a:gd name="T75" fmla="*/ 299 h 383"/>
                <a:gd name="T76" fmla="*/ 64 w 450"/>
                <a:gd name="T77" fmla="*/ 291 h 383"/>
                <a:gd name="T78" fmla="*/ 47 w 450"/>
                <a:gd name="T79" fmla="*/ 281 h 383"/>
                <a:gd name="T80" fmla="*/ 45 w 450"/>
                <a:gd name="T81" fmla="*/ 277 h 383"/>
                <a:gd name="T82" fmla="*/ 42 w 450"/>
                <a:gd name="T83" fmla="*/ 245 h 383"/>
                <a:gd name="T84" fmla="*/ 30 w 450"/>
                <a:gd name="T85" fmla="*/ 218 h 383"/>
                <a:gd name="T86" fmla="*/ 23 w 450"/>
                <a:gd name="T87" fmla="*/ 192 h 383"/>
                <a:gd name="T88" fmla="*/ 17 w 450"/>
                <a:gd name="T89" fmla="*/ 165 h 383"/>
                <a:gd name="T90" fmla="*/ 1 w 450"/>
                <a:gd name="T91" fmla="*/ 145 h 383"/>
                <a:gd name="T92" fmla="*/ 11 w 450"/>
                <a:gd name="T93" fmla="*/ 116 h 383"/>
                <a:gd name="T94" fmla="*/ 8 w 450"/>
                <a:gd name="T95" fmla="*/ 92 h 383"/>
                <a:gd name="T96" fmla="*/ 18 w 450"/>
                <a:gd name="T97" fmla="*/ 83 h 383"/>
                <a:gd name="T98" fmla="*/ 28 w 450"/>
                <a:gd name="T99" fmla="*/ 66 h 383"/>
                <a:gd name="T100" fmla="*/ 62 w 450"/>
                <a:gd name="T101" fmla="*/ 53 h 383"/>
                <a:gd name="T102" fmla="*/ 81 w 450"/>
                <a:gd name="T103" fmla="*/ 44 h 383"/>
                <a:gd name="T104" fmla="*/ 103 w 450"/>
                <a:gd name="T105" fmla="*/ 22 h 383"/>
                <a:gd name="T106" fmla="*/ 134 w 450"/>
                <a:gd name="T107" fmla="*/ 7 h 383"/>
                <a:gd name="T108" fmla="*/ 168 w 450"/>
                <a:gd name="T109" fmla="*/ 3 h 383"/>
                <a:gd name="T110" fmla="*/ 171 w 450"/>
                <a:gd name="T111" fmla="*/ 5 h 383"/>
                <a:gd name="T112" fmla="*/ 173 w 450"/>
                <a:gd name="T113" fmla="*/ 20 h 383"/>
                <a:gd name="T114" fmla="*/ 202 w 450"/>
                <a:gd name="T115" fmla="*/ 29 h 383"/>
                <a:gd name="T116" fmla="*/ 18 w 450"/>
                <a:gd name="T117" fmla="*/ 83 h 383"/>
                <a:gd name="T118" fmla="*/ 3 w 450"/>
                <a:gd name="T119" fmla="*/ 78 h 383"/>
                <a:gd name="T120" fmla="*/ 3 w 450"/>
                <a:gd name="T121" fmla="*/ 78 h 383"/>
                <a:gd name="T122" fmla="*/ 23 w 450"/>
                <a:gd name="T123" fmla="*/ 73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0" h="383">
                  <a:moveTo>
                    <a:pt x="219" y="19"/>
                  </a:moveTo>
                  <a:lnTo>
                    <a:pt x="217" y="20"/>
                  </a:lnTo>
                  <a:lnTo>
                    <a:pt x="215" y="22"/>
                  </a:lnTo>
                  <a:lnTo>
                    <a:pt x="214" y="24"/>
                  </a:lnTo>
                  <a:lnTo>
                    <a:pt x="212" y="24"/>
                  </a:lnTo>
                  <a:lnTo>
                    <a:pt x="210" y="26"/>
                  </a:lnTo>
                  <a:lnTo>
                    <a:pt x="207" y="27"/>
                  </a:lnTo>
                  <a:lnTo>
                    <a:pt x="205" y="27"/>
                  </a:lnTo>
                  <a:lnTo>
                    <a:pt x="204" y="29"/>
                  </a:lnTo>
                  <a:lnTo>
                    <a:pt x="202" y="29"/>
                  </a:lnTo>
                  <a:lnTo>
                    <a:pt x="205" y="31"/>
                  </a:lnTo>
                  <a:lnTo>
                    <a:pt x="205" y="34"/>
                  </a:lnTo>
                  <a:lnTo>
                    <a:pt x="205" y="32"/>
                  </a:lnTo>
                  <a:lnTo>
                    <a:pt x="207" y="32"/>
                  </a:lnTo>
                  <a:lnTo>
                    <a:pt x="209" y="34"/>
                  </a:lnTo>
                  <a:lnTo>
                    <a:pt x="210" y="32"/>
                  </a:lnTo>
                  <a:lnTo>
                    <a:pt x="210" y="34"/>
                  </a:lnTo>
                  <a:lnTo>
                    <a:pt x="209" y="36"/>
                  </a:lnTo>
                  <a:lnTo>
                    <a:pt x="209" y="37"/>
                  </a:lnTo>
                  <a:lnTo>
                    <a:pt x="210" y="36"/>
                  </a:lnTo>
                  <a:lnTo>
                    <a:pt x="210" y="34"/>
                  </a:lnTo>
                  <a:lnTo>
                    <a:pt x="210" y="32"/>
                  </a:lnTo>
                  <a:lnTo>
                    <a:pt x="212" y="31"/>
                  </a:lnTo>
                  <a:lnTo>
                    <a:pt x="214" y="29"/>
                  </a:lnTo>
                  <a:lnTo>
                    <a:pt x="215" y="27"/>
                  </a:lnTo>
                  <a:lnTo>
                    <a:pt x="219" y="27"/>
                  </a:lnTo>
                  <a:lnTo>
                    <a:pt x="221" y="26"/>
                  </a:lnTo>
                  <a:lnTo>
                    <a:pt x="222" y="22"/>
                  </a:lnTo>
                  <a:lnTo>
                    <a:pt x="222" y="20"/>
                  </a:lnTo>
                  <a:lnTo>
                    <a:pt x="226" y="19"/>
                  </a:lnTo>
                  <a:lnTo>
                    <a:pt x="227" y="19"/>
                  </a:lnTo>
                  <a:lnTo>
                    <a:pt x="229" y="19"/>
                  </a:lnTo>
                  <a:lnTo>
                    <a:pt x="231" y="19"/>
                  </a:lnTo>
                  <a:lnTo>
                    <a:pt x="232" y="19"/>
                  </a:lnTo>
                  <a:lnTo>
                    <a:pt x="236" y="19"/>
                  </a:lnTo>
                  <a:lnTo>
                    <a:pt x="238" y="19"/>
                  </a:lnTo>
                  <a:lnTo>
                    <a:pt x="239" y="19"/>
                  </a:lnTo>
                  <a:lnTo>
                    <a:pt x="241" y="19"/>
                  </a:lnTo>
                  <a:lnTo>
                    <a:pt x="244" y="19"/>
                  </a:lnTo>
                  <a:lnTo>
                    <a:pt x="246" y="19"/>
                  </a:lnTo>
                  <a:lnTo>
                    <a:pt x="248" y="19"/>
                  </a:lnTo>
                  <a:lnTo>
                    <a:pt x="249" y="19"/>
                  </a:lnTo>
                  <a:lnTo>
                    <a:pt x="253" y="19"/>
                  </a:lnTo>
                  <a:lnTo>
                    <a:pt x="255" y="19"/>
                  </a:lnTo>
                  <a:lnTo>
                    <a:pt x="256" y="19"/>
                  </a:lnTo>
                  <a:lnTo>
                    <a:pt x="260" y="19"/>
                  </a:lnTo>
                  <a:lnTo>
                    <a:pt x="261" y="19"/>
                  </a:lnTo>
                  <a:lnTo>
                    <a:pt x="263" y="19"/>
                  </a:lnTo>
                  <a:lnTo>
                    <a:pt x="266" y="19"/>
                  </a:lnTo>
                  <a:lnTo>
                    <a:pt x="268" y="19"/>
                  </a:lnTo>
                  <a:lnTo>
                    <a:pt x="272" y="19"/>
                  </a:lnTo>
                  <a:lnTo>
                    <a:pt x="275" y="19"/>
                  </a:lnTo>
                  <a:lnTo>
                    <a:pt x="278" y="19"/>
                  </a:lnTo>
                  <a:lnTo>
                    <a:pt x="280" y="19"/>
                  </a:lnTo>
                  <a:lnTo>
                    <a:pt x="283" y="19"/>
                  </a:lnTo>
                  <a:lnTo>
                    <a:pt x="285" y="19"/>
                  </a:lnTo>
                  <a:lnTo>
                    <a:pt x="287" y="17"/>
                  </a:lnTo>
                  <a:lnTo>
                    <a:pt x="290" y="17"/>
                  </a:lnTo>
                  <a:lnTo>
                    <a:pt x="292" y="17"/>
                  </a:lnTo>
                  <a:lnTo>
                    <a:pt x="294" y="17"/>
                  </a:lnTo>
                  <a:lnTo>
                    <a:pt x="295" y="17"/>
                  </a:lnTo>
                  <a:lnTo>
                    <a:pt x="297" y="17"/>
                  </a:lnTo>
                  <a:lnTo>
                    <a:pt x="300" y="15"/>
                  </a:lnTo>
                  <a:lnTo>
                    <a:pt x="304" y="15"/>
                  </a:lnTo>
                  <a:lnTo>
                    <a:pt x="306" y="15"/>
                  </a:lnTo>
                  <a:lnTo>
                    <a:pt x="307" y="14"/>
                  </a:lnTo>
                  <a:lnTo>
                    <a:pt x="309" y="14"/>
                  </a:lnTo>
                  <a:lnTo>
                    <a:pt x="311" y="14"/>
                  </a:lnTo>
                  <a:lnTo>
                    <a:pt x="314" y="14"/>
                  </a:lnTo>
                  <a:lnTo>
                    <a:pt x="316" y="12"/>
                  </a:lnTo>
                  <a:lnTo>
                    <a:pt x="317" y="12"/>
                  </a:lnTo>
                  <a:lnTo>
                    <a:pt x="321" y="12"/>
                  </a:lnTo>
                  <a:lnTo>
                    <a:pt x="323" y="10"/>
                  </a:lnTo>
                  <a:lnTo>
                    <a:pt x="324" y="10"/>
                  </a:lnTo>
                  <a:lnTo>
                    <a:pt x="326" y="10"/>
                  </a:lnTo>
                  <a:lnTo>
                    <a:pt x="328" y="10"/>
                  </a:lnTo>
                  <a:lnTo>
                    <a:pt x="329" y="10"/>
                  </a:lnTo>
                  <a:lnTo>
                    <a:pt x="331" y="9"/>
                  </a:lnTo>
                  <a:lnTo>
                    <a:pt x="333" y="9"/>
                  </a:lnTo>
                  <a:lnTo>
                    <a:pt x="334" y="9"/>
                  </a:lnTo>
                  <a:lnTo>
                    <a:pt x="336" y="9"/>
                  </a:lnTo>
                  <a:lnTo>
                    <a:pt x="340" y="7"/>
                  </a:lnTo>
                  <a:lnTo>
                    <a:pt x="341" y="7"/>
                  </a:lnTo>
                  <a:lnTo>
                    <a:pt x="343" y="7"/>
                  </a:lnTo>
                  <a:lnTo>
                    <a:pt x="346" y="5"/>
                  </a:lnTo>
                  <a:lnTo>
                    <a:pt x="346" y="2"/>
                  </a:lnTo>
                  <a:lnTo>
                    <a:pt x="348" y="2"/>
                  </a:lnTo>
                  <a:lnTo>
                    <a:pt x="350" y="2"/>
                  </a:lnTo>
                  <a:lnTo>
                    <a:pt x="353" y="2"/>
                  </a:lnTo>
                  <a:lnTo>
                    <a:pt x="355" y="2"/>
                  </a:lnTo>
                  <a:lnTo>
                    <a:pt x="353" y="3"/>
                  </a:lnTo>
                  <a:lnTo>
                    <a:pt x="357" y="5"/>
                  </a:lnTo>
                  <a:lnTo>
                    <a:pt x="357" y="7"/>
                  </a:lnTo>
                  <a:lnTo>
                    <a:pt x="358" y="9"/>
                  </a:lnTo>
                  <a:lnTo>
                    <a:pt x="360" y="7"/>
                  </a:lnTo>
                  <a:lnTo>
                    <a:pt x="362" y="7"/>
                  </a:lnTo>
                  <a:lnTo>
                    <a:pt x="363" y="7"/>
                  </a:lnTo>
                  <a:lnTo>
                    <a:pt x="365" y="9"/>
                  </a:lnTo>
                  <a:lnTo>
                    <a:pt x="367" y="9"/>
                  </a:lnTo>
                  <a:lnTo>
                    <a:pt x="368" y="9"/>
                  </a:lnTo>
                  <a:lnTo>
                    <a:pt x="372" y="10"/>
                  </a:lnTo>
                  <a:lnTo>
                    <a:pt x="374" y="12"/>
                  </a:lnTo>
                  <a:lnTo>
                    <a:pt x="374" y="14"/>
                  </a:lnTo>
                  <a:lnTo>
                    <a:pt x="375" y="14"/>
                  </a:lnTo>
                  <a:lnTo>
                    <a:pt x="377" y="15"/>
                  </a:lnTo>
                  <a:lnTo>
                    <a:pt x="377" y="17"/>
                  </a:lnTo>
                  <a:lnTo>
                    <a:pt x="379" y="19"/>
                  </a:lnTo>
                  <a:lnTo>
                    <a:pt x="379" y="20"/>
                  </a:lnTo>
                  <a:lnTo>
                    <a:pt x="380" y="22"/>
                  </a:lnTo>
                  <a:lnTo>
                    <a:pt x="379" y="26"/>
                  </a:lnTo>
                  <a:lnTo>
                    <a:pt x="379" y="27"/>
                  </a:lnTo>
                  <a:lnTo>
                    <a:pt x="380" y="27"/>
                  </a:lnTo>
                  <a:lnTo>
                    <a:pt x="380" y="31"/>
                  </a:lnTo>
                  <a:lnTo>
                    <a:pt x="382" y="34"/>
                  </a:lnTo>
                  <a:lnTo>
                    <a:pt x="384" y="36"/>
                  </a:lnTo>
                  <a:lnTo>
                    <a:pt x="382" y="36"/>
                  </a:lnTo>
                  <a:lnTo>
                    <a:pt x="384" y="36"/>
                  </a:lnTo>
                  <a:lnTo>
                    <a:pt x="384" y="37"/>
                  </a:lnTo>
                  <a:lnTo>
                    <a:pt x="384" y="39"/>
                  </a:lnTo>
                  <a:lnTo>
                    <a:pt x="384" y="41"/>
                  </a:lnTo>
                  <a:lnTo>
                    <a:pt x="385" y="43"/>
                  </a:lnTo>
                  <a:lnTo>
                    <a:pt x="385" y="44"/>
                  </a:lnTo>
                  <a:lnTo>
                    <a:pt x="387" y="46"/>
                  </a:lnTo>
                  <a:lnTo>
                    <a:pt x="387" y="48"/>
                  </a:lnTo>
                  <a:lnTo>
                    <a:pt x="389" y="51"/>
                  </a:lnTo>
                  <a:lnTo>
                    <a:pt x="389" y="53"/>
                  </a:lnTo>
                  <a:lnTo>
                    <a:pt x="391" y="54"/>
                  </a:lnTo>
                  <a:lnTo>
                    <a:pt x="392" y="56"/>
                  </a:lnTo>
                  <a:lnTo>
                    <a:pt x="392" y="58"/>
                  </a:lnTo>
                  <a:lnTo>
                    <a:pt x="394" y="60"/>
                  </a:lnTo>
                  <a:lnTo>
                    <a:pt x="394" y="63"/>
                  </a:lnTo>
                  <a:lnTo>
                    <a:pt x="396" y="63"/>
                  </a:lnTo>
                  <a:lnTo>
                    <a:pt x="397" y="65"/>
                  </a:lnTo>
                  <a:lnTo>
                    <a:pt x="397" y="66"/>
                  </a:lnTo>
                  <a:lnTo>
                    <a:pt x="399" y="70"/>
                  </a:lnTo>
                  <a:lnTo>
                    <a:pt x="401" y="71"/>
                  </a:lnTo>
                  <a:lnTo>
                    <a:pt x="401" y="73"/>
                  </a:lnTo>
                  <a:lnTo>
                    <a:pt x="402" y="75"/>
                  </a:lnTo>
                  <a:lnTo>
                    <a:pt x="404" y="75"/>
                  </a:lnTo>
                  <a:lnTo>
                    <a:pt x="404" y="78"/>
                  </a:lnTo>
                  <a:lnTo>
                    <a:pt x="406" y="78"/>
                  </a:lnTo>
                  <a:lnTo>
                    <a:pt x="408" y="80"/>
                  </a:lnTo>
                  <a:lnTo>
                    <a:pt x="406" y="82"/>
                  </a:lnTo>
                  <a:lnTo>
                    <a:pt x="406" y="85"/>
                  </a:lnTo>
                  <a:lnTo>
                    <a:pt x="408" y="87"/>
                  </a:lnTo>
                  <a:lnTo>
                    <a:pt x="409" y="88"/>
                  </a:lnTo>
                  <a:lnTo>
                    <a:pt x="408" y="88"/>
                  </a:lnTo>
                  <a:lnTo>
                    <a:pt x="409" y="88"/>
                  </a:lnTo>
                  <a:lnTo>
                    <a:pt x="409" y="92"/>
                  </a:lnTo>
                  <a:lnTo>
                    <a:pt x="411" y="94"/>
                  </a:lnTo>
                  <a:lnTo>
                    <a:pt x="409" y="95"/>
                  </a:lnTo>
                  <a:lnTo>
                    <a:pt x="411" y="97"/>
                  </a:lnTo>
                  <a:lnTo>
                    <a:pt x="411" y="100"/>
                  </a:lnTo>
                  <a:lnTo>
                    <a:pt x="411" y="102"/>
                  </a:lnTo>
                  <a:lnTo>
                    <a:pt x="413" y="104"/>
                  </a:lnTo>
                  <a:lnTo>
                    <a:pt x="413" y="106"/>
                  </a:lnTo>
                  <a:lnTo>
                    <a:pt x="413" y="107"/>
                  </a:lnTo>
                  <a:lnTo>
                    <a:pt x="414" y="109"/>
                  </a:lnTo>
                  <a:lnTo>
                    <a:pt x="414" y="111"/>
                  </a:lnTo>
                  <a:lnTo>
                    <a:pt x="413" y="112"/>
                  </a:lnTo>
                  <a:lnTo>
                    <a:pt x="411" y="114"/>
                  </a:lnTo>
                  <a:lnTo>
                    <a:pt x="409" y="116"/>
                  </a:lnTo>
                  <a:lnTo>
                    <a:pt x="409" y="117"/>
                  </a:lnTo>
                  <a:lnTo>
                    <a:pt x="408" y="117"/>
                  </a:lnTo>
                  <a:lnTo>
                    <a:pt x="408" y="119"/>
                  </a:lnTo>
                  <a:lnTo>
                    <a:pt x="406" y="119"/>
                  </a:lnTo>
                  <a:lnTo>
                    <a:pt x="402" y="119"/>
                  </a:lnTo>
                  <a:lnTo>
                    <a:pt x="401" y="121"/>
                  </a:lnTo>
                  <a:lnTo>
                    <a:pt x="399" y="123"/>
                  </a:lnTo>
                  <a:lnTo>
                    <a:pt x="397" y="124"/>
                  </a:lnTo>
                  <a:lnTo>
                    <a:pt x="396" y="124"/>
                  </a:lnTo>
                  <a:lnTo>
                    <a:pt x="396" y="126"/>
                  </a:lnTo>
                  <a:lnTo>
                    <a:pt x="394" y="128"/>
                  </a:lnTo>
                  <a:lnTo>
                    <a:pt x="394" y="129"/>
                  </a:lnTo>
                  <a:lnTo>
                    <a:pt x="392" y="131"/>
                  </a:lnTo>
                  <a:lnTo>
                    <a:pt x="392" y="133"/>
                  </a:lnTo>
                  <a:lnTo>
                    <a:pt x="392" y="134"/>
                  </a:lnTo>
                  <a:lnTo>
                    <a:pt x="391" y="136"/>
                  </a:lnTo>
                  <a:lnTo>
                    <a:pt x="391" y="138"/>
                  </a:lnTo>
                  <a:lnTo>
                    <a:pt x="389" y="140"/>
                  </a:lnTo>
                  <a:lnTo>
                    <a:pt x="389" y="143"/>
                  </a:lnTo>
                  <a:lnTo>
                    <a:pt x="389" y="145"/>
                  </a:lnTo>
                  <a:lnTo>
                    <a:pt x="387" y="146"/>
                  </a:lnTo>
                  <a:lnTo>
                    <a:pt x="389" y="146"/>
                  </a:lnTo>
                  <a:lnTo>
                    <a:pt x="389" y="148"/>
                  </a:lnTo>
                  <a:lnTo>
                    <a:pt x="389" y="150"/>
                  </a:lnTo>
                  <a:lnTo>
                    <a:pt x="392" y="150"/>
                  </a:lnTo>
                  <a:lnTo>
                    <a:pt x="394" y="148"/>
                  </a:lnTo>
                  <a:lnTo>
                    <a:pt x="394" y="150"/>
                  </a:lnTo>
                  <a:lnTo>
                    <a:pt x="397" y="150"/>
                  </a:lnTo>
                  <a:lnTo>
                    <a:pt x="399" y="151"/>
                  </a:lnTo>
                  <a:lnTo>
                    <a:pt x="401" y="150"/>
                  </a:lnTo>
                  <a:lnTo>
                    <a:pt x="402" y="150"/>
                  </a:lnTo>
                  <a:lnTo>
                    <a:pt x="402" y="151"/>
                  </a:lnTo>
                  <a:lnTo>
                    <a:pt x="404" y="151"/>
                  </a:lnTo>
                  <a:lnTo>
                    <a:pt x="406" y="153"/>
                  </a:lnTo>
                  <a:lnTo>
                    <a:pt x="406" y="155"/>
                  </a:lnTo>
                  <a:lnTo>
                    <a:pt x="408" y="153"/>
                  </a:lnTo>
                  <a:lnTo>
                    <a:pt x="409" y="155"/>
                  </a:lnTo>
                  <a:lnTo>
                    <a:pt x="408" y="155"/>
                  </a:lnTo>
                  <a:lnTo>
                    <a:pt x="411" y="157"/>
                  </a:lnTo>
                  <a:lnTo>
                    <a:pt x="411" y="160"/>
                  </a:lnTo>
                  <a:lnTo>
                    <a:pt x="413" y="162"/>
                  </a:lnTo>
                  <a:lnTo>
                    <a:pt x="413" y="163"/>
                  </a:lnTo>
                  <a:lnTo>
                    <a:pt x="411" y="165"/>
                  </a:lnTo>
                  <a:lnTo>
                    <a:pt x="413" y="165"/>
                  </a:lnTo>
                  <a:lnTo>
                    <a:pt x="411" y="167"/>
                  </a:lnTo>
                  <a:lnTo>
                    <a:pt x="413" y="168"/>
                  </a:lnTo>
                  <a:lnTo>
                    <a:pt x="413" y="170"/>
                  </a:lnTo>
                  <a:lnTo>
                    <a:pt x="411" y="170"/>
                  </a:lnTo>
                  <a:lnTo>
                    <a:pt x="411" y="172"/>
                  </a:lnTo>
                  <a:lnTo>
                    <a:pt x="413" y="174"/>
                  </a:lnTo>
                  <a:lnTo>
                    <a:pt x="414" y="175"/>
                  </a:lnTo>
                  <a:lnTo>
                    <a:pt x="413" y="177"/>
                  </a:lnTo>
                  <a:lnTo>
                    <a:pt x="411" y="179"/>
                  </a:lnTo>
                  <a:lnTo>
                    <a:pt x="409" y="180"/>
                  </a:lnTo>
                  <a:lnTo>
                    <a:pt x="411" y="182"/>
                  </a:lnTo>
                  <a:lnTo>
                    <a:pt x="411" y="185"/>
                  </a:lnTo>
                  <a:lnTo>
                    <a:pt x="411" y="187"/>
                  </a:lnTo>
                  <a:lnTo>
                    <a:pt x="413" y="189"/>
                  </a:lnTo>
                  <a:lnTo>
                    <a:pt x="413" y="191"/>
                  </a:lnTo>
                  <a:lnTo>
                    <a:pt x="414" y="192"/>
                  </a:lnTo>
                  <a:lnTo>
                    <a:pt x="414" y="194"/>
                  </a:lnTo>
                  <a:lnTo>
                    <a:pt x="416" y="194"/>
                  </a:lnTo>
                  <a:lnTo>
                    <a:pt x="416" y="196"/>
                  </a:lnTo>
                  <a:lnTo>
                    <a:pt x="418" y="197"/>
                  </a:lnTo>
                  <a:lnTo>
                    <a:pt x="419" y="197"/>
                  </a:lnTo>
                  <a:lnTo>
                    <a:pt x="418" y="199"/>
                  </a:lnTo>
                  <a:lnTo>
                    <a:pt x="419" y="199"/>
                  </a:lnTo>
                  <a:lnTo>
                    <a:pt x="419" y="201"/>
                  </a:lnTo>
                  <a:lnTo>
                    <a:pt x="421" y="201"/>
                  </a:lnTo>
                  <a:lnTo>
                    <a:pt x="421" y="202"/>
                  </a:lnTo>
                  <a:lnTo>
                    <a:pt x="421" y="204"/>
                  </a:lnTo>
                  <a:lnTo>
                    <a:pt x="419" y="204"/>
                  </a:lnTo>
                  <a:lnTo>
                    <a:pt x="419" y="208"/>
                  </a:lnTo>
                  <a:lnTo>
                    <a:pt x="421" y="211"/>
                  </a:lnTo>
                  <a:lnTo>
                    <a:pt x="423" y="209"/>
                  </a:lnTo>
                  <a:lnTo>
                    <a:pt x="425" y="211"/>
                  </a:lnTo>
                  <a:lnTo>
                    <a:pt x="426" y="214"/>
                  </a:lnTo>
                  <a:lnTo>
                    <a:pt x="430" y="216"/>
                  </a:lnTo>
                  <a:lnTo>
                    <a:pt x="430" y="218"/>
                  </a:lnTo>
                  <a:lnTo>
                    <a:pt x="431" y="218"/>
                  </a:lnTo>
                  <a:lnTo>
                    <a:pt x="431" y="219"/>
                  </a:lnTo>
                  <a:lnTo>
                    <a:pt x="431" y="221"/>
                  </a:lnTo>
                  <a:lnTo>
                    <a:pt x="433" y="223"/>
                  </a:lnTo>
                  <a:lnTo>
                    <a:pt x="435" y="223"/>
                  </a:lnTo>
                  <a:lnTo>
                    <a:pt x="435" y="225"/>
                  </a:lnTo>
                  <a:lnTo>
                    <a:pt x="436" y="225"/>
                  </a:lnTo>
                  <a:lnTo>
                    <a:pt x="435" y="226"/>
                  </a:lnTo>
                  <a:lnTo>
                    <a:pt x="436" y="226"/>
                  </a:lnTo>
                  <a:lnTo>
                    <a:pt x="436" y="228"/>
                  </a:lnTo>
                  <a:lnTo>
                    <a:pt x="438" y="228"/>
                  </a:lnTo>
                  <a:lnTo>
                    <a:pt x="438" y="231"/>
                  </a:lnTo>
                  <a:lnTo>
                    <a:pt x="440" y="231"/>
                  </a:lnTo>
                  <a:lnTo>
                    <a:pt x="443" y="233"/>
                  </a:lnTo>
                  <a:lnTo>
                    <a:pt x="443" y="235"/>
                  </a:lnTo>
                  <a:lnTo>
                    <a:pt x="445" y="233"/>
                  </a:lnTo>
                  <a:lnTo>
                    <a:pt x="447" y="235"/>
                  </a:lnTo>
                  <a:lnTo>
                    <a:pt x="448" y="235"/>
                  </a:lnTo>
                  <a:lnTo>
                    <a:pt x="447" y="238"/>
                  </a:lnTo>
                  <a:lnTo>
                    <a:pt x="443" y="238"/>
                  </a:lnTo>
                  <a:lnTo>
                    <a:pt x="442" y="238"/>
                  </a:lnTo>
                  <a:lnTo>
                    <a:pt x="440" y="240"/>
                  </a:lnTo>
                  <a:lnTo>
                    <a:pt x="440" y="242"/>
                  </a:lnTo>
                  <a:lnTo>
                    <a:pt x="442" y="243"/>
                  </a:lnTo>
                  <a:lnTo>
                    <a:pt x="443" y="243"/>
                  </a:lnTo>
                  <a:lnTo>
                    <a:pt x="443" y="247"/>
                  </a:lnTo>
                  <a:lnTo>
                    <a:pt x="447" y="247"/>
                  </a:lnTo>
                  <a:lnTo>
                    <a:pt x="447" y="248"/>
                  </a:lnTo>
                  <a:lnTo>
                    <a:pt x="448" y="250"/>
                  </a:lnTo>
                  <a:lnTo>
                    <a:pt x="448" y="252"/>
                  </a:lnTo>
                  <a:lnTo>
                    <a:pt x="450" y="253"/>
                  </a:lnTo>
                  <a:lnTo>
                    <a:pt x="450" y="257"/>
                  </a:lnTo>
                  <a:lnTo>
                    <a:pt x="450" y="259"/>
                  </a:lnTo>
                  <a:lnTo>
                    <a:pt x="450" y="260"/>
                  </a:lnTo>
                  <a:lnTo>
                    <a:pt x="448" y="262"/>
                  </a:lnTo>
                  <a:lnTo>
                    <a:pt x="448" y="264"/>
                  </a:lnTo>
                  <a:lnTo>
                    <a:pt x="448" y="265"/>
                  </a:lnTo>
                  <a:lnTo>
                    <a:pt x="447" y="265"/>
                  </a:lnTo>
                  <a:lnTo>
                    <a:pt x="447" y="267"/>
                  </a:lnTo>
                  <a:lnTo>
                    <a:pt x="445" y="267"/>
                  </a:lnTo>
                  <a:lnTo>
                    <a:pt x="443" y="269"/>
                  </a:lnTo>
                  <a:lnTo>
                    <a:pt x="442" y="269"/>
                  </a:lnTo>
                  <a:lnTo>
                    <a:pt x="438" y="269"/>
                  </a:lnTo>
                  <a:lnTo>
                    <a:pt x="438" y="271"/>
                  </a:lnTo>
                  <a:lnTo>
                    <a:pt x="436" y="271"/>
                  </a:lnTo>
                  <a:lnTo>
                    <a:pt x="435" y="272"/>
                  </a:lnTo>
                  <a:lnTo>
                    <a:pt x="435" y="274"/>
                  </a:lnTo>
                  <a:lnTo>
                    <a:pt x="435" y="276"/>
                  </a:lnTo>
                  <a:lnTo>
                    <a:pt x="433" y="277"/>
                  </a:lnTo>
                  <a:lnTo>
                    <a:pt x="431" y="279"/>
                  </a:lnTo>
                  <a:lnTo>
                    <a:pt x="431" y="281"/>
                  </a:lnTo>
                  <a:lnTo>
                    <a:pt x="430" y="282"/>
                  </a:lnTo>
                  <a:lnTo>
                    <a:pt x="428" y="284"/>
                  </a:lnTo>
                  <a:lnTo>
                    <a:pt x="426" y="286"/>
                  </a:lnTo>
                  <a:lnTo>
                    <a:pt x="426" y="288"/>
                  </a:lnTo>
                  <a:lnTo>
                    <a:pt x="423" y="289"/>
                  </a:lnTo>
                  <a:lnTo>
                    <a:pt x="423" y="293"/>
                  </a:lnTo>
                  <a:lnTo>
                    <a:pt x="421" y="294"/>
                  </a:lnTo>
                  <a:lnTo>
                    <a:pt x="419" y="294"/>
                  </a:lnTo>
                  <a:lnTo>
                    <a:pt x="419" y="296"/>
                  </a:lnTo>
                  <a:lnTo>
                    <a:pt x="419" y="298"/>
                  </a:lnTo>
                  <a:lnTo>
                    <a:pt x="418" y="299"/>
                  </a:lnTo>
                  <a:lnTo>
                    <a:pt x="418" y="301"/>
                  </a:lnTo>
                  <a:lnTo>
                    <a:pt x="416" y="303"/>
                  </a:lnTo>
                  <a:lnTo>
                    <a:pt x="416" y="305"/>
                  </a:lnTo>
                  <a:lnTo>
                    <a:pt x="414" y="306"/>
                  </a:lnTo>
                  <a:lnTo>
                    <a:pt x="414" y="308"/>
                  </a:lnTo>
                  <a:lnTo>
                    <a:pt x="413" y="310"/>
                  </a:lnTo>
                  <a:lnTo>
                    <a:pt x="413" y="311"/>
                  </a:lnTo>
                  <a:lnTo>
                    <a:pt x="411" y="315"/>
                  </a:lnTo>
                  <a:lnTo>
                    <a:pt x="409" y="315"/>
                  </a:lnTo>
                  <a:lnTo>
                    <a:pt x="409" y="318"/>
                  </a:lnTo>
                  <a:lnTo>
                    <a:pt x="408" y="322"/>
                  </a:lnTo>
                  <a:lnTo>
                    <a:pt x="406" y="323"/>
                  </a:lnTo>
                  <a:lnTo>
                    <a:pt x="406" y="325"/>
                  </a:lnTo>
                  <a:lnTo>
                    <a:pt x="404" y="327"/>
                  </a:lnTo>
                  <a:lnTo>
                    <a:pt x="404" y="330"/>
                  </a:lnTo>
                  <a:lnTo>
                    <a:pt x="402" y="332"/>
                  </a:lnTo>
                  <a:lnTo>
                    <a:pt x="401" y="333"/>
                  </a:lnTo>
                  <a:lnTo>
                    <a:pt x="401" y="335"/>
                  </a:lnTo>
                  <a:lnTo>
                    <a:pt x="401" y="339"/>
                  </a:lnTo>
                  <a:lnTo>
                    <a:pt x="399" y="339"/>
                  </a:lnTo>
                  <a:lnTo>
                    <a:pt x="399" y="340"/>
                  </a:lnTo>
                  <a:lnTo>
                    <a:pt x="402" y="342"/>
                  </a:lnTo>
                  <a:lnTo>
                    <a:pt x="402" y="345"/>
                  </a:lnTo>
                  <a:lnTo>
                    <a:pt x="404" y="347"/>
                  </a:lnTo>
                  <a:lnTo>
                    <a:pt x="406" y="350"/>
                  </a:lnTo>
                  <a:lnTo>
                    <a:pt x="406" y="354"/>
                  </a:lnTo>
                  <a:lnTo>
                    <a:pt x="406" y="357"/>
                  </a:lnTo>
                  <a:lnTo>
                    <a:pt x="406" y="359"/>
                  </a:lnTo>
                  <a:lnTo>
                    <a:pt x="408" y="361"/>
                  </a:lnTo>
                  <a:lnTo>
                    <a:pt x="406" y="364"/>
                  </a:lnTo>
                  <a:lnTo>
                    <a:pt x="408" y="362"/>
                  </a:lnTo>
                  <a:lnTo>
                    <a:pt x="408" y="364"/>
                  </a:lnTo>
                  <a:lnTo>
                    <a:pt x="409" y="364"/>
                  </a:lnTo>
                  <a:lnTo>
                    <a:pt x="411" y="366"/>
                  </a:lnTo>
                  <a:lnTo>
                    <a:pt x="413" y="367"/>
                  </a:lnTo>
                  <a:lnTo>
                    <a:pt x="416" y="367"/>
                  </a:lnTo>
                  <a:lnTo>
                    <a:pt x="414" y="369"/>
                  </a:lnTo>
                  <a:lnTo>
                    <a:pt x="414" y="371"/>
                  </a:lnTo>
                  <a:lnTo>
                    <a:pt x="416" y="373"/>
                  </a:lnTo>
                  <a:lnTo>
                    <a:pt x="414" y="374"/>
                  </a:lnTo>
                  <a:lnTo>
                    <a:pt x="414" y="373"/>
                  </a:lnTo>
                  <a:lnTo>
                    <a:pt x="413" y="373"/>
                  </a:lnTo>
                  <a:lnTo>
                    <a:pt x="411" y="371"/>
                  </a:lnTo>
                  <a:lnTo>
                    <a:pt x="409" y="373"/>
                  </a:lnTo>
                  <a:lnTo>
                    <a:pt x="408" y="371"/>
                  </a:lnTo>
                  <a:lnTo>
                    <a:pt x="406" y="373"/>
                  </a:lnTo>
                  <a:lnTo>
                    <a:pt x="404" y="371"/>
                  </a:lnTo>
                  <a:lnTo>
                    <a:pt x="402" y="369"/>
                  </a:lnTo>
                  <a:lnTo>
                    <a:pt x="401" y="371"/>
                  </a:lnTo>
                  <a:lnTo>
                    <a:pt x="397" y="371"/>
                  </a:lnTo>
                  <a:lnTo>
                    <a:pt x="396" y="371"/>
                  </a:lnTo>
                  <a:lnTo>
                    <a:pt x="394" y="371"/>
                  </a:lnTo>
                  <a:lnTo>
                    <a:pt x="392" y="369"/>
                  </a:lnTo>
                  <a:lnTo>
                    <a:pt x="391" y="367"/>
                  </a:lnTo>
                  <a:lnTo>
                    <a:pt x="389" y="369"/>
                  </a:lnTo>
                  <a:lnTo>
                    <a:pt x="387" y="369"/>
                  </a:lnTo>
                  <a:lnTo>
                    <a:pt x="385" y="369"/>
                  </a:lnTo>
                  <a:lnTo>
                    <a:pt x="384" y="366"/>
                  </a:lnTo>
                  <a:lnTo>
                    <a:pt x="382" y="367"/>
                  </a:lnTo>
                  <a:lnTo>
                    <a:pt x="380" y="366"/>
                  </a:lnTo>
                  <a:lnTo>
                    <a:pt x="379" y="366"/>
                  </a:lnTo>
                  <a:lnTo>
                    <a:pt x="377" y="366"/>
                  </a:lnTo>
                  <a:lnTo>
                    <a:pt x="375" y="366"/>
                  </a:lnTo>
                  <a:lnTo>
                    <a:pt x="375" y="362"/>
                  </a:lnTo>
                  <a:lnTo>
                    <a:pt x="375" y="361"/>
                  </a:lnTo>
                  <a:lnTo>
                    <a:pt x="374" y="361"/>
                  </a:lnTo>
                  <a:lnTo>
                    <a:pt x="372" y="359"/>
                  </a:lnTo>
                  <a:lnTo>
                    <a:pt x="370" y="357"/>
                  </a:lnTo>
                  <a:lnTo>
                    <a:pt x="368" y="357"/>
                  </a:lnTo>
                  <a:lnTo>
                    <a:pt x="367" y="356"/>
                  </a:lnTo>
                  <a:lnTo>
                    <a:pt x="365" y="357"/>
                  </a:lnTo>
                  <a:lnTo>
                    <a:pt x="365" y="356"/>
                  </a:lnTo>
                  <a:lnTo>
                    <a:pt x="363" y="356"/>
                  </a:lnTo>
                  <a:lnTo>
                    <a:pt x="362" y="357"/>
                  </a:lnTo>
                  <a:lnTo>
                    <a:pt x="362" y="356"/>
                  </a:lnTo>
                  <a:lnTo>
                    <a:pt x="358" y="354"/>
                  </a:lnTo>
                  <a:lnTo>
                    <a:pt x="357" y="354"/>
                  </a:lnTo>
                  <a:lnTo>
                    <a:pt x="355" y="352"/>
                  </a:lnTo>
                  <a:lnTo>
                    <a:pt x="353" y="354"/>
                  </a:lnTo>
                  <a:lnTo>
                    <a:pt x="350" y="354"/>
                  </a:lnTo>
                  <a:lnTo>
                    <a:pt x="350" y="356"/>
                  </a:lnTo>
                  <a:lnTo>
                    <a:pt x="348" y="356"/>
                  </a:lnTo>
                  <a:lnTo>
                    <a:pt x="346" y="357"/>
                  </a:lnTo>
                  <a:lnTo>
                    <a:pt x="345" y="356"/>
                  </a:lnTo>
                  <a:lnTo>
                    <a:pt x="343" y="356"/>
                  </a:lnTo>
                  <a:lnTo>
                    <a:pt x="341" y="354"/>
                  </a:lnTo>
                  <a:lnTo>
                    <a:pt x="338" y="354"/>
                  </a:lnTo>
                  <a:lnTo>
                    <a:pt x="336" y="356"/>
                  </a:lnTo>
                  <a:lnTo>
                    <a:pt x="336" y="359"/>
                  </a:lnTo>
                  <a:lnTo>
                    <a:pt x="334" y="359"/>
                  </a:lnTo>
                  <a:lnTo>
                    <a:pt x="333" y="357"/>
                  </a:lnTo>
                  <a:lnTo>
                    <a:pt x="331" y="357"/>
                  </a:lnTo>
                  <a:lnTo>
                    <a:pt x="329" y="359"/>
                  </a:lnTo>
                  <a:lnTo>
                    <a:pt x="331" y="361"/>
                  </a:lnTo>
                  <a:lnTo>
                    <a:pt x="331" y="362"/>
                  </a:lnTo>
                  <a:lnTo>
                    <a:pt x="329" y="362"/>
                  </a:lnTo>
                  <a:lnTo>
                    <a:pt x="328" y="366"/>
                  </a:lnTo>
                  <a:lnTo>
                    <a:pt x="328" y="367"/>
                  </a:lnTo>
                  <a:lnTo>
                    <a:pt x="324" y="367"/>
                  </a:lnTo>
                  <a:lnTo>
                    <a:pt x="323" y="366"/>
                  </a:lnTo>
                  <a:lnTo>
                    <a:pt x="323" y="367"/>
                  </a:lnTo>
                  <a:lnTo>
                    <a:pt x="321" y="366"/>
                  </a:lnTo>
                  <a:lnTo>
                    <a:pt x="319" y="366"/>
                  </a:lnTo>
                  <a:lnTo>
                    <a:pt x="317" y="366"/>
                  </a:lnTo>
                  <a:lnTo>
                    <a:pt x="319" y="364"/>
                  </a:lnTo>
                  <a:lnTo>
                    <a:pt x="316" y="364"/>
                  </a:lnTo>
                  <a:lnTo>
                    <a:pt x="316" y="362"/>
                  </a:lnTo>
                  <a:lnTo>
                    <a:pt x="314" y="361"/>
                  </a:lnTo>
                  <a:lnTo>
                    <a:pt x="312" y="361"/>
                  </a:lnTo>
                  <a:lnTo>
                    <a:pt x="311" y="362"/>
                  </a:lnTo>
                  <a:lnTo>
                    <a:pt x="309" y="362"/>
                  </a:lnTo>
                  <a:lnTo>
                    <a:pt x="307" y="366"/>
                  </a:lnTo>
                  <a:lnTo>
                    <a:pt x="304" y="364"/>
                  </a:lnTo>
                  <a:lnTo>
                    <a:pt x="302" y="362"/>
                  </a:lnTo>
                  <a:lnTo>
                    <a:pt x="300" y="362"/>
                  </a:lnTo>
                  <a:lnTo>
                    <a:pt x="300" y="364"/>
                  </a:lnTo>
                  <a:lnTo>
                    <a:pt x="299" y="366"/>
                  </a:lnTo>
                  <a:lnTo>
                    <a:pt x="299" y="364"/>
                  </a:lnTo>
                  <a:lnTo>
                    <a:pt x="295" y="364"/>
                  </a:lnTo>
                  <a:lnTo>
                    <a:pt x="295" y="366"/>
                  </a:lnTo>
                  <a:lnTo>
                    <a:pt x="297" y="366"/>
                  </a:lnTo>
                  <a:lnTo>
                    <a:pt x="297" y="369"/>
                  </a:lnTo>
                  <a:lnTo>
                    <a:pt x="295" y="369"/>
                  </a:lnTo>
                  <a:lnTo>
                    <a:pt x="294" y="369"/>
                  </a:lnTo>
                  <a:lnTo>
                    <a:pt x="292" y="369"/>
                  </a:lnTo>
                  <a:lnTo>
                    <a:pt x="290" y="371"/>
                  </a:lnTo>
                  <a:lnTo>
                    <a:pt x="290" y="373"/>
                  </a:lnTo>
                  <a:lnTo>
                    <a:pt x="289" y="373"/>
                  </a:lnTo>
                  <a:lnTo>
                    <a:pt x="289" y="376"/>
                  </a:lnTo>
                  <a:lnTo>
                    <a:pt x="287" y="378"/>
                  </a:lnTo>
                  <a:lnTo>
                    <a:pt x="289" y="379"/>
                  </a:lnTo>
                  <a:lnTo>
                    <a:pt x="287" y="381"/>
                  </a:lnTo>
                  <a:lnTo>
                    <a:pt x="287" y="383"/>
                  </a:lnTo>
                  <a:lnTo>
                    <a:pt x="285" y="381"/>
                  </a:lnTo>
                  <a:lnTo>
                    <a:pt x="282" y="379"/>
                  </a:lnTo>
                  <a:lnTo>
                    <a:pt x="280" y="379"/>
                  </a:lnTo>
                  <a:lnTo>
                    <a:pt x="278" y="379"/>
                  </a:lnTo>
                  <a:lnTo>
                    <a:pt x="278" y="383"/>
                  </a:lnTo>
                  <a:lnTo>
                    <a:pt x="277" y="383"/>
                  </a:lnTo>
                  <a:lnTo>
                    <a:pt x="275" y="381"/>
                  </a:lnTo>
                  <a:lnTo>
                    <a:pt x="273" y="381"/>
                  </a:lnTo>
                  <a:lnTo>
                    <a:pt x="273" y="379"/>
                  </a:lnTo>
                  <a:lnTo>
                    <a:pt x="273" y="378"/>
                  </a:lnTo>
                  <a:lnTo>
                    <a:pt x="275" y="376"/>
                  </a:lnTo>
                  <a:lnTo>
                    <a:pt x="273" y="376"/>
                  </a:lnTo>
                  <a:lnTo>
                    <a:pt x="273" y="374"/>
                  </a:lnTo>
                  <a:lnTo>
                    <a:pt x="273" y="373"/>
                  </a:lnTo>
                  <a:lnTo>
                    <a:pt x="273" y="371"/>
                  </a:lnTo>
                  <a:lnTo>
                    <a:pt x="272" y="369"/>
                  </a:lnTo>
                  <a:lnTo>
                    <a:pt x="272" y="367"/>
                  </a:lnTo>
                  <a:lnTo>
                    <a:pt x="270" y="367"/>
                  </a:lnTo>
                  <a:lnTo>
                    <a:pt x="268" y="369"/>
                  </a:lnTo>
                  <a:lnTo>
                    <a:pt x="265" y="369"/>
                  </a:lnTo>
                  <a:lnTo>
                    <a:pt x="265" y="367"/>
                  </a:lnTo>
                  <a:lnTo>
                    <a:pt x="265" y="366"/>
                  </a:lnTo>
                  <a:lnTo>
                    <a:pt x="263" y="366"/>
                  </a:lnTo>
                  <a:lnTo>
                    <a:pt x="261" y="366"/>
                  </a:lnTo>
                  <a:lnTo>
                    <a:pt x="261" y="364"/>
                  </a:lnTo>
                  <a:lnTo>
                    <a:pt x="260" y="362"/>
                  </a:lnTo>
                  <a:lnTo>
                    <a:pt x="260" y="361"/>
                  </a:lnTo>
                  <a:lnTo>
                    <a:pt x="258" y="357"/>
                  </a:lnTo>
                  <a:lnTo>
                    <a:pt x="256" y="357"/>
                  </a:lnTo>
                  <a:lnTo>
                    <a:pt x="256" y="356"/>
                  </a:lnTo>
                  <a:lnTo>
                    <a:pt x="255" y="356"/>
                  </a:lnTo>
                  <a:lnTo>
                    <a:pt x="255" y="357"/>
                  </a:lnTo>
                  <a:lnTo>
                    <a:pt x="253" y="357"/>
                  </a:lnTo>
                  <a:lnTo>
                    <a:pt x="251" y="359"/>
                  </a:lnTo>
                  <a:lnTo>
                    <a:pt x="251" y="362"/>
                  </a:lnTo>
                  <a:lnTo>
                    <a:pt x="249" y="362"/>
                  </a:lnTo>
                  <a:lnTo>
                    <a:pt x="248" y="362"/>
                  </a:lnTo>
                  <a:lnTo>
                    <a:pt x="246" y="364"/>
                  </a:lnTo>
                  <a:lnTo>
                    <a:pt x="246" y="367"/>
                  </a:lnTo>
                  <a:lnTo>
                    <a:pt x="244" y="369"/>
                  </a:lnTo>
                  <a:lnTo>
                    <a:pt x="246" y="371"/>
                  </a:lnTo>
                  <a:lnTo>
                    <a:pt x="243" y="373"/>
                  </a:lnTo>
                  <a:lnTo>
                    <a:pt x="241" y="373"/>
                  </a:lnTo>
                  <a:lnTo>
                    <a:pt x="239" y="371"/>
                  </a:lnTo>
                  <a:lnTo>
                    <a:pt x="238" y="373"/>
                  </a:lnTo>
                  <a:lnTo>
                    <a:pt x="236" y="374"/>
                  </a:lnTo>
                  <a:lnTo>
                    <a:pt x="234" y="373"/>
                  </a:lnTo>
                  <a:lnTo>
                    <a:pt x="236" y="371"/>
                  </a:lnTo>
                  <a:lnTo>
                    <a:pt x="234" y="369"/>
                  </a:lnTo>
                  <a:lnTo>
                    <a:pt x="234" y="367"/>
                  </a:lnTo>
                  <a:lnTo>
                    <a:pt x="234" y="366"/>
                  </a:lnTo>
                  <a:lnTo>
                    <a:pt x="232" y="366"/>
                  </a:lnTo>
                  <a:lnTo>
                    <a:pt x="231" y="366"/>
                  </a:lnTo>
                  <a:lnTo>
                    <a:pt x="229" y="366"/>
                  </a:lnTo>
                  <a:lnTo>
                    <a:pt x="227" y="366"/>
                  </a:lnTo>
                  <a:lnTo>
                    <a:pt x="229" y="364"/>
                  </a:lnTo>
                  <a:lnTo>
                    <a:pt x="227" y="362"/>
                  </a:lnTo>
                  <a:lnTo>
                    <a:pt x="227" y="361"/>
                  </a:lnTo>
                  <a:lnTo>
                    <a:pt x="227" y="359"/>
                  </a:lnTo>
                  <a:lnTo>
                    <a:pt x="226" y="357"/>
                  </a:lnTo>
                  <a:lnTo>
                    <a:pt x="226" y="356"/>
                  </a:lnTo>
                  <a:lnTo>
                    <a:pt x="224" y="354"/>
                  </a:lnTo>
                  <a:lnTo>
                    <a:pt x="222" y="356"/>
                  </a:lnTo>
                  <a:lnTo>
                    <a:pt x="221" y="354"/>
                  </a:lnTo>
                  <a:lnTo>
                    <a:pt x="219" y="354"/>
                  </a:lnTo>
                  <a:lnTo>
                    <a:pt x="217" y="352"/>
                  </a:lnTo>
                  <a:lnTo>
                    <a:pt x="217" y="350"/>
                  </a:lnTo>
                  <a:lnTo>
                    <a:pt x="215" y="350"/>
                  </a:lnTo>
                  <a:lnTo>
                    <a:pt x="215" y="349"/>
                  </a:lnTo>
                  <a:lnTo>
                    <a:pt x="215" y="347"/>
                  </a:lnTo>
                  <a:lnTo>
                    <a:pt x="214" y="345"/>
                  </a:lnTo>
                  <a:lnTo>
                    <a:pt x="215" y="344"/>
                  </a:lnTo>
                  <a:lnTo>
                    <a:pt x="212" y="342"/>
                  </a:lnTo>
                  <a:lnTo>
                    <a:pt x="212" y="339"/>
                  </a:lnTo>
                  <a:lnTo>
                    <a:pt x="212" y="340"/>
                  </a:lnTo>
                  <a:lnTo>
                    <a:pt x="209" y="340"/>
                  </a:lnTo>
                  <a:lnTo>
                    <a:pt x="207" y="340"/>
                  </a:lnTo>
                  <a:lnTo>
                    <a:pt x="207" y="339"/>
                  </a:lnTo>
                  <a:lnTo>
                    <a:pt x="204" y="339"/>
                  </a:lnTo>
                  <a:lnTo>
                    <a:pt x="202" y="339"/>
                  </a:lnTo>
                  <a:lnTo>
                    <a:pt x="204" y="340"/>
                  </a:lnTo>
                  <a:lnTo>
                    <a:pt x="202" y="340"/>
                  </a:lnTo>
                  <a:lnTo>
                    <a:pt x="200" y="340"/>
                  </a:lnTo>
                  <a:lnTo>
                    <a:pt x="198" y="339"/>
                  </a:lnTo>
                  <a:lnTo>
                    <a:pt x="197" y="337"/>
                  </a:lnTo>
                  <a:lnTo>
                    <a:pt x="195" y="335"/>
                  </a:lnTo>
                  <a:lnTo>
                    <a:pt x="193" y="337"/>
                  </a:lnTo>
                  <a:lnTo>
                    <a:pt x="192" y="337"/>
                  </a:lnTo>
                  <a:lnTo>
                    <a:pt x="190" y="335"/>
                  </a:lnTo>
                  <a:lnTo>
                    <a:pt x="190" y="333"/>
                  </a:lnTo>
                  <a:lnTo>
                    <a:pt x="188" y="332"/>
                  </a:lnTo>
                  <a:lnTo>
                    <a:pt x="187" y="333"/>
                  </a:lnTo>
                  <a:lnTo>
                    <a:pt x="188" y="333"/>
                  </a:lnTo>
                  <a:lnTo>
                    <a:pt x="188" y="337"/>
                  </a:lnTo>
                  <a:lnTo>
                    <a:pt x="187" y="335"/>
                  </a:lnTo>
                  <a:lnTo>
                    <a:pt x="185" y="337"/>
                  </a:lnTo>
                  <a:lnTo>
                    <a:pt x="183" y="339"/>
                  </a:lnTo>
                  <a:lnTo>
                    <a:pt x="181" y="339"/>
                  </a:lnTo>
                  <a:lnTo>
                    <a:pt x="178" y="339"/>
                  </a:lnTo>
                  <a:lnTo>
                    <a:pt x="178" y="337"/>
                  </a:lnTo>
                  <a:lnTo>
                    <a:pt x="176" y="337"/>
                  </a:lnTo>
                  <a:lnTo>
                    <a:pt x="175" y="333"/>
                  </a:lnTo>
                  <a:lnTo>
                    <a:pt x="175" y="332"/>
                  </a:lnTo>
                  <a:lnTo>
                    <a:pt x="173" y="330"/>
                  </a:lnTo>
                  <a:lnTo>
                    <a:pt x="171" y="332"/>
                  </a:lnTo>
                  <a:lnTo>
                    <a:pt x="170" y="330"/>
                  </a:lnTo>
                  <a:lnTo>
                    <a:pt x="168" y="328"/>
                  </a:lnTo>
                  <a:lnTo>
                    <a:pt x="168" y="327"/>
                  </a:lnTo>
                  <a:lnTo>
                    <a:pt x="170" y="327"/>
                  </a:lnTo>
                  <a:lnTo>
                    <a:pt x="171" y="325"/>
                  </a:lnTo>
                  <a:lnTo>
                    <a:pt x="173" y="325"/>
                  </a:lnTo>
                  <a:lnTo>
                    <a:pt x="175" y="323"/>
                  </a:lnTo>
                  <a:lnTo>
                    <a:pt x="175" y="322"/>
                  </a:lnTo>
                  <a:lnTo>
                    <a:pt x="173" y="320"/>
                  </a:lnTo>
                  <a:lnTo>
                    <a:pt x="173" y="316"/>
                  </a:lnTo>
                  <a:lnTo>
                    <a:pt x="171" y="316"/>
                  </a:lnTo>
                  <a:lnTo>
                    <a:pt x="170" y="315"/>
                  </a:lnTo>
                  <a:lnTo>
                    <a:pt x="170" y="318"/>
                  </a:lnTo>
                  <a:lnTo>
                    <a:pt x="170" y="320"/>
                  </a:lnTo>
                  <a:lnTo>
                    <a:pt x="168" y="320"/>
                  </a:lnTo>
                  <a:lnTo>
                    <a:pt x="166" y="320"/>
                  </a:lnTo>
                  <a:lnTo>
                    <a:pt x="164" y="320"/>
                  </a:lnTo>
                  <a:lnTo>
                    <a:pt x="163" y="320"/>
                  </a:lnTo>
                  <a:lnTo>
                    <a:pt x="159" y="322"/>
                  </a:lnTo>
                  <a:lnTo>
                    <a:pt x="159" y="320"/>
                  </a:lnTo>
                  <a:lnTo>
                    <a:pt x="158" y="320"/>
                  </a:lnTo>
                  <a:lnTo>
                    <a:pt x="156" y="322"/>
                  </a:lnTo>
                  <a:lnTo>
                    <a:pt x="154" y="320"/>
                  </a:lnTo>
                  <a:lnTo>
                    <a:pt x="156" y="318"/>
                  </a:lnTo>
                  <a:lnTo>
                    <a:pt x="154" y="318"/>
                  </a:lnTo>
                  <a:lnTo>
                    <a:pt x="156" y="316"/>
                  </a:lnTo>
                  <a:lnTo>
                    <a:pt x="153" y="318"/>
                  </a:lnTo>
                  <a:lnTo>
                    <a:pt x="151" y="316"/>
                  </a:lnTo>
                  <a:lnTo>
                    <a:pt x="149" y="315"/>
                  </a:lnTo>
                  <a:lnTo>
                    <a:pt x="147" y="313"/>
                  </a:lnTo>
                  <a:lnTo>
                    <a:pt x="146" y="315"/>
                  </a:lnTo>
                  <a:lnTo>
                    <a:pt x="144" y="313"/>
                  </a:lnTo>
                  <a:lnTo>
                    <a:pt x="141" y="313"/>
                  </a:lnTo>
                  <a:lnTo>
                    <a:pt x="139" y="311"/>
                  </a:lnTo>
                  <a:lnTo>
                    <a:pt x="137" y="313"/>
                  </a:lnTo>
                  <a:lnTo>
                    <a:pt x="137" y="311"/>
                  </a:lnTo>
                  <a:lnTo>
                    <a:pt x="136" y="311"/>
                  </a:lnTo>
                  <a:lnTo>
                    <a:pt x="134" y="311"/>
                  </a:lnTo>
                  <a:lnTo>
                    <a:pt x="132" y="313"/>
                  </a:lnTo>
                  <a:lnTo>
                    <a:pt x="136" y="315"/>
                  </a:lnTo>
                  <a:lnTo>
                    <a:pt x="136" y="316"/>
                  </a:lnTo>
                  <a:lnTo>
                    <a:pt x="137" y="318"/>
                  </a:lnTo>
                  <a:lnTo>
                    <a:pt x="137" y="320"/>
                  </a:lnTo>
                  <a:lnTo>
                    <a:pt x="141" y="320"/>
                  </a:lnTo>
                  <a:lnTo>
                    <a:pt x="141" y="322"/>
                  </a:lnTo>
                  <a:lnTo>
                    <a:pt x="141" y="323"/>
                  </a:lnTo>
                  <a:lnTo>
                    <a:pt x="142" y="325"/>
                  </a:lnTo>
                  <a:lnTo>
                    <a:pt x="141" y="327"/>
                  </a:lnTo>
                  <a:lnTo>
                    <a:pt x="139" y="325"/>
                  </a:lnTo>
                  <a:lnTo>
                    <a:pt x="139" y="327"/>
                  </a:lnTo>
                  <a:lnTo>
                    <a:pt x="136" y="327"/>
                  </a:lnTo>
                  <a:lnTo>
                    <a:pt x="136" y="328"/>
                  </a:lnTo>
                  <a:lnTo>
                    <a:pt x="134" y="328"/>
                  </a:lnTo>
                  <a:lnTo>
                    <a:pt x="132" y="330"/>
                  </a:lnTo>
                  <a:lnTo>
                    <a:pt x="130" y="332"/>
                  </a:lnTo>
                  <a:lnTo>
                    <a:pt x="129" y="333"/>
                  </a:lnTo>
                  <a:lnTo>
                    <a:pt x="129" y="335"/>
                  </a:lnTo>
                  <a:lnTo>
                    <a:pt x="125" y="335"/>
                  </a:lnTo>
                  <a:lnTo>
                    <a:pt x="124" y="333"/>
                  </a:lnTo>
                  <a:lnTo>
                    <a:pt x="122" y="332"/>
                  </a:lnTo>
                  <a:lnTo>
                    <a:pt x="120" y="328"/>
                  </a:lnTo>
                  <a:lnTo>
                    <a:pt x="120" y="327"/>
                  </a:lnTo>
                  <a:lnTo>
                    <a:pt x="119" y="325"/>
                  </a:lnTo>
                  <a:lnTo>
                    <a:pt x="117" y="325"/>
                  </a:lnTo>
                  <a:lnTo>
                    <a:pt x="117" y="323"/>
                  </a:lnTo>
                  <a:lnTo>
                    <a:pt x="115" y="322"/>
                  </a:lnTo>
                  <a:lnTo>
                    <a:pt x="112" y="322"/>
                  </a:lnTo>
                  <a:lnTo>
                    <a:pt x="112" y="320"/>
                  </a:lnTo>
                  <a:lnTo>
                    <a:pt x="110" y="318"/>
                  </a:lnTo>
                  <a:lnTo>
                    <a:pt x="108" y="318"/>
                  </a:lnTo>
                  <a:lnTo>
                    <a:pt x="107" y="318"/>
                  </a:lnTo>
                  <a:lnTo>
                    <a:pt x="107" y="316"/>
                  </a:lnTo>
                  <a:lnTo>
                    <a:pt x="105" y="316"/>
                  </a:lnTo>
                  <a:lnTo>
                    <a:pt x="103" y="315"/>
                  </a:lnTo>
                  <a:lnTo>
                    <a:pt x="103" y="313"/>
                  </a:lnTo>
                  <a:lnTo>
                    <a:pt x="105" y="313"/>
                  </a:lnTo>
                  <a:lnTo>
                    <a:pt x="105" y="311"/>
                  </a:lnTo>
                  <a:lnTo>
                    <a:pt x="107" y="311"/>
                  </a:lnTo>
                  <a:lnTo>
                    <a:pt x="108" y="310"/>
                  </a:lnTo>
                  <a:lnTo>
                    <a:pt x="110" y="310"/>
                  </a:lnTo>
                  <a:lnTo>
                    <a:pt x="110" y="308"/>
                  </a:lnTo>
                  <a:lnTo>
                    <a:pt x="112" y="308"/>
                  </a:lnTo>
                  <a:lnTo>
                    <a:pt x="112" y="305"/>
                  </a:lnTo>
                  <a:lnTo>
                    <a:pt x="113" y="303"/>
                  </a:lnTo>
                  <a:lnTo>
                    <a:pt x="112" y="301"/>
                  </a:lnTo>
                  <a:lnTo>
                    <a:pt x="110" y="299"/>
                  </a:lnTo>
                  <a:lnTo>
                    <a:pt x="108" y="299"/>
                  </a:lnTo>
                  <a:lnTo>
                    <a:pt x="108" y="298"/>
                  </a:lnTo>
                  <a:lnTo>
                    <a:pt x="105" y="298"/>
                  </a:lnTo>
                  <a:lnTo>
                    <a:pt x="103" y="298"/>
                  </a:lnTo>
                  <a:lnTo>
                    <a:pt x="103" y="301"/>
                  </a:lnTo>
                  <a:lnTo>
                    <a:pt x="102" y="301"/>
                  </a:lnTo>
                  <a:lnTo>
                    <a:pt x="102" y="299"/>
                  </a:lnTo>
                  <a:lnTo>
                    <a:pt x="98" y="299"/>
                  </a:lnTo>
                  <a:lnTo>
                    <a:pt x="96" y="301"/>
                  </a:lnTo>
                  <a:lnTo>
                    <a:pt x="96" y="303"/>
                  </a:lnTo>
                  <a:lnTo>
                    <a:pt x="95" y="303"/>
                  </a:lnTo>
                  <a:lnTo>
                    <a:pt x="93" y="303"/>
                  </a:lnTo>
                  <a:lnTo>
                    <a:pt x="93" y="301"/>
                  </a:lnTo>
                  <a:lnTo>
                    <a:pt x="95" y="301"/>
                  </a:lnTo>
                  <a:lnTo>
                    <a:pt x="93" y="301"/>
                  </a:lnTo>
                  <a:lnTo>
                    <a:pt x="93" y="298"/>
                  </a:lnTo>
                  <a:lnTo>
                    <a:pt x="91" y="298"/>
                  </a:lnTo>
                  <a:lnTo>
                    <a:pt x="90" y="298"/>
                  </a:lnTo>
                  <a:lnTo>
                    <a:pt x="88" y="299"/>
                  </a:lnTo>
                  <a:lnTo>
                    <a:pt x="86" y="299"/>
                  </a:lnTo>
                  <a:lnTo>
                    <a:pt x="86" y="296"/>
                  </a:lnTo>
                  <a:lnTo>
                    <a:pt x="85" y="296"/>
                  </a:lnTo>
                  <a:lnTo>
                    <a:pt x="85" y="293"/>
                  </a:lnTo>
                  <a:lnTo>
                    <a:pt x="83" y="294"/>
                  </a:lnTo>
                  <a:lnTo>
                    <a:pt x="81" y="294"/>
                  </a:lnTo>
                  <a:lnTo>
                    <a:pt x="79" y="294"/>
                  </a:lnTo>
                  <a:lnTo>
                    <a:pt x="78" y="294"/>
                  </a:lnTo>
                  <a:lnTo>
                    <a:pt x="76" y="293"/>
                  </a:lnTo>
                  <a:lnTo>
                    <a:pt x="74" y="293"/>
                  </a:lnTo>
                  <a:lnTo>
                    <a:pt x="73" y="293"/>
                  </a:lnTo>
                  <a:lnTo>
                    <a:pt x="71" y="293"/>
                  </a:lnTo>
                  <a:lnTo>
                    <a:pt x="69" y="293"/>
                  </a:lnTo>
                  <a:lnTo>
                    <a:pt x="68" y="291"/>
                  </a:lnTo>
                  <a:lnTo>
                    <a:pt x="66" y="293"/>
                  </a:lnTo>
                  <a:lnTo>
                    <a:pt x="64" y="293"/>
                  </a:lnTo>
                  <a:lnTo>
                    <a:pt x="64" y="291"/>
                  </a:lnTo>
                  <a:lnTo>
                    <a:pt x="64" y="289"/>
                  </a:lnTo>
                  <a:lnTo>
                    <a:pt x="62" y="288"/>
                  </a:lnTo>
                  <a:lnTo>
                    <a:pt x="61" y="286"/>
                  </a:lnTo>
                  <a:lnTo>
                    <a:pt x="59" y="282"/>
                  </a:lnTo>
                  <a:lnTo>
                    <a:pt x="61" y="281"/>
                  </a:lnTo>
                  <a:lnTo>
                    <a:pt x="59" y="279"/>
                  </a:lnTo>
                  <a:lnTo>
                    <a:pt x="57" y="279"/>
                  </a:lnTo>
                  <a:lnTo>
                    <a:pt x="56" y="279"/>
                  </a:lnTo>
                  <a:lnTo>
                    <a:pt x="56" y="277"/>
                  </a:lnTo>
                  <a:lnTo>
                    <a:pt x="54" y="279"/>
                  </a:lnTo>
                  <a:lnTo>
                    <a:pt x="52" y="279"/>
                  </a:lnTo>
                  <a:lnTo>
                    <a:pt x="52" y="277"/>
                  </a:lnTo>
                  <a:lnTo>
                    <a:pt x="51" y="277"/>
                  </a:lnTo>
                  <a:lnTo>
                    <a:pt x="49" y="277"/>
                  </a:lnTo>
                  <a:lnTo>
                    <a:pt x="47" y="279"/>
                  </a:lnTo>
                  <a:lnTo>
                    <a:pt x="45" y="281"/>
                  </a:lnTo>
                  <a:lnTo>
                    <a:pt x="47" y="281"/>
                  </a:lnTo>
                  <a:lnTo>
                    <a:pt x="49" y="281"/>
                  </a:lnTo>
                  <a:lnTo>
                    <a:pt x="49" y="282"/>
                  </a:lnTo>
                  <a:lnTo>
                    <a:pt x="47" y="284"/>
                  </a:lnTo>
                  <a:lnTo>
                    <a:pt x="49" y="286"/>
                  </a:lnTo>
                  <a:lnTo>
                    <a:pt x="49" y="288"/>
                  </a:lnTo>
                  <a:lnTo>
                    <a:pt x="45" y="289"/>
                  </a:lnTo>
                  <a:lnTo>
                    <a:pt x="44" y="288"/>
                  </a:lnTo>
                  <a:lnTo>
                    <a:pt x="44" y="289"/>
                  </a:lnTo>
                  <a:lnTo>
                    <a:pt x="42" y="288"/>
                  </a:lnTo>
                  <a:lnTo>
                    <a:pt x="40" y="289"/>
                  </a:lnTo>
                  <a:lnTo>
                    <a:pt x="40" y="288"/>
                  </a:lnTo>
                  <a:lnTo>
                    <a:pt x="42" y="286"/>
                  </a:lnTo>
                  <a:lnTo>
                    <a:pt x="42" y="284"/>
                  </a:lnTo>
                  <a:lnTo>
                    <a:pt x="44" y="284"/>
                  </a:lnTo>
                  <a:lnTo>
                    <a:pt x="44" y="281"/>
                  </a:lnTo>
                  <a:lnTo>
                    <a:pt x="44" y="279"/>
                  </a:lnTo>
                  <a:lnTo>
                    <a:pt x="45" y="277"/>
                  </a:lnTo>
                  <a:lnTo>
                    <a:pt x="45" y="276"/>
                  </a:lnTo>
                  <a:lnTo>
                    <a:pt x="45" y="274"/>
                  </a:lnTo>
                  <a:lnTo>
                    <a:pt x="45" y="271"/>
                  </a:lnTo>
                  <a:lnTo>
                    <a:pt x="47" y="271"/>
                  </a:lnTo>
                  <a:lnTo>
                    <a:pt x="47" y="267"/>
                  </a:lnTo>
                  <a:lnTo>
                    <a:pt x="47" y="265"/>
                  </a:lnTo>
                  <a:lnTo>
                    <a:pt x="47" y="264"/>
                  </a:lnTo>
                  <a:lnTo>
                    <a:pt x="47" y="262"/>
                  </a:lnTo>
                  <a:lnTo>
                    <a:pt x="47" y="260"/>
                  </a:lnTo>
                  <a:lnTo>
                    <a:pt x="47" y="259"/>
                  </a:lnTo>
                  <a:lnTo>
                    <a:pt x="45" y="257"/>
                  </a:lnTo>
                  <a:lnTo>
                    <a:pt x="44" y="253"/>
                  </a:lnTo>
                  <a:lnTo>
                    <a:pt x="45" y="253"/>
                  </a:lnTo>
                  <a:lnTo>
                    <a:pt x="44" y="252"/>
                  </a:lnTo>
                  <a:lnTo>
                    <a:pt x="44" y="248"/>
                  </a:lnTo>
                  <a:lnTo>
                    <a:pt x="44" y="247"/>
                  </a:lnTo>
                  <a:lnTo>
                    <a:pt x="42" y="245"/>
                  </a:lnTo>
                  <a:lnTo>
                    <a:pt x="39" y="245"/>
                  </a:lnTo>
                  <a:lnTo>
                    <a:pt x="35" y="243"/>
                  </a:lnTo>
                  <a:lnTo>
                    <a:pt x="34" y="243"/>
                  </a:lnTo>
                  <a:lnTo>
                    <a:pt x="32" y="240"/>
                  </a:lnTo>
                  <a:lnTo>
                    <a:pt x="34" y="238"/>
                  </a:lnTo>
                  <a:lnTo>
                    <a:pt x="34" y="236"/>
                  </a:lnTo>
                  <a:lnTo>
                    <a:pt x="34" y="233"/>
                  </a:lnTo>
                  <a:lnTo>
                    <a:pt x="32" y="231"/>
                  </a:lnTo>
                  <a:lnTo>
                    <a:pt x="30" y="231"/>
                  </a:lnTo>
                  <a:lnTo>
                    <a:pt x="30" y="230"/>
                  </a:lnTo>
                  <a:lnTo>
                    <a:pt x="28" y="228"/>
                  </a:lnTo>
                  <a:lnTo>
                    <a:pt x="28" y="225"/>
                  </a:lnTo>
                  <a:lnTo>
                    <a:pt x="25" y="223"/>
                  </a:lnTo>
                  <a:lnTo>
                    <a:pt x="27" y="221"/>
                  </a:lnTo>
                  <a:lnTo>
                    <a:pt x="28" y="219"/>
                  </a:lnTo>
                  <a:lnTo>
                    <a:pt x="28" y="218"/>
                  </a:lnTo>
                  <a:lnTo>
                    <a:pt x="30" y="218"/>
                  </a:lnTo>
                  <a:lnTo>
                    <a:pt x="30" y="214"/>
                  </a:lnTo>
                  <a:lnTo>
                    <a:pt x="30" y="213"/>
                  </a:lnTo>
                  <a:lnTo>
                    <a:pt x="30" y="209"/>
                  </a:lnTo>
                  <a:lnTo>
                    <a:pt x="32" y="208"/>
                  </a:lnTo>
                  <a:lnTo>
                    <a:pt x="32" y="206"/>
                  </a:lnTo>
                  <a:lnTo>
                    <a:pt x="32" y="204"/>
                  </a:lnTo>
                  <a:lnTo>
                    <a:pt x="28" y="204"/>
                  </a:lnTo>
                  <a:lnTo>
                    <a:pt x="28" y="202"/>
                  </a:lnTo>
                  <a:lnTo>
                    <a:pt x="28" y="201"/>
                  </a:lnTo>
                  <a:lnTo>
                    <a:pt x="28" y="199"/>
                  </a:lnTo>
                  <a:lnTo>
                    <a:pt x="28" y="197"/>
                  </a:lnTo>
                  <a:lnTo>
                    <a:pt x="28" y="196"/>
                  </a:lnTo>
                  <a:lnTo>
                    <a:pt x="28" y="194"/>
                  </a:lnTo>
                  <a:lnTo>
                    <a:pt x="28" y="192"/>
                  </a:lnTo>
                  <a:lnTo>
                    <a:pt x="27" y="192"/>
                  </a:lnTo>
                  <a:lnTo>
                    <a:pt x="25" y="192"/>
                  </a:lnTo>
                  <a:lnTo>
                    <a:pt x="23" y="192"/>
                  </a:lnTo>
                  <a:lnTo>
                    <a:pt x="23" y="191"/>
                  </a:lnTo>
                  <a:lnTo>
                    <a:pt x="23" y="189"/>
                  </a:lnTo>
                  <a:lnTo>
                    <a:pt x="22" y="187"/>
                  </a:lnTo>
                  <a:lnTo>
                    <a:pt x="22" y="185"/>
                  </a:lnTo>
                  <a:lnTo>
                    <a:pt x="22" y="184"/>
                  </a:lnTo>
                  <a:lnTo>
                    <a:pt x="22" y="180"/>
                  </a:lnTo>
                  <a:lnTo>
                    <a:pt x="23" y="180"/>
                  </a:lnTo>
                  <a:lnTo>
                    <a:pt x="23" y="179"/>
                  </a:lnTo>
                  <a:lnTo>
                    <a:pt x="25" y="175"/>
                  </a:lnTo>
                  <a:lnTo>
                    <a:pt x="23" y="174"/>
                  </a:lnTo>
                  <a:lnTo>
                    <a:pt x="23" y="172"/>
                  </a:lnTo>
                  <a:lnTo>
                    <a:pt x="25" y="170"/>
                  </a:lnTo>
                  <a:lnTo>
                    <a:pt x="23" y="170"/>
                  </a:lnTo>
                  <a:lnTo>
                    <a:pt x="23" y="168"/>
                  </a:lnTo>
                  <a:lnTo>
                    <a:pt x="22" y="167"/>
                  </a:lnTo>
                  <a:lnTo>
                    <a:pt x="18" y="167"/>
                  </a:lnTo>
                  <a:lnTo>
                    <a:pt x="17" y="165"/>
                  </a:lnTo>
                  <a:lnTo>
                    <a:pt x="17" y="163"/>
                  </a:lnTo>
                  <a:lnTo>
                    <a:pt x="15" y="163"/>
                  </a:lnTo>
                  <a:lnTo>
                    <a:pt x="15" y="162"/>
                  </a:lnTo>
                  <a:lnTo>
                    <a:pt x="13" y="160"/>
                  </a:lnTo>
                  <a:lnTo>
                    <a:pt x="11" y="160"/>
                  </a:lnTo>
                  <a:lnTo>
                    <a:pt x="11" y="158"/>
                  </a:lnTo>
                  <a:lnTo>
                    <a:pt x="10" y="158"/>
                  </a:lnTo>
                  <a:lnTo>
                    <a:pt x="8" y="157"/>
                  </a:lnTo>
                  <a:lnTo>
                    <a:pt x="6" y="155"/>
                  </a:lnTo>
                  <a:lnTo>
                    <a:pt x="5" y="155"/>
                  </a:lnTo>
                  <a:lnTo>
                    <a:pt x="3" y="155"/>
                  </a:lnTo>
                  <a:lnTo>
                    <a:pt x="1" y="153"/>
                  </a:lnTo>
                  <a:lnTo>
                    <a:pt x="3" y="151"/>
                  </a:lnTo>
                  <a:lnTo>
                    <a:pt x="3" y="150"/>
                  </a:lnTo>
                  <a:lnTo>
                    <a:pt x="3" y="148"/>
                  </a:lnTo>
                  <a:lnTo>
                    <a:pt x="1" y="146"/>
                  </a:lnTo>
                  <a:lnTo>
                    <a:pt x="1" y="145"/>
                  </a:lnTo>
                  <a:lnTo>
                    <a:pt x="3" y="143"/>
                  </a:lnTo>
                  <a:lnTo>
                    <a:pt x="6" y="143"/>
                  </a:lnTo>
                  <a:lnTo>
                    <a:pt x="6" y="141"/>
                  </a:lnTo>
                  <a:lnTo>
                    <a:pt x="8" y="140"/>
                  </a:lnTo>
                  <a:lnTo>
                    <a:pt x="10" y="138"/>
                  </a:lnTo>
                  <a:lnTo>
                    <a:pt x="11" y="136"/>
                  </a:lnTo>
                  <a:lnTo>
                    <a:pt x="11" y="134"/>
                  </a:lnTo>
                  <a:lnTo>
                    <a:pt x="11" y="131"/>
                  </a:lnTo>
                  <a:lnTo>
                    <a:pt x="10" y="129"/>
                  </a:lnTo>
                  <a:lnTo>
                    <a:pt x="11" y="128"/>
                  </a:lnTo>
                  <a:lnTo>
                    <a:pt x="11" y="126"/>
                  </a:lnTo>
                  <a:lnTo>
                    <a:pt x="13" y="124"/>
                  </a:lnTo>
                  <a:lnTo>
                    <a:pt x="13" y="123"/>
                  </a:lnTo>
                  <a:lnTo>
                    <a:pt x="11" y="123"/>
                  </a:lnTo>
                  <a:lnTo>
                    <a:pt x="11" y="119"/>
                  </a:lnTo>
                  <a:lnTo>
                    <a:pt x="11" y="117"/>
                  </a:lnTo>
                  <a:lnTo>
                    <a:pt x="11" y="116"/>
                  </a:lnTo>
                  <a:lnTo>
                    <a:pt x="10" y="112"/>
                  </a:lnTo>
                  <a:lnTo>
                    <a:pt x="10" y="111"/>
                  </a:lnTo>
                  <a:lnTo>
                    <a:pt x="10" y="109"/>
                  </a:lnTo>
                  <a:lnTo>
                    <a:pt x="8" y="109"/>
                  </a:lnTo>
                  <a:lnTo>
                    <a:pt x="8" y="107"/>
                  </a:lnTo>
                  <a:lnTo>
                    <a:pt x="8" y="106"/>
                  </a:lnTo>
                  <a:lnTo>
                    <a:pt x="6" y="104"/>
                  </a:lnTo>
                  <a:lnTo>
                    <a:pt x="6" y="102"/>
                  </a:lnTo>
                  <a:lnTo>
                    <a:pt x="6" y="100"/>
                  </a:lnTo>
                  <a:lnTo>
                    <a:pt x="6" y="99"/>
                  </a:lnTo>
                  <a:lnTo>
                    <a:pt x="5" y="97"/>
                  </a:lnTo>
                  <a:lnTo>
                    <a:pt x="5" y="95"/>
                  </a:lnTo>
                  <a:lnTo>
                    <a:pt x="5" y="94"/>
                  </a:lnTo>
                  <a:lnTo>
                    <a:pt x="6" y="92"/>
                  </a:lnTo>
                  <a:lnTo>
                    <a:pt x="5" y="90"/>
                  </a:lnTo>
                  <a:lnTo>
                    <a:pt x="6" y="90"/>
                  </a:lnTo>
                  <a:lnTo>
                    <a:pt x="8" y="92"/>
                  </a:lnTo>
                  <a:lnTo>
                    <a:pt x="10" y="94"/>
                  </a:lnTo>
                  <a:lnTo>
                    <a:pt x="11" y="94"/>
                  </a:lnTo>
                  <a:lnTo>
                    <a:pt x="15" y="95"/>
                  </a:lnTo>
                  <a:lnTo>
                    <a:pt x="17" y="99"/>
                  </a:lnTo>
                  <a:lnTo>
                    <a:pt x="18" y="100"/>
                  </a:lnTo>
                  <a:lnTo>
                    <a:pt x="18" y="97"/>
                  </a:lnTo>
                  <a:lnTo>
                    <a:pt x="18" y="95"/>
                  </a:lnTo>
                  <a:lnTo>
                    <a:pt x="17" y="95"/>
                  </a:lnTo>
                  <a:lnTo>
                    <a:pt x="15" y="94"/>
                  </a:lnTo>
                  <a:lnTo>
                    <a:pt x="15" y="92"/>
                  </a:lnTo>
                  <a:lnTo>
                    <a:pt x="17" y="90"/>
                  </a:lnTo>
                  <a:lnTo>
                    <a:pt x="17" y="88"/>
                  </a:lnTo>
                  <a:lnTo>
                    <a:pt x="17" y="87"/>
                  </a:lnTo>
                  <a:lnTo>
                    <a:pt x="17" y="88"/>
                  </a:lnTo>
                  <a:lnTo>
                    <a:pt x="18" y="87"/>
                  </a:lnTo>
                  <a:lnTo>
                    <a:pt x="18" y="85"/>
                  </a:lnTo>
                  <a:lnTo>
                    <a:pt x="18" y="83"/>
                  </a:lnTo>
                  <a:lnTo>
                    <a:pt x="18" y="82"/>
                  </a:lnTo>
                  <a:lnTo>
                    <a:pt x="18" y="80"/>
                  </a:lnTo>
                  <a:lnTo>
                    <a:pt x="20" y="78"/>
                  </a:lnTo>
                  <a:lnTo>
                    <a:pt x="22" y="77"/>
                  </a:lnTo>
                  <a:lnTo>
                    <a:pt x="22" y="75"/>
                  </a:lnTo>
                  <a:lnTo>
                    <a:pt x="23" y="75"/>
                  </a:lnTo>
                  <a:lnTo>
                    <a:pt x="23" y="73"/>
                  </a:lnTo>
                  <a:lnTo>
                    <a:pt x="25" y="71"/>
                  </a:lnTo>
                  <a:lnTo>
                    <a:pt x="23" y="71"/>
                  </a:lnTo>
                  <a:lnTo>
                    <a:pt x="25" y="70"/>
                  </a:lnTo>
                  <a:lnTo>
                    <a:pt x="25" y="68"/>
                  </a:lnTo>
                  <a:lnTo>
                    <a:pt x="23" y="68"/>
                  </a:lnTo>
                  <a:lnTo>
                    <a:pt x="22" y="70"/>
                  </a:lnTo>
                  <a:lnTo>
                    <a:pt x="22" y="68"/>
                  </a:lnTo>
                  <a:lnTo>
                    <a:pt x="25" y="68"/>
                  </a:lnTo>
                  <a:lnTo>
                    <a:pt x="27" y="66"/>
                  </a:lnTo>
                  <a:lnTo>
                    <a:pt x="28" y="66"/>
                  </a:lnTo>
                  <a:lnTo>
                    <a:pt x="32" y="65"/>
                  </a:lnTo>
                  <a:lnTo>
                    <a:pt x="35" y="63"/>
                  </a:lnTo>
                  <a:lnTo>
                    <a:pt x="37" y="63"/>
                  </a:lnTo>
                  <a:lnTo>
                    <a:pt x="39" y="61"/>
                  </a:lnTo>
                  <a:lnTo>
                    <a:pt x="40" y="61"/>
                  </a:lnTo>
                  <a:lnTo>
                    <a:pt x="42" y="60"/>
                  </a:lnTo>
                  <a:lnTo>
                    <a:pt x="44" y="58"/>
                  </a:lnTo>
                  <a:lnTo>
                    <a:pt x="45" y="58"/>
                  </a:lnTo>
                  <a:lnTo>
                    <a:pt x="47" y="58"/>
                  </a:lnTo>
                  <a:lnTo>
                    <a:pt x="49" y="58"/>
                  </a:lnTo>
                  <a:lnTo>
                    <a:pt x="52" y="56"/>
                  </a:lnTo>
                  <a:lnTo>
                    <a:pt x="54" y="54"/>
                  </a:lnTo>
                  <a:lnTo>
                    <a:pt x="56" y="54"/>
                  </a:lnTo>
                  <a:lnTo>
                    <a:pt x="57" y="54"/>
                  </a:lnTo>
                  <a:lnTo>
                    <a:pt x="59" y="54"/>
                  </a:lnTo>
                  <a:lnTo>
                    <a:pt x="61" y="53"/>
                  </a:lnTo>
                  <a:lnTo>
                    <a:pt x="62" y="53"/>
                  </a:lnTo>
                  <a:lnTo>
                    <a:pt x="66" y="51"/>
                  </a:lnTo>
                  <a:lnTo>
                    <a:pt x="68" y="49"/>
                  </a:lnTo>
                  <a:lnTo>
                    <a:pt x="69" y="49"/>
                  </a:lnTo>
                  <a:lnTo>
                    <a:pt x="71" y="49"/>
                  </a:lnTo>
                  <a:lnTo>
                    <a:pt x="73" y="49"/>
                  </a:lnTo>
                  <a:lnTo>
                    <a:pt x="76" y="48"/>
                  </a:lnTo>
                  <a:lnTo>
                    <a:pt x="78" y="46"/>
                  </a:lnTo>
                  <a:lnTo>
                    <a:pt x="76" y="48"/>
                  </a:lnTo>
                  <a:lnTo>
                    <a:pt x="74" y="49"/>
                  </a:lnTo>
                  <a:lnTo>
                    <a:pt x="76" y="48"/>
                  </a:lnTo>
                  <a:lnTo>
                    <a:pt x="78" y="49"/>
                  </a:lnTo>
                  <a:lnTo>
                    <a:pt x="79" y="48"/>
                  </a:lnTo>
                  <a:lnTo>
                    <a:pt x="81" y="46"/>
                  </a:lnTo>
                  <a:lnTo>
                    <a:pt x="79" y="44"/>
                  </a:lnTo>
                  <a:lnTo>
                    <a:pt x="78" y="46"/>
                  </a:lnTo>
                  <a:lnTo>
                    <a:pt x="79" y="44"/>
                  </a:lnTo>
                  <a:lnTo>
                    <a:pt x="81" y="44"/>
                  </a:lnTo>
                  <a:lnTo>
                    <a:pt x="81" y="43"/>
                  </a:lnTo>
                  <a:lnTo>
                    <a:pt x="83" y="41"/>
                  </a:lnTo>
                  <a:lnTo>
                    <a:pt x="85" y="39"/>
                  </a:lnTo>
                  <a:lnTo>
                    <a:pt x="85" y="37"/>
                  </a:lnTo>
                  <a:lnTo>
                    <a:pt x="86" y="34"/>
                  </a:lnTo>
                  <a:lnTo>
                    <a:pt x="88" y="34"/>
                  </a:lnTo>
                  <a:lnTo>
                    <a:pt x="88" y="32"/>
                  </a:lnTo>
                  <a:lnTo>
                    <a:pt x="88" y="31"/>
                  </a:lnTo>
                  <a:lnTo>
                    <a:pt x="90" y="29"/>
                  </a:lnTo>
                  <a:lnTo>
                    <a:pt x="91" y="27"/>
                  </a:lnTo>
                  <a:lnTo>
                    <a:pt x="93" y="27"/>
                  </a:lnTo>
                  <a:lnTo>
                    <a:pt x="95" y="26"/>
                  </a:lnTo>
                  <a:lnTo>
                    <a:pt x="98" y="26"/>
                  </a:lnTo>
                  <a:lnTo>
                    <a:pt x="98" y="24"/>
                  </a:lnTo>
                  <a:lnTo>
                    <a:pt x="102" y="24"/>
                  </a:lnTo>
                  <a:lnTo>
                    <a:pt x="103" y="24"/>
                  </a:lnTo>
                  <a:lnTo>
                    <a:pt x="103" y="22"/>
                  </a:lnTo>
                  <a:lnTo>
                    <a:pt x="105" y="22"/>
                  </a:lnTo>
                  <a:lnTo>
                    <a:pt x="107" y="22"/>
                  </a:lnTo>
                  <a:lnTo>
                    <a:pt x="108" y="20"/>
                  </a:lnTo>
                  <a:lnTo>
                    <a:pt x="110" y="19"/>
                  </a:lnTo>
                  <a:lnTo>
                    <a:pt x="112" y="17"/>
                  </a:lnTo>
                  <a:lnTo>
                    <a:pt x="113" y="15"/>
                  </a:lnTo>
                  <a:lnTo>
                    <a:pt x="115" y="15"/>
                  </a:lnTo>
                  <a:lnTo>
                    <a:pt x="117" y="14"/>
                  </a:lnTo>
                  <a:lnTo>
                    <a:pt x="117" y="12"/>
                  </a:lnTo>
                  <a:lnTo>
                    <a:pt x="119" y="12"/>
                  </a:lnTo>
                  <a:lnTo>
                    <a:pt x="120" y="10"/>
                  </a:lnTo>
                  <a:lnTo>
                    <a:pt x="124" y="10"/>
                  </a:lnTo>
                  <a:lnTo>
                    <a:pt x="125" y="9"/>
                  </a:lnTo>
                  <a:lnTo>
                    <a:pt x="129" y="9"/>
                  </a:lnTo>
                  <a:lnTo>
                    <a:pt x="130" y="7"/>
                  </a:lnTo>
                  <a:lnTo>
                    <a:pt x="132" y="7"/>
                  </a:lnTo>
                  <a:lnTo>
                    <a:pt x="134" y="7"/>
                  </a:lnTo>
                  <a:lnTo>
                    <a:pt x="137" y="5"/>
                  </a:lnTo>
                  <a:lnTo>
                    <a:pt x="139" y="3"/>
                  </a:lnTo>
                  <a:lnTo>
                    <a:pt x="142" y="3"/>
                  </a:lnTo>
                  <a:lnTo>
                    <a:pt x="144" y="2"/>
                  </a:lnTo>
                  <a:lnTo>
                    <a:pt x="146" y="2"/>
                  </a:lnTo>
                  <a:lnTo>
                    <a:pt x="147" y="2"/>
                  </a:lnTo>
                  <a:lnTo>
                    <a:pt x="151" y="0"/>
                  </a:lnTo>
                  <a:lnTo>
                    <a:pt x="153" y="0"/>
                  </a:lnTo>
                  <a:lnTo>
                    <a:pt x="154" y="0"/>
                  </a:lnTo>
                  <a:lnTo>
                    <a:pt x="156" y="0"/>
                  </a:lnTo>
                  <a:lnTo>
                    <a:pt x="158" y="0"/>
                  </a:lnTo>
                  <a:lnTo>
                    <a:pt x="161" y="0"/>
                  </a:lnTo>
                  <a:lnTo>
                    <a:pt x="163" y="0"/>
                  </a:lnTo>
                  <a:lnTo>
                    <a:pt x="164" y="0"/>
                  </a:lnTo>
                  <a:lnTo>
                    <a:pt x="166" y="2"/>
                  </a:lnTo>
                  <a:lnTo>
                    <a:pt x="168" y="2"/>
                  </a:lnTo>
                  <a:lnTo>
                    <a:pt x="168" y="3"/>
                  </a:lnTo>
                  <a:lnTo>
                    <a:pt x="171" y="3"/>
                  </a:lnTo>
                  <a:lnTo>
                    <a:pt x="173" y="5"/>
                  </a:lnTo>
                  <a:lnTo>
                    <a:pt x="175" y="5"/>
                  </a:lnTo>
                  <a:lnTo>
                    <a:pt x="176" y="7"/>
                  </a:lnTo>
                  <a:lnTo>
                    <a:pt x="178" y="7"/>
                  </a:lnTo>
                  <a:lnTo>
                    <a:pt x="180" y="9"/>
                  </a:lnTo>
                  <a:lnTo>
                    <a:pt x="181" y="10"/>
                  </a:lnTo>
                  <a:lnTo>
                    <a:pt x="183" y="12"/>
                  </a:lnTo>
                  <a:lnTo>
                    <a:pt x="183" y="14"/>
                  </a:lnTo>
                  <a:lnTo>
                    <a:pt x="181" y="12"/>
                  </a:lnTo>
                  <a:lnTo>
                    <a:pt x="181" y="10"/>
                  </a:lnTo>
                  <a:lnTo>
                    <a:pt x="180" y="10"/>
                  </a:lnTo>
                  <a:lnTo>
                    <a:pt x="178" y="9"/>
                  </a:lnTo>
                  <a:lnTo>
                    <a:pt x="176" y="7"/>
                  </a:lnTo>
                  <a:lnTo>
                    <a:pt x="175" y="5"/>
                  </a:lnTo>
                  <a:lnTo>
                    <a:pt x="173" y="5"/>
                  </a:lnTo>
                  <a:lnTo>
                    <a:pt x="171" y="5"/>
                  </a:lnTo>
                  <a:lnTo>
                    <a:pt x="171" y="3"/>
                  </a:lnTo>
                  <a:lnTo>
                    <a:pt x="170" y="3"/>
                  </a:lnTo>
                  <a:lnTo>
                    <a:pt x="168" y="3"/>
                  </a:lnTo>
                  <a:lnTo>
                    <a:pt x="166" y="2"/>
                  </a:lnTo>
                  <a:lnTo>
                    <a:pt x="166" y="3"/>
                  </a:lnTo>
                  <a:lnTo>
                    <a:pt x="166" y="5"/>
                  </a:lnTo>
                  <a:lnTo>
                    <a:pt x="166" y="7"/>
                  </a:lnTo>
                  <a:lnTo>
                    <a:pt x="170" y="9"/>
                  </a:lnTo>
                  <a:lnTo>
                    <a:pt x="170" y="10"/>
                  </a:lnTo>
                  <a:lnTo>
                    <a:pt x="170" y="12"/>
                  </a:lnTo>
                  <a:lnTo>
                    <a:pt x="171" y="12"/>
                  </a:lnTo>
                  <a:lnTo>
                    <a:pt x="171" y="14"/>
                  </a:lnTo>
                  <a:lnTo>
                    <a:pt x="173" y="15"/>
                  </a:lnTo>
                  <a:lnTo>
                    <a:pt x="175" y="19"/>
                  </a:lnTo>
                  <a:lnTo>
                    <a:pt x="173" y="20"/>
                  </a:lnTo>
                  <a:lnTo>
                    <a:pt x="175" y="20"/>
                  </a:lnTo>
                  <a:lnTo>
                    <a:pt x="173" y="20"/>
                  </a:lnTo>
                  <a:lnTo>
                    <a:pt x="175" y="22"/>
                  </a:lnTo>
                  <a:lnTo>
                    <a:pt x="175" y="26"/>
                  </a:lnTo>
                  <a:lnTo>
                    <a:pt x="176" y="26"/>
                  </a:lnTo>
                  <a:lnTo>
                    <a:pt x="178" y="27"/>
                  </a:lnTo>
                  <a:lnTo>
                    <a:pt x="180" y="27"/>
                  </a:lnTo>
                  <a:lnTo>
                    <a:pt x="181" y="27"/>
                  </a:lnTo>
                  <a:lnTo>
                    <a:pt x="180" y="27"/>
                  </a:lnTo>
                  <a:lnTo>
                    <a:pt x="181" y="29"/>
                  </a:lnTo>
                  <a:lnTo>
                    <a:pt x="185" y="29"/>
                  </a:lnTo>
                  <a:lnTo>
                    <a:pt x="187" y="31"/>
                  </a:lnTo>
                  <a:lnTo>
                    <a:pt x="190" y="31"/>
                  </a:lnTo>
                  <a:lnTo>
                    <a:pt x="192" y="29"/>
                  </a:lnTo>
                  <a:lnTo>
                    <a:pt x="193" y="31"/>
                  </a:lnTo>
                  <a:lnTo>
                    <a:pt x="195" y="31"/>
                  </a:lnTo>
                  <a:lnTo>
                    <a:pt x="198" y="29"/>
                  </a:lnTo>
                  <a:lnTo>
                    <a:pt x="200" y="29"/>
                  </a:lnTo>
                  <a:lnTo>
                    <a:pt x="202" y="29"/>
                  </a:lnTo>
                  <a:lnTo>
                    <a:pt x="204" y="27"/>
                  </a:lnTo>
                  <a:lnTo>
                    <a:pt x="205" y="27"/>
                  </a:lnTo>
                  <a:lnTo>
                    <a:pt x="209" y="26"/>
                  </a:lnTo>
                  <a:lnTo>
                    <a:pt x="210" y="26"/>
                  </a:lnTo>
                  <a:lnTo>
                    <a:pt x="212" y="24"/>
                  </a:lnTo>
                  <a:lnTo>
                    <a:pt x="214" y="22"/>
                  </a:lnTo>
                  <a:lnTo>
                    <a:pt x="215" y="20"/>
                  </a:lnTo>
                  <a:lnTo>
                    <a:pt x="217" y="20"/>
                  </a:lnTo>
                  <a:lnTo>
                    <a:pt x="219" y="19"/>
                  </a:lnTo>
                  <a:close/>
                  <a:moveTo>
                    <a:pt x="23" y="70"/>
                  </a:moveTo>
                  <a:lnTo>
                    <a:pt x="22" y="70"/>
                  </a:lnTo>
                  <a:lnTo>
                    <a:pt x="20" y="71"/>
                  </a:lnTo>
                  <a:lnTo>
                    <a:pt x="20" y="75"/>
                  </a:lnTo>
                  <a:lnTo>
                    <a:pt x="20" y="77"/>
                  </a:lnTo>
                  <a:lnTo>
                    <a:pt x="18" y="78"/>
                  </a:lnTo>
                  <a:lnTo>
                    <a:pt x="18" y="80"/>
                  </a:lnTo>
                  <a:lnTo>
                    <a:pt x="18" y="83"/>
                  </a:lnTo>
                  <a:lnTo>
                    <a:pt x="17" y="83"/>
                  </a:lnTo>
                  <a:lnTo>
                    <a:pt x="17" y="85"/>
                  </a:lnTo>
                  <a:lnTo>
                    <a:pt x="17" y="83"/>
                  </a:lnTo>
                  <a:lnTo>
                    <a:pt x="17" y="82"/>
                  </a:lnTo>
                  <a:lnTo>
                    <a:pt x="15" y="82"/>
                  </a:lnTo>
                  <a:lnTo>
                    <a:pt x="13" y="82"/>
                  </a:lnTo>
                  <a:lnTo>
                    <a:pt x="11" y="80"/>
                  </a:lnTo>
                  <a:lnTo>
                    <a:pt x="10" y="82"/>
                  </a:lnTo>
                  <a:lnTo>
                    <a:pt x="10" y="80"/>
                  </a:lnTo>
                  <a:lnTo>
                    <a:pt x="10" y="78"/>
                  </a:lnTo>
                  <a:lnTo>
                    <a:pt x="10" y="80"/>
                  </a:lnTo>
                  <a:lnTo>
                    <a:pt x="8" y="80"/>
                  </a:lnTo>
                  <a:lnTo>
                    <a:pt x="8" y="82"/>
                  </a:lnTo>
                  <a:lnTo>
                    <a:pt x="6" y="80"/>
                  </a:lnTo>
                  <a:lnTo>
                    <a:pt x="5" y="82"/>
                  </a:lnTo>
                  <a:lnTo>
                    <a:pt x="5" y="80"/>
                  </a:lnTo>
                  <a:lnTo>
                    <a:pt x="3" y="78"/>
                  </a:lnTo>
                  <a:lnTo>
                    <a:pt x="5" y="77"/>
                  </a:lnTo>
                  <a:lnTo>
                    <a:pt x="6" y="78"/>
                  </a:lnTo>
                  <a:lnTo>
                    <a:pt x="8" y="77"/>
                  </a:lnTo>
                  <a:lnTo>
                    <a:pt x="10" y="77"/>
                  </a:lnTo>
                  <a:lnTo>
                    <a:pt x="13" y="73"/>
                  </a:lnTo>
                  <a:lnTo>
                    <a:pt x="17" y="71"/>
                  </a:lnTo>
                  <a:lnTo>
                    <a:pt x="18" y="71"/>
                  </a:lnTo>
                  <a:lnTo>
                    <a:pt x="20" y="70"/>
                  </a:lnTo>
                  <a:lnTo>
                    <a:pt x="22" y="70"/>
                  </a:lnTo>
                  <a:lnTo>
                    <a:pt x="23" y="68"/>
                  </a:lnTo>
                  <a:lnTo>
                    <a:pt x="23" y="70"/>
                  </a:lnTo>
                  <a:close/>
                  <a:moveTo>
                    <a:pt x="1" y="82"/>
                  </a:moveTo>
                  <a:lnTo>
                    <a:pt x="1" y="78"/>
                  </a:lnTo>
                  <a:lnTo>
                    <a:pt x="0" y="78"/>
                  </a:lnTo>
                  <a:lnTo>
                    <a:pt x="1" y="77"/>
                  </a:lnTo>
                  <a:lnTo>
                    <a:pt x="3" y="77"/>
                  </a:lnTo>
                  <a:lnTo>
                    <a:pt x="3" y="78"/>
                  </a:lnTo>
                  <a:lnTo>
                    <a:pt x="3" y="82"/>
                  </a:lnTo>
                  <a:lnTo>
                    <a:pt x="3" y="80"/>
                  </a:lnTo>
                  <a:lnTo>
                    <a:pt x="5" y="82"/>
                  </a:lnTo>
                  <a:lnTo>
                    <a:pt x="6" y="85"/>
                  </a:lnTo>
                  <a:lnTo>
                    <a:pt x="5" y="83"/>
                  </a:lnTo>
                  <a:lnTo>
                    <a:pt x="1" y="82"/>
                  </a:lnTo>
                  <a:close/>
                  <a:moveTo>
                    <a:pt x="6" y="82"/>
                  </a:moveTo>
                  <a:lnTo>
                    <a:pt x="8" y="82"/>
                  </a:lnTo>
                  <a:lnTo>
                    <a:pt x="6" y="83"/>
                  </a:lnTo>
                  <a:lnTo>
                    <a:pt x="6" y="85"/>
                  </a:lnTo>
                  <a:lnTo>
                    <a:pt x="5" y="83"/>
                  </a:lnTo>
                  <a:lnTo>
                    <a:pt x="5" y="82"/>
                  </a:lnTo>
                  <a:lnTo>
                    <a:pt x="6" y="82"/>
                  </a:lnTo>
                  <a:close/>
                  <a:moveTo>
                    <a:pt x="23" y="73"/>
                  </a:moveTo>
                  <a:lnTo>
                    <a:pt x="22" y="75"/>
                  </a:lnTo>
                  <a:lnTo>
                    <a:pt x="22" y="71"/>
                  </a:lnTo>
                  <a:lnTo>
                    <a:pt x="23" y="73"/>
                  </a:lnTo>
                  <a:close/>
                  <a:moveTo>
                    <a:pt x="8" y="82"/>
                  </a:moveTo>
                  <a:lnTo>
                    <a:pt x="10" y="82"/>
                  </a:lnTo>
                  <a:lnTo>
                    <a:pt x="10" y="83"/>
                  </a:lnTo>
                  <a:lnTo>
                    <a:pt x="8" y="83"/>
                  </a:lnTo>
                  <a:lnTo>
                    <a:pt x="8" y="82"/>
                  </a:lnTo>
                  <a:close/>
                  <a:moveTo>
                    <a:pt x="3" y="80"/>
                  </a:moveTo>
                  <a:lnTo>
                    <a:pt x="5" y="82"/>
                  </a:lnTo>
                  <a:lnTo>
                    <a:pt x="3" y="82"/>
                  </a:lnTo>
                  <a:lnTo>
                    <a:pt x="3" y="8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05" name="Freeform 35">
              <a:extLst>
                <a:ext uri="{FF2B5EF4-FFF2-40B4-BE49-F238E27FC236}">
                  <a16:creationId xmlns:a16="http://schemas.microsoft.com/office/drawing/2014/main" id="{4E1E672E-E9EF-4FF1-A076-BE1B9E3506D5}"/>
                </a:ext>
              </a:extLst>
            </p:cNvPr>
            <p:cNvSpPr>
              <a:spLocks noEditPoints="1"/>
            </p:cNvSpPr>
            <p:nvPr/>
          </p:nvSpPr>
          <p:spPr bwMode="gray">
            <a:xfrm>
              <a:off x="10037459" y="3305694"/>
              <a:ext cx="2370193" cy="1623582"/>
            </a:xfrm>
            <a:custGeom>
              <a:avLst/>
              <a:gdLst>
                <a:gd name="T0" fmla="*/ 702 w 800"/>
                <a:gd name="T1" fmla="*/ 315 h 548"/>
                <a:gd name="T2" fmla="*/ 663 w 800"/>
                <a:gd name="T3" fmla="*/ 343 h 548"/>
                <a:gd name="T4" fmla="*/ 642 w 800"/>
                <a:gd name="T5" fmla="*/ 381 h 548"/>
                <a:gd name="T6" fmla="*/ 608 w 800"/>
                <a:gd name="T7" fmla="*/ 412 h 548"/>
                <a:gd name="T8" fmla="*/ 600 w 800"/>
                <a:gd name="T9" fmla="*/ 410 h 548"/>
                <a:gd name="T10" fmla="*/ 617 w 800"/>
                <a:gd name="T11" fmla="*/ 413 h 548"/>
                <a:gd name="T12" fmla="*/ 641 w 800"/>
                <a:gd name="T13" fmla="*/ 425 h 548"/>
                <a:gd name="T14" fmla="*/ 659 w 800"/>
                <a:gd name="T15" fmla="*/ 435 h 548"/>
                <a:gd name="T16" fmla="*/ 629 w 800"/>
                <a:gd name="T17" fmla="*/ 405 h 548"/>
                <a:gd name="T18" fmla="*/ 695 w 800"/>
                <a:gd name="T19" fmla="*/ 429 h 548"/>
                <a:gd name="T20" fmla="*/ 712 w 800"/>
                <a:gd name="T21" fmla="*/ 447 h 548"/>
                <a:gd name="T22" fmla="*/ 651 w 800"/>
                <a:gd name="T23" fmla="*/ 486 h 548"/>
                <a:gd name="T24" fmla="*/ 595 w 800"/>
                <a:gd name="T25" fmla="*/ 522 h 548"/>
                <a:gd name="T26" fmla="*/ 564 w 800"/>
                <a:gd name="T27" fmla="*/ 485 h 548"/>
                <a:gd name="T28" fmla="*/ 539 w 800"/>
                <a:gd name="T29" fmla="*/ 471 h 548"/>
                <a:gd name="T30" fmla="*/ 580 w 800"/>
                <a:gd name="T31" fmla="*/ 429 h 548"/>
                <a:gd name="T32" fmla="*/ 537 w 800"/>
                <a:gd name="T33" fmla="*/ 430 h 548"/>
                <a:gd name="T34" fmla="*/ 496 w 800"/>
                <a:gd name="T35" fmla="*/ 439 h 548"/>
                <a:gd name="T36" fmla="*/ 483 w 800"/>
                <a:gd name="T37" fmla="*/ 420 h 548"/>
                <a:gd name="T38" fmla="*/ 503 w 800"/>
                <a:gd name="T39" fmla="*/ 415 h 548"/>
                <a:gd name="T40" fmla="*/ 501 w 800"/>
                <a:gd name="T41" fmla="*/ 408 h 548"/>
                <a:gd name="T42" fmla="*/ 459 w 800"/>
                <a:gd name="T43" fmla="*/ 415 h 548"/>
                <a:gd name="T44" fmla="*/ 430 w 800"/>
                <a:gd name="T45" fmla="*/ 439 h 548"/>
                <a:gd name="T46" fmla="*/ 396 w 800"/>
                <a:gd name="T47" fmla="*/ 519 h 548"/>
                <a:gd name="T48" fmla="*/ 347 w 800"/>
                <a:gd name="T49" fmla="*/ 548 h 548"/>
                <a:gd name="T50" fmla="*/ 348 w 800"/>
                <a:gd name="T51" fmla="*/ 495 h 548"/>
                <a:gd name="T52" fmla="*/ 364 w 800"/>
                <a:gd name="T53" fmla="*/ 456 h 548"/>
                <a:gd name="T54" fmla="*/ 394 w 800"/>
                <a:gd name="T55" fmla="*/ 447 h 548"/>
                <a:gd name="T56" fmla="*/ 359 w 800"/>
                <a:gd name="T57" fmla="*/ 410 h 548"/>
                <a:gd name="T58" fmla="*/ 333 w 800"/>
                <a:gd name="T59" fmla="*/ 372 h 548"/>
                <a:gd name="T60" fmla="*/ 287 w 800"/>
                <a:gd name="T61" fmla="*/ 354 h 548"/>
                <a:gd name="T62" fmla="*/ 229 w 800"/>
                <a:gd name="T63" fmla="*/ 352 h 548"/>
                <a:gd name="T64" fmla="*/ 183 w 800"/>
                <a:gd name="T65" fmla="*/ 391 h 548"/>
                <a:gd name="T66" fmla="*/ 115 w 800"/>
                <a:gd name="T67" fmla="*/ 406 h 548"/>
                <a:gd name="T68" fmla="*/ 49 w 800"/>
                <a:gd name="T69" fmla="*/ 413 h 548"/>
                <a:gd name="T70" fmla="*/ 0 w 800"/>
                <a:gd name="T71" fmla="*/ 384 h 548"/>
                <a:gd name="T72" fmla="*/ 17 w 800"/>
                <a:gd name="T73" fmla="*/ 326 h 548"/>
                <a:gd name="T74" fmla="*/ 49 w 800"/>
                <a:gd name="T75" fmla="*/ 245 h 548"/>
                <a:gd name="T76" fmla="*/ 41 w 800"/>
                <a:gd name="T77" fmla="*/ 192 h 548"/>
                <a:gd name="T78" fmla="*/ 54 w 800"/>
                <a:gd name="T79" fmla="*/ 143 h 548"/>
                <a:gd name="T80" fmla="*/ 131 w 800"/>
                <a:gd name="T81" fmla="*/ 124 h 548"/>
                <a:gd name="T82" fmla="*/ 199 w 800"/>
                <a:gd name="T83" fmla="*/ 131 h 548"/>
                <a:gd name="T84" fmla="*/ 246 w 800"/>
                <a:gd name="T85" fmla="*/ 121 h 548"/>
                <a:gd name="T86" fmla="*/ 292 w 800"/>
                <a:gd name="T87" fmla="*/ 110 h 548"/>
                <a:gd name="T88" fmla="*/ 318 w 800"/>
                <a:gd name="T89" fmla="*/ 90 h 548"/>
                <a:gd name="T90" fmla="*/ 348 w 800"/>
                <a:gd name="T91" fmla="*/ 47 h 548"/>
                <a:gd name="T92" fmla="*/ 398 w 800"/>
                <a:gd name="T93" fmla="*/ 20 h 548"/>
                <a:gd name="T94" fmla="*/ 452 w 800"/>
                <a:gd name="T95" fmla="*/ 12 h 548"/>
                <a:gd name="T96" fmla="*/ 481 w 800"/>
                <a:gd name="T97" fmla="*/ 63 h 548"/>
                <a:gd name="T98" fmla="*/ 532 w 800"/>
                <a:gd name="T99" fmla="*/ 64 h 548"/>
                <a:gd name="T100" fmla="*/ 569 w 800"/>
                <a:gd name="T101" fmla="*/ 97 h 548"/>
                <a:gd name="T102" fmla="*/ 634 w 800"/>
                <a:gd name="T103" fmla="*/ 75 h 548"/>
                <a:gd name="T104" fmla="*/ 688 w 800"/>
                <a:gd name="T105" fmla="*/ 85 h 548"/>
                <a:gd name="T106" fmla="*/ 755 w 800"/>
                <a:gd name="T107" fmla="*/ 87 h 548"/>
                <a:gd name="T108" fmla="*/ 770 w 800"/>
                <a:gd name="T109" fmla="*/ 129 h 548"/>
                <a:gd name="T110" fmla="*/ 792 w 800"/>
                <a:gd name="T111" fmla="*/ 161 h 548"/>
                <a:gd name="T112" fmla="*/ 770 w 800"/>
                <a:gd name="T113" fmla="*/ 211 h 548"/>
                <a:gd name="T114" fmla="*/ 751 w 800"/>
                <a:gd name="T115" fmla="*/ 270 h 548"/>
                <a:gd name="T116" fmla="*/ 505 w 800"/>
                <a:gd name="T117" fmla="*/ 408 h 548"/>
                <a:gd name="T118" fmla="*/ 467 w 800"/>
                <a:gd name="T119" fmla="*/ 437 h 548"/>
                <a:gd name="T120" fmla="*/ 624 w 800"/>
                <a:gd name="T121" fmla="*/ 408 h 548"/>
                <a:gd name="T122" fmla="*/ 401 w 800"/>
                <a:gd name="T123" fmla="*/ 519 h 548"/>
                <a:gd name="T124" fmla="*/ 399 w 800"/>
                <a:gd name="T125" fmla="*/ 517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0" h="548">
                  <a:moveTo>
                    <a:pt x="753" y="274"/>
                  </a:moveTo>
                  <a:lnTo>
                    <a:pt x="751" y="275"/>
                  </a:lnTo>
                  <a:lnTo>
                    <a:pt x="751" y="279"/>
                  </a:lnTo>
                  <a:lnTo>
                    <a:pt x="750" y="281"/>
                  </a:lnTo>
                  <a:lnTo>
                    <a:pt x="750" y="282"/>
                  </a:lnTo>
                  <a:lnTo>
                    <a:pt x="750" y="281"/>
                  </a:lnTo>
                  <a:lnTo>
                    <a:pt x="750" y="279"/>
                  </a:lnTo>
                  <a:lnTo>
                    <a:pt x="748" y="277"/>
                  </a:lnTo>
                  <a:lnTo>
                    <a:pt x="746" y="277"/>
                  </a:lnTo>
                  <a:lnTo>
                    <a:pt x="744" y="279"/>
                  </a:lnTo>
                  <a:lnTo>
                    <a:pt x="743" y="279"/>
                  </a:lnTo>
                  <a:lnTo>
                    <a:pt x="743" y="281"/>
                  </a:lnTo>
                  <a:lnTo>
                    <a:pt x="741" y="281"/>
                  </a:lnTo>
                  <a:lnTo>
                    <a:pt x="738" y="281"/>
                  </a:lnTo>
                  <a:lnTo>
                    <a:pt x="736" y="282"/>
                  </a:lnTo>
                  <a:lnTo>
                    <a:pt x="734" y="284"/>
                  </a:lnTo>
                  <a:lnTo>
                    <a:pt x="733" y="284"/>
                  </a:lnTo>
                  <a:lnTo>
                    <a:pt x="731" y="286"/>
                  </a:lnTo>
                  <a:lnTo>
                    <a:pt x="729" y="286"/>
                  </a:lnTo>
                  <a:lnTo>
                    <a:pt x="727" y="286"/>
                  </a:lnTo>
                  <a:lnTo>
                    <a:pt x="726" y="287"/>
                  </a:lnTo>
                  <a:lnTo>
                    <a:pt x="724" y="286"/>
                  </a:lnTo>
                  <a:lnTo>
                    <a:pt x="724" y="287"/>
                  </a:lnTo>
                  <a:lnTo>
                    <a:pt x="722" y="289"/>
                  </a:lnTo>
                  <a:lnTo>
                    <a:pt x="722" y="291"/>
                  </a:lnTo>
                  <a:lnTo>
                    <a:pt x="721" y="292"/>
                  </a:lnTo>
                  <a:lnTo>
                    <a:pt x="721" y="296"/>
                  </a:lnTo>
                  <a:lnTo>
                    <a:pt x="721" y="299"/>
                  </a:lnTo>
                  <a:lnTo>
                    <a:pt x="719" y="301"/>
                  </a:lnTo>
                  <a:lnTo>
                    <a:pt x="719" y="303"/>
                  </a:lnTo>
                  <a:lnTo>
                    <a:pt x="719" y="304"/>
                  </a:lnTo>
                  <a:lnTo>
                    <a:pt x="719" y="306"/>
                  </a:lnTo>
                  <a:lnTo>
                    <a:pt x="717" y="306"/>
                  </a:lnTo>
                  <a:lnTo>
                    <a:pt x="719" y="304"/>
                  </a:lnTo>
                  <a:lnTo>
                    <a:pt x="717" y="303"/>
                  </a:lnTo>
                  <a:lnTo>
                    <a:pt x="716" y="303"/>
                  </a:lnTo>
                  <a:lnTo>
                    <a:pt x="712" y="303"/>
                  </a:lnTo>
                  <a:lnTo>
                    <a:pt x="712" y="304"/>
                  </a:lnTo>
                  <a:lnTo>
                    <a:pt x="710" y="306"/>
                  </a:lnTo>
                  <a:lnTo>
                    <a:pt x="709" y="308"/>
                  </a:lnTo>
                  <a:lnTo>
                    <a:pt x="707" y="309"/>
                  </a:lnTo>
                  <a:lnTo>
                    <a:pt x="705" y="311"/>
                  </a:lnTo>
                  <a:lnTo>
                    <a:pt x="704" y="313"/>
                  </a:lnTo>
                  <a:lnTo>
                    <a:pt x="702" y="315"/>
                  </a:lnTo>
                  <a:lnTo>
                    <a:pt x="702" y="316"/>
                  </a:lnTo>
                  <a:lnTo>
                    <a:pt x="702" y="320"/>
                  </a:lnTo>
                  <a:lnTo>
                    <a:pt x="700" y="321"/>
                  </a:lnTo>
                  <a:lnTo>
                    <a:pt x="702" y="325"/>
                  </a:lnTo>
                  <a:lnTo>
                    <a:pt x="702" y="326"/>
                  </a:lnTo>
                  <a:lnTo>
                    <a:pt x="700" y="328"/>
                  </a:lnTo>
                  <a:lnTo>
                    <a:pt x="700" y="330"/>
                  </a:lnTo>
                  <a:lnTo>
                    <a:pt x="700" y="332"/>
                  </a:lnTo>
                  <a:lnTo>
                    <a:pt x="699" y="330"/>
                  </a:lnTo>
                  <a:lnTo>
                    <a:pt x="700" y="332"/>
                  </a:lnTo>
                  <a:lnTo>
                    <a:pt x="700" y="330"/>
                  </a:lnTo>
                  <a:lnTo>
                    <a:pt x="700" y="328"/>
                  </a:lnTo>
                  <a:lnTo>
                    <a:pt x="700" y="325"/>
                  </a:lnTo>
                  <a:lnTo>
                    <a:pt x="699" y="325"/>
                  </a:lnTo>
                  <a:lnTo>
                    <a:pt x="699" y="323"/>
                  </a:lnTo>
                  <a:lnTo>
                    <a:pt x="695" y="323"/>
                  </a:lnTo>
                  <a:lnTo>
                    <a:pt x="693" y="323"/>
                  </a:lnTo>
                  <a:lnTo>
                    <a:pt x="690" y="323"/>
                  </a:lnTo>
                  <a:lnTo>
                    <a:pt x="690" y="325"/>
                  </a:lnTo>
                  <a:lnTo>
                    <a:pt x="688" y="326"/>
                  </a:lnTo>
                  <a:lnTo>
                    <a:pt x="687" y="328"/>
                  </a:lnTo>
                  <a:lnTo>
                    <a:pt x="685" y="328"/>
                  </a:lnTo>
                  <a:lnTo>
                    <a:pt x="683" y="330"/>
                  </a:lnTo>
                  <a:lnTo>
                    <a:pt x="682" y="332"/>
                  </a:lnTo>
                  <a:lnTo>
                    <a:pt x="680" y="333"/>
                  </a:lnTo>
                  <a:lnTo>
                    <a:pt x="680" y="335"/>
                  </a:lnTo>
                  <a:lnTo>
                    <a:pt x="678" y="338"/>
                  </a:lnTo>
                  <a:lnTo>
                    <a:pt x="678" y="342"/>
                  </a:lnTo>
                  <a:lnTo>
                    <a:pt x="678" y="343"/>
                  </a:lnTo>
                  <a:lnTo>
                    <a:pt x="678" y="342"/>
                  </a:lnTo>
                  <a:lnTo>
                    <a:pt x="678" y="340"/>
                  </a:lnTo>
                  <a:lnTo>
                    <a:pt x="678" y="338"/>
                  </a:lnTo>
                  <a:lnTo>
                    <a:pt x="678" y="340"/>
                  </a:lnTo>
                  <a:lnTo>
                    <a:pt x="676" y="340"/>
                  </a:lnTo>
                  <a:lnTo>
                    <a:pt x="678" y="343"/>
                  </a:lnTo>
                  <a:lnTo>
                    <a:pt x="676" y="340"/>
                  </a:lnTo>
                  <a:lnTo>
                    <a:pt x="675" y="340"/>
                  </a:lnTo>
                  <a:lnTo>
                    <a:pt x="673" y="338"/>
                  </a:lnTo>
                  <a:lnTo>
                    <a:pt x="671" y="340"/>
                  </a:lnTo>
                  <a:lnTo>
                    <a:pt x="670" y="342"/>
                  </a:lnTo>
                  <a:lnTo>
                    <a:pt x="668" y="342"/>
                  </a:lnTo>
                  <a:lnTo>
                    <a:pt x="666" y="342"/>
                  </a:lnTo>
                  <a:lnTo>
                    <a:pt x="665" y="343"/>
                  </a:lnTo>
                  <a:lnTo>
                    <a:pt x="663" y="343"/>
                  </a:lnTo>
                  <a:lnTo>
                    <a:pt x="661" y="343"/>
                  </a:lnTo>
                  <a:lnTo>
                    <a:pt x="659" y="347"/>
                  </a:lnTo>
                  <a:lnTo>
                    <a:pt x="658" y="349"/>
                  </a:lnTo>
                  <a:lnTo>
                    <a:pt x="654" y="352"/>
                  </a:lnTo>
                  <a:lnTo>
                    <a:pt x="654" y="354"/>
                  </a:lnTo>
                  <a:lnTo>
                    <a:pt x="653" y="355"/>
                  </a:lnTo>
                  <a:lnTo>
                    <a:pt x="653" y="357"/>
                  </a:lnTo>
                  <a:lnTo>
                    <a:pt x="651" y="360"/>
                  </a:lnTo>
                  <a:lnTo>
                    <a:pt x="651" y="362"/>
                  </a:lnTo>
                  <a:lnTo>
                    <a:pt x="649" y="364"/>
                  </a:lnTo>
                  <a:lnTo>
                    <a:pt x="648" y="364"/>
                  </a:lnTo>
                  <a:lnTo>
                    <a:pt x="646" y="366"/>
                  </a:lnTo>
                  <a:lnTo>
                    <a:pt x="646" y="367"/>
                  </a:lnTo>
                  <a:lnTo>
                    <a:pt x="644" y="369"/>
                  </a:lnTo>
                  <a:lnTo>
                    <a:pt x="644" y="372"/>
                  </a:lnTo>
                  <a:lnTo>
                    <a:pt x="642" y="374"/>
                  </a:lnTo>
                  <a:lnTo>
                    <a:pt x="642" y="376"/>
                  </a:lnTo>
                  <a:lnTo>
                    <a:pt x="642" y="377"/>
                  </a:lnTo>
                  <a:lnTo>
                    <a:pt x="642" y="379"/>
                  </a:lnTo>
                  <a:lnTo>
                    <a:pt x="642" y="381"/>
                  </a:lnTo>
                  <a:lnTo>
                    <a:pt x="641" y="383"/>
                  </a:lnTo>
                  <a:lnTo>
                    <a:pt x="641" y="384"/>
                  </a:lnTo>
                  <a:lnTo>
                    <a:pt x="641" y="386"/>
                  </a:lnTo>
                  <a:lnTo>
                    <a:pt x="641" y="389"/>
                  </a:lnTo>
                  <a:lnTo>
                    <a:pt x="641" y="391"/>
                  </a:lnTo>
                  <a:lnTo>
                    <a:pt x="639" y="393"/>
                  </a:lnTo>
                  <a:lnTo>
                    <a:pt x="637" y="395"/>
                  </a:lnTo>
                  <a:lnTo>
                    <a:pt x="636" y="395"/>
                  </a:lnTo>
                  <a:lnTo>
                    <a:pt x="634" y="396"/>
                  </a:lnTo>
                  <a:lnTo>
                    <a:pt x="634" y="398"/>
                  </a:lnTo>
                  <a:lnTo>
                    <a:pt x="634" y="396"/>
                  </a:lnTo>
                  <a:lnTo>
                    <a:pt x="632" y="396"/>
                  </a:lnTo>
                  <a:lnTo>
                    <a:pt x="634" y="395"/>
                  </a:lnTo>
                  <a:lnTo>
                    <a:pt x="634" y="393"/>
                  </a:lnTo>
                  <a:lnTo>
                    <a:pt x="636" y="393"/>
                  </a:lnTo>
                  <a:lnTo>
                    <a:pt x="634" y="393"/>
                  </a:lnTo>
                  <a:lnTo>
                    <a:pt x="636" y="391"/>
                  </a:lnTo>
                  <a:lnTo>
                    <a:pt x="637" y="391"/>
                  </a:lnTo>
                  <a:lnTo>
                    <a:pt x="639" y="389"/>
                  </a:lnTo>
                  <a:lnTo>
                    <a:pt x="641" y="388"/>
                  </a:lnTo>
                  <a:lnTo>
                    <a:pt x="641" y="384"/>
                  </a:lnTo>
                  <a:lnTo>
                    <a:pt x="641" y="383"/>
                  </a:lnTo>
                  <a:lnTo>
                    <a:pt x="641" y="381"/>
                  </a:lnTo>
                  <a:lnTo>
                    <a:pt x="642" y="381"/>
                  </a:lnTo>
                  <a:lnTo>
                    <a:pt x="642" y="379"/>
                  </a:lnTo>
                  <a:lnTo>
                    <a:pt x="641" y="377"/>
                  </a:lnTo>
                  <a:lnTo>
                    <a:pt x="642" y="377"/>
                  </a:lnTo>
                  <a:lnTo>
                    <a:pt x="642" y="374"/>
                  </a:lnTo>
                  <a:lnTo>
                    <a:pt x="642" y="376"/>
                  </a:lnTo>
                  <a:lnTo>
                    <a:pt x="641" y="374"/>
                  </a:lnTo>
                  <a:lnTo>
                    <a:pt x="639" y="376"/>
                  </a:lnTo>
                  <a:lnTo>
                    <a:pt x="639" y="374"/>
                  </a:lnTo>
                  <a:lnTo>
                    <a:pt x="636" y="374"/>
                  </a:lnTo>
                  <a:lnTo>
                    <a:pt x="636" y="376"/>
                  </a:lnTo>
                  <a:lnTo>
                    <a:pt x="634" y="377"/>
                  </a:lnTo>
                  <a:lnTo>
                    <a:pt x="632" y="379"/>
                  </a:lnTo>
                  <a:lnTo>
                    <a:pt x="632" y="381"/>
                  </a:lnTo>
                  <a:lnTo>
                    <a:pt x="632" y="384"/>
                  </a:lnTo>
                  <a:lnTo>
                    <a:pt x="631" y="386"/>
                  </a:lnTo>
                  <a:lnTo>
                    <a:pt x="627" y="388"/>
                  </a:lnTo>
                  <a:lnTo>
                    <a:pt x="625" y="389"/>
                  </a:lnTo>
                  <a:lnTo>
                    <a:pt x="624" y="393"/>
                  </a:lnTo>
                  <a:lnTo>
                    <a:pt x="622" y="393"/>
                  </a:lnTo>
                  <a:lnTo>
                    <a:pt x="624" y="396"/>
                  </a:lnTo>
                  <a:lnTo>
                    <a:pt x="622" y="396"/>
                  </a:lnTo>
                  <a:lnTo>
                    <a:pt x="620" y="396"/>
                  </a:lnTo>
                  <a:lnTo>
                    <a:pt x="619" y="396"/>
                  </a:lnTo>
                  <a:lnTo>
                    <a:pt x="617" y="396"/>
                  </a:lnTo>
                  <a:lnTo>
                    <a:pt x="614" y="398"/>
                  </a:lnTo>
                  <a:lnTo>
                    <a:pt x="615" y="400"/>
                  </a:lnTo>
                  <a:lnTo>
                    <a:pt x="615" y="401"/>
                  </a:lnTo>
                  <a:lnTo>
                    <a:pt x="617" y="403"/>
                  </a:lnTo>
                  <a:lnTo>
                    <a:pt x="617" y="405"/>
                  </a:lnTo>
                  <a:lnTo>
                    <a:pt x="617" y="408"/>
                  </a:lnTo>
                  <a:lnTo>
                    <a:pt x="617" y="410"/>
                  </a:lnTo>
                  <a:lnTo>
                    <a:pt x="615" y="412"/>
                  </a:lnTo>
                  <a:lnTo>
                    <a:pt x="614" y="412"/>
                  </a:lnTo>
                  <a:lnTo>
                    <a:pt x="612" y="413"/>
                  </a:lnTo>
                  <a:lnTo>
                    <a:pt x="614" y="413"/>
                  </a:lnTo>
                  <a:lnTo>
                    <a:pt x="612" y="415"/>
                  </a:lnTo>
                  <a:lnTo>
                    <a:pt x="612" y="413"/>
                  </a:lnTo>
                  <a:lnTo>
                    <a:pt x="612" y="412"/>
                  </a:lnTo>
                  <a:lnTo>
                    <a:pt x="608" y="412"/>
                  </a:lnTo>
                  <a:lnTo>
                    <a:pt x="610" y="412"/>
                  </a:lnTo>
                  <a:lnTo>
                    <a:pt x="612" y="415"/>
                  </a:lnTo>
                  <a:lnTo>
                    <a:pt x="610" y="415"/>
                  </a:lnTo>
                  <a:lnTo>
                    <a:pt x="610" y="413"/>
                  </a:lnTo>
                  <a:lnTo>
                    <a:pt x="608" y="412"/>
                  </a:lnTo>
                  <a:lnTo>
                    <a:pt x="608" y="410"/>
                  </a:lnTo>
                  <a:lnTo>
                    <a:pt x="607" y="406"/>
                  </a:lnTo>
                  <a:lnTo>
                    <a:pt x="608" y="406"/>
                  </a:lnTo>
                  <a:lnTo>
                    <a:pt x="607" y="406"/>
                  </a:lnTo>
                  <a:lnTo>
                    <a:pt x="607" y="410"/>
                  </a:lnTo>
                  <a:lnTo>
                    <a:pt x="605" y="406"/>
                  </a:lnTo>
                  <a:lnTo>
                    <a:pt x="607" y="405"/>
                  </a:lnTo>
                  <a:lnTo>
                    <a:pt x="608" y="403"/>
                  </a:lnTo>
                  <a:lnTo>
                    <a:pt x="610" y="405"/>
                  </a:lnTo>
                  <a:lnTo>
                    <a:pt x="610" y="403"/>
                  </a:lnTo>
                  <a:lnTo>
                    <a:pt x="614" y="403"/>
                  </a:lnTo>
                  <a:lnTo>
                    <a:pt x="612" y="405"/>
                  </a:lnTo>
                  <a:lnTo>
                    <a:pt x="614" y="405"/>
                  </a:lnTo>
                  <a:lnTo>
                    <a:pt x="614" y="403"/>
                  </a:lnTo>
                  <a:lnTo>
                    <a:pt x="614" y="401"/>
                  </a:lnTo>
                  <a:lnTo>
                    <a:pt x="614" y="400"/>
                  </a:lnTo>
                  <a:lnTo>
                    <a:pt x="612" y="398"/>
                  </a:lnTo>
                  <a:lnTo>
                    <a:pt x="612" y="400"/>
                  </a:lnTo>
                  <a:lnTo>
                    <a:pt x="610" y="398"/>
                  </a:lnTo>
                  <a:lnTo>
                    <a:pt x="608" y="400"/>
                  </a:lnTo>
                  <a:lnTo>
                    <a:pt x="610" y="401"/>
                  </a:lnTo>
                  <a:lnTo>
                    <a:pt x="610" y="403"/>
                  </a:lnTo>
                  <a:lnTo>
                    <a:pt x="608" y="403"/>
                  </a:lnTo>
                  <a:lnTo>
                    <a:pt x="607" y="403"/>
                  </a:lnTo>
                  <a:lnTo>
                    <a:pt x="605" y="401"/>
                  </a:lnTo>
                  <a:lnTo>
                    <a:pt x="602" y="400"/>
                  </a:lnTo>
                  <a:lnTo>
                    <a:pt x="602" y="401"/>
                  </a:lnTo>
                  <a:lnTo>
                    <a:pt x="600" y="400"/>
                  </a:lnTo>
                  <a:lnTo>
                    <a:pt x="598" y="401"/>
                  </a:lnTo>
                  <a:lnTo>
                    <a:pt x="600" y="403"/>
                  </a:lnTo>
                  <a:lnTo>
                    <a:pt x="602" y="403"/>
                  </a:lnTo>
                  <a:lnTo>
                    <a:pt x="602" y="405"/>
                  </a:lnTo>
                  <a:lnTo>
                    <a:pt x="602" y="408"/>
                  </a:lnTo>
                  <a:lnTo>
                    <a:pt x="600" y="406"/>
                  </a:lnTo>
                  <a:lnTo>
                    <a:pt x="600" y="405"/>
                  </a:lnTo>
                  <a:lnTo>
                    <a:pt x="597" y="403"/>
                  </a:lnTo>
                  <a:lnTo>
                    <a:pt x="597" y="405"/>
                  </a:lnTo>
                  <a:lnTo>
                    <a:pt x="597" y="406"/>
                  </a:lnTo>
                  <a:lnTo>
                    <a:pt x="598" y="408"/>
                  </a:lnTo>
                  <a:lnTo>
                    <a:pt x="597" y="405"/>
                  </a:lnTo>
                  <a:lnTo>
                    <a:pt x="598" y="405"/>
                  </a:lnTo>
                  <a:lnTo>
                    <a:pt x="598" y="406"/>
                  </a:lnTo>
                  <a:lnTo>
                    <a:pt x="600" y="408"/>
                  </a:lnTo>
                  <a:lnTo>
                    <a:pt x="600" y="410"/>
                  </a:lnTo>
                  <a:lnTo>
                    <a:pt x="598" y="412"/>
                  </a:lnTo>
                  <a:lnTo>
                    <a:pt x="598" y="410"/>
                  </a:lnTo>
                  <a:lnTo>
                    <a:pt x="597" y="410"/>
                  </a:lnTo>
                  <a:lnTo>
                    <a:pt x="597" y="412"/>
                  </a:lnTo>
                  <a:lnTo>
                    <a:pt x="595" y="412"/>
                  </a:lnTo>
                  <a:lnTo>
                    <a:pt x="595" y="408"/>
                  </a:lnTo>
                  <a:lnTo>
                    <a:pt x="595" y="406"/>
                  </a:lnTo>
                  <a:lnTo>
                    <a:pt x="595" y="408"/>
                  </a:lnTo>
                  <a:lnTo>
                    <a:pt x="593" y="408"/>
                  </a:lnTo>
                  <a:lnTo>
                    <a:pt x="593" y="405"/>
                  </a:lnTo>
                  <a:lnTo>
                    <a:pt x="591" y="403"/>
                  </a:lnTo>
                  <a:lnTo>
                    <a:pt x="591" y="406"/>
                  </a:lnTo>
                  <a:lnTo>
                    <a:pt x="593" y="408"/>
                  </a:lnTo>
                  <a:lnTo>
                    <a:pt x="595" y="408"/>
                  </a:lnTo>
                  <a:lnTo>
                    <a:pt x="593" y="410"/>
                  </a:lnTo>
                  <a:lnTo>
                    <a:pt x="593" y="408"/>
                  </a:lnTo>
                  <a:lnTo>
                    <a:pt x="591" y="410"/>
                  </a:lnTo>
                  <a:lnTo>
                    <a:pt x="588" y="410"/>
                  </a:lnTo>
                  <a:lnTo>
                    <a:pt x="588" y="413"/>
                  </a:lnTo>
                  <a:lnTo>
                    <a:pt x="591" y="412"/>
                  </a:lnTo>
                  <a:lnTo>
                    <a:pt x="593" y="413"/>
                  </a:lnTo>
                  <a:lnTo>
                    <a:pt x="595" y="413"/>
                  </a:lnTo>
                  <a:lnTo>
                    <a:pt x="597" y="413"/>
                  </a:lnTo>
                  <a:lnTo>
                    <a:pt x="598" y="413"/>
                  </a:lnTo>
                  <a:lnTo>
                    <a:pt x="600" y="413"/>
                  </a:lnTo>
                  <a:lnTo>
                    <a:pt x="602" y="412"/>
                  </a:lnTo>
                  <a:lnTo>
                    <a:pt x="602" y="413"/>
                  </a:lnTo>
                  <a:lnTo>
                    <a:pt x="602" y="415"/>
                  </a:lnTo>
                  <a:lnTo>
                    <a:pt x="603" y="413"/>
                  </a:lnTo>
                  <a:lnTo>
                    <a:pt x="602" y="413"/>
                  </a:lnTo>
                  <a:lnTo>
                    <a:pt x="605" y="412"/>
                  </a:lnTo>
                  <a:lnTo>
                    <a:pt x="607" y="413"/>
                  </a:lnTo>
                  <a:lnTo>
                    <a:pt x="608" y="415"/>
                  </a:lnTo>
                  <a:lnTo>
                    <a:pt x="610" y="415"/>
                  </a:lnTo>
                  <a:lnTo>
                    <a:pt x="612" y="417"/>
                  </a:lnTo>
                  <a:lnTo>
                    <a:pt x="612" y="415"/>
                  </a:lnTo>
                  <a:lnTo>
                    <a:pt x="614" y="417"/>
                  </a:lnTo>
                  <a:lnTo>
                    <a:pt x="614" y="418"/>
                  </a:lnTo>
                  <a:lnTo>
                    <a:pt x="615" y="420"/>
                  </a:lnTo>
                  <a:lnTo>
                    <a:pt x="615" y="418"/>
                  </a:lnTo>
                  <a:lnTo>
                    <a:pt x="615" y="417"/>
                  </a:lnTo>
                  <a:lnTo>
                    <a:pt x="619" y="417"/>
                  </a:lnTo>
                  <a:lnTo>
                    <a:pt x="619" y="415"/>
                  </a:lnTo>
                  <a:lnTo>
                    <a:pt x="617" y="413"/>
                  </a:lnTo>
                  <a:lnTo>
                    <a:pt x="615" y="413"/>
                  </a:lnTo>
                  <a:lnTo>
                    <a:pt x="615" y="412"/>
                  </a:lnTo>
                  <a:lnTo>
                    <a:pt x="617" y="412"/>
                  </a:lnTo>
                  <a:lnTo>
                    <a:pt x="620" y="413"/>
                  </a:lnTo>
                  <a:lnTo>
                    <a:pt x="620" y="415"/>
                  </a:lnTo>
                  <a:lnTo>
                    <a:pt x="620" y="417"/>
                  </a:lnTo>
                  <a:lnTo>
                    <a:pt x="619" y="418"/>
                  </a:lnTo>
                  <a:lnTo>
                    <a:pt x="619" y="420"/>
                  </a:lnTo>
                  <a:lnTo>
                    <a:pt x="619" y="418"/>
                  </a:lnTo>
                  <a:lnTo>
                    <a:pt x="619" y="420"/>
                  </a:lnTo>
                  <a:lnTo>
                    <a:pt x="619" y="422"/>
                  </a:lnTo>
                  <a:lnTo>
                    <a:pt x="617" y="423"/>
                  </a:lnTo>
                  <a:lnTo>
                    <a:pt x="619" y="425"/>
                  </a:lnTo>
                  <a:lnTo>
                    <a:pt x="619" y="423"/>
                  </a:lnTo>
                  <a:lnTo>
                    <a:pt x="620" y="423"/>
                  </a:lnTo>
                  <a:lnTo>
                    <a:pt x="622" y="422"/>
                  </a:lnTo>
                  <a:lnTo>
                    <a:pt x="620" y="420"/>
                  </a:lnTo>
                  <a:lnTo>
                    <a:pt x="622" y="420"/>
                  </a:lnTo>
                  <a:lnTo>
                    <a:pt x="622" y="418"/>
                  </a:lnTo>
                  <a:lnTo>
                    <a:pt x="624" y="417"/>
                  </a:lnTo>
                  <a:lnTo>
                    <a:pt x="625" y="415"/>
                  </a:lnTo>
                  <a:lnTo>
                    <a:pt x="627" y="413"/>
                  </a:lnTo>
                  <a:lnTo>
                    <a:pt x="629" y="413"/>
                  </a:lnTo>
                  <a:lnTo>
                    <a:pt x="629" y="415"/>
                  </a:lnTo>
                  <a:lnTo>
                    <a:pt x="627" y="417"/>
                  </a:lnTo>
                  <a:lnTo>
                    <a:pt x="625" y="415"/>
                  </a:lnTo>
                  <a:lnTo>
                    <a:pt x="625" y="417"/>
                  </a:lnTo>
                  <a:lnTo>
                    <a:pt x="624" y="418"/>
                  </a:lnTo>
                  <a:lnTo>
                    <a:pt x="624" y="420"/>
                  </a:lnTo>
                  <a:lnTo>
                    <a:pt x="624" y="422"/>
                  </a:lnTo>
                  <a:lnTo>
                    <a:pt x="624" y="423"/>
                  </a:lnTo>
                  <a:lnTo>
                    <a:pt x="625" y="422"/>
                  </a:lnTo>
                  <a:lnTo>
                    <a:pt x="627" y="420"/>
                  </a:lnTo>
                  <a:lnTo>
                    <a:pt x="629" y="418"/>
                  </a:lnTo>
                  <a:lnTo>
                    <a:pt x="631" y="420"/>
                  </a:lnTo>
                  <a:lnTo>
                    <a:pt x="629" y="423"/>
                  </a:lnTo>
                  <a:lnTo>
                    <a:pt x="629" y="425"/>
                  </a:lnTo>
                  <a:lnTo>
                    <a:pt x="631" y="425"/>
                  </a:lnTo>
                  <a:lnTo>
                    <a:pt x="634" y="423"/>
                  </a:lnTo>
                  <a:lnTo>
                    <a:pt x="636" y="422"/>
                  </a:lnTo>
                  <a:lnTo>
                    <a:pt x="636" y="423"/>
                  </a:lnTo>
                  <a:lnTo>
                    <a:pt x="636" y="425"/>
                  </a:lnTo>
                  <a:lnTo>
                    <a:pt x="639" y="425"/>
                  </a:lnTo>
                  <a:lnTo>
                    <a:pt x="641" y="425"/>
                  </a:lnTo>
                  <a:lnTo>
                    <a:pt x="642" y="425"/>
                  </a:lnTo>
                  <a:lnTo>
                    <a:pt x="642" y="427"/>
                  </a:lnTo>
                  <a:lnTo>
                    <a:pt x="646" y="427"/>
                  </a:lnTo>
                  <a:lnTo>
                    <a:pt x="646" y="429"/>
                  </a:lnTo>
                  <a:lnTo>
                    <a:pt x="648" y="429"/>
                  </a:lnTo>
                  <a:lnTo>
                    <a:pt x="649" y="430"/>
                  </a:lnTo>
                  <a:lnTo>
                    <a:pt x="649" y="432"/>
                  </a:lnTo>
                  <a:lnTo>
                    <a:pt x="649" y="430"/>
                  </a:lnTo>
                  <a:lnTo>
                    <a:pt x="648" y="429"/>
                  </a:lnTo>
                  <a:lnTo>
                    <a:pt x="648" y="430"/>
                  </a:lnTo>
                  <a:lnTo>
                    <a:pt x="648" y="429"/>
                  </a:lnTo>
                  <a:lnTo>
                    <a:pt x="649" y="430"/>
                  </a:lnTo>
                  <a:lnTo>
                    <a:pt x="649" y="432"/>
                  </a:lnTo>
                  <a:lnTo>
                    <a:pt x="651" y="432"/>
                  </a:lnTo>
                  <a:lnTo>
                    <a:pt x="651" y="434"/>
                  </a:lnTo>
                  <a:lnTo>
                    <a:pt x="653" y="435"/>
                  </a:lnTo>
                  <a:lnTo>
                    <a:pt x="653" y="437"/>
                  </a:lnTo>
                  <a:lnTo>
                    <a:pt x="651" y="439"/>
                  </a:lnTo>
                  <a:lnTo>
                    <a:pt x="649" y="440"/>
                  </a:lnTo>
                  <a:lnTo>
                    <a:pt x="651" y="442"/>
                  </a:lnTo>
                  <a:lnTo>
                    <a:pt x="649" y="440"/>
                  </a:lnTo>
                  <a:lnTo>
                    <a:pt x="651" y="440"/>
                  </a:lnTo>
                  <a:lnTo>
                    <a:pt x="653" y="442"/>
                  </a:lnTo>
                  <a:lnTo>
                    <a:pt x="654" y="444"/>
                  </a:lnTo>
                  <a:lnTo>
                    <a:pt x="656" y="444"/>
                  </a:lnTo>
                  <a:lnTo>
                    <a:pt x="658" y="446"/>
                  </a:lnTo>
                  <a:lnTo>
                    <a:pt x="659" y="444"/>
                  </a:lnTo>
                  <a:lnTo>
                    <a:pt x="661" y="444"/>
                  </a:lnTo>
                  <a:lnTo>
                    <a:pt x="663" y="444"/>
                  </a:lnTo>
                  <a:lnTo>
                    <a:pt x="665" y="444"/>
                  </a:lnTo>
                  <a:lnTo>
                    <a:pt x="668" y="446"/>
                  </a:lnTo>
                  <a:lnTo>
                    <a:pt x="670" y="446"/>
                  </a:lnTo>
                  <a:lnTo>
                    <a:pt x="671" y="446"/>
                  </a:lnTo>
                  <a:lnTo>
                    <a:pt x="675" y="444"/>
                  </a:lnTo>
                  <a:lnTo>
                    <a:pt x="675" y="442"/>
                  </a:lnTo>
                  <a:lnTo>
                    <a:pt x="671" y="442"/>
                  </a:lnTo>
                  <a:lnTo>
                    <a:pt x="670" y="440"/>
                  </a:lnTo>
                  <a:lnTo>
                    <a:pt x="668" y="440"/>
                  </a:lnTo>
                  <a:lnTo>
                    <a:pt x="666" y="439"/>
                  </a:lnTo>
                  <a:lnTo>
                    <a:pt x="666" y="440"/>
                  </a:lnTo>
                  <a:lnTo>
                    <a:pt x="665" y="439"/>
                  </a:lnTo>
                  <a:lnTo>
                    <a:pt x="663" y="437"/>
                  </a:lnTo>
                  <a:lnTo>
                    <a:pt x="661" y="435"/>
                  </a:lnTo>
                  <a:lnTo>
                    <a:pt x="659" y="435"/>
                  </a:lnTo>
                  <a:lnTo>
                    <a:pt x="658" y="434"/>
                  </a:lnTo>
                  <a:lnTo>
                    <a:pt x="654" y="432"/>
                  </a:lnTo>
                  <a:lnTo>
                    <a:pt x="653" y="430"/>
                  </a:lnTo>
                  <a:lnTo>
                    <a:pt x="651" y="430"/>
                  </a:lnTo>
                  <a:lnTo>
                    <a:pt x="649" y="429"/>
                  </a:lnTo>
                  <a:lnTo>
                    <a:pt x="648" y="427"/>
                  </a:lnTo>
                  <a:lnTo>
                    <a:pt x="646" y="425"/>
                  </a:lnTo>
                  <a:lnTo>
                    <a:pt x="644" y="425"/>
                  </a:lnTo>
                  <a:lnTo>
                    <a:pt x="642" y="423"/>
                  </a:lnTo>
                  <a:lnTo>
                    <a:pt x="641" y="422"/>
                  </a:lnTo>
                  <a:lnTo>
                    <a:pt x="639" y="420"/>
                  </a:lnTo>
                  <a:lnTo>
                    <a:pt x="637" y="418"/>
                  </a:lnTo>
                  <a:lnTo>
                    <a:pt x="637" y="417"/>
                  </a:lnTo>
                  <a:lnTo>
                    <a:pt x="634" y="415"/>
                  </a:lnTo>
                  <a:lnTo>
                    <a:pt x="634" y="417"/>
                  </a:lnTo>
                  <a:lnTo>
                    <a:pt x="632" y="418"/>
                  </a:lnTo>
                  <a:lnTo>
                    <a:pt x="631" y="417"/>
                  </a:lnTo>
                  <a:lnTo>
                    <a:pt x="631" y="415"/>
                  </a:lnTo>
                  <a:lnTo>
                    <a:pt x="631" y="412"/>
                  </a:lnTo>
                  <a:lnTo>
                    <a:pt x="629" y="408"/>
                  </a:lnTo>
                  <a:lnTo>
                    <a:pt x="631" y="410"/>
                  </a:lnTo>
                  <a:lnTo>
                    <a:pt x="629" y="408"/>
                  </a:lnTo>
                  <a:lnTo>
                    <a:pt x="627" y="406"/>
                  </a:lnTo>
                  <a:lnTo>
                    <a:pt x="625" y="405"/>
                  </a:lnTo>
                  <a:lnTo>
                    <a:pt x="624" y="403"/>
                  </a:lnTo>
                  <a:lnTo>
                    <a:pt x="624" y="405"/>
                  </a:lnTo>
                  <a:lnTo>
                    <a:pt x="624" y="406"/>
                  </a:lnTo>
                  <a:lnTo>
                    <a:pt x="622" y="405"/>
                  </a:lnTo>
                  <a:lnTo>
                    <a:pt x="620" y="405"/>
                  </a:lnTo>
                  <a:lnTo>
                    <a:pt x="620" y="403"/>
                  </a:lnTo>
                  <a:lnTo>
                    <a:pt x="619" y="401"/>
                  </a:lnTo>
                  <a:lnTo>
                    <a:pt x="620" y="401"/>
                  </a:lnTo>
                  <a:lnTo>
                    <a:pt x="622" y="400"/>
                  </a:lnTo>
                  <a:lnTo>
                    <a:pt x="624" y="401"/>
                  </a:lnTo>
                  <a:lnTo>
                    <a:pt x="624" y="400"/>
                  </a:lnTo>
                  <a:lnTo>
                    <a:pt x="622" y="398"/>
                  </a:lnTo>
                  <a:lnTo>
                    <a:pt x="624" y="396"/>
                  </a:lnTo>
                  <a:lnTo>
                    <a:pt x="622" y="398"/>
                  </a:lnTo>
                  <a:lnTo>
                    <a:pt x="624" y="396"/>
                  </a:lnTo>
                  <a:lnTo>
                    <a:pt x="624" y="398"/>
                  </a:lnTo>
                  <a:lnTo>
                    <a:pt x="625" y="400"/>
                  </a:lnTo>
                  <a:lnTo>
                    <a:pt x="627" y="401"/>
                  </a:lnTo>
                  <a:lnTo>
                    <a:pt x="627" y="403"/>
                  </a:lnTo>
                  <a:lnTo>
                    <a:pt x="629" y="405"/>
                  </a:lnTo>
                  <a:lnTo>
                    <a:pt x="629" y="406"/>
                  </a:lnTo>
                  <a:lnTo>
                    <a:pt x="631" y="408"/>
                  </a:lnTo>
                  <a:lnTo>
                    <a:pt x="632" y="410"/>
                  </a:lnTo>
                  <a:lnTo>
                    <a:pt x="634" y="412"/>
                  </a:lnTo>
                  <a:lnTo>
                    <a:pt x="634" y="413"/>
                  </a:lnTo>
                  <a:lnTo>
                    <a:pt x="636" y="415"/>
                  </a:lnTo>
                  <a:lnTo>
                    <a:pt x="639" y="418"/>
                  </a:lnTo>
                  <a:lnTo>
                    <a:pt x="641" y="420"/>
                  </a:lnTo>
                  <a:lnTo>
                    <a:pt x="644" y="423"/>
                  </a:lnTo>
                  <a:lnTo>
                    <a:pt x="646" y="423"/>
                  </a:lnTo>
                  <a:lnTo>
                    <a:pt x="648" y="425"/>
                  </a:lnTo>
                  <a:lnTo>
                    <a:pt x="649" y="427"/>
                  </a:lnTo>
                  <a:lnTo>
                    <a:pt x="651" y="429"/>
                  </a:lnTo>
                  <a:lnTo>
                    <a:pt x="653" y="429"/>
                  </a:lnTo>
                  <a:lnTo>
                    <a:pt x="654" y="430"/>
                  </a:lnTo>
                  <a:lnTo>
                    <a:pt x="656" y="432"/>
                  </a:lnTo>
                  <a:lnTo>
                    <a:pt x="658" y="434"/>
                  </a:lnTo>
                  <a:lnTo>
                    <a:pt x="659" y="434"/>
                  </a:lnTo>
                  <a:lnTo>
                    <a:pt x="661" y="435"/>
                  </a:lnTo>
                  <a:lnTo>
                    <a:pt x="663" y="435"/>
                  </a:lnTo>
                  <a:lnTo>
                    <a:pt x="665" y="437"/>
                  </a:lnTo>
                  <a:lnTo>
                    <a:pt x="665" y="439"/>
                  </a:lnTo>
                  <a:lnTo>
                    <a:pt x="666" y="439"/>
                  </a:lnTo>
                  <a:lnTo>
                    <a:pt x="668" y="440"/>
                  </a:lnTo>
                  <a:lnTo>
                    <a:pt x="671" y="440"/>
                  </a:lnTo>
                  <a:lnTo>
                    <a:pt x="675" y="442"/>
                  </a:lnTo>
                  <a:lnTo>
                    <a:pt x="676" y="442"/>
                  </a:lnTo>
                  <a:lnTo>
                    <a:pt x="678" y="440"/>
                  </a:lnTo>
                  <a:lnTo>
                    <a:pt x="680" y="439"/>
                  </a:lnTo>
                  <a:lnTo>
                    <a:pt x="683" y="437"/>
                  </a:lnTo>
                  <a:lnTo>
                    <a:pt x="683" y="435"/>
                  </a:lnTo>
                  <a:lnTo>
                    <a:pt x="685" y="435"/>
                  </a:lnTo>
                  <a:lnTo>
                    <a:pt x="685" y="434"/>
                  </a:lnTo>
                  <a:lnTo>
                    <a:pt x="685" y="432"/>
                  </a:lnTo>
                  <a:lnTo>
                    <a:pt x="685" y="430"/>
                  </a:lnTo>
                  <a:lnTo>
                    <a:pt x="687" y="427"/>
                  </a:lnTo>
                  <a:lnTo>
                    <a:pt x="687" y="425"/>
                  </a:lnTo>
                  <a:lnTo>
                    <a:pt x="687" y="423"/>
                  </a:lnTo>
                  <a:lnTo>
                    <a:pt x="688" y="423"/>
                  </a:lnTo>
                  <a:lnTo>
                    <a:pt x="688" y="425"/>
                  </a:lnTo>
                  <a:lnTo>
                    <a:pt x="690" y="427"/>
                  </a:lnTo>
                  <a:lnTo>
                    <a:pt x="692" y="427"/>
                  </a:lnTo>
                  <a:lnTo>
                    <a:pt x="693" y="429"/>
                  </a:lnTo>
                  <a:lnTo>
                    <a:pt x="695" y="429"/>
                  </a:lnTo>
                  <a:lnTo>
                    <a:pt x="697" y="427"/>
                  </a:lnTo>
                  <a:lnTo>
                    <a:pt x="699" y="425"/>
                  </a:lnTo>
                  <a:lnTo>
                    <a:pt x="699" y="423"/>
                  </a:lnTo>
                  <a:lnTo>
                    <a:pt x="699" y="422"/>
                  </a:lnTo>
                  <a:lnTo>
                    <a:pt x="700" y="420"/>
                  </a:lnTo>
                  <a:lnTo>
                    <a:pt x="702" y="418"/>
                  </a:lnTo>
                  <a:lnTo>
                    <a:pt x="704" y="418"/>
                  </a:lnTo>
                  <a:lnTo>
                    <a:pt x="705" y="417"/>
                  </a:lnTo>
                  <a:lnTo>
                    <a:pt x="707" y="415"/>
                  </a:lnTo>
                  <a:lnTo>
                    <a:pt x="709" y="415"/>
                  </a:lnTo>
                  <a:lnTo>
                    <a:pt x="710" y="415"/>
                  </a:lnTo>
                  <a:lnTo>
                    <a:pt x="712" y="415"/>
                  </a:lnTo>
                  <a:lnTo>
                    <a:pt x="714" y="415"/>
                  </a:lnTo>
                  <a:lnTo>
                    <a:pt x="717" y="413"/>
                  </a:lnTo>
                  <a:lnTo>
                    <a:pt x="721" y="415"/>
                  </a:lnTo>
                  <a:lnTo>
                    <a:pt x="722" y="413"/>
                  </a:lnTo>
                  <a:lnTo>
                    <a:pt x="724" y="415"/>
                  </a:lnTo>
                  <a:lnTo>
                    <a:pt x="726" y="415"/>
                  </a:lnTo>
                  <a:lnTo>
                    <a:pt x="726" y="417"/>
                  </a:lnTo>
                  <a:lnTo>
                    <a:pt x="726" y="418"/>
                  </a:lnTo>
                  <a:lnTo>
                    <a:pt x="724" y="420"/>
                  </a:lnTo>
                  <a:lnTo>
                    <a:pt x="722" y="420"/>
                  </a:lnTo>
                  <a:lnTo>
                    <a:pt x="721" y="420"/>
                  </a:lnTo>
                  <a:lnTo>
                    <a:pt x="719" y="422"/>
                  </a:lnTo>
                  <a:lnTo>
                    <a:pt x="721" y="422"/>
                  </a:lnTo>
                  <a:lnTo>
                    <a:pt x="721" y="423"/>
                  </a:lnTo>
                  <a:lnTo>
                    <a:pt x="719" y="425"/>
                  </a:lnTo>
                  <a:lnTo>
                    <a:pt x="719" y="427"/>
                  </a:lnTo>
                  <a:lnTo>
                    <a:pt x="719" y="429"/>
                  </a:lnTo>
                  <a:lnTo>
                    <a:pt x="719" y="427"/>
                  </a:lnTo>
                  <a:lnTo>
                    <a:pt x="719" y="429"/>
                  </a:lnTo>
                  <a:lnTo>
                    <a:pt x="719" y="432"/>
                  </a:lnTo>
                  <a:lnTo>
                    <a:pt x="721" y="434"/>
                  </a:lnTo>
                  <a:lnTo>
                    <a:pt x="722" y="435"/>
                  </a:lnTo>
                  <a:lnTo>
                    <a:pt x="724" y="437"/>
                  </a:lnTo>
                  <a:lnTo>
                    <a:pt x="724" y="439"/>
                  </a:lnTo>
                  <a:lnTo>
                    <a:pt x="722" y="440"/>
                  </a:lnTo>
                  <a:lnTo>
                    <a:pt x="722" y="442"/>
                  </a:lnTo>
                  <a:lnTo>
                    <a:pt x="721" y="442"/>
                  </a:lnTo>
                  <a:lnTo>
                    <a:pt x="719" y="442"/>
                  </a:lnTo>
                  <a:lnTo>
                    <a:pt x="717" y="444"/>
                  </a:lnTo>
                  <a:lnTo>
                    <a:pt x="716" y="446"/>
                  </a:lnTo>
                  <a:lnTo>
                    <a:pt x="714" y="447"/>
                  </a:lnTo>
                  <a:lnTo>
                    <a:pt x="712" y="447"/>
                  </a:lnTo>
                  <a:lnTo>
                    <a:pt x="709" y="447"/>
                  </a:lnTo>
                  <a:lnTo>
                    <a:pt x="707" y="449"/>
                  </a:lnTo>
                  <a:lnTo>
                    <a:pt x="705" y="449"/>
                  </a:lnTo>
                  <a:lnTo>
                    <a:pt x="704" y="452"/>
                  </a:lnTo>
                  <a:lnTo>
                    <a:pt x="702" y="452"/>
                  </a:lnTo>
                  <a:lnTo>
                    <a:pt x="700" y="454"/>
                  </a:lnTo>
                  <a:lnTo>
                    <a:pt x="699" y="456"/>
                  </a:lnTo>
                  <a:lnTo>
                    <a:pt x="697" y="452"/>
                  </a:lnTo>
                  <a:lnTo>
                    <a:pt x="693" y="452"/>
                  </a:lnTo>
                  <a:lnTo>
                    <a:pt x="692" y="451"/>
                  </a:lnTo>
                  <a:lnTo>
                    <a:pt x="688" y="451"/>
                  </a:lnTo>
                  <a:lnTo>
                    <a:pt x="685" y="451"/>
                  </a:lnTo>
                  <a:lnTo>
                    <a:pt x="683" y="451"/>
                  </a:lnTo>
                  <a:lnTo>
                    <a:pt x="682" y="452"/>
                  </a:lnTo>
                  <a:lnTo>
                    <a:pt x="680" y="454"/>
                  </a:lnTo>
                  <a:lnTo>
                    <a:pt x="678" y="454"/>
                  </a:lnTo>
                  <a:lnTo>
                    <a:pt x="678" y="456"/>
                  </a:lnTo>
                  <a:lnTo>
                    <a:pt x="676" y="457"/>
                  </a:lnTo>
                  <a:lnTo>
                    <a:pt x="676" y="459"/>
                  </a:lnTo>
                  <a:lnTo>
                    <a:pt x="676" y="461"/>
                  </a:lnTo>
                  <a:lnTo>
                    <a:pt x="678" y="461"/>
                  </a:lnTo>
                  <a:lnTo>
                    <a:pt x="678" y="463"/>
                  </a:lnTo>
                  <a:lnTo>
                    <a:pt x="676" y="464"/>
                  </a:lnTo>
                  <a:lnTo>
                    <a:pt x="678" y="466"/>
                  </a:lnTo>
                  <a:lnTo>
                    <a:pt x="676" y="466"/>
                  </a:lnTo>
                  <a:lnTo>
                    <a:pt x="675" y="466"/>
                  </a:lnTo>
                  <a:lnTo>
                    <a:pt x="673" y="468"/>
                  </a:lnTo>
                  <a:lnTo>
                    <a:pt x="671" y="468"/>
                  </a:lnTo>
                  <a:lnTo>
                    <a:pt x="673" y="471"/>
                  </a:lnTo>
                  <a:lnTo>
                    <a:pt x="670" y="473"/>
                  </a:lnTo>
                  <a:lnTo>
                    <a:pt x="670" y="474"/>
                  </a:lnTo>
                  <a:lnTo>
                    <a:pt x="670" y="476"/>
                  </a:lnTo>
                  <a:lnTo>
                    <a:pt x="670" y="480"/>
                  </a:lnTo>
                  <a:lnTo>
                    <a:pt x="668" y="481"/>
                  </a:lnTo>
                  <a:lnTo>
                    <a:pt x="666" y="481"/>
                  </a:lnTo>
                  <a:lnTo>
                    <a:pt x="665" y="480"/>
                  </a:lnTo>
                  <a:lnTo>
                    <a:pt x="663" y="481"/>
                  </a:lnTo>
                  <a:lnTo>
                    <a:pt x="661" y="481"/>
                  </a:lnTo>
                  <a:lnTo>
                    <a:pt x="659" y="483"/>
                  </a:lnTo>
                  <a:lnTo>
                    <a:pt x="658" y="483"/>
                  </a:lnTo>
                  <a:lnTo>
                    <a:pt x="656" y="485"/>
                  </a:lnTo>
                  <a:lnTo>
                    <a:pt x="654" y="485"/>
                  </a:lnTo>
                  <a:lnTo>
                    <a:pt x="653" y="486"/>
                  </a:lnTo>
                  <a:lnTo>
                    <a:pt x="651" y="486"/>
                  </a:lnTo>
                  <a:lnTo>
                    <a:pt x="649" y="488"/>
                  </a:lnTo>
                  <a:lnTo>
                    <a:pt x="649" y="490"/>
                  </a:lnTo>
                  <a:lnTo>
                    <a:pt x="648" y="490"/>
                  </a:lnTo>
                  <a:lnTo>
                    <a:pt x="646" y="491"/>
                  </a:lnTo>
                  <a:lnTo>
                    <a:pt x="646" y="493"/>
                  </a:lnTo>
                  <a:lnTo>
                    <a:pt x="644" y="493"/>
                  </a:lnTo>
                  <a:lnTo>
                    <a:pt x="644" y="495"/>
                  </a:lnTo>
                  <a:lnTo>
                    <a:pt x="642" y="497"/>
                  </a:lnTo>
                  <a:lnTo>
                    <a:pt x="641" y="498"/>
                  </a:lnTo>
                  <a:lnTo>
                    <a:pt x="639" y="502"/>
                  </a:lnTo>
                  <a:lnTo>
                    <a:pt x="639" y="503"/>
                  </a:lnTo>
                  <a:lnTo>
                    <a:pt x="639" y="505"/>
                  </a:lnTo>
                  <a:lnTo>
                    <a:pt x="639" y="507"/>
                  </a:lnTo>
                  <a:lnTo>
                    <a:pt x="639" y="508"/>
                  </a:lnTo>
                  <a:lnTo>
                    <a:pt x="639" y="510"/>
                  </a:lnTo>
                  <a:lnTo>
                    <a:pt x="637" y="510"/>
                  </a:lnTo>
                  <a:lnTo>
                    <a:pt x="636" y="512"/>
                  </a:lnTo>
                  <a:lnTo>
                    <a:pt x="636" y="515"/>
                  </a:lnTo>
                  <a:lnTo>
                    <a:pt x="634" y="517"/>
                  </a:lnTo>
                  <a:lnTo>
                    <a:pt x="632" y="517"/>
                  </a:lnTo>
                  <a:lnTo>
                    <a:pt x="632" y="519"/>
                  </a:lnTo>
                  <a:lnTo>
                    <a:pt x="632" y="520"/>
                  </a:lnTo>
                  <a:lnTo>
                    <a:pt x="632" y="522"/>
                  </a:lnTo>
                  <a:lnTo>
                    <a:pt x="629" y="524"/>
                  </a:lnTo>
                  <a:lnTo>
                    <a:pt x="627" y="525"/>
                  </a:lnTo>
                  <a:lnTo>
                    <a:pt x="625" y="527"/>
                  </a:lnTo>
                  <a:lnTo>
                    <a:pt x="624" y="527"/>
                  </a:lnTo>
                  <a:lnTo>
                    <a:pt x="622" y="527"/>
                  </a:lnTo>
                  <a:lnTo>
                    <a:pt x="620" y="527"/>
                  </a:lnTo>
                  <a:lnTo>
                    <a:pt x="617" y="529"/>
                  </a:lnTo>
                  <a:lnTo>
                    <a:pt x="615" y="531"/>
                  </a:lnTo>
                  <a:lnTo>
                    <a:pt x="614" y="531"/>
                  </a:lnTo>
                  <a:lnTo>
                    <a:pt x="612" y="529"/>
                  </a:lnTo>
                  <a:lnTo>
                    <a:pt x="608" y="531"/>
                  </a:lnTo>
                  <a:lnTo>
                    <a:pt x="607" y="527"/>
                  </a:lnTo>
                  <a:lnTo>
                    <a:pt x="605" y="525"/>
                  </a:lnTo>
                  <a:lnTo>
                    <a:pt x="603" y="527"/>
                  </a:lnTo>
                  <a:lnTo>
                    <a:pt x="600" y="527"/>
                  </a:lnTo>
                  <a:lnTo>
                    <a:pt x="598" y="527"/>
                  </a:lnTo>
                  <a:lnTo>
                    <a:pt x="597" y="525"/>
                  </a:lnTo>
                  <a:lnTo>
                    <a:pt x="595" y="525"/>
                  </a:lnTo>
                  <a:lnTo>
                    <a:pt x="593" y="524"/>
                  </a:lnTo>
                  <a:lnTo>
                    <a:pt x="595" y="525"/>
                  </a:lnTo>
                  <a:lnTo>
                    <a:pt x="595" y="522"/>
                  </a:lnTo>
                  <a:lnTo>
                    <a:pt x="595" y="524"/>
                  </a:lnTo>
                  <a:lnTo>
                    <a:pt x="595" y="522"/>
                  </a:lnTo>
                  <a:lnTo>
                    <a:pt x="597" y="520"/>
                  </a:lnTo>
                  <a:lnTo>
                    <a:pt x="597" y="522"/>
                  </a:lnTo>
                  <a:lnTo>
                    <a:pt x="597" y="520"/>
                  </a:lnTo>
                  <a:lnTo>
                    <a:pt x="598" y="520"/>
                  </a:lnTo>
                  <a:lnTo>
                    <a:pt x="598" y="519"/>
                  </a:lnTo>
                  <a:lnTo>
                    <a:pt x="600" y="520"/>
                  </a:lnTo>
                  <a:lnTo>
                    <a:pt x="598" y="519"/>
                  </a:lnTo>
                  <a:lnTo>
                    <a:pt x="602" y="519"/>
                  </a:lnTo>
                  <a:lnTo>
                    <a:pt x="603" y="519"/>
                  </a:lnTo>
                  <a:lnTo>
                    <a:pt x="602" y="519"/>
                  </a:lnTo>
                  <a:lnTo>
                    <a:pt x="600" y="519"/>
                  </a:lnTo>
                  <a:lnTo>
                    <a:pt x="598" y="519"/>
                  </a:lnTo>
                  <a:lnTo>
                    <a:pt x="598" y="517"/>
                  </a:lnTo>
                  <a:lnTo>
                    <a:pt x="598" y="515"/>
                  </a:lnTo>
                  <a:lnTo>
                    <a:pt x="598" y="514"/>
                  </a:lnTo>
                  <a:lnTo>
                    <a:pt x="597" y="512"/>
                  </a:lnTo>
                  <a:lnTo>
                    <a:pt x="597" y="510"/>
                  </a:lnTo>
                  <a:lnTo>
                    <a:pt x="595" y="507"/>
                  </a:lnTo>
                  <a:lnTo>
                    <a:pt x="595" y="505"/>
                  </a:lnTo>
                  <a:lnTo>
                    <a:pt x="597" y="503"/>
                  </a:lnTo>
                  <a:lnTo>
                    <a:pt x="597" y="502"/>
                  </a:lnTo>
                  <a:lnTo>
                    <a:pt x="597" y="498"/>
                  </a:lnTo>
                  <a:lnTo>
                    <a:pt x="595" y="497"/>
                  </a:lnTo>
                  <a:lnTo>
                    <a:pt x="595" y="495"/>
                  </a:lnTo>
                  <a:lnTo>
                    <a:pt x="593" y="493"/>
                  </a:lnTo>
                  <a:lnTo>
                    <a:pt x="593" y="491"/>
                  </a:lnTo>
                  <a:lnTo>
                    <a:pt x="591" y="490"/>
                  </a:lnTo>
                  <a:lnTo>
                    <a:pt x="590" y="488"/>
                  </a:lnTo>
                  <a:lnTo>
                    <a:pt x="590" y="486"/>
                  </a:lnTo>
                  <a:lnTo>
                    <a:pt x="586" y="485"/>
                  </a:lnTo>
                  <a:lnTo>
                    <a:pt x="585" y="485"/>
                  </a:lnTo>
                  <a:lnTo>
                    <a:pt x="583" y="483"/>
                  </a:lnTo>
                  <a:lnTo>
                    <a:pt x="580" y="483"/>
                  </a:lnTo>
                  <a:lnTo>
                    <a:pt x="578" y="485"/>
                  </a:lnTo>
                  <a:lnTo>
                    <a:pt x="576" y="486"/>
                  </a:lnTo>
                  <a:lnTo>
                    <a:pt x="574" y="488"/>
                  </a:lnTo>
                  <a:lnTo>
                    <a:pt x="573" y="486"/>
                  </a:lnTo>
                  <a:lnTo>
                    <a:pt x="569" y="486"/>
                  </a:lnTo>
                  <a:lnTo>
                    <a:pt x="568" y="486"/>
                  </a:lnTo>
                  <a:lnTo>
                    <a:pt x="568" y="485"/>
                  </a:lnTo>
                  <a:lnTo>
                    <a:pt x="566" y="485"/>
                  </a:lnTo>
                  <a:lnTo>
                    <a:pt x="564" y="485"/>
                  </a:lnTo>
                  <a:lnTo>
                    <a:pt x="563" y="483"/>
                  </a:lnTo>
                  <a:lnTo>
                    <a:pt x="561" y="481"/>
                  </a:lnTo>
                  <a:lnTo>
                    <a:pt x="557" y="481"/>
                  </a:lnTo>
                  <a:lnTo>
                    <a:pt x="559" y="481"/>
                  </a:lnTo>
                  <a:lnTo>
                    <a:pt x="559" y="480"/>
                  </a:lnTo>
                  <a:lnTo>
                    <a:pt x="561" y="478"/>
                  </a:lnTo>
                  <a:lnTo>
                    <a:pt x="559" y="478"/>
                  </a:lnTo>
                  <a:lnTo>
                    <a:pt x="559" y="476"/>
                  </a:lnTo>
                  <a:lnTo>
                    <a:pt x="561" y="476"/>
                  </a:lnTo>
                  <a:lnTo>
                    <a:pt x="563" y="474"/>
                  </a:lnTo>
                  <a:lnTo>
                    <a:pt x="564" y="473"/>
                  </a:lnTo>
                  <a:lnTo>
                    <a:pt x="564" y="471"/>
                  </a:lnTo>
                  <a:lnTo>
                    <a:pt x="564" y="469"/>
                  </a:lnTo>
                  <a:lnTo>
                    <a:pt x="563" y="471"/>
                  </a:lnTo>
                  <a:lnTo>
                    <a:pt x="563" y="473"/>
                  </a:lnTo>
                  <a:lnTo>
                    <a:pt x="561" y="474"/>
                  </a:lnTo>
                  <a:lnTo>
                    <a:pt x="559" y="474"/>
                  </a:lnTo>
                  <a:lnTo>
                    <a:pt x="559" y="476"/>
                  </a:lnTo>
                  <a:lnTo>
                    <a:pt x="557" y="478"/>
                  </a:lnTo>
                  <a:lnTo>
                    <a:pt x="557" y="480"/>
                  </a:lnTo>
                  <a:lnTo>
                    <a:pt x="556" y="478"/>
                  </a:lnTo>
                  <a:lnTo>
                    <a:pt x="554" y="480"/>
                  </a:lnTo>
                  <a:lnTo>
                    <a:pt x="556" y="480"/>
                  </a:lnTo>
                  <a:lnTo>
                    <a:pt x="557" y="480"/>
                  </a:lnTo>
                  <a:lnTo>
                    <a:pt x="556" y="480"/>
                  </a:lnTo>
                  <a:lnTo>
                    <a:pt x="554" y="480"/>
                  </a:lnTo>
                  <a:lnTo>
                    <a:pt x="552" y="480"/>
                  </a:lnTo>
                  <a:lnTo>
                    <a:pt x="551" y="480"/>
                  </a:lnTo>
                  <a:lnTo>
                    <a:pt x="549" y="481"/>
                  </a:lnTo>
                  <a:lnTo>
                    <a:pt x="547" y="481"/>
                  </a:lnTo>
                  <a:lnTo>
                    <a:pt x="544" y="483"/>
                  </a:lnTo>
                  <a:lnTo>
                    <a:pt x="542" y="485"/>
                  </a:lnTo>
                  <a:lnTo>
                    <a:pt x="542" y="486"/>
                  </a:lnTo>
                  <a:lnTo>
                    <a:pt x="539" y="486"/>
                  </a:lnTo>
                  <a:lnTo>
                    <a:pt x="537" y="486"/>
                  </a:lnTo>
                  <a:lnTo>
                    <a:pt x="534" y="486"/>
                  </a:lnTo>
                  <a:lnTo>
                    <a:pt x="534" y="485"/>
                  </a:lnTo>
                  <a:lnTo>
                    <a:pt x="532" y="485"/>
                  </a:lnTo>
                  <a:lnTo>
                    <a:pt x="532" y="481"/>
                  </a:lnTo>
                  <a:lnTo>
                    <a:pt x="534" y="480"/>
                  </a:lnTo>
                  <a:lnTo>
                    <a:pt x="535" y="476"/>
                  </a:lnTo>
                  <a:lnTo>
                    <a:pt x="537" y="474"/>
                  </a:lnTo>
                  <a:lnTo>
                    <a:pt x="539" y="473"/>
                  </a:lnTo>
                  <a:lnTo>
                    <a:pt x="539" y="471"/>
                  </a:lnTo>
                  <a:lnTo>
                    <a:pt x="540" y="473"/>
                  </a:lnTo>
                  <a:lnTo>
                    <a:pt x="540" y="471"/>
                  </a:lnTo>
                  <a:lnTo>
                    <a:pt x="540" y="469"/>
                  </a:lnTo>
                  <a:lnTo>
                    <a:pt x="544" y="468"/>
                  </a:lnTo>
                  <a:lnTo>
                    <a:pt x="542" y="471"/>
                  </a:lnTo>
                  <a:lnTo>
                    <a:pt x="546" y="469"/>
                  </a:lnTo>
                  <a:lnTo>
                    <a:pt x="544" y="468"/>
                  </a:lnTo>
                  <a:lnTo>
                    <a:pt x="546" y="468"/>
                  </a:lnTo>
                  <a:lnTo>
                    <a:pt x="546" y="466"/>
                  </a:lnTo>
                  <a:lnTo>
                    <a:pt x="544" y="466"/>
                  </a:lnTo>
                  <a:lnTo>
                    <a:pt x="546" y="464"/>
                  </a:lnTo>
                  <a:lnTo>
                    <a:pt x="547" y="461"/>
                  </a:lnTo>
                  <a:lnTo>
                    <a:pt x="547" y="459"/>
                  </a:lnTo>
                  <a:lnTo>
                    <a:pt x="549" y="459"/>
                  </a:lnTo>
                  <a:lnTo>
                    <a:pt x="549" y="457"/>
                  </a:lnTo>
                  <a:lnTo>
                    <a:pt x="551" y="456"/>
                  </a:lnTo>
                  <a:lnTo>
                    <a:pt x="552" y="454"/>
                  </a:lnTo>
                  <a:lnTo>
                    <a:pt x="554" y="452"/>
                  </a:lnTo>
                  <a:lnTo>
                    <a:pt x="556" y="452"/>
                  </a:lnTo>
                  <a:lnTo>
                    <a:pt x="556" y="451"/>
                  </a:lnTo>
                  <a:lnTo>
                    <a:pt x="556" y="449"/>
                  </a:lnTo>
                  <a:lnTo>
                    <a:pt x="556" y="447"/>
                  </a:lnTo>
                  <a:lnTo>
                    <a:pt x="556" y="446"/>
                  </a:lnTo>
                  <a:lnTo>
                    <a:pt x="556" y="447"/>
                  </a:lnTo>
                  <a:lnTo>
                    <a:pt x="557" y="449"/>
                  </a:lnTo>
                  <a:lnTo>
                    <a:pt x="559" y="449"/>
                  </a:lnTo>
                  <a:lnTo>
                    <a:pt x="563" y="447"/>
                  </a:lnTo>
                  <a:lnTo>
                    <a:pt x="563" y="446"/>
                  </a:lnTo>
                  <a:lnTo>
                    <a:pt x="564" y="444"/>
                  </a:lnTo>
                  <a:lnTo>
                    <a:pt x="566" y="442"/>
                  </a:lnTo>
                  <a:lnTo>
                    <a:pt x="566" y="440"/>
                  </a:lnTo>
                  <a:lnTo>
                    <a:pt x="566" y="439"/>
                  </a:lnTo>
                  <a:lnTo>
                    <a:pt x="569" y="437"/>
                  </a:lnTo>
                  <a:lnTo>
                    <a:pt x="569" y="439"/>
                  </a:lnTo>
                  <a:lnTo>
                    <a:pt x="571" y="437"/>
                  </a:lnTo>
                  <a:lnTo>
                    <a:pt x="573" y="437"/>
                  </a:lnTo>
                  <a:lnTo>
                    <a:pt x="573" y="435"/>
                  </a:lnTo>
                  <a:lnTo>
                    <a:pt x="574" y="434"/>
                  </a:lnTo>
                  <a:lnTo>
                    <a:pt x="576" y="434"/>
                  </a:lnTo>
                  <a:lnTo>
                    <a:pt x="578" y="435"/>
                  </a:lnTo>
                  <a:lnTo>
                    <a:pt x="578" y="434"/>
                  </a:lnTo>
                  <a:lnTo>
                    <a:pt x="576" y="430"/>
                  </a:lnTo>
                  <a:lnTo>
                    <a:pt x="578" y="429"/>
                  </a:lnTo>
                  <a:lnTo>
                    <a:pt x="580" y="429"/>
                  </a:lnTo>
                  <a:lnTo>
                    <a:pt x="578" y="427"/>
                  </a:lnTo>
                  <a:lnTo>
                    <a:pt x="576" y="427"/>
                  </a:lnTo>
                  <a:lnTo>
                    <a:pt x="574" y="429"/>
                  </a:lnTo>
                  <a:lnTo>
                    <a:pt x="573" y="429"/>
                  </a:lnTo>
                  <a:lnTo>
                    <a:pt x="573" y="427"/>
                  </a:lnTo>
                  <a:lnTo>
                    <a:pt x="571" y="425"/>
                  </a:lnTo>
                  <a:lnTo>
                    <a:pt x="571" y="423"/>
                  </a:lnTo>
                  <a:lnTo>
                    <a:pt x="571" y="422"/>
                  </a:lnTo>
                  <a:lnTo>
                    <a:pt x="571" y="420"/>
                  </a:lnTo>
                  <a:lnTo>
                    <a:pt x="569" y="418"/>
                  </a:lnTo>
                  <a:lnTo>
                    <a:pt x="568" y="417"/>
                  </a:lnTo>
                  <a:lnTo>
                    <a:pt x="566" y="415"/>
                  </a:lnTo>
                  <a:lnTo>
                    <a:pt x="566" y="418"/>
                  </a:lnTo>
                  <a:lnTo>
                    <a:pt x="564" y="420"/>
                  </a:lnTo>
                  <a:lnTo>
                    <a:pt x="568" y="422"/>
                  </a:lnTo>
                  <a:lnTo>
                    <a:pt x="566" y="422"/>
                  </a:lnTo>
                  <a:lnTo>
                    <a:pt x="564" y="422"/>
                  </a:lnTo>
                  <a:lnTo>
                    <a:pt x="564" y="423"/>
                  </a:lnTo>
                  <a:lnTo>
                    <a:pt x="566" y="425"/>
                  </a:lnTo>
                  <a:lnTo>
                    <a:pt x="564" y="425"/>
                  </a:lnTo>
                  <a:lnTo>
                    <a:pt x="563" y="427"/>
                  </a:lnTo>
                  <a:lnTo>
                    <a:pt x="559" y="425"/>
                  </a:lnTo>
                  <a:lnTo>
                    <a:pt x="559" y="423"/>
                  </a:lnTo>
                  <a:lnTo>
                    <a:pt x="556" y="422"/>
                  </a:lnTo>
                  <a:lnTo>
                    <a:pt x="556" y="425"/>
                  </a:lnTo>
                  <a:lnTo>
                    <a:pt x="554" y="425"/>
                  </a:lnTo>
                  <a:lnTo>
                    <a:pt x="556" y="425"/>
                  </a:lnTo>
                  <a:lnTo>
                    <a:pt x="556" y="423"/>
                  </a:lnTo>
                  <a:lnTo>
                    <a:pt x="554" y="422"/>
                  </a:lnTo>
                  <a:lnTo>
                    <a:pt x="551" y="423"/>
                  </a:lnTo>
                  <a:lnTo>
                    <a:pt x="551" y="425"/>
                  </a:lnTo>
                  <a:lnTo>
                    <a:pt x="549" y="423"/>
                  </a:lnTo>
                  <a:lnTo>
                    <a:pt x="551" y="422"/>
                  </a:lnTo>
                  <a:lnTo>
                    <a:pt x="549" y="420"/>
                  </a:lnTo>
                  <a:lnTo>
                    <a:pt x="549" y="422"/>
                  </a:lnTo>
                  <a:lnTo>
                    <a:pt x="547" y="423"/>
                  </a:lnTo>
                  <a:lnTo>
                    <a:pt x="547" y="425"/>
                  </a:lnTo>
                  <a:lnTo>
                    <a:pt x="544" y="425"/>
                  </a:lnTo>
                  <a:lnTo>
                    <a:pt x="542" y="423"/>
                  </a:lnTo>
                  <a:lnTo>
                    <a:pt x="540" y="425"/>
                  </a:lnTo>
                  <a:lnTo>
                    <a:pt x="540" y="427"/>
                  </a:lnTo>
                  <a:lnTo>
                    <a:pt x="542" y="427"/>
                  </a:lnTo>
                  <a:lnTo>
                    <a:pt x="539" y="429"/>
                  </a:lnTo>
                  <a:lnTo>
                    <a:pt x="537" y="430"/>
                  </a:lnTo>
                  <a:lnTo>
                    <a:pt x="535" y="429"/>
                  </a:lnTo>
                  <a:lnTo>
                    <a:pt x="532" y="430"/>
                  </a:lnTo>
                  <a:lnTo>
                    <a:pt x="530" y="430"/>
                  </a:lnTo>
                  <a:lnTo>
                    <a:pt x="529" y="432"/>
                  </a:lnTo>
                  <a:lnTo>
                    <a:pt x="525" y="434"/>
                  </a:lnTo>
                  <a:lnTo>
                    <a:pt x="523" y="434"/>
                  </a:lnTo>
                  <a:lnTo>
                    <a:pt x="522" y="435"/>
                  </a:lnTo>
                  <a:lnTo>
                    <a:pt x="520" y="437"/>
                  </a:lnTo>
                  <a:lnTo>
                    <a:pt x="523" y="437"/>
                  </a:lnTo>
                  <a:lnTo>
                    <a:pt x="525" y="437"/>
                  </a:lnTo>
                  <a:lnTo>
                    <a:pt x="527" y="437"/>
                  </a:lnTo>
                  <a:lnTo>
                    <a:pt x="529" y="437"/>
                  </a:lnTo>
                  <a:lnTo>
                    <a:pt x="532" y="437"/>
                  </a:lnTo>
                  <a:lnTo>
                    <a:pt x="534" y="435"/>
                  </a:lnTo>
                  <a:lnTo>
                    <a:pt x="534" y="437"/>
                  </a:lnTo>
                  <a:lnTo>
                    <a:pt x="537" y="435"/>
                  </a:lnTo>
                  <a:lnTo>
                    <a:pt x="537" y="434"/>
                  </a:lnTo>
                  <a:lnTo>
                    <a:pt x="539" y="434"/>
                  </a:lnTo>
                  <a:lnTo>
                    <a:pt x="540" y="434"/>
                  </a:lnTo>
                  <a:lnTo>
                    <a:pt x="544" y="434"/>
                  </a:lnTo>
                  <a:lnTo>
                    <a:pt x="547" y="434"/>
                  </a:lnTo>
                  <a:lnTo>
                    <a:pt x="544" y="434"/>
                  </a:lnTo>
                  <a:lnTo>
                    <a:pt x="542" y="435"/>
                  </a:lnTo>
                  <a:lnTo>
                    <a:pt x="540" y="435"/>
                  </a:lnTo>
                  <a:lnTo>
                    <a:pt x="539" y="435"/>
                  </a:lnTo>
                  <a:lnTo>
                    <a:pt x="537" y="435"/>
                  </a:lnTo>
                  <a:lnTo>
                    <a:pt x="535" y="437"/>
                  </a:lnTo>
                  <a:lnTo>
                    <a:pt x="534" y="437"/>
                  </a:lnTo>
                  <a:lnTo>
                    <a:pt x="530" y="437"/>
                  </a:lnTo>
                  <a:lnTo>
                    <a:pt x="529" y="437"/>
                  </a:lnTo>
                  <a:lnTo>
                    <a:pt x="527" y="437"/>
                  </a:lnTo>
                  <a:lnTo>
                    <a:pt x="523" y="437"/>
                  </a:lnTo>
                  <a:lnTo>
                    <a:pt x="522" y="437"/>
                  </a:lnTo>
                  <a:lnTo>
                    <a:pt x="520" y="437"/>
                  </a:lnTo>
                  <a:lnTo>
                    <a:pt x="518" y="439"/>
                  </a:lnTo>
                  <a:lnTo>
                    <a:pt x="517" y="439"/>
                  </a:lnTo>
                  <a:lnTo>
                    <a:pt x="515" y="439"/>
                  </a:lnTo>
                  <a:lnTo>
                    <a:pt x="512" y="439"/>
                  </a:lnTo>
                  <a:lnTo>
                    <a:pt x="510" y="439"/>
                  </a:lnTo>
                  <a:lnTo>
                    <a:pt x="506" y="439"/>
                  </a:lnTo>
                  <a:lnTo>
                    <a:pt x="503" y="439"/>
                  </a:lnTo>
                  <a:lnTo>
                    <a:pt x="501" y="439"/>
                  </a:lnTo>
                  <a:lnTo>
                    <a:pt x="500" y="439"/>
                  </a:lnTo>
                  <a:lnTo>
                    <a:pt x="496" y="439"/>
                  </a:lnTo>
                  <a:lnTo>
                    <a:pt x="495" y="439"/>
                  </a:lnTo>
                  <a:lnTo>
                    <a:pt x="498" y="439"/>
                  </a:lnTo>
                  <a:lnTo>
                    <a:pt x="500" y="437"/>
                  </a:lnTo>
                  <a:lnTo>
                    <a:pt x="500" y="439"/>
                  </a:lnTo>
                  <a:lnTo>
                    <a:pt x="501" y="439"/>
                  </a:lnTo>
                  <a:lnTo>
                    <a:pt x="503" y="439"/>
                  </a:lnTo>
                  <a:lnTo>
                    <a:pt x="505" y="439"/>
                  </a:lnTo>
                  <a:lnTo>
                    <a:pt x="503" y="435"/>
                  </a:lnTo>
                  <a:lnTo>
                    <a:pt x="505" y="435"/>
                  </a:lnTo>
                  <a:lnTo>
                    <a:pt x="503" y="434"/>
                  </a:lnTo>
                  <a:lnTo>
                    <a:pt x="501" y="435"/>
                  </a:lnTo>
                  <a:lnTo>
                    <a:pt x="500" y="434"/>
                  </a:lnTo>
                  <a:lnTo>
                    <a:pt x="498" y="435"/>
                  </a:lnTo>
                  <a:lnTo>
                    <a:pt x="496" y="434"/>
                  </a:lnTo>
                  <a:lnTo>
                    <a:pt x="495" y="432"/>
                  </a:lnTo>
                  <a:lnTo>
                    <a:pt x="493" y="432"/>
                  </a:lnTo>
                  <a:lnTo>
                    <a:pt x="493" y="434"/>
                  </a:lnTo>
                  <a:lnTo>
                    <a:pt x="491" y="434"/>
                  </a:lnTo>
                  <a:lnTo>
                    <a:pt x="491" y="432"/>
                  </a:lnTo>
                  <a:lnTo>
                    <a:pt x="489" y="434"/>
                  </a:lnTo>
                  <a:lnTo>
                    <a:pt x="488" y="432"/>
                  </a:lnTo>
                  <a:lnTo>
                    <a:pt x="486" y="432"/>
                  </a:lnTo>
                  <a:lnTo>
                    <a:pt x="484" y="430"/>
                  </a:lnTo>
                  <a:lnTo>
                    <a:pt x="484" y="432"/>
                  </a:lnTo>
                  <a:lnTo>
                    <a:pt x="486" y="432"/>
                  </a:lnTo>
                  <a:lnTo>
                    <a:pt x="484" y="434"/>
                  </a:lnTo>
                  <a:lnTo>
                    <a:pt x="483" y="434"/>
                  </a:lnTo>
                  <a:lnTo>
                    <a:pt x="483" y="435"/>
                  </a:lnTo>
                  <a:lnTo>
                    <a:pt x="481" y="434"/>
                  </a:lnTo>
                  <a:lnTo>
                    <a:pt x="481" y="435"/>
                  </a:lnTo>
                  <a:lnTo>
                    <a:pt x="479" y="434"/>
                  </a:lnTo>
                  <a:lnTo>
                    <a:pt x="479" y="432"/>
                  </a:lnTo>
                  <a:lnTo>
                    <a:pt x="483" y="430"/>
                  </a:lnTo>
                  <a:lnTo>
                    <a:pt x="484" y="430"/>
                  </a:lnTo>
                  <a:lnTo>
                    <a:pt x="488" y="429"/>
                  </a:lnTo>
                  <a:lnTo>
                    <a:pt x="489" y="427"/>
                  </a:lnTo>
                  <a:lnTo>
                    <a:pt x="489" y="423"/>
                  </a:lnTo>
                  <a:lnTo>
                    <a:pt x="491" y="423"/>
                  </a:lnTo>
                  <a:lnTo>
                    <a:pt x="489" y="422"/>
                  </a:lnTo>
                  <a:lnTo>
                    <a:pt x="488" y="420"/>
                  </a:lnTo>
                  <a:lnTo>
                    <a:pt x="486" y="420"/>
                  </a:lnTo>
                  <a:lnTo>
                    <a:pt x="486" y="422"/>
                  </a:lnTo>
                  <a:lnTo>
                    <a:pt x="486" y="420"/>
                  </a:lnTo>
                  <a:lnTo>
                    <a:pt x="483" y="420"/>
                  </a:lnTo>
                  <a:lnTo>
                    <a:pt x="483" y="422"/>
                  </a:lnTo>
                  <a:lnTo>
                    <a:pt x="481" y="422"/>
                  </a:lnTo>
                  <a:lnTo>
                    <a:pt x="483" y="422"/>
                  </a:lnTo>
                  <a:lnTo>
                    <a:pt x="484" y="420"/>
                  </a:lnTo>
                  <a:lnTo>
                    <a:pt x="486" y="422"/>
                  </a:lnTo>
                  <a:lnTo>
                    <a:pt x="483" y="422"/>
                  </a:lnTo>
                  <a:lnTo>
                    <a:pt x="481" y="422"/>
                  </a:lnTo>
                  <a:lnTo>
                    <a:pt x="479" y="422"/>
                  </a:lnTo>
                  <a:lnTo>
                    <a:pt x="478" y="420"/>
                  </a:lnTo>
                  <a:lnTo>
                    <a:pt x="478" y="422"/>
                  </a:lnTo>
                  <a:lnTo>
                    <a:pt x="476" y="422"/>
                  </a:lnTo>
                  <a:lnTo>
                    <a:pt x="474" y="422"/>
                  </a:lnTo>
                  <a:lnTo>
                    <a:pt x="472" y="423"/>
                  </a:lnTo>
                  <a:lnTo>
                    <a:pt x="474" y="425"/>
                  </a:lnTo>
                  <a:lnTo>
                    <a:pt x="472" y="425"/>
                  </a:lnTo>
                  <a:lnTo>
                    <a:pt x="471" y="423"/>
                  </a:lnTo>
                  <a:lnTo>
                    <a:pt x="469" y="423"/>
                  </a:lnTo>
                  <a:lnTo>
                    <a:pt x="467" y="422"/>
                  </a:lnTo>
                  <a:lnTo>
                    <a:pt x="466" y="422"/>
                  </a:lnTo>
                  <a:lnTo>
                    <a:pt x="464" y="420"/>
                  </a:lnTo>
                  <a:lnTo>
                    <a:pt x="462" y="418"/>
                  </a:lnTo>
                  <a:lnTo>
                    <a:pt x="464" y="420"/>
                  </a:lnTo>
                  <a:lnTo>
                    <a:pt x="466" y="420"/>
                  </a:lnTo>
                  <a:lnTo>
                    <a:pt x="467" y="420"/>
                  </a:lnTo>
                  <a:lnTo>
                    <a:pt x="471" y="418"/>
                  </a:lnTo>
                  <a:lnTo>
                    <a:pt x="472" y="418"/>
                  </a:lnTo>
                  <a:lnTo>
                    <a:pt x="474" y="417"/>
                  </a:lnTo>
                  <a:lnTo>
                    <a:pt x="476" y="418"/>
                  </a:lnTo>
                  <a:lnTo>
                    <a:pt x="478" y="418"/>
                  </a:lnTo>
                  <a:lnTo>
                    <a:pt x="479" y="418"/>
                  </a:lnTo>
                  <a:lnTo>
                    <a:pt x="481" y="417"/>
                  </a:lnTo>
                  <a:lnTo>
                    <a:pt x="483" y="417"/>
                  </a:lnTo>
                  <a:lnTo>
                    <a:pt x="486" y="418"/>
                  </a:lnTo>
                  <a:lnTo>
                    <a:pt x="488" y="417"/>
                  </a:lnTo>
                  <a:lnTo>
                    <a:pt x="489" y="417"/>
                  </a:lnTo>
                  <a:lnTo>
                    <a:pt x="489" y="415"/>
                  </a:lnTo>
                  <a:lnTo>
                    <a:pt x="491" y="415"/>
                  </a:lnTo>
                  <a:lnTo>
                    <a:pt x="495" y="415"/>
                  </a:lnTo>
                  <a:lnTo>
                    <a:pt x="493" y="413"/>
                  </a:lnTo>
                  <a:lnTo>
                    <a:pt x="496" y="415"/>
                  </a:lnTo>
                  <a:lnTo>
                    <a:pt x="498" y="415"/>
                  </a:lnTo>
                  <a:lnTo>
                    <a:pt x="500" y="415"/>
                  </a:lnTo>
                  <a:lnTo>
                    <a:pt x="501" y="415"/>
                  </a:lnTo>
                  <a:lnTo>
                    <a:pt x="503" y="415"/>
                  </a:lnTo>
                  <a:lnTo>
                    <a:pt x="505" y="413"/>
                  </a:lnTo>
                  <a:lnTo>
                    <a:pt x="506" y="412"/>
                  </a:lnTo>
                  <a:lnTo>
                    <a:pt x="506" y="410"/>
                  </a:lnTo>
                  <a:lnTo>
                    <a:pt x="508" y="410"/>
                  </a:lnTo>
                  <a:lnTo>
                    <a:pt x="508" y="406"/>
                  </a:lnTo>
                  <a:lnTo>
                    <a:pt x="510" y="406"/>
                  </a:lnTo>
                  <a:lnTo>
                    <a:pt x="512" y="406"/>
                  </a:lnTo>
                  <a:lnTo>
                    <a:pt x="512" y="405"/>
                  </a:lnTo>
                  <a:lnTo>
                    <a:pt x="513" y="405"/>
                  </a:lnTo>
                  <a:lnTo>
                    <a:pt x="512" y="405"/>
                  </a:lnTo>
                  <a:lnTo>
                    <a:pt x="513" y="403"/>
                  </a:lnTo>
                  <a:lnTo>
                    <a:pt x="513" y="401"/>
                  </a:lnTo>
                  <a:lnTo>
                    <a:pt x="513" y="403"/>
                  </a:lnTo>
                  <a:lnTo>
                    <a:pt x="512" y="403"/>
                  </a:lnTo>
                  <a:lnTo>
                    <a:pt x="512" y="406"/>
                  </a:lnTo>
                  <a:lnTo>
                    <a:pt x="510" y="406"/>
                  </a:lnTo>
                  <a:lnTo>
                    <a:pt x="510" y="405"/>
                  </a:lnTo>
                  <a:lnTo>
                    <a:pt x="512" y="405"/>
                  </a:lnTo>
                  <a:lnTo>
                    <a:pt x="513" y="401"/>
                  </a:lnTo>
                  <a:lnTo>
                    <a:pt x="513" y="400"/>
                  </a:lnTo>
                  <a:lnTo>
                    <a:pt x="515" y="398"/>
                  </a:lnTo>
                  <a:lnTo>
                    <a:pt x="517" y="398"/>
                  </a:lnTo>
                  <a:lnTo>
                    <a:pt x="517" y="396"/>
                  </a:lnTo>
                  <a:lnTo>
                    <a:pt x="513" y="398"/>
                  </a:lnTo>
                  <a:lnTo>
                    <a:pt x="513" y="400"/>
                  </a:lnTo>
                  <a:lnTo>
                    <a:pt x="512" y="400"/>
                  </a:lnTo>
                  <a:lnTo>
                    <a:pt x="513" y="400"/>
                  </a:lnTo>
                  <a:lnTo>
                    <a:pt x="513" y="396"/>
                  </a:lnTo>
                  <a:lnTo>
                    <a:pt x="515" y="395"/>
                  </a:lnTo>
                  <a:lnTo>
                    <a:pt x="513" y="396"/>
                  </a:lnTo>
                  <a:lnTo>
                    <a:pt x="512" y="398"/>
                  </a:lnTo>
                  <a:lnTo>
                    <a:pt x="512" y="400"/>
                  </a:lnTo>
                  <a:lnTo>
                    <a:pt x="510" y="400"/>
                  </a:lnTo>
                  <a:lnTo>
                    <a:pt x="508" y="401"/>
                  </a:lnTo>
                  <a:lnTo>
                    <a:pt x="506" y="401"/>
                  </a:lnTo>
                  <a:lnTo>
                    <a:pt x="505" y="403"/>
                  </a:lnTo>
                  <a:lnTo>
                    <a:pt x="505" y="401"/>
                  </a:lnTo>
                  <a:lnTo>
                    <a:pt x="505" y="403"/>
                  </a:lnTo>
                  <a:lnTo>
                    <a:pt x="506" y="403"/>
                  </a:lnTo>
                  <a:lnTo>
                    <a:pt x="506" y="405"/>
                  </a:lnTo>
                  <a:lnTo>
                    <a:pt x="505" y="406"/>
                  </a:lnTo>
                  <a:lnTo>
                    <a:pt x="503" y="406"/>
                  </a:lnTo>
                  <a:lnTo>
                    <a:pt x="503" y="408"/>
                  </a:lnTo>
                  <a:lnTo>
                    <a:pt x="501" y="408"/>
                  </a:lnTo>
                  <a:lnTo>
                    <a:pt x="500" y="408"/>
                  </a:lnTo>
                  <a:lnTo>
                    <a:pt x="498" y="408"/>
                  </a:lnTo>
                  <a:lnTo>
                    <a:pt x="496" y="406"/>
                  </a:lnTo>
                  <a:lnTo>
                    <a:pt x="495" y="408"/>
                  </a:lnTo>
                  <a:lnTo>
                    <a:pt x="493" y="410"/>
                  </a:lnTo>
                  <a:lnTo>
                    <a:pt x="491" y="412"/>
                  </a:lnTo>
                  <a:lnTo>
                    <a:pt x="491" y="410"/>
                  </a:lnTo>
                  <a:lnTo>
                    <a:pt x="489" y="408"/>
                  </a:lnTo>
                  <a:lnTo>
                    <a:pt x="486" y="408"/>
                  </a:lnTo>
                  <a:lnTo>
                    <a:pt x="484" y="408"/>
                  </a:lnTo>
                  <a:lnTo>
                    <a:pt x="483" y="406"/>
                  </a:lnTo>
                  <a:lnTo>
                    <a:pt x="481" y="405"/>
                  </a:lnTo>
                  <a:lnTo>
                    <a:pt x="481" y="403"/>
                  </a:lnTo>
                  <a:lnTo>
                    <a:pt x="479" y="401"/>
                  </a:lnTo>
                  <a:lnTo>
                    <a:pt x="478" y="401"/>
                  </a:lnTo>
                  <a:lnTo>
                    <a:pt x="478" y="400"/>
                  </a:lnTo>
                  <a:lnTo>
                    <a:pt x="476" y="398"/>
                  </a:lnTo>
                  <a:lnTo>
                    <a:pt x="478" y="396"/>
                  </a:lnTo>
                  <a:lnTo>
                    <a:pt x="478" y="395"/>
                  </a:lnTo>
                  <a:lnTo>
                    <a:pt x="479" y="391"/>
                  </a:lnTo>
                  <a:lnTo>
                    <a:pt x="478" y="389"/>
                  </a:lnTo>
                  <a:lnTo>
                    <a:pt x="478" y="391"/>
                  </a:lnTo>
                  <a:lnTo>
                    <a:pt x="476" y="393"/>
                  </a:lnTo>
                  <a:lnTo>
                    <a:pt x="474" y="395"/>
                  </a:lnTo>
                  <a:lnTo>
                    <a:pt x="474" y="396"/>
                  </a:lnTo>
                  <a:lnTo>
                    <a:pt x="474" y="398"/>
                  </a:lnTo>
                  <a:lnTo>
                    <a:pt x="474" y="401"/>
                  </a:lnTo>
                  <a:lnTo>
                    <a:pt x="478" y="403"/>
                  </a:lnTo>
                  <a:lnTo>
                    <a:pt x="478" y="406"/>
                  </a:lnTo>
                  <a:lnTo>
                    <a:pt x="478" y="408"/>
                  </a:lnTo>
                  <a:lnTo>
                    <a:pt x="478" y="410"/>
                  </a:lnTo>
                  <a:lnTo>
                    <a:pt x="476" y="412"/>
                  </a:lnTo>
                  <a:lnTo>
                    <a:pt x="474" y="412"/>
                  </a:lnTo>
                  <a:lnTo>
                    <a:pt x="472" y="412"/>
                  </a:lnTo>
                  <a:lnTo>
                    <a:pt x="471" y="412"/>
                  </a:lnTo>
                  <a:lnTo>
                    <a:pt x="469" y="412"/>
                  </a:lnTo>
                  <a:lnTo>
                    <a:pt x="466" y="412"/>
                  </a:lnTo>
                  <a:lnTo>
                    <a:pt x="464" y="413"/>
                  </a:lnTo>
                  <a:lnTo>
                    <a:pt x="464" y="415"/>
                  </a:lnTo>
                  <a:lnTo>
                    <a:pt x="464" y="417"/>
                  </a:lnTo>
                  <a:lnTo>
                    <a:pt x="461" y="415"/>
                  </a:lnTo>
                  <a:lnTo>
                    <a:pt x="459" y="415"/>
                  </a:lnTo>
                  <a:lnTo>
                    <a:pt x="457" y="417"/>
                  </a:lnTo>
                  <a:lnTo>
                    <a:pt x="459" y="415"/>
                  </a:lnTo>
                  <a:lnTo>
                    <a:pt x="461" y="413"/>
                  </a:lnTo>
                  <a:lnTo>
                    <a:pt x="459" y="412"/>
                  </a:lnTo>
                  <a:lnTo>
                    <a:pt x="461" y="410"/>
                  </a:lnTo>
                  <a:lnTo>
                    <a:pt x="461" y="406"/>
                  </a:lnTo>
                  <a:lnTo>
                    <a:pt x="459" y="405"/>
                  </a:lnTo>
                  <a:lnTo>
                    <a:pt x="457" y="405"/>
                  </a:lnTo>
                  <a:lnTo>
                    <a:pt x="459" y="406"/>
                  </a:lnTo>
                  <a:lnTo>
                    <a:pt x="459" y="408"/>
                  </a:lnTo>
                  <a:lnTo>
                    <a:pt x="457" y="408"/>
                  </a:lnTo>
                  <a:lnTo>
                    <a:pt x="455" y="408"/>
                  </a:lnTo>
                  <a:lnTo>
                    <a:pt x="454" y="405"/>
                  </a:lnTo>
                  <a:lnTo>
                    <a:pt x="454" y="408"/>
                  </a:lnTo>
                  <a:lnTo>
                    <a:pt x="455" y="408"/>
                  </a:lnTo>
                  <a:lnTo>
                    <a:pt x="457" y="408"/>
                  </a:lnTo>
                  <a:lnTo>
                    <a:pt x="459" y="412"/>
                  </a:lnTo>
                  <a:lnTo>
                    <a:pt x="457" y="413"/>
                  </a:lnTo>
                  <a:lnTo>
                    <a:pt x="455" y="415"/>
                  </a:lnTo>
                  <a:lnTo>
                    <a:pt x="457" y="417"/>
                  </a:lnTo>
                  <a:lnTo>
                    <a:pt x="454" y="418"/>
                  </a:lnTo>
                  <a:lnTo>
                    <a:pt x="454" y="420"/>
                  </a:lnTo>
                  <a:lnTo>
                    <a:pt x="450" y="420"/>
                  </a:lnTo>
                  <a:lnTo>
                    <a:pt x="449" y="420"/>
                  </a:lnTo>
                  <a:lnTo>
                    <a:pt x="447" y="420"/>
                  </a:lnTo>
                  <a:lnTo>
                    <a:pt x="445" y="420"/>
                  </a:lnTo>
                  <a:lnTo>
                    <a:pt x="444" y="422"/>
                  </a:lnTo>
                  <a:lnTo>
                    <a:pt x="442" y="422"/>
                  </a:lnTo>
                  <a:lnTo>
                    <a:pt x="440" y="423"/>
                  </a:lnTo>
                  <a:lnTo>
                    <a:pt x="438" y="423"/>
                  </a:lnTo>
                  <a:lnTo>
                    <a:pt x="440" y="423"/>
                  </a:lnTo>
                  <a:lnTo>
                    <a:pt x="438" y="423"/>
                  </a:lnTo>
                  <a:lnTo>
                    <a:pt x="437" y="420"/>
                  </a:lnTo>
                  <a:lnTo>
                    <a:pt x="438" y="423"/>
                  </a:lnTo>
                  <a:lnTo>
                    <a:pt x="438" y="425"/>
                  </a:lnTo>
                  <a:lnTo>
                    <a:pt x="437" y="425"/>
                  </a:lnTo>
                  <a:lnTo>
                    <a:pt x="435" y="427"/>
                  </a:lnTo>
                  <a:lnTo>
                    <a:pt x="433" y="427"/>
                  </a:lnTo>
                  <a:lnTo>
                    <a:pt x="432" y="429"/>
                  </a:lnTo>
                  <a:lnTo>
                    <a:pt x="432" y="430"/>
                  </a:lnTo>
                  <a:lnTo>
                    <a:pt x="430" y="430"/>
                  </a:lnTo>
                  <a:lnTo>
                    <a:pt x="428" y="432"/>
                  </a:lnTo>
                  <a:lnTo>
                    <a:pt x="427" y="434"/>
                  </a:lnTo>
                  <a:lnTo>
                    <a:pt x="428" y="435"/>
                  </a:lnTo>
                  <a:lnTo>
                    <a:pt x="430" y="437"/>
                  </a:lnTo>
                  <a:lnTo>
                    <a:pt x="430" y="439"/>
                  </a:lnTo>
                  <a:lnTo>
                    <a:pt x="430" y="440"/>
                  </a:lnTo>
                  <a:lnTo>
                    <a:pt x="432" y="442"/>
                  </a:lnTo>
                  <a:lnTo>
                    <a:pt x="430" y="444"/>
                  </a:lnTo>
                  <a:lnTo>
                    <a:pt x="428" y="446"/>
                  </a:lnTo>
                  <a:lnTo>
                    <a:pt x="428" y="447"/>
                  </a:lnTo>
                  <a:lnTo>
                    <a:pt x="427" y="446"/>
                  </a:lnTo>
                  <a:lnTo>
                    <a:pt x="425" y="444"/>
                  </a:lnTo>
                  <a:lnTo>
                    <a:pt x="427" y="446"/>
                  </a:lnTo>
                  <a:lnTo>
                    <a:pt x="427" y="447"/>
                  </a:lnTo>
                  <a:lnTo>
                    <a:pt x="428" y="447"/>
                  </a:lnTo>
                  <a:lnTo>
                    <a:pt x="428" y="451"/>
                  </a:lnTo>
                  <a:lnTo>
                    <a:pt x="428" y="454"/>
                  </a:lnTo>
                  <a:lnTo>
                    <a:pt x="427" y="456"/>
                  </a:lnTo>
                  <a:lnTo>
                    <a:pt x="427" y="457"/>
                  </a:lnTo>
                  <a:lnTo>
                    <a:pt x="427" y="461"/>
                  </a:lnTo>
                  <a:lnTo>
                    <a:pt x="425" y="463"/>
                  </a:lnTo>
                  <a:lnTo>
                    <a:pt x="425" y="466"/>
                  </a:lnTo>
                  <a:lnTo>
                    <a:pt x="423" y="468"/>
                  </a:lnTo>
                  <a:lnTo>
                    <a:pt x="423" y="469"/>
                  </a:lnTo>
                  <a:lnTo>
                    <a:pt x="421" y="471"/>
                  </a:lnTo>
                  <a:lnTo>
                    <a:pt x="421" y="473"/>
                  </a:lnTo>
                  <a:lnTo>
                    <a:pt x="420" y="474"/>
                  </a:lnTo>
                  <a:lnTo>
                    <a:pt x="420" y="476"/>
                  </a:lnTo>
                  <a:lnTo>
                    <a:pt x="418" y="478"/>
                  </a:lnTo>
                  <a:lnTo>
                    <a:pt x="418" y="480"/>
                  </a:lnTo>
                  <a:lnTo>
                    <a:pt x="418" y="481"/>
                  </a:lnTo>
                  <a:lnTo>
                    <a:pt x="418" y="483"/>
                  </a:lnTo>
                  <a:lnTo>
                    <a:pt x="416" y="485"/>
                  </a:lnTo>
                  <a:lnTo>
                    <a:pt x="415" y="486"/>
                  </a:lnTo>
                  <a:lnTo>
                    <a:pt x="413" y="488"/>
                  </a:lnTo>
                  <a:lnTo>
                    <a:pt x="411" y="491"/>
                  </a:lnTo>
                  <a:lnTo>
                    <a:pt x="410" y="495"/>
                  </a:lnTo>
                  <a:lnTo>
                    <a:pt x="408" y="497"/>
                  </a:lnTo>
                  <a:lnTo>
                    <a:pt x="406" y="498"/>
                  </a:lnTo>
                  <a:lnTo>
                    <a:pt x="406" y="500"/>
                  </a:lnTo>
                  <a:lnTo>
                    <a:pt x="404" y="502"/>
                  </a:lnTo>
                  <a:lnTo>
                    <a:pt x="403" y="505"/>
                  </a:lnTo>
                  <a:lnTo>
                    <a:pt x="399" y="508"/>
                  </a:lnTo>
                  <a:lnTo>
                    <a:pt x="398" y="510"/>
                  </a:lnTo>
                  <a:lnTo>
                    <a:pt x="398" y="512"/>
                  </a:lnTo>
                  <a:lnTo>
                    <a:pt x="396" y="512"/>
                  </a:lnTo>
                  <a:lnTo>
                    <a:pt x="396" y="515"/>
                  </a:lnTo>
                  <a:lnTo>
                    <a:pt x="394" y="517"/>
                  </a:lnTo>
                  <a:lnTo>
                    <a:pt x="396" y="519"/>
                  </a:lnTo>
                  <a:lnTo>
                    <a:pt x="394" y="519"/>
                  </a:lnTo>
                  <a:lnTo>
                    <a:pt x="396" y="519"/>
                  </a:lnTo>
                  <a:lnTo>
                    <a:pt x="398" y="522"/>
                  </a:lnTo>
                  <a:lnTo>
                    <a:pt x="399" y="519"/>
                  </a:lnTo>
                  <a:lnTo>
                    <a:pt x="399" y="520"/>
                  </a:lnTo>
                  <a:lnTo>
                    <a:pt x="399" y="519"/>
                  </a:lnTo>
                  <a:lnTo>
                    <a:pt x="401" y="519"/>
                  </a:lnTo>
                  <a:lnTo>
                    <a:pt x="399" y="520"/>
                  </a:lnTo>
                  <a:lnTo>
                    <a:pt x="398" y="522"/>
                  </a:lnTo>
                  <a:lnTo>
                    <a:pt x="396" y="524"/>
                  </a:lnTo>
                  <a:lnTo>
                    <a:pt x="396" y="525"/>
                  </a:lnTo>
                  <a:lnTo>
                    <a:pt x="393" y="524"/>
                  </a:lnTo>
                  <a:lnTo>
                    <a:pt x="391" y="524"/>
                  </a:lnTo>
                  <a:lnTo>
                    <a:pt x="389" y="524"/>
                  </a:lnTo>
                  <a:lnTo>
                    <a:pt x="387" y="524"/>
                  </a:lnTo>
                  <a:lnTo>
                    <a:pt x="386" y="524"/>
                  </a:lnTo>
                  <a:lnTo>
                    <a:pt x="384" y="525"/>
                  </a:lnTo>
                  <a:lnTo>
                    <a:pt x="382" y="525"/>
                  </a:lnTo>
                  <a:lnTo>
                    <a:pt x="381" y="527"/>
                  </a:lnTo>
                  <a:lnTo>
                    <a:pt x="377" y="527"/>
                  </a:lnTo>
                  <a:lnTo>
                    <a:pt x="376" y="529"/>
                  </a:lnTo>
                  <a:lnTo>
                    <a:pt x="376" y="531"/>
                  </a:lnTo>
                  <a:lnTo>
                    <a:pt x="374" y="532"/>
                  </a:lnTo>
                  <a:lnTo>
                    <a:pt x="372" y="532"/>
                  </a:lnTo>
                  <a:lnTo>
                    <a:pt x="370" y="534"/>
                  </a:lnTo>
                  <a:lnTo>
                    <a:pt x="369" y="536"/>
                  </a:lnTo>
                  <a:lnTo>
                    <a:pt x="367" y="537"/>
                  </a:lnTo>
                  <a:lnTo>
                    <a:pt x="367" y="539"/>
                  </a:lnTo>
                  <a:lnTo>
                    <a:pt x="367" y="541"/>
                  </a:lnTo>
                  <a:lnTo>
                    <a:pt x="365" y="541"/>
                  </a:lnTo>
                  <a:lnTo>
                    <a:pt x="362" y="539"/>
                  </a:lnTo>
                  <a:lnTo>
                    <a:pt x="360" y="539"/>
                  </a:lnTo>
                  <a:lnTo>
                    <a:pt x="359" y="539"/>
                  </a:lnTo>
                  <a:lnTo>
                    <a:pt x="359" y="541"/>
                  </a:lnTo>
                  <a:lnTo>
                    <a:pt x="357" y="542"/>
                  </a:lnTo>
                  <a:lnTo>
                    <a:pt x="359" y="544"/>
                  </a:lnTo>
                  <a:lnTo>
                    <a:pt x="360" y="546"/>
                  </a:lnTo>
                  <a:lnTo>
                    <a:pt x="359" y="548"/>
                  </a:lnTo>
                  <a:lnTo>
                    <a:pt x="357" y="548"/>
                  </a:lnTo>
                  <a:lnTo>
                    <a:pt x="355" y="548"/>
                  </a:lnTo>
                  <a:lnTo>
                    <a:pt x="352" y="548"/>
                  </a:lnTo>
                  <a:lnTo>
                    <a:pt x="350" y="548"/>
                  </a:lnTo>
                  <a:lnTo>
                    <a:pt x="348" y="548"/>
                  </a:lnTo>
                  <a:lnTo>
                    <a:pt x="347" y="548"/>
                  </a:lnTo>
                  <a:lnTo>
                    <a:pt x="343" y="548"/>
                  </a:lnTo>
                  <a:lnTo>
                    <a:pt x="340" y="546"/>
                  </a:lnTo>
                  <a:lnTo>
                    <a:pt x="338" y="546"/>
                  </a:lnTo>
                  <a:lnTo>
                    <a:pt x="336" y="544"/>
                  </a:lnTo>
                  <a:lnTo>
                    <a:pt x="335" y="542"/>
                  </a:lnTo>
                  <a:lnTo>
                    <a:pt x="333" y="541"/>
                  </a:lnTo>
                  <a:lnTo>
                    <a:pt x="333" y="539"/>
                  </a:lnTo>
                  <a:lnTo>
                    <a:pt x="331" y="539"/>
                  </a:lnTo>
                  <a:lnTo>
                    <a:pt x="331" y="537"/>
                  </a:lnTo>
                  <a:lnTo>
                    <a:pt x="328" y="537"/>
                  </a:lnTo>
                  <a:lnTo>
                    <a:pt x="328" y="536"/>
                  </a:lnTo>
                  <a:lnTo>
                    <a:pt x="330" y="534"/>
                  </a:lnTo>
                  <a:lnTo>
                    <a:pt x="330" y="532"/>
                  </a:lnTo>
                  <a:lnTo>
                    <a:pt x="331" y="531"/>
                  </a:lnTo>
                  <a:lnTo>
                    <a:pt x="333" y="531"/>
                  </a:lnTo>
                  <a:lnTo>
                    <a:pt x="336" y="532"/>
                  </a:lnTo>
                  <a:lnTo>
                    <a:pt x="336" y="534"/>
                  </a:lnTo>
                  <a:lnTo>
                    <a:pt x="338" y="534"/>
                  </a:lnTo>
                  <a:lnTo>
                    <a:pt x="342" y="532"/>
                  </a:lnTo>
                  <a:lnTo>
                    <a:pt x="342" y="529"/>
                  </a:lnTo>
                  <a:lnTo>
                    <a:pt x="340" y="527"/>
                  </a:lnTo>
                  <a:lnTo>
                    <a:pt x="342" y="525"/>
                  </a:lnTo>
                  <a:lnTo>
                    <a:pt x="340" y="522"/>
                  </a:lnTo>
                  <a:lnTo>
                    <a:pt x="340" y="520"/>
                  </a:lnTo>
                  <a:lnTo>
                    <a:pt x="338" y="520"/>
                  </a:lnTo>
                  <a:lnTo>
                    <a:pt x="336" y="520"/>
                  </a:lnTo>
                  <a:lnTo>
                    <a:pt x="338" y="519"/>
                  </a:lnTo>
                  <a:lnTo>
                    <a:pt x="338" y="515"/>
                  </a:lnTo>
                  <a:lnTo>
                    <a:pt x="340" y="515"/>
                  </a:lnTo>
                  <a:lnTo>
                    <a:pt x="342" y="515"/>
                  </a:lnTo>
                  <a:lnTo>
                    <a:pt x="340" y="512"/>
                  </a:lnTo>
                  <a:lnTo>
                    <a:pt x="342" y="512"/>
                  </a:lnTo>
                  <a:lnTo>
                    <a:pt x="343" y="512"/>
                  </a:lnTo>
                  <a:lnTo>
                    <a:pt x="345" y="510"/>
                  </a:lnTo>
                  <a:lnTo>
                    <a:pt x="347" y="510"/>
                  </a:lnTo>
                  <a:lnTo>
                    <a:pt x="345" y="508"/>
                  </a:lnTo>
                  <a:lnTo>
                    <a:pt x="345" y="507"/>
                  </a:lnTo>
                  <a:lnTo>
                    <a:pt x="348" y="505"/>
                  </a:lnTo>
                  <a:lnTo>
                    <a:pt x="347" y="502"/>
                  </a:lnTo>
                  <a:lnTo>
                    <a:pt x="345" y="500"/>
                  </a:lnTo>
                  <a:lnTo>
                    <a:pt x="345" y="497"/>
                  </a:lnTo>
                  <a:lnTo>
                    <a:pt x="347" y="497"/>
                  </a:lnTo>
                  <a:lnTo>
                    <a:pt x="347" y="495"/>
                  </a:lnTo>
                  <a:lnTo>
                    <a:pt x="348" y="495"/>
                  </a:lnTo>
                  <a:lnTo>
                    <a:pt x="352" y="493"/>
                  </a:lnTo>
                  <a:lnTo>
                    <a:pt x="353" y="493"/>
                  </a:lnTo>
                  <a:lnTo>
                    <a:pt x="353" y="491"/>
                  </a:lnTo>
                  <a:lnTo>
                    <a:pt x="355" y="491"/>
                  </a:lnTo>
                  <a:lnTo>
                    <a:pt x="355" y="488"/>
                  </a:lnTo>
                  <a:lnTo>
                    <a:pt x="353" y="486"/>
                  </a:lnTo>
                  <a:lnTo>
                    <a:pt x="352" y="486"/>
                  </a:lnTo>
                  <a:lnTo>
                    <a:pt x="353" y="483"/>
                  </a:lnTo>
                  <a:lnTo>
                    <a:pt x="355" y="480"/>
                  </a:lnTo>
                  <a:lnTo>
                    <a:pt x="355" y="478"/>
                  </a:lnTo>
                  <a:lnTo>
                    <a:pt x="355" y="476"/>
                  </a:lnTo>
                  <a:lnTo>
                    <a:pt x="352" y="476"/>
                  </a:lnTo>
                  <a:lnTo>
                    <a:pt x="348" y="474"/>
                  </a:lnTo>
                  <a:lnTo>
                    <a:pt x="348" y="473"/>
                  </a:lnTo>
                  <a:lnTo>
                    <a:pt x="350" y="471"/>
                  </a:lnTo>
                  <a:lnTo>
                    <a:pt x="350" y="469"/>
                  </a:lnTo>
                  <a:lnTo>
                    <a:pt x="348" y="466"/>
                  </a:lnTo>
                  <a:lnTo>
                    <a:pt x="347" y="464"/>
                  </a:lnTo>
                  <a:lnTo>
                    <a:pt x="345" y="463"/>
                  </a:lnTo>
                  <a:lnTo>
                    <a:pt x="345" y="461"/>
                  </a:lnTo>
                  <a:lnTo>
                    <a:pt x="347" y="461"/>
                  </a:lnTo>
                  <a:lnTo>
                    <a:pt x="348" y="459"/>
                  </a:lnTo>
                  <a:lnTo>
                    <a:pt x="347" y="459"/>
                  </a:lnTo>
                  <a:lnTo>
                    <a:pt x="348" y="457"/>
                  </a:lnTo>
                  <a:lnTo>
                    <a:pt x="350" y="456"/>
                  </a:lnTo>
                  <a:lnTo>
                    <a:pt x="352" y="456"/>
                  </a:lnTo>
                  <a:lnTo>
                    <a:pt x="353" y="454"/>
                  </a:lnTo>
                  <a:lnTo>
                    <a:pt x="355" y="454"/>
                  </a:lnTo>
                  <a:lnTo>
                    <a:pt x="353" y="452"/>
                  </a:lnTo>
                  <a:lnTo>
                    <a:pt x="355" y="452"/>
                  </a:lnTo>
                  <a:lnTo>
                    <a:pt x="357" y="451"/>
                  </a:lnTo>
                  <a:lnTo>
                    <a:pt x="357" y="452"/>
                  </a:lnTo>
                  <a:lnTo>
                    <a:pt x="359" y="454"/>
                  </a:lnTo>
                  <a:lnTo>
                    <a:pt x="359" y="456"/>
                  </a:lnTo>
                  <a:lnTo>
                    <a:pt x="359" y="457"/>
                  </a:lnTo>
                  <a:lnTo>
                    <a:pt x="359" y="459"/>
                  </a:lnTo>
                  <a:lnTo>
                    <a:pt x="360" y="459"/>
                  </a:lnTo>
                  <a:lnTo>
                    <a:pt x="359" y="463"/>
                  </a:lnTo>
                  <a:lnTo>
                    <a:pt x="360" y="463"/>
                  </a:lnTo>
                  <a:lnTo>
                    <a:pt x="360" y="461"/>
                  </a:lnTo>
                  <a:lnTo>
                    <a:pt x="364" y="459"/>
                  </a:lnTo>
                  <a:lnTo>
                    <a:pt x="362" y="457"/>
                  </a:lnTo>
                  <a:lnTo>
                    <a:pt x="362" y="456"/>
                  </a:lnTo>
                  <a:lnTo>
                    <a:pt x="364" y="456"/>
                  </a:lnTo>
                  <a:lnTo>
                    <a:pt x="364" y="452"/>
                  </a:lnTo>
                  <a:lnTo>
                    <a:pt x="365" y="454"/>
                  </a:lnTo>
                  <a:lnTo>
                    <a:pt x="365" y="456"/>
                  </a:lnTo>
                  <a:lnTo>
                    <a:pt x="367" y="457"/>
                  </a:lnTo>
                  <a:lnTo>
                    <a:pt x="365" y="456"/>
                  </a:lnTo>
                  <a:lnTo>
                    <a:pt x="367" y="454"/>
                  </a:lnTo>
                  <a:lnTo>
                    <a:pt x="367" y="452"/>
                  </a:lnTo>
                  <a:lnTo>
                    <a:pt x="369" y="452"/>
                  </a:lnTo>
                  <a:lnTo>
                    <a:pt x="370" y="454"/>
                  </a:lnTo>
                  <a:lnTo>
                    <a:pt x="370" y="456"/>
                  </a:lnTo>
                  <a:lnTo>
                    <a:pt x="372" y="456"/>
                  </a:lnTo>
                  <a:lnTo>
                    <a:pt x="374" y="456"/>
                  </a:lnTo>
                  <a:lnTo>
                    <a:pt x="376" y="457"/>
                  </a:lnTo>
                  <a:lnTo>
                    <a:pt x="377" y="459"/>
                  </a:lnTo>
                  <a:lnTo>
                    <a:pt x="379" y="459"/>
                  </a:lnTo>
                  <a:lnTo>
                    <a:pt x="381" y="457"/>
                  </a:lnTo>
                  <a:lnTo>
                    <a:pt x="379" y="454"/>
                  </a:lnTo>
                  <a:lnTo>
                    <a:pt x="379" y="452"/>
                  </a:lnTo>
                  <a:lnTo>
                    <a:pt x="381" y="454"/>
                  </a:lnTo>
                  <a:lnTo>
                    <a:pt x="382" y="452"/>
                  </a:lnTo>
                  <a:lnTo>
                    <a:pt x="381" y="451"/>
                  </a:lnTo>
                  <a:lnTo>
                    <a:pt x="382" y="451"/>
                  </a:lnTo>
                  <a:lnTo>
                    <a:pt x="384" y="451"/>
                  </a:lnTo>
                  <a:lnTo>
                    <a:pt x="386" y="452"/>
                  </a:lnTo>
                  <a:lnTo>
                    <a:pt x="387" y="454"/>
                  </a:lnTo>
                  <a:lnTo>
                    <a:pt x="387" y="456"/>
                  </a:lnTo>
                  <a:lnTo>
                    <a:pt x="389" y="456"/>
                  </a:lnTo>
                  <a:lnTo>
                    <a:pt x="391" y="456"/>
                  </a:lnTo>
                  <a:lnTo>
                    <a:pt x="391" y="454"/>
                  </a:lnTo>
                  <a:lnTo>
                    <a:pt x="393" y="452"/>
                  </a:lnTo>
                  <a:lnTo>
                    <a:pt x="396" y="452"/>
                  </a:lnTo>
                  <a:lnTo>
                    <a:pt x="398" y="452"/>
                  </a:lnTo>
                  <a:lnTo>
                    <a:pt x="399" y="451"/>
                  </a:lnTo>
                  <a:lnTo>
                    <a:pt x="401" y="451"/>
                  </a:lnTo>
                  <a:lnTo>
                    <a:pt x="403" y="449"/>
                  </a:lnTo>
                  <a:lnTo>
                    <a:pt x="403" y="447"/>
                  </a:lnTo>
                  <a:lnTo>
                    <a:pt x="401" y="449"/>
                  </a:lnTo>
                  <a:lnTo>
                    <a:pt x="399" y="447"/>
                  </a:lnTo>
                  <a:lnTo>
                    <a:pt x="399" y="449"/>
                  </a:lnTo>
                  <a:lnTo>
                    <a:pt x="398" y="449"/>
                  </a:lnTo>
                  <a:lnTo>
                    <a:pt x="398" y="447"/>
                  </a:lnTo>
                  <a:lnTo>
                    <a:pt x="396" y="449"/>
                  </a:lnTo>
                  <a:lnTo>
                    <a:pt x="396" y="447"/>
                  </a:lnTo>
                  <a:lnTo>
                    <a:pt x="394" y="447"/>
                  </a:lnTo>
                  <a:lnTo>
                    <a:pt x="396" y="447"/>
                  </a:lnTo>
                  <a:lnTo>
                    <a:pt x="394" y="447"/>
                  </a:lnTo>
                  <a:lnTo>
                    <a:pt x="393" y="444"/>
                  </a:lnTo>
                  <a:lnTo>
                    <a:pt x="393" y="446"/>
                  </a:lnTo>
                  <a:lnTo>
                    <a:pt x="391" y="444"/>
                  </a:lnTo>
                  <a:lnTo>
                    <a:pt x="391" y="446"/>
                  </a:lnTo>
                  <a:lnTo>
                    <a:pt x="389" y="446"/>
                  </a:lnTo>
                  <a:lnTo>
                    <a:pt x="387" y="444"/>
                  </a:lnTo>
                  <a:lnTo>
                    <a:pt x="387" y="442"/>
                  </a:lnTo>
                  <a:lnTo>
                    <a:pt x="389" y="442"/>
                  </a:lnTo>
                  <a:lnTo>
                    <a:pt x="389" y="440"/>
                  </a:lnTo>
                  <a:lnTo>
                    <a:pt x="391" y="439"/>
                  </a:lnTo>
                  <a:lnTo>
                    <a:pt x="389" y="437"/>
                  </a:lnTo>
                  <a:lnTo>
                    <a:pt x="387" y="435"/>
                  </a:lnTo>
                  <a:lnTo>
                    <a:pt x="389" y="432"/>
                  </a:lnTo>
                  <a:lnTo>
                    <a:pt x="387" y="430"/>
                  </a:lnTo>
                  <a:lnTo>
                    <a:pt x="387" y="427"/>
                  </a:lnTo>
                  <a:lnTo>
                    <a:pt x="386" y="427"/>
                  </a:lnTo>
                  <a:lnTo>
                    <a:pt x="384" y="425"/>
                  </a:lnTo>
                  <a:lnTo>
                    <a:pt x="386" y="423"/>
                  </a:lnTo>
                  <a:lnTo>
                    <a:pt x="384" y="422"/>
                  </a:lnTo>
                  <a:lnTo>
                    <a:pt x="382" y="423"/>
                  </a:lnTo>
                  <a:lnTo>
                    <a:pt x="381" y="423"/>
                  </a:lnTo>
                  <a:lnTo>
                    <a:pt x="381" y="420"/>
                  </a:lnTo>
                  <a:lnTo>
                    <a:pt x="379" y="422"/>
                  </a:lnTo>
                  <a:lnTo>
                    <a:pt x="377" y="422"/>
                  </a:lnTo>
                  <a:lnTo>
                    <a:pt x="376" y="423"/>
                  </a:lnTo>
                  <a:lnTo>
                    <a:pt x="374" y="422"/>
                  </a:lnTo>
                  <a:lnTo>
                    <a:pt x="374" y="420"/>
                  </a:lnTo>
                  <a:lnTo>
                    <a:pt x="372" y="420"/>
                  </a:lnTo>
                  <a:lnTo>
                    <a:pt x="369" y="420"/>
                  </a:lnTo>
                  <a:lnTo>
                    <a:pt x="369" y="418"/>
                  </a:lnTo>
                  <a:lnTo>
                    <a:pt x="367" y="420"/>
                  </a:lnTo>
                  <a:lnTo>
                    <a:pt x="365" y="420"/>
                  </a:lnTo>
                  <a:lnTo>
                    <a:pt x="364" y="420"/>
                  </a:lnTo>
                  <a:lnTo>
                    <a:pt x="365" y="418"/>
                  </a:lnTo>
                  <a:lnTo>
                    <a:pt x="365" y="417"/>
                  </a:lnTo>
                  <a:lnTo>
                    <a:pt x="365" y="413"/>
                  </a:lnTo>
                  <a:lnTo>
                    <a:pt x="365" y="410"/>
                  </a:lnTo>
                  <a:lnTo>
                    <a:pt x="364" y="410"/>
                  </a:lnTo>
                  <a:lnTo>
                    <a:pt x="362" y="410"/>
                  </a:lnTo>
                  <a:lnTo>
                    <a:pt x="362" y="412"/>
                  </a:lnTo>
                  <a:lnTo>
                    <a:pt x="360" y="412"/>
                  </a:lnTo>
                  <a:lnTo>
                    <a:pt x="359" y="410"/>
                  </a:lnTo>
                  <a:lnTo>
                    <a:pt x="359" y="408"/>
                  </a:lnTo>
                  <a:lnTo>
                    <a:pt x="360" y="408"/>
                  </a:lnTo>
                  <a:lnTo>
                    <a:pt x="362" y="406"/>
                  </a:lnTo>
                  <a:lnTo>
                    <a:pt x="360" y="405"/>
                  </a:lnTo>
                  <a:lnTo>
                    <a:pt x="360" y="403"/>
                  </a:lnTo>
                  <a:lnTo>
                    <a:pt x="359" y="401"/>
                  </a:lnTo>
                  <a:lnTo>
                    <a:pt x="359" y="400"/>
                  </a:lnTo>
                  <a:lnTo>
                    <a:pt x="360" y="400"/>
                  </a:lnTo>
                  <a:lnTo>
                    <a:pt x="360" y="396"/>
                  </a:lnTo>
                  <a:lnTo>
                    <a:pt x="359" y="396"/>
                  </a:lnTo>
                  <a:lnTo>
                    <a:pt x="359" y="395"/>
                  </a:lnTo>
                  <a:lnTo>
                    <a:pt x="359" y="393"/>
                  </a:lnTo>
                  <a:lnTo>
                    <a:pt x="357" y="391"/>
                  </a:lnTo>
                  <a:lnTo>
                    <a:pt x="355" y="393"/>
                  </a:lnTo>
                  <a:lnTo>
                    <a:pt x="353" y="393"/>
                  </a:lnTo>
                  <a:lnTo>
                    <a:pt x="355" y="395"/>
                  </a:lnTo>
                  <a:lnTo>
                    <a:pt x="355" y="396"/>
                  </a:lnTo>
                  <a:lnTo>
                    <a:pt x="352" y="398"/>
                  </a:lnTo>
                  <a:lnTo>
                    <a:pt x="350" y="398"/>
                  </a:lnTo>
                  <a:lnTo>
                    <a:pt x="348" y="396"/>
                  </a:lnTo>
                  <a:lnTo>
                    <a:pt x="348" y="393"/>
                  </a:lnTo>
                  <a:lnTo>
                    <a:pt x="347" y="395"/>
                  </a:lnTo>
                  <a:lnTo>
                    <a:pt x="345" y="393"/>
                  </a:lnTo>
                  <a:lnTo>
                    <a:pt x="345" y="391"/>
                  </a:lnTo>
                  <a:lnTo>
                    <a:pt x="345" y="389"/>
                  </a:lnTo>
                  <a:lnTo>
                    <a:pt x="343" y="391"/>
                  </a:lnTo>
                  <a:lnTo>
                    <a:pt x="342" y="393"/>
                  </a:lnTo>
                  <a:lnTo>
                    <a:pt x="340" y="389"/>
                  </a:lnTo>
                  <a:lnTo>
                    <a:pt x="340" y="391"/>
                  </a:lnTo>
                  <a:lnTo>
                    <a:pt x="338" y="393"/>
                  </a:lnTo>
                  <a:lnTo>
                    <a:pt x="338" y="389"/>
                  </a:lnTo>
                  <a:lnTo>
                    <a:pt x="336" y="391"/>
                  </a:lnTo>
                  <a:lnTo>
                    <a:pt x="338" y="389"/>
                  </a:lnTo>
                  <a:lnTo>
                    <a:pt x="336" y="386"/>
                  </a:lnTo>
                  <a:lnTo>
                    <a:pt x="335" y="388"/>
                  </a:lnTo>
                  <a:lnTo>
                    <a:pt x="335" y="386"/>
                  </a:lnTo>
                  <a:lnTo>
                    <a:pt x="333" y="384"/>
                  </a:lnTo>
                  <a:lnTo>
                    <a:pt x="335" y="383"/>
                  </a:lnTo>
                  <a:lnTo>
                    <a:pt x="335" y="381"/>
                  </a:lnTo>
                  <a:lnTo>
                    <a:pt x="336" y="379"/>
                  </a:lnTo>
                  <a:lnTo>
                    <a:pt x="336" y="377"/>
                  </a:lnTo>
                  <a:lnTo>
                    <a:pt x="335" y="377"/>
                  </a:lnTo>
                  <a:lnTo>
                    <a:pt x="336" y="374"/>
                  </a:lnTo>
                  <a:lnTo>
                    <a:pt x="333" y="372"/>
                  </a:lnTo>
                  <a:lnTo>
                    <a:pt x="335" y="369"/>
                  </a:lnTo>
                  <a:lnTo>
                    <a:pt x="335" y="367"/>
                  </a:lnTo>
                  <a:lnTo>
                    <a:pt x="335" y="366"/>
                  </a:lnTo>
                  <a:lnTo>
                    <a:pt x="333" y="367"/>
                  </a:lnTo>
                  <a:lnTo>
                    <a:pt x="331" y="366"/>
                  </a:lnTo>
                  <a:lnTo>
                    <a:pt x="333" y="362"/>
                  </a:lnTo>
                  <a:lnTo>
                    <a:pt x="333" y="360"/>
                  </a:lnTo>
                  <a:lnTo>
                    <a:pt x="335" y="360"/>
                  </a:lnTo>
                  <a:lnTo>
                    <a:pt x="331" y="360"/>
                  </a:lnTo>
                  <a:lnTo>
                    <a:pt x="330" y="359"/>
                  </a:lnTo>
                  <a:lnTo>
                    <a:pt x="330" y="357"/>
                  </a:lnTo>
                  <a:lnTo>
                    <a:pt x="328" y="355"/>
                  </a:lnTo>
                  <a:lnTo>
                    <a:pt x="326" y="355"/>
                  </a:lnTo>
                  <a:lnTo>
                    <a:pt x="325" y="357"/>
                  </a:lnTo>
                  <a:lnTo>
                    <a:pt x="325" y="359"/>
                  </a:lnTo>
                  <a:lnTo>
                    <a:pt x="323" y="359"/>
                  </a:lnTo>
                  <a:lnTo>
                    <a:pt x="321" y="359"/>
                  </a:lnTo>
                  <a:lnTo>
                    <a:pt x="318" y="359"/>
                  </a:lnTo>
                  <a:lnTo>
                    <a:pt x="316" y="359"/>
                  </a:lnTo>
                  <a:lnTo>
                    <a:pt x="314" y="357"/>
                  </a:lnTo>
                  <a:lnTo>
                    <a:pt x="311" y="355"/>
                  </a:lnTo>
                  <a:lnTo>
                    <a:pt x="311" y="354"/>
                  </a:lnTo>
                  <a:lnTo>
                    <a:pt x="311" y="350"/>
                  </a:lnTo>
                  <a:lnTo>
                    <a:pt x="309" y="349"/>
                  </a:lnTo>
                  <a:lnTo>
                    <a:pt x="308" y="349"/>
                  </a:lnTo>
                  <a:lnTo>
                    <a:pt x="308" y="350"/>
                  </a:lnTo>
                  <a:lnTo>
                    <a:pt x="306" y="350"/>
                  </a:lnTo>
                  <a:lnTo>
                    <a:pt x="302" y="350"/>
                  </a:lnTo>
                  <a:lnTo>
                    <a:pt x="301" y="350"/>
                  </a:lnTo>
                  <a:lnTo>
                    <a:pt x="297" y="349"/>
                  </a:lnTo>
                  <a:lnTo>
                    <a:pt x="296" y="349"/>
                  </a:lnTo>
                  <a:lnTo>
                    <a:pt x="296" y="352"/>
                  </a:lnTo>
                  <a:lnTo>
                    <a:pt x="294" y="352"/>
                  </a:lnTo>
                  <a:lnTo>
                    <a:pt x="296" y="352"/>
                  </a:lnTo>
                  <a:lnTo>
                    <a:pt x="294" y="354"/>
                  </a:lnTo>
                  <a:lnTo>
                    <a:pt x="296" y="355"/>
                  </a:lnTo>
                  <a:lnTo>
                    <a:pt x="296" y="357"/>
                  </a:lnTo>
                  <a:lnTo>
                    <a:pt x="294" y="357"/>
                  </a:lnTo>
                  <a:lnTo>
                    <a:pt x="292" y="355"/>
                  </a:lnTo>
                  <a:lnTo>
                    <a:pt x="291" y="355"/>
                  </a:lnTo>
                  <a:lnTo>
                    <a:pt x="292" y="354"/>
                  </a:lnTo>
                  <a:lnTo>
                    <a:pt x="291" y="350"/>
                  </a:lnTo>
                  <a:lnTo>
                    <a:pt x="289" y="352"/>
                  </a:lnTo>
                  <a:lnTo>
                    <a:pt x="287" y="354"/>
                  </a:lnTo>
                  <a:lnTo>
                    <a:pt x="285" y="355"/>
                  </a:lnTo>
                  <a:lnTo>
                    <a:pt x="285" y="354"/>
                  </a:lnTo>
                  <a:lnTo>
                    <a:pt x="287" y="352"/>
                  </a:lnTo>
                  <a:lnTo>
                    <a:pt x="287" y="350"/>
                  </a:lnTo>
                  <a:lnTo>
                    <a:pt x="285" y="347"/>
                  </a:lnTo>
                  <a:lnTo>
                    <a:pt x="285" y="349"/>
                  </a:lnTo>
                  <a:lnTo>
                    <a:pt x="284" y="349"/>
                  </a:lnTo>
                  <a:lnTo>
                    <a:pt x="280" y="350"/>
                  </a:lnTo>
                  <a:lnTo>
                    <a:pt x="280" y="352"/>
                  </a:lnTo>
                  <a:lnTo>
                    <a:pt x="279" y="350"/>
                  </a:lnTo>
                  <a:lnTo>
                    <a:pt x="279" y="349"/>
                  </a:lnTo>
                  <a:lnTo>
                    <a:pt x="277" y="349"/>
                  </a:lnTo>
                  <a:lnTo>
                    <a:pt x="275" y="349"/>
                  </a:lnTo>
                  <a:lnTo>
                    <a:pt x="274" y="350"/>
                  </a:lnTo>
                  <a:lnTo>
                    <a:pt x="274" y="347"/>
                  </a:lnTo>
                  <a:lnTo>
                    <a:pt x="272" y="345"/>
                  </a:lnTo>
                  <a:lnTo>
                    <a:pt x="270" y="345"/>
                  </a:lnTo>
                  <a:lnTo>
                    <a:pt x="268" y="345"/>
                  </a:lnTo>
                  <a:lnTo>
                    <a:pt x="267" y="347"/>
                  </a:lnTo>
                  <a:lnTo>
                    <a:pt x="267" y="345"/>
                  </a:lnTo>
                  <a:lnTo>
                    <a:pt x="263" y="345"/>
                  </a:lnTo>
                  <a:lnTo>
                    <a:pt x="263" y="343"/>
                  </a:lnTo>
                  <a:lnTo>
                    <a:pt x="262" y="342"/>
                  </a:lnTo>
                  <a:lnTo>
                    <a:pt x="258" y="342"/>
                  </a:lnTo>
                  <a:lnTo>
                    <a:pt x="258" y="340"/>
                  </a:lnTo>
                  <a:lnTo>
                    <a:pt x="255" y="340"/>
                  </a:lnTo>
                  <a:lnTo>
                    <a:pt x="251" y="342"/>
                  </a:lnTo>
                  <a:lnTo>
                    <a:pt x="250" y="342"/>
                  </a:lnTo>
                  <a:lnTo>
                    <a:pt x="248" y="342"/>
                  </a:lnTo>
                  <a:lnTo>
                    <a:pt x="248" y="338"/>
                  </a:lnTo>
                  <a:lnTo>
                    <a:pt x="246" y="338"/>
                  </a:lnTo>
                  <a:lnTo>
                    <a:pt x="246" y="340"/>
                  </a:lnTo>
                  <a:lnTo>
                    <a:pt x="245" y="342"/>
                  </a:lnTo>
                  <a:lnTo>
                    <a:pt x="243" y="343"/>
                  </a:lnTo>
                  <a:lnTo>
                    <a:pt x="243" y="347"/>
                  </a:lnTo>
                  <a:lnTo>
                    <a:pt x="241" y="347"/>
                  </a:lnTo>
                  <a:lnTo>
                    <a:pt x="240" y="347"/>
                  </a:lnTo>
                  <a:lnTo>
                    <a:pt x="238" y="345"/>
                  </a:lnTo>
                  <a:lnTo>
                    <a:pt x="236" y="345"/>
                  </a:lnTo>
                  <a:lnTo>
                    <a:pt x="234" y="349"/>
                  </a:lnTo>
                  <a:lnTo>
                    <a:pt x="236" y="350"/>
                  </a:lnTo>
                  <a:lnTo>
                    <a:pt x="233" y="350"/>
                  </a:lnTo>
                  <a:lnTo>
                    <a:pt x="231" y="350"/>
                  </a:lnTo>
                  <a:lnTo>
                    <a:pt x="229" y="352"/>
                  </a:lnTo>
                  <a:lnTo>
                    <a:pt x="226" y="350"/>
                  </a:lnTo>
                  <a:lnTo>
                    <a:pt x="224" y="349"/>
                  </a:lnTo>
                  <a:lnTo>
                    <a:pt x="224" y="350"/>
                  </a:lnTo>
                  <a:lnTo>
                    <a:pt x="223" y="350"/>
                  </a:lnTo>
                  <a:lnTo>
                    <a:pt x="224" y="350"/>
                  </a:lnTo>
                  <a:lnTo>
                    <a:pt x="224" y="354"/>
                  </a:lnTo>
                  <a:lnTo>
                    <a:pt x="223" y="354"/>
                  </a:lnTo>
                  <a:lnTo>
                    <a:pt x="223" y="355"/>
                  </a:lnTo>
                  <a:lnTo>
                    <a:pt x="219" y="355"/>
                  </a:lnTo>
                  <a:lnTo>
                    <a:pt x="217" y="354"/>
                  </a:lnTo>
                  <a:lnTo>
                    <a:pt x="216" y="352"/>
                  </a:lnTo>
                  <a:lnTo>
                    <a:pt x="214" y="352"/>
                  </a:lnTo>
                  <a:lnTo>
                    <a:pt x="212" y="352"/>
                  </a:lnTo>
                  <a:lnTo>
                    <a:pt x="211" y="354"/>
                  </a:lnTo>
                  <a:lnTo>
                    <a:pt x="209" y="354"/>
                  </a:lnTo>
                  <a:lnTo>
                    <a:pt x="211" y="355"/>
                  </a:lnTo>
                  <a:lnTo>
                    <a:pt x="212" y="357"/>
                  </a:lnTo>
                  <a:lnTo>
                    <a:pt x="214" y="357"/>
                  </a:lnTo>
                  <a:lnTo>
                    <a:pt x="216" y="360"/>
                  </a:lnTo>
                  <a:lnTo>
                    <a:pt x="214" y="362"/>
                  </a:lnTo>
                  <a:lnTo>
                    <a:pt x="212" y="360"/>
                  </a:lnTo>
                  <a:lnTo>
                    <a:pt x="209" y="359"/>
                  </a:lnTo>
                  <a:lnTo>
                    <a:pt x="209" y="360"/>
                  </a:lnTo>
                  <a:lnTo>
                    <a:pt x="207" y="362"/>
                  </a:lnTo>
                  <a:lnTo>
                    <a:pt x="207" y="364"/>
                  </a:lnTo>
                  <a:lnTo>
                    <a:pt x="207" y="366"/>
                  </a:lnTo>
                  <a:lnTo>
                    <a:pt x="207" y="367"/>
                  </a:lnTo>
                  <a:lnTo>
                    <a:pt x="206" y="367"/>
                  </a:lnTo>
                  <a:lnTo>
                    <a:pt x="206" y="369"/>
                  </a:lnTo>
                  <a:lnTo>
                    <a:pt x="204" y="369"/>
                  </a:lnTo>
                  <a:lnTo>
                    <a:pt x="200" y="369"/>
                  </a:lnTo>
                  <a:lnTo>
                    <a:pt x="200" y="372"/>
                  </a:lnTo>
                  <a:lnTo>
                    <a:pt x="199" y="371"/>
                  </a:lnTo>
                  <a:lnTo>
                    <a:pt x="197" y="372"/>
                  </a:lnTo>
                  <a:lnTo>
                    <a:pt x="195" y="374"/>
                  </a:lnTo>
                  <a:lnTo>
                    <a:pt x="195" y="376"/>
                  </a:lnTo>
                  <a:lnTo>
                    <a:pt x="194" y="377"/>
                  </a:lnTo>
                  <a:lnTo>
                    <a:pt x="194" y="379"/>
                  </a:lnTo>
                  <a:lnTo>
                    <a:pt x="194" y="381"/>
                  </a:lnTo>
                  <a:lnTo>
                    <a:pt x="192" y="384"/>
                  </a:lnTo>
                  <a:lnTo>
                    <a:pt x="192" y="388"/>
                  </a:lnTo>
                  <a:lnTo>
                    <a:pt x="189" y="389"/>
                  </a:lnTo>
                  <a:lnTo>
                    <a:pt x="185" y="389"/>
                  </a:lnTo>
                  <a:lnTo>
                    <a:pt x="183" y="391"/>
                  </a:lnTo>
                  <a:lnTo>
                    <a:pt x="182" y="391"/>
                  </a:lnTo>
                  <a:lnTo>
                    <a:pt x="182" y="393"/>
                  </a:lnTo>
                  <a:lnTo>
                    <a:pt x="180" y="393"/>
                  </a:lnTo>
                  <a:lnTo>
                    <a:pt x="178" y="393"/>
                  </a:lnTo>
                  <a:lnTo>
                    <a:pt x="177" y="393"/>
                  </a:lnTo>
                  <a:lnTo>
                    <a:pt x="175" y="395"/>
                  </a:lnTo>
                  <a:lnTo>
                    <a:pt x="173" y="396"/>
                  </a:lnTo>
                  <a:lnTo>
                    <a:pt x="172" y="396"/>
                  </a:lnTo>
                  <a:lnTo>
                    <a:pt x="168" y="396"/>
                  </a:lnTo>
                  <a:lnTo>
                    <a:pt x="166" y="396"/>
                  </a:lnTo>
                  <a:lnTo>
                    <a:pt x="165" y="398"/>
                  </a:lnTo>
                  <a:lnTo>
                    <a:pt x="163" y="400"/>
                  </a:lnTo>
                  <a:lnTo>
                    <a:pt x="161" y="400"/>
                  </a:lnTo>
                  <a:lnTo>
                    <a:pt x="160" y="400"/>
                  </a:lnTo>
                  <a:lnTo>
                    <a:pt x="158" y="401"/>
                  </a:lnTo>
                  <a:lnTo>
                    <a:pt x="156" y="401"/>
                  </a:lnTo>
                  <a:lnTo>
                    <a:pt x="155" y="401"/>
                  </a:lnTo>
                  <a:lnTo>
                    <a:pt x="155" y="403"/>
                  </a:lnTo>
                  <a:lnTo>
                    <a:pt x="153" y="403"/>
                  </a:lnTo>
                  <a:lnTo>
                    <a:pt x="151" y="405"/>
                  </a:lnTo>
                  <a:lnTo>
                    <a:pt x="149" y="405"/>
                  </a:lnTo>
                  <a:lnTo>
                    <a:pt x="149" y="406"/>
                  </a:lnTo>
                  <a:lnTo>
                    <a:pt x="148" y="410"/>
                  </a:lnTo>
                  <a:lnTo>
                    <a:pt x="148" y="413"/>
                  </a:lnTo>
                  <a:lnTo>
                    <a:pt x="146" y="413"/>
                  </a:lnTo>
                  <a:lnTo>
                    <a:pt x="146" y="415"/>
                  </a:lnTo>
                  <a:lnTo>
                    <a:pt x="143" y="417"/>
                  </a:lnTo>
                  <a:lnTo>
                    <a:pt x="143" y="418"/>
                  </a:lnTo>
                  <a:lnTo>
                    <a:pt x="141" y="418"/>
                  </a:lnTo>
                  <a:lnTo>
                    <a:pt x="139" y="418"/>
                  </a:lnTo>
                  <a:lnTo>
                    <a:pt x="136" y="420"/>
                  </a:lnTo>
                  <a:lnTo>
                    <a:pt x="136" y="418"/>
                  </a:lnTo>
                  <a:lnTo>
                    <a:pt x="132" y="417"/>
                  </a:lnTo>
                  <a:lnTo>
                    <a:pt x="132" y="413"/>
                  </a:lnTo>
                  <a:lnTo>
                    <a:pt x="129" y="413"/>
                  </a:lnTo>
                  <a:lnTo>
                    <a:pt x="127" y="413"/>
                  </a:lnTo>
                  <a:lnTo>
                    <a:pt x="126" y="413"/>
                  </a:lnTo>
                  <a:lnTo>
                    <a:pt x="124" y="412"/>
                  </a:lnTo>
                  <a:lnTo>
                    <a:pt x="124" y="410"/>
                  </a:lnTo>
                  <a:lnTo>
                    <a:pt x="121" y="408"/>
                  </a:lnTo>
                  <a:lnTo>
                    <a:pt x="121" y="406"/>
                  </a:lnTo>
                  <a:lnTo>
                    <a:pt x="119" y="408"/>
                  </a:lnTo>
                  <a:lnTo>
                    <a:pt x="119" y="406"/>
                  </a:lnTo>
                  <a:lnTo>
                    <a:pt x="115" y="406"/>
                  </a:lnTo>
                  <a:lnTo>
                    <a:pt x="115" y="408"/>
                  </a:lnTo>
                  <a:lnTo>
                    <a:pt x="112" y="408"/>
                  </a:lnTo>
                  <a:lnTo>
                    <a:pt x="112" y="406"/>
                  </a:lnTo>
                  <a:lnTo>
                    <a:pt x="110" y="408"/>
                  </a:lnTo>
                  <a:lnTo>
                    <a:pt x="110" y="410"/>
                  </a:lnTo>
                  <a:lnTo>
                    <a:pt x="109" y="412"/>
                  </a:lnTo>
                  <a:lnTo>
                    <a:pt x="107" y="412"/>
                  </a:lnTo>
                  <a:lnTo>
                    <a:pt x="105" y="413"/>
                  </a:lnTo>
                  <a:lnTo>
                    <a:pt x="104" y="413"/>
                  </a:lnTo>
                  <a:lnTo>
                    <a:pt x="104" y="415"/>
                  </a:lnTo>
                  <a:lnTo>
                    <a:pt x="102" y="413"/>
                  </a:lnTo>
                  <a:lnTo>
                    <a:pt x="100" y="413"/>
                  </a:lnTo>
                  <a:lnTo>
                    <a:pt x="97" y="413"/>
                  </a:lnTo>
                  <a:lnTo>
                    <a:pt x="95" y="412"/>
                  </a:lnTo>
                  <a:lnTo>
                    <a:pt x="93" y="412"/>
                  </a:lnTo>
                  <a:lnTo>
                    <a:pt x="92" y="412"/>
                  </a:lnTo>
                  <a:lnTo>
                    <a:pt x="90" y="412"/>
                  </a:lnTo>
                  <a:lnTo>
                    <a:pt x="90" y="413"/>
                  </a:lnTo>
                  <a:lnTo>
                    <a:pt x="87" y="413"/>
                  </a:lnTo>
                  <a:lnTo>
                    <a:pt x="87" y="415"/>
                  </a:lnTo>
                  <a:lnTo>
                    <a:pt x="85" y="415"/>
                  </a:lnTo>
                  <a:lnTo>
                    <a:pt x="83" y="412"/>
                  </a:lnTo>
                  <a:lnTo>
                    <a:pt x="81" y="412"/>
                  </a:lnTo>
                  <a:lnTo>
                    <a:pt x="78" y="412"/>
                  </a:lnTo>
                  <a:lnTo>
                    <a:pt x="76" y="413"/>
                  </a:lnTo>
                  <a:lnTo>
                    <a:pt x="75" y="412"/>
                  </a:lnTo>
                  <a:lnTo>
                    <a:pt x="73" y="412"/>
                  </a:lnTo>
                  <a:lnTo>
                    <a:pt x="71" y="413"/>
                  </a:lnTo>
                  <a:lnTo>
                    <a:pt x="70" y="412"/>
                  </a:lnTo>
                  <a:lnTo>
                    <a:pt x="70" y="413"/>
                  </a:lnTo>
                  <a:lnTo>
                    <a:pt x="68" y="417"/>
                  </a:lnTo>
                  <a:lnTo>
                    <a:pt x="66" y="415"/>
                  </a:lnTo>
                  <a:lnTo>
                    <a:pt x="64" y="415"/>
                  </a:lnTo>
                  <a:lnTo>
                    <a:pt x="63" y="415"/>
                  </a:lnTo>
                  <a:lnTo>
                    <a:pt x="61" y="413"/>
                  </a:lnTo>
                  <a:lnTo>
                    <a:pt x="59" y="413"/>
                  </a:lnTo>
                  <a:lnTo>
                    <a:pt x="58" y="412"/>
                  </a:lnTo>
                  <a:lnTo>
                    <a:pt x="58" y="410"/>
                  </a:lnTo>
                  <a:lnTo>
                    <a:pt x="56" y="408"/>
                  </a:lnTo>
                  <a:lnTo>
                    <a:pt x="56" y="410"/>
                  </a:lnTo>
                  <a:lnTo>
                    <a:pt x="53" y="410"/>
                  </a:lnTo>
                  <a:lnTo>
                    <a:pt x="51" y="408"/>
                  </a:lnTo>
                  <a:lnTo>
                    <a:pt x="49" y="412"/>
                  </a:lnTo>
                  <a:lnTo>
                    <a:pt x="49" y="413"/>
                  </a:lnTo>
                  <a:lnTo>
                    <a:pt x="49" y="415"/>
                  </a:lnTo>
                  <a:lnTo>
                    <a:pt x="49" y="417"/>
                  </a:lnTo>
                  <a:lnTo>
                    <a:pt x="47" y="417"/>
                  </a:lnTo>
                  <a:lnTo>
                    <a:pt x="46" y="418"/>
                  </a:lnTo>
                  <a:lnTo>
                    <a:pt x="44" y="417"/>
                  </a:lnTo>
                  <a:lnTo>
                    <a:pt x="41" y="417"/>
                  </a:lnTo>
                  <a:lnTo>
                    <a:pt x="41" y="418"/>
                  </a:lnTo>
                  <a:lnTo>
                    <a:pt x="42" y="420"/>
                  </a:lnTo>
                  <a:lnTo>
                    <a:pt x="41" y="422"/>
                  </a:lnTo>
                  <a:lnTo>
                    <a:pt x="37" y="420"/>
                  </a:lnTo>
                  <a:lnTo>
                    <a:pt x="39" y="418"/>
                  </a:lnTo>
                  <a:lnTo>
                    <a:pt x="39" y="417"/>
                  </a:lnTo>
                  <a:lnTo>
                    <a:pt x="39" y="415"/>
                  </a:lnTo>
                  <a:lnTo>
                    <a:pt x="37" y="413"/>
                  </a:lnTo>
                  <a:lnTo>
                    <a:pt x="36" y="412"/>
                  </a:lnTo>
                  <a:lnTo>
                    <a:pt x="34" y="412"/>
                  </a:lnTo>
                  <a:lnTo>
                    <a:pt x="32" y="412"/>
                  </a:lnTo>
                  <a:lnTo>
                    <a:pt x="34" y="412"/>
                  </a:lnTo>
                  <a:lnTo>
                    <a:pt x="32" y="412"/>
                  </a:lnTo>
                  <a:lnTo>
                    <a:pt x="30" y="413"/>
                  </a:lnTo>
                  <a:lnTo>
                    <a:pt x="29" y="415"/>
                  </a:lnTo>
                  <a:lnTo>
                    <a:pt x="27" y="415"/>
                  </a:lnTo>
                  <a:lnTo>
                    <a:pt x="25" y="413"/>
                  </a:lnTo>
                  <a:lnTo>
                    <a:pt x="25" y="412"/>
                  </a:lnTo>
                  <a:lnTo>
                    <a:pt x="22" y="408"/>
                  </a:lnTo>
                  <a:lnTo>
                    <a:pt x="20" y="408"/>
                  </a:lnTo>
                  <a:lnTo>
                    <a:pt x="19" y="405"/>
                  </a:lnTo>
                  <a:lnTo>
                    <a:pt x="17" y="406"/>
                  </a:lnTo>
                  <a:lnTo>
                    <a:pt x="15" y="406"/>
                  </a:lnTo>
                  <a:lnTo>
                    <a:pt x="13" y="406"/>
                  </a:lnTo>
                  <a:lnTo>
                    <a:pt x="12" y="405"/>
                  </a:lnTo>
                  <a:lnTo>
                    <a:pt x="10" y="401"/>
                  </a:lnTo>
                  <a:lnTo>
                    <a:pt x="10" y="400"/>
                  </a:lnTo>
                  <a:lnTo>
                    <a:pt x="7" y="400"/>
                  </a:lnTo>
                  <a:lnTo>
                    <a:pt x="5" y="398"/>
                  </a:lnTo>
                  <a:lnTo>
                    <a:pt x="7" y="396"/>
                  </a:lnTo>
                  <a:lnTo>
                    <a:pt x="3" y="395"/>
                  </a:lnTo>
                  <a:lnTo>
                    <a:pt x="2" y="396"/>
                  </a:lnTo>
                  <a:lnTo>
                    <a:pt x="0" y="396"/>
                  </a:lnTo>
                  <a:lnTo>
                    <a:pt x="0" y="395"/>
                  </a:lnTo>
                  <a:lnTo>
                    <a:pt x="0" y="391"/>
                  </a:lnTo>
                  <a:lnTo>
                    <a:pt x="0" y="388"/>
                  </a:lnTo>
                  <a:lnTo>
                    <a:pt x="0" y="386"/>
                  </a:lnTo>
                  <a:lnTo>
                    <a:pt x="0" y="384"/>
                  </a:lnTo>
                  <a:lnTo>
                    <a:pt x="0" y="383"/>
                  </a:lnTo>
                  <a:lnTo>
                    <a:pt x="3" y="381"/>
                  </a:lnTo>
                  <a:lnTo>
                    <a:pt x="3" y="379"/>
                  </a:lnTo>
                  <a:lnTo>
                    <a:pt x="5" y="377"/>
                  </a:lnTo>
                  <a:lnTo>
                    <a:pt x="7" y="376"/>
                  </a:lnTo>
                  <a:lnTo>
                    <a:pt x="7" y="374"/>
                  </a:lnTo>
                  <a:lnTo>
                    <a:pt x="7" y="372"/>
                  </a:lnTo>
                  <a:lnTo>
                    <a:pt x="7" y="371"/>
                  </a:lnTo>
                  <a:lnTo>
                    <a:pt x="7" y="369"/>
                  </a:lnTo>
                  <a:lnTo>
                    <a:pt x="7" y="367"/>
                  </a:lnTo>
                  <a:lnTo>
                    <a:pt x="7" y="366"/>
                  </a:lnTo>
                  <a:lnTo>
                    <a:pt x="7" y="362"/>
                  </a:lnTo>
                  <a:lnTo>
                    <a:pt x="8" y="362"/>
                  </a:lnTo>
                  <a:lnTo>
                    <a:pt x="8" y="359"/>
                  </a:lnTo>
                  <a:lnTo>
                    <a:pt x="8" y="355"/>
                  </a:lnTo>
                  <a:lnTo>
                    <a:pt x="8" y="354"/>
                  </a:lnTo>
                  <a:lnTo>
                    <a:pt x="12" y="354"/>
                  </a:lnTo>
                  <a:lnTo>
                    <a:pt x="12" y="352"/>
                  </a:lnTo>
                  <a:lnTo>
                    <a:pt x="12" y="350"/>
                  </a:lnTo>
                  <a:lnTo>
                    <a:pt x="12" y="347"/>
                  </a:lnTo>
                  <a:lnTo>
                    <a:pt x="13" y="345"/>
                  </a:lnTo>
                  <a:lnTo>
                    <a:pt x="15" y="347"/>
                  </a:lnTo>
                  <a:lnTo>
                    <a:pt x="17" y="349"/>
                  </a:lnTo>
                  <a:lnTo>
                    <a:pt x="19" y="347"/>
                  </a:lnTo>
                  <a:lnTo>
                    <a:pt x="20" y="349"/>
                  </a:lnTo>
                  <a:lnTo>
                    <a:pt x="22" y="347"/>
                  </a:lnTo>
                  <a:lnTo>
                    <a:pt x="24" y="349"/>
                  </a:lnTo>
                  <a:lnTo>
                    <a:pt x="25" y="349"/>
                  </a:lnTo>
                  <a:lnTo>
                    <a:pt x="25" y="350"/>
                  </a:lnTo>
                  <a:lnTo>
                    <a:pt x="27" y="349"/>
                  </a:lnTo>
                  <a:lnTo>
                    <a:pt x="25" y="347"/>
                  </a:lnTo>
                  <a:lnTo>
                    <a:pt x="25" y="345"/>
                  </a:lnTo>
                  <a:lnTo>
                    <a:pt x="27" y="343"/>
                  </a:lnTo>
                  <a:lnTo>
                    <a:pt x="24" y="343"/>
                  </a:lnTo>
                  <a:lnTo>
                    <a:pt x="22" y="342"/>
                  </a:lnTo>
                  <a:lnTo>
                    <a:pt x="20" y="340"/>
                  </a:lnTo>
                  <a:lnTo>
                    <a:pt x="19" y="340"/>
                  </a:lnTo>
                  <a:lnTo>
                    <a:pt x="19" y="338"/>
                  </a:lnTo>
                  <a:lnTo>
                    <a:pt x="17" y="340"/>
                  </a:lnTo>
                  <a:lnTo>
                    <a:pt x="19" y="337"/>
                  </a:lnTo>
                  <a:lnTo>
                    <a:pt x="17" y="335"/>
                  </a:lnTo>
                  <a:lnTo>
                    <a:pt x="17" y="333"/>
                  </a:lnTo>
                  <a:lnTo>
                    <a:pt x="17" y="330"/>
                  </a:lnTo>
                  <a:lnTo>
                    <a:pt x="17" y="326"/>
                  </a:lnTo>
                  <a:lnTo>
                    <a:pt x="15" y="323"/>
                  </a:lnTo>
                  <a:lnTo>
                    <a:pt x="13" y="321"/>
                  </a:lnTo>
                  <a:lnTo>
                    <a:pt x="13" y="318"/>
                  </a:lnTo>
                  <a:lnTo>
                    <a:pt x="10" y="316"/>
                  </a:lnTo>
                  <a:lnTo>
                    <a:pt x="10" y="315"/>
                  </a:lnTo>
                  <a:lnTo>
                    <a:pt x="12" y="315"/>
                  </a:lnTo>
                  <a:lnTo>
                    <a:pt x="12" y="311"/>
                  </a:lnTo>
                  <a:lnTo>
                    <a:pt x="12" y="309"/>
                  </a:lnTo>
                  <a:lnTo>
                    <a:pt x="13" y="308"/>
                  </a:lnTo>
                  <a:lnTo>
                    <a:pt x="15" y="306"/>
                  </a:lnTo>
                  <a:lnTo>
                    <a:pt x="15" y="303"/>
                  </a:lnTo>
                  <a:lnTo>
                    <a:pt x="17" y="301"/>
                  </a:lnTo>
                  <a:lnTo>
                    <a:pt x="17" y="299"/>
                  </a:lnTo>
                  <a:lnTo>
                    <a:pt x="19" y="298"/>
                  </a:lnTo>
                  <a:lnTo>
                    <a:pt x="20" y="294"/>
                  </a:lnTo>
                  <a:lnTo>
                    <a:pt x="20" y="291"/>
                  </a:lnTo>
                  <a:lnTo>
                    <a:pt x="22" y="291"/>
                  </a:lnTo>
                  <a:lnTo>
                    <a:pt x="24" y="287"/>
                  </a:lnTo>
                  <a:lnTo>
                    <a:pt x="24" y="286"/>
                  </a:lnTo>
                  <a:lnTo>
                    <a:pt x="25" y="284"/>
                  </a:lnTo>
                  <a:lnTo>
                    <a:pt x="25" y="282"/>
                  </a:lnTo>
                  <a:lnTo>
                    <a:pt x="27" y="281"/>
                  </a:lnTo>
                  <a:lnTo>
                    <a:pt x="27" y="279"/>
                  </a:lnTo>
                  <a:lnTo>
                    <a:pt x="29" y="277"/>
                  </a:lnTo>
                  <a:lnTo>
                    <a:pt x="29" y="275"/>
                  </a:lnTo>
                  <a:lnTo>
                    <a:pt x="30" y="274"/>
                  </a:lnTo>
                  <a:lnTo>
                    <a:pt x="30" y="272"/>
                  </a:lnTo>
                  <a:lnTo>
                    <a:pt x="30" y="270"/>
                  </a:lnTo>
                  <a:lnTo>
                    <a:pt x="32" y="270"/>
                  </a:lnTo>
                  <a:lnTo>
                    <a:pt x="34" y="269"/>
                  </a:lnTo>
                  <a:lnTo>
                    <a:pt x="34" y="265"/>
                  </a:lnTo>
                  <a:lnTo>
                    <a:pt x="37" y="264"/>
                  </a:lnTo>
                  <a:lnTo>
                    <a:pt x="37" y="262"/>
                  </a:lnTo>
                  <a:lnTo>
                    <a:pt x="39" y="260"/>
                  </a:lnTo>
                  <a:lnTo>
                    <a:pt x="41" y="258"/>
                  </a:lnTo>
                  <a:lnTo>
                    <a:pt x="42" y="257"/>
                  </a:lnTo>
                  <a:lnTo>
                    <a:pt x="42" y="255"/>
                  </a:lnTo>
                  <a:lnTo>
                    <a:pt x="44" y="253"/>
                  </a:lnTo>
                  <a:lnTo>
                    <a:pt x="46" y="252"/>
                  </a:lnTo>
                  <a:lnTo>
                    <a:pt x="46" y="250"/>
                  </a:lnTo>
                  <a:lnTo>
                    <a:pt x="46" y="248"/>
                  </a:lnTo>
                  <a:lnTo>
                    <a:pt x="47" y="247"/>
                  </a:lnTo>
                  <a:lnTo>
                    <a:pt x="49" y="247"/>
                  </a:lnTo>
                  <a:lnTo>
                    <a:pt x="49" y="245"/>
                  </a:lnTo>
                  <a:lnTo>
                    <a:pt x="53" y="245"/>
                  </a:lnTo>
                  <a:lnTo>
                    <a:pt x="54" y="245"/>
                  </a:lnTo>
                  <a:lnTo>
                    <a:pt x="56" y="243"/>
                  </a:lnTo>
                  <a:lnTo>
                    <a:pt x="58" y="243"/>
                  </a:lnTo>
                  <a:lnTo>
                    <a:pt x="58" y="241"/>
                  </a:lnTo>
                  <a:lnTo>
                    <a:pt x="59" y="241"/>
                  </a:lnTo>
                  <a:lnTo>
                    <a:pt x="59" y="240"/>
                  </a:lnTo>
                  <a:lnTo>
                    <a:pt x="59" y="238"/>
                  </a:lnTo>
                  <a:lnTo>
                    <a:pt x="61" y="236"/>
                  </a:lnTo>
                  <a:lnTo>
                    <a:pt x="61" y="235"/>
                  </a:lnTo>
                  <a:lnTo>
                    <a:pt x="61" y="233"/>
                  </a:lnTo>
                  <a:lnTo>
                    <a:pt x="61" y="229"/>
                  </a:lnTo>
                  <a:lnTo>
                    <a:pt x="59" y="228"/>
                  </a:lnTo>
                  <a:lnTo>
                    <a:pt x="59" y="226"/>
                  </a:lnTo>
                  <a:lnTo>
                    <a:pt x="58" y="224"/>
                  </a:lnTo>
                  <a:lnTo>
                    <a:pt x="58" y="223"/>
                  </a:lnTo>
                  <a:lnTo>
                    <a:pt x="54" y="223"/>
                  </a:lnTo>
                  <a:lnTo>
                    <a:pt x="54" y="219"/>
                  </a:lnTo>
                  <a:lnTo>
                    <a:pt x="53" y="219"/>
                  </a:lnTo>
                  <a:lnTo>
                    <a:pt x="51" y="218"/>
                  </a:lnTo>
                  <a:lnTo>
                    <a:pt x="51" y="216"/>
                  </a:lnTo>
                  <a:lnTo>
                    <a:pt x="53" y="214"/>
                  </a:lnTo>
                  <a:lnTo>
                    <a:pt x="54" y="214"/>
                  </a:lnTo>
                  <a:lnTo>
                    <a:pt x="58" y="214"/>
                  </a:lnTo>
                  <a:lnTo>
                    <a:pt x="59" y="211"/>
                  </a:lnTo>
                  <a:lnTo>
                    <a:pt x="58" y="211"/>
                  </a:lnTo>
                  <a:lnTo>
                    <a:pt x="56" y="209"/>
                  </a:lnTo>
                  <a:lnTo>
                    <a:pt x="54" y="211"/>
                  </a:lnTo>
                  <a:lnTo>
                    <a:pt x="54" y="209"/>
                  </a:lnTo>
                  <a:lnTo>
                    <a:pt x="51" y="207"/>
                  </a:lnTo>
                  <a:lnTo>
                    <a:pt x="49" y="207"/>
                  </a:lnTo>
                  <a:lnTo>
                    <a:pt x="49" y="204"/>
                  </a:lnTo>
                  <a:lnTo>
                    <a:pt x="47" y="204"/>
                  </a:lnTo>
                  <a:lnTo>
                    <a:pt x="47" y="202"/>
                  </a:lnTo>
                  <a:lnTo>
                    <a:pt x="46" y="202"/>
                  </a:lnTo>
                  <a:lnTo>
                    <a:pt x="47" y="201"/>
                  </a:lnTo>
                  <a:lnTo>
                    <a:pt x="46" y="201"/>
                  </a:lnTo>
                  <a:lnTo>
                    <a:pt x="46" y="199"/>
                  </a:lnTo>
                  <a:lnTo>
                    <a:pt x="44" y="199"/>
                  </a:lnTo>
                  <a:lnTo>
                    <a:pt x="42" y="197"/>
                  </a:lnTo>
                  <a:lnTo>
                    <a:pt x="42" y="195"/>
                  </a:lnTo>
                  <a:lnTo>
                    <a:pt x="42" y="194"/>
                  </a:lnTo>
                  <a:lnTo>
                    <a:pt x="41" y="194"/>
                  </a:lnTo>
                  <a:lnTo>
                    <a:pt x="41" y="192"/>
                  </a:lnTo>
                  <a:lnTo>
                    <a:pt x="37" y="190"/>
                  </a:lnTo>
                  <a:lnTo>
                    <a:pt x="36" y="187"/>
                  </a:lnTo>
                  <a:lnTo>
                    <a:pt x="34" y="185"/>
                  </a:lnTo>
                  <a:lnTo>
                    <a:pt x="32" y="187"/>
                  </a:lnTo>
                  <a:lnTo>
                    <a:pt x="30" y="184"/>
                  </a:lnTo>
                  <a:lnTo>
                    <a:pt x="30" y="180"/>
                  </a:lnTo>
                  <a:lnTo>
                    <a:pt x="32" y="180"/>
                  </a:lnTo>
                  <a:lnTo>
                    <a:pt x="32" y="178"/>
                  </a:lnTo>
                  <a:lnTo>
                    <a:pt x="32" y="177"/>
                  </a:lnTo>
                  <a:lnTo>
                    <a:pt x="30" y="177"/>
                  </a:lnTo>
                  <a:lnTo>
                    <a:pt x="30" y="175"/>
                  </a:lnTo>
                  <a:lnTo>
                    <a:pt x="29" y="175"/>
                  </a:lnTo>
                  <a:lnTo>
                    <a:pt x="30" y="173"/>
                  </a:lnTo>
                  <a:lnTo>
                    <a:pt x="29" y="173"/>
                  </a:lnTo>
                  <a:lnTo>
                    <a:pt x="27" y="172"/>
                  </a:lnTo>
                  <a:lnTo>
                    <a:pt x="30" y="172"/>
                  </a:lnTo>
                  <a:lnTo>
                    <a:pt x="29" y="170"/>
                  </a:lnTo>
                  <a:lnTo>
                    <a:pt x="27" y="168"/>
                  </a:lnTo>
                  <a:lnTo>
                    <a:pt x="29" y="167"/>
                  </a:lnTo>
                  <a:lnTo>
                    <a:pt x="27" y="165"/>
                  </a:lnTo>
                  <a:lnTo>
                    <a:pt x="25" y="163"/>
                  </a:lnTo>
                  <a:lnTo>
                    <a:pt x="27" y="161"/>
                  </a:lnTo>
                  <a:lnTo>
                    <a:pt x="29" y="161"/>
                  </a:lnTo>
                  <a:lnTo>
                    <a:pt x="30" y="160"/>
                  </a:lnTo>
                  <a:lnTo>
                    <a:pt x="32" y="160"/>
                  </a:lnTo>
                  <a:lnTo>
                    <a:pt x="34" y="161"/>
                  </a:lnTo>
                  <a:lnTo>
                    <a:pt x="34" y="160"/>
                  </a:lnTo>
                  <a:lnTo>
                    <a:pt x="36" y="160"/>
                  </a:lnTo>
                  <a:lnTo>
                    <a:pt x="39" y="160"/>
                  </a:lnTo>
                  <a:lnTo>
                    <a:pt x="37" y="163"/>
                  </a:lnTo>
                  <a:lnTo>
                    <a:pt x="41" y="163"/>
                  </a:lnTo>
                  <a:lnTo>
                    <a:pt x="42" y="163"/>
                  </a:lnTo>
                  <a:lnTo>
                    <a:pt x="44" y="161"/>
                  </a:lnTo>
                  <a:lnTo>
                    <a:pt x="46" y="160"/>
                  </a:lnTo>
                  <a:lnTo>
                    <a:pt x="46" y="158"/>
                  </a:lnTo>
                  <a:lnTo>
                    <a:pt x="47" y="156"/>
                  </a:lnTo>
                  <a:lnTo>
                    <a:pt x="49" y="155"/>
                  </a:lnTo>
                  <a:lnTo>
                    <a:pt x="51" y="153"/>
                  </a:lnTo>
                  <a:lnTo>
                    <a:pt x="53" y="151"/>
                  </a:lnTo>
                  <a:lnTo>
                    <a:pt x="54" y="150"/>
                  </a:lnTo>
                  <a:lnTo>
                    <a:pt x="53" y="148"/>
                  </a:lnTo>
                  <a:lnTo>
                    <a:pt x="53" y="146"/>
                  </a:lnTo>
                  <a:lnTo>
                    <a:pt x="53" y="144"/>
                  </a:lnTo>
                  <a:lnTo>
                    <a:pt x="54" y="143"/>
                  </a:lnTo>
                  <a:lnTo>
                    <a:pt x="53" y="141"/>
                  </a:lnTo>
                  <a:lnTo>
                    <a:pt x="54" y="139"/>
                  </a:lnTo>
                  <a:lnTo>
                    <a:pt x="56" y="139"/>
                  </a:lnTo>
                  <a:lnTo>
                    <a:pt x="59" y="138"/>
                  </a:lnTo>
                  <a:lnTo>
                    <a:pt x="61" y="138"/>
                  </a:lnTo>
                  <a:lnTo>
                    <a:pt x="63" y="138"/>
                  </a:lnTo>
                  <a:lnTo>
                    <a:pt x="64" y="136"/>
                  </a:lnTo>
                  <a:lnTo>
                    <a:pt x="66" y="136"/>
                  </a:lnTo>
                  <a:lnTo>
                    <a:pt x="68" y="136"/>
                  </a:lnTo>
                  <a:lnTo>
                    <a:pt x="71" y="136"/>
                  </a:lnTo>
                  <a:lnTo>
                    <a:pt x="71" y="134"/>
                  </a:lnTo>
                  <a:lnTo>
                    <a:pt x="73" y="134"/>
                  </a:lnTo>
                  <a:lnTo>
                    <a:pt x="75" y="134"/>
                  </a:lnTo>
                  <a:lnTo>
                    <a:pt x="76" y="133"/>
                  </a:lnTo>
                  <a:lnTo>
                    <a:pt x="80" y="133"/>
                  </a:lnTo>
                  <a:lnTo>
                    <a:pt x="80" y="131"/>
                  </a:lnTo>
                  <a:lnTo>
                    <a:pt x="81" y="131"/>
                  </a:lnTo>
                  <a:lnTo>
                    <a:pt x="83" y="129"/>
                  </a:lnTo>
                  <a:lnTo>
                    <a:pt x="87" y="127"/>
                  </a:lnTo>
                  <a:lnTo>
                    <a:pt x="88" y="126"/>
                  </a:lnTo>
                  <a:lnTo>
                    <a:pt x="90" y="126"/>
                  </a:lnTo>
                  <a:lnTo>
                    <a:pt x="93" y="127"/>
                  </a:lnTo>
                  <a:lnTo>
                    <a:pt x="95" y="127"/>
                  </a:lnTo>
                  <a:lnTo>
                    <a:pt x="97" y="127"/>
                  </a:lnTo>
                  <a:lnTo>
                    <a:pt x="100" y="127"/>
                  </a:lnTo>
                  <a:lnTo>
                    <a:pt x="100" y="126"/>
                  </a:lnTo>
                  <a:lnTo>
                    <a:pt x="102" y="127"/>
                  </a:lnTo>
                  <a:lnTo>
                    <a:pt x="102" y="126"/>
                  </a:lnTo>
                  <a:lnTo>
                    <a:pt x="105" y="126"/>
                  </a:lnTo>
                  <a:lnTo>
                    <a:pt x="109" y="126"/>
                  </a:lnTo>
                  <a:lnTo>
                    <a:pt x="110" y="126"/>
                  </a:lnTo>
                  <a:lnTo>
                    <a:pt x="112" y="124"/>
                  </a:lnTo>
                  <a:lnTo>
                    <a:pt x="114" y="124"/>
                  </a:lnTo>
                  <a:lnTo>
                    <a:pt x="112" y="122"/>
                  </a:lnTo>
                  <a:lnTo>
                    <a:pt x="115" y="122"/>
                  </a:lnTo>
                  <a:lnTo>
                    <a:pt x="115" y="124"/>
                  </a:lnTo>
                  <a:lnTo>
                    <a:pt x="117" y="122"/>
                  </a:lnTo>
                  <a:lnTo>
                    <a:pt x="119" y="122"/>
                  </a:lnTo>
                  <a:lnTo>
                    <a:pt x="121" y="122"/>
                  </a:lnTo>
                  <a:lnTo>
                    <a:pt x="122" y="121"/>
                  </a:lnTo>
                  <a:lnTo>
                    <a:pt x="124" y="122"/>
                  </a:lnTo>
                  <a:lnTo>
                    <a:pt x="127" y="122"/>
                  </a:lnTo>
                  <a:lnTo>
                    <a:pt x="129" y="124"/>
                  </a:lnTo>
                  <a:lnTo>
                    <a:pt x="131" y="124"/>
                  </a:lnTo>
                  <a:lnTo>
                    <a:pt x="132" y="124"/>
                  </a:lnTo>
                  <a:lnTo>
                    <a:pt x="134" y="122"/>
                  </a:lnTo>
                  <a:lnTo>
                    <a:pt x="136" y="124"/>
                  </a:lnTo>
                  <a:lnTo>
                    <a:pt x="139" y="122"/>
                  </a:lnTo>
                  <a:lnTo>
                    <a:pt x="139" y="121"/>
                  </a:lnTo>
                  <a:lnTo>
                    <a:pt x="141" y="124"/>
                  </a:lnTo>
                  <a:lnTo>
                    <a:pt x="144" y="126"/>
                  </a:lnTo>
                  <a:lnTo>
                    <a:pt x="148" y="126"/>
                  </a:lnTo>
                  <a:lnTo>
                    <a:pt x="149" y="122"/>
                  </a:lnTo>
                  <a:lnTo>
                    <a:pt x="151" y="122"/>
                  </a:lnTo>
                  <a:lnTo>
                    <a:pt x="153" y="122"/>
                  </a:lnTo>
                  <a:lnTo>
                    <a:pt x="156" y="122"/>
                  </a:lnTo>
                  <a:lnTo>
                    <a:pt x="156" y="124"/>
                  </a:lnTo>
                  <a:lnTo>
                    <a:pt x="158" y="126"/>
                  </a:lnTo>
                  <a:lnTo>
                    <a:pt x="160" y="124"/>
                  </a:lnTo>
                  <a:lnTo>
                    <a:pt x="161" y="126"/>
                  </a:lnTo>
                  <a:lnTo>
                    <a:pt x="163" y="126"/>
                  </a:lnTo>
                  <a:lnTo>
                    <a:pt x="165" y="126"/>
                  </a:lnTo>
                  <a:lnTo>
                    <a:pt x="166" y="124"/>
                  </a:lnTo>
                  <a:lnTo>
                    <a:pt x="166" y="122"/>
                  </a:lnTo>
                  <a:lnTo>
                    <a:pt x="168" y="122"/>
                  </a:lnTo>
                  <a:lnTo>
                    <a:pt x="175" y="121"/>
                  </a:lnTo>
                  <a:lnTo>
                    <a:pt x="177" y="126"/>
                  </a:lnTo>
                  <a:lnTo>
                    <a:pt x="177" y="127"/>
                  </a:lnTo>
                  <a:lnTo>
                    <a:pt x="178" y="127"/>
                  </a:lnTo>
                  <a:lnTo>
                    <a:pt x="180" y="127"/>
                  </a:lnTo>
                  <a:lnTo>
                    <a:pt x="180" y="131"/>
                  </a:lnTo>
                  <a:lnTo>
                    <a:pt x="183" y="131"/>
                  </a:lnTo>
                  <a:lnTo>
                    <a:pt x="185" y="129"/>
                  </a:lnTo>
                  <a:lnTo>
                    <a:pt x="187" y="129"/>
                  </a:lnTo>
                  <a:lnTo>
                    <a:pt x="189" y="127"/>
                  </a:lnTo>
                  <a:lnTo>
                    <a:pt x="190" y="129"/>
                  </a:lnTo>
                  <a:lnTo>
                    <a:pt x="192" y="127"/>
                  </a:lnTo>
                  <a:lnTo>
                    <a:pt x="190" y="129"/>
                  </a:lnTo>
                  <a:lnTo>
                    <a:pt x="190" y="126"/>
                  </a:lnTo>
                  <a:lnTo>
                    <a:pt x="192" y="127"/>
                  </a:lnTo>
                  <a:lnTo>
                    <a:pt x="192" y="126"/>
                  </a:lnTo>
                  <a:lnTo>
                    <a:pt x="194" y="126"/>
                  </a:lnTo>
                  <a:lnTo>
                    <a:pt x="195" y="127"/>
                  </a:lnTo>
                  <a:lnTo>
                    <a:pt x="197" y="126"/>
                  </a:lnTo>
                  <a:lnTo>
                    <a:pt x="199" y="127"/>
                  </a:lnTo>
                  <a:lnTo>
                    <a:pt x="200" y="126"/>
                  </a:lnTo>
                  <a:lnTo>
                    <a:pt x="200" y="129"/>
                  </a:lnTo>
                  <a:lnTo>
                    <a:pt x="199" y="131"/>
                  </a:lnTo>
                  <a:lnTo>
                    <a:pt x="199" y="133"/>
                  </a:lnTo>
                  <a:lnTo>
                    <a:pt x="200" y="134"/>
                  </a:lnTo>
                  <a:lnTo>
                    <a:pt x="202" y="134"/>
                  </a:lnTo>
                  <a:lnTo>
                    <a:pt x="204" y="134"/>
                  </a:lnTo>
                  <a:lnTo>
                    <a:pt x="204" y="133"/>
                  </a:lnTo>
                  <a:lnTo>
                    <a:pt x="204" y="131"/>
                  </a:lnTo>
                  <a:lnTo>
                    <a:pt x="206" y="129"/>
                  </a:lnTo>
                  <a:lnTo>
                    <a:pt x="206" y="127"/>
                  </a:lnTo>
                  <a:lnTo>
                    <a:pt x="206" y="124"/>
                  </a:lnTo>
                  <a:lnTo>
                    <a:pt x="204" y="124"/>
                  </a:lnTo>
                  <a:lnTo>
                    <a:pt x="206" y="122"/>
                  </a:lnTo>
                  <a:lnTo>
                    <a:pt x="207" y="124"/>
                  </a:lnTo>
                  <a:lnTo>
                    <a:pt x="209" y="126"/>
                  </a:lnTo>
                  <a:lnTo>
                    <a:pt x="211" y="124"/>
                  </a:lnTo>
                  <a:lnTo>
                    <a:pt x="211" y="127"/>
                  </a:lnTo>
                  <a:lnTo>
                    <a:pt x="212" y="126"/>
                  </a:lnTo>
                  <a:lnTo>
                    <a:pt x="214" y="126"/>
                  </a:lnTo>
                  <a:lnTo>
                    <a:pt x="217" y="124"/>
                  </a:lnTo>
                  <a:lnTo>
                    <a:pt x="217" y="122"/>
                  </a:lnTo>
                  <a:lnTo>
                    <a:pt x="217" y="119"/>
                  </a:lnTo>
                  <a:lnTo>
                    <a:pt x="219" y="117"/>
                  </a:lnTo>
                  <a:lnTo>
                    <a:pt x="221" y="117"/>
                  </a:lnTo>
                  <a:lnTo>
                    <a:pt x="221" y="116"/>
                  </a:lnTo>
                  <a:lnTo>
                    <a:pt x="223" y="116"/>
                  </a:lnTo>
                  <a:lnTo>
                    <a:pt x="223" y="119"/>
                  </a:lnTo>
                  <a:lnTo>
                    <a:pt x="224" y="121"/>
                  </a:lnTo>
                  <a:lnTo>
                    <a:pt x="226" y="121"/>
                  </a:lnTo>
                  <a:lnTo>
                    <a:pt x="228" y="124"/>
                  </a:lnTo>
                  <a:lnTo>
                    <a:pt x="229" y="122"/>
                  </a:lnTo>
                  <a:lnTo>
                    <a:pt x="231" y="121"/>
                  </a:lnTo>
                  <a:lnTo>
                    <a:pt x="231" y="119"/>
                  </a:lnTo>
                  <a:lnTo>
                    <a:pt x="234" y="119"/>
                  </a:lnTo>
                  <a:lnTo>
                    <a:pt x="236" y="119"/>
                  </a:lnTo>
                  <a:lnTo>
                    <a:pt x="240" y="119"/>
                  </a:lnTo>
                  <a:lnTo>
                    <a:pt x="240" y="121"/>
                  </a:lnTo>
                  <a:lnTo>
                    <a:pt x="241" y="122"/>
                  </a:lnTo>
                  <a:lnTo>
                    <a:pt x="241" y="124"/>
                  </a:lnTo>
                  <a:lnTo>
                    <a:pt x="243" y="126"/>
                  </a:lnTo>
                  <a:lnTo>
                    <a:pt x="243" y="127"/>
                  </a:lnTo>
                  <a:lnTo>
                    <a:pt x="245" y="124"/>
                  </a:lnTo>
                  <a:lnTo>
                    <a:pt x="246" y="127"/>
                  </a:lnTo>
                  <a:lnTo>
                    <a:pt x="246" y="124"/>
                  </a:lnTo>
                  <a:lnTo>
                    <a:pt x="246" y="122"/>
                  </a:lnTo>
                  <a:lnTo>
                    <a:pt x="246" y="121"/>
                  </a:lnTo>
                  <a:lnTo>
                    <a:pt x="246" y="119"/>
                  </a:lnTo>
                  <a:lnTo>
                    <a:pt x="246" y="117"/>
                  </a:lnTo>
                  <a:lnTo>
                    <a:pt x="248" y="117"/>
                  </a:lnTo>
                  <a:lnTo>
                    <a:pt x="250" y="116"/>
                  </a:lnTo>
                  <a:lnTo>
                    <a:pt x="250" y="114"/>
                  </a:lnTo>
                  <a:lnTo>
                    <a:pt x="253" y="114"/>
                  </a:lnTo>
                  <a:lnTo>
                    <a:pt x="255" y="114"/>
                  </a:lnTo>
                  <a:lnTo>
                    <a:pt x="255" y="112"/>
                  </a:lnTo>
                  <a:lnTo>
                    <a:pt x="257" y="110"/>
                  </a:lnTo>
                  <a:lnTo>
                    <a:pt x="258" y="107"/>
                  </a:lnTo>
                  <a:lnTo>
                    <a:pt x="260" y="107"/>
                  </a:lnTo>
                  <a:lnTo>
                    <a:pt x="260" y="109"/>
                  </a:lnTo>
                  <a:lnTo>
                    <a:pt x="262" y="109"/>
                  </a:lnTo>
                  <a:lnTo>
                    <a:pt x="262" y="110"/>
                  </a:lnTo>
                  <a:lnTo>
                    <a:pt x="263" y="112"/>
                  </a:lnTo>
                  <a:lnTo>
                    <a:pt x="265" y="112"/>
                  </a:lnTo>
                  <a:lnTo>
                    <a:pt x="265" y="114"/>
                  </a:lnTo>
                  <a:lnTo>
                    <a:pt x="265" y="117"/>
                  </a:lnTo>
                  <a:lnTo>
                    <a:pt x="267" y="119"/>
                  </a:lnTo>
                  <a:lnTo>
                    <a:pt x="268" y="119"/>
                  </a:lnTo>
                  <a:lnTo>
                    <a:pt x="270" y="121"/>
                  </a:lnTo>
                  <a:lnTo>
                    <a:pt x="272" y="122"/>
                  </a:lnTo>
                  <a:lnTo>
                    <a:pt x="272" y="124"/>
                  </a:lnTo>
                  <a:lnTo>
                    <a:pt x="274" y="122"/>
                  </a:lnTo>
                  <a:lnTo>
                    <a:pt x="275" y="121"/>
                  </a:lnTo>
                  <a:lnTo>
                    <a:pt x="279" y="121"/>
                  </a:lnTo>
                  <a:lnTo>
                    <a:pt x="279" y="119"/>
                  </a:lnTo>
                  <a:lnTo>
                    <a:pt x="279" y="117"/>
                  </a:lnTo>
                  <a:lnTo>
                    <a:pt x="279" y="114"/>
                  </a:lnTo>
                  <a:lnTo>
                    <a:pt x="280" y="116"/>
                  </a:lnTo>
                  <a:lnTo>
                    <a:pt x="282" y="114"/>
                  </a:lnTo>
                  <a:lnTo>
                    <a:pt x="280" y="112"/>
                  </a:lnTo>
                  <a:lnTo>
                    <a:pt x="284" y="112"/>
                  </a:lnTo>
                  <a:lnTo>
                    <a:pt x="285" y="109"/>
                  </a:lnTo>
                  <a:lnTo>
                    <a:pt x="287" y="110"/>
                  </a:lnTo>
                  <a:lnTo>
                    <a:pt x="285" y="112"/>
                  </a:lnTo>
                  <a:lnTo>
                    <a:pt x="287" y="114"/>
                  </a:lnTo>
                  <a:lnTo>
                    <a:pt x="291" y="114"/>
                  </a:lnTo>
                  <a:lnTo>
                    <a:pt x="289" y="114"/>
                  </a:lnTo>
                  <a:lnTo>
                    <a:pt x="291" y="112"/>
                  </a:lnTo>
                  <a:lnTo>
                    <a:pt x="291" y="114"/>
                  </a:lnTo>
                  <a:lnTo>
                    <a:pt x="292" y="112"/>
                  </a:lnTo>
                  <a:lnTo>
                    <a:pt x="294" y="112"/>
                  </a:lnTo>
                  <a:lnTo>
                    <a:pt x="292" y="110"/>
                  </a:lnTo>
                  <a:lnTo>
                    <a:pt x="294" y="109"/>
                  </a:lnTo>
                  <a:lnTo>
                    <a:pt x="296" y="110"/>
                  </a:lnTo>
                  <a:lnTo>
                    <a:pt x="297" y="109"/>
                  </a:lnTo>
                  <a:lnTo>
                    <a:pt x="297" y="107"/>
                  </a:lnTo>
                  <a:lnTo>
                    <a:pt x="301" y="107"/>
                  </a:lnTo>
                  <a:lnTo>
                    <a:pt x="302" y="107"/>
                  </a:lnTo>
                  <a:lnTo>
                    <a:pt x="302" y="105"/>
                  </a:lnTo>
                  <a:lnTo>
                    <a:pt x="304" y="107"/>
                  </a:lnTo>
                  <a:lnTo>
                    <a:pt x="304" y="105"/>
                  </a:lnTo>
                  <a:lnTo>
                    <a:pt x="306" y="105"/>
                  </a:lnTo>
                  <a:lnTo>
                    <a:pt x="308" y="105"/>
                  </a:lnTo>
                  <a:lnTo>
                    <a:pt x="311" y="107"/>
                  </a:lnTo>
                  <a:lnTo>
                    <a:pt x="313" y="109"/>
                  </a:lnTo>
                  <a:lnTo>
                    <a:pt x="314" y="112"/>
                  </a:lnTo>
                  <a:lnTo>
                    <a:pt x="314" y="114"/>
                  </a:lnTo>
                  <a:lnTo>
                    <a:pt x="318" y="116"/>
                  </a:lnTo>
                  <a:lnTo>
                    <a:pt x="321" y="116"/>
                  </a:lnTo>
                  <a:lnTo>
                    <a:pt x="321" y="117"/>
                  </a:lnTo>
                  <a:lnTo>
                    <a:pt x="323" y="119"/>
                  </a:lnTo>
                  <a:lnTo>
                    <a:pt x="325" y="119"/>
                  </a:lnTo>
                  <a:lnTo>
                    <a:pt x="323" y="117"/>
                  </a:lnTo>
                  <a:lnTo>
                    <a:pt x="325" y="117"/>
                  </a:lnTo>
                  <a:lnTo>
                    <a:pt x="326" y="116"/>
                  </a:lnTo>
                  <a:lnTo>
                    <a:pt x="328" y="116"/>
                  </a:lnTo>
                  <a:lnTo>
                    <a:pt x="328" y="114"/>
                  </a:lnTo>
                  <a:lnTo>
                    <a:pt x="326" y="114"/>
                  </a:lnTo>
                  <a:lnTo>
                    <a:pt x="328" y="110"/>
                  </a:lnTo>
                  <a:lnTo>
                    <a:pt x="326" y="109"/>
                  </a:lnTo>
                  <a:lnTo>
                    <a:pt x="328" y="107"/>
                  </a:lnTo>
                  <a:lnTo>
                    <a:pt x="325" y="105"/>
                  </a:lnTo>
                  <a:lnTo>
                    <a:pt x="323" y="105"/>
                  </a:lnTo>
                  <a:lnTo>
                    <a:pt x="323" y="104"/>
                  </a:lnTo>
                  <a:lnTo>
                    <a:pt x="325" y="102"/>
                  </a:lnTo>
                  <a:lnTo>
                    <a:pt x="323" y="102"/>
                  </a:lnTo>
                  <a:lnTo>
                    <a:pt x="321" y="100"/>
                  </a:lnTo>
                  <a:lnTo>
                    <a:pt x="321" y="97"/>
                  </a:lnTo>
                  <a:lnTo>
                    <a:pt x="319" y="99"/>
                  </a:lnTo>
                  <a:lnTo>
                    <a:pt x="318" y="97"/>
                  </a:lnTo>
                  <a:lnTo>
                    <a:pt x="319" y="95"/>
                  </a:lnTo>
                  <a:lnTo>
                    <a:pt x="316" y="95"/>
                  </a:lnTo>
                  <a:lnTo>
                    <a:pt x="319" y="93"/>
                  </a:lnTo>
                  <a:lnTo>
                    <a:pt x="316" y="93"/>
                  </a:lnTo>
                  <a:lnTo>
                    <a:pt x="316" y="90"/>
                  </a:lnTo>
                  <a:lnTo>
                    <a:pt x="318" y="90"/>
                  </a:lnTo>
                  <a:lnTo>
                    <a:pt x="318" y="87"/>
                  </a:lnTo>
                  <a:lnTo>
                    <a:pt x="319" y="85"/>
                  </a:lnTo>
                  <a:lnTo>
                    <a:pt x="319" y="83"/>
                  </a:lnTo>
                  <a:lnTo>
                    <a:pt x="318" y="82"/>
                  </a:lnTo>
                  <a:lnTo>
                    <a:pt x="319" y="82"/>
                  </a:lnTo>
                  <a:lnTo>
                    <a:pt x="319" y="80"/>
                  </a:lnTo>
                  <a:lnTo>
                    <a:pt x="318" y="78"/>
                  </a:lnTo>
                  <a:lnTo>
                    <a:pt x="319" y="76"/>
                  </a:lnTo>
                  <a:lnTo>
                    <a:pt x="319" y="75"/>
                  </a:lnTo>
                  <a:lnTo>
                    <a:pt x="321" y="73"/>
                  </a:lnTo>
                  <a:lnTo>
                    <a:pt x="321" y="71"/>
                  </a:lnTo>
                  <a:lnTo>
                    <a:pt x="323" y="71"/>
                  </a:lnTo>
                  <a:lnTo>
                    <a:pt x="323" y="70"/>
                  </a:lnTo>
                  <a:lnTo>
                    <a:pt x="323" y="68"/>
                  </a:lnTo>
                  <a:lnTo>
                    <a:pt x="325" y="68"/>
                  </a:lnTo>
                  <a:lnTo>
                    <a:pt x="323" y="66"/>
                  </a:lnTo>
                  <a:lnTo>
                    <a:pt x="325" y="66"/>
                  </a:lnTo>
                  <a:lnTo>
                    <a:pt x="325" y="64"/>
                  </a:lnTo>
                  <a:lnTo>
                    <a:pt x="326" y="64"/>
                  </a:lnTo>
                  <a:lnTo>
                    <a:pt x="325" y="63"/>
                  </a:lnTo>
                  <a:lnTo>
                    <a:pt x="326" y="63"/>
                  </a:lnTo>
                  <a:lnTo>
                    <a:pt x="325" y="61"/>
                  </a:lnTo>
                  <a:lnTo>
                    <a:pt x="326" y="61"/>
                  </a:lnTo>
                  <a:lnTo>
                    <a:pt x="325" y="59"/>
                  </a:lnTo>
                  <a:lnTo>
                    <a:pt x="326" y="59"/>
                  </a:lnTo>
                  <a:lnTo>
                    <a:pt x="325" y="58"/>
                  </a:lnTo>
                  <a:lnTo>
                    <a:pt x="325" y="56"/>
                  </a:lnTo>
                  <a:lnTo>
                    <a:pt x="328" y="58"/>
                  </a:lnTo>
                  <a:lnTo>
                    <a:pt x="330" y="56"/>
                  </a:lnTo>
                  <a:lnTo>
                    <a:pt x="330" y="54"/>
                  </a:lnTo>
                  <a:lnTo>
                    <a:pt x="331" y="54"/>
                  </a:lnTo>
                  <a:lnTo>
                    <a:pt x="333" y="53"/>
                  </a:lnTo>
                  <a:lnTo>
                    <a:pt x="335" y="54"/>
                  </a:lnTo>
                  <a:lnTo>
                    <a:pt x="336" y="54"/>
                  </a:lnTo>
                  <a:lnTo>
                    <a:pt x="338" y="56"/>
                  </a:lnTo>
                  <a:lnTo>
                    <a:pt x="340" y="54"/>
                  </a:lnTo>
                  <a:lnTo>
                    <a:pt x="342" y="53"/>
                  </a:lnTo>
                  <a:lnTo>
                    <a:pt x="340" y="51"/>
                  </a:lnTo>
                  <a:lnTo>
                    <a:pt x="343" y="49"/>
                  </a:lnTo>
                  <a:lnTo>
                    <a:pt x="342" y="49"/>
                  </a:lnTo>
                  <a:lnTo>
                    <a:pt x="343" y="47"/>
                  </a:lnTo>
                  <a:lnTo>
                    <a:pt x="345" y="47"/>
                  </a:lnTo>
                  <a:lnTo>
                    <a:pt x="347" y="47"/>
                  </a:lnTo>
                  <a:lnTo>
                    <a:pt x="348" y="47"/>
                  </a:lnTo>
                  <a:lnTo>
                    <a:pt x="350" y="47"/>
                  </a:lnTo>
                  <a:lnTo>
                    <a:pt x="352" y="47"/>
                  </a:lnTo>
                  <a:lnTo>
                    <a:pt x="353" y="46"/>
                  </a:lnTo>
                  <a:lnTo>
                    <a:pt x="357" y="46"/>
                  </a:lnTo>
                  <a:lnTo>
                    <a:pt x="359" y="44"/>
                  </a:lnTo>
                  <a:lnTo>
                    <a:pt x="360" y="46"/>
                  </a:lnTo>
                  <a:lnTo>
                    <a:pt x="362" y="44"/>
                  </a:lnTo>
                  <a:lnTo>
                    <a:pt x="365" y="44"/>
                  </a:lnTo>
                  <a:lnTo>
                    <a:pt x="367" y="44"/>
                  </a:lnTo>
                  <a:lnTo>
                    <a:pt x="367" y="46"/>
                  </a:lnTo>
                  <a:lnTo>
                    <a:pt x="365" y="47"/>
                  </a:lnTo>
                  <a:lnTo>
                    <a:pt x="367" y="46"/>
                  </a:lnTo>
                  <a:lnTo>
                    <a:pt x="370" y="46"/>
                  </a:lnTo>
                  <a:lnTo>
                    <a:pt x="372" y="46"/>
                  </a:lnTo>
                  <a:lnTo>
                    <a:pt x="374" y="46"/>
                  </a:lnTo>
                  <a:lnTo>
                    <a:pt x="376" y="44"/>
                  </a:lnTo>
                  <a:lnTo>
                    <a:pt x="376" y="42"/>
                  </a:lnTo>
                  <a:lnTo>
                    <a:pt x="377" y="42"/>
                  </a:lnTo>
                  <a:lnTo>
                    <a:pt x="377" y="41"/>
                  </a:lnTo>
                  <a:lnTo>
                    <a:pt x="381" y="39"/>
                  </a:lnTo>
                  <a:lnTo>
                    <a:pt x="381" y="36"/>
                  </a:lnTo>
                  <a:lnTo>
                    <a:pt x="382" y="34"/>
                  </a:lnTo>
                  <a:lnTo>
                    <a:pt x="381" y="36"/>
                  </a:lnTo>
                  <a:lnTo>
                    <a:pt x="381" y="32"/>
                  </a:lnTo>
                  <a:lnTo>
                    <a:pt x="379" y="30"/>
                  </a:lnTo>
                  <a:lnTo>
                    <a:pt x="379" y="29"/>
                  </a:lnTo>
                  <a:lnTo>
                    <a:pt x="381" y="27"/>
                  </a:lnTo>
                  <a:lnTo>
                    <a:pt x="381" y="25"/>
                  </a:lnTo>
                  <a:lnTo>
                    <a:pt x="379" y="25"/>
                  </a:lnTo>
                  <a:lnTo>
                    <a:pt x="377" y="24"/>
                  </a:lnTo>
                  <a:lnTo>
                    <a:pt x="379" y="22"/>
                  </a:lnTo>
                  <a:lnTo>
                    <a:pt x="381" y="22"/>
                  </a:lnTo>
                  <a:lnTo>
                    <a:pt x="382" y="22"/>
                  </a:lnTo>
                  <a:lnTo>
                    <a:pt x="384" y="22"/>
                  </a:lnTo>
                  <a:lnTo>
                    <a:pt x="384" y="20"/>
                  </a:lnTo>
                  <a:lnTo>
                    <a:pt x="386" y="20"/>
                  </a:lnTo>
                  <a:lnTo>
                    <a:pt x="387" y="22"/>
                  </a:lnTo>
                  <a:lnTo>
                    <a:pt x="389" y="20"/>
                  </a:lnTo>
                  <a:lnTo>
                    <a:pt x="389" y="22"/>
                  </a:lnTo>
                  <a:lnTo>
                    <a:pt x="393" y="22"/>
                  </a:lnTo>
                  <a:lnTo>
                    <a:pt x="394" y="24"/>
                  </a:lnTo>
                  <a:lnTo>
                    <a:pt x="396" y="22"/>
                  </a:lnTo>
                  <a:lnTo>
                    <a:pt x="398" y="22"/>
                  </a:lnTo>
                  <a:lnTo>
                    <a:pt x="398" y="20"/>
                  </a:lnTo>
                  <a:lnTo>
                    <a:pt x="401" y="20"/>
                  </a:lnTo>
                  <a:lnTo>
                    <a:pt x="401" y="22"/>
                  </a:lnTo>
                  <a:lnTo>
                    <a:pt x="403" y="20"/>
                  </a:lnTo>
                  <a:lnTo>
                    <a:pt x="403" y="19"/>
                  </a:lnTo>
                  <a:lnTo>
                    <a:pt x="404" y="19"/>
                  </a:lnTo>
                  <a:lnTo>
                    <a:pt x="404" y="17"/>
                  </a:lnTo>
                  <a:lnTo>
                    <a:pt x="406" y="15"/>
                  </a:lnTo>
                  <a:lnTo>
                    <a:pt x="406" y="13"/>
                  </a:lnTo>
                  <a:lnTo>
                    <a:pt x="408" y="15"/>
                  </a:lnTo>
                  <a:lnTo>
                    <a:pt x="410" y="12"/>
                  </a:lnTo>
                  <a:lnTo>
                    <a:pt x="411" y="12"/>
                  </a:lnTo>
                  <a:lnTo>
                    <a:pt x="410" y="8"/>
                  </a:lnTo>
                  <a:lnTo>
                    <a:pt x="411" y="8"/>
                  </a:lnTo>
                  <a:lnTo>
                    <a:pt x="415" y="8"/>
                  </a:lnTo>
                  <a:lnTo>
                    <a:pt x="416" y="8"/>
                  </a:lnTo>
                  <a:lnTo>
                    <a:pt x="418" y="8"/>
                  </a:lnTo>
                  <a:lnTo>
                    <a:pt x="418" y="7"/>
                  </a:lnTo>
                  <a:lnTo>
                    <a:pt x="420" y="7"/>
                  </a:lnTo>
                  <a:lnTo>
                    <a:pt x="421" y="7"/>
                  </a:lnTo>
                  <a:lnTo>
                    <a:pt x="421" y="5"/>
                  </a:lnTo>
                  <a:lnTo>
                    <a:pt x="423" y="5"/>
                  </a:lnTo>
                  <a:lnTo>
                    <a:pt x="425" y="7"/>
                  </a:lnTo>
                  <a:lnTo>
                    <a:pt x="423" y="8"/>
                  </a:lnTo>
                  <a:lnTo>
                    <a:pt x="425" y="8"/>
                  </a:lnTo>
                  <a:lnTo>
                    <a:pt x="427" y="8"/>
                  </a:lnTo>
                  <a:lnTo>
                    <a:pt x="427" y="7"/>
                  </a:lnTo>
                  <a:lnTo>
                    <a:pt x="428" y="8"/>
                  </a:lnTo>
                  <a:lnTo>
                    <a:pt x="428" y="5"/>
                  </a:lnTo>
                  <a:lnTo>
                    <a:pt x="430" y="5"/>
                  </a:lnTo>
                  <a:lnTo>
                    <a:pt x="432" y="2"/>
                  </a:lnTo>
                  <a:lnTo>
                    <a:pt x="433" y="3"/>
                  </a:lnTo>
                  <a:lnTo>
                    <a:pt x="435" y="2"/>
                  </a:lnTo>
                  <a:lnTo>
                    <a:pt x="437" y="0"/>
                  </a:lnTo>
                  <a:lnTo>
                    <a:pt x="438" y="2"/>
                  </a:lnTo>
                  <a:lnTo>
                    <a:pt x="438" y="3"/>
                  </a:lnTo>
                  <a:lnTo>
                    <a:pt x="440" y="3"/>
                  </a:lnTo>
                  <a:lnTo>
                    <a:pt x="442" y="3"/>
                  </a:lnTo>
                  <a:lnTo>
                    <a:pt x="444" y="5"/>
                  </a:lnTo>
                  <a:lnTo>
                    <a:pt x="444" y="7"/>
                  </a:lnTo>
                  <a:lnTo>
                    <a:pt x="447" y="7"/>
                  </a:lnTo>
                  <a:lnTo>
                    <a:pt x="447" y="8"/>
                  </a:lnTo>
                  <a:lnTo>
                    <a:pt x="449" y="8"/>
                  </a:lnTo>
                  <a:lnTo>
                    <a:pt x="450" y="10"/>
                  </a:lnTo>
                  <a:lnTo>
                    <a:pt x="452" y="12"/>
                  </a:lnTo>
                  <a:lnTo>
                    <a:pt x="454" y="12"/>
                  </a:lnTo>
                  <a:lnTo>
                    <a:pt x="454" y="13"/>
                  </a:lnTo>
                  <a:lnTo>
                    <a:pt x="454" y="15"/>
                  </a:lnTo>
                  <a:lnTo>
                    <a:pt x="452" y="17"/>
                  </a:lnTo>
                  <a:lnTo>
                    <a:pt x="455" y="19"/>
                  </a:lnTo>
                  <a:lnTo>
                    <a:pt x="455" y="20"/>
                  </a:lnTo>
                  <a:lnTo>
                    <a:pt x="457" y="20"/>
                  </a:lnTo>
                  <a:lnTo>
                    <a:pt x="459" y="22"/>
                  </a:lnTo>
                  <a:lnTo>
                    <a:pt x="461" y="22"/>
                  </a:lnTo>
                  <a:lnTo>
                    <a:pt x="462" y="24"/>
                  </a:lnTo>
                  <a:lnTo>
                    <a:pt x="464" y="25"/>
                  </a:lnTo>
                  <a:lnTo>
                    <a:pt x="464" y="27"/>
                  </a:lnTo>
                  <a:lnTo>
                    <a:pt x="467" y="25"/>
                  </a:lnTo>
                  <a:lnTo>
                    <a:pt x="471" y="27"/>
                  </a:lnTo>
                  <a:lnTo>
                    <a:pt x="472" y="27"/>
                  </a:lnTo>
                  <a:lnTo>
                    <a:pt x="474" y="30"/>
                  </a:lnTo>
                  <a:lnTo>
                    <a:pt x="476" y="32"/>
                  </a:lnTo>
                  <a:lnTo>
                    <a:pt x="476" y="34"/>
                  </a:lnTo>
                  <a:lnTo>
                    <a:pt x="474" y="36"/>
                  </a:lnTo>
                  <a:lnTo>
                    <a:pt x="471" y="36"/>
                  </a:lnTo>
                  <a:lnTo>
                    <a:pt x="471" y="37"/>
                  </a:lnTo>
                  <a:lnTo>
                    <a:pt x="469" y="39"/>
                  </a:lnTo>
                  <a:lnTo>
                    <a:pt x="467" y="39"/>
                  </a:lnTo>
                  <a:lnTo>
                    <a:pt x="464" y="41"/>
                  </a:lnTo>
                  <a:lnTo>
                    <a:pt x="462" y="42"/>
                  </a:lnTo>
                  <a:lnTo>
                    <a:pt x="464" y="42"/>
                  </a:lnTo>
                  <a:lnTo>
                    <a:pt x="466" y="44"/>
                  </a:lnTo>
                  <a:lnTo>
                    <a:pt x="467" y="44"/>
                  </a:lnTo>
                  <a:lnTo>
                    <a:pt x="469" y="46"/>
                  </a:lnTo>
                  <a:lnTo>
                    <a:pt x="471" y="47"/>
                  </a:lnTo>
                  <a:lnTo>
                    <a:pt x="471" y="46"/>
                  </a:lnTo>
                  <a:lnTo>
                    <a:pt x="472" y="47"/>
                  </a:lnTo>
                  <a:lnTo>
                    <a:pt x="472" y="49"/>
                  </a:lnTo>
                  <a:lnTo>
                    <a:pt x="476" y="49"/>
                  </a:lnTo>
                  <a:lnTo>
                    <a:pt x="476" y="53"/>
                  </a:lnTo>
                  <a:lnTo>
                    <a:pt x="474" y="54"/>
                  </a:lnTo>
                  <a:lnTo>
                    <a:pt x="476" y="56"/>
                  </a:lnTo>
                  <a:lnTo>
                    <a:pt x="474" y="58"/>
                  </a:lnTo>
                  <a:lnTo>
                    <a:pt x="476" y="59"/>
                  </a:lnTo>
                  <a:lnTo>
                    <a:pt x="478" y="58"/>
                  </a:lnTo>
                  <a:lnTo>
                    <a:pt x="478" y="59"/>
                  </a:lnTo>
                  <a:lnTo>
                    <a:pt x="479" y="59"/>
                  </a:lnTo>
                  <a:lnTo>
                    <a:pt x="481" y="59"/>
                  </a:lnTo>
                  <a:lnTo>
                    <a:pt x="481" y="63"/>
                  </a:lnTo>
                  <a:lnTo>
                    <a:pt x="479" y="63"/>
                  </a:lnTo>
                  <a:lnTo>
                    <a:pt x="479" y="64"/>
                  </a:lnTo>
                  <a:lnTo>
                    <a:pt x="478" y="66"/>
                  </a:lnTo>
                  <a:lnTo>
                    <a:pt x="479" y="66"/>
                  </a:lnTo>
                  <a:lnTo>
                    <a:pt x="478" y="68"/>
                  </a:lnTo>
                  <a:lnTo>
                    <a:pt x="481" y="68"/>
                  </a:lnTo>
                  <a:lnTo>
                    <a:pt x="483" y="68"/>
                  </a:lnTo>
                  <a:lnTo>
                    <a:pt x="483" y="66"/>
                  </a:lnTo>
                  <a:lnTo>
                    <a:pt x="484" y="64"/>
                  </a:lnTo>
                  <a:lnTo>
                    <a:pt x="488" y="64"/>
                  </a:lnTo>
                  <a:lnTo>
                    <a:pt x="489" y="64"/>
                  </a:lnTo>
                  <a:lnTo>
                    <a:pt x="491" y="64"/>
                  </a:lnTo>
                  <a:lnTo>
                    <a:pt x="493" y="64"/>
                  </a:lnTo>
                  <a:lnTo>
                    <a:pt x="495" y="63"/>
                  </a:lnTo>
                  <a:lnTo>
                    <a:pt x="496" y="63"/>
                  </a:lnTo>
                  <a:lnTo>
                    <a:pt x="498" y="66"/>
                  </a:lnTo>
                  <a:lnTo>
                    <a:pt x="500" y="66"/>
                  </a:lnTo>
                  <a:lnTo>
                    <a:pt x="503" y="66"/>
                  </a:lnTo>
                  <a:lnTo>
                    <a:pt x="503" y="64"/>
                  </a:lnTo>
                  <a:lnTo>
                    <a:pt x="505" y="64"/>
                  </a:lnTo>
                  <a:lnTo>
                    <a:pt x="506" y="63"/>
                  </a:lnTo>
                  <a:lnTo>
                    <a:pt x="508" y="63"/>
                  </a:lnTo>
                  <a:lnTo>
                    <a:pt x="508" y="61"/>
                  </a:lnTo>
                  <a:lnTo>
                    <a:pt x="508" y="59"/>
                  </a:lnTo>
                  <a:lnTo>
                    <a:pt x="510" y="59"/>
                  </a:lnTo>
                  <a:lnTo>
                    <a:pt x="512" y="58"/>
                  </a:lnTo>
                  <a:lnTo>
                    <a:pt x="513" y="59"/>
                  </a:lnTo>
                  <a:lnTo>
                    <a:pt x="513" y="58"/>
                  </a:lnTo>
                  <a:lnTo>
                    <a:pt x="515" y="56"/>
                  </a:lnTo>
                  <a:lnTo>
                    <a:pt x="517" y="56"/>
                  </a:lnTo>
                  <a:lnTo>
                    <a:pt x="517" y="59"/>
                  </a:lnTo>
                  <a:lnTo>
                    <a:pt x="518" y="61"/>
                  </a:lnTo>
                  <a:lnTo>
                    <a:pt x="517" y="61"/>
                  </a:lnTo>
                  <a:lnTo>
                    <a:pt x="518" y="63"/>
                  </a:lnTo>
                  <a:lnTo>
                    <a:pt x="520" y="63"/>
                  </a:lnTo>
                  <a:lnTo>
                    <a:pt x="522" y="64"/>
                  </a:lnTo>
                  <a:lnTo>
                    <a:pt x="520" y="66"/>
                  </a:lnTo>
                  <a:lnTo>
                    <a:pt x="522" y="66"/>
                  </a:lnTo>
                  <a:lnTo>
                    <a:pt x="523" y="68"/>
                  </a:lnTo>
                  <a:lnTo>
                    <a:pt x="525" y="66"/>
                  </a:lnTo>
                  <a:lnTo>
                    <a:pt x="527" y="66"/>
                  </a:lnTo>
                  <a:lnTo>
                    <a:pt x="527" y="64"/>
                  </a:lnTo>
                  <a:lnTo>
                    <a:pt x="530" y="63"/>
                  </a:lnTo>
                  <a:lnTo>
                    <a:pt x="532" y="64"/>
                  </a:lnTo>
                  <a:lnTo>
                    <a:pt x="532" y="66"/>
                  </a:lnTo>
                  <a:lnTo>
                    <a:pt x="532" y="68"/>
                  </a:lnTo>
                  <a:lnTo>
                    <a:pt x="529" y="68"/>
                  </a:lnTo>
                  <a:lnTo>
                    <a:pt x="532" y="70"/>
                  </a:lnTo>
                  <a:lnTo>
                    <a:pt x="530" y="73"/>
                  </a:lnTo>
                  <a:lnTo>
                    <a:pt x="532" y="73"/>
                  </a:lnTo>
                  <a:lnTo>
                    <a:pt x="534" y="73"/>
                  </a:lnTo>
                  <a:lnTo>
                    <a:pt x="535" y="73"/>
                  </a:lnTo>
                  <a:lnTo>
                    <a:pt x="534" y="75"/>
                  </a:lnTo>
                  <a:lnTo>
                    <a:pt x="535" y="75"/>
                  </a:lnTo>
                  <a:lnTo>
                    <a:pt x="535" y="76"/>
                  </a:lnTo>
                  <a:lnTo>
                    <a:pt x="537" y="78"/>
                  </a:lnTo>
                  <a:lnTo>
                    <a:pt x="539" y="80"/>
                  </a:lnTo>
                  <a:lnTo>
                    <a:pt x="540" y="82"/>
                  </a:lnTo>
                  <a:lnTo>
                    <a:pt x="542" y="82"/>
                  </a:lnTo>
                  <a:lnTo>
                    <a:pt x="542" y="83"/>
                  </a:lnTo>
                  <a:lnTo>
                    <a:pt x="542" y="85"/>
                  </a:lnTo>
                  <a:lnTo>
                    <a:pt x="542" y="87"/>
                  </a:lnTo>
                  <a:lnTo>
                    <a:pt x="544" y="87"/>
                  </a:lnTo>
                  <a:lnTo>
                    <a:pt x="544" y="88"/>
                  </a:lnTo>
                  <a:lnTo>
                    <a:pt x="540" y="90"/>
                  </a:lnTo>
                  <a:lnTo>
                    <a:pt x="540" y="92"/>
                  </a:lnTo>
                  <a:lnTo>
                    <a:pt x="544" y="93"/>
                  </a:lnTo>
                  <a:lnTo>
                    <a:pt x="542" y="95"/>
                  </a:lnTo>
                  <a:lnTo>
                    <a:pt x="546" y="97"/>
                  </a:lnTo>
                  <a:lnTo>
                    <a:pt x="546" y="99"/>
                  </a:lnTo>
                  <a:lnTo>
                    <a:pt x="547" y="99"/>
                  </a:lnTo>
                  <a:lnTo>
                    <a:pt x="549" y="100"/>
                  </a:lnTo>
                  <a:lnTo>
                    <a:pt x="552" y="100"/>
                  </a:lnTo>
                  <a:lnTo>
                    <a:pt x="552" y="102"/>
                  </a:lnTo>
                  <a:lnTo>
                    <a:pt x="552" y="100"/>
                  </a:lnTo>
                  <a:lnTo>
                    <a:pt x="554" y="100"/>
                  </a:lnTo>
                  <a:lnTo>
                    <a:pt x="554" y="102"/>
                  </a:lnTo>
                  <a:lnTo>
                    <a:pt x="556" y="105"/>
                  </a:lnTo>
                  <a:lnTo>
                    <a:pt x="557" y="107"/>
                  </a:lnTo>
                  <a:lnTo>
                    <a:pt x="559" y="105"/>
                  </a:lnTo>
                  <a:lnTo>
                    <a:pt x="563" y="105"/>
                  </a:lnTo>
                  <a:lnTo>
                    <a:pt x="563" y="104"/>
                  </a:lnTo>
                  <a:lnTo>
                    <a:pt x="564" y="100"/>
                  </a:lnTo>
                  <a:lnTo>
                    <a:pt x="563" y="100"/>
                  </a:lnTo>
                  <a:lnTo>
                    <a:pt x="564" y="99"/>
                  </a:lnTo>
                  <a:lnTo>
                    <a:pt x="566" y="99"/>
                  </a:lnTo>
                  <a:lnTo>
                    <a:pt x="566" y="97"/>
                  </a:lnTo>
                  <a:lnTo>
                    <a:pt x="569" y="97"/>
                  </a:lnTo>
                  <a:lnTo>
                    <a:pt x="571" y="95"/>
                  </a:lnTo>
                  <a:lnTo>
                    <a:pt x="573" y="93"/>
                  </a:lnTo>
                  <a:lnTo>
                    <a:pt x="574" y="93"/>
                  </a:lnTo>
                  <a:lnTo>
                    <a:pt x="576" y="93"/>
                  </a:lnTo>
                  <a:lnTo>
                    <a:pt x="578" y="93"/>
                  </a:lnTo>
                  <a:lnTo>
                    <a:pt x="580" y="95"/>
                  </a:lnTo>
                  <a:lnTo>
                    <a:pt x="583" y="95"/>
                  </a:lnTo>
                  <a:lnTo>
                    <a:pt x="583" y="97"/>
                  </a:lnTo>
                  <a:lnTo>
                    <a:pt x="586" y="97"/>
                  </a:lnTo>
                  <a:lnTo>
                    <a:pt x="588" y="100"/>
                  </a:lnTo>
                  <a:lnTo>
                    <a:pt x="590" y="99"/>
                  </a:lnTo>
                  <a:lnTo>
                    <a:pt x="591" y="97"/>
                  </a:lnTo>
                  <a:lnTo>
                    <a:pt x="591" y="95"/>
                  </a:lnTo>
                  <a:lnTo>
                    <a:pt x="593" y="97"/>
                  </a:lnTo>
                  <a:lnTo>
                    <a:pt x="595" y="95"/>
                  </a:lnTo>
                  <a:lnTo>
                    <a:pt x="597" y="97"/>
                  </a:lnTo>
                  <a:lnTo>
                    <a:pt x="598" y="97"/>
                  </a:lnTo>
                  <a:lnTo>
                    <a:pt x="600" y="95"/>
                  </a:lnTo>
                  <a:lnTo>
                    <a:pt x="600" y="99"/>
                  </a:lnTo>
                  <a:lnTo>
                    <a:pt x="602" y="99"/>
                  </a:lnTo>
                  <a:lnTo>
                    <a:pt x="603" y="99"/>
                  </a:lnTo>
                  <a:lnTo>
                    <a:pt x="605" y="97"/>
                  </a:lnTo>
                  <a:lnTo>
                    <a:pt x="605" y="95"/>
                  </a:lnTo>
                  <a:lnTo>
                    <a:pt x="607" y="93"/>
                  </a:lnTo>
                  <a:lnTo>
                    <a:pt x="607" y="92"/>
                  </a:lnTo>
                  <a:lnTo>
                    <a:pt x="608" y="90"/>
                  </a:lnTo>
                  <a:lnTo>
                    <a:pt x="610" y="88"/>
                  </a:lnTo>
                  <a:lnTo>
                    <a:pt x="612" y="87"/>
                  </a:lnTo>
                  <a:lnTo>
                    <a:pt x="614" y="85"/>
                  </a:lnTo>
                  <a:lnTo>
                    <a:pt x="615" y="85"/>
                  </a:lnTo>
                  <a:lnTo>
                    <a:pt x="617" y="85"/>
                  </a:lnTo>
                  <a:lnTo>
                    <a:pt x="619" y="83"/>
                  </a:lnTo>
                  <a:lnTo>
                    <a:pt x="620" y="82"/>
                  </a:lnTo>
                  <a:lnTo>
                    <a:pt x="622" y="82"/>
                  </a:lnTo>
                  <a:lnTo>
                    <a:pt x="624" y="80"/>
                  </a:lnTo>
                  <a:lnTo>
                    <a:pt x="625" y="78"/>
                  </a:lnTo>
                  <a:lnTo>
                    <a:pt x="625" y="76"/>
                  </a:lnTo>
                  <a:lnTo>
                    <a:pt x="627" y="73"/>
                  </a:lnTo>
                  <a:lnTo>
                    <a:pt x="629" y="73"/>
                  </a:lnTo>
                  <a:lnTo>
                    <a:pt x="631" y="73"/>
                  </a:lnTo>
                  <a:lnTo>
                    <a:pt x="632" y="70"/>
                  </a:lnTo>
                  <a:lnTo>
                    <a:pt x="632" y="71"/>
                  </a:lnTo>
                  <a:lnTo>
                    <a:pt x="632" y="73"/>
                  </a:lnTo>
                  <a:lnTo>
                    <a:pt x="634" y="75"/>
                  </a:lnTo>
                  <a:lnTo>
                    <a:pt x="636" y="76"/>
                  </a:lnTo>
                  <a:lnTo>
                    <a:pt x="637" y="76"/>
                  </a:lnTo>
                  <a:lnTo>
                    <a:pt x="639" y="76"/>
                  </a:lnTo>
                  <a:lnTo>
                    <a:pt x="641" y="78"/>
                  </a:lnTo>
                  <a:lnTo>
                    <a:pt x="642" y="76"/>
                  </a:lnTo>
                  <a:lnTo>
                    <a:pt x="642" y="78"/>
                  </a:lnTo>
                  <a:lnTo>
                    <a:pt x="644" y="82"/>
                  </a:lnTo>
                  <a:lnTo>
                    <a:pt x="644" y="83"/>
                  </a:lnTo>
                  <a:lnTo>
                    <a:pt x="646" y="85"/>
                  </a:lnTo>
                  <a:lnTo>
                    <a:pt x="648" y="87"/>
                  </a:lnTo>
                  <a:lnTo>
                    <a:pt x="651" y="87"/>
                  </a:lnTo>
                  <a:lnTo>
                    <a:pt x="651" y="88"/>
                  </a:lnTo>
                  <a:lnTo>
                    <a:pt x="653" y="90"/>
                  </a:lnTo>
                  <a:lnTo>
                    <a:pt x="654" y="90"/>
                  </a:lnTo>
                  <a:lnTo>
                    <a:pt x="654" y="88"/>
                  </a:lnTo>
                  <a:lnTo>
                    <a:pt x="656" y="90"/>
                  </a:lnTo>
                  <a:lnTo>
                    <a:pt x="659" y="90"/>
                  </a:lnTo>
                  <a:lnTo>
                    <a:pt x="661" y="90"/>
                  </a:lnTo>
                  <a:lnTo>
                    <a:pt x="663" y="92"/>
                  </a:lnTo>
                  <a:lnTo>
                    <a:pt x="665" y="93"/>
                  </a:lnTo>
                  <a:lnTo>
                    <a:pt x="666" y="93"/>
                  </a:lnTo>
                  <a:lnTo>
                    <a:pt x="670" y="95"/>
                  </a:lnTo>
                  <a:lnTo>
                    <a:pt x="668" y="95"/>
                  </a:lnTo>
                  <a:lnTo>
                    <a:pt x="670" y="97"/>
                  </a:lnTo>
                  <a:lnTo>
                    <a:pt x="670" y="95"/>
                  </a:lnTo>
                  <a:lnTo>
                    <a:pt x="673" y="92"/>
                  </a:lnTo>
                  <a:lnTo>
                    <a:pt x="673" y="93"/>
                  </a:lnTo>
                  <a:lnTo>
                    <a:pt x="675" y="92"/>
                  </a:lnTo>
                  <a:lnTo>
                    <a:pt x="675" y="90"/>
                  </a:lnTo>
                  <a:lnTo>
                    <a:pt x="676" y="88"/>
                  </a:lnTo>
                  <a:lnTo>
                    <a:pt x="675" y="88"/>
                  </a:lnTo>
                  <a:lnTo>
                    <a:pt x="673" y="87"/>
                  </a:lnTo>
                  <a:lnTo>
                    <a:pt x="673" y="85"/>
                  </a:lnTo>
                  <a:lnTo>
                    <a:pt x="671" y="83"/>
                  </a:lnTo>
                  <a:lnTo>
                    <a:pt x="675" y="82"/>
                  </a:lnTo>
                  <a:lnTo>
                    <a:pt x="676" y="80"/>
                  </a:lnTo>
                  <a:lnTo>
                    <a:pt x="678" y="82"/>
                  </a:lnTo>
                  <a:lnTo>
                    <a:pt x="680" y="83"/>
                  </a:lnTo>
                  <a:lnTo>
                    <a:pt x="680" y="85"/>
                  </a:lnTo>
                  <a:lnTo>
                    <a:pt x="683" y="85"/>
                  </a:lnTo>
                  <a:lnTo>
                    <a:pt x="683" y="83"/>
                  </a:lnTo>
                  <a:lnTo>
                    <a:pt x="685" y="83"/>
                  </a:lnTo>
                  <a:lnTo>
                    <a:pt x="687" y="85"/>
                  </a:lnTo>
                  <a:lnTo>
                    <a:pt x="688" y="85"/>
                  </a:lnTo>
                  <a:lnTo>
                    <a:pt x="690" y="82"/>
                  </a:lnTo>
                  <a:lnTo>
                    <a:pt x="692" y="82"/>
                  </a:lnTo>
                  <a:lnTo>
                    <a:pt x="693" y="83"/>
                  </a:lnTo>
                  <a:lnTo>
                    <a:pt x="695" y="82"/>
                  </a:lnTo>
                  <a:lnTo>
                    <a:pt x="693" y="78"/>
                  </a:lnTo>
                  <a:lnTo>
                    <a:pt x="697" y="80"/>
                  </a:lnTo>
                  <a:lnTo>
                    <a:pt x="695" y="82"/>
                  </a:lnTo>
                  <a:lnTo>
                    <a:pt x="697" y="83"/>
                  </a:lnTo>
                  <a:lnTo>
                    <a:pt x="699" y="83"/>
                  </a:lnTo>
                  <a:lnTo>
                    <a:pt x="699" y="85"/>
                  </a:lnTo>
                  <a:lnTo>
                    <a:pt x="700" y="85"/>
                  </a:lnTo>
                  <a:lnTo>
                    <a:pt x="702" y="85"/>
                  </a:lnTo>
                  <a:lnTo>
                    <a:pt x="705" y="85"/>
                  </a:lnTo>
                  <a:lnTo>
                    <a:pt x="707" y="83"/>
                  </a:lnTo>
                  <a:lnTo>
                    <a:pt x="707" y="85"/>
                  </a:lnTo>
                  <a:lnTo>
                    <a:pt x="709" y="87"/>
                  </a:lnTo>
                  <a:lnTo>
                    <a:pt x="710" y="88"/>
                  </a:lnTo>
                  <a:lnTo>
                    <a:pt x="712" y="87"/>
                  </a:lnTo>
                  <a:lnTo>
                    <a:pt x="714" y="85"/>
                  </a:lnTo>
                  <a:lnTo>
                    <a:pt x="716" y="85"/>
                  </a:lnTo>
                  <a:lnTo>
                    <a:pt x="717" y="82"/>
                  </a:lnTo>
                  <a:lnTo>
                    <a:pt x="717" y="80"/>
                  </a:lnTo>
                  <a:lnTo>
                    <a:pt x="719" y="78"/>
                  </a:lnTo>
                  <a:lnTo>
                    <a:pt x="721" y="80"/>
                  </a:lnTo>
                  <a:lnTo>
                    <a:pt x="722" y="82"/>
                  </a:lnTo>
                  <a:lnTo>
                    <a:pt x="724" y="83"/>
                  </a:lnTo>
                  <a:lnTo>
                    <a:pt x="726" y="85"/>
                  </a:lnTo>
                  <a:lnTo>
                    <a:pt x="727" y="83"/>
                  </a:lnTo>
                  <a:lnTo>
                    <a:pt x="729" y="83"/>
                  </a:lnTo>
                  <a:lnTo>
                    <a:pt x="731" y="83"/>
                  </a:lnTo>
                  <a:lnTo>
                    <a:pt x="733" y="82"/>
                  </a:lnTo>
                  <a:lnTo>
                    <a:pt x="734" y="82"/>
                  </a:lnTo>
                  <a:lnTo>
                    <a:pt x="736" y="82"/>
                  </a:lnTo>
                  <a:lnTo>
                    <a:pt x="738" y="80"/>
                  </a:lnTo>
                  <a:lnTo>
                    <a:pt x="739" y="80"/>
                  </a:lnTo>
                  <a:lnTo>
                    <a:pt x="739" y="82"/>
                  </a:lnTo>
                  <a:lnTo>
                    <a:pt x="741" y="83"/>
                  </a:lnTo>
                  <a:lnTo>
                    <a:pt x="744" y="85"/>
                  </a:lnTo>
                  <a:lnTo>
                    <a:pt x="746" y="87"/>
                  </a:lnTo>
                  <a:lnTo>
                    <a:pt x="748" y="87"/>
                  </a:lnTo>
                  <a:lnTo>
                    <a:pt x="750" y="87"/>
                  </a:lnTo>
                  <a:lnTo>
                    <a:pt x="751" y="87"/>
                  </a:lnTo>
                  <a:lnTo>
                    <a:pt x="753" y="88"/>
                  </a:lnTo>
                  <a:lnTo>
                    <a:pt x="755" y="87"/>
                  </a:lnTo>
                  <a:lnTo>
                    <a:pt x="756" y="87"/>
                  </a:lnTo>
                  <a:lnTo>
                    <a:pt x="758" y="85"/>
                  </a:lnTo>
                  <a:lnTo>
                    <a:pt x="758" y="82"/>
                  </a:lnTo>
                  <a:lnTo>
                    <a:pt x="761" y="80"/>
                  </a:lnTo>
                  <a:lnTo>
                    <a:pt x="763" y="80"/>
                  </a:lnTo>
                  <a:lnTo>
                    <a:pt x="765" y="78"/>
                  </a:lnTo>
                  <a:lnTo>
                    <a:pt x="767" y="78"/>
                  </a:lnTo>
                  <a:lnTo>
                    <a:pt x="768" y="80"/>
                  </a:lnTo>
                  <a:lnTo>
                    <a:pt x="765" y="85"/>
                  </a:lnTo>
                  <a:lnTo>
                    <a:pt x="763" y="85"/>
                  </a:lnTo>
                  <a:lnTo>
                    <a:pt x="765" y="87"/>
                  </a:lnTo>
                  <a:lnTo>
                    <a:pt x="765" y="90"/>
                  </a:lnTo>
                  <a:lnTo>
                    <a:pt x="767" y="90"/>
                  </a:lnTo>
                  <a:lnTo>
                    <a:pt x="768" y="92"/>
                  </a:lnTo>
                  <a:lnTo>
                    <a:pt x="770" y="93"/>
                  </a:lnTo>
                  <a:lnTo>
                    <a:pt x="772" y="93"/>
                  </a:lnTo>
                  <a:lnTo>
                    <a:pt x="775" y="93"/>
                  </a:lnTo>
                  <a:lnTo>
                    <a:pt x="775" y="95"/>
                  </a:lnTo>
                  <a:lnTo>
                    <a:pt x="777" y="97"/>
                  </a:lnTo>
                  <a:lnTo>
                    <a:pt x="777" y="99"/>
                  </a:lnTo>
                  <a:lnTo>
                    <a:pt x="778" y="99"/>
                  </a:lnTo>
                  <a:lnTo>
                    <a:pt x="778" y="100"/>
                  </a:lnTo>
                  <a:lnTo>
                    <a:pt x="777" y="102"/>
                  </a:lnTo>
                  <a:lnTo>
                    <a:pt x="775" y="102"/>
                  </a:lnTo>
                  <a:lnTo>
                    <a:pt x="775" y="104"/>
                  </a:lnTo>
                  <a:lnTo>
                    <a:pt x="775" y="105"/>
                  </a:lnTo>
                  <a:lnTo>
                    <a:pt x="773" y="107"/>
                  </a:lnTo>
                  <a:lnTo>
                    <a:pt x="773" y="109"/>
                  </a:lnTo>
                  <a:lnTo>
                    <a:pt x="772" y="112"/>
                  </a:lnTo>
                  <a:lnTo>
                    <a:pt x="772" y="116"/>
                  </a:lnTo>
                  <a:lnTo>
                    <a:pt x="773" y="117"/>
                  </a:lnTo>
                  <a:lnTo>
                    <a:pt x="770" y="117"/>
                  </a:lnTo>
                  <a:lnTo>
                    <a:pt x="768" y="119"/>
                  </a:lnTo>
                  <a:lnTo>
                    <a:pt x="767" y="119"/>
                  </a:lnTo>
                  <a:lnTo>
                    <a:pt x="767" y="121"/>
                  </a:lnTo>
                  <a:lnTo>
                    <a:pt x="765" y="122"/>
                  </a:lnTo>
                  <a:lnTo>
                    <a:pt x="763" y="122"/>
                  </a:lnTo>
                  <a:lnTo>
                    <a:pt x="761" y="122"/>
                  </a:lnTo>
                  <a:lnTo>
                    <a:pt x="763" y="124"/>
                  </a:lnTo>
                  <a:lnTo>
                    <a:pt x="763" y="126"/>
                  </a:lnTo>
                  <a:lnTo>
                    <a:pt x="765" y="126"/>
                  </a:lnTo>
                  <a:lnTo>
                    <a:pt x="767" y="126"/>
                  </a:lnTo>
                  <a:lnTo>
                    <a:pt x="768" y="127"/>
                  </a:lnTo>
                  <a:lnTo>
                    <a:pt x="770" y="129"/>
                  </a:lnTo>
                  <a:lnTo>
                    <a:pt x="772" y="129"/>
                  </a:lnTo>
                  <a:lnTo>
                    <a:pt x="773" y="131"/>
                  </a:lnTo>
                  <a:lnTo>
                    <a:pt x="773" y="129"/>
                  </a:lnTo>
                  <a:lnTo>
                    <a:pt x="775" y="129"/>
                  </a:lnTo>
                  <a:lnTo>
                    <a:pt x="777" y="127"/>
                  </a:lnTo>
                  <a:lnTo>
                    <a:pt x="778" y="129"/>
                  </a:lnTo>
                  <a:lnTo>
                    <a:pt x="780" y="127"/>
                  </a:lnTo>
                  <a:lnTo>
                    <a:pt x="780" y="126"/>
                  </a:lnTo>
                  <a:lnTo>
                    <a:pt x="780" y="124"/>
                  </a:lnTo>
                  <a:lnTo>
                    <a:pt x="782" y="124"/>
                  </a:lnTo>
                  <a:lnTo>
                    <a:pt x="783" y="126"/>
                  </a:lnTo>
                  <a:lnTo>
                    <a:pt x="783" y="127"/>
                  </a:lnTo>
                  <a:lnTo>
                    <a:pt x="782" y="133"/>
                  </a:lnTo>
                  <a:lnTo>
                    <a:pt x="780" y="134"/>
                  </a:lnTo>
                  <a:lnTo>
                    <a:pt x="777" y="133"/>
                  </a:lnTo>
                  <a:lnTo>
                    <a:pt x="775" y="134"/>
                  </a:lnTo>
                  <a:lnTo>
                    <a:pt x="773" y="133"/>
                  </a:lnTo>
                  <a:lnTo>
                    <a:pt x="773" y="134"/>
                  </a:lnTo>
                  <a:lnTo>
                    <a:pt x="773" y="136"/>
                  </a:lnTo>
                  <a:lnTo>
                    <a:pt x="773" y="138"/>
                  </a:lnTo>
                  <a:lnTo>
                    <a:pt x="773" y="139"/>
                  </a:lnTo>
                  <a:lnTo>
                    <a:pt x="772" y="139"/>
                  </a:lnTo>
                  <a:lnTo>
                    <a:pt x="773" y="141"/>
                  </a:lnTo>
                  <a:lnTo>
                    <a:pt x="772" y="143"/>
                  </a:lnTo>
                  <a:lnTo>
                    <a:pt x="773" y="144"/>
                  </a:lnTo>
                  <a:lnTo>
                    <a:pt x="773" y="146"/>
                  </a:lnTo>
                  <a:lnTo>
                    <a:pt x="775" y="148"/>
                  </a:lnTo>
                  <a:lnTo>
                    <a:pt x="773" y="148"/>
                  </a:lnTo>
                  <a:lnTo>
                    <a:pt x="773" y="151"/>
                  </a:lnTo>
                  <a:lnTo>
                    <a:pt x="775" y="151"/>
                  </a:lnTo>
                  <a:lnTo>
                    <a:pt x="778" y="151"/>
                  </a:lnTo>
                  <a:lnTo>
                    <a:pt x="780" y="150"/>
                  </a:lnTo>
                  <a:lnTo>
                    <a:pt x="782" y="150"/>
                  </a:lnTo>
                  <a:lnTo>
                    <a:pt x="783" y="151"/>
                  </a:lnTo>
                  <a:lnTo>
                    <a:pt x="783" y="153"/>
                  </a:lnTo>
                  <a:lnTo>
                    <a:pt x="785" y="153"/>
                  </a:lnTo>
                  <a:lnTo>
                    <a:pt x="785" y="155"/>
                  </a:lnTo>
                  <a:lnTo>
                    <a:pt x="785" y="156"/>
                  </a:lnTo>
                  <a:lnTo>
                    <a:pt x="789" y="156"/>
                  </a:lnTo>
                  <a:lnTo>
                    <a:pt x="789" y="158"/>
                  </a:lnTo>
                  <a:lnTo>
                    <a:pt x="790" y="160"/>
                  </a:lnTo>
                  <a:lnTo>
                    <a:pt x="792" y="161"/>
                  </a:lnTo>
                  <a:lnTo>
                    <a:pt x="792" y="160"/>
                  </a:lnTo>
                  <a:lnTo>
                    <a:pt x="792" y="161"/>
                  </a:lnTo>
                  <a:lnTo>
                    <a:pt x="794" y="163"/>
                  </a:lnTo>
                  <a:lnTo>
                    <a:pt x="790" y="165"/>
                  </a:lnTo>
                  <a:lnTo>
                    <a:pt x="789" y="165"/>
                  </a:lnTo>
                  <a:lnTo>
                    <a:pt x="790" y="167"/>
                  </a:lnTo>
                  <a:lnTo>
                    <a:pt x="792" y="167"/>
                  </a:lnTo>
                  <a:lnTo>
                    <a:pt x="794" y="168"/>
                  </a:lnTo>
                  <a:lnTo>
                    <a:pt x="795" y="165"/>
                  </a:lnTo>
                  <a:lnTo>
                    <a:pt x="795" y="163"/>
                  </a:lnTo>
                  <a:lnTo>
                    <a:pt x="797" y="165"/>
                  </a:lnTo>
                  <a:lnTo>
                    <a:pt x="799" y="167"/>
                  </a:lnTo>
                  <a:lnTo>
                    <a:pt x="799" y="170"/>
                  </a:lnTo>
                  <a:lnTo>
                    <a:pt x="795" y="170"/>
                  </a:lnTo>
                  <a:lnTo>
                    <a:pt x="797" y="170"/>
                  </a:lnTo>
                  <a:lnTo>
                    <a:pt x="797" y="173"/>
                  </a:lnTo>
                  <a:lnTo>
                    <a:pt x="797" y="177"/>
                  </a:lnTo>
                  <a:lnTo>
                    <a:pt x="797" y="178"/>
                  </a:lnTo>
                  <a:lnTo>
                    <a:pt x="797" y="182"/>
                  </a:lnTo>
                  <a:lnTo>
                    <a:pt x="795" y="182"/>
                  </a:lnTo>
                  <a:lnTo>
                    <a:pt x="799" y="184"/>
                  </a:lnTo>
                  <a:lnTo>
                    <a:pt x="795" y="185"/>
                  </a:lnTo>
                  <a:lnTo>
                    <a:pt x="794" y="185"/>
                  </a:lnTo>
                  <a:lnTo>
                    <a:pt x="795" y="187"/>
                  </a:lnTo>
                  <a:lnTo>
                    <a:pt x="799" y="189"/>
                  </a:lnTo>
                  <a:lnTo>
                    <a:pt x="799" y="190"/>
                  </a:lnTo>
                  <a:lnTo>
                    <a:pt x="799" y="192"/>
                  </a:lnTo>
                  <a:lnTo>
                    <a:pt x="800" y="195"/>
                  </a:lnTo>
                  <a:lnTo>
                    <a:pt x="799" y="197"/>
                  </a:lnTo>
                  <a:lnTo>
                    <a:pt x="799" y="199"/>
                  </a:lnTo>
                  <a:lnTo>
                    <a:pt x="799" y="201"/>
                  </a:lnTo>
                  <a:lnTo>
                    <a:pt x="795" y="201"/>
                  </a:lnTo>
                  <a:lnTo>
                    <a:pt x="794" y="201"/>
                  </a:lnTo>
                  <a:lnTo>
                    <a:pt x="790" y="202"/>
                  </a:lnTo>
                  <a:lnTo>
                    <a:pt x="790" y="204"/>
                  </a:lnTo>
                  <a:lnTo>
                    <a:pt x="787" y="202"/>
                  </a:lnTo>
                  <a:lnTo>
                    <a:pt x="785" y="204"/>
                  </a:lnTo>
                  <a:lnTo>
                    <a:pt x="785" y="206"/>
                  </a:lnTo>
                  <a:lnTo>
                    <a:pt x="783" y="204"/>
                  </a:lnTo>
                  <a:lnTo>
                    <a:pt x="782" y="204"/>
                  </a:lnTo>
                  <a:lnTo>
                    <a:pt x="780" y="206"/>
                  </a:lnTo>
                  <a:lnTo>
                    <a:pt x="777" y="206"/>
                  </a:lnTo>
                  <a:lnTo>
                    <a:pt x="777" y="207"/>
                  </a:lnTo>
                  <a:lnTo>
                    <a:pt x="773" y="209"/>
                  </a:lnTo>
                  <a:lnTo>
                    <a:pt x="772" y="211"/>
                  </a:lnTo>
                  <a:lnTo>
                    <a:pt x="770" y="211"/>
                  </a:lnTo>
                  <a:lnTo>
                    <a:pt x="770" y="209"/>
                  </a:lnTo>
                  <a:lnTo>
                    <a:pt x="768" y="209"/>
                  </a:lnTo>
                  <a:lnTo>
                    <a:pt x="763" y="212"/>
                  </a:lnTo>
                  <a:lnTo>
                    <a:pt x="761" y="212"/>
                  </a:lnTo>
                  <a:lnTo>
                    <a:pt x="760" y="212"/>
                  </a:lnTo>
                  <a:lnTo>
                    <a:pt x="760" y="214"/>
                  </a:lnTo>
                  <a:lnTo>
                    <a:pt x="760" y="216"/>
                  </a:lnTo>
                  <a:lnTo>
                    <a:pt x="760" y="218"/>
                  </a:lnTo>
                  <a:lnTo>
                    <a:pt x="758" y="218"/>
                  </a:lnTo>
                  <a:lnTo>
                    <a:pt x="760" y="221"/>
                  </a:lnTo>
                  <a:lnTo>
                    <a:pt x="760" y="223"/>
                  </a:lnTo>
                  <a:lnTo>
                    <a:pt x="760" y="224"/>
                  </a:lnTo>
                  <a:lnTo>
                    <a:pt x="761" y="226"/>
                  </a:lnTo>
                  <a:lnTo>
                    <a:pt x="760" y="228"/>
                  </a:lnTo>
                  <a:lnTo>
                    <a:pt x="760" y="226"/>
                  </a:lnTo>
                  <a:lnTo>
                    <a:pt x="758" y="226"/>
                  </a:lnTo>
                  <a:lnTo>
                    <a:pt x="756" y="228"/>
                  </a:lnTo>
                  <a:lnTo>
                    <a:pt x="756" y="229"/>
                  </a:lnTo>
                  <a:lnTo>
                    <a:pt x="755" y="231"/>
                  </a:lnTo>
                  <a:lnTo>
                    <a:pt x="755" y="233"/>
                  </a:lnTo>
                  <a:lnTo>
                    <a:pt x="748" y="235"/>
                  </a:lnTo>
                  <a:lnTo>
                    <a:pt x="750" y="236"/>
                  </a:lnTo>
                  <a:lnTo>
                    <a:pt x="744" y="240"/>
                  </a:lnTo>
                  <a:lnTo>
                    <a:pt x="746" y="241"/>
                  </a:lnTo>
                  <a:lnTo>
                    <a:pt x="744" y="243"/>
                  </a:lnTo>
                  <a:lnTo>
                    <a:pt x="744" y="245"/>
                  </a:lnTo>
                  <a:lnTo>
                    <a:pt x="743" y="245"/>
                  </a:lnTo>
                  <a:lnTo>
                    <a:pt x="744" y="248"/>
                  </a:lnTo>
                  <a:lnTo>
                    <a:pt x="746" y="250"/>
                  </a:lnTo>
                  <a:lnTo>
                    <a:pt x="748" y="253"/>
                  </a:lnTo>
                  <a:lnTo>
                    <a:pt x="748" y="255"/>
                  </a:lnTo>
                  <a:lnTo>
                    <a:pt x="748" y="257"/>
                  </a:lnTo>
                  <a:lnTo>
                    <a:pt x="746" y="257"/>
                  </a:lnTo>
                  <a:lnTo>
                    <a:pt x="746" y="260"/>
                  </a:lnTo>
                  <a:lnTo>
                    <a:pt x="748" y="262"/>
                  </a:lnTo>
                  <a:lnTo>
                    <a:pt x="750" y="260"/>
                  </a:lnTo>
                  <a:lnTo>
                    <a:pt x="753" y="260"/>
                  </a:lnTo>
                  <a:lnTo>
                    <a:pt x="753" y="262"/>
                  </a:lnTo>
                  <a:lnTo>
                    <a:pt x="753" y="264"/>
                  </a:lnTo>
                  <a:lnTo>
                    <a:pt x="751" y="264"/>
                  </a:lnTo>
                  <a:lnTo>
                    <a:pt x="751" y="265"/>
                  </a:lnTo>
                  <a:lnTo>
                    <a:pt x="750" y="267"/>
                  </a:lnTo>
                  <a:lnTo>
                    <a:pt x="751" y="269"/>
                  </a:lnTo>
                  <a:lnTo>
                    <a:pt x="751" y="270"/>
                  </a:lnTo>
                  <a:lnTo>
                    <a:pt x="753" y="272"/>
                  </a:lnTo>
                  <a:lnTo>
                    <a:pt x="753" y="274"/>
                  </a:lnTo>
                  <a:close/>
                  <a:moveTo>
                    <a:pt x="401" y="520"/>
                  </a:moveTo>
                  <a:lnTo>
                    <a:pt x="403" y="520"/>
                  </a:lnTo>
                  <a:lnTo>
                    <a:pt x="403" y="522"/>
                  </a:lnTo>
                  <a:lnTo>
                    <a:pt x="401" y="522"/>
                  </a:lnTo>
                  <a:lnTo>
                    <a:pt x="403" y="522"/>
                  </a:lnTo>
                  <a:lnTo>
                    <a:pt x="403" y="524"/>
                  </a:lnTo>
                  <a:lnTo>
                    <a:pt x="403" y="522"/>
                  </a:lnTo>
                  <a:lnTo>
                    <a:pt x="403" y="524"/>
                  </a:lnTo>
                  <a:lnTo>
                    <a:pt x="404" y="525"/>
                  </a:lnTo>
                  <a:lnTo>
                    <a:pt x="403" y="527"/>
                  </a:lnTo>
                  <a:lnTo>
                    <a:pt x="403" y="525"/>
                  </a:lnTo>
                  <a:lnTo>
                    <a:pt x="401" y="527"/>
                  </a:lnTo>
                  <a:lnTo>
                    <a:pt x="399" y="527"/>
                  </a:lnTo>
                  <a:lnTo>
                    <a:pt x="398" y="527"/>
                  </a:lnTo>
                  <a:lnTo>
                    <a:pt x="396" y="525"/>
                  </a:lnTo>
                  <a:lnTo>
                    <a:pt x="396" y="524"/>
                  </a:lnTo>
                  <a:lnTo>
                    <a:pt x="398" y="522"/>
                  </a:lnTo>
                  <a:lnTo>
                    <a:pt x="401" y="522"/>
                  </a:lnTo>
                  <a:lnTo>
                    <a:pt x="399" y="520"/>
                  </a:lnTo>
                  <a:lnTo>
                    <a:pt x="401" y="520"/>
                  </a:lnTo>
                  <a:close/>
                  <a:moveTo>
                    <a:pt x="506" y="405"/>
                  </a:moveTo>
                  <a:lnTo>
                    <a:pt x="508" y="406"/>
                  </a:lnTo>
                  <a:lnTo>
                    <a:pt x="510" y="405"/>
                  </a:lnTo>
                  <a:lnTo>
                    <a:pt x="510" y="406"/>
                  </a:lnTo>
                  <a:lnTo>
                    <a:pt x="508" y="406"/>
                  </a:lnTo>
                  <a:lnTo>
                    <a:pt x="508" y="410"/>
                  </a:lnTo>
                  <a:lnTo>
                    <a:pt x="506" y="410"/>
                  </a:lnTo>
                  <a:lnTo>
                    <a:pt x="505" y="410"/>
                  </a:lnTo>
                  <a:lnTo>
                    <a:pt x="506" y="410"/>
                  </a:lnTo>
                  <a:lnTo>
                    <a:pt x="505" y="410"/>
                  </a:lnTo>
                  <a:lnTo>
                    <a:pt x="505" y="408"/>
                  </a:lnTo>
                  <a:lnTo>
                    <a:pt x="505" y="412"/>
                  </a:lnTo>
                  <a:lnTo>
                    <a:pt x="503" y="412"/>
                  </a:lnTo>
                  <a:lnTo>
                    <a:pt x="501" y="412"/>
                  </a:lnTo>
                  <a:lnTo>
                    <a:pt x="503" y="412"/>
                  </a:lnTo>
                  <a:lnTo>
                    <a:pt x="503" y="410"/>
                  </a:lnTo>
                  <a:lnTo>
                    <a:pt x="503" y="412"/>
                  </a:lnTo>
                  <a:lnTo>
                    <a:pt x="501" y="413"/>
                  </a:lnTo>
                  <a:lnTo>
                    <a:pt x="501" y="412"/>
                  </a:lnTo>
                  <a:lnTo>
                    <a:pt x="503" y="410"/>
                  </a:lnTo>
                  <a:lnTo>
                    <a:pt x="503" y="408"/>
                  </a:lnTo>
                  <a:lnTo>
                    <a:pt x="505" y="408"/>
                  </a:lnTo>
                  <a:lnTo>
                    <a:pt x="505" y="406"/>
                  </a:lnTo>
                  <a:lnTo>
                    <a:pt x="506" y="405"/>
                  </a:lnTo>
                  <a:close/>
                  <a:moveTo>
                    <a:pt x="403" y="529"/>
                  </a:moveTo>
                  <a:lnTo>
                    <a:pt x="404" y="529"/>
                  </a:lnTo>
                  <a:lnTo>
                    <a:pt x="404" y="531"/>
                  </a:lnTo>
                  <a:lnTo>
                    <a:pt x="404" y="532"/>
                  </a:lnTo>
                  <a:lnTo>
                    <a:pt x="404" y="534"/>
                  </a:lnTo>
                  <a:lnTo>
                    <a:pt x="403" y="532"/>
                  </a:lnTo>
                  <a:lnTo>
                    <a:pt x="401" y="529"/>
                  </a:lnTo>
                  <a:lnTo>
                    <a:pt x="403" y="529"/>
                  </a:lnTo>
                  <a:close/>
                  <a:moveTo>
                    <a:pt x="401" y="527"/>
                  </a:moveTo>
                  <a:lnTo>
                    <a:pt x="403" y="527"/>
                  </a:lnTo>
                  <a:lnTo>
                    <a:pt x="404" y="527"/>
                  </a:lnTo>
                  <a:lnTo>
                    <a:pt x="404" y="529"/>
                  </a:lnTo>
                  <a:lnTo>
                    <a:pt x="403" y="529"/>
                  </a:lnTo>
                  <a:lnTo>
                    <a:pt x="401" y="529"/>
                  </a:lnTo>
                  <a:lnTo>
                    <a:pt x="399" y="527"/>
                  </a:lnTo>
                  <a:lnTo>
                    <a:pt x="401" y="527"/>
                  </a:lnTo>
                  <a:close/>
                  <a:moveTo>
                    <a:pt x="471" y="439"/>
                  </a:moveTo>
                  <a:lnTo>
                    <a:pt x="474" y="439"/>
                  </a:lnTo>
                  <a:lnTo>
                    <a:pt x="476" y="439"/>
                  </a:lnTo>
                  <a:lnTo>
                    <a:pt x="474" y="440"/>
                  </a:lnTo>
                  <a:lnTo>
                    <a:pt x="478" y="440"/>
                  </a:lnTo>
                  <a:lnTo>
                    <a:pt x="481" y="439"/>
                  </a:lnTo>
                  <a:lnTo>
                    <a:pt x="483" y="439"/>
                  </a:lnTo>
                  <a:lnTo>
                    <a:pt x="484" y="439"/>
                  </a:lnTo>
                  <a:lnTo>
                    <a:pt x="486" y="439"/>
                  </a:lnTo>
                  <a:lnTo>
                    <a:pt x="489" y="439"/>
                  </a:lnTo>
                  <a:lnTo>
                    <a:pt x="491" y="439"/>
                  </a:lnTo>
                  <a:lnTo>
                    <a:pt x="493" y="439"/>
                  </a:lnTo>
                  <a:lnTo>
                    <a:pt x="495" y="439"/>
                  </a:lnTo>
                  <a:lnTo>
                    <a:pt x="493" y="439"/>
                  </a:lnTo>
                  <a:lnTo>
                    <a:pt x="489" y="439"/>
                  </a:lnTo>
                  <a:lnTo>
                    <a:pt x="488" y="439"/>
                  </a:lnTo>
                  <a:lnTo>
                    <a:pt x="486" y="439"/>
                  </a:lnTo>
                  <a:lnTo>
                    <a:pt x="483" y="439"/>
                  </a:lnTo>
                  <a:lnTo>
                    <a:pt x="481" y="440"/>
                  </a:lnTo>
                  <a:lnTo>
                    <a:pt x="479" y="440"/>
                  </a:lnTo>
                  <a:lnTo>
                    <a:pt x="478" y="440"/>
                  </a:lnTo>
                  <a:lnTo>
                    <a:pt x="476" y="440"/>
                  </a:lnTo>
                  <a:lnTo>
                    <a:pt x="474" y="440"/>
                  </a:lnTo>
                  <a:lnTo>
                    <a:pt x="472" y="439"/>
                  </a:lnTo>
                  <a:lnTo>
                    <a:pt x="471" y="439"/>
                  </a:lnTo>
                  <a:lnTo>
                    <a:pt x="467" y="437"/>
                  </a:lnTo>
                  <a:lnTo>
                    <a:pt x="467" y="434"/>
                  </a:lnTo>
                  <a:lnTo>
                    <a:pt x="467" y="432"/>
                  </a:lnTo>
                  <a:lnTo>
                    <a:pt x="467" y="434"/>
                  </a:lnTo>
                  <a:lnTo>
                    <a:pt x="469" y="437"/>
                  </a:lnTo>
                  <a:lnTo>
                    <a:pt x="469" y="439"/>
                  </a:lnTo>
                  <a:lnTo>
                    <a:pt x="471" y="439"/>
                  </a:lnTo>
                  <a:close/>
                  <a:moveTo>
                    <a:pt x="510" y="401"/>
                  </a:moveTo>
                  <a:lnTo>
                    <a:pt x="512" y="403"/>
                  </a:lnTo>
                  <a:lnTo>
                    <a:pt x="510" y="405"/>
                  </a:lnTo>
                  <a:lnTo>
                    <a:pt x="508" y="405"/>
                  </a:lnTo>
                  <a:lnTo>
                    <a:pt x="510" y="403"/>
                  </a:lnTo>
                  <a:lnTo>
                    <a:pt x="508" y="405"/>
                  </a:lnTo>
                  <a:lnTo>
                    <a:pt x="506" y="405"/>
                  </a:lnTo>
                  <a:lnTo>
                    <a:pt x="508" y="403"/>
                  </a:lnTo>
                  <a:lnTo>
                    <a:pt x="510" y="401"/>
                  </a:lnTo>
                  <a:close/>
                  <a:moveTo>
                    <a:pt x="510" y="400"/>
                  </a:moveTo>
                  <a:lnTo>
                    <a:pt x="512" y="400"/>
                  </a:lnTo>
                  <a:lnTo>
                    <a:pt x="512" y="401"/>
                  </a:lnTo>
                  <a:lnTo>
                    <a:pt x="510" y="403"/>
                  </a:lnTo>
                  <a:lnTo>
                    <a:pt x="510" y="400"/>
                  </a:lnTo>
                  <a:lnTo>
                    <a:pt x="508" y="401"/>
                  </a:lnTo>
                  <a:lnTo>
                    <a:pt x="510" y="403"/>
                  </a:lnTo>
                  <a:lnTo>
                    <a:pt x="508" y="403"/>
                  </a:lnTo>
                  <a:lnTo>
                    <a:pt x="506" y="405"/>
                  </a:lnTo>
                  <a:lnTo>
                    <a:pt x="506" y="401"/>
                  </a:lnTo>
                  <a:lnTo>
                    <a:pt x="508" y="401"/>
                  </a:lnTo>
                  <a:lnTo>
                    <a:pt x="506" y="401"/>
                  </a:lnTo>
                  <a:lnTo>
                    <a:pt x="508" y="401"/>
                  </a:lnTo>
                  <a:lnTo>
                    <a:pt x="510" y="400"/>
                  </a:lnTo>
                  <a:close/>
                  <a:moveTo>
                    <a:pt x="403" y="536"/>
                  </a:moveTo>
                  <a:lnTo>
                    <a:pt x="401" y="534"/>
                  </a:lnTo>
                  <a:lnTo>
                    <a:pt x="401" y="532"/>
                  </a:lnTo>
                  <a:lnTo>
                    <a:pt x="404" y="534"/>
                  </a:lnTo>
                  <a:lnTo>
                    <a:pt x="404" y="536"/>
                  </a:lnTo>
                  <a:lnTo>
                    <a:pt x="404" y="537"/>
                  </a:lnTo>
                  <a:lnTo>
                    <a:pt x="403" y="536"/>
                  </a:lnTo>
                  <a:close/>
                  <a:moveTo>
                    <a:pt x="624" y="408"/>
                  </a:moveTo>
                  <a:lnTo>
                    <a:pt x="624" y="406"/>
                  </a:lnTo>
                  <a:lnTo>
                    <a:pt x="625" y="410"/>
                  </a:lnTo>
                  <a:lnTo>
                    <a:pt x="624" y="408"/>
                  </a:lnTo>
                  <a:lnTo>
                    <a:pt x="624" y="410"/>
                  </a:lnTo>
                  <a:lnTo>
                    <a:pt x="622" y="408"/>
                  </a:lnTo>
                  <a:lnTo>
                    <a:pt x="620" y="408"/>
                  </a:lnTo>
                  <a:lnTo>
                    <a:pt x="624" y="408"/>
                  </a:lnTo>
                  <a:close/>
                  <a:moveTo>
                    <a:pt x="505" y="410"/>
                  </a:moveTo>
                  <a:lnTo>
                    <a:pt x="506" y="410"/>
                  </a:lnTo>
                  <a:lnTo>
                    <a:pt x="506" y="412"/>
                  </a:lnTo>
                  <a:lnTo>
                    <a:pt x="503" y="412"/>
                  </a:lnTo>
                  <a:lnTo>
                    <a:pt x="501" y="415"/>
                  </a:lnTo>
                  <a:lnTo>
                    <a:pt x="500" y="413"/>
                  </a:lnTo>
                  <a:lnTo>
                    <a:pt x="501" y="413"/>
                  </a:lnTo>
                  <a:lnTo>
                    <a:pt x="505" y="412"/>
                  </a:lnTo>
                  <a:lnTo>
                    <a:pt x="505" y="410"/>
                  </a:lnTo>
                  <a:close/>
                  <a:moveTo>
                    <a:pt x="678" y="343"/>
                  </a:moveTo>
                  <a:lnTo>
                    <a:pt x="678" y="347"/>
                  </a:lnTo>
                  <a:lnTo>
                    <a:pt x="676" y="349"/>
                  </a:lnTo>
                  <a:lnTo>
                    <a:pt x="676" y="350"/>
                  </a:lnTo>
                  <a:lnTo>
                    <a:pt x="675" y="352"/>
                  </a:lnTo>
                  <a:lnTo>
                    <a:pt x="675" y="350"/>
                  </a:lnTo>
                  <a:lnTo>
                    <a:pt x="675" y="349"/>
                  </a:lnTo>
                  <a:lnTo>
                    <a:pt x="676" y="350"/>
                  </a:lnTo>
                  <a:lnTo>
                    <a:pt x="676" y="349"/>
                  </a:lnTo>
                  <a:lnTo>
                    <a:pt x="678" y="347"/>
                  </a:lnTo>
                  <a:lnTo>
                    <a:pt x="676" y="347"/>
                  </a:lnTo>
                  <a:lnTo>
                    <a:pt x="678" y="343"/>
                  </a:lnTo>
                  <a:close/>
                  <a:moveTo>
                    <a:pt x="403" y="517"/>
                  </a:moveTo>
                  <a:lnTo>
                    <a:pt x="401" y="519"/>
                  </a:lnTo>
                  <a:lnTo>
                    <a:pt x="401" y="517"/>
                  </a:lnTo>
                  <a:lnTo>
                    <a:pt x="401" y="519"/>
                  </a:lnTo>
                  <a:lnTo>
                    <a:pt x="403" y="517"/>
                  </a:lnTo>
                  <a:lnTo>
                    <a:pt x="401" y="515"/>
                  </a:lnTo>
                  <a:lnTo>
                    <a:pt x="403" y="517"/>
                  </a:lnTo>
                  <a:close/>
                  <a:moveTo>
                    <a:pt x="513" y="400"/>
                  </a:moveTo>
                  <a:lnTo>
                    <a:pt x="513" y="401"/>
                  </a:lnTo>
                  <a:lnTo>
                    <a:pt x="512" y="403"/>
                  </a:lnTo>
                  <a:lnTo>
                    <a:pt x="512" y="405"/>
                  </a:lnTo>
                  <a:lnTo>
                    <a:pt x="510" y="405"/>
                  </a:lnTo>
                  <a:lnTo>
                    <a:pt x="512" y="401"/>
                  </a:lnTo>
                  <a:lnTo>
                    <a:pt x="512" y="400"/>
                  </a:lnTo>
                  <a:lnTo>
                    <a:pt x="513" y="400"/>
                  </a:lnTo>
                  <a:close/>
                  <a:moveTo>
                    <a:pt x="501" y="410"/>
                  </a:moveTo>
                  <a:lnTo>
                    <a:pt x="503" y="410"/>
                  </a:lnTo>
                  <a:lnTo>
                    <a:pt x="501" y="410"/>
                  </a:lnTo>
                  <a:lnTo>
                    <a:pt x="503" y="410"/>
                  </a:lnTo>
                  <a:lnTo>
                    <a:pt x="501" y="412"/>
                  </a:lnTo>
                  <a:lnTo>
                    <a:pt x="500" y="412"/>
                  </a:lnTo>
                  <a:lnTo>
                    <a:pt x="501" y="410"/>
                  </a:lnTo>
                  <a:close/>
                  <a:moveTo>
                    <a:pt x="401" y="519"/>
                  </a:moveTo>
                  <a:lnTo>
                    <a:pt x="403" y="517"/>
                  </a:lnTo>
                  <a:lnTo>
                    <a:pt x="404" y="520"/>
                  </a:lnTo>
                  <a:lnTo>
                    <a:pt x="401" y="520"/>
                  </a:lnTo>
                  <a:lnTo>
                    <a:pt x="401" y="519"/>
                  </a:lnTo>
                  <a:close/>
                  <a:moveTo>
                    <a:pt x="505" y="408"/>
                  </a:moveTo>
                  <a:lnTo>
                    <a:pt x="503" y="410"/>
                  </a:lnTo>
                  <a:lnTo>
                    <a:pt x="501" y="410"/>
                  </a:lnTo>
                  <a:lnTo>
                    <a:pt x="503" y="408"/>
                  </a:lnTo>
                  <a:lnTo>
                    <a:pt x="501" y="410"/>
                  </a:lnTo>
                  <a:lnTo>
                    <a:pt x="501" y="408"/>
                  </a:lnTo>
                  <a:lnTo>
                    <a:pt x="503" y="408"/>
                  </a:lnTo>
                  <a:lnTo>
                    <a:pt x="505" y="406"/>
                  </a:lnTo>
                  <a:lnTo>
                    <a:pt x="505" y="408"/>
                  </a:lnTo>
                  <a:close/>
                  <a:moveTo>
                    <a:pt x="404" y="534"/>
                  </a:moveTo>
                  <a:lnTo>
                    <a:pt x="406" y="532"/>
                  </a:lnTo>
                  <a:lnTo>
                    <a:pt x="406" y="534"/>
                  </a:lnTo>
                  <a:lnTo>
                    <a:pt x="404" y="536"/>
                  </a:lnTo>
                  <a:lnTo>
                    <a:pt x="404" y="534"/>
                  </a:lnTo>
                  <a:close/>
                  <a:moveTo>
                    <a:pt x="500" y="408"/>
                  </a:moveTo>
                  <a:lnTo>
                    <a:pt x="501" y="408"/>
                  </a:lnTo>
                  <a:lnTo>
                    <a:pt x="500" y="410"/>
                  </a:lnTo>
                  <a:lnTo>
                    <a:pt x="498" y="410"/>
                  </a:lnTo>
                  <a:lnTo>
                    <a:pt x="500" y="408"/>
                  </a:lnTo>
                  <a:close/>
                  <a:moveTo>
                    <a:pt x="500" y="412"/>
                  </a:moveTo>
                  <a:lnTo>
                    <a:pt x="501" y="412"/>
                  </a:lnTo>
                  <a:lnTo>
                    <a:pt x="500" y="413"/>
                  </a:lnTo>
                  <a:lnTo>
                    <a:pt x="500" y="412"/>
                  </a:lnTo>
                  <a:close/>
                  <a:moveTo>
                    <a:pt x="503" y="412"/>
                  </a:moveTo>
                  <a:lnTo>
                    <a:pt x="501" y="413"/>
                  </a:lnTo>
                  <a:lnTo>
                    <a:pt x="501" y="412"/>
                  </a:lnTo>
                  <a:lnTo>
                    <a:pt x="503" y="412"/>
                  </a:lnTo>
                  <a:close/>
                  <a:moveTo>
                    <a:pt x="625" y="412"/>
                  </a:moveTo>
                  <a:lnTo>
                    <a:pt x="627" y="410"/>
                  </a:lnTo>
                  <a:lnTo>
                    <a:pt x="627" y="413"/>
                  </a:lnTo>
                  <a:lnTo>
                    <a:pt x="625" y="412"/>
                  </a:lnTo>
                  <a:close/>
                  <a:moveTo>
                    <a:pt x="591" y="405"/>
                  </a:moveTo>
                  <a:lnTo>
                    <a:pt x="593" y="406"/>
                  </a:lnTo>
                  <a:lnTo>
                    <a:pt x="591" y="406"/>
                  </a:lnTo>
                  <a:lnTo>
                    <a:pt x="591" y="405"/>
                  </a:lnTo>
                  <a:close/>
                  <a:moveTo>
                    <a:pt x="500" y="410"/>
                  </a:moveTo>
                  <a:lnTo>
                    <a:pt x="501" y="408"/>
                  </a:lnTo>
                  <a:lnTo>
                    <a:pt x="501" y="410"/>
                  </a:lnTo>
                  <a:lnTo>
                    <a:pt x="500" y="410"/>
                  </a:lnTo>
                  <a:close/>
                  <a:moveTo>
                    <a:pt x="399" y="517"/>
                  </a:moveTo>
                  <a:lnTo>
                    <a:pt x="401" y="517"/>
                  </a:lnTo>
                  <a:lnTo>
                    <a:pt x="399" y="519"/>
                  </a:lnTo>
                  <a:lnTo>
                    <a:pt x="399" y="517"/>
                  </a:lnTo>
                  <a:close/>
                  <a:moveTo>
                    <a:pt x="500" y="413"/>
                  </a:moveTo>
                  <a:lnTo>
                    <a:pt x="501" y="413"/>
                  </a:lnTo>
                  <a:lnTo>
                    <a:pt x="500" y="413"/>
                  </a:lnTo>
                  <a:close/>
                  <a:moveTo>
                    <a:pt x="627" y="417"/>
                  </a:moveTo>
                  <a:lnTo>
                    <a:pt x="627" y="418"/>
                  </a:lnTo>
                  <a:lnTo>
                    <a:pt x="627" y="41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06" name="Freeform 36">
              <a:extLst>
                <a:ext uri="{FF2B5EF4-FFF2-40B4-BE49-F238E27FC236}">
                  <a16:creationId xmlns:a16="http://schemas.microsoft.com/office/drawing/2014/main" id="{BA32567B-DBDE-4FCE-85BE-018A9C5FFCB7}"/>
                </a:ext>
              </a:extLst>
            </p:cNvPr>
            <p:cNvSpPr>
              <a:spLocks noEditPoints="1"/>
            </p:cNvSpPr>
            <p:nvPr/>
          </p:nvSpPr>
          <p:spPr bwMode="gray">
            <a:xfrm>
              <a:off x="9649339" y="2781288"/>
              <a:ext cx="696243" cy="545144"/>
            </a:xfrm>
            <a:custGeom>
              <a:avLst/>
              <a:gdLst>
                <a:gd name="T0" fmla="*/ 219 w 235"/>
                <a:gd name="T1" fmla="*/ 51 h 184"/>
                <a:gd name="T2" fmla="*/ 223 w 235"/>
                <a:gd name="T3" fmla="*/ 61 h 184"/>
                <a:gd name="T4" fmla="*/ 233 w 235"/>
                <a:gd name="T5" fmla="*/ 63 h 184"/>
                <a:gd name="T6" fmla="*/ 226 w 235"/>
                <a:gd name="T7" fmla="*/ 73 h 184"/>
                <a:gd name="T8" fmla="*/ 214 w 235"/>
                <a:gd name="T9" fmla="*/ 78 h 184"/>
                <a:gd name="T10" fmla="*/ 211 w 235"/>
                <a:gd name="T11" fmla="*/ 90 h 184"/>
                <a:gd name="T12" fmla="*/ 201 w 235"/>
                <a:gd name="T13" fmla="*/ 100 h 184"/>
                <a:gd name="T14" fmla="*/ 201 w 235"/>
                <a:gd name="T15" fmla="*/ 114 h 184"/>
                <a:gd name="T16" fmla="*/ 199 w 235"/>
                <a:gd name="T17" fmla="*/ 129 h 184"/>
                <a:gd name="T18" fmla="*/ 202 w 235"/>
                <a:gd name="T19" fmla="*/ 139 h 184"/>
                <a:gd name="T20" fmla="*/ 209 w 235"/>
                <a:gd name="T21" fmla="*/ 146 h 184"/>
                <a:gd name="T22" fmla="*/ 201 w 235"/>
                <a:gd name="T23" fmla="*/ 151 h 184"/>
                <a:gd name="T24" fmla="*/ 197 w 235"/>
                <a:gd name="T25" fmla="*/ 141 h 184"/>
                <a:gd name="T26" fmla="*/ 185 w 235"/>
                <a:gd name="T27" fmla="*/ 150 h 184"/>
                <a:gd name="T28" fmla="*/ 177 w 235"/>
                <a:gd name="T29" fmla="*/ 155 h 184"/>
                <a:gd name="T30" fmla="*/ 175 w 235"/>
                <a:gd name="T31" fmla="*/ 165 h 184"/>
                <a:gd name="T32" fmla="*/ 170 w 235"/>
                <a:gd name="T33" fmla="*/ 168 h 184"/>
                <a:gd name="T34" fmla="*/ 160 w 235"/>
                <a:gd name="T35" fmla="*/ 179 h 184"/>
                <a:gd name="T36" fmla="*/ 150 w 235"/>
                <a:gd name="T37" fmla="*/ 175 h 184"/>
                <a:gd name="T38" fmla="*/ 138 w 235"/>
                <a:gd name="T39" fmla="*/ 177 h 184"/>
                <a:gd name="T40" fmla="*/ 127 w 235"/>
                <a:gd name="T41" fmla="*/ 182 h 184"/>
                <a:gd name="T42" fmla="*/ 121 w 235"/>
                <a:gd name="T43" fmla="*/ 172 h 184"/>
                <a:gd name="T44" fmla="*/ 109 w 235"/>
                <a:gd name="T45" fmla="*/ 162 h 184"/>
                <a:gd name="T46" fmla="*/ 95 w 235"/>
                <a:gd name="T47" fmla="*/ 156 h 184"/>
                <a:gd name="T48" fmla="*/ 85 w 235"/>
                <a:gd name="T49" fmla="*/ 155 h 184"/>
                <a:gd name="T50" fmla="*/ 83 w 235"/>
                <a:gd name="T51" fmla="*/ 139 h 184"/>
                <a:gd name="T52" fmla="*/ 87 w 235"/>
                <a:gd name="T53" fmla="*/ 128 h 184"/>
                <a:gd name="T54" fmla="*/ 80 w 235"/>
                <a:gd name="T55" fmla="*/ 119 h 184"/>
                <a:gd name="T56" fmla="*/ 71 w 235"/>
                <a:gd name="T57" fmla="*/ 112 h 184"/>
                <a:gd name="T58" fmla="*/ 59 w 235"/>
                <a:gd name="T59" fmla="*/ 114 h 184"/>
                <a:gd name="T60" fmla="*/ 46 w 235"/>
                <a:gd name="T61" fmla="*/ 116 h 184"/>
                <a:gd name="T62" fmla="*/ 29 w 235"/>
                <a:gd name="T63" fmla="*/ 109 h 184"/>
                <a:gd name="T64" fmla="*/ 19 w 235"/>
                <a:gd name="T65" fmla="*/ 107 h 184"/>
                <a:gd name="T66" fmla="*/ 14 w 235"/>
                <a:gd name="T67" fmla="*/ 99 h 184"/>
                <a:gd name="T68" fmla="*/ 8 w 235"/>
                <a:gd name="T69" fmla="*/ 80 h 184"/>
                <a:gd name="T70" fmla="*/ 2 w 235"/>
                <a:gd name="T71" fmla="*/ 65 h 184"/>
                <a:gd name="T72" fmla="*/ 5 w 235"/>
                <a:gd name="T73" fmla="*/ 48 h 184"/>
                <a:gd name="T74" fmla="*/ 14 w 235"/>
                <a:gd name="T75" fmla="*/ 37 h 184"/>
                <a:gd name="T76" fmla="*/ 25 w 235"/>
                <a:gd name="T77" fmla="*/ 29 h 184"/>
                <a:gd name="T78" fmla="*/ 37 w 235"/>
                <a:gd name="T79" fmla="*/ 20 h 184"/>
                <a:gd name="T80" fmla="*/ 51 w 235"/>
                <a:gd name="T81" fmla="*/ 20 h 184"/>
                <a:gd name="T82" fmla="*/ 66 w 235"/>
                <a:gd name="T83" fmla="*/ 19 h 184"/>
                <a:gd name="T84" fmla="*/ 76 w 235"/>
                <a:gd name="T85" fmla="*/ 22 h 184"/>
                <a:gd name="T86" fmla="*/ 85 w 235"/>
                <a:gd name="T87" fmla="*/ 15 h 184"/>
                <a:gd name="T88" fmla="*/ 100 w 235"/>
                <a:gd name="T89" fmla="*/ 17 h 184"/>
                <a:gd name="T90" fmla="*/ 112 w 235"/>
                <a:gd name="T91" fmla="*/ 17 h 184"/>
                <a:gd name="T92" fmla="*/ 122 w 235"/>
                <a:gd name="T93" fmla="*/ 14 h 184"/>
                <a:gd name="T94" fmla="*/ 133 w 235"/>
                <a:gd name="T95" fmla="*/ 7 h 184"/>
                <a:gd name="T96" fmla="*/ 143 w 235"/>
                <a:gd name="T97" fmla="*/ 2 h 184"/>
                <a:gd name="T98" fmla="*/ 156 w 235"/>
                <a:gd name="T99" fmla="*/ 15 h 184"/>
                <a:gd name="T100" fmla="*/ 170 w 235"/>
                <a:gd name="T101" fmla="*/ 14 h 184"/>
                <a:gd name="T102" fmla="*/ 184 w 235"/>
                <a:gd name="T103" fmla="*/ 19 h 184"/>
                <a:gd name="T104" fmla="*/ 194 w 235"/>
                <a:gd name="T105" fmla="*/ 25 h 184"/>
                <a:gd name="T106" fmla="*/ 207 w 235"/>
                <a:gd name="T107" fmla="*/ 36 h 184"/>
                <a:gd name="T108" fmla="*/ 7 w 235"/>
                <a:gd name="T109" fmla="*/ 102 h 184"/>
                <a:gd name="T110" fmla="*/ 7 w 235"/>
                <a:gd name="T111" fmla="*/ 82 h 184"/>
                <a:gd name="T112" fmla="*/ 8 w 235"/>
                <a:gd name="T113" fmla="*/ 87 h 184"/>
                <a:gd name="T114" fmla="*/ 8 w 235"/>
                <a:gd name="T115" fmla="*/ 10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5" h="184">
                  <a:moveTo>
                    <a:pt x="219" y="37"/>
                  </a:moveTo>
                  <a:lnTo>
                    <a:pt x="221" y="39"/>
                  </a:lnTo>
                  <a:lnTo>
                    <a:pt x="221" y="41"/>
                  </a:lnTo>
                  <a:lnTo>
                    <a:pt x="221" y="44"/>
                  </a:lnTo>
                  <a:lnTo>
                    <a:pt x="221" y="46"/>
                  </a:lnTo>
                  <a:lnTo>
                    <a:pt x="221" y="48"/>
                  </a:lnTo>
                  <a:lnTo>
                    <a:pt x="219" y="49"/>
                  </a:lnTo>
                  <a:lnTo>
                    <a:pt x="219" y="51"/>
                  </a:lnTo>
                  <a:lnTo>
                    <a:pt x="221" y="53"/>
                  </a:lnTo>
                  <a:lnTo>
                    <a:pt x="221" y="54"/>
                  </a:lnTo>
                  <a:lnTo>
                    <a:pt x="221" y="56"/>
                  </a:lnTo>
                  <a:lnTo>
                    <a:pt x="221" y="58"/>
                  </a:lnTo>
                  <a:lnTo>
                    <a:pt x="219" y="59"/>
                  </a:lnTo>
                  <a:lnTo>
                    <a:pt x="218" y="61"/>
                  </a:lnTo>
                  <a:lnTo>
                    <a:pt x="219" y="61"/>
                  </a:lnTo>
                  <a:lnTo>
                    <a:pt x="223" y="61"/>
                  </a:lnTo>
                  <a:lnTo>
                    <a:pt x="223" y="63"/>
                  </a:lnTo>
                  <a:lnTo>
                    <a:pt x="224" y="61"/>
                  </a:lnTo>
                  <a:lnTo>
                    <a:pt x="226" y="61"/>
                  </a:lnTo>
                  <a:lnTo>
                    <a:pt x="229" y="61"/>
                  </a:lnTo>
                  <a:lnTo>
                    <a:pt x="231" y="59"/>
                  </a:lnTo>
                  <a:lnTo>
                    <a:pt x="233" y="61"/>
                  </a:lnTo>
                  <a:lnTo>
                    <a:pt x="235" y="63"/>
                  </a:lnTo>
                  <a:lnTo>
                    <a:pt x="233" y="63"/>
                  </a:lnTo>
                  <a:lnTo>
                    <a:pt x="233" y="65"/>
                  </a:lnTo>
                  <a:lnTo>
                    <a:pt x="231" y="66"/>
                  </a:lnTo>
                  <a:lnTo>
                    <a:pt x="231" y="68"/>
                  </a:lnTo>
                  <a:lnTo>
                    <a:pt x="229" y="70"/>
                  </a:lnTo>
                  <a:lnTo>
                    <a:pt x="231" y="71"/>
                  </a:lnTo>
                  <a:lnTo>
                    <a:pt x="229" y="71"/>
                  </a:lnTo>
                  <a:lnTo>
                    <a:pt x="228" y="73"/>
                  </a:lnTo>
                  <a:lnTo>
                    <a:pt x="226" y="73"/>
                  </a:lnTo>
                  <a:lnTo>
                    <a:pt x="224" y="75"/>
                  </a:lnTo>
                  <a:lnTo>
                    <a:pt x="224" y="73"/>
                  </a:lnTo>
                  <a:lnTo>
                    <a:pt x="223" y="75"/>
                  </a:lnTo>
                  <a:lnTo>
                    <a:pt x="223" y="76"/>
                  </a:lnTo>
                  <a:lnTo>
                    <a:pt x="219" y="76"/>
                  </a:lnTo>
                  <a:lnTo>
                    <a:pt x="218" y="76"/>
                  </a:lnTo>
                  <a:lnTo>
                    <a:pt x="216" y="78"/>
                  </a:lnTo>
                  <a:lnTo>
                    <a:pt x="214" y="78"/>
                  </a:lnTo>
                  <a:lnTo>
                    <a:pt x="212" y="80"/>
                  </a:lnTo>
                  <a:lnTo>
                    <a:pt x="216" y="82"/>
                  </a:lnTo>
                  <a:lnTo>
                    <a:pt x="214" y="82"/>
                  </a:lnTo>
                  <a:lnTo>
                    <a:pt x="214" y="85"/>
                  </a:lnTo>
                  <a:lnTo>
                    <a:pt x="214" y="87"/>
                  </a:lnTo>
                  <a:lnTo>
                    <a:pt x="214" y="88"/>
                  </a:lnTo>
                  <a:lnTo>
                    <a:pt x="211" y="88"/>
                  </a:lnTo>
                  <a:lnTo>
                    <a:pt x="211" y="90"/>
                  </a:lnTo>
                  <a:lnTo>
                    <a:pt x="209" y="90"/>
                  </a:lnTo>
                  <a:lnTo>
                    <a:pt x="209" y="92"/>
                  </a:lnTo>
                  <a:lnTo>
                    <a:pt x="207" y="92"/>
                  </a:lnTo>
                  <a:lnTo>
                    <a:pt x="206" y="92"/>
                  </a:lnTo>
                  <a:lnTo>
                    <a:pt x="204" y="94"/>
                  </a:lnTo>
                  <a:lnTo>
                    <a:pt x="202" y="95"/>
                  </a:lnTo>
                  <a:lnTo>
                    <a:pt x="202" y="97"/>
                  </a:lnTo>
                  <a:lnTo>
                    <a:pt x="201" y="100"/>
                  </a:lnTo>
                  <a:lnTo>
                    <a:pt x="199" y="100"/>
                  </a:lnTo>
                  <a:lnTo>
                    <a:pt x="201" y="104"/>
                  </a:lnTo>
                  <a:lnTo>
                    <a:pt x="199" y="104"/>
                  </a:lnTo>
                  <a:lnTo>
                    <a:pt x="199" y="105"/>
                  </a:lnTo>
                  <a:lnTo>
                    <a:pt x="199" y="107"/>
                  </a:lnTo>
                  <a:lnTo>
                    <a:pt x="201" y="109"/>
                  </a:lnTo>
                  <a:lnTo>
                    <a:pt x="201" y="112"/>
                  </a:lnTo>
                  <a:lnTo>
                    <a:pt x="201" y="114"/>
                  </a:lnTo>
                  <a:lnTo>
                    <a:pt x="202" y="116"/>
                  </a:lnTo>
                  <a:lnTo>
                    <a:pt x="202" y="117"/>
                  </a:lnTo>
                  <a:lnTo>
                    <a:pt x="204" y="121"/>
                  </a:lnTo>
                  <a:lnTo>
                    <a:pt x="202" y="121"/>
                  </a:lnTo>
                  <a:lnTo>
                    <a:pt x="201" y="124"/>
                  </a:lnTo>
                  <a:lnTo>
                    <a:pt x="201" y="126"/>
                  </a:lnTo>
                  <a:lnTo>
                    <a:pt x="201" y="129"/>
                  </a:lnTo>
                  <a:lnTo>
                    <a:pt x="199" y="129"/>
                  </a:lnTo>
                  <a:lnTo>
                    <a:pt x="201" y="131"/>
                  </a:lnTo>
                  <a:lnTo>
                    <a:pt x="199" y="134"/>
                  </a:lnTo>
                  <a:lnTo>
                    <a:pt x="199" y="133"/>
                  </a:lnTo>
                  <a:lnTo>
                    <a:pt x="199" y="136"/>
                  </a:lnTo>
                  <a:lnTo>
                    <a:pt x="197" y="139"/>
                  </a:lnTo>
                  <a:lnTo>
                    <a:pt x="199" y="139"/>
                  </a:lnTo>
                  <a:lnTo>
                    <a:pt x="201" y="139"/>
                  </a:lnTo>
                  <a:lnTo>
                    <a:pt x="202" y="139"/>
                  </a:lnTo>
                  <a:lnTo>
                    <a:pt x="204" y="138"/>
                  </a:lnTo>
                  <a:lnTo>
                    <a:pt x="206" y="139"/>
                  </a:lnTo>
                  <a:lnTo>
                    <a:pt x="206" y="141"/>
                  </a:lnTo>
                  <a:lnTo>
                    <a:pt x="207" y="141"/>
                  </a:lnTo>
                  <a:lnTo>
                    <a:pt x="207" y="143"/>
                  </a:lnTo>
                  <a:lnTo>
                    <a:pt x="209" y="143"/>
                  </a:lnTo>
                  <a:lnTo>
                    <a:pt x="207" y="145"/>
                  </a:lnTo>
                  <a:lnTo>
                    <a:pt x="209" y="146"/>
                  </a:lnTo>
                  <a:lnTo>
                    <a:pt x="211" y="148"/>
                  </a:lnTo>
                  <a:lnTo>
                    <a:pt x="209" y="148"/>
                  </a:lnTo>
                  <a:lnTo>
                    <a:pt x="209" y="150"/>
                  </a:lnTo>
                  <a:lnTo>
                    <a:pt x="207" y="148"/>
                  </a:lnTo>
                  <a:lnTo>
                    <a:pt x="207" y="151"/>
                  </a:lnTo>
                  <a:lnTo>
                    <a:pt x="206" y="151"/>
                  </a:lnTo>
                  <a:lnTo>
                    <a:pt x="204" y="151"/>
                  </a:lnTo>
                  <a:lnTo>
                    <a:pt x="201" y="151"/>
                  </a:lnTo>
                  <a:lnTo>
                    <a:pt x="199" y="150"/>
                  </a:lnTo>
                  <a:lnTo>
                    <a:pt x="201" y="146"/>
                  </a:lnTo>
                  <a:lnTo>
                    <a:pt x="199" y="146"/>
                  </a:lnTo>
                  <a:lnTo>
                    <a:pt x="202" y="145"/>
                  </a:lnTo>
                  <a:lnTo>
                    <a:pt x="199" y="143"/>
                  </a:lnTo>
                  <a:lnTo>
                    <a:pt x="201" y="143"/>
                  </a:lnTo>
                  <a:lnTo>
                    <a:pt x="199" y="143"/>
                  </a:lnTo>
                  <a:lnTo>
                    <a:pt x="197" y="141"/>
                  </a:lnTo>
                  <a:lnTo>
                    <a:pt x="195" y="143"/>
                  </a:lnTo>
                  <a:lnTo>
                    <a:pt x="194" y="143"/>
                  </a:lnTo>
                  <a:lnTo>
                    <a:pt x="192" y="145"/>
                  </a:lnTo>
                  <a:lnTo>
                    <a:pt x="189" y="146"/>
                  </a:lnTo>
                  <a:lnTo>
                    <a:pt x="189" y="145"/>
                  </a:lnTo>
                  <a:lnTo>
                    <a:pt x="187" y="146"/>
                  </a:lnTo>
                  <a:lnTo>
                    <a:pt x="185" y="148"/>
                  </a:lnTo>
                  <a:lnTo>
                    <a:pt x="185" y="150"/>
                  </a:lnTo>
                  <a:lnTo>
                    <a:pt x="185" y="151"/>
                  </a:lnTo>
                  <a:lnTo>
                    <a:pt x="184" y="153"/>
                  </a:lnTo>
                  <a:lnTo>
                    <a:pt x="184" y="155"/>
                  </a:lnTo>
                  <a:lnTo>
                    <a:pt x="182" y="155"/>
                  </a:lnTo>
                  <a:lnTo>
                    <a:pt x="182" y="156"/>
                  </a:lnTo>
                  <a:lnTo>
                    <a:pt x="180" y="156"/>
                  </a:lnTo>
                  <a:lnTo>
                    <a:pt x="178" y="156"/>
                  </a:lnTo>
                  <a:lnTo>
                    <a:pt x="177" y="155"/>
                  </a:lnTo>
                  <a:lnTo>
                    <a:pt x="173" y="156"/>
                  </a:lnTo>
                  <a:lnTo>
                    <a:pt x="172" y="158"/>
                  </a:lnTo>
                  <a:lnTo>
                    <a:pt x="173" y="158"/>
                  </a:lnTo>
                  <a:lnTo>
                    <a:pt x="170" y="160"/>
                  </a:lnTo>
                  <a:lnTo>
                    <a:pt x="172" y="162"/>
                  </a:lnTo>
                  <a:lnTo>
                    <a:pt x="173" y="163"/>
                  </a:lnTo>
                  <a:lnTo>
                    <a:pt x="173" y="165"/>
                  </a:lnTo>
                  <a:lnTo>
                    <a:pt x="175" y="165"/>
                  </a:lnTo>
                  <a:lnTo>
                    <a:pt x="173" y="165"/>
                  </a:lnTo>
                  <a:lnTo>
                    <a:pt x="175" y="167"/>
                  </a:lnTo>
                  <a:lnTo>
                    <a:pt x="173" y="168"/>
                  </a:lnTo>
                  <a:lnTo>
                    <a:pt x="172" y="168"/>
                  </a:lnTo>
                  <a:lnTo>
                    <a:pt x="172" y="170"/>
                  </a:lnTo>
                  <a:lnTo>
                    <a:pt x="170" y="172"/>
                  </a:lnTo>
                  <a:lnTo>
                    <a:pt x="170" y="170"/>
                  </a:lnTo>
                  <a:lnTo>
                    <a:pt x="170" y="168"/>
                  </a:lnTo>
                  <a:lnTo>
                    <a:pt x="168" y="167"/>
                  </a:lnTo>
                  <a:lnTo>
                    <a:pt x="167" y="168"/>
                  </a:lnTo>
                  <a:lnTo>
                    <a:pt x="165" y="170"/>
                  </a:lnTo>
                  <a:lnTo>
                    <a:pt x="163" y="173"/>
                  </a:lnTo>
                  <a:lnTo>
                    <a:pt x="161" y="173"/>
                  </a:lnTo>
                  <a:lnTo>
                    <a:pt x="161" y="177"/>
                  </a:lnTo>
                  <a:lnTo>
                    <a:pt x="160" y="177"/>
                  </a:lnTo>
                  <a:lnTo>
                    <a:pt x="160" y="179"/>
                  </a:lnTo>
                  <a:lnTo>
                    <a:pt x="160" y="177"/>
                  </a:lnTo>
                  <a:lnTo>
                    <a:pt x="158" y="179"/>
                  </a:lnTo>
                  <a:lnTo>
                    <a:pt x="156" y="177"/>
                  </a:lnTo>
                  <a:lnTo>
                    <a:pt x="155" y="179"/>
                  </a:lnTo>
                  <a:lnTo>
                    <a:pt x="155" y="177"/>
                  </a:lnTo>
                  <a:lnTo>
                    <a:pt x="151" y="175"/>
                  </a:lnTo>
                  <a:lnTo>
                    <a:pt x="150" y="177"/>
                  </a:lnTo>
                  <a:lnTo>
                    <a:pt x="150" y="175"/>
                  </a:lnTo>
                  <a:lnTo>
                    <a:pt x="148" y="177"/>
                  </a:lnTo>
                  <a:lnTo>
                    <a:pt x="146" y="177"/>
                  </a:lnTo>
                  <a:lnTo>
                    <a:pt x="144" y="179"/>
                  </a:lnTo>
                  <a:lnTo>
                    <a:pt x="143" y="179"/>
                  </a:lnTo>
                  <a:lnTo>
                    <a:pt x="141" y="179"/>
                  </a:lnTo>
                  <a:lnTo>
                    <a:pt x="141" y="180"/>
                  </a:lnTo>
                  <a:lnTo>
                    <a:pt x="139" y="177"/>
                  </a:lnTo>
                  <a:lnTo>
                    <a:pt x="138" y="177"/>
                  </a:lnTo>
                  <a:lnTo>
                    <a:pt x="138" y="179"/>
                  </a:lnTo>
                  <a:lnTo>
                    <a:pt x="136" y="179"/>
                  </a:lnTo>
                  <a:lnTo>
                    <a:pt x="134" y="180"/>
                  </a:lnTo>
                  <a:lnTo>
                    <a:pt x="134" y="182"/>
                  </a:lnTo>
                  <a:lnTo>
                    <a:pt x="134" y="184"/>
                  </a:lnTo>
                  <a:lnTo>
                    <a:pt x="133" y="182"/>
                  </a:lnTo>
                  <a:lnTo>
                    <a:pt x="131" y="180"/>
                  </a:lnTo>
                  <a:lnTo>
                    <a:pt x="127" y="182"/>
                  </a:lnTo>
                  <a:lnTo>
                    <a:pt x="126" y="182"/>
                  </a:lnTo>
                  <a:lnTo>
                    <a:pt x="124" y="182"/>
                  </a:lnTo>
                  <a:lnTo>
                    <a:pt x="122" y="180"/>
                  </a:lnTo>
                  <a:lnTo>
                    <a:pt x="121" y="180"/>
                  </a:lnTo>
                  <a:lnTo>
                    <a:pt x="121" y="179"/>
                  </a:lnTo>
                  <a:lnTo>
                    <a:pt x="122" y="175"/>
                  </a:lnTo>
                  <a:lnTo>
                    <a:pt x="121" y="173"/>
                  </a:lnTo>
                  <a:lnTo>
                    <a:pt x="121" y="172"/>
                  </a:lnTo>
                  <a:lnTo>
                    <a:pt x="119" y="170"/>
                  </a:lnTo>
                  <a:lnTo>
                    <a:pt x="119" y="168"/>
                  </a:lnTo>
                  <a:lnTo>
                    <a:pt x="117" y="167"/>
                  </a:lnTo>
                  <a:lnTo>
                    <a:pt x="116" y="167"/>
                  </a:lnTo>
                  <a:lnTo>
                    <a:pt x="116" y="165"/>
                  </a:lnTo>
                  <a:lnTo>
                    <a:pt x="114" y="163"/>
                  </a:lnTo>
                  <a:lnTo>
                    <a:pt x="110" y="162"/>
                  </a:lnTo>
                  <a:lnTo>
                    <a:pt x="109" y="162"/>
                  </a:lnTo>
                  <a:lnTo>
                    <a:pt x="107" y="162"/>
                  </a:lnTo>
                  <a:lnTo>
                    <a:pt x="105" y="160"/>
                  </a:lnTo>
                  <a:lnTo>
                    <a:pt x="104" y="160"/>
                  </a:lnTo>
                  <a:lnTo>
                    <a:pt x="102" y="160"/>
                  </a:lnTo>
                  <a:lnTo>
                    <a:pt x="100" y="162"/>
                  </a:lnTo>
                  <a:lnTo>
                    <a:pt x="99" y="160"/>
                  </a:lnTo>
                  <a:lnTo>
                    <a:pt x="99" y="158"/>
                  </a:lnTo>
                  <a:lnTo>
                    <a:pt x="95" y="156"/>
                  </a:lnTo>
                  <a:lnTo>
                    <a:pt x="97" y="155"/>
                  </a:lnTo>
                  <a:lnTo>
                    <a:pt x="95" y="155"/>
                  </a:lnTo>
                  <a:lnTo>
                    <a:pt x="92" y="155"/>
                  </a:lnTo>
                  <a:lnTo>
                    <a:pt x="90" y="155"/>
                  </a:lnTo>
                  <a:lnTo>
                    <a:pt x="88" y="155"/>
                  </a:lnTo>
                  <a:lnTo>
                    <a:pt x="88" y="158"/>
                  </a:lnTo>
                  <a:lnTo>
                    <a:pt x="87" y="158"/>
                  </a:lnTo>
                  <a:lnTo>
                    <a:pt x="85" y="155"/>
                  </a:lnTo>
                  <a:lnTo>
                    <a:pt x="83" y="153"/>
                  </a:lnTo>
                  <a:lnTo>
                    <a:pt x="83" y="150"/>
                  </a:lnTo>
                  <a:lnTo>
                    <a:pt x="82" y="150"/>
                  </a:lnTo>
                  <a:lnTo>
                    <a:pt x="82" y="148"/>
                  </a:lnTo>
                  <a:lnTo>
                    <a:pt x="82" y="145"/>
                  </a:lnTo>
                  <a:lnTo>
                    <a:pt x="82" y="141"/>
                  </a:lnTo>
                  <a:lnTo>
                    <a:pt x="83" y="141"/>
                  </a:lnTo>
                  <a:lnTo>
                    <a:pt x="83" y="139"/>
                  </a:lnTo>
                  <a:lnTo>
                    <a:pt x="82" y="136"/>
                  </a:lnTo>
                  <a:lnTo>
                    <a:pt x="82" y="134"/>
                  </a:lnTo>
                  <a:lnTo>
                    <a:pt x="82" y="133"/>
                  </a:lnTo>
                  <a:lnTo>
                    <a:pt x="83" y="133"/>
                  </a:lnTo>
                  <a:lnTo>
                    <a:pt x="83" y="131"/>
                  </a:lnTo>
                  <a:lnTo>
                    <a:pt x="85" y="131"/>
                  </a:lnTo>
                  <a:lnTo>
                    <a:pt x="85" y="129"/>
                  </a:lnTo>
                  <a:lnTo>
                    <a:pt x="87" y="128"/>
                  </a:lnTo>
                  <a:lnTo>
                    <a:pt x="87" y="126"/>
                  </a:lnTo>
                  <a:lnTo>
                    <a:pt x="85" y="126"/>
                  </a:lnTo>
                  <a:lnTo>
                    <a:pt x="85" y="124"/>
                  </a:lnTo>
                  <a:lnTo>
                    <a:pt x="83" y="124"/>
                  </a:lnTo>
                  <a:lnTo>
                    <a:pt x="83" y="122"/>
                  </a:lnTo>
                  <a:lnTo>
                    <a:pt x="83" y="121"/>
                  </a:lnTo>
                  <a:lnTo>
                    <a:pt x="82" y="121"/>
                  </a:lnTo>
                  <a:lnTo>
                    <a:pt x="80" y="119"/>
                  </a:lnTo>
                  <a:lnTo>
                    <a:pt x="80" y="121"/>
                  </a:lnTo>
                  <a:lnTo>
                    <a:pt x="80" y="119"/>
                  </a:lnTo>
                  <a:lnTo>
                    <a:pt x="78" y="119"/>
                  </a:lnTo>
                  <a:lnTo>
                    <a:pt x="78" y="117"/>
                  </a:lnTo>
                  <a:lnTo>
                    <a:pt x="76" y="116"/>
                  </a:lnTo>
                  <a:lnTo>
                    <a:pt x="75" y="117"/>
                  </a:lnTo>
                  <a:lnTo>
                    <a:pt x="71" y="114"/>
                  </a:lnTo>
                  <a:lnTo>
                    <a:pt x="71" y="112"/>
                  </a:lnTo>
                  <a:lnTo>
                    <a:pt x="71" y="111"/>
                  </a:lnTo>
                  <a:lnTo>
                    <a:pt x="70" y="112"/>
                  </a:lnTo>
                  <a:lnTo>
                    <a:pt x="68" y="114"/>
                  </a:lnTo>
                  <a:lnTo>
                    <a:pt x="66" y="114"/>
                  </a:lnTo>
                  <a:lnTo>
                    <a:pt x="65" y="114"/>
                  </a:lnTo>
                  <a:lnTo>
                    <a:pt x="63" y="114"/>
                  </a:lnTo>
                  <a:lnTo>
                    <a:pt x="61" y="114"/>
                  </a:lnTo>
                  <a:lnTo>
                    <a:pt x="59" y="114"/>
                  </a:lnTo>
                  <a:lnTo>
                    <a:pt x="56" y="114"/>
                  </a:lnTo>
                  <a:lnTo>
                    <a:pt x="56" y="116"/>
                  </a:lnTo>
                  <a:lnTo>
                    <a:pt x="54" y="116"/>
                  </a:lnTo>
                  <a:lnTo>
                    <a:pt x="53" y="117"/>
                  </a:lnTo>
                  <a:lnTo>
                    <a:pt x="51" y="117"/>
                  </a:lnTo>
                  <a:lnTo>
                    <a:pt x="49" y="117"/>
                  </a:lnTo>
                  <a:lnTo>
                    <a:pt x="49" y="114"/>
                  </a:lnTo>
                  <a:lnTo>
                    <a:pt x="46" y="116"/>
                  </a:lnTo>
                  <a:lnTo>
                    <a:pt x="44" y="116"/>
                  </a:lnTo>
                  <a:lnTo>
                    <a:pt x="41" y="114"/>
                  </a:lnTo>
                  <a:lnTo>
                    <a:pt x="39" y="114"/>
                  </a:lnTo>
                  <a:lnTo>
                    <a:pt x="36" y="112"/>
                  </a:lnTo>
                  <a:lnTo>
                    <a:pt x="34" y="111"/>
                  </a:lnTo>
                  <a:lnTo>
                    <a:pt x="32" y="111"/>
                  </a:lnTo>
                  <a:lnTo>
                    <a:pt x="31" y="111"/>
                  </a:lnTo>
                  <a:lnTo>
                    <a:pt x="29" y="109"/>
                  </a:lnTo>
                  <a:lnTo>
                    <a:pt x="27" y="111"/>
                  </a:lnTo>
                  <a:lnTo>
                    <a:pt x="25" y="109"/>
                  </a:lnTo>
                  <a:lnTo>
                    <a:pt x="24" y="109"/>
                  </a:lnTo>
                  <a:lnTo>
                    <a:pt x="24" y="107"/>
                  </a:lnTo>
                  <a:lnTo>
                    <a:pt x="22" y="105"/>
                  </a:lnTo>
                  <a:lnTo>
                    <a:pt x="20" y="104"/>
                  </a:lnTo>
                  <a:lnTo>
                    <a:pt x="19" y="105"/>
                  </a:lnTo>
                  <a:lnTo>
                    <a:pt x="19" y="107"/>
                  </a:lnTo>
                  <a:lnTo>
                    <a:pt x="17" y="107"/>
                  </a:lnTo>
                  <a:lnTo>
                    <a:pt x="17" y="105"/>
                  </a:lnTo>
                  <a:lnTo>
                    <a:pt x="17" y="104"/>
                  </a:lnTo>
                  <a:lnTo>
                    <a:pt x="17" y="102"/>
                  </a:lnTo>
                  <a:lnTo>
                    <a:pt x="15" y="102"/>
                  </a:lnTo>
                  <a:lnTo>
                    <a:pt x="15" y="100"/>
                  </a:lnTo>
                  <a:lnTo>
                    <a:pt x="14" y="102"/>
                  </a:lnTo>
                  <a:lnTo>
                    <a:pt x="14" y="99"/>
                  </a:lnTo>
                  <a:lnTo>
                    <a:pt x="15" y="97"/>
                  </a:lnTo>
                  <a:lnTo>
                    <a:pt x="14" y="94"/>
                  </a:lnTo>
                  <a:lnTo>
                    <a:pt x="14" y="92"/>
                  </a:lnTo>
                  <a:lnTo>
                    <a:pt x="12" y="88"/>
                  </a:lnTo>
                  <a:lnTo>
                    <a:pt x="10" y="87"/>
                  </a:lnTo>
                  <a:lnTo>
                    <a:pt x="10" y="85"/>
                  </a:lnTo>
                  <a:lnTo>
                    <a:pt x="8" y="82"/>
                  </a:lnTo>
                  <a:lnTo>
                    <a:pt x="8" y="80"/>
                  </a:lnTo>
                  <a:lnTo>
                    <a:pt x="7" y="76"/>
                  </a:lnTo>
                  <a:lnTo>
                    <a:pt x="5" y="76"/>
                  </a:lnTo>
                  <a:lnTo>
                    <a:pt x="5" y="75"/>
                  </a:lnTo>
                  <a:lnTo>
                    <a:pt x="3" y="71"/>
                  </a:lnTo>
                  <a:lnTo>
                    <a:pt x="3" y="70"/>
                  </a:lnTo>
                  <a:lnTo>
                    <a:pt x="2" y="68"/>
                  </a:lnTo>
                  <a:lnTo>
                    <a:pt x="2" y="66"/>
                  </a:lnTo>
                  <a:lnTo>
                    <a:pt x="2" y="65"/>
                  </a:lnTo>
                  <a:lnTo>
                    <a:pt x="2" y="63"/>
                  </a:lnTo>
                  <a:lnTo>
                    <a:pt x="2" y="59"/>
                  </a:lnTo>
                  <a:lnTo>
                    <a:pt x="2" y="56"/>
                  </a:lnTo>
                  <a:lnTo>
                    <a:pt x="0" y="54"/>
                  </a:lnTo>
                  <a:lnTo>
                    <a:pt x="0" y="53"/>
                  </a:lnTo>
                  <a:lnTo>
                    <a:pt x="3" y="51"/>
                  </a:lnTo>
                  <a:lnTo>
                    <a:pt x="5" y="51"/>
                  </a:lnTo>
                  <a:lnTo>
                    <a:pt x="5" y="48"/>
                  </a:lnTo>
                  <a:lnTo>
                    <a:pt x="7" y="48"/>
                  </a:lnTo>
                  <a:lnTo>
                    <a:pt x="5" y="44"/>
                  </a:lnTo>
                  <a:lnTo>
                    <a:pt x="7" y="44"/>
                  </a:lnTo>
                  <a:lnTo>
                    <a:pt x="7" y="42"/>
                  </a:lnTo>
                  <a:lnTo>
                    <a:pt x="8" y="41"/>
                  </a:lnTo>
                  <a:lnTo>
                    <a:pt x="10" y="39"/>
                  </a:lnTo>
                  <a:lnTo>
                    <a:pt x="12" y="37"/>
                  </a:lnTo>
                  <a:lnTo>
                    <a:pt x="14" y="37"/>
                  </a:lnTo>
                  <a:lnTo>
                    <a:pt x="14" y="36"/>
                  </a:lnTo>
                  <a:lnTo>
                    <a:pt x="14" y="34"/>
                  </a:lnTo>
                  <a:lnTo>
                    <a:pt x="15" y="34"/>
                  </a:lnTo>
                  <a:lnTo>
                    <a:pt x="17" y="32"/>
                  </a:lnTo>
                  <a:lnTo>
                    <a:pt x="19" y="31"/>
                  </a:lnTo>
                  <a:lnTo>
                    <a:pt x="20" y="32"/>
                  </a:lnTo>
                  <a:lnTo>
                    <a:pt x="24" y="31"/>
                  </a:lnTo>
                  <a:lnTo>
                    <a:pt x="25" y="29"/>
                  </a:lnTo>
                  <a:lnTo>
                    <a:pt x="27" y="27"/>
                  </a:lnTo>
                  <a:lnTo>
                    <a:pt x="29" y="27"/>
                  </a:lnTo>
                  <a:lnTo>
                    <a:pt x="29" y="25"/>
                  </a:lnTo>
                  <a:lnTo>
                    <a:pt x="31" y="25"/>
                  </a:lnTo>
                  <a:lnTo>
                    <a:pt x="32" y="25"/>
                  </a:lnTo>
                  <a:lnTo>
                    <a:pt x="32" y="22"/>
                  </a:lnTo>
                  <a:lnTo>
                    <a:pt x="34" y="22"/>
                  </a:lnTo>
                  <a:lnTo>
                    <a:pt x="37" y="20"/>
                  </a:lnTo>
                  <a:lnTo>
                    <a:pt x="39" y="20"/>
                  </a:lnTo>
                  <a:lnTo>
                    <a:pt x="41" y="20"/>
                  </a:lnTo>
                  <a:lnTo>
                    <a:pt x="42" y="22"/>
                  </a:lnTo>
                  <a:lnTo>
                    <a:pt x="44" y="20"/>
                  </a:lnTo>
                  <a:lnTo>
                    <a:pt x="46" y="22"/>
                  </a:lnTo>
                  <a:lnTo>
                    <a:pt x="46" y="20"/>
                  </a:lnTo>
                  <a:lnTo>
                    <a:pt x="49" y="20"/>
                  </a:lnTo>
                  <a:lnTo>
                    <a:pt x="51" y="20"/>
                  </a:lnTo>
                  <a:lnTo>
                    <a:pt x="53" y="20"/>
                  </a:lnTo>
                  <a:lnTo>
                    <a:pt x="54" y="20"/>
                  </a:lnTo>
                  <a:lnTo>
                    <a:pt x="56" y="20"/>
                  </a:lnTo>
                  <a:lnTo>
                    <a:pt x="58" y="22"/>
                  </a:lnTo>
                  <a:lnTo>
                    <a:pt x="59" y="22"/>
                  </a:lnTo>
                  <a:lnTo>
                    <a:pt x="61" y="20"/>
                  </a:lnTo>
                  <a:lnTo>
                    <a:pt x="65" y="20"/>
                  </a:lnTo>
                  <a:lnTo>
                    <a:pt x="66" y="19"/>
                  </a:lnTo>
                  <a:lnTo>
                    <a:pt x="68" y="19"/>
                  </a:lnTo>
                  <a:lnTo>
                    <a:pt x="68" y="17"/>
                  </a:lnTo>
                  <a:lnTo>
                    <a:pt x="70" y="15"/>
                  </a:lnTo>
                  <a:lnTo>
                    <a:pt x="71" y="17"/>
                  </a:lnTo>
                  <a:lnTo>
                    <a:pt x="71" y="19"/>
                  </a:lnTo>
                  <a:lnTo>
                    <a:pt x="73" y="22"/>
                  </a:lnTo>
                  <a:lnTo>
                    <a:pt x="75" y="22"/>
                  </a:lnTo>
                  <a:lnTo>
                    <a:pt x="76" y="22"/>
                  </a:lnTo>
                  <a:lnTo>
                    <a:pt x="76" y="20"/>
                  </a:lnTo>
                  <a:lnTo>
                    <a:pt x="78" y="20"/>
                  </a:lnTo>
                  <a:lnTo>
                    <a:pt x="78" y="19"/>
                  </a:lnTo>
                  <a:lnTo>
                    <a:pt x="78" y="17"/>
                  </a:lnTo>
                  <a:lnTo>
                    <a:pt x="80" y="17"/>
                  </a:lnTo>
                  <a:lnTo>
                    <a:pt x="82" y="17"/>
                  </a:lnTo>
                  <a:lnTo>
                    <a:pt x="83" y="15"/>
                  </a:lnTo>
                  <a:lnTo>
                    <a:pt x="85" y="15"/>
                  </a:lnTo>
                  <a:lnTo>
                    <a:pt x="88" y="17"/>
                  </a:lnTo>
                  <a:lnTo>
                    <a:pt x="90" y="17"/>
                  </a:lnTo>
                  <a:lnTo>
                    <a:pt x="92" y="17"/>
                  </a:lnTo>
                  <a:lnTo>
                    <a:pt x="95" y="15"/>
                  </a:lnTo>
                  <a:lnTo>
                    <a:pt x="97" y="15"/>
                  </a:lnTo>
                  <a:lnTo>
                    <a:pt x="99" y="14"/>
                  </a:lnTo>
                  <a:lnTo>
                    <a:pt x="100" y="14"/>
                  </a:lnTo>
                  <a:lnTo>
                    <a:pt x="100" y="17"/>
                  </a:lnTo>
                  <a:lnTo>
                    <a:pt x="102" y="15"/>
                  </a:lnTo>
                  <a:lnTo>
                    <a:pt x="104" y="15"/>
                  </a:lnTo>
                  <a:lnTo>
                    <a:pt x="105" y="14"/>
                  </a:lnTo>
                  <a:lnTo>
                    <a:pt x="107" y="15"/>
                  </a:lnTo>
                  <a:lnTo>
                    <a:pt x="109" y="14"/>
                  </a:lnTo>
                  <a:lnTo>
                    <a:pt x="110" y="14"/>
                  </a:lnTo>
                  <a:lnTo>
                    <a:pt x="112" y="15"/>
                  </a:lnTo>
                  <a:lnTo>
                    <a:pt x="112" y="17"/>
                  </a:lnTo>
                  <a:lnTo>
                    <a:pt x="114" y="17"/>
                  </a:lnTo>
                  <a:lnTo>
                    <a:pt x="116" y="19"/>
                  </a:lnTo>
                  <a:lnTo>
                    <a:pt x="117" y="19"/>
                  </a:lnTo>
                  <a:lnTo>
                    <a:pt x="119" y="17"/>
                  </a:lnTo>
                  <a:lnTo>
                    <a:pt x="119" y="15"/>
                  </a:lnTo>
                  <a:lnTo>
                    <a:pt x="121" y="15"/>
                  </a:lnTo>
                  <a:lnTo>
                    <a:pt x="121" y="14"/>
                  </a:lnTo>
                  <a:lnTo>
                    <a:pt x="122" y="14"/>
                  </a:lnTo>
                  <a:lnTo>
                    <a:pt x="124" y="15"/>
                  </a:lnTo>
                  <a:lnTo>
                    <a:pt x="126" y="15"/>
                  </a:lnTo>
                  <a:lnTo>
                    <a:pt x="127" y="15"/>
                  </a:lnTo>
                  <a:lnTo>
                    <a:pt x="131" y="14"/>
                  </a:lnTo>
                  <a:lnTo>
                    <a:pt x="133" y="14"/>
                  </a:lnTo>
                  <a:lnTo>
                    <a:pt x="131" y="10"/>
                  </a:lnTo>
                  <a:lnTo>
                    <a:pt x="133" y="8"/>
                  </a:lnTo>
                  <a:lnTo>
                    <a:pt x="133" y="7"/>
                  </a:lnTo>
                  <a:lnTo>
                    <a:pt x="136" y="5"/>
                  </a:lnTo>
                  <a:lnTo>
                    <a:pt x="136" y="3"/>
                  </a:lnTo>
                  <a:lnTo>
                    <a:pt x="138" y="3"/>
                  </a:lnTo>
                  <a:lnTo>
                    <a:pt x="139" y="2"/>
                  </a:lnTo>
                  <a:lnTo>
                    <a:pt x="141" y="2"/>
                  </a:lnTo>
                  <a:lnTo>
                    <a:pt x="141" y="0"/>
                  </a:lnTo>
                  <a:lnTo>
                    <a:pt x="143" y="0"/>
                  </a:lnTo>
                  <a:lnTo>
                    <a:pt x="143" y="2"/>
                  </a:lnTo>
                  <a:lnTo>
                    <a:pt x="144" y="3"/>
                  </a:lnTo>
                  <a:lnTo>
                    <a:pt x="146" y="5"/>
                  </a:lnTo>
                  <a:lnTo>
                    <a:pt x="146" y="8"/>
                  </a:lnTo>
                  <a:lnTo>
                    <a:pt x="150" y="10"/>
                  </a:lnTo>
                  <a:lnTo>
                    <a:pt x="151" y="10"/>
                  </a:lnTo>
                  <a:lnTo>
                    <a:pt x="151" y="12"/>
                  </a:lnTo>
                  <a:lnTo>
                    <a:pt x="153" y="15"/>
                  </a:lnTo>
                  <a:lnTo>
                    <a:pt x="156" y="15"/>
                  </a:lnTo>
                  <a:lnTo>
                    <a:pt x="158" y="14"/>
                  </a:lnTo>
                  <a:lnTo>
                    <a:pt x="161" y="15"/>
                  </a:lnTo>
                  <a:lnTo>
                    <a:pt x="161" y="17"/>
                  </a:lnTo>
                  <a:lnTo>
                    <a:pt x="163" y="15"/>
                  </a:lnTo>
                  <a:lnTo>
                    <a:pt x="165" y="15"/>
                  </a:lnTo>
                  <a:lnTo>
                    <a:pt x="167" y="15"/>
                  </a:lnTo>
                  <a:lnTo>
                    <a:pt x="170" y="15"/>
                  </a:lnTo>
                  <a:lnTo>
                    <a:pt x="170" y="14"/>
                  </a:lnTo>
                  <a:lnTo>
                    <a:pt x="172" y="15"/>
                  </a:lnTo>
                  <a:lnTo>
                    <a:pt x="173" y="15"/>
                  </a:lnTo>
                  <a:lnTo>
                    <a:pt x="175" y="14"/>
                  </a:lnTo>
                  <a:lnTo>
                    <a:pt x="177" y="15"/>
                  </a:lnTo>
                  <a:lnTo>
                    <a:pt x="177" y="17"/>
                  </a:lnTo>
                  <a:lnTo>
                    <a:pt x="180" y="17"/>
                  </a:lnTo>
                  <a:lnTo>
                    <a:pt x="180" y="19"/>
                  </a:lnTo>
                  <a:lnTo>
                    <a:pt x="184" y="19"/>
                  </a:lnTo>
                  <a:lnTo>
                    <a:pt x="185" y="20"/>
                  </a:lnTo>
                  <a:lnTo>
                    <a:pt x="185" y="22"/>
                  </a:lnTo>
                  <a:lnTo>
                    <a:pt x="187" y="22"/>
                  </a:lnTo>
                  <a:lnTo>
                    <a:pt x="189" y="22"/>
                  </a:lnTo>
                  <a:lnTo>
                    <a:pt x="190" y="22"/>
                  </a:lnTo>
                  <a:lnTo>
                    <a:pt x="190" y="24"/>
                  </a:lnTo>
                  <a:lnTo>
                    <a:pt x="194" y="24"/>
                  </a:lnTo>
                  <a:lnTo>
                    <a:pt x="194" y="25"/>
                  </a:lnTo>
                  <a:lnTo>
                    <a:pt x="195" y="27"/>
                  </a:lnTo>
                  <a:lnTo>
                    <a:pt x="197" y="27"/>
                  </a:lnTo>
                  <a:lnTo>
                    <a:pt x="199" y="29"/>
                  </a:lnTo>
                  <a:lnTo>
                    <a:pt x="202" y="31"/>
                  </a:lnTo>
                  <a:lnTo>
                    <a:pt x="202" y="32"/>
                  </a:lnTo>
                  <a:lnTo>
                    <a:pt x="204" y="34"/>
                  </a:lnTo>
                  <a:lnTo>
                    <a:pt x="206" y="36"/>
                  </a:lnTo>
                  <a:lnTo>
                    <a:pt x="207" y="36"/>
                  </a:lnTo>
                  <a:lnTo>
                    <a:pt x="209" y="37"/>
                  </a:lnTo>
                  <a:lnTo>
                    <a:pt x="212" y="37"/>
                  </a:lnTo>
                  <a:lnTo>
                    <a:pt x="214" y="37"/>
                  </a:lnTo>
                  <a:lnTo>
                    <a:pt x="216" y="37"/>
                  </a:lnTo>
                  <a:lnTo>
                    <a:pt x="219" y="37"/>
                  </a:lnTo>
                  <a:close/>
                  <a:moveTo>
                    <a:pt x="5" y="107"/>
                  </a:moveTo>
                  <a:lnTo>
                    <a:pt x="5" y="104"/>
                  </a:lnTo>
                  <a:lnTo>
                    <a:pt x="7" y="102"/>
                  </a:lnTo>
                  <a:lnTo>
                    <a:pt x="7" y="99"/>
                  </a:lnTo>
                  <a:lnTo>
                    <a:pt x="7" y="97"/>
                  </a:lnTo>
                  <a:lnTo>
                    <a:pt x="7" y="95"/>
                  </a:lnTo>
                  <a:lnTo>
                    <a:pt x="7" y="92"/>
                  </a:lnTo>
                  <a:lnTo>
                    <a:pt x="7" y="90"/>
                  </a:lnTo>
                  <a:lnTo>
                    <a:pt x="7" y="88"/>
                  </a:lnTo>
                  <a:lnTo>
                    <a:pt x="7" y="85"/>
                  </a:lnTo>
                  <a:lnTo>
                    <a:pt x="7" y="82"/>
                  </a:lnTo>
                  <a:lnTo>
                    <a:pt x="7" y="80"/>
                  </a:lnTo>
                  <a:lnTo>
                    <a:pt x="5" y="78"/>
                  </a:lnTo>
                  <a:lnTo>
                    <a:pt x="5" y="76"/>
                  </a:lnTo>
                  <a:lnTo>
                    <a:pt x="7" y="78"/>
                  </a:lnTo>
                  <a:lnTo>
                    <a:pt x="7" y="80"/>
                  </a:lnTo>
                  <a:lnTo>
                    <a:pt x="8" y="83"/>
                  </a:lnTo>
                  <a:lnTo>
                    <a:pt x="8" y="85"/>
                  </a:lnTo>
                  <a:lnTo>
                    <a:pt x="8" y="87"/>
                  </a:lnTo>
                  <a:lnTo>
                    <a:pt x="8" y="88"/>
                  </a:lnTo>
                  <a:lnTo>
                    <a:pt x="8" y="92"/>
                  </a:lnTo>
                  <a:lnTo>
                    <a:pt x="8" y="94"/>
                  </a:lnTo>
                  <a:lnTo>
                    <a:pt x="8" y="95"/>
                  </a:lnTo>
                  <a:lnTo>
                    <a:pt x="8" y="97"/>
                  </a:lnTo>
                  <a:lnTo>
                    <a:pt x="8" y="99"/>
                  </a:lnTo>
                  <a:lnTo>
                    <a:pt x="7" y="100"/>
                  </a:lnTo>
                  <a:lnTo>
                    <a:pt x="8" y="104"/>
                  </a:lnTo>
                  <a:lnTo>
                    <a:pt x="7" y="105"/>
                  </a:lnTo>
                  <a:lnTo>
                    <a:pt x="5" y="10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07" name="Freeform 37">
              <a:extLst>
                <a:ext uri="{FF2B5EF4-FFF2-40B4-BE49-F238E27FC236}">
                  <a16:creationId xmlns:a16="http://schemas.microsoft.com/office/drawing/2014/main" id="{131B29BF-E85A-4658-954C-425A4633DE25}"/>
                </a:ext>
              </a:extLst>
            </p:cNvPr>
            <p:cNvSpPr>
              <a:spLocks noEditPoints="1"/>
            </p:cNvSpPr>
            <p:nvPr/>
          </p:nvSpPr>
          <p:spPr bwMode="gray">
            <a:xfrm>
              <a:off x="9655264" y="2090971"/>
              <a:ext cx="669580" cy="453300"/>
            </a:xfrm>
            <a:custGeom>
              <a:avLst/>
              <a:gdLst>
                <a:gd name="T0" fmla="*/ 205 w 226"/>
                <a:gd name="T1" fmla="*/ 19 h 153"/>
                <a:gd name="T2" fmla="*/ 193 w 226"/>
                <a:gd name="T3" fmla="*/ 36 h 153"/>
                <a:gd name="T4" fmla="*/ 180 w 226"/>
                <a:gd name="T5" fmla="*/ 56 h 153"/>
                <a:gd name="T6" fmla="*/ 195 w 226"/>
                <a:gd name="T7" fmla="*/ 78 h 153"/>
                <a:gd name="T8" fmla="*/ 207 w 226"/>
                <a:gd name="T9" fmla="*/ 90 h 153"/>
                <a:gd name="T10" fmla="*/ 217 w 226"/>
                <a:gd name="T11" fmla="*/ 102 h 153"/>
                <a:gd name="T12" fmla="*/ 222 w 226"/>
                <a:gd name="T13" fmla="*/ 114 h 153"/>
                <a:gd name="T14" fmla="*/ 216 w 226"/>
                <a:gd name="T15" fmla="*/ 131 h 153"/>
                <a:gd name="T16" fmla="*/ 197 w 226"/>
                <a:gd name="T17" fmla="*/ 134 h 153"/>
                <a:gd name="T18" fmla="*/ 187 w 226"/>
                <a:gd name="T19" fmla="*/ 146 h 153"/>
                <a:gd name="T20" fmla="*/ 166 w 226"/>
                <a:gd name="T21" fmla="*/ 133 h 153"/>
                <a:gd name="T22" fmla="*/ 148 w 226"/>
                <a:gd name="T23" fmla="*/ 126 h 153"/>
                <a:gd name="T24" fmla="*/ 132 w 226"/>
                <a:gd name="T25" fmla="*/ 119 h 153"/>
                <a:gd name="T26" fmla="*/ 124 w 226"/>
                <a:gd name="T27" fmla="*/ 119 h 153"/>
                <a:gd name="T28" fmla="*/ 105 w 226"/>
                <a:gd name="T29" fmla="*/ 133 h 153"/>
                <a:gd name="T30" fmla="*/ 100 w 226"/>
                <a:gd name="T31" fmla="*/ 119 h 153"/>
                <a:gd name="T32" fmla="*/ 97 w 226"/>
                <a:gd name="T33" fmla="*/ 104 h 153"/>
                <a:gd name="T34" fmla="*/ 85 w 226"/>
                <a:gd name="T35" fmla="*/ 114 h 153"/>
                <a:gd name="T36" fmla="*/ 71 w 226"/>
                <a:gd name="T37" fmla="*/ 109 h 153"/>
                <a:gd name="T38" fmla="*/ 59 w 226"/>
                <a:gd name="T39" fmla="*/ 95 h 153"/>
                <a:gd name="T40" fmla="*/ 66 w 226"/>
                <a:gd name="T41" fmla="*/ 80 h 153"/>
                <a:gd name="T42" fmla="*/ 54 w 226"/>
                <a:gd name="T43" fmla="*/ 76 h 153"/>
                <a:gd name="T44" fmla="*/ 57 w 226"/>
                <a:gd name="T45" fmla="*/ 66 h 153"/>
                <a:gd name="T46" fmla="*/ 52 w 226"/>
                <a:gd name="T47" fmla="*/ 59 h 153"/>
                <a:gd name="T48" fmla="*/ 64 w 226"/>
                <a:gd name="T49" fmla="*/ 46 h 153"/>
                <a:gd name="T50" fmla="*/ 73 w 226"/>
                <a:gd name="T51" fmla="*/ 34 h 153"/>
                <a:gd name="T52" fmla="*/ 88 w 226"/>
                <a:gd name="T53" fmla="*/ 27 h 153"/>
                <a:gd name="T54" fmla="*/ 95 w 226"/>
                <a:gd name="T55" fmla="*/ 19 h 153"/>
                <a:gd name="T56" fmla="*/ 110 w 226"/>
                <a:gd name="T57" fmla="*/ 20 h 153"/>
                <a:gd name="T58" fmla="*/ 124 w 226"/>
                <a:gd name="T59" fmla="*/ 10 h 153"/>
                <a:gd name="T60" fmla="*/ 129 w 226"/>
                <a:gd name="T61" fmla="*/ 7 h 153"/>
                <a:gd name="T62" fmla="*/ 146 w 226"/>
                <a:gd name="T63" fmla="*/ 7 h 153"/>
                <a:gd name="T64" fmla="*/ 170 w 226"/>
                <a:gd name="T65" fmla="*/ 10 h 153"/>
                <a:gd name="T66" fmla="*/ 199 w 226"/>
                <a:gd name="T67" fmla="*/ 7 h 153"/>
                <a:gd name="T68" fmla="*/ 56 w 226"/>
                <a:gd name="T69" fmla="*/ 99 h 153"/>
                <a:gd name="T70" fmla="*/ 46 w 226"/>
                <a:gd name="T71" fmla="*/ 100 h 153"/>
                <a:gd name="T72" fmla="*/ 52 w 226"/>
                <a:gd name="T73" fmla="*/ 107 h 153"/>
                <a:gd name="T74" fmla="*/ 46 w 226"/>
                <a:gd name="T75" fmla="*/ 110 h 153"/>
                <a:gd name="T76" fmla="*/ 39 w 226"/>
                <a:gd name="T77" fmla="*/ 122 h 153"/>
                <a:gd name="T78" fmla="*/ 29 w 226"/>
                <a:gd name="T79" fmla="*/ 124 h 153"/>
                <a:gd name="T80" fmla="*/ 18 w 226"/>
                <a:gd name="T81" fmla="*/ 144 h 153"/>
                <a:gd name="T82" fmla="*/ 15 w 226"/>
                <a:gd name="T83" fmla="*/ 139 h 153"/>
                <a:gd name="T84" fmla="*/ 3 w 226"/>
                <a:gd name="T85" fmla="*/ 127 h 153"/>
                <a:gd name="T86" fmla="*/ 3 w 226"/>
                <a:gd name="T87" fmla="*/ 116 h 153"/>
                <a:gd name="T88" fmla="*/ 10 w 226"/>
                <a:gd name="T89" fmla="*/ 114 h 153"/>
                <a:gd name="T90" fmla="*/ 22 w 226"/>
                <a:gd name="T91" fmla="*/ 102 h 153"/>
                <a:gd name="T92" fmla="*/ 42 w 226"/>
                <a:gd name="T93" fmla="*/ 99 h 153"/>
                <a:gd name="T94" fmla="*/ 23 w 226"/>
                <a:gd name="T95" fmla="*/ 68 h 153"/>
                <a:gd name="T96" fmla="*/ 37 w 226"/>
                <a:gd name="T97" fmla="*/ 82 h 153"/>
                <a:gd name="T98" fmla="*/ 29 w 226"/>
                <a:gd name="T99" fmla="*/ 85 h 153"/>
                <a:gd name="T100" fmla="*/ 18 w 226"/>
                <a:gd name="T101" fmla="*/ 88 h 153"/>
                <a:gd name="T102" fmla="*/ 5 w 226"/>
                <a:gd name="T103" fmla="*/ 80 h 153"/>
                <a:gd name="T104" fmla="*/ 20 w 226"/>
                <a:gd name="T105" fmla="*/ 70 h 153"/>
                <a:gd name="T106" fmla="*/ 42 w 226"/>
                <a:gd name="T107" fmla="*/ 71 h 153"/>
                <a:gd name="T108" fmla="*/ 85 w 226"/>
                <a:gd name="T109" fmla="*/ 124 h 153"/>
                <a:gd name="T110" fmla="*/ 66 w 226"/>
                <a:gd name="T111" fmla="*/ 41 h 153"/>
                <a:gd name="T112" fmla="*/ 1 w 226"/>
                <a:gd name="T113" fmla="*/ 121 h 153"/>
                <a:gd name="T114" fmla="*/ 207 w 226"/>
                <a:gd name="T115" fmla="*/ 78 h 153"/>
                <a:gd name="T116" fmla="*/ 39 w 226"/>
                <a:gd name="T117" fmla="*/ 75 h 153"/>
                <a:gd name="T118" fmla="*/ 90 w 226"/>
                <a:gd name="T119" fmla="*/ 17 h 153"/>
                <a:gd name="T120" fmla="*/ 30 w 226"/>
                <a:gd name="T121" fmla="*/ 127 h 153"/>
                <a:gd name="T122" fmla="*/ 73 w 226"/>
                <a:gd name="T123" fmla="*/ 110 h 153"/>
                <a:gd name="T124" fmla="*/ 102 w 226"/>
                <a:gd name="T125" fmla="*/ 1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6" h="153">
                  <a:moveTo>
                    <a:pt x="205" y="0"/>
                  </a:moveTo>
                  <a:lnTo>
                    <a:pt x="209" y="0"/>
                  </a:lnTo>
                  <a:lnTo>
                    <a:pt x="210" y="2"/>
                  </a:lnTo>
                  <a:lnTo>
                    <a:pt x="212" y="3"/>
                  </a:lnTo>
                  <a:lnTo>
                    <a:pt x="214" y="3"/>
                  </a:lnTo>
                  <a:lnTo>
                    <a:pt x="214" y="5"/>
                  </a:lnTo>
                  <a:lnTo>
                    <a:pt x="214" y="8"/>
                  </a:lnTo>
                  <a:lnTo>
                    <a:pt x="212" y="10"/>
                  </a:lnTo>
                  <a:lnTo>
                    <a:pt x="210" y="12"/>
                  </a:lnTo>
                  <a:lnTo>
                    <a:pt x="207" y="14"/>
                  </a:lnTo>
                  <a:lnTo>
                    <a:pt x="205" y="15"/>
                  </a:lnTo>
                  <a:lnTo>
                    <a:pt x="205" y="17"/>
                  </a:lnTo>
                  <a:lnTo>
                    <a:pt x="205" y="19"/>
                  </a:lnTo>
                  <a:lnTo>
                    <a:pt x="205" y="20"/>
                  </a:lnTo>
                  <a:lnTo>
                    <a:pt x="205" y="22"/>
                  </a:lnTo>
                  <a:lnTo>
                    <a:pt x="204" y="24"/>
                  </a:lnTo>
                  <a:lnTo>
                    <a:pt x="204" y="27"/>
                  </a:lnTo>
                  <a:lnTo>
                    <a:pt x="204" y="29"/>
                  </a:lnTo>
                  <a:lnTo>
                    <a:pt x="204" y="31"/>
                  </a:lnTo>
                  <a:lnTo>
                    <a:pt x="204" y="32"/>
                  </a:lnTo>
                  <a:lnTo>
                    <a:pt x="204" y="34"/>
                  </a:lnTo>
                  <a:lnTo>
                    <a:pt x="202" y="34"/>
                  </a:lnTo>
                  <a:lnTo>
                    <a:pt x="199" y="34"/>
                  </a:lnTo>
                  <a:lnTo>
                    <a:pt x="197" y="34"/>
                  </a:lnTo>
                  <a:lnTo>
                    <a:pt x="195" y="36"/>
                  </a:lnTo>
                  <a:lnTo>
                    <a:pt x="193" y="36"/>
                  </a:lnTo>
                  <a:lnTo>
                    <a:pt x="190" y="37"/>
                  </a:lnTo>
                  <a:lnTo>
                    <a:pt x="188" y="37"/>
                  </a:lnTo>
                  <a:lnTo>
                    <a:pt x="187" y="39"/>
                  </a:lnTo>
                  <a:lnTo>
                    <a:pt x="185" y="39"/>
                  </a:lnTo>
                  <a:lnTo>
                    <a:pt x="183" y="41"/>
                  </a:lnTo>
                  <a:lnTo>
                    <a:pt x="182" y="42"/>
                  </a:lnTo>
                  <a:lnTo>
                    <a:pt x="180" y="44"/>
                  </a:lnTo>
                  <a:lnTo>
                    <a:pt x="180" y="48"/>
                  </a:lnTo>
                  <a:lnTo>
                    <a:pt x="178" y="49"/>
                  </a:lnTo>
                  <a:lnTo>
                    <a:pt x="178" y="51"/>
                  </a:lnTo>
                  <a:lnTo>
                    <a:pt x="178" y="53"/>
                  </a:lnTo>
                  <a:lnTo>
                    <a:pt x="180" y="54"/>
                  </a:lnTo>
                  <a:lnTo>
                    <a:pt x="180" y="56"/>
                  </a:lnTo>
                  <a:lnTo>
                    <a:pt x="183" y="56"/>
                  </a:lnTo>
                  <a:lnTo>
                    <a:pt x="185" y="58"/>
                  </a:lnTo>
                  <a:lnTo>
                    <a:pt x="187" y="59"/>
                  </a:lnTo>
                  <a:lnTo>
                    <a:pt x="188" y="59"/>
                  </a:lnTo>
                  <a:lnTo>
                    <a:pt x="188" y="61"/>
                  </a:lnTo>
                  <a:lnTo>
                    <a:pt x="190" y="63"/>
                  </a:lnTo>
                  <a:lnTo>
                    <a:pt x="192" y="65"/>
                  </a:lnTo>
                  <a:lnTo>
                    <a:pt x="192" y="68"/>
                  </a:lnTo>
                  <a:lnTo>
                    <a:pt x="193" y="70"/>
                  </a:lnTo>
                  <a:lnTo>
                    <a:pt x="193" y="71"/>
                  </a:lnTo>
                  <a:lnTo>
                    <a:pt x="195" y="75"/>
                  </a:lnTo>
                  <a:lnTo>
                    <a:pt x="195" y="76"/>
                  </a:lnTo>
                  <a:lnTo>
                    <a:pt x="195" y="78"/>
                  </a:lnTo>
                  <a:lnTo>
                    <a:pt x="197" y="80"/>
                  </a:lnTo>
                  <a:lnTo>
                    <a:pt x="199" y="80"/>
                  </a:lnTo>
                  <a:lnTo>
                    <a:pt x="199" y="78"/>
                  </a:lnTo>
                  <a:lnTo>
                    <a:pt x="200" y="78"/>
                  </a:lnTo>
                  <a:lnTo>
                    <a:pt x="202" y="80"/>
                  </a:lnTo>
                  <a:lnTo>
                    <a:pt x="204" y="80"/>
                  </a:lnTo>
                  <a:lnTo>
                    <a:pt x="202" y="82"/>
                  </a:lnTo>
                  <a:lnTo>
                    <a:pt x="204" y="82"/>
                  </a:lnTo>
                  <a:lnTo>
                    <a:pt x="204" y="83"/>
                  </a:lnTo>
                  <a:lnTo>
                    <a:pt x="204" y="85"/>
                  </a:lnTo>
                  <a:lnTo>
                    <a:pt x="205" y="87"/>
                  </a:lnTo>
                  <a:lnTo>
                    <a:pt x="207" y="88"/>
                  </a:lnTo>
                  <a:lnTo>
                    <a:pt x="207" y="90"/>
                  </a:lnTo>
                  <a:lnTo>
                    <a:pt x="209" y="92"/>
                  </a:lnTo>
                  <a:lnTo>
                    <a:pt x="209" y="93"/>
                  </a:lnTo>
                  <a:lnTo>
                    <a:pt x="210" y="95"/>
                  </a:lnTo>
                  <a:lnTo>
                    <a:pt x="212" y="97"/>
                  </a:lnTo>
                  <a:lnTo>
                    <a:pt x="214" y="97"/>
                  </a:lnTo>
                  <a:lnTo>
                    <a:pt x="214" y="99"/>
                  </a:lnTo>
                  <a:lnTo>
                    <a:pt x="216" y="100"/>
                  </a:lnTo>
                  <a:lnTo>
                    <a:pt x="214" y="102"/>
                  </a:lnTo>
                  <a:lnTo>
                    <a:pt x="216" y="104"/>
                  </a:lnTo>
                  <a:lnTo>
                    <a:pt x="217" y="105"/>
                  </a:lnTo>
                  <a:lnTo>
                    <a:pt x="217" y="102"/>
                  </a:lnTo>
                  <a:lnTo>
                    <a:pt x="217" y="104"/>
                  </a:lnTo>
                  <a:lnTo>
                    <a:pt x="217" y="102"/>
                  </a:lnTo>
                  <a:lnTo>
                    <a:pt x="219" y="102"/>
                  </a:lnTo>
                  <a:lnTo>
                    <a:pt x="219" y="105"/>
                  </a:lnTo>
                  <a:lnTo>
                    <a:pt x="219" y="107"/>
                  </a:lnTo>
                  <a:lnTo>
                    <a:pt x="221" y="107"/>
                  </a:lnTo>
                  <a:lnTo>
                    <a:pt x="221" y="109"/>
                  </a:lnTo>
                  <a:lnTo>
                    <a:pt x="222" y="109"/>
                  </a:lnTo>
                  <a:lnTo>
                    <a:pt x="224" y="109"/>
                  </a:lnTo>
                  <a:lnTo>
                    <a:pt x="226" y="109"/>
                  </a:lnTo>
                  <a:lnTo>
                    <a:pt x="226" y="110"/>
                  </a:lnTo>
                  <a:lnTo>
                    <a:pt x="226" y="112"/>
                  </a:lnTo>
                  <a:lnTo>
                    <a:pt x="224" y="114"/>
                  </a:lnTo>
                  <a:lnTo>
                    <a:pt x="222" y="112"/>
                  </a:lnTo>
                  <a:lnTo>
                    <a:pt x="222" y="114"/>
                  </a:lnTo>
                  <a:lnTo>
                    <a:pt x="219" y="114"/>
                  </a:lnTo>
                  <a:lnTo>
                    <a:pt x="217" y="116"/>
                  </a:lnTo>
                  <a:lnTo>
                    <a:pt x="217" y="117"/>
                  </a:lnTo>
                  <a:lnTo>
                    <a:pt x="216" y="119"/>
                  </a:lnTo>
                  <a:lnTo>
                    <a:pt x="217" y="121"/>
                  </a:lnTo>
                  <a:lnTo>
                    <a:pt x="219" y="122"/>
                  </a:lnTo>
                  <a:lnTo>
                    <a:pt x="217" y="124"/>
                  </a:lnTo>
                  <a:lnTo>
                    <a:pt x="217" y="122"/>
                  </a:lnTo>
                  <a:lnTo>
                    <a:pt x="216" y="124"/>
                  </a:lnTo>
                  <a:lnTo>
                    <a:pt x="214" y="126"/>
                  </a:lnTo>
                  <a:lnTo>
                    <a:pt x="214" y="127"/>
                  </a:lnTo>
                  <a:lnTo>
                    <a:pt x="214" y="131"/>
                  </a:lnTo>
                  <a:lnTo>
                    <a:pt x="216" y="131"/>
                  </a:lnTo>
                  <a:lnTo>
                    <a:pt x="214" y="133"/>
                  </a:lnTo>
                  <a:lnTo>
                    <a:pt x="212" y="134"/>
                  </a:lnTo>
                  <a:lnTo>
                    <a:pt x="214" y="134"/>
                  </a:lnTo>
                  <a:lnTo>
                    <a:pt x="214" y="136"/>
                  </a:lnTo>
                  <a:lnTo>
                    <a:pt x="216" y="138"/>
                  </a:lnTo>
                  <a:lnTo>
                    <a:pt x="212" y="138"/>
                  </a:lnTo>
                  <a:lnTo>
                    <a:pt x="210" y="138"/>
                  </a:lnTo>
                  <a:lnTo>
                    <a:pt x="209" y="138"/>
                  </a:lnTo>
                  <a:lnTo>
                    <a:pt x="207" y="138"/>
                  </a:lnTo>
                  <a:lnTo>
                    <a:pt x="205" y="138"/>
                  </a:lnTo>
                  <a:lnTo>
                    <a:pt x="202" y="136"/>
                  </a:lnTo>
                  <a:lnTo>
                    <a:pt x="199" y="136"/>
                  </a:lnTo>
                  <a:lnTo>
                    <a:pt x="197" y="134"/>
                  </a:lnTo>
                  <a:lnTo>
                    <a:pt x="195" y="136"/>
                  </a:lnTo>
                  <a:lnTo>
                    <a:pt x="195" y="138"/>
                  </a:lnTo>
                  <a:lnTo>
                    <a:pt x="193" y="139"/>
                  </a:lnTo>
                  <a:lnTo>
                    <a:pt x="193" y="141"/>
                  </a:lnTo>
                  <a:lnTo>
                    <a:pt x="192" y="139"/>
                  </a:lnTo>
                  <a:lnTo>
                    <a:pt x="192" y="141"/>
                  </a:lnTo>
                  <a:lnTo>
                    <a:pt x="188" y="141"/>
                  </a:lnTo>
                  <a:lnTo>
                    <a:pt x="190" y="141"/>
                  </a:lnTo>
                  <a:lnTo>
                    <a:pt x="188" y="144"/>
                  </a:lnTo>
                  <a:lnTo>
                    <a:pt x="188" y="146"/>
                  </a:lnTo>
                  <a:lnTo>
                    <a:pt x="187" y="144"/>
                  </a:lnTo>
                  <a:lnTo>
                    <a:pt x="187" y="143"/>
                  </a:lnTo>
                  <a:lnTo>
                    <a:pt x="187" y="146"/>
                  </a:lnTo>
                  <a:lnTo>
                    <a:pt x="185" y="146"/>
                  </a:lnTo>
                  <a:lnTo>
                    <a:pt x="183" y="146"/>
                  </a:lnTo>
                  <a:lnTo>
                    <a:pt x="183" y="144"/>
                  </a:lnTo>
                  <a:lnTo>
                    <a:pt x="182" y="143"/>
                  </a:lnTo>
                  <a:lnTo>
                    <a:pt x="180" y="143"/>
                  </a:lnTo>
                  <a:lnTo>
                    <a:pt x="176" y="143"/>
                  </a:lnTo>
                  <a:lnTo>
                    <a:pt x="175" y="143"/>
                  </a:lnTo>
                  <a:lnTo>
                    <a:pt x="173" y="141"/>
                  </a:lnTo>
                  <a:lnTo>
                    <a:pt x="171" y="138"/>
                  </a:lnTo>
                  <a:lnTo>
                    <a:pt x="170" y="138"/>
                  </a:lnTo>
                  <a:lnTo>
                    <a:pt x="170" y="134"/>
                  </a:lnTo>
                  <a:lnTo>
                    <a:pt x="166" y="134"/>
                  </a:lnTo>
                  <a:lnTo>
                    <a:pt x="166" y="133"/>
                  </a:lnTo>
                  <a:lnTo>
                    <a:pt x="165" y="133"/>
                  </a:lnTo>
                  <a:lnTo>
                    <a:pt x="163" y="133"/>
                  </a:lnTo>
                  <a:lnTo>
                    <a:pt x="161" y="131"/>
                  </a:lnTo>
                  <a:lnTo>
                    <a:pt x="163" y="131"/>
                  </a:lnTo>
                  <a:lnTo>
                    <a:pt x="163" y="129"/>
                  </a:lnTo>
                  <a:lnTo>
                    <a:pt x="163" y="127"/>
                  </a:lnTo>
                  <a:lnTo>
                    <a:pt x="159" y="127"/>
                  </a:lnTo>
                  <a:lnTo>
                    <a:pt x="156" y="129"/>
                  </a:lnTo>
                  <a:lnTo>
                    <a:pt x="156" y="127"/>
                  </a:lnTo>
                  <a:lnTo>
                    <a:pt x="153" y="127"/>
                  </a:lnTo>
                  <a:lnTo>
                    <a:pt x="151" y="126"/>
                  </a:lnTo>
                  <a:lnTo>
                    <a:pt x="149" y="124"/>
                  </a:lnTo>
                  <a:lnTo>
                    <a:pt x="148" y="126"/>
                  </a:lnTo>
                  <a:lnTo>
                    <a:pt x="146" y="124"/>
                  </a:lnTo>
                  <a:lnTo>
                    <a:pt x="144" y="124"/>
                  </a:lnTo>
                  <a:lnTo>
                    <a:pt x="142" y="122"/>
                  </a:lnTo>
                  <a:lnTo>
                    <a:pt x="142" y="124"/>
                  </a:lnTo>
                  <a:lnTo>
                    <a:pt x="142" y="122"/>
                  </a:lnTo>
                  <a:lnTo>
                    <a:pt x="141" y="122"/>
                  </a:lnTo>
                  <a:lnTo>
                    <a:pt x="139" y="122"/>
                  </a:lnTo>
                  <a:lnTo>
                    <a:pt x="137" y="122"/>
                  </a:lnTo>
                  <a:lnTo>
                    <a:pt x="139" y="121"/>
                  </a:lnTo>
                  <a:lnTo>
                    <a:pt x="137" y="121"/>
                  </a:lnTo>
                  <a:lnTo>
                    <a:pt x="136" y="119"/>
                  </a:lnTo>
                  <a:lnTo>
                    <a:pt x="134" y="121"/>
                  </a:lnTo>
                  <a:lnTo>
                    <a:pt x="132" y="119"/>
                  </a:lnTo>
                  <a:lnTo>
                    <a:pt x="131" y="117"/>
                  </a:lnTo>
                  <a:lnTo>
                    <a:pt x="131" y="119"/>
                  </a:lnTo>
                  <a:lnTo>
                    <a:pt x="132" y="121"/>
                  </a:lnTo>
                  <a:lnTo>
                    <a:pt x="132" y="122"/>
                  </a:lnTo>
                  <a:lnTo>
                    <a:pt x="131" y="124"/>
                  </a:lnTo>
                  <a:lnTo>
                    <a:pt x="129" y="122"/>
                  </a:lnTo>
                  <a:lnTo>
                    <a:pt x="131" y="122"/>
                  </a:lnTo>
                  <a:lnTo>
                    <a:pt x="129" y="121"/>
                  </a:lnTo>
                  <a:lnTo>
                    <a:pt x="129" y="119"/>
                  </a:lnTo>
                  <a:lnTo>
                    <a:pt x="127" y="117"/>
                  </a:lnTo>
                  <a:lnTo>
                    <a:pt x="127" y="119"/>
                  </a:lnTo>
                  <a:lnTo>
                    <a:pt x="125" y="119"/>
                  </a:lnTo>
                  <a:lnTo>
                    <a:pt x="124" y="119"/>
                  </a:lnTo>
                  <a:lnTo>
                    <a:pt x="122" y="122"/>
                  </a:lnTo>
                  <a:lnTo>
                    <a:pt x="122" y="124"/>
                  </a:lnTo>
                  <a:lnTo>
                    <a:pt x="120" y="124"/>
                  </a:lnTo>
                  <a:lnTo>
                    <a:pt x="119" y="124"/>
                  </a:lnTo>
                  <a:lnTo>
                    <a:pt x="117" y="127"/>
                  </a:lnTo>
                  <a:lnTo>
                    <a:pt x="115" y="127"/>
                  </a:lnTo>
                  <a:lnTo>
                    <a:pt x="112" y="127"/>
                  </a:lnTo>
                  <a:lnTo>
                    <a:pt x="112" y="129"/>
                  </a:lnTo>
                  <a:lnTo>
                    <a:pt x="110" y="131"/>
                  </a:lnTo>
                  <a:lnTo>
                    <a:pt x="108" y="131"/>
                  </a:lnTo>
                  <a:lnTo>
                    <a:pt x="108" y="133"/>
                  </a:lnTo>
                  <a:lnTo>
                    <a:pt x="107" y="131"/>
                  </a:lnTo>
                  <a:lnTo>
                    <a:pt x="105" y="133"/>
                  </a:lnTo>
                  <a:lnTo>
                    <a:pt x="103" y="134"/>
                  </a:lnTo>
                  <a:lnTo>
                    <a:pt x="103" y="138"/>
                  </a:lnTo>
                  <a:lnTo>
                    <a:pt x="102" y="139"/>
                  </a:lnTo>
                  <a:lnTo>
                    <a:pt x="100" y="138"/>
                  </a:lnTo>
                  <a:lnTo>
                    <a:pt x="100" y="136"/>
                  </a:lnTo>
                  <a:lnTo>
                    <a:pt x="100" y="134"/>
                  </a:lnTo>
                  <a:lnTo>
                    <a:pt x="100" y="133"/>
                  </a:lnTo>
                  <a:lnTo>
                    <a:pt x="100" y="131"/>
                  </a:lnTo>
                  <a:lnTo>
                    <a:pt x="102" y="129"/>
                  </a:lnTo>
                  <a:lnTo>
                    <a:pt x="102" y="126"/>
                  </a:lnTo>
                  <a:lnTo>
                    <a:pt x="102" y="124"/>
                  </a:lnTo>
                  <a:lnTo>
                    <a:pt x="100" y="122"/>
                  </a:lnTo>
                  <a:lnTo>
                    <a:pt x="100" y="119"/>
                  </a:lnTo>
                  <a:lnTo>
                    <a:pt x="100" y="117"/>
                  </a:lnTo>
                  <a:lnTo>
                    <a:pt x="98" y="117"/>
                  </a:lnTo>
                  <a:lnTo>
                    <a:pt x="100" y="116"/>
                  </a:lnTo>
                  <a:lnTo>
                    <a:pt x="98" y="116"/>
                  </a:lnTo>
                  <a:lnTo>
                    <a:pt x="100" y="112"/>
                  </a:lnTo>
                  <a:lnTo>
                    <a:pt x="98" y="112"/>
                  </a:lnTo>
                  <a:lnTo>
                    <a:pt x="100" y="110"/>
                  </a:lnTo>
                  <a:lnTo>
                    <a:pt x="102" y="110"/>
                  </a:lnTo>
                  <a:lnTo>
                    <a:pt x="102" y="109"/>
                  </a:lnTo>
                  <a:lnTo>
                    <a:pt x="102" y="105"/>
                  </a:lnTo>
                  <a:lnTo>
                    <a:pt x="100" y="105"/>
                  </a:lnTo>
                  <a:lnTo>
                    <a:pt x="100" y="104"/>
                  </a:lnTo>
                  <a:lnTo>
                    <a:pt x="97" y="104"/>
                  </a:lnTo>
                  <a:lnTo>
                    <a:pt x="97" y="102"/>
                  </a:lnTo>
                  <a:lnTo>
                    <a:pt x="95" y="102"/>
                  </a:lnTo>
                  <a:lnTo>
                    <a:pt x="93" y="104"/>
                  </a:lnTo>
                  <a:lnTo>
                    <a:pt x="91" y="104"/>
                  </a:lnTo>
                  <a:lnTo>
                    <a:pt x="91" y="105"/>
                  </a:lnTo>
                  <a:lnTo>
                    <a:pt x="91" y="107"/>
                  </a:lnTo>
                  <a:lnTo>
                    <a:pt x="91" y="110"/>
                  </a:lnTo>
                  <a:lnTo>
                    <a:pt x="91" y="112"/>
                  </a:lnTo>
                  <a:lnTo>
                    <a:pt x="91" y="110"/>
                  </a:lnTo>
                  <a:lnTo>
                    <a:pt x="90" y="112"/>
                  </a:lnTo>
                  <a:lnTo>
                    <a:pt x="88" y="112"/>
                  </a:lnTo>
                  <a:lnTo>
                    <a:pt x="86" y="116"/>
                  </a:lnTo>
                  <a:lnTo>
                    <a:pt x="85" y="114"/>
                  </a:lnTo>
                  <a:lnTo>
                    <a:pt x="83" y="112"/>
                  </a:lnTo>
                  <a:lnTo>
                    <a:pt x="81" y="110"/>
                  </a:lnTo>
                  <a:lnTo>
                    <a:pt x="81" y="112"/>
                  </a:lnTo>
                  <a:lnTo>
                    <a:pt x="80" y="110"/>
                  </a:lnTo>
                  <a:lnTo>
                    <a:pt x="78" y="110"/>
                  </a:lnTo>
                  <a:lnTo>
                    <a:pt x="78" y="112"/>
                  </a:lnTo>
                  <a:lnTo>
                    <a:pt x="76" y="110"/>
                  </a:lnTo>
                  <a:lnTo>
                    <a:pt x="74" y="109"/>
                  </a:lnTo>
                  <a:lnTo>
                    <a:pt x="74" y="110"/>
                  </a:lnTo>
                  <a:lnTo>
                    <a:pt x="71" y="109"/>
                  </a:lnTo>
                  <a:lnTo>
                    <a:pt x="73" y="110"/>
                  </a:lnTo>
                  <a:lnTo>
                    <a:pt x="71" y="110"/>
                  </a:lnTo>
                  <a:lnTo>
                    <a:pt x="71" y="109"/>
                  </a:lnTo>
                  <a:lnTo>
                    <a:pt x="69" y="105"/>
                  </a:lnTo>
                  <a:lnTo>
                    <a:pt x="68" y="105"/>
                  </a:lnTo>
                  <a:lnTo>
                    <a:pt x="68" y="102"/>
                  </a:lnTo>
                  <a:lnTo>
                    <a:pt x="66" y="99"/>
                  </a:lnTo>
                  <a:lnTo>
                    <a:pt x="66" y="100"/>
                  </a:lnTo>
                  <a:lnTo>
                    <a:pt x="63" y="99"/>
                  </a:lnTo>
                  <a:lnTo>
                    <a:pt x="63" y="97"/>
                  </a:lnTo>
                  <a:lnTo>
                    <a:pt x="63" y="99"/>
                  </a:lnTo>
                  <a:lnTo>
                    <a:pt x="63" y="95"/>
                  </a:lnTo>
                  <a:lnTo>
                    <a:pt x="61" y="97"/>
                  </a:lnTo>
                  <a:lnTo>
                    <a:pt x="59" y="97"/>
                  </a:lnTo>
                  <a:lnTo>
                    <a:pt x="61" y="95"/>
                  </a:lnTo>
                  <a:lnTo>
                    <a:pt x="59" y="95"/>
                  </a:lnTo>
                  <a:lnTo>
                    <a:pt x="59" y="93"/>
                  </a:lnTo>
                  <a:lnTo>
                    <a:pt x="57" y="90"/>
                  </a:lnTo>
                  <a:lnTo>
                    <a:pt x="57" y="88"/>
                  </a:lnTo>
                  <a:lnTo>
                    <a:pt x="57" y="87"/>
                  </a:lnTo>
                  <a:lnTo>
                    <a:pt x="61" y="87"/>
                  </a:lnTo>
                  <a:lnTo>
                    <a:pt x="57" y="85"/>
                  </a:lnTo>
                  <a:lnTo>
                    <a:pt x="61" y="85"/>
                  </a:lnTo>
                  <a:lnTo>
                    <a:pt x="63" y="83"/>
                  </a:lnTo>
                  <a:lnTo>
                    <a:pt x="63" y="85"/>
                  </a:lnTo>
                  <a:lnTo>
                    <a:pt x="63" y="83"/>
                  </a:lnTo>
                  <a:lnTo>
                    <a:pt x="64" y="83"/>
                  </a:lnTo>
                  <a:lnTo>
                    <a:pt x="66" y="82"/>
                  </a:lnTo>
                  <a:lnTo>
                    <a:pt x="66" y="80"/>
                  </a:lnTo>
                  <a:lnTo>
                    <a:pt x="63" y="82"/>
                  </a:lnTo>
                  <a:lnTo>
                    <a:pt x="61" y="82"/>
                  </a:lnTo>
                  <a:lnTo>
                    <a:pt x="59" y="83"/>
                  </a:lnTo>
                  <a:lnTo>
                    <a:pt x="57" y="82"/>
                  </a:lnTo>
                  <a:lnTo>
                    <a:pt x="54" y="83"/>
                  </a:lnTo>
                  <a:lnTo>
                    <a:pt x="56" y="82"/>
                  </a:lnTo>
                  <a:lnTo>
                    <a:pt x="54" y="82"/>
                  </a:lnTo>
                  <a:lnTo>
                    <a:pt x="56" y="82"/>
                  </a:lnTo>
                  <a:lnTo>
                    <a:pt x="56" y="80"/>
                  </a:lnTo>
                  <a:lnTo>
                    <a:pt x="57" y="80"/>
                  </a:lnTo>
                  <a:lnTo>
                    <a:pt x="57" y="78"/>
                  </a:lnTo>
                  <a:lnTo>
                    <a:pt x="56" y="78"/>
                  </a:lnTo>
                  <a:lnTo>
                    <a:pt x="54" y="76"/>
                  </a:lnTo>
                  <a:lnTo>
                    <a:pt x="52" y="75"/>
                  </a:lnTo>
                  <a:lnTo>
                    <a:pt x="54" y="75"/>
                  </a:lnTo>
                  <a:lnTo>
                    <a:pt x="52" y="75"/>
                  </a:lnTo>
                  <a:lnTo>
                    <a:pt x="52" y="71"/>
                  </a:lnTo>
                  <a:lnTo>
                    <a:pt x="54" y="71"/>
                  </a:lnTo>
                  <a:lnTo>
                    <a:pt x="56" y="71"/>
                  </a:lnTo>
                  <a:lnTo>
                    <a:pt x="54" y="70"/>
                  </a:lnTo>
                  <a:lnTo>
                    <a:pt x="56" y="70"/>
                  </a:lnTo>
                  <a:lnTo>
                    <a:pt x="57" y="70"/>
                  </a:lnTo>
                  <a:lnTo>
                    <a:pt x="57" y="68"/>
                  </a:lnTo>
                  <a:lnTo>
                    <a:pt x="59" y="68"/>
                  </a:lnTo>
                  <a:lnTo>
                    <a:pt x="59" y="66"/>
                  </a:lnTo>
                  <a:lnTo>
                    <a:pt x="57" y="66"/>
                  </a:lnTo>
                  <a:lnTo>
                    <a:pt x="59" y="68"/>
                  </a:lnTo>
                  <a:lnTo>
                    <a:pt x="56" y="66"/>
                  </a:lnTo>
                  <a:lnTo>
                    <a:pt x="56" y="68"/>
                  </a:lnTo>
                  <a:lnTo>
                    <a:pt x="56" y="70"/>
                  </a:lnTo>
                  <a:lnTo>
                    <a:pt x="56" y="68"/>
                  </a:lnTo>
                  <a:lnTo>
                    <a:pt x="54" y="68"/>
                  </a:lnTo>
                  <a:lnTo>
                    <a:pt x="52" y="68"/>
                  </a:lnTo>
                  <a:lnTo>
                    <a:pt x="51" y="68"/>
                  </a:lnTo>
                  <a:lnTo>
                    <a:pt x="51" y="66"/>
                  </a:lnTo>
                  <a:lnTo>
                    <a:pt x="51" y="65"/>
                  </a:lnTo>
                  <a:lnTo>
                    <a:pt x="51" y="61"/>
                  </a:lnTo>
                  <a:lnTo>
                    <a:pt x="52" y="61"/>
                  </a:lnTo>
                  <a:lnTo>
                    <a:pt x="52" y="59"/>
                  </a:lnTo>
                  <a:lnTo>
                    <a:pt x="54" y="61"/>
                  </a:lnTo>
                  <a:lnTo>
                    <a:pt x="52" y="58"/>
                  </a:lnTo>
                  <a:lnTo>
                    <a:pt x="52" y="56"/>
                  </a:lnTo>
                  <a:lnTo>
                    <a:pt x="51" y="54"/>
                  </a:lnTo>
                  <a:lnTo>
                    <a:pt x="51" y="51"/>
                  </a:lnTo>
                  <a:lnTo>
                    <a:pt x="54" y="51"/>
                  </a:lnTo>
                  <a:lnTo>
                    <a:pt x="56" y="49"/>
                  </a:lnTo>
                  <a:lnTo>
                    <a:pt x="57" y="49"/>
                  </a:lnTo>
                  <a:lnTo>
                    <a:pt x="59" y="48"/>
                  </a:lnTo>
                  <a:lnTo>
                    <a:pt x="57" y="46"/>
                  </a:lnTo>
                  <a:lnTo>
                    <a:pt x="59" y="46"/>
                  </a:lnTo>
                  <a:lnTo>
                    <a:pt x="61" y="44"/>
                  </a:lnTo>
                  <a:lnTo>
                    <a:pt x="64" y="46"/>
                  </a:lnTo>
                  <a:lnTo>
                    <a:pt x="66" y="44"/>
                  </a:lnTo>
                  <a:lnTo>
                    <a:pt x="69" y="42"/>
                  </a:lnTo>
                  <a:lnTo>
                    <a:pt x="71" y="44"/>
                  </a:lnTo>
                  <a:lnTo>
                    <a:pt x="71" y="42"/>
                  </a:lnTo>
                  <a:lnTo>
                    <a:pt x="71" y="41"/>
                  </a:lnTo>
                  <a:lnTo>
                    <a:pt x="68" y="39"/>
                  </a:lnTo>
                  <a:lnTo>
                    <a:pt x="68" y="36"/>
                  </a:lnTo>
                  <a:lnTo>
                    <a:pt x="69" y="36"/>
                  </a:lnTo>
                  <a:lnTo>
                    <a:pt x="71" y="37"/>
                  </a:lnTo>
                  <a:lnTo>
                    <a:pt x="74" y="39"/>
                  </a:lnTo>
                  <a:lnTo>
                    <a:pt x="74" y="37"/>
                  </a:lnTo>
                  <a:lnTo>
                    <a:pt x="74" y="36"/>
                  </a:lnTo>
                  <a:lnTo>
                    <a:pt x="73" y="34"/>
                  </a:lnTo>
                  <a:lnTo>
                    <a:pt x="74" y="34"/>
                  </a:lnTo>
                  <a:lnTo>
                    <a:pt x="76" y="34"/>
                  </a:lnTo>
                  <a:lnTo>
                    <a:pt x="78" y="32"/>
                  </a:lnTo>
                  <a:lnTo>
                    <a:pt x="78" y="29"/>
                  </a:lnTo>
                  <a:lnTo>
                    <a:pt x="80" y="27"/>
                  </a:lnTo>
                  <a:lnTo>
                    <a:pt x="81" y="27"/>
                  </a:lnTo>
                  <a:lnTo>
                    <a:pt x="83" y="29"/>
                  </a:lnTo>
                  <a:lnTo>
                    <a:pt x="85" y="29"/>
                  </a:lnTo>
                  <a:lnTo>
                    <a:pt x="85" y="27"/>
                  </a:lnTo>
                  <a:lnTo>
                    <a:pt x="86" y="29"/>
                  </a:lnTo>
                  <a:lnTo>
                    <a:pt x="88" y="29"/>
                  </a:lnTo>
                  <a:lnTo>
                    <a:pt x="90" y="27"/>
                  </a:lnTo>
                  <a:lnTo>
                    <a:pt x="88" y="27"/>
                  </a:lnTo>
                  <a:lnTo>
                    <a:pt x="90" y="27"/>
                  </a:lnTo>
                  <a:lnTo>
                    <a:pt x="90" y="25"/>
                  </a:lnTo>
                  <a:lnTo>
                    <a:pt x="90" y="27"/>
                  </a:lnTo>
                  <a:lnTo>
                    <a:pt x="93" y="27"/>
                  </a:lnTo>
                  <a:lnTo>
                    <a:pt x="91" y="27"/>
                  </a:lnTo>
                  <a:lnTo>
                    <a:pt x="93" y="27"/>
                  </a:lnTo>
                  <a:lnTo>
                    <a:pt x="95" y="25"/>
                  </a:lnTo>
                  <a:lnTo>
                    <a:pt x="95" y="24"/>
                  </a:lnTo>
                  <a:lnTo>
                    <a:pt x="91" y="22"/>
                  </a:lnTo>
                  <a:lnTo>
                    <a:pt x="91" y="20"/>
                  </a:lnTo>
                  <a:lnTo>
                    <a:pt x="91" y="19"/>
                  </a:lnTo>
                  <a:lnTo>
                    <a:pt x="93" y="19"/>
                  </a:lnTo>
                  <a:lnTo>
                    <a:pt x="95" y="19"/>
                  </a:lnTo>
                  <a:lnTo>
                    <a:pt x="97" y="20"/>
                  </a:lnTo>
                  <a:lnTo>
                    <a:pt x="97" y="22"/>
                  </a:lnTo>
                  <a:lnTo>
                    <a:pt x="98" y="22"/>
                  </a:lnTo>
                  <a:lnTo>
                    <a:pt x="100" y="22"/>
                  </a:lnTo>
                  <a:lnTo>
                    <a:pt x="102" y="22"/>
                  </a:lnTo>
                  <a:lnTo>
                    <a:pt x="103" y="20"/>
                  </a:lnTo>
                  <a:lnTo>
                    <a:pt x="105" y="22"/>
                  </a:lnTo>
                  <a:lnTo>
                    <a:pt x="105" y="20"/>
                  </a:lnTo>
                  <a:lnTo>
                    <a:pt x="103" y="19"/>
                  </a:lnTo>
                  <a:lnTo>
                    <a:pt x="105" y="19"/>
                  </a:lnTo>
                  <a:lnTo>
                    <a:pt x="107" y="20"/>
                  </a:lnTo>
                  <a:lnTo>
                    <a:pt x="108" y="19"/>
                  </a:lnTo>
                  <a:lnTo>
                    <a:pt x="110" y="20"/>
                  </a:lnTo>
                  <a:lnTo>
                    <a:pt x="114" y="20"/>
                  </a:lnTo>
                  <a:lnTo>
                    <a:pt x="115" y="19"/>
                  </a:lnTo>
                  <a:lnTo>
                    <a:pt x="115" y="17"/>
                  </a:lnTo>
                  <a:lnTo>
                    <a:pt x="119" y="17"/>
                  </a:lnTo>
                  <a:lnTo>
                    <a:pt x="119" y="15"/>
                  </a:lnTo>
                  <a:lnTo>
                    <a:pt x="117" y="14"/>
                  </a:lnTo>
                  <a:lnTo>
                    <a:pt x="117" y="12"/>
                  </a:lnTo>
                  <a:lnTo>
                    <a:pt x="115" y="10"/>
                  </a:lnTo>
                  <a:lnTo>
                    <a:pt x="115" y="8"/>
                  </a:lnTo>
                  <a:lnTo>
                    <a:pt x="117" y="10"/>
                  </a:lnTo>
                  <a:lnTo>
                    <a:pt x="120" y="12"/>
                  </a:lnTo>
                  <a:lnTo>
                    <a:pt x="122" y="12"/>
                  </a:lnTo>
                  <a:lnTo>
                    <a:pt x="124" y="10"/>
                  </a:lnTo>
                  <a:lnTo>
                    <a:pt x="122" y="8"/>
                  </a:lnTo>
                  <a:lnTo>
                    <a:pt x="122" y="7"/>
                  </a:lnTo>
                  <a:lnTo>
                    <a:pt x="120" y="7"/>
                  </a:lnTo>
                  <a:lnTo>
                    <a:pt x="122" y="5"/>
                  </a:lnTo>
                  <a:lnTo>
                    <a:pt x="122" y="7"/>
                  </a:lnTo>
                  <a:lnTo>
                    <a:pt x="122" y="5"/>
                  </a:lnTo>
                  <a:lnTo>
                    <a:pt x="124" y="7"/>
                  </a:lnTo>
                  <a:lnTo>
                    <a:pt x="125" y="8"/>
                  </a:lnTo>
                  <a:lnTo>
                    <a:pt x="125" y="10"/>
                  </a:lnTo>
                  <a:lnTo>
                    <a:pt x="127" y="12"/>
                  </a:lnTo>
                  <a:lnTo>
                    <a:pt x="129" y="10"/>
                  </a:lnTo>
                  <a:lnTo>
                    <a:pt x="127" y="7"/>
                  </a:lnTo>
                  <a:lnTo>
                    <a:pt x="129" y="7"/>
                  </a:lnTo>
                  <a:lnTo>
                    <a:pt x="131" y="8"/>
                  </a:lnTo>
                  <a:lnTo>
                    <a:pt x="132" y="8"/>
                  </a:lnTo>
                  <a:lnTo>
                    <a:pt x="132" y="7"/>
                  </a:lnTo>
                  <a:lnTo>
                    <a:pt x="131" y="5"/>
                  </a:lnTo>
                  <a:lnTo>
                    <a:pt x="132" y="7"/>
                  </a:lnTo>
                  <a:lnTo>
                    <a:pt x="134" y="5"/>
                  </a:lnTo>
                  <a:lnTo>
                    <a:pt x="136" y="7"/>
                  </a:lnTo>
                  <a:lnTo>
                    <a:pt x="137" y="7"/>
                  </a:lnTo>
                  <a:lnTo>
                    <a:pt x="139" y="7"/>
                  </a:lnTo>
                  <a:lnTo>
                    <a:pt x="141" y="7"/>
                  </a:lnTo>
                  <a:lnTo>
                    <a:pt x="142" y="7"/>
                  </a:lnTo>
                  <a:lnTo>
                    <a:pt x="144" y="8"/>
                  </a:lnTo>
                  <a:lnTo>
                    <a:pt x="146" y="7"/>
                  </a:lnTo>
                  <a:lnTo>
                    <a:pt x="149" y="8"/>
                  </a:lnTo>
                  <a:lnTo>
                    <a:pt x="151" y="8"/>
                  </a:lnTo>
                  <a:lnTo>
                    <a:pt x="151" y="10"/>
                  </a:lnTo>
                  <a:lnTo>
                    <a:pt x="154" y="8"/>
                  </a:lnTo>
                  <a:lnTo>
                    <a:pt x="154" y="5"/>
                  </a:lnTo>
                  <a:lnTo>
                    <a:pt x="156" y="5"/>
                  </a:lnTo>
                  <a:lnTo>
                    <a:pt x="159" y="7"/>
                  </a:lnTo>
                  <a:lnTo>
                    <a:pt x="161" y="8"/>
                  </a:lnTo>
                  <a:lnTo>
                    <a:pt x="163" y="8"/>
                  </a:lnTo>
                  <a:lnTo>
                    <a:pt x="165" y="8"/>
                  </a:lnTo>
                  <a:lnTo>
                    <a:pt x="166" y="10"/>
                  </a:lnTo>
                  <a:lnTo>
                    <a:pt x="168" y="10"/>
                  </a:lnTo>
                  <a:lnTo>
                    <a:pt x="170" y="10"/>
                  </a:lnTo>
                  <a:lnTo>
                    <a:pt x="171" y="10"/>
                  </a:lnTo>
                  <a:lnTo>
                    <a:pt x="175" y="10"/>
                  </a:lnTo>
                  <a:lnTo>
                    <a:pt x="175" y="8"/>
                  </a:lnTo>
                  <a:lnTo>
                    <a:pt x="178" y="8"/>
                  </a:lnTo>
                  <a:lnTo>
                    <a:pt x="182" y="7"/>
                  </a:lnTo>
                  <a:lnTo>
                    <a:pt x="183" y="7"/>
                  </a:lnTo>
                  <a:lnTo>
                    <a:pt x="185" y="7"/>
                  </a:lnTo>
                  <a:lnTo>
                    <a:pt x="188" y="7"/>
                  </a:lnTo>
                  <a:lnTo>
                    <a:pt x="192" y="7"/>
                  </a:lnTo>
                  <a:lnTo>
                    <a:pt x="195" y="7"/>
                  </a:lnTo>
                  <a:lnTo>
                    <a:pt x="195" y="5"/>
                  </a:lnTo>
                  <a:lnTo>
                    <a:pt x="197" y="5"/>
                  </a:lnTo>
                  <a:lnTo>
                    <a:pt x="199" y="7"/>
                  </a:lnTo>
                  <a:lnTo>
                    <a:pt x="200" y="5"/>
                  </a:lnTo>
                  <a:lnTo>
                    <a:pt x="202" y="5"/>
                  </a:lnTo>
                  <a:lnTo>
                    <a:pt x="204" y="5"/>
                  </a:lnTo>
                  <a:lnTo>
                    <a:pt x="204" y="3"/>
                  </a:lnTo>
                  <a:lnTo>
                    <a:pt x="205" y="2"/>
                  </a:lnTo>
                  <a:lnTo>
                    <a:pt x="205" y="0"/>
                  </a:lnTo>
                  <a:close/>
                  <a:moveTo>
                    <a:pt x="47" y="90"/>
                  </a:moveTo>
                  <a:lnTo>
                    <a:pt x="49" y="92"/>
                  </a:lnTo>
                  <a:lnTo>
                    <a:pt x="51" y="92"/>
                  </a:lnTo>
                  <a:lnTo>
                    <a:pt x="52" y="92"/>
                  </a:lnTo>
                  <a:lnTo>
                    <a:pt x="52" y="95"/>
                  </a:lnTo>
                  <a:lnTo>
                    <a:pt x="56" y="97"/>
                  </a:lnTo>
                  <a:lnTo>
                    <a:pt x="56" y="99"/>
                  </a:lnTo>
                  <a:lnTo>
                    <a:pt x="56" y="100"/>
                  </a:lnTo>
                  <a:lnTo>
                    <a:pt x="56" y="102"/>
                  </a:lnTo>
                  <a:lnTo>
                    <a:pt x="54" y="102"/>
                  </a:lnTo>
                  <a:lnTo>
                    <a:pt x="54" y="100"/>
                  </a:lnTo>
                  <a:lnTo>
                    <a:pt x="52" y="99"/>
                  </a:lnTo>
                  <a:lnTo>
                    <a:pt x="52" y="100"/>
                  </a:lnTo>
                  <a:lnTo>
                    <a:pt x="51" y="100"/>
                  </a:lnTo>
                  <a:lnTo>
                    <a:pt x="51" y="102"/>
                  </a:lnTo>
                  <a:lnTo>
                    <a:pt x="51" y="100"/>
                  </a:lnTo>
                  <a:lnTo>
                    <a:pt x="49" y="102"/>
                  </a:lnTo>
                  <a:lnTo>
                    <a:pt x="49" y="100"/>
                  </a:lnTo>
                  <a:lnTo>
                    <a:pt x="47" y="99"/>
                  </a:lnTo>
                  <a:lnTo>
                    <a:pt x="46" y="100"/>
                  </a:lnTo>
                  <a:lnTo>
                    <a:pt x="47" y="102"/>
                  </a:lnTo>
                  <a:lnTo>
                    <a:pt x="47" y="104"/>
                  </a:lnTo>
                  <a:lnTo>
                    <a:pt x="49" y="102"/>
                  </a:lnTo>
                  <a:lnTo>
                    <a:pt x="51" y="104"/>
                  </a:lnTo>
                  <a:lnTo>
                    <a:pt x="52" y="104"/>
                  </a:lnTo>
                  <a:lnTo>
                    <a:pt x="52" y="105"/>
                  </a:lnTo>
                  <a:lnTo>
                    <a:pt x="54" y="104"/>
                  </a:lnTo>
                  <a:lnTo>
                    <a:pt x="54" y="105"/>
                  </a:lnTo>
                  <a:lnTo>
                    <a:pt x="54" y="107"/>
                  </a:lnTo>
                  <a:lnTo>
                    <a:pt x="54" y="105"/>
                  </a:lnTo>
                  <a:lnTo>
                    <a:pt x="51" y="105"/>
                  </a:lnTo>
                  <a:lnTo>
                    <a:pt x="51" y="107"/>
                  </a:lnTo>
                  <a:lnTo>
                    <a:pt x="52" y="107"/>
                  </a:lnTo>
                  <a:lnTo>
                    <a:pt x="51" y="109"/>
                  </a:lnTo>
                  <a:lnTo>
                    <a:pt x="51" y="107"/>
                  </a:lnTo>
                  <a:lnTo>
                    <a:pt x="49" y="107"/>
                  </a:lnTo>
                  <a:lnTo>
                    <a:pt x="51" y="105"/>
                  </a:lnTo>
                  <a:lnTo>
                    <a:pt x="49" y="105"/>
                  </a:lnTo>
                  <a:lnTo>
                    <a:pt x="49" y="107"/>
                  </a:lnTo>
                  <a:lnTo>
                    <a:pt x="49" y="105"/>
                  </a:lnTo>
                  <a:lnTo>
                    <a:pt x="47" y="107"/>
                  </a:lnTo>
                  <a:lnTo>
                    <a:pt x="49" y="107"/>
                  </a:lnTo>
                  <a:lnTo>
                    <a:pt x="47" y="109"/>
                  </a:lnTo>
                  <a:lnTo>
                    <a:pt x="47" y="110"/>
                  </a:lnTo>
                  <a:lnTo>
                    <a:pt x="47" y="109"/>
                  </a:lnTo>
                  <a:lnTo>
                    <a:pt x="46" y="110"/>
                  </a:lnTo>
                  <a:lnTo>
                    <a:pt x="47" y="112"/>
                  </a:lnTo>
                  <a:lnTo>
                    <a:pt x="46" y="112"/>
                  </a:lnTo>
                  <a:lnTo>
                    <a:pt x="46" y="114"/>
                  </a:lnTo>
                  <a:lnTo>
                    <a:pt x="44" y="114"/>
                  </a:lnTo>
                  <a:lnTo>
                    <a:pt x="42" y="114"/>
                  </a:lnTo>
                  <a:lnTo>
                    <a:pt x="42" y="116"/>
                  </a:lnTo>
                  <a:lnTo>
                    <a:pt x="42" y="117"/>
                  </a:lnTo>
                  <a:lnTo>
                    <a:pt x="42" y="119"/>
                  </a:lnTo>
                  <a:lnTo>
                    <a:pt x="40" y="119"/>
                  </a:lnTo>
                  <a:lnTo>
                    <a:pt x="39" y="119"/>
                  </a:lnTo>
                  <a:lnTo>
                    <a:pt x="40" y="119"/>
                  </a:lnTo>
                  <a:lnTo>
                    <a:pt x="39" y="121"/>
                  </a:lnTo>
                  <a:lnTo>
                    <a:pt x="39" y="122"/>
                  </a:lnTo>
                  <a:lnTo>
                    <a:pt x="35" y="122"/>
                  </a:lnTo>
                  <a:lnTo>
                    <a:pt x="34" y="122"/>
                  </a:lnTo>
                  <a:lnTo>
                    <a:pt x="34" y="124"/>
                  </a:lnTo>
                  <a:lnTo>
                    <a:pt x="35" y="124"/>
                  </a:lnTo>
                  <a:lnTo>
                    <a:pt x="37" y="126"/>
                  </a:lnTo>
                  <a:lnTo>
                    <a:pt x="35" y="126"/>
                  </a:lnTo>
                  <a:lnTo>
                    <a:pt x="34" y="126"/>
                  </a:lnTo>
                  <a:lnTo>
                    <a:pt x="32" y="127"/>
                  </a:lnTo>
                  <a:lnTo>
                    <a:pt x="32" y="124"/>
                  </a:lnTo>
                  <a:lnTo>
                    <a:pt x="30" y="127"/>
                  </a:lnTo>
                  <a:lnTo>
                    <a:pt x="30" y="126"/>
                  </a:lnTo>
                  <a:lnTo>
                    <a:pt x="29" y="127"/>
                  </a:lnTo>
                  <a:lnTo>
                    <a:pt x="29" y="124"/>
                  </a:lnTo>
                  <a:lnTo>
                    <a:pt x="29" y="127"/>
                  </a:lnTo>
                  <a:lnTo>
                    <a:pt x="27" y="126"/>
                  </a:lnTo>
                  <a:lnTo>
                    <a:pt x="25" y="127"/>
                  </a:lnTo>
                  <a:lnTo>
                    <a:pt x="23" y="127"/>
                  </a:lnTo>
                  <a:lnTo>
                    <a:pt x="23" y="129"/>
                  </a:lnTo>
                  <a:lnTo>
                    <a:pt x="22" y="129"/>
                  </a:lnTo>
                  <a:lnTo>
                    <a:pt x="20" y="129"/>
                  </a:lnTo>
                  <a:lnTo>
                    <a:pt x="18" y="133"/>
                  </a:lnTo>
                  <a:lnTo>
                    <a:pt x="20" y="134"/>
                  </a:lnTo>
                  <a:lnTo>
                    <a:pt x="20" y="138"/>
                  </a:lnTo>
                  <a:lnTo>
                    <a:pt x="18" y="139"/>
                  </a:lnTo>
                  <a:lnTo>
                    <a:pt x="20" y="141"/>
                  </a:lnTo>
                  <a:lnTo>
                    <a:pt x="18" y="144"/>
                  </a:lnTo>
                  <a:lnTo>
                    <a:pt x="20" y="146"/>
                  </a:lnTo>
                  <a:lnTo>
                    <a:pt x="18" y="146"/>
                  </a:lnTo>
                  <a:lnTo>
                    <a:pt x="17" y="148"/>
                  </a:lnTo>
                  <a:lnTo>
                    <a:pt x="15" y="151"/>
                  </a:lnTo>
                  <a:lnTo>
                    <a:pt x="13" y="151"/>
                  </a:lnTo>
                  <a:lnTo>
                    <a:pt x="13" y="150"/>
                  </a:lnTo>
                  <a:lnTo>
                    <a:pt x="12" y="150"/>
                  </a:lnTo>
                  <a:lnTo>
                    <a:pt x="12" y="148"/>
                  </a:lnTo>
                  <a:lnTo>
                    <a:pt x="13" y="146"/>
                  </a:lnTo>
                  <a:lnTo>
                    <a:pt x="13" y="144"/>
                  </a:lnTo>
                  <a:lnTo>
                    <a:pt x="13" y="143"/>
                  </a:lnTo>
                  <a:lnTo>
                    <a:pt x="13" y="139"/>
                  </a:lnTo>
                  <a:lnTo>
                    <a:pt x="15" y="139"/>
                  </a:lnTo>
                  <a:lnTo>
                    <a:pt x="17" y="141"/>
                  </a:lnTo>
                  <a:lnTo>
                    <a:pt x="17" y="138"/>
                  </a:lnTo>
                  <a:lnTo>
                    <a:pt x="18" y="134"/>
                  </a:lnTo>
                  <a:lnTo>
                    <a:pt x="15" y="134"/>
                  </a:lnTo>
                  <a:lnTo>
                    <a:pt x="15" y="133"/>
                  </a:lnTo>
                  <a:lnTo>
                    <a:pt x="13" y="133"/>
                  </a:lnTo>
                  <a:lnTo>
                    <a:pt x="12" y="133"/>
                  </a:lnTo>
                  <a:lnTo>
                    <a:pt x="12" y="131"/>
                  </a:lnTo>
                  <a:lnTo>
                    <a:pt x="8" y="129"/>
                  </a:lnTo>
                  <a:lnTo>
                    <a:pt x="5" y="129"/>
                  </a:lnTo>
                  <a:lnTo>
                    <a:pt x="5" y="127"/>
                  </a:lnTo>
                  <a:lnTo>
                    <a:pt x="3" y="129"/>
                  </a:lnTo>
                  <a:lnTo>
                    <a:pt x="3" y="127"/>
                  </a:lnTo>
                  <a:lnTo>
                    <a:pt x="1" y="126"/>
                  </a:lnTo>
                  <a:lnTo>
                    <a:pt x="5" y="126"/>
                  </a:lnTo>
                  <a:lnTo>
                    <a:pt x="3" y="122"/>
                  </a:lnTo>
                  <a:lnTo>
                    <a:pt x="5" y="124"/>
                  </a:lnTo>
                  <a:lnTo>
                    <a:pt x="6" y="124"/>
                  </a:lnTo>
                  <a:lnTo>
                    <a:pt x="5" y="121"/>
                  </a:lnTo>
                  <a:lnTo>
                    <a:pt x="8" y="122"/>
                  </a:lnTo>
                  <a:lnTo>
                    <a:pt x="8" y="121"/>
                  </a:lnTo>
                  <a:lnTo>
                    <a:pt x="6" y="121"/>
                  </a:lnTo>
                  <a:lnTo>
                    <a:pt x="8" y="121"/>
                  </a:lnTo>
                  <a:lnTo>
                    <a:pt x="6" y="119"/>
                  </a:lnTo>
                  <a:lnTo>
                    <a:pt x="5" y="117"/>
                  </a:lnTo>
                  <a:lnTo>
                    <a:pt x="3" y="116"/>
                  </a:lnTo>
                  <a:lnTo>
                    <a:pt x="3" y="114"/>
                  </a:lnTo>
                  <a:lnTo>
                    <a:pt x="1" y="114"/>
                  </a:lnTo>
                  <a:lnTo>
                    <a:pt x="0" y="114"/>
                  </a:lnTo>
                  <a:lnTo>
                    <a:pt x="0" y="112"/>
                  </a:lnTo>
                  <a:lnTo>
                    <a:pt x="3" y="114"/>
                  </a:lnTo>
                  <a:lnTo>
                    <a:pt x="3" y="112"/>
                  </a:lnTo>
                  <a:lnTo>
                    <a:pt x="3" y="110"/>
                  </a:lnTo>
                  <a:lnTo>
                    <a:pt x="5" y="110"/>
                  </a:lnTo>
                  <a:lnTo>
                    <a:pt x="6" y="110"/>
                  </a:lnTo>
                  <a:lnTo>
                    <a:pt x="8" y="114"/>
                  </a:lnTo>
                  <a:lnTo>
                    <a:pt x="10" y="116"/>
                  </a:lnTo>
                  <a:lnTo>
                    <a:pt x="12" y="116"/>
                  </a:lnTo>
                  <a:lnTo>
                    <a:pt x="10" y="114"/>
                  </a:lnTo>
                  <a:lnTo>
                    <a:pt x="10" y="112"/>
                  </a:lnTo>
                  <a:lnTo>
                    <a:pt x="12" y="110"/>
                  </a:lnTo>
                  <a:lnTo>
                    <a:pt x="13" y="109"/>
                  </a:lnTo>
                  <a:lnTo>
                    <a:pt x="13" y="107"/>
                  </a:lnTo>
                  <a:lnTo>
                    <a:pt x="15" y="109"/>
                  </a:lnTo>
                  <a:lnTo>
                    <a:pt x="15" y="110"/>
                  </a:lnTo>
                  <a:lnTo>
                    <a:pt x="17" y="110"/>
                  </a:lnTo>
                  <a:lnTo>
                    <a:pt x="17" y="107"/>
                  </a:lnTo>
                  <a:lnTo>
                    <a:pt x="15" y="104"/>
                  </a:lnTo>
                  <a:lnTo>
                    <a:pt x="17" y="105"/>
                  </a:lnTo>
                  <a:lnTo>
                    <a:pt x="18" y="104"/>
                  </a:lnTo>
                  <a:lnTo>
                    <a:pt x="20" y="104"/>
                  </a:lnTo>
                  <a:lnTo>
                    <a:pt x="22" y="102"/>
                  </a:lnTo>
                  <a:lnTo>
                    <a:pt x="23" y="100"/>
                  </a:lnTo>
                  <a:lnTo>
                    <a:pt x="23" y="99"/>
                  </a:lnTo>
                  <a:lnTo>
                    <a:pt x="25" y="99"/>
                  </a:lnTo>
                  <a:lnTo>
                    <a:pt x="27" y="100"/>
                  </a:lnTo>
                  <a:lnTo>
                    <a:pt x="29" y="102"/>
                  </a:lnTo>
                  <a:lnTo>
                    <a:pt x="30" y="100"/>
                  </a:lnTo>
                  <a:lnTo>
                    <a:pt x="32" y="102"/>
                  </a:lnTo>
                  <a:lnTo>
                    <a:pt x="32" y="99"/>
                  </a:lnTo>
                  <a:lnTo>
                    <a:pt x="34" y="97"/>
                  </a:lnTo>
                  <a:lnTo>
                    <a:pt x="35" y="99"/>
                  </a:lnTo>
                  <a:lnTo>
                    <a:pt x="35" y="97"/>
                  </a:lnTo>
                  <a:lnTo>
                    <a:pt x="39" y="97"/>
                  </a:lnTo>
                  <a:lnTo>
                    <a:pt x="42" y="99"/>
                  </a:lnTo>
                  <a:lnTo>
                    <a:pt x="44" y="99"/>
                  </a:lnTo>
                  <a:lnTo>
                    <a:pt x="44" y="100"/>
                  </a:lnTo>
                  <a:lnTo>
                    <a:pt x="47" y="100"/>
                  </a:lnTo>
                  <a:lnTo>
                    <a:pt x="47" y="99"/>
                  </a:lnTo>
                  <a:lnTo>
                    <a:pt x="44" y="99"/>
                  </a:lnTo>
                  <a:lnTo>
                    <a:pt x="44" y="97"/>
                  </a:lnTo>
                  <a:lnTo>
                    <a:pt x="46" y="95"/>
                  </a:lnTo>
                  <a:lnTo>
                    <a:pt x="46" y="93"/>
                  </a:lnTo>
                  <a:lnTo>
                    <a:pt x="46" y="92"/>
                  </a:lnTo>
                  <a:lnTo>
                    <a:pt x="47" y="90"/>
                  </a:lnTo>
                  <a:close/>
                  <a:moveTo>
                    <a:pt x="20" y="66"/>
                  </a:moveTo>
                  <a:lnTo>
                    <a:pt x="22" y="66"/>
                  </a:lnTo>
                  <a:lnTo>
                    <a:pt x="23" y="68"/>
                  </a:lnTo>
                  <a:lnTo>
                    <a:pt x="23" y="70"/>
                  </a:lnTo>
                  <a:lnTo>
                    <a:pt x="25" y="71"/>
                  </a:lnTo>
                  <a:lnTo>
                    <a:pt x="27" y="71"/>
                  </a:lnTo>
                  <a:lnTo>
                    <a:pt x="30" y="71"/>
                  </a:lnTo>
                  <a:lnTo>
                    <a:pt x="32" y="73"/>
                  </a:lnTo>
                  <a:lnTo>
                    <a:pt x="34" y="71"/>
                  </a:lnTo>
                  <a:lnTo>
                    <a:pt x="34" y="75"/>
                  </a:lnTo>
                  <a:lnTo>
                    <a:pt x="37" y="76"/>
                  </a:lnTo>
                  <a:lnTo>
                    <a:pt x="39" y="78"/>
                  </a:lnTo>
                  <a:lnTo>
                    <a:pt x="39" y="80"/>
                  </a:lnTo>
                  <a:lnTo>
                    <a:pt x="40" y="82"/>
                  </a:lnTo>
                  <a:lnTo>
                    <a:pt x="39" y="82"/>
                  </a:lnTo>
                  <a:lnTo>
                    <a:pt x="37" y="82"/>
                  </a:lnTo>
                  <a:lnTo>
                    <a:pt x="35" y="82"/>
                  </a:lnTo>
                  <a:lnTo>
                    <a:pt x="37" y="83"/>
                  </a:lnTo>
                  <a:lnTo>
                    <a:pt x="35" y="82"/>
                  </a:lnTo>
                  <a:lnTo>
                    <a:pt x="35" y="83"/>
                  </a:lnTo>
                  <a:lnTo>
                    <a:pt x="34" y="83"/>
                  </a:lnTo>
                  <a:lnTo>
                    <a:pt x="32" y="83"/>
                  </a:lnTo>
                  <a:lnTo>
                    <a:pt x="34" y="83"/>
                  </a:lnTo>
                  <a:lnTo>
                    <a:pt x="34" y="85"/>
                  </a:lnTo>
                  <a:lnTo>
                    <a:pt x="32" y="87"/>
                  </a:lnTo>
                  <a:lnTo>
                    <a:pt x="32" y="88"/>
                  </a:lnTo>
                  <a:lnTo>
                    <a:pt x="32" y="87"/>
                  </a:lnTo>
                  <a:lnTo>
                    <a:pt x="30" y="87"/>
                  </a:lnTo>
                  <a:lnTo>
                    <a:pt x="29" y="85"/>
                  </a:lnTo>
                  <a:lnTo>
                    <a:pt x="30" y="87"/>
                  </a:lnTo>
                  <a:lnTo>
                    <a:pt x="32" y="83"/>
                  </a:lnTo>
                  <a:lnTo>
                    <a:pt x="30" y="85"/>
                  </a:lnTo>
                  <a:lnTo>
                    <a:pt x="29" y="87"/>
                  </a:lnTo>
                  <a:lnTo>
                    <a:pt x="29" y="88"/>
                  </a:lnTo>
                  <a:lnTo>
                    <a:pt x="29" y="92"/>
                  </a:lnTo>
                  <a:lnTo>
                    <a:pt x="27" y="93"/>
                  </a:lnTo>
                  <a:lnTo>
                    <a:pt x="23" y="95"/>
                  </a:lnTo>
                  <a:lnTo>
                    <a:pt x="22" y="93"/>
                  </a:lnTo>
                  <a:lnTo>
                    <a:pt x="20" y="93"/>
                  </a:lnTo>
                  <a:lnTo>
                    <a:pt x="22" y="92"/>
                  </a:lnTo>
                  <a:lnTo>
                    <a:pt x="20" y="90"/>
                  </a:lnTo>
                  <a:lnTo>
                    <a:pt x="18" y="88"/>
                  </a:lnTo>
                  <a:lnTo>
                    <a:pt x="18" y="87"/>
                  </a:lnTo>
                  <a:lnTo>
                    <a:pt x="18" y="85"/>
                  </a:lnTo>
                  <a:lnTo>
                    <a:pt x="17" y="83"/>
                  </a:lnTo>
                  <a:lnTo>
                    <a:pt x="15" y="82"/>
                  </a:lnTo>
                  <a:lnTo>
                    <a:pt x="13" y="83"/>
                  </a:lnTo>
                  <a:lnTo>
                    <a:pt x="12" y="82"/>
                  </a:lnTo>
                  <a:lnTo>
                    <a:pt x="12" y="83"/>
                  </a:lnTo>
                  <a:lnTo>
                    <a:pt x="10" y="83"/>
                  </a:lnTo>
                  <a:lnTo>
                    <a:pt x="8" y="83"/>
                  </a:lnTo>
                  <a:lnTo>
                    <a:pt x="6" y="82"/>
                  </a:lnTo>
                  <a:lnTo>
                    <a:pt x="3" y="82"/>
                  </a:lnTo>
                  <a:lnTo>
                    <a:pt x="3" y="80"/>
                  </a:lnTo>
                  <a:lnTo>
                    <a:pt x="5" y="80"/>
                  </a:lnTo>
                  <a:lnTo>
                    <a:pt x="8" y="80"/>
                  </a:lnTo>
                  <a:lnTo>
                    <a:pt x="10" y="78"/>
                  </a:lnTo>
                  <a:lnTo>
                    <a:pt x="12" y="78"/>
                  </a:lnTo>
                  <a:lnTo>
                    <a:pt x="13" y="78"/>
                  </a:lnTo>
                  <a:lnTo>
                    <a:pt x="15" y="78"/>
                  </a:lnTo>
                  <a:lnTo>
                    <a:pt x="15" y="76"/>
                  </a:lnTo>
                  <a:lnTo>
                    <a:pt x="17" y="76"/>
                  </a:lnTo>
                  <a:lnTo>
                    <a:pt x="17" y="75"/>
                  </a:lnTo>
                  <a:lnTo>
                    <a:pt x="18" y="75"/>
                  </a:lnTo>
                  <a:lnTo>
                    <a:pt x="17" y="71"/>
                  </a:lnTo>
                  <a:lnTo>
                    <a:pt x="18" y="71"/>
                  </a:lnTo>
                  <a:lnTo>
                    <a:pt x="20" y="71"/>
                  </a:lnTo>
                  <a:lnTo>
                    <a:pt x="20" y="70"/>
                  </a:lnTo>
                  <a:lnTo>
                    <a:pt x="20" y="66"/>
                  </a:lnTo>
                  <a:close/>
                  <a:moveTo>
                    <a:pt x="42" y="66"/>
                  </a:moveTo>
                  <a:lnTo>
                    <a:pt x="44" y="66"/>
                  </a:lnTo>
                  <a:lnTo>
                    <a:pt x="46" y="68"/>
                  </a:lnTo>
                  <a:lnTo>
                    <a:pt x="47" y="65"/>
                  </a:lnTo>
                  <a:lnTo>
                    <a:pt x="47" y="66"/>
                  </a:lnTo>
                  <a:lnTo>
                    <a:pt x="51" y="68"/>
                  </a:lnTo>
                  <a:lnTo>
                    <a:pt x="49" y="70"/>
                  </a:lnTo>
                  <a:lnTo>
                    <a:pt x="47" y="70"/>
                  </a:lnTo>
                  <a:lnTo>
                    <a:pt x="47" y="71"/>
                  </a:lnTo>
                  <a:lnTo>
                    <a:pt x="44" y="70"/>
                  </a:lnTo>
                  <a:lnTo>
                    <a:pt x="44" y="71"/>
                  </a:lnTo>
                  <a:lnTo>
                    <a:pt x="42" y="71"/>
                  </a:lnTo>
                  <a:lnTo>
                    <a:pt x="44" y="71"/>
                  </a:lnTo>
                  <a:lnTo>
                    <a:pt x="42" y="71"/>
                  </a:lnTo>
                  <a:lnTo>
                    <a:pt x="40" y="68"/>
                  </a:lnTo>
                  <a:lnTo>
                    <a:pt x="40" y="66"/>
                  </a:lnTo>
                  <a:lnTo>
                    <a:pt x="42" y="66"/>
                  </a:lnTo>
                  <a:close/>
                  <a:moveTo>
                    <a:pt x="81" y="19"/>
                  </a:moveTo>
                  <a:lnTo>
                    <a:pt x="83" y="19"/>
                  </a:lnTo>
                  <a:lnTo>
                    <a:pt x="83" y="22"/>
                  </a:lnTo>
                  <a:lnTo>
                    <a:pt x="81" y="22"/>
                  </a:lnTo>
                  <a:lnTo>
                    <a:pt x="80" y="20"/>
                  </a:lnTo>
                  <a:lnTo>
                    <a:pt x="81" y="19"/>
                  </a:lnTo>
                  <a:close/>
                  <a:moveTo>
                    <a:pt x="83" y="122"/>
                  </a:moveTo>
                  <a:lnTo>
                    <a:pt x="85" y="124"/>
                  </a:lnTo>
                  <a:lnTo>
                    <a:pt x="83" y="126"/>
                  </a:lnTo>
                  <a:lnTo>
                    <a:pt x="81" y="124"/>
                  </a:lnTo>
                  <a:lnTo>
                    <a:pt x="81" y="122"/>
                  </a:lnTo>
                  <a:lnTo>
                    <a:pt x="83" y="122"/>
                  </a:lnTo>
                  <a:close/>
                  <a:moveTo>
                    <a:pt x="66" y="39"/>
                  </a:moveTo>
                  <a:lnTo>
                    <a:pt x="68" y="41"/>
                  </a:lnTo>
                  <a:lnTo>
                    <a:pt x="66" y="42"/>
                  </a:lnTo>
                  <a:lnTo>
                    <a:pt x="66" y="41"/>
                  </a:lnTo>
                  <a:lnTo>
                    <a:pt x="64" y="41"/>
                  </a:lnTo>
                  <a:lnTo>
                    <a:pt x="64" y="39"/>
                  </a:lnTo>
                  <a:lnTo>
                    <a:pt x="66" y="39"/>
                  </a:lnTo>
                  <a:close/>
                  <a:moveTo>
                    <a:pt x="64" y="41"/>
                  </a:moveTo>
                  <a:lnTo>
                    <a:pt x="66" y="41"/>
                  </a:lnTo>
                  <a:lnTo>
                    <a:pt x="66" y="42"/>
                  </a:lnTo>
                  <a:lnTo>
                    <a:pt x="64" y="42"/>
                  </a:lnTo>
                  <a:lnTo>
                    <a:pt x="63" y="41"/>
                  </a:lnTo>
                  <a:lnTo>
                    <a:pt x="64" y="41"/>
                  </a:lnTo>
                  <a:close/>
                  <a:moveTo>
                    <a:pt x="59" y="150"/>
                  </a:moveTo>
                  <a:lnTo>
                    <a:pt x="61" y="151"/>
                  </a:lnTo>
                  <a:lnTo>
                    <a:pt x="61" y="153"/>
                  </a:lnTo>
                  <a:lnTo>
                    <a:pt x="59" y="153"/>
                  </a:lnTo>
                  <a:lnTo>
                    <a:pt x="59" y="150"/>
                  </a:lnTo>
                  <a:close/>
                  <a:moveTo>
                    <a:pt x="5" y="119"/>
                  </a:moveTo>
                  <a:lnTo>
                    <a:pt x="5" y="121"/>
                  </a:lnTo>
                  <a:lnTo>
                    <a:pt x="3" y="121"/>
                  </a:lnTo>
                  <a:lnTo>
                    <a:pt x="1" y="121"/>
                  </a:lnTo>
                  <a:lnTo>
                    <a:pt x="0" y="121"/>
                  </a:lnTo>
                  <a:lnTo>
                    <a:pt x="3" y="121"/>
                  </a:lnTo>
                  <a:lnTo>
                    <a:pt x="3" y="119"/>
                  </a:lnTo>
                  <a:lnTo>
                    <a:pt x="5" y="119"/>
                  </a:lnTo>
                  <a:close/>
                  <a:moveTo>
                    <a:pt x="29" y="131"/>
                  </a:moveTo>
                  <a:lnTo>
                    <a:pt x="30" y="133"/>
                  </a:lnTo>
                  <a:lnTo>
                    <a:pt x="29" y="134"/>
                  </a:lnTo>
                  <a:lnTo>
                    <a:pt x="27" y="133"/>
                  </a:lnTo>
                  <a:lnTo>
                    <a:pt x="29" y="131"/>
                  </a:lnTo>
                  <a:close/>
                  <a:moveTo>
                    <a:pt x="207" y="78"/>
                  </a:moveTo>
                  <a:lnTo>
                    <a:pt x="205" y="80"/>
                  </a:lnTo>
                  <a:lnTo>
                    <a:pt x="204" y="78"/>
                  </a:lnTo>
                  <a:lnTo>
                    <a:pt x="207" y="78"/>
                  </a:lnTo>
                  <a:close/>
                  <a:moveTo>
                    <a:pt x="97" y="12"/>
                  </a:moveTo>
                  <a:lnTo>
                    <a:pt x="98" y="12"/>
                  </a:lnTo>
                  <a:lnTo>
                    <a:pt x="100" y="14"/>
                  </a:lnTo>
                  <a:lnTo>
                    <a:pt x="98" y="14"/>
                  </a:lnTo>
                  <a:lnTo>
                    <a:pt x="98" y="15"/>
                  </a:lnTo>
                  <a:lnTo>
                    <a:pt x="98" y="14"/>
                  </a:lnTo>
                  <a:lnTo>
                    <a:pt x="97" y="12"/>
                  </a:lnTo>
                  <a:close/>
                  <a:moveTo>
                    <a:pt x="46" y="48"/>
                  </a:moveTo>
                  <a:lnTo>
                    <a:pt x="47" y="48"/>
                  </a:lnTo>
                  <a:lnTo>
                    <a:pt x="47" y="49"/>
                  </a:lnTo>
                  <a:lnTo>
                    <a:pt x="46" y="48"/>
                  </a:lnTo>
                  <a:close/>
                  <a:moveTo>
                    <a:pt x="37" y="75"/>
                  </a:moveTo>
                  <a:lnTo>
                    <a:pt x="39" y="75"/>
                  </a:lnTo>
                  <a:lnTo>
                    <a:pt x="39" y="76"/>
                  </a:lnTo>
                  <a:lnTo>
                    <a:pt x="37" y="76"/>
                  </a:lnTo>
                  <a:lnTo>
                    <a:pt x="37" y="75"/>
                  </a:lnTo>
                  <a:close/>
                  <a:moveTo>
                    <a:pt x="54" y="78"/>
                  </a:moveTo>
                  <a:lnTo>
                    <a:pt x="56" y="78"/>
                  </a:lnTo>
                  <a:lnTo>
                    <a:pt x="56" y="80"/>
                  </a:lnTo>
                  <a:lnTo>
                    <a:pt x="54" y="80"/>
                  </a:lnTo>
                  <a:lnTo>
                    <a:pt x="54" y="78"/>
                  </a:lnTo>
                  <a:close/>
                  <a:moveTo>
                    <a:pt x="90" y="17"/>
                  </a:moveTo>
                  <a:lnTo>
                    <a:pt x="91" y="17"/>
                  </a:lnTo>
                  <a:lnTo>
                    <a:pt x="91" y="19"/>
                  </a:lnTo>
                  <a:lnTo>
                    <a:pt x="90" y="19"/>
                  </a:lnTo>
                  <a:lnTo>
                    <a:pt x="90" y="17"/>
                  </a:lnTo>
                  <a:close/>
                  <a:moveTo>
                    <a:pt x="40" y="95"/>
                  </a:moveTo>
                  <a:lnTo>
                    <a:pt x="42" y="95"/>
                  </a:lnTo>
                  <a:lnTo>
                    <a:pt x="40" y="95"/>
                  </a:lnTo>
                  <a:close/>
                  <a:moveTo>
                    <a:pt x="85" y="116"/>
                  </a:moveTo>
                  <a:lnTo>
                    <a:pt x="86" y="116"/>
                  </a:lnTo>
                  <a:lnTo>
                    <a:pt x="88" y="117"/>
                  </a:lnTo>
                  <a:lnTo>
                    <a:pt x="86" y="117"/>
                  </a:lnTo>
                  <a:lnTo>
                    <a:pt x="85" y="116"/>
                  </a:lnTo>
                  <a:close/>
                  <a:moveTo>
                    <a:pt x="30" y="127"/>
                  </a:moveTo>
                  <a:lnTo>
                    <a:pt x="32" y="127"/>
                  </a:lnTo>
                  <a:lnTo>
                    <a:pt x="32" y="129"/>
                  </a:lnTo>
                  <a:lnTo>
                    <a:pt x="30" y="129"/>
                  </a:lnTo>
                  <a:lnTo>
                    <a:pt x="30" y="127"/>
                  </a:lnTo>
                  <a:close/>
                  <a:moveTo>
                    <a:pt x="37" y="83"/>
                  </a:moveTo>
                  <a:lnTo>
                    <a:pt x="39" y="83"/>
                  </a:lnTo>
                  <a:lnTo>
                    <a:pt x="39" y="85"/>
                  </a:lnTo>
                  <a:lnTo>
                    <a:pt x="37" y="83"/>
                  </a:lnTo>
                  <a:close/>
                  <a:moveTo>
                    <a:pt x="40" y="82"/>
                  </a:moveTo>
                  <a:lnTo>
                    <a:pt x="40" y="83"/>
                  </a:lnTo>
                  <a:lnTo>
                    <a:pt x="40" y="82"/>
                  </a:lnTo>
                  <a:close/>
                  <a:moveTo>
                    <a:pt x="105" y="15"/>
                  </a:moveTo>
                  <a:lnTo>
                    <a:pt x="107" y="15"/>
                  </a:lnTo>
                  <a:lnTo>
                    <a:pt x="105" y="15"/>
                  </a:lnTo>
                  <a:close/>
                  <a:moveTo>
                    <a:pt x="73" y="110"/>
                  </a:moveTo>
                  <a:lnTo>
                    <a:pt x="73" y="112"/>
                  </a:lnTo>
                  <a:lnTo>
                    <a:pt x="73" y="110"/>
                  </a:lnTo>
                  <a:close/>
                  <a:moveTo>
                    <a:pt x="51" y="71"/>
                  </a:moveTo>
                  <a:lnTo>
                    <a:pt x="51" y="73"/>
                  </a:lnTo>
                  <a:lnTo>
                    <a:pt x="51" y="71"/>
                  </a:lnTo>
                  <a:close/>
                  <a:moveTo>
                    <a:pt x="27" y="133"/>
                  </a:moveTo>
                  <a:lnTo>
                    <a:pt x="29" y="134"/>
                  </a:lnTo>
                  <a:lnTo>
                    <a:pt x="27" y="134"/>
                  </a:lnTo>
                  <a:lnTo>
                    <a:pt x="27" y="133"/>
                  </a:lnTo>
                  <a:close/>
                  <a:moveTo>
                    <a:pt x="124" y="3"/>
                  </a:moveTo>
                  <a:lnTo>
                    <a:pt x="125" y="3"/>
                  </a:lnTo>
                  <a:lnTo>
                    <a:pt x="124" y="3"/>
                  </a:lnTo>
                  <a:close/>
                  <a:moveTo>
                    <a:pt x="102" y="14"/>
                  </a:moveTo>
                  <a:lnTo>
                    <a:pt x="102" y="15"/>
                  </a:lnTo>
                  <a:lnTo>
                    <a:pt x="102" y="1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08" name="Freeform 38">
              <a:extLst>
                <a:ext uri="{FF2B5EF4-FFF2-40B4-BE49-F238E27FC236}">
                  <a16:creationId xmlns:a16="http://schemas.microsoft.com/office/drawing/2014/main" id="{70AF1898-1E63-4D12-80B3-577E3E1F0470}"/>
                </a:ext>
              </a:extLst>
            </p:cNvPr>
            <p:cNvSpPr>
              <a:spLocks noEditPoints="1"/>
            </p:cNvSpPr>
            <p:nvPr/>
          </p:nvSpPr>
          <p:spPr bwMode="gray">
            <a:xfrm>
              <a:off x="9533793" y="-3348620"/>
              <a:ext cx="5015921" cy="8079393"/>
            </a:xfrm>
            <a:custGeom>
              <a:avLst/>
              <a:gdLst>
                <a:gd name="T0" fmla="*/ 1384 w 1693"/>
                <a:gd name="T1" fmla="*/ 2659 h 2727"/>
                <a:gd name="T2" fmla="*/ 1152 w 1693"/>
                <a:gd name="T3" fmla="*/ 2703 h 2727"/>
                <a:gd name="T4" fmla="*/ 904 w 1693"/>
                <a:gd name="T5" fmla="*/ 2671 h 2727"/>
                <a:gd name="T6" fmla="*/ 925 w 1693"/>
                <a:gd name="T7" fmla="*/ 2555 h 2727"/>
                <a:gd name="T8" fmla="*/ 952 w 1693"/>
                <a:gd name="T9" fmla="*/ 2450 h 2727"/>
                <a:gd name="T10" fmla="*/ 891 w 1693"/>
                <a:gd name="T11" fmla="*/ 2326 h 2727"/>
                <a:gd name="T12" fmla="*/ 705 w 1693"/>
                <a:gd name="T13" fmla="*/ 2321 h 2727"/>
                <a:gd name="T14" fmla="*/ 563 w 1693"/>
                <a:gd name="T15" fmla="*/ 2268 h 2727"/>
                <a:gd name="T16" fmla="*/ 535 w 1693"/>
                <a:gd name="T17" fmla="*/ 2190 h 2727"/>
                <a:gd name="T18" fmla="*/ 420 w 1693"/>
                <a:gd name="T19" fmla="*/ 2067 h 2727"/>
                <a:gd name="T20" fmla="*/ 274 w 1693"/>
                <a:gd name="T21" fmla="*/ 1982 h 2727"/>
                <a:gd name="T22" fmla="*/ 246 w 1693"/>
                <a:gd name="T23" fmla="*/ 1826 h 2727"/>
                <a:gd name="T24" fmla="*/ 248 w 1693"/>
                <a:gd name="T25" fmla="*/ 1742 h 2727"/>
                <a:gd name="T26" fmla="*/ 284 w 1693"/>
                <a:gd name="T27" fmla="*/ 1559 h 2727"/>
                <a:gd name="T28" fmla="*/ 144 w 1693"/>
                <a:gd name="T29" fmla="*/ 1297 h 2727"/>
                <a:gd name="T30" fmla="*/ 156 w 1693"/>
                <a:gd name="T31" fmla="*/ 1089 h 2727"/>
                <a:gd name="T32" fmla="*/ 211 w 1693"/>
                <a:gd name="T33" fmla="*/ 1127 h 2727"/>
                <a:gd name="T34" fmla="*/ 325 w 1693"/>
                <a:gd name="T35" fmla="*/ 1115 h 2727"/>
                <a:gd name="T36" fmla="*/ 466 w 1693"/>
                <a:gd name="T37" fmla="*/ 1227 h 2727"/>
                <a:gd name="T38" fmla="*/ 253 w 1693"/>
                <a:gd name="T39" fmla="*/ 1283 h 2727"/>
                <a:gd name="T40" fmla="*/ 325 w 1693"/>
                <a:gd name="T41" fmla="*/ 1343 h 2727"/>
                <a:gd name="T42" fmla="*/ 427 w 1693"/>
                <a:gd name="T43" fmla="*/ 1448 h 2727"/>
                <a:gd name="T44" fmla="*/ 457 w 1693"/>
                <a:gd name="T45" fmla="*/ 1372 h 2727"/>
                <a:gd name="T46" fmla="*/ 546 w 1693"/>
                <a:gd name="T47" fmla="*/ 1150 h 2727"/>
                <a:gd name="T48" fmla="*/ 585 w 1693"/>
                <a:gd name="T49" fmla="*/ 1138 h 2727"/>
                <a:gd name="T50" fmla="*/ 682 w 1693"/>
                <a:gd name="T51" fmla="*/ 939 h 2727"/>
                <a:gd name="T52" fmla="*/ 748 w 1693"/>
                <a:gd name="T53" fmla="*/ 892 h 2727"/>
                <a:gd name="T54" fmla="*/ 812 w 1693"/>
                <a:gd name="T55" fmla="*/ 727 h 2727"/>
                <a:gd name="T56" fmla="*/ 1018 w 1693"/>
                <a:gd name="T57" fmla="*/ 807 h 2727"/>
                <a:gd name="T58" fmla="*/ 1127 w 1693"/>
                <a:gd name="T59" fmla="*/ 1193 h 2727"/>
                <a:gd name="T60" fmla="*/ 1283 w 1693"/>
                <a:gd name="T61" fmla="*/ 1465 h 2727"/>
                <a:gd name="T62" fmla="*/ 1404 w 1693"/>
                <a:gd name="T63" fmla="*/ 1540 h 2727"/>
                <a:gd name="T64" fmla="*/ 1368 w 1693"/>
                <a:gd name="T65" fmla="*/ 1630 h 2727"/>
                <a:gd name="T66" fmla="*/ 1535 w 1693"/>
                <a:gd name="T67" fmla="*/ 1727 h 2727"/>
                <a:gd name="T68" fmla="*/ 1640 w 1693"/>
                <a:gd name="T69" fmla="*/ 1815 h 2727"/>
                <a:gd name="T70" fmla="*/ 1494 w 1693"/>
                <a:gd name="T71" fmla="*/ 1916 h 2727"/>
                <a:gd name="T72" fmla="*/ 1346 w 1693"/>
                <a:gd name="T73" fmla="*/ 1938 h 2727"/>
                <a:gd name="T74" fmla="*/ 1237 w 1693"/>
                <a:gd name="T75" fmla="*/ 2088 h 2727"/>
                <a:gd name="T76" fmla="*/ 1275 w 1693"/>
                <a:gd name="T77" fmla="*/ 2273 h 2727"/>
                <a:gd name="T78" fmla="*/ 1402 w 1693"/>
                <a:gd name="T79" fmla="*/ 2384 h 2727"/>
                <a:gd name="T80" fmla="*/ 1378 w 1693"/>
                <a:gd name="T81" fmla="*/ 2482 h 2727"/>
                <a:gd name="T82" fmla="*/ 1514 w 1693"/>
                <a:gd name="T83" fmla="*/ 2601 h 2727"/>
                <a:gd name="T84" fmla="*/ 539 w 1693"/>
                <a:gd name="T85" fmla="*/ 422 h 2727"/>
                <a:gd name="T86" fmla="*/ 540 w 1693"/>
                <a:gd name="T87" fmla="*/ 538 h 2727"/>
                <a:gd name="T88" fmla="*/ 605 w 1693"/>
                <a:gd name="T89" fmla="*/ 701 h 2727"/>
                <a:gd name="T90" fmla="*/ 665 w 1693"/>
                <a:gd name="T91" fmla="*/ 761 h 2727"/>
                <a:gd name="T92" fmla="*/ 600 w 1693"/>
                <a:gd name="T93" fmla="*/ 761 h 2727"/>
                <a:gd name="T94" fmla="*/ 551 w 1693"/>
                <a:gd name="T95" fmla="*/ 768 h 2727"/>
                <a:gd name="T96" fmla="*/ 515 w 1693"/>
                <a:gd name="T97" fmla="*/ 616 h 2727"/>
                <a:gd name="T98" fmla="*/ 486 w 1693"/>
                <a:gd name="T99" fmla="*/ 516 h 2727"/>
                <a:gd name="T100" fmla="*/ 476 w 1693"/>
                <a:gd name="T101" fmla="*/ 380 h 2727"/>
                <a:gd name="T102" fmla="*/ 90 w 1693"/>
                <a:gd name="T103" fmla="*/ 2236 h 2727"/>
                <a:gd name="T104" fmla="*/ 58 w 1693"/>
                <a:gd name="T105" fmla="*/ 2197 h 2727"/>
                <a:gd name="T106" fmla="*/ 134 w 1693"/>
                <a:gd name="T107" fmla="*/ 223 h 2727"/>
                <a:gd name="T108" fmla="*/ 603 w 1693"/>
                <a:gd name="T109" fmla="*/ 962 h 2727"/>
                <a:gd name="T110" fmla="*/ 200 w 1693"/>
                <a:gd name="T111" fmla="*/ 120 h 2727"/>
                <a:gd name="T112" fmla="*/ 277 w 1693"/>
                <a:gd name="T113" fmla="*/ 63 h 2727"/>
                <a:gd name="T114" fmla="*/ 727 w 1693"/>
                <a:gd name="T115" fmla="*/ 742 h 2727"/>
                <a:gd name="T116" fmla="*/ 223 w 1693"/>
                <a:gd name="T117" fmla="*/ 172 h 2727"/>
                <a:gd name="T118" fmla="*/ 182 w 1693"/>
                <a:gd name="T119" fmla="*/ 125 h 2727"/>
                <a:gd name="T120" fmla="*/ 190 w 1693"/>
                <a:gd name="T121" fmla="*/ 82 h 2727"/>
                <a:gd name="T122" fmla="*/ 1440 w 1693"/>
                <a:gd name="T123" fmla="*/ 2511 h 2727"/>
                <a:gd name="T124" fmla="*/ 292 w 1693"/>
                <a:gd name="T125" fmla="*/ 1781 h 2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93" h="2727">
                  <a:moveTo>
                    <a:pt x="1555" y="2618"/>
                  </a:moveTo>
                  <a:lnTo>
                    <a:pt x="1555" y="2622"/>
                  </a:lnTo>
                  <a:lnTo>
                    <a:pt x="1555" y="2623"/>
                  </a:lnTo>
                  <a:lnTo>
                    <a:pt x="1555" y="2627"/>
                  </a:lnTo>
                  <a:lnTo>
                    <a:pt x="1554" y="2627"/>
                  </a:lnTo>
                  <a:lnTo>
                    <a:pt x="1555" y="2627"/>
                  </a:lnTo>
                  <a:lnTo>
                    <a:pt x="1554" y="2630"/>
                  </a:lnTo>
                  <a:lnTo>
                    <a:pt x="1554" y="2634"/>
                  </a:lnTo>
                  <a:lnTo>
                    <a:pt x="1554" y="2635"/>
                  </a:lnTo>
                  <a:lnTo>
                    <a:pt x="1554" y="2639"/>
                  </a:lnTo>
                  <a:lnTo>
                    <a:pt x="1554" y="2641"/>
                  </a:lnTo>
                  <a:lnTo>
                    <a:pt x="1552" y="2642"/>
                  </a:lnTo>
                  <a:lnTo>
                    <a:pt x="1550" y="2644"/>
                  </a:lnTo>
                  <a:lnTo>
                    <a:pt x="1550" y="2646"/>
                  </a:lnTo>
                  <a:lnTo>
                    <a:pt x="1550" y="2649"/>
                  </a:lnTo>
                  <a:lnTo>
                    <a:pt x="1548" y="2649"/>
                  </a:lnTo>
                  <a:lnTo>
                    <a:pt x="1547" y="2651"/>
                  </a:lnTo>
                  <a:lnTo>
                    <a:pt x="1545" y="2652"/>
                  </a:lnTo>
                  <a:lnTo>
                    <a:pt x="1543" y="2654"/>
                  </a:lnTo>
                  <a:lnTo>
                    <a:pt x="1543" y="2656"/>
                  </a:lnTo>
                  <a:lnTo>
                    <a:pt x="1545" y="2656"/>
                  </a:lnTo>
                  <a:lnTo>
                    <a:pt x="1543" y="2659"/>
                  </a:lnTo>
                  <a:lnTo>
                    <a:pt x="1543" y="2663"/>
                  </a:lnTo>
                  <a:lnTo>
                    <a:pt x="1545" y="2663"/>
                  </a:lnTo>
                  <a:lnTo>
                    <a:pt x="1545" y="2664"/>
                  </a:lnTo>
                  <a:lnTo>
                    <a:pt x="1543" y="2666"/>
                  </a:lnTo>
                  <a:lnTo>
                    <a:pt x="1545" y="2668"/>
                  </a:lnTo>
                  <a:lnTo>
                    <a:pt x="1543" y="2669"/>
                  </a:lnTo>
                  <a:lnTo>
                    <a:pt x="1543" y="2671"/>
                  </a:lnTo>
                  <a:lnTo>
                    <a:pt x="1545" y="2675"/>
                  </a:lnTo>
                  <a:lnTo>
                    <a:pt x="1545" y="2676"/>
                  </a:lnTo>
                  <a:lnTo>
                    <a:pt x="1543" y="2676"/>
                  </a:lnTo>
                  <a:lnTo>
                    <a:pt x="1542" y="2678"/>
                  </a:lnTo>
                  <a:lnTo>
                    <a:pt x="1542" y="2681"/>
                  </a:lnTo>
                  <a:lnTo>
                    <a:pt x="1538" y="2681"/>
                  </a:lnTo>
                  <a:lnTo>
                    <a:pt x="1537" y="2680"/>
                  </a:lnTo>
                  <a:lnTo>
                    <a:pt x="1533" y="2681"/>
                  </a:lnTo>
                  <a:lnTo>
                    <a:pt x="1531" y="2681"/>
                  </a:lnTo>
                  <a:lnTo>
                    <a:pt x="1531" y="2683"/>
                  </a:lnTo>
                  <a:lnTo>
                    <a:pt x="1531" y="2685"/>
                  </a:lnTo>
                  <a:lnTo>
                    <a:pt x="1530" y="2686"/>
                  </a:lnTo>
                  <a:lnTo>
                    <a:pt x="1526" y="2685"/>
                  </a:lnTo>
                  <a:lnTo>
                    <a:pt x="1525" y="2683"/>
                  </a:lnTo>
                  <a:lnTo>
                    <a:pt x="1525" y="2685"/>
                  </a:lnTo>
                  <a:lnTo>
                    <a:pt x="1523" y="2685"/>
                  </a:lnTo>
                  <a:lnTo>
                    <a:pt x="1521" y="2685"/>
                  </a:lnTo>
                  <a:lnTo>
                    <a:pt x="1520" y="2686"/>
                  </a:lnTo>
                  <a:lnTo>
                    <a:pt x="1516" y="2686"/>
                  </a:lnTo>
                  <a:lnTo>
                    <a:pt x="1514" y="2686"/>
                  </a:lnTo>
                  <a:lnTo>
                    <a:pt x="1513" y="2685"/>
                  </a:lnTo>
                  <a:lnTo>
                    <a:pt x="1511" y="2685"/>
                  </a:lnTo>
                  <a:lnTo>
                    <a:pt x="1509" y="2681"/>
                  </a:lnTo>
                  <a:lnTo>
                    <a:pt x="1508" y="2683"/>
                  </a:lnTo>
                  <a:lnTo>
                    <a:pt x="1508" y="2681"/>
                  </a:lnTo>
                  <a:lnTo>
                    <a:pt x="1508" y="2680"/>
                  </a:lnTo>
                  <a:lnTo>
                    <a:pt x="1506" y="2680"/>
                  </a:lnTo>
                  <a:lnTo>
                    <a:pt x="1503" y="2678"/>
                  </a:lnTo>
                  <a:lnTo>
                    <a:pt x="1501" y="2678"/>
                  </a:lnTo>
                  <a:lnTo>
                    <a:pt x="1501" y="2676"/>
                  </a:lnTo>
                  <a:lnTo>
                    <a:pt x="1497" y="2675"/>
                  </a:lnTo>
                  <a:lnTo>
                    <a:pt x="1496" y="2673"/>
                  </a:lnTo>
                  <a:lnTo>
                    <a:pt x="1494" y="2676"/>
                  </a:lnTo>
                  <a:lnTo>
                    <a:pt x="1496" y="2676"/>
                  </a:lnTo>
                  <a:lnTo>
                    <a:pt x="1492" y="2678"/>
                  </a:lnTo>
                  <a:lnTo>
                    <a:pt x="1492" y="2676"/>
                  </a:lnTo>
                  <a:lnTo>
                    <a:pt x="1491" y="2676"/>
                  </a:lnTo>
                  <a:lnTo>
                    <a:pt x="1491" y="2675"/>
                  </a:lnTo>
                  <a:lnTo>
                    <a:pt x="1489" y="2673"/>
                  </a:lnTo>
                  <a:lnTo>
                    <a:pt x="1487" y="2673"/>
                  </a:lnTo>
                  <a:lnTo>
                    <a:pt x="1484" y="2673"/>
                  </a:lnTo>
                  <a:lnTo>
                    <a:pt x="1484" y="2671"/>
                  </a:lnTo>
                  <a:lnTo>
                    <a:pt x="1482" y="2669"/>
                  </a:lnTo>
                  <a:lnTo>
                    <a:pt x="1480" y="2671"/>
                  </a:lnTo>
                  <a:lnTo>
                    <a:pt x="1477" y="2671"/>
                  </a:lnTo>
                  <a:lnTo>
                    <a:pt x="1477" y="2669"/>
                  </a:lnTo>
                  <a:lnTo>
                    <a:pt x="1475" y="2671"/>
                  </a:lnTo>
                  <a:lnTo>
                    <a:pt x="1472" y="2669"/>
                  </a:lnTo>
                  <a:lnTo>
                    <a:pt x="1472" y="2668"/>
                  </a:lnTo>
                  <a:lnTo>
                    <a:pt x="1470" y="2666"/>
                  </a:lnTo>
                  <a:lnTo>
                    <a:pt x="1469" y="2668"/>
                  </a:lnTo>
                  <a:lnTo>
                    <a:pt x="1470" y="2669"/>
                  </a:lnTo>
                  <a:lnTo>
                    <a:pt x="1467" y="2669"/>
                  </a:lnTo>
                  <a:lnTo>
                    <a:pt x="1465" y="2671"/>
                  </a:lnTo>
                  <a:lnTo>
                    <a:pt x="1465" y="2673"/>
                  </a:lnTo>
                  <a:lnTo>
                    <a:pt x="1463" y="2675"/>
                  </a:lnTo>
                  <a:lnTo>
                    <a:pt x="1462" y="2673"/>
                  </a:lnTo>
                  <a:lnTo>
                    <a:pt x="1460" y="2671"/>
                  </a:lnTo>
                  <a:lnTo>
                    <a:pt x="1458" y="2671"/>
                  </a:lnTo>
                  <a:lnTo>
                    <a:pt x="1457" y="2671"/>
                  </a:lnTo>
                  <a:lnTo>
                    <a:pt x="1455" y="2671"/>
                  </a:lnTo>
                  <a:lnTo>
                    <a:pt x="1453" y="2671"/>
                  </a:lnTo>
                  <a:lnTo>
                    <a:pt x="1450" y="2669"/>
                  </a:lnTo>
                  <a:lnTo>
                    <a:pt x="1448" y="2671"/>
                  </a:lnTo>
                  <a:lnTo>
                    <a:pt x="1448" y="2673"/>
                  </a:lnTo>
                  <a:lnTo>
                    <a:pt x="1445" y="2673"/>
                  </a:lnTo>
                  <a:lnTo>
                    <a:pt x="1443" y="2671"/>
                  </a:lnTo>
                  <a:lnTo>
                    <a:pt x="1441" y="2671"/>
                  </a:lnTo>
                  <a:lnTo>
                    <a:pt x="1441" y="2669"/>
                  </a:lnTo>
                  <a:lnTo>
                    <a:pt x="1440" y="2669"/>
                  </a:lnTo>
                  <a:lnTo>
                    <a:pt x="1440" y="2671"/>
                  </a:lnTo>
                  <a:lnTo>
                    <a:pt x="1438" y="2673"/>
                  </a:lnTo>
                  <a:lnTo>
                    <a:pt x="1436" y="2673"/>
                  </a:lnTo>
                  <a:lnTo>
                    <a:pt x="1436" y="2675"/>
                  </a:lnTo>
                  <a:lnTo>
                    <a:pt x="1435" y="2675"/>
                  </a:lnTo>
                  <a:lnTo>
                    <a:pt x="1433" y="2673"/>
                  </a:lnTo>
                  <a:lnTo>
                    <a:pt x="1431" y="2675"/>
                  </a:lnTo>
                  <a:lnTo>
                    <a:pt x="1429" y="2673"/>
                  </a:lnTo>
                  <a:lnTo>
                    <a:pt x="1428" y="2675"/>
                  </a:lnTo>
                  <a:lnTo>
                    <a:pt x="1428" y="2676"/>
                  </a:lnTo>
                  <a:lnTo>
                    <a:pt x="1426" y="2676"/>
                  </a:lnTo>
                  <a:lnTo>
                    <a:pt x="1426" y="2675"/>
                  </a:lnTo>
                  <a:lnTo>
                    <a:pt x="1424" y="2675"/>
                  </a:lnTo>
                  <a:lnTo>
                    <a:pt x="1424" y="2673"/>
                  </a:lnTo>
                  <a:lnTo>
                    <a:pt x="1421" y="2673"/>
                  </a:lnTo>
                  <a:lnTo>
                    <a:pt x="1419" y="2673"/>
                  </a:lnTo>
                  <a:lnTo>
                    <a:pt x="1418" y="2675"/>
                  </a:lnTo>
                  <a:lnTo>
                    <a:pt x="1416" y="2676"/>
                  </a:lnTo>
                  <a:lnTo>
                    <a:pt x="1416" y="2675"/>
                  </a:lnTo>
                  <a:lnTo>
                    <a:pt x="1414" y="2675"/>
                  </a:lnTo>
                  <a:lnTo>
                    <a:pt x="1411" y="2673"/>
                  </a:lnTo>
                  <a:lnTo>
                    <a:pt x="1409" y="2673"/>
                  </a:lnTo>
                  <a:lnTo>
                    <a:pt x="1407" y="2675"/>
                  </a:lnTo>
                  <a:lnTo>
                    <a:pt x="1404" y="2673"/>
                  </a:lnTo>
                  <a:lnTo>
                    <a:pt x="1404" y="2671"/>
                  </a:lnTo>
                  <a:lnTo>
                    <a:pt x="1404" y="2669"/>
                  </a:lnTo>
                  <a:lnTo>
                    <a:pt x="1404" y="2668"/>
                  </a:lnTo>
                  <a:lnTo>
                    <a:pt x="1406" y="2668"/>
                  </a:lnTo>
                  <a:lnTo>
                    <a:pt x="1407" y="2666"/>
                  </a:lnTo>
                  <a:lnTo>
                    <a:pt x="1409" y="2664"/>
                  </a:lnTo>
                  <a:lnTo>
                    <a:pt x="1407" y="2663"/>
                  </a:lnTo>
                  <a:lnTo>
                    <a:pt x="1406" y="2659"/>
                  </a:lnTo>
                  <a:lnTo>
                    <a:pt x="1406" y="2658"/>
                  </a:lnTo>
                  <a:lnTo>
                    <a:pt x="1406" y="2656"/>
                  </a:lnTo>
                  <a:lnTo>
                    <a:pt x="1406" y="2654"/>
                  </a:lnTo>
                  <a:lnTo>
                    <a:pt x="1404" y="2652"/>
                  </a:lnTo>
                  <a:lnTo>
                    <a:pt x="1401" y="2654"/>
                  </a:lnTo>
                  <a:lnTo>
                    <a:pt x="1399" y="2652"/>
                  </a:lnTo>
                  <a:lnTo>
                    <a:pt x="1397" y="2654"/>
                  </a:lnTo>
                  <a:lnTo>
                    <a:pt x="1395" y="2654"/>
                  </a:lnTo>
                  <a:lnTo>
                    <a:pt x="1394" y="2654"/>
                  </a:lnTo>
                  <a:lnTo>
                    <a:pt x="1392" y="2652"/>
                  </a:lnTo>
                  <a:lnTo>
                    <a:pt x="1390" y="2654"/>
                  </a:lnTo>
                  <a:lnTo>
                    <a:pt x="1389" y="2656"/>
                  </a:lnTo>
                  <a:lnTo>
                    <a:pt x="1387" y="2656"/>
                  </a:lnTo>
                  <a:lnTo>
                    <a:pt x="1385" y="2658"/>
                  </a:lnTo>
                  <a:lnTo>
                    <a:pt x="1384" y="2659"/>
                  </a:lnTo>
                  <a:lnTo>
                    <a:pt x="1382" y="2661"/>
                  </a:lnTo>
                  <a:lnTo>
                    <a:pt x="1380" y="2658"/>
                  </a:lnTo>
                  <a:lnTo>
                    <a:pt x="1378" y="2659"/>
                  </a:lnTo>
                  <a:lnTo>
                    <a:pt x="1377" y="2656"/>
                  </a:lnTo>
                  <a:lnTo>
                    <a:pt x="1375" y="2658"/>
                  </a:lnTo>
                  <a:lnTo>
                    <a:pt x="1373" y="2656"/>
                  </a:lnTo>
                  <a:lnTo>
                    <a:pt x="1372" y="2654"/>
                  </a:lnTo>
                  <a:lnTo>
                    <a:pt x="1368" y="2654"/>
                  </a:lnTo>
                  <a:lnTo>
                    <a:pt x="1365" y="2654"/>
                  </a:lnTo>
                  <a:lnTo>
                    <a:pt x="1363" y="2656"/>
                  </a:lnTo>
                  <a:lnTo>
                    <a:pt x="1363" y="2658"/>
                  </a:lnTo>
                  <a:lnTo>
                    <a:pt x="1360" y="2656"/>
                  </a:lnTo>
                  <a:lnTo>
                    <a:pt x="1358" y="2656"/>
                  </a:lnTo>
                  <a:lnTo>
                    <a:pt x="1356" y="2656"/>
                  </a:lnTo>
                  <a:lnTo>
                    <a:pt x="1355" y="2658"/>
                  </a:lnTo>
                  <a:lnTo>
                    <a:pt x="1353" y="2659"/>
                  </a:lnTo>
                  <a:lnTo>
                    <a:pt x="1355" y="2661"/>
                  </a:lnTo>
                  <a:lnTo>
                    <a:pt x="1353" y="2663"/>
                  </a:lnTo>
                  <a:lnTo>
                    <a:pt x="1355" y="2666"/>
                  </a:lnTo>
                  <a:lnTo>
                    <a:pt x="1355" y="2668"/>
                  </a:lnTo>
                  <a:lnTo>
                    <a:pt x="1351" y="2668"/>
                  </a:lnTo>
                  <a:lnTo>
                    <a:pt x="1350" y="2664"/>
                  </a:lnTo>
                  <a:lnTo>
                    <a:pt x="1348" y="2663"/>
                  </a:lnTo>
                  <a:lnTo>
                    <a:pt x="1346" y="2663"/>
                  </a:lnTo>
                  <a:lnTo>
                    <a:pt x="1344" y="2663"/>
                  </a:lnTo>
                  <a:lnTo>
                    <a:pt x="1343" y="2663"/>
                  </a:lnTo>
                  <a:lnTo>
                    <a:pt x="1341" y="2664"/>
                  </a:lnTo>
                  <a:lnTo>
                    <a:pt x="1339" y="2664"/>
                  </a:lnTo>
                  <a:lnTo>
                    <a:pt x="1338" y="2664"/>
                  </a:lnTo>
                  <a:lnTo>
                    <a:pt x="1336" y="2666"/>
                  </a:lnTo>
                  <a:lnTo>
                    <a:pt x="1336" y="2668"/>
                  </a:lnTo>
                  <a:lnTo>
                    <a:pt x="1338" y="2669"/>
                  </a:lnTo>
                  <a:lnTo>
                    <a:pt x="1334" y="2669"/>
                  </a:lnTo>
                  <a:lnTo>
                    <a:pt x="1333" y="2671"/>
                  </a:lnTo>
                  <a:lnTo>
                    <a:pt x="1331" y="2671"/>
                  </a:lnTo>
                  <a:lnTo>
                    <a:pt x="1331" y="2673"/>
                  </a:lnTo>
                  <a:lnTo>
                    <a:pt x="1327" y="2673"/>
                  </a:lnTo>
                  <a:lnTo>
                    <a:pt x="1327" y="2675"/>
                  </a:lnTo>
                  <a:lnTo>
                    <a:pt x="1326" y="2676"/>
                  </a:lnTo>
                  <a:lnTo>
                    <a:pt x="1327" y="2680"/>
                  </a:lnTo>
                  <a:lnTo>
                    <a:pt x="1327" y="2681"/>
                  </a:lnTo>
                  <a:lnTo>
                    <a:pt x="1326" y="2681"/>
                  </a:lnTo>
                  <a:lnTo>
                    <a:pt x="1324" y="2685"/>
                  </a:lnTo>
                  <a:lnTo>
                    <a:pt x="1322" y="2685"/>
                  </a:lnTo>
                  <a:lnTo>
                    <a:pt x="1321" y="2686"/>
                  </a:lnTo>
                  <a:lnTo>
                    <a:pt x="1319" y="2688"/>
                  </a:lnTo>
                  <a:lnTo>
                    <a:pt x="1319" y="2690"/>
                  </a:lnTo>
                  <a:lnTo>
                    <a:pt x="1317" y="2692"/>
                  </a:lnTo>
                  <a:lnTo>
                    <a:pt x="1316" y="2692"/>
                  </a:lnTo>
                  <a:lnTo>
                    <a:pt x="1314" y="2692"/>
                  </a:lnTo>
                  <a:lnTo>
                    <a:pt x="1312" y="2692"/>
                  </a:lnTo>
                  <a:lnTo>
                    <a:pt x="1310" y="2692"/>
                  </a:lnTo>
                  <a:lnTo>
                    <a:pt x="1309" y="2693"/>
                  </a:lnTo>
                  <a:lnTo>
                    <a:pt x="1307" y="2695"/>
                  </a:lnTo>
                  <a:lnTo>
                    <a:pt x="1305" y="2693"/>
                  </a:lnTo>
                  <a:lnTo>
                    <a:pt x="1304" y="2693"/>
                  </a:lnTo>
                  <a:lnTo>
                    <a:pt x="1305" y="2690"/>
                  </a:lnTo>
                  <a:lnTo>
                    <a:pt x="1305" y="2686"/>
                  </a:lnTo>
                  <a:lnTo>
                    <a:pt x="1304" y="2686"/>
                  </a:lnTo>
                  <a:lnTo>
                    <a:pt x="1305" y="2685"/>
                  </a:lnTo>
                  <a:lnTo>
                    <a:pt x="1304" y="2683"/>
                  </a:lnTo>
                  <a:lnTo>
                    <a:pt x="1300" y="2683"/>
                  </a:lnTo>
                  <a:lnTo>
                    <a:pt x="1299" y="2683"/>
                  </a:lnTo>
                  <a:lnTo>
                    <a:pt x="1297" y="2683"/>
                  </a:lnTo>
                  <a:lnTo>
                    <a:pt x="1295" y="2685"/>
                  </a:lnTo>
                  <a:lnTo>
                    <a:pt x="1293" y="2683"/>
                  </a:lnTo>
                  <a:lnTo>
                    <a:pt x="1292" y="2683"/>
                  </a:lnTo>
                  <a:lnTo>
                    <a:pt x="1290" y="2683"/>
                  </a:lnTo>
                  <a:lnTo>
                    <a:pt x="1288" y="2681"/>
                  </a:lnTo>
                  <a:lnTo>
                    <a:pt x="1287" y="2683"/>
                  </a:lnTo>
                  <a:lnTo>
                    <a:pt x="1283" y="2681"/>
                  </a:lnTo>
                  <a:lnTo>
                    <a:pt x="1282" y="2683"/>
                  </a:lnTo>
                  <a:lnTo>
                    <a:pt x="1280" y="2683"/>
                  </a:lnTo>
                  <a:lnTo>
                    <a:pt x="1276" y="2685"/>
                  </a:lnTo>
                  <a:lnTo>
                    <a:pt x="1275" y="2685"/>
                  </a:lnTo>
                  <a:lnTo>
                    <a:pt x="1271" y="2685"/>
                  </a:lnTo>
                  <a:lnTo>
                    <a:pt x="1270" y="2686"/>
                  </a:lnTo>
                  <a:lnTo>
                    <a:pt x="1268" y="2685"/>
                  </a:lnTo>
                  <a:lnTo>
                    <a:pt x="1266" y="2685"/>
                  </a:lnTo>
                  <a:lnTo>
                    <a:pt x="1263" y="2683"/>
                  </a:lnTo>
                  <a:lnTo>
                    <a:pt x="1263" y="2685"/>
                  </a:lnTo>
                  <a:lnTo>
                    <a:pt x="1261" y="2683"/>
                  </a:lnTo>
                  <a:lnTo>
                    <a:pt x="1259" y="2683"/>
                  </a:lnTo>
                  <a:lnTo>
                    <a:pt x="1256" y="2681"/>
                  </a:lnTo>
                  <a:lnTo>
                    <a:pt x="1258" y="2680"/>
                  </a:lnTo>
                  <a:lnTo>
                    <a:pt x="1254" y="2678"/>
                  </a:lnTo>
                  <a:lnTo>
                    <a:pt x="1253" y="2680"/>
                  </a:lnTo>
                  <a:lnTo>
                    <a:pt x="1251" y="2680"/>
                  </a:lnTo>
                  <a:lnTo>
                    <a:pt x="1251" y="2678"/>
                  </a:lnTo>
                  <a:lnTo>
                    <a:pt x="1248" y="2680"/>
                  </a:lnTo>
                  <a:lnTo>
                    <a:pt x="1246" y="2678"/>
                  </a:lnTo>
                  <a:lnTo>
                    <a:pt x="1244" y="2680"/>
                  </a:lnTo>
                  <a:lnTo>
                    <a:pt x="1242" y="2680"/>
                  </a:lnTo>
                  <a:lnTo>
                    <a:pt x="1241" y="2681"/>
                  </a:lnTo>
                  <a:lnTo>
                    <a:pt x="1239" y="2681"/>
                  </a:lnTo>
                  <a:lnTo>
                    <a:pt x="1239" y="2685"/>
                  </a:lnTo>
                  <a:lnTo>
                    <a:pt x="1236" y="2685"/>
                  </a:lnTo>
                  <a:lnTo>
                    <a:pt x="1232" y="2685"/>
                  </a:lnTo>
                  <a:lnTo>
                    <a:pt x="1229" y="2685"/>
                  </a:lnTo>
                  <a:lnTo>
                    <a:pt x="1227" y="2685"/>
                  </a:lnTo>
                  <a:lnTo>
                    <a:pt x="1225" y="2683"/>
                  </a:lnTo>
                  <a:lnTo>
                    <a:pt x="1224" y="2683"/>
                  </a:lnTo>
                  <a:lnTo>
                    <a:pt x="1220" y="2685"/>
                  </a:lnTo>
                  <a:lnTo>
                    <a:pt x="1220" y="2686"/>
                  </a:lnTo>
                  <a:lnTo>
                    <a:pt x="1219" y="2688"/>
                  </a:lnTo>
                  <a:lnTo>
                    <a:pt x="1217" y="2690"/>
                  </a:lnTo>
                  <a:lnTo>
                    <a:pt x="1217" y="2688"/>
                  </a:lnTo>
                  <a:lnTo>
                    <a:pt x="1215" y="2690"/>
                  </a:lnTo>
                  <a:lnTo>
                    <a:pt x="1214" y="2690"/>
                  </a:lnTo>
                  <a:lnTo>
                    <a:pt x="1212" y="2690"/>
                  </a:lnTo>
                  <a:lnTo>
                    <a:pt x="1212" y="2692"/>
                  </a:lnTo>
                  <a:lnTo>
                    <a:pt x="1210" y="2693"/>
                  </a:lnTo>
                  <a:lnTo>
                    <a:pt x="1208" y="2695"/>
                  </a:lnTo>
                  <a:lnTo>
                    <a:pt x="1205" y="2695"/>
                  </a:lnTo>
                  <a:lnTo>
                    <a:pt x="1203" y="2697"/>
                  </a:lnTo>
                  <a:lnTo>
                    <a:pt x="1202" y="2695"/>
                  </a:lnTo>
                  <a:lnTo>
                    <a:pt x="1200" y="2697"/>
                  </a:lnTo>
                  <a:lnTo>
                    <a:pt x="1198" y="2695"/>
                  </a:lnTo>
                  <a:lnTo>
                    <a:pt x="1198" y="2697"/>
                  </a:lnTo>
                  <a:lnTo>
                    <a:pt x="1198" y="2698"/>
                  </a:lnTo>
                  <a:lnTo>
                    <a:pt x="1197" y="2700"/>
                  </a:lnTo>
                  <a:lnTo>
                    <a:pt x="1195" y="2700"/>
                  </a:lnTo>
                  <a:lnTo>
                    <a:pt x="1191" y="2698"/>
                  </a:lnTo>
                  <a:lnTo>
                    <a:pt x="1191" y="2702"/>
                  </a:lnTo>
                  <a:lnTo>
                    <a:pt x="1188" y="2702"/>
                  </a:lnTo>
                  <a:lnTo>
                    <a:pt x="1188" y="2703"/>
                  </a:lnTo>
                  <a:lnTo>
                    <a:pt x="1185" y="2702"/>
                  </a:lnTo>
                  <a:lnTo>
                    <a:pt x="1183" y="2702"/>
                  </a:lnTo>
                  <a:lnTo>
                    <a:pt x="1181" y="2702"/>
                  </a:lnTo>
                  <a:lnTo>
                    <a:pt x="1178" y="2702"/>
                  </a:lnTo>
                  <a:lnTo>
                    <a:pt x="1178" y="2700"/>
                  </a:lnTo>
                  <a:lnTo>
                    <a:pt x="1174" y="2702"/>
                  </a:lnTo>
                  <a:lnTo>
                    <a:pt x="1174" y="2698"/>
                  </a:lnTo>
                  <a:lnTo>
                    <a:pt x="1173" y="2698"/>
                  </a:lnTo>
                  <a:lnTo>
                    <a:pt x="1171" y="2698"/>
                  </a:lnTo>
                  <a:lnTo>
                    <a:pt x="1171" y="2700"/>
                  </a:lnTo>
                  <a:lnTo>
                    <a:pt x="1168" y="2703"/>
                  </a:lnTo>
                  <a:lnTo>
                    <a:pt x="1168" y="2702"/>
                  </a:lnTo>
                  <a:lnTo>
                    <a:pt x="1166" y="2702"/>
                  </a:lnTo>
                  <a:lnTo>
                    <a:pt x="1164" y="2702"/>
                  </a:lnTo>
                  <a:lnTo>
                    <a:pt x="1161" y="2702"/>
                  </a:lnTo>
                  <a:lnTo>
                    <a:pt x="1159" y="2702"/>
                  </a:lnTo>
                  <a:lnTo>
                    <a:pt x="1157" y="2702"/>
                  </a:lnTo>
                  <a:lnTo>
                    <a:pt x="1157" y="2703"/>
                  </a:lnTo>
                  <a:lnTo>
                    <a:pt x="1156" y="2703"/>
                  </a:lnTo>
                  <a:lnTo>
                    <a:pt x="1152" y="2703"/>
                  </a:lnTo>
                  <a:lnTo>
                    <a:pt x="1151" y="2705"/>
                  </a:lnTo>
                  <a:lnTo>
                    <a:pt x="1149" y="2703"/>
                  </a:lnTo>
                  <a:lnTo>
                    <a:pt x="1146" y="2703"/>
                  </a:lnTo>
                  <a:lnTo>
                    <a:pt x="1146" y="2702"/>
                  </a:lnTo>
                  <a:lnTo>
                    <a:pt x="1144" y="2702"/>
                  </a:lnTo>
                  <a:lnTo>
                    <a:pt x="1142" y="2703"/>
                  </a:lnTo>
                  <a:lnTo>
                    <a:pt x="1139" y="2703"/>
                  </a:lnTo>
                  <a:lnTo>
                    <a:pt x="1137" y="2702"/>
                  </a:lnTo>
                  <a:lnTo>
                    <a:pt x="1135" y="2703"/>
                  </a:lnTo>
                  <a:lnTo>
                    <a:pt x="1132" y="2702"/>
                  </a:lnTo>
                  <a:lnTo>
                    <a:pt x="1130" y="2703"/>
                  </a:lnTo>
                  <a:lnTo>
                    <a:pt x="1129" y="2707"/>
                  </a:lnTo>
                  <a:lnTo>
                    <a:pt x="1127" y="2707"/>
                  </a:lnTo>
                  <a:lnTo>
                    <a:pt x="1123" y="2707"/>
                  </a:lnTo>
                  <a:lnTo>
                    <a:pt x="1122" y="2707"/>
                  </a:lnTo>
                  <a:lnTo>
                    <a:pt x="1120" y="2709"/>
                  </a:lnTo>
                  <a:lnTo>
                    <a:pt x="1117" y="2709"/>
                  </a:lnTo>
                  <a:lnTo>
                    <a:pt x="1115" y="2709"/>
                  </a:lnTo>
                  <a:lnTo>
                    <a:pt x="1113" y="2709"/>
                  </a:lnTo>
                  <a:lnTo>
                    <a:pt x="1112" y="2710"/>
                  </a:lnTo>
                  <a:lnTo>
                    <a:pt x="1108" y="2712"/>
                  </a:lnTo>
                  <a:lnTo>
                    <a:pt x="1106" y="2712"/>
                  </a:lnTo>
                  <a:lnTo>
                    <a:pt x="1106" y="2715"/>
                  </a:lnTo>
                  <a:lnTo>
                    <a:pt x="1106" y="2717"/>
                  </a:lnTo>
                  <a:lnTo>
                    <a:pt x="1106" y="2720"/>
                  </a:lnTo>
                  <a:lnTo>
                    <a:pt x="1106" y="2722"/>
                  </a:lnTo>
                  <a:lnTo>
                    <a:pt x="1106" y="2724"/>
                  </a:lnTo>
                  <a:lnTo>
                    <a:pt x="1106" y="2727"/>
                  </a:lnTo>
                  <a:lnTo>
                    <a:pt x="1103" y="2727"/>
                  </a:lnTo>
                  <a:lnTo>
                    <a:pt x="1101" y="2727"/>
                  </a:lnTo>
                  <a:lnTo>
                    <a:pt x="1101" y="2726"/>
                  </a:lnTo>
                  <a:lnTo>
                    <a:pt x="1100" y="2724"/>
                  </a:lnTo>
                  <a:lnTo>
                    <a:pt x="1098" y="2722"/>
                  </a:lnTo>
                  <a:lnTo>
                    <a:pt x="1096" y="2722"/>
                  </a:lnTo>
                  <a:lnTo>
                    <a:pt x="1095" y="2720"/>
                  </a:lnTo>
                  <a:lnTo>
                    <a:pt x="1091" y="2720"/>
                  </a:lnTo>
                  <a:lnTo>
                    <a:pt x="1089" y="2720"/>
                  </a:lnTo>
                  <a:lnTo>
                    <a:pt x="1088" y="2720"/>
                  </a:lnTo>
                  <a:lnTo>
                    <a:pt x="1086" y="2719"/>
                  </a:lnTo>
                  <a:lnTo>
                    <a:pt x="1084" y="2717"/>
                  </a:lnTo>
                  <a:lnTo>
                    <a:pt x="1083" y="2717"/>
                  </a:lnTo>
                  <a:lnTo>
                    <a:pt x="1081" y="2717"/>
                  </a:lnTo>
                  <a:lnTo>
                    <a:pt x="1078" y="2715"/>
                  </a:lnTo>
                  <a:lnTo>
                    <a:pt x="1074" y="2714"/>
                  </a:lnTo>
                  <a:lnTo>
                    <a:pt x="1072" y="2712"/>
                  </a:lnTo>
                  <a:lnTo>
                    <a:pt x="1069" y="2712"/>
                  </a:lnTo>
                  <a:lnTo>
                    <a:pt x="1069" y="2710"/>
                  </a:lnTo>
                  <a:lnTo>
                    <a:pt x="1067" y="2710"/>
                  </a:lnTo>
                  <a:lnTo>
                    <a:pt x="1066" y="2709"/>
                  </a:lnTo>
                  <a:lnTo>
                    <a:pt x="1064" y="2709"/>
                  </a:lnTo>
                  <a:lnTo>
                    <a:pt x="1062" y="2707"/>
                  </a:lnTo>
                  <a:lnTo>
                    <a:pt x="1061" y="2707"/>
                  </a:lnTo>
                  <a:lnTo>
                    <a:pt x="1059" y="2705"/>
                  </a:lnTo>
                  <a:lnTo>
                    <a:pt x="1057" y="2705"/>
                  </a:lnTo>
                  <a:lnTo>
                    <a:pt x="1055" y="2705"/>
                  </a:lnTo>
                  <a:lnTo>
                    <a:pt x="1054" y="2703"/>
                  </a:lnTo>
                  <a:lnTo>
                    <a:pt x="1052" y="2703"/>
                  </a:lnTo>
                  <a:lnTo>
                    <a:pt x="1050" y="2703"/>
                  </a:lnTo>
                  <a:lnTo>
                    <a:pt x="1049" y="2703"/>
                  </a:lnTo>
                  <a:lnTo>
                    <a:pt x="1047" y="2702"/>
                  </a:lnTo>
                  <a:lnTo>
                    <a:pt x="1045" y="2702"/>
                  </a:lnTo>
                  <a:lnTo>
                    <a:pt x="1044" y="2700"/>
                  </a:lnTo>
                  <a:lnTo>
                    <a:pt x="1042" y="2700"/>
                  </a:lnTo>
                  <a:lnTo>
                    <a:pt x="1040" y="2698"/>
                  </a:lnTo>
                  <a:lnTo>
                    <a:pt x="1038" y="2697"/>
                  </a:lnTo>
                  <a:lnTo>
                    <a:pt x="1035" y="2697"/>
                  </a:lnTo>
                  <a:lnTo>
                    <a:pt x="1032" y="2698"/>
                  </a:lnTo>
                  <a:lnTo>
                    <a:pt x="1030" y="2697"/>
                  </a:lnTo>
                  <a:lnTo>
                    <a:pt x="1028" y="2695"/>
                  </a:lnTo>
                  <a:lnTo>
                    <a:pt x="1027" y="2695"/>
                  </a:lnTo>
                  <a:lnTo>
                    <a:pt x="1025" y="2693"/>
                  </a:lnTo>
                  <a:lnTo>
                    <a:pt x="1021" y="2693"/>
                  </a:lnTo>
                  <a:lnTo>
                    <a:pt x="1020" y="2693"/>
                  </a:lnTo>
                  <a:lnTo>
                    <a:pt x="1016" y="2693"/>
                  </a:lnTo>
                  <a:lnTo>
                    <a:pt x="1013" y="2693"/>
                  </a:lnTo>
                  <a:lnTo>
                    <a:pt x="1010" y="2693"/>
                  </a:lnTo>
                  <a:lnTo>
                    <a:pt x="1008" y="2693"/>
                  </a:lnTo>
                  <a:lnTo>
                    <a:pt x="1004" y="2695"/>
                  </a:lnTo>
                  <a:lnTo>
                    <a:pt x="1003" y="2695"/>
                  </a:lnTo>
                  <a:lnTo>
                    <a:pt x="1001" y="2695"/>
                  </a:lnTo>
                  <a:lnTo>
                    <a:pt x="998" y="2695"/>
                  </a:lnTo>
                  <a:lnTo>
                    <a:pt x="994" y="2697"/>
                  </a:lnTo>
                  <a:lnTo>
                    <a:pt x="991" y="2695"/>
                  </a:lnTo>
                  <a:lnTo>
                    <a:pt x="991" y="2693"/>
                  </a:lnTo>
                  <a:lnTo>
                    <a:pt x="989" y="2693"/>
                  </a:lnTo>
                  <a:lnTo>
                    <a:pt x="987" y="2692"/>
                  </a:lnTo>
                  <a:lnTo>
                    <a:pt x="986" y="2690"/>
                  </a:lnTo>
                  <a:lnTo>
                    <a:pt x="982" y="2690"/>
                  </a:lnTo>
                  <a:lnTo>
                    <a:pt x="984" y="2690"/>
                  </a:lnTo>
                  <a:lnTo>
                    <a:pt x="984" y="2688"/>
                  </a:lnTo>
                  <a:lnTo>
                    <a:pt x="981" y="2688"/>
                  </a:lnTo>
                  <a:lnTo>
                    <a:pt x="982" y="2690"/>
                  </a:lnTo>
                  <a:lnTo>
                    <a:pt x="979" y="2690"/>
                  </a:lnTo>
                  <a:lnTo>
                    <a:pt x="976" y="2688"/>
                  </a:lnTo>
                  <a:lnTo>
                    <a:pt x="974" y="2688"/>
                  </a:lnTo>
                  <a:lnTo>
                    <a:pt x="976" y="2686"/>
                  </a:lnTo>
                  <a:lnTo>
                    <a:pt x="974" y="2685"/>
                  </a:lnTo>
                  <a:lnTo>
                    <a:pt x="972" y="2685"/>
                  </a:lnTo>
                  <a:lnTo>
                    <a:pt x="969" y="2683"/>
                  </a:lnTo>
                  <a:lnTo>
                    <a:pt x="967" y="2683"/>
                  </a:lnTo>
                  <a:lnTo>
                    <a:pt x="965" y="2683"/>
                  </a:lnTo>
                  <a:lnTo>
                    <a:pt x="967" y="2685"/>
                  </a:lnTo>
                  <a:lnTo>
                    <a:pt x="969" y="2686"/>
                  </a:lnTo>
                  <a:lnTo>
                    <a:pt x="969" y="2688"/>
                  </a:lnTo>
                  <a:lnTo>
                    <a:pt x="965" y="2690"/>
                  </a:lnTo>
                  <a:lnTo>
                    <a:pt x="964" y="2690"/>
                  </a:lnTo>
                  <a:lnTo>
                    <a:pt x="962" y="2690"/>
                  </a:lnTo>
                  <a:lnTo>
                    <a:pt x="960" y="2692"/>
                  </a:lnTo>
                  <a:lnTo>
                    <a:pt x="957" y="2692"/>
                  </a:lnTo>
                  <a:lnTo>
                    <a:pt x="953" y="2692"/>
                  </a:lnTo>
                  <a:lnTo>
                    <a:pt x="952" y="2692"/>
                  </a:lnTo>
                  <a:lnTo>
                    <a:pt x="950" y="2690"/>
                  </a:lnTo>
                  <a:lnTo>
                    <a:pt x="948" y="2690"/>
                  </a:lnTo>
                  <a:lnTo>
                    <a:pt x="947" y="2690"/>
                  </a:lnTo>
                  <a:lnTo>
                    <a:pt x="947" y="2688"/>
                  </a:lnTo>
                  <a:lnTo>
                    <a:pt x="943" y="2686"/>
                  </a:lnTo>
                  <a:lnTo>
                    <a:pt x="943" y="2685"/>
                  </a:lnTo>
                  <a:lnTo>
                    <a:pt x="942" y="2685"/>
                  </a:lnTo>
                  <a:lnTo>
                    <a:pt x="940" y="2683"/>
                  </a:lnTo>
                  <a:lnTo>
                    <a:pt x="940" y="2681"/>
                  </a:lnTo>
                  <a:lnTo>
                    <a:pt x="940" y="2680"/>
                  </a:lnTo>
                  <a:lnTo>
                    <a:pt x="938" y="2678"/>
                  </a:lnTo>
                  <a:lnTo>
                    <a:pt x="937" y="2678"/>
                  </a:lnTo>
                  <a:lnTo>
                    <a:pt x="935" y="2676"/>
                  </a:lnTo>
                  <a:lnTo>
                    <a:pt x="931" y="2676"/>
                  </a:lnTo>
                  <a:lnTo>
                    <a:pt x="928" y="2676"/>
                  </a:lnTo>
                  <a:lnTo>
                    <a:pt x="926" y="2675"/>
                  </a:lnTo>
                  <a:lnTo>
                    <a:pt x="925" y="2675"/>
                  </a:lnTo>
                  <a:lnTo>
                    <a:pt x="923" y="2675"/>
                  </a:lnTo>
                  <a:lnTo>
                    <a:pt x="921" y="2676"/>
                  </a:lnTo>
                  <a:lnTo>
                    <a:pt x="920" y="2676"/>
                  </a:lnTo>
                  <a:lnTo>
                    <a:pt x="918" y="2675"/>
                  </a:lnTo>
                  <a:lnTo>
                    <a:pt x="916" y="2675"/>
                  </a:lnTo>
                  <a:lnTo>
                    <a:pt x="913" y="2675"/>
                  </a:lnTo>
                  <a:lnTo>
                    <a:pt x="911" y="2676"/>
                  </a:lnTo>
                  <a:lnTo>
                    <a:pt x="909" y="2676"/>
                  </a:lnTo>
                  <a:lnTo>
                    <a:pt x="908" y="2678"/>
                  </a:lnTo>
                  <a:lnTo>
                    <a:pt x="906" y="2678"/>
                  </a:lnTo>
                  <a:lnTo>
                    <a:pt x="904" y="2678"/>
                  </a:lnTo>
                  <a:lnTo>
                    <a:pt x="903" y="2678"/>
                  </a:lnTo>
                  <a:lnTo>
                    <a:pt x="901" y="2675"/>
                  </a:lnTo>
                  <a:lnTo>
                    <a:pt x="899" y="2675"/>
                  </a:lnTo>
                  <a:lnTo>
                    <a:pt x="899" y="2673"/>
                  </a:lnTo>
                  <a:lnTo>
                    <a:pt x="901" y="2673"/>
                  </a:lnTo>
                  <a:lnTo>
                    <a:pt x="903" y="2671"/>
                  </a:lnTo>
                  <a:lnTo>
                    <a:pt x="904" y="2671"/>
                  </a:lnTo>
                  <a:lnTo>
                    <a:pt x="906" y="2669"/>
                  </a:lnTo>
                  <a:lnTo>
                    <a:pt x="908" y="2668"/>
                  </a:lnTo>
                  <a:lnTo>
                    <a:pt x="909" y="2666"/>
                  </a:lnTo>
                  <a:lnTo>
                    <a:pt x="911" y="2666"/>
                  </a:lnTo>
                  <a:lnTo>
                    <a:pt x="911" y="2664"/>
                  </a:lnTo>
                  <a:lnTo>
                    <a:pt x="913" y="2663"/>
                  </a:lnTo>
                  <a:lnTo>
                    <a:pt x="914" y="2663"/>
                  </a:lnTo>
                  <a:lnTo>
                    <a:pt x="914" y="2661"/>
                  </a:lnTo>
                  <a:lnTo>
                    <a:pt x="914" y="2659"/>
                  </a:lnTo>
                  <a:lnTo>
                    <a:pt x="913" y="2659"/>
                  </a:lnTo>
                  <a:lnTo>
                    <a:pt x="911" y="2659"/>
                  </a:lnTo>
                  <a:lnTo>
                    <a:pt x="911" y="2661"/>
                  </a:lnTo>
                  <a:lnTo>
                    <a:pt x="909" y="2661"/>
                  </a:lnTo>
                  <a:lnTo>
                    <a:pt x="908" y="2663"/>
                  </a:lnTo>
                  <a:lnTo>
                    <a:pt x="906" y="2664"/>
                  </a:lnTo>
                  <a:lnTo>
                    <a:pt x="904" y="2663"/>
                  </a:lnTo>
                  <a:lnTo>
                    <a:pt x="903" y="2659"/>
                  </a:lnTo>
                  <a:lnTo>
                    <a:pt x="904" y="2661"/>
                  </a:lnTo>
                  <a:lnTo>
                    <a:pt x="906" y="2659"/>
                  </a:lnTo>
                  <a:lnTo>
                    <a:pt x="906" y="2658"/>
                  </a:lnTo>
                  <a:lnTo>
                    <a:pt x="904" y="2659"/>
                  </a:lnTo>
                  <a:lnTo>
                    <a:pt x="904" y="2658"/>
                  </a:lnTo>
                  <a:lnTo>
                    <a:pt x="903" y="2659"/>
                  </a:lnTo>
                  <a:lnTo>
                    <a:pt x="901" y="2658"/>
                  </a:lnTo>
                  <a:lnTo>
                    <a:pt x="901" y="2659"/>
                  </a:lnTo>
                  <a:lnTo>
                    <a:pt x="901" y="2661"/>
                  </a:lnTo>
                  <a:lnTo>
                    <a:pt x="899" y="2664"/>
                  </a:lnTo>
                  <a:lnTo>
                    <a:pt x="899" y="2666"/>
                  </a:lnTo>
                  <a:lnTo>
                    <a:pt x="899" y="2664"/>
                  </a:lnTo>
                  <a:lnTo>
                    <a:pt x="897" y="2668"/>
                  </a:lnTo>
                  <a:lnTo>
                    <a:pt x="899" y="2664"/>
                  </a:lnTo>
                  <a:lnTo>
                    <a:pt x="901" y="2661"/>
                  </a:lnTo>
                  <a:lnTo>
                    <a:pt x="901" y="2659"/>
                  </a:lnTo>
                  <a:lnTo>
                    <a:pt x="901" y="2656"/>
                  </a:lnTo>
                  <a:lnTo>
                    <a:pt x="904" y="2654"/>
                  </a:lnTo>
                  <a:lnTo>
                    <a:pt x="906" y="2654"/>
                  </a:lnTo>
                  <a:lnTo>
                    <a:pt x="908" y="2652"/>
                  </a:lnTo>
                  <a:lnTo>
                    <a:pt x="909" y="2654"/>
                  </a:lnTo>
                  <a:lnTo>
                    <a:pt x="911" y="2654"/>
                  </a:lnTo>
                  <a:lnTo>
                    <a:pt x="913" y="2654"/>
                  </a:lnTo>
                  <a:lnTo>
                    <a:pt x="914" y="2654"/>
                  </a:lnTo>
                  <a:lnTo>
                    <a:pt x="918" y="2654"/>
                  </a:lnTo>
                  <a:lnTo>
                    <a:pt x="918" y="2656"/>
                  </a:lnTo>
                  <a:lnTo>
                    <a:pt x="918" y="2654"/>
                  </a:lnTo>
                  <a:lnTo>
                    <a:pt x="920" y="2654"/>
                  </a:lnTo>
                  <a:lnTo>
                    <a:pt x="923" y="2654"/>
                  </a:lnTo>
                  <a:lnTo>
                    <a:pt x="925" y="2654"/>
                  </a:lnTo>
                  <a:lnTo>
                    <a:pt x="926" y="2654"/>
                  </a:lnTo>
                  <a:lnTo>
                    <a:pt x="928" y="2654"/>
                  </a:lnTo>
                  <a:lnTo>
                    <a:pt x="930" y="2652"/>
                  </a:lnTo>
                  <a:lnTo>
                    <a:pt x="931" y="2652"/>
                  </a:lnTo>
                  <a:lnTo>
                    <a:pt x="931" y="2651"/>
                  </a:lnTo>
                  <a:lnTo>
                    <a:pt x="935" y="2649"/>
                  </a:lnTo>
                  <a:lnTo>
                    <a:pt x="937" y="2646"/>
                  </a:lnTo>
                  <a:lnTo>
                    <a:pt x="938" y="2644"/>
                  </a:lnTo>
                  <a:lnTo>
                    <a:pt x="938" y="2642"/>
                  </a:lnTo>
                  <a:lnTo>
                    <a:pt x="938" y="2641"/>
                  </a:lnTo>
                  <a:lnTo>
                    <a:pt x="938" y="2637"/>
                  </a:lnTo>
                  <a:lnTo>
                    <a:pt x="937" y="2635"/>
                  </a:lnTo>
                  <a:lnTo>
                    <a:pt x="937" y="2634"/>
                  </a:lnTo>
                  <a:lnTo>
                    <a:pt x="935" y="2632"/>
                  </a:lnTo>
                  <a:lnTo>
                    <a:pt x="933" y="2627"/>
                  </a:lnTo>
                  <a:lnTo>
                    <a:pt x="933" y="2625"/>
                  </a:lnTo>
                  <a:lnTo>
                    <a:pt x="935" y="2622"/>
                  </a:lnTo>
                  <a:lnTo>
                    <a:pt x="937" y="2622"/>
                  </a:lnTo>
                  <a:lnTo>
                    <a:pt x="938" y="2620"/>
                  </a:lnTo>
                  <a:lnTo>
                    <a:pt x="938" y="2618"/>
                  </a:lnTo>
                  <a:lnTo>
                    <a:pt x="940" y="2617"/>
                  </a:lnTo>
                  <a:lnTo>
                    <a:pt x="942" y="2617"/>
                  </a:lnTo>
                  <a:lnTo>
                    <a:pt x="942" y="2613"/>
                  </a:lnTo>
                  <a:lnTo>
                    <a:pt x="942" y="2612"/>
                  </a:lnTo>
                  <a:lnTo>
                    <a:pt x="940" y="2610"/>
                  </a:lnTo>
                  <a:lnTo>
                    <a:pt x="940" y="2608"/>
                  </a:lnTo>
                  <a:lnTo>
                    <a:pt x="940" y="2605"/>
                  </a:lnTo>
                  <a:lnTo>
                    <a:pt x="940" y="2600"/>
                  </a:lnTo>
                  <a:lnTo>
                    <a:pt x="940" y="2596"/>
                  </a:lnTo>
                  <a:lnTo>
                    <a:pt x="940" y="2595"/>
                  </a:lnTo>
                  <a:lnTo>
                    <a:pt x="942" y="2593"/>
                  </a:lnTo>
                  <a:lnTo>
                    <a:pt x="943" y="2591"/>
                  </a:lnTo>
                  <a:lnTo>
                    <a:pt x="947" y="2591"/>
                  </a:lnTo>
                  <a:lnTo>
                    <a:pt x="947" y="2593"/>
                  </a:lnTo>
                  <a:lnTo>
                    <a:pt x="945" y="2595"/>
                  </a:lnTo>
                  <a:lnTo>
                    <a:pt x="947" y="2596"/>
                  </a:lnTo>
                  <a:lnTo>
                    <a:pt x="948" y="2600"/>
                  </a:lnTo>
                  <a:lnTo>
                    <a:pt x="948" y="2598"/>
                  </a:lnTo>
                  <a:lnTo>
                    <a:pt x="948" y="2596"/>
                  </a:lnTo>
                  <a:lnTo>
                    <a:pt x="948" y="2595"/>
                  </a:lnTo>
                  <a:lnTo>
                    <a:pt x="948" y="2591"/>
                  </a:lnTo>
                  <a:lnTo>
                    <a:pt x="948" y="2589"/>
                  </a:lnTo>
                  <a:lnTo>
                    <a:pt x="948" y="2588"/>
                  </a:lnTo>
                  <a:lnTo>
                    <a:pt x="947" y="2586"/>
                  </a:lnTo>
                  <a:lnTo>
                    <a:pt x="948" y="2584"/>
                  </a:lnTo>
                  <a:lnTo>
                    <a:pt x="948" y="2583"/>
                  </a:lnTo>
                  <a:lnTo>
                    <a:pt x="948" y="2581"/>
                  </a:lnTo>
                  <a:lnTo>
                    <a:pt x="948" y="2579"/>
                  </a:lnTo>
                  <a:lnTo>
                    <a:pt x="948" y="2578"/>
                  </a:lnTo>
                  <a:lnTo>
                    <a:pt x="947" y="2578"/>
                  </a:lnTo>
                  <a:lnTo>
                    <a:pt x="947" y="2574"/>
                  </a:lnTo>
                  <a:lnTo>
                    <a:pt x="948" y="2576"/>
                  </a:lnTo>
                  <a:lnTo>
                    <a:pt x="948" y="2579"/>
                  </a:lnTo>
                  <a:lnTo>
                    <a:pt x="950" y="2581"/>
                  </a:lnTo>
                  <a:lnTo>
                    <a:pt x="952" y="2583"/>
                  </a:lnTo>
                  <a:lnTo>
                    <a:pt x="953" y="2583"/>
                  </a:lnTo>
                  <a:lnTo>
                    <a:pt x="955" y="2584"/>
                  </a:lnTo>
                  <a:lnTo>
                    <a:pt x="957" y="2584"/>
                  </a:lnTo>
                  <a:lnTo>
                    <a:pt x="959" y="2584"/>
                  </a:lnTo>
                  <a:lnTo>
                    <a:pt x="962" y="2584"/>
                  </a:lnTo>
                  <a:lnTo>
                    <a:pt x="964" y="2583"/>
                  </a:lnTo>
                  <a:lnTo>
                    <a:pt x="967" y="2583"/>
                  </a:lnTo>
                  <a:lnTo>
                    <a:pt x="967" y="2581"/>
                  </a:lnTo>
                  <a:lnTo>
                    <a:pt x="965" y="2579"/>
                  </a:lnTo>
                  <a:lnTo>
                    <a:pt x="962" y="2578"/>
                  </a:lnTo>
                  <a:lnTo>
                    <a:pt x="960" y="2578"/>
                  </a:lnTo>
                  <a:lnTo>
                    <a:pt x="959" y="2578"/>
                  </a:lnTo>
                  <a:lnTo>
                    <a:pt x="957" y="2578"/>
                  </a:lnTo>
                  <a:lnTo>
                    <a:pt x="953" y="2578"/>
                  </a:lnTo>
                  <a:lnTo>
                    <a:pt x="952" y="2576"/>
                  </a:lnTo>
                  <a:lnTo>
                    <a:pt x="950" y="2576"/>
                  </a:lnTo>
                  <a:lnTo>
                    <a:pt x="948" y="2576"/>
                  </a:lnTo>
                  <a:lnTo>
                    <a:pt x="948" y="2574"/>
                  </a:lnTo>
                  <a:lnTo>
                    <a:pt x="947" y="2572"/>
                  </a:lnTo>
                  <a:lnTo>
                    <a:pt x="943" y="2572"/>
                  </a:lnTo>
                  <a:lnTo>
                    <a:pt x="942" y="2571"/>
                  </a:lnTo>
                  <a:lnTo>
                    <a:pt x="940" y="2571"/>
                  </a:lnTo>
                  <a:lnTo>
                    <a:pt x="938" y="2569"/>
                  </a:lnTo>
                  <a:lnTo>
                    <a:pt x="937" y="2569"/>
                  </a:lnTo>
                  <a:lnTo>
                    <a:pt x="933" y="2569"/>
                  </a:lnTo>
                  <a:lnTo>
                    <a:pt x="931" y="2571"/>
                  </a:lnTo>
                  <a:lnTo>
                    <a:pt x="933" y="2572"/>
                  </a:lnTo>
                  <a:lnTo>
                    <a:pt x="931" y="2572"/>
                  </a:lnTo>
                  <a:lnTo>
                    <a:pt x="930" y="2572"/>
                  </a:lnTo>
                  <a:lnTo>
                    <a:pt x="926" y="2571"/>
                  </a:lnTo>
                  <a:lnTo>
                    <a:pt x="925" y="2571"/>
                  </a:lnTo>
                  <a:lnTo>
                    <a:pt x="923" y="2569"/>
                  </a:lnTo>
                  <a:lnTo>
                    <a:pt x="920" y="2564"/>
                  </a:lnTo>
                  <a:lnTo>
                    <a:pt x="918" y="2562"/>
                  </a:lnTo>
                  <a:lnTo>
                    <a:pt x="914" y="2561"/>
                  </a:lnTo>
                  <a:lnTo>
                    <a:pt x="914" y="2559"/>
                  </a:lnTo>
                  <a:lnTo>
                    <a:pt x="913" y="2557"/>
                  </a:lnTo>
                  <a:lnTo>
                    <a:pt x="911" y="2557"/>
                  </a:lnTo>
                  <a:lnTo>
                    <a:pt x="913" y="2557"/>
                  </a:lnTo>
                  <a:lnTo>
                    <a:pt x="916" y="2557"/>
                  </a:lnTo>
                  <a:lnTo>
                    <a:pt x="918" y="2557"/>
                  </a:lnTo>
                  <a:lnTo>
                    <a:pt x="920" y="2557"/>
                  </a:lnTo>
                  <a:lnTo>
                    <a:pt x="921" y="2557"/>
                  </a:lnTo>
                  <a:lnTo>
                    <a:pt x="925" y="2555"/>
                  </a:lnTo>
                  <a:lnTo>
                    <a:pt x="926" y="2554"/>
                  </a:lnTo>
                  <a:lnTo>
                    <a:pt x="928" y="2554"/>
                  </a:lnTo>
                  <a:lnTo>
                    <a:pt x="928" y="2552"/>
                  </a:lnTo>
                  <a:lnTo>
                    <a:pt x="930" y="2550"/>
                  </a:lnTo>
                  <a:lnTo>
                    <a:pt x="930" y="2549"/>
                  </a:lnTo>
                  <a:lnTo>
                    <a:pt x="931" y="2549"/>
                  </a:lnTo>
                  <a:lnTo>
                    <a:pt x="933" y="2547"/>
                  </a:lnTo>
                  <a:lnTo>
                    <a:pt x="935" y="2545"/>
                  </a:lnTo>
                  <a:lnTo>
                    <a:pt x="935" y="2544"/>
                  </a:lnTo>
                  <a:lnTo>
                    <a:pt x="937" y="2544"/>
                  </a:lnTo>
                  <a:lnTo>
                    <a:pt x="937" y="2545"/>
                  </a:lnTo>
                  <a:lnTo>
                    <a:pt x="940" y="2547"/>
                  </a:lnTo>
                  <a:lnTo>
                    <a:pt x="942" y="2547"/>
                  </a:lnTo>
                  <a:lnTo>
                    <a:pt x="943" y="2547"/>
                  </a:lnTo>
                  <a:lnTo>
                    <a:pt x="947" y="2545"/>
                  </a:lnTo>
                  <a:lnTo>
                    <a:pt x="948" y="2545"/>
                  </a:lnTo>
                  <a:lnTo>
                    <a:pt x="948" y="2544"/>
                  </a:lnTo>
                  <a:lnTo>
                    <a:pt x="950" y="2542"/>
                  </a:lnTo>
                  <a:lnTo>
                    <a:pt x="950" y="2540"/>
                  </a:lnTo>
                  <a:lnTo>
                    <a:pt x="948" y="2538"/>
                  </a:lnTo>
                  <a:lnTo>
                    <a:pt x="947" y="2538"/>
                  </a:lnTo>
                  <a:lnTo>
                    <a:pt x="945" y="2538"/>
                  </a:lnTo>
                  <a:lnTo>
                    <a:pt x="942" y="2538"/>
                  </a:lnTo>
                  <a:lnTo>
                    <a:pt x="940" y="2542"/>
                  </a:lnTo>
                  <a:lnTo>
                    <a:pt x="940" y="2538"/>
                  </a:lnTo>
                  <a:lnTo>
                    <a:pt x="938" y="2537"/>
                  </a:lnTo>
                  <a:lnTo>
                    <a:pt x="938" y="2535"/>
                  </a:lnTo>
                  <a:lnTo>
                    <a:pt x="940" y="2533"/>
                  </a:lnTo>
                  <a:lnTo>
                    <a:pt x="940" y="2530"/>
                  </a:lnTo>
                  <a:lnTo>
                    <a:pt x="942" y="2530"/>
                  </a:lnTo>
                  <a:lnTo>
                    <a:pt x="943" y="2530"/>
                  </a:lnTo>
                  <a:lnTo>
                    <a:pt x="945" y="2530"/>
                  </a:lnTo>
                  <a:lnTo>
                    <a:pt x="947" y="2528"/>
                  </a:lnTo>
                  <a:lnTo>
                    <a:pt x="950" y="2527"/>
                  </a:lnTo>
                  <a:lnTo>
                    <a:pt x="952" y="2525"/>
                  </a:lnTo>
                  <a:lnTo>
                    <a:pt x="953" y="2525"/>
                  </a:lnTo>
                  <a:lnTo>
                    <a:pt x="953" y="2523"/>
                  </a:lnTo>
                  <a:lnTo>
                    <a:pt x="955" y="2521"/>
                  </a:lnTo>
                  <a:lnTo>
                    <a:pt x="955" y="2520"/>
                  </a:lnTo>
                  <a:lnTo>
                    <a:pt x="957" y="2516"/>
                  </a:lnTo>
                  <a:lnTo>
                    <a:pt x="957" y="2518"/>
                  </a:lnTo>
                  <a:lnTo>
                    <a:pt x="959" y="2516"/>
                  </a:lnTo>
                  <a:lnTo>
                    <a:pt x="960" y="2515"/>
                  </a:lnTo>
                  <a:lnTo>
                    <a:pt x="960" y="2513"/>
                  </a:lnTo>
                  <a:lnTo>
                    <a:pt x="962" y="2510"/>
                  </a:lnTo>
                  <a:lnTo>
                    <a:pt x="964" y="2508"/>
                  </a:lnTo>
                  <a:lnTo>
                    <a:pt x="964" y="2510"/>
                  </a:lnTo>
                  <a:lnTo>
                    <a:pt x="967" y="2508"/>
                  </a:lnTo>
                  <a:lnTo>
                    <a:pt x="970" y="2508"/>
                  </a:lnTo>
                  <a:lnTo>
                    <a:pt x="972" y="2506"/>
                  </a:lnTo>
                  <a:lnTo>
                    <a:pt x="972" y="2503"/>
                  </a:lnTo>
                  <a:lnTo>
                    <a:pt x="970" y="2504"/>
                  </a:lnTo>
                  <a:lnTo>
                    <a:pt x="969" y="2503"/>
                  </a:lnTo>
                  <a:lnTo>
                    <a:pt x="967" y="2503"/>
                  </a:lnTo>
                  <a:lnTo>
                    <a:pt x="969" y="2501"/>
                  </a:lnTo>
                  <a:lnTo>
                    <a:pt x="967" y="2501"/>
                  </a:lnTo>
                  <a:lnTo>
                    <a:pt x="967" y="2499"/>
                  </a:lnTo>
                  <a:lnTo>
                    <a:pt x="964" y="2498"/>
                  </a:lnTo>
                  <a:lnTo>
                    <a:pt x="965" y="2496"/>
                  </a:lnTo>
                  <a:lnTo>
                    <a:pt x="964" y="2496"/>
                  </a:lnTo>
                  <a:lnTo>
                    <a:pt x="964" y="2494"/>
                  </a:lnTo>
                  <a:lnTo>
                    <a:pt x="964" y="2493"/>
                  </a:lnTo>
                  <a:lnTo>
                    <a:pt x="964" y="2491"/>
                  </a:lnTo>
                  <a:lnTo>
                    <a:pt x="962" y="2493"/>
                  </a:lnTo>
                  <a:lnTo>
                    <a:pt x="962" y="2491"/>
                  </a:lnTo>
                  <a:lnTo>
                    <a:pt x="960" y="2491"/>
                  </a:lnTo>
                  <a:lnTo>
                    <a:pt x="957" y="2493"/>
                  </a:lnTo>
                  <a:lnTo>
                    <a:pt x="955" y="2493"/>
                  </a:lnTo>
                  <a:lnTo>
                    <a:pt x="953" y="2496"/>
                  </a:lnTo>
                  <a:lnTo>
                    <a:pt x="952" y="2496"/>
                  </a:lnTo>
                  <a:lnTo>
                    <a:pt x="950" y="2496"/>
                  </a:lnTo>
                  <a:lnTo>
                    <a:pt x="950" y="2499"/>
                  </a:lnTo>
                  <a:lnTo>
                    <a:pt x="952" y="2501"/>
                  </a:lnTo>
                  <a:lnTo>
                    <a:pt x="950" y="2503"/>
                  </a:lnTo>
                  <a:lnTo>
                    <a:pt x="948" y="2504"/>
                  </a:lnTo>
                  <a:lnTo>
                    <a:pt x="947" y="2504"/>
                  </a:lnTo>
                  <a:lnTo>
                    <a:pt x="945" y="2506"/>
                  </a:lnTo>
                  <a:lnTo>
                    <a:pt x="943" y="2508"/>
                  </a:lnTo>
                  <a:lnTo>
                    <a:pt x="942" y="2510"/>
                  </a:lnTo>
                  <a:lnTo>
                    <a:pt x="940" y="2511"/>
                  </a:lnTo>
                  <a:lnTo>
                    <a:pt x="937" y="2511"/>
                  </a:lnTo>
                  <a:lnTo>
                    <a:pt x="937" y="2513"/>
                  </a:lnTo>
                  <a:lnTo>
                    <a:pt x="938" y="2513"/>
                  </a:lnTo>
                  <a:lnTo>
                    <a:pt x="935" y="2515"/>
                  </a:lnTo>
                  <a:lnTo>
                    <a:pt x="933" y="2513"/>
                  </a:lnTo>
                  <a:lnTo>
                    <a:pt x="933" y="2510"/>
                  </a:lnTo>
                  <a:lnTo>
                    <a:pt x="931" y="2513"/>
                  </a:lnTo>
                  <a:lnTo>
                    <a:pt x="933" y="2513"/>
                  </a:lnTo>
                  <a:lnTo>
                    <a:pt x="931" y="2513"/>
                  </a:lnTo>
                  <a:lnTo>
                    <a:pt x="930" y="2515"/>
                  </a:lnTo>
                  <a:lnTo>
                    <a:pt x="928" y="2516"/>
                  </a:lnTo>
                  <a:lnTo>
                    <a:pt x="926" y="2516"/>
                  </a:lnTo>
                  <a:lnTo>
                    <a:pt x="925" y="2518"/>
                  </a:lnTo>
                  <a:lnTo>
                    <a:pt x="923" y="2520"/>
                  </a:lnTo>
                  <a:lnTo>
                    <a:pt x="923" y="2518"/>
                  </a:lnTo>
                  <a:lnTo>
                    <a:pt x="921" y="2516"/>
                  </a:lnTo>
                  <a:lnTo>
                    <a:pt x="921" y="2515"/>
                  </a:lnTo>
                  <a:lnTo>
                    <a:pt x="920" y="2513"/>
                  </a:lnTo>
                  <a:lnTo>
                    <a:pt x="921" y="2511"/>
                  </a:lnTo>
                  <a:lnTo>
                    <a:pt x="921" y="2510"/>
                  </a:lnTo>
                  <a:lnTo>
                    <a:pt x="923" y="2510"/>
                  </a:lnTo>
                  <a:lnTo>
                    <a:pt x="923" y="2508"/>
                  </a:lnTo>
                  <a:lnTo>
                    <a:pt x="923" y="2506"/>
                  </a:lnTo>
                  <a:lnTo>
                    <a:pt x="920" y="2506"/>
                  </a:lnTo>
                  <a:lnTo>
                    <a:pt x="918" y="2508"/>
                  </a:lnTo>
                  <a:lnTo>
                    <a:pt x="916" y="2506"/>
                  </a:lnTo>
                  <a:lnTo>
                    <a:pt x="916" y="2503"/>
                  </a:lnTo>
                  <a:lnTo>
                    <a:pt x="918" y="2503"/>
                  </a:lnTo>
                  <a:lnTo>
                    <a:pt x="918" y="2501"/>
                  </a:lnTo>
                  <a:lnTo>
                    <a:pt x="918" y="2499"/>
                  </a:lnTo>
                  <a:lnTo>
                    <a:pt x="916" y="2496"/>
                  </a:lnTo>
                  <a:lnTo>
                    <a:pt x="914" y="2494"/>
                  </a:lnTo>
                  <a:lnTo>
                    <a:pt x="913" y="2491"/>
                  </a:lnTo>
                  <a:lnTo>
                    <a:pt x="914" y="2491"/>
                  </a:lnTo>
                  <a:lnTo>
                    <a:pt x="914" y="2489"/>
                  </a:lnTo>
                  <a:lnTo>
                    <a:pt x="916" y="2487"/>
                  </a:lnTo>
                  <a:lnTo>
                    <a:pt x="914" y="2486"/>
                  </a:lnTo>
                  <a:lnTo>
                    <a:pt x="920" y="2482"/>
                  </a:lnTo>
                  <a:lnTo>
                    <a:pt x="918" y="2481"/>
                  </a:lnTo>
                  <a:lnTo>
                    <a:pt x="925" y="2479"/>
                  </a:lnTo>
                  <a:lnTo>
                    <a:pt x="925" y="2477"/>
                  </a:lnTo>
                  <a:lnTo>
                    <a:pt x="926" y="2475"/>
                  </a:lnTo>
                  <a:lnTo>
                    <a:pt x="926" y="2474"/>
                  </a:lnTo>
                  <a:lnTo>
                    <a:pt x="928" y="2472"/>
                  </a:lnTo>
                  <a:lnTo>
                    <a:pt x="930" y="2472"/>
                  </a:lnTo>
                  <a:lnTo>
                    <a:pt x="930" y="2474"/>
                  </a:lnTo>
                  <a:lnTo>
                    <a:pt x="931" y="2472"/>
                  </a:lnTo>
                  <a:lnTo>
                    <a:pt x="930" y="2470"/>
                  </a:lnTo>
                  <a:lnTo>
                    <a:pt x="930" y="2469"/>
                  </a:lnTo>
                  <a:lnTo>
                    <a:pt x="930" y="2467"/>
                  </a:lnTo>
                  <a:lnTo>
                    <a:pt x="928" y="2464"/>
                  </a:lnTo>
                  <a:lnTo>
                    <a:pt x="930" y="2464"/>
                  </a:lnTo>
                  <a:lnTo>
                    <a:pt x="930" y="2462"/>
                  </a:lnTo>
                  <a:lnTo>
                    <a:pt x="930" y="2460"/>
                  </a:lnTo>
                  <a:lnTo>
                    <a:pt x="930" y="2458"/>
                  </a:lnTo>
                  <a:lnTo>
                    <a:pt x="931" y="2458"/>
                  </a:lnTo>
                  <a:lnTo>
                    <a:pt x="933" y="2458"/>
                  </a:lnTo>
                  <a:lnTo>
                    <a:pt x="938" y="2455"/>
                  </a:lnTo>
                  <a:lnTo>
                    <a:pt x="940" y="2455"/>
                  </a:lnTo>
                  <a:lnTo>
                    <a:pt x="940" y="2457"/>
                  </a:lnTo>
                  <a:lnTo>
                    <a:pt x="942" y="2457"/>
                  </a:lnTo>
                  <a:lnTo>
                    <a:pt x="943" y="2455"/>
                  </a:lnTo>
                  <a:lnTo>
                    <a:pt x="947" y="2453"/>
                  </a:lnTo>
                  <a:lnTo>
                    <a:pt x="947" y="2452"/>
                  </a:lnTo>
                  <a:lnTo>
                    <a:pt x="950" y="2452"/>
                  </a:lnTo>
                  <a:lnTo>
                    <a:pt x="952" y="2450"/>
                  </a:lnTo>
                  <a:lnTo>
                    <a:pt x="953" y="2450"/>
                  </a:lnTo>
                  <a:lnTo>
                    <a:pt x="955" y="2452"/>
                  </a:lnTo>
                  <a:lnTo>
                    <a:pt x="955" y="2450"/>
                  </a:lnTo>
                  <a:lnTo>
                    <a:pt x="957" y="2448"/>
                  </a:lnTo>
                  <a:lnTo>
                    <a:pt x="960" y="2450"/>
                  </a:lnTo>
                  <a:lnTo>
                    <a:pt x="960" y="2448"/>
                  </a:lnTo>
                  <a:lnTo>
                    <a:pt x="964" y="2447"/>
                  </a:lnTo>
                  <a:lnTo>
                    <a:pt x="965" y="2447"/>
                  </a:lnTo>
                  <a:lnTo>
                    <a:pt x="969" y="2447"/>
                  </a:lnTo>
                  <a:lnTo>
                    <a:pt x="969" y="2445"/>
                  </a:lnTo>
                  <a:lnTo>
                    <a:pt x="969" y="2443"/>
                  </a:lnTo>
                  <a:lnTo>
                    <a:pt x="970" y="2441"/>
                  </a:lnTo>
                  <a:lnTo>
                    <a:pt x="969" y="2438"/>
                  </a:lnTo>
                  <a:lnTo>
                    <a:pt x="969" y="2436"/>
                  </a:lnTo>
                  <a:lnTo>
                    <a:pt x="969" y="2435"/>
                  </a:lnTo>
                  <a:lnTo>
                    <a:pt x="965" y="2433"/>
                  </a:lnTo>
                  <a:lnTo>
                    <a:pt x="964" y="2431"/>
                  </a:lnTo>
                  <a:lnTo>
                    <a:pt x="965" y="2431"/>
                  </a:lnTo>
                  <a:lnTo>
                    <a:pt x="969" y="2430"/>
                  </a:lnTo>
                  <a:lnTo>
                    <a:pt x="965" y="2428"/>
                  </a:lnTo>
                  <a:lnTo>
                    <a:pt x="967" y="2428"/>
                  </a:lnTo>
                  <a:lnTo>
                    <a:pt x="967" y="2424"/>
                  </a:lnTo>
                  <a:lnTo>
                    <a:pt x="967" y="2423"/>
                  </a:lnTo>
                  <a:lnTo>
                    <a:pt x="967" y="2419"/>
                  </a:lnTo>
                  <a:lnTo>
                    <a:pt x="967" y="2416"/>
                  </a:lnTo>
                  <a:lnTo>
                    <a:pt x="965" y="2416"/>
                  </a:lnTo>
                  <a:lnTo>
                    <a:pt x="969" y="2416"/>
                  </a:lnTo>
                  <a:lnTo>
                    <a:pt x="969" y="2413"/>
                  </a:lnTo>
                  <a:lnTo>
                    <a:pt x="967" y="2411"/>
                  </a:lnTo>
                  <a:lnTo>
                    <a:pt x="965" y="2409"/>
                  </a:lnTo>
                  <a:lnTo>
                    <a:pt x="965" y="2411"/>
                  </a:lnTo>
                  <a:lnTo>
                    <a:pt x="964" y="2414"/>
                  </a:lnTo>
                  <a:lnTo>
                    <a:pt x="962" y="2413"/>
                  </a:lnTo>
                  <a:lnTo>
                    <a:pt x="960" y="2413"/>
                  </a:lnTo>
                  <a:lnTo>
                    <a:pt x="959" y="2411"/>
                  </a:lnTo>
                  <a:lnTo>
                    <a:pt x="960" y="2411"/>
                  </a:lnTo>
                  <a:lnTo>
                    <a:pt x="964" y="2409"/>
                  </a:lnTo>
                  <a:lnTo>
                    <a:pt x="962" y="2407"/>
                  </a:lnTo>
                  <a:lnTo>
                    <a:pt x="962" y="2406"/>
                  </a:lnTo>
                  <a:lnTo>
                    <a:pt x="962" y="2407"/>
                  </a:lnTo>
                  <a:lnTo>
                    <a:pt x="960" y="2406"/>
                  </a:lnTo>
                  <a:lnTo>
                    <a:pt x="959" y="2404"/>
                  </a:lnTo>
                  <a:lnTo>
                    <a:pt x="959" y="2402"/>
                  </a:lnTo>
                  <a:lnTo>
                    <a:pt x="955" y="2402"/>
                  </a:lnTo>
                  <a:lnTo>
                    <a:pt x="955" y="2401"/>
                  </a:lnTo>
                  <a:lnTo>
                    <a:pt x="955" y="2399"/>
                  </a:lnTo>
                  <a:lnTo>
                    <a:pt x="953" y="2399"/>
                  </a:lnTo>
                  <a:lnTo>
                    <a:pt x="953" y="2397"/>
                  </a:lnTo>
                  <a:lnTo>
                    <a:pt x="952" y="2396"/>
                  </a:lnTo>
                  <a:lnTo>
                    <a:pt x="950" y="2396"/>
                  </a:lnTo>
                  <a:lnTo>
                    <a:pt x="948" y="2397"/>
                  </a:lnTo>
                  <a:lnTo>
                    <a:pt x="945" y="2397"/>
                  </a:lnTo>
                  <a:lnTo>
                    <a:pt x="943" y="2397"/>
                  </a:lnTo>
                  <a:lnTo>
                    <a:pt x="943" y="2394"/>
                  </a:lnTo>
                  <a:lnTo>
                    <a:pt x="945" y="2394"/>
                  </a:lnTo>
                  <a:lnTo>
                    <a:pt x="943" y="2392"/>
                  </a:lnTo>
                  <a:lnTo>
                    <a:pt x="943" y="2390"/>
                  </a:lnTo>
                  <a:lnTo>
                    <a:pt x="942" y="2389"/>
                  </a:lnTo>
                  <a:lnTo>
                    <a:pt x="943" y="2387"/>
                  </a:lnTo>
                  <a:lnTo>
                    <a:pt x="942" y="2385"/>
                  </a:lnTo>
                  <a:lnTo>
                    <a:pt x="943" y="2385"/>
                  </a:lnTo>
                  <a:lnTo>
                    <a:pt x="943" y="2384"/>
                  </a:lnTo>
                  <a:lnTo>
                    <a:pt x="943" y="2382"/>
                  </a:lnTo>
                  <a:lnTo>
                    <a:pt x="943" y="2380"/>
                  </a:lnTo>
                  <a:lnTo>
                    <a:pt x="943" y="2379"/>
                  </a:lnTo>
                  <a:lnTo>
                    <a:pt x="945" y="2380"/>
                  </a:lnTo>
                  <a:lnTo>
                    <a:pt x="947" y="2379"/>
                  </a:lnTo>
                  <a:lnTo>
                    <a:pt x="950" y="2380"/>
                  </a:lnTo>
                  <a:lnTo>
                    <a:pt x="952" y="2379"/>
                  </a:lnTo>
                  <a:lnTo>
                    <a:pt x="953" y="2373"/>
                  </a:lnTo>
                  <a:lnTo>
                    <a:pt x="953" y="2372"/>
                  </a:lnTo>
                  <a:lnTo>
                    <a:pt x="952" y="2370"/>
                  </a:lnTo>
                  <a:lnTo>
                    <a:pt x="950" y="2370"/>
                  </a:lnTo>
                  <a:lnTo>
                    <a:pt x="950" y="2372"/>
                  </a:lnTo>
                  <a:lnTo>
                    <a:pt x="950" y="2373"/>
                  </a:lnTo>
                  <a:lnTo>
                    <a:pt x="948" y="2375"/>
                  </a:lnTo>
                  <a:lnTo>
                    <a:pt x="947" y="2373"/>
                  </a:lnTo>
                  <a:lnTo>
                    <a:pt x="945" y="2375"/>
                  </a:lnTo>
                  <a:lnTo>
                    <a:pt x="943" y="2375"/>
                  </a:lnTo>
                  <a:lnTo>
                    <a:pt x="943" y="2377"/>
                  </a:lnTo>
                  <a:lnTo>
                    <a:pt x="942" y="2375"/>
                  </a:lnTo>
                  <a:lnTo>
                    <a:pt x="940" y="2375"/>
                  </a:lnTo>
                  <a:lnTo>
                    <a:pt x="938" y="2373"/>
                  </a:lnTo>
                  <a:lnTo>
                    <a:pt x="937" y="2372"/>
                  </a:lnTo>
                  <a:lnTo>
                    <a:pt x="935" y="2372"/>
                  </a:lnTo>
                  <a:lnTo>
                    <a:pt x="933" y="2372"/>
                  </a:lnTo>
                  <a:lnTo>
                    <a:pt x="933" y="2370"/>
                  </a:lnTo>
                  <a:lnTo>
                    <a:pt x="931" y="2368"/>
                  </a:lnTo>
                  <a:lnTo>
                    <a:pt x="933" y="2368"/>
                  </a:lnTo>
                  <a:lnTo>
                    <a:pt x="935" y="2368"/>
                  </a:lnTo>
                  <a:lnTo>
                    <a:pt x="937" y="2367"/>
                  </a:lnTo>
                  <a:lnTo>
                    <a:pt x="937" y="2365"/>
                  </a:lnTo>
                  <a:lnTo>
                    <a:pt x="938" y="2365"/>
                  </a:lnTo>
                  <a:lnTo>
                    <a:pt x="940" y="2363"/>
                  </a:lnTo>
                  <a:lnTo>
                    <a:pt x="943" y="2363"/>
                  </a:lnTo>
                  <a:lnTo>
                    <a:pt x="942" y="2362"/>
                  </a:lnTo>
                  <a:lnTo>
                    <a:pt x="942" y="2358"/>
                  </a:lnTo>
                  <a:lnTo>
                    <a:pt x="943" y="2355"/>
                  </a:lnTo>
                  <a:lnTo>
                    <a:pt x="943" y="2353"/>
                  </a:lnTo>
                  <a:lnTo>
                    <a:pt x="945" y="2351"/>
                  </a:lnTo>
                  <a:lnTo>
                    <a:pt x="945" y="2350"/>
                  </a:lnTo>
                  <a:lnTo>
                    <a:pt x="945" y="2348"/>
                  </a:lnTo>
                  <a:lnTo>
                    <a:pt x="947" y="2348"/>
                  </a:lnTo>
                  <a:lnTo>
                    <a:pt x="948" y="2346"/>
                  </a:lnTo>
                  <a:lnTo>
                    <a:pt x="948" y="2345"/>
                  </a:lnTo>
                  <a:lnTo>
                    <a:pt x="947" y="2345"/>
                  </a:lnTo>
                  <a:lnTo>
                    <a:pt x="947" y="2343"/>
                  </a:lnTo>
                  <a:lnTo>
                    <a:pt x="945" y="2341"/>
                  </a:lnTo>
                  <a:lnTo>
                    <a:pt x="945" y="2339"/>
                  </a:lnTo>
                  <a:lnTo>
                    <a:pt x="942" y="2339"/>
                  </a:lnTo>
                  <a:lnTo>
                    <a:pt x="940" y="2339"/>
                  </a:lnTo>
                  <a:lnTo>
                    <a:pt x="938" y="2338"/>
                  </a:lnTo>
                  <a:lnTo>
                    <a:pt x="937" y="2336"/>
                  </a:lnTo>
                  <a:lnTo>
                    <a:pt x="935" y="2336"/>
                  </a:lnTo>
                  <a:lnTo>
                    <a:pt x="935" y="2333"/>
                  </a:lnTo>
                  <a:lnTo>
                    <a:pt x="933" y="2331"/>
                  </a:lnTo>
                  <a:lnTo>
                    <a:pt x="935" y="2331"/>
                  </a:lnTo>
                  <a:lnTo>
                    <a:pt x="938" y="2326"/>
                  </a:lnTo>
                  <a:lnTo>
                    <a:pt x="937" y="2324"/>
                  </a:lnTo>
                  <a:lnTo>
                    <a:pt x="935" y="2324"/>
                  </a:lnTo>
                  <a:lnTo>
                    <a:pt x="933" y="2326"/>
                  </a:lnTo>
                  <a:lnTo>
                    <a:pt x="931" y="2326"/>
                  </a:lnTo>
                  <a:lnTo>
                    <a:pt x="928" y="2328"/>
                  </a:lnTo>
                  <a:lnTo>
                    <a:pt x="928" y="2331"/>
                  </a:lnTo>
                  <a:lnTo>
                    <a:pt x="926" y="2333"/>
                  </a:lnTo>
                  <a:lnTo>
                    <a:pt x="925" y="2333"/>
                  </a:lnTo>
                  <a:lnTo>
                    <a:pt x="923" y="2334"/>
                  </a:lnTo>
                  <a:lnTo>
                    <a:pt x="921" y="2333"/>
                  </a:lnTo>
                  <a:lnTo>
                    <a:pt x="920" y="2333"/>
                  </a:lnTo>
                  <a:lnTo>
                    <a:pt x="918" y="2333"/>
                  </a:lnTo>
                  <a:lnTo>
                    <a:pt x="916" y="2333"/>
                  </a:lnTo>
                  <a:lnTo>
                    <a:pt x="914" y="2331"/>
                  </a:lnTo>
                  <a:lnTo>
                    <a:pt x="911" y="2329"/>
                  </a:lnTo>
                  <a:lnTo>
                    <a:pt x="909" y="2328"/>
                  </a:lnTo>
                  <a:lnTo>
                    <a:pt x="909" y="2326"/>
                  </a:lnTo>
                  <a:lnTo>
                    <a:pt x="908" y="2326"/>
                  </a:lnTo>
                  <a:lnTo>
                    <a:pt x="906" y="2328"/>
                  </a:lnTo>
                  <a:lnTo>
                    <a:pt x="904" y="2328"/>
                  </a:lnTo>
                  <a:lnTo>
                    <a:pt x="903" y="2328"/>
                  </a:lnTo>
                  <a:lnTo>
                    <a:pt x="901" y="2329"/>
                  </a:lnTo>
                  <a:lnTo>
                    <a:pt x="899" y="2329"/>
                  </a:lnTo>
                  <a:lnTo>
                    <a:pt x="897" y="2329"/>
                  </a:lnTo>
                  <a:lnTo>
                    <a:pt x="896" y="2331"/>
                  </a:lnTo>
                  <a:lnTo>
                    <a:pt x="894" y="2329"/>
                  </a:lnTo>
                  <a:lnTo>
                    <a:pt x="892" y="2328"/>
                  </a:lnTo>
                  <a:lnTo>
                    <a:pt x="891" y="2326"/>
                  </a:lnTo>
                  <a:lnTo>
                    <a:pt x="889" y="2324"/>
                  </a:lnTo>
                  <a:lnTo>
                    <a:pt x="887" y="2326"/>
                  </a:lnTo>
                  <a:lnTo>
                    <a:pt x="887" y="2328"/>
                  </a:lnTo>
                  <a:lnTo>
                    <a:pt x="886" y="2331"/>
                  </a:lnTo>
                  <a:lnTo>
                    <a:pt x="884" y="2331"/>
                  </a:lnTo>
                  <a:lnTo>
                    <a:pt x="882" y="2333"/>
                  </a:lnTo>
                  <a:lnTo>
                    <a:pt x="880" y="2334"/>
                  </a:lnTo>
                  <a:lnTo>
                    <a:pt x="879" y="2333"/>
                  </a:lnTo>
                  <a:lnTo>
                    <a:pt x="877" y="2331"/>
                  </a:lnTo>
                  <a:lnTo>
                    <a:pt x="877" y="2329"/>
                  </a:lnTo>
                  <a:lnTo>
                    <a:pt x="875" y="2331"/>
                  </a:lnTo>
                  <a:lnTo>
                    <a:pt x="872" y="2331"/>
                  </a:lnTo>
                  <a:lnTo>
                    <a:pt x="870" y="2331"/>
                  </a:lnTo>
                  <a:lnTo>
                    <a:pt x="869" y="2331"/>
                  </a:lnTo>
                  <a:lnTo>
                    <a:pt x="869" y="2329"/>
                  </a:lnTo>
                  <a:lnTo>
                    <a:pt x="867" y="2329"/>
                  </a:lnTo>
                  <a:lnTo>
                    <a:pt x="865" y="2328"/>
                  </a:lnTo>
                  <a:lnTo>
                    <a:pt x="867" y="2326"/>
                  </a:lnTo>
                  <a:lnTo>
                    <a:pt x="863" y="2324"/>
                  </a:lnTo>
                  <a:lnTo>
                    <a:pt x="865" y="2328"/>
                  </a:lnTo>
                  <a:lnTo>
                    <a:pt x="863" y="2329"/>
                  </a:lnTo>
                  <a:lnTo>
                    <a:pt x="862" y="2328"/>
                  </a:lnTo>
                  <a:lnTo>
                    <a:pt x="860" y="2328"/>
                  </a:lnTo>
                  <a:lnTo>
                    <a:pt x="858" y="2331"/>
                  </a:lnTo>
                  <a:lnTo>
                    <a:pt x="857" y="2331"/>
                  </a:lnTo>
                  <a:lnTo>
                    <a:pt x="855" y="2329"/>
                  </a:lnTo>
                  <a:lnTo>
                    <a:pt x="853" y="2329"/>
                  </a:lnTo>
                  <a:lnTo>
                    <a:pt x="853" y="2331"/>
                  </a:lnTo>
                  <a:lnTo>
                    <a:pt x="850" y="2331"/>
                  </a:lnTo>
                  <a:lnTo>
                    <a:pt x="850" y="2329"/>
                  </a:lnTo>
                  <a:lnTo>
                    <a:pt x="848" y="2328"/>
                  </a:lnTo>
                  <a:lnTo>
                    <a:pt x="846" y="2326"/>
                  </a:lnTo>
                  <a:lnTo>
                    <a:pt x="845" y="2328"/>
                  </a:lnTo>
                  <a:lnTo>
                    <a:pt x="841" y="2329"/>
                  </a:lnTo>
                  <a:lnTo>
                    <a:pt x="843" y="2331"/>
                  </a:lnTo>
                  <a:lnTo>
                    <a:pt x="843" y="2333"/>
                  </a:lnTo>
                  <a:lnTo>
                    <a:pt x="845" y="2334"/>
                  </a:lnTo>
                  <a:lnTo>
                    <a:pt x="846" y="2334"/>
                  </a:lnTo>
                  <a:lnTo>
                    <a:pt x="845" y="2336"/>
                  </a:lnTo>
                  <a:lnTo>
                    <a:pt x="845" y="2338"/>
                  </a:lnTo>
                  <a:lnTo>
                    <a:pt x="843" y="2339"/>
                  </a:lnTo>
                  <a:lnTo>
                    <a:pt x="843" y="2338"/>
                  </a:lnTo>
                  <a:lnTo>
                    <a:pt x="840" y="2341"/>
                  </a:lnTo>
                  <a:lnTo>
                    <a:pt x="840" y="2343"/>
                  </a:lnTo>
                  <a:lnTo>
                    <a:pt x="838" y="2341"/>
                  </a:lnTo>
                  <a:lnTo>
                    <a:pt x="840" y="2341"/>
                  </a:lnTo>
                  <a:lnTo>
                    <a:pt x="836" y="2339"/>
                  </a:lnTo>
                  <a:lnTo>
                    <a:pt x="835" y="2339"/>
                  </a:lnTo>
                  <a:lnTo>
                    <a:pt x="833" y="2338"/>
                  </a:lnTo>
                  <a:lnTo>
                    <a:pt x="831" y="2336"/>
                  </a:lnTo>
                  <a:lnTo>
                    <a:pt x="829" y="2336"/>
                  </a:lnTo>
                  <a:lnTo>
                    <a:pt x="826" y="2336"/>
                  </a:lnTo>
                  <a:lnTo>
                    <a:pt x="824" y="2334"/>
                  </a:lnTo>
                  <a:lnTo>
                    <a:pt x="824" y="2336"/>
                  </a:lnTo>
                  <a:lnTo>
                    <a:pt x="823" y="2336"/>
                  </a:lnTo>
                  <a:lnTo>
                    <a:pt x="821" y="2334"/>
                  </a:lnTo>
                  <a:lnTo>
                    <a:pt x="821" y="2333"/>
                  </a:lnTo>
                  <a:lnTo>
                    <a:pt x="818" y="2333"/>
                  </a:lnTo>
                  <a:lnTo>
                    <a:pt x="816" y="2331"/>
                  </a:lnTo>
                  <a:lnTo>
                    <a:pt x="814" y="2329"/>
                  </a:lnTo>
                  <a:lnTo>
                    <a:pt x="814" y="2328"/>
                  </a:lnTo>
                  <a:lnTo>
                    <a:pt x="812" y="2324"/>
                  </a:lnTo>
                  <a:lnTo>
                    <a:pt x="812" y="2322"/>
                  </a:lnTo>
                  <a:lnTo>
                    <a:pt x="811" y="2324"/>
                  </a:lnTo>
                  <a:lnTo>
                    <a:pt x="809" y="2322"/>
                  </a:lnTo>
                  <a:lnTo>
                    <a:pt x="807" y="2322"/>
                  </a:lnTo>
                  <a:lnTo>
                    <a:pt x="806" y="2322"/>
                  </a:lnTo>
                  <a:lnTo>
                    <a:pt x="804" y="2321"/>
                  </a:lnTo>
                  <a:lnTo>
                    <a:pt x="802" y="2319"/>
                  </a:lnTo>
                  <a:lnTo>
                    <a:pt x="802" y="2317"/>
                  </a:lnTo>
                  <a:lnTo>
                    <a:pt x="802" y="2316"/>
                  </a:lnTo>
                  <a:lnTo>
                    <a:pt x="801" y="2319"/>
                  </a:lnTo>
                  <a:lnTo>
                    <a:pt x="799" y="2319"/>
                  </a:lnTo>
                  <a:lnTo>
                    <a:pt x="797" y="2319"/>
                  </a:lnTo>
                  <a:lnTo>
                    <a:pt x="795" y="2322"/>
                  </a:lnTo>
                  <a:lnTo>
                    <a:pt x="795" y="2324"/>
                  </a:lnTo>
                  <a:lnTo>
                    <a:pt x="794" y="2326"/>
                  </a:lnTo>
                  <a:lnTo>
                    <a:pt x="792" y="2328"/>
                  </a:lnTo>
                  <a:lnTo>
                    <a:pt x="790" y="2328"/>
                  </a:lnTo>
                  <a:lnTo>
                    <a:pt x="789" y="2329"/>
                  </a:lnTo>
                  <a:lnTo>
                    <a:pt x="787" y="2331"/>
                  </a:lnTo>
                  <a:lnTo>
                    <a:pt x="785" y="2331"/>
                  </a:lnTo>
                  <a:lnTo>
                    <a:pt x="784" y="2331"/>
                  </a:lnTo>
                  <a:lnTo>
                    <a:pt x="782" y="2333"/>
                  </a:lnTo>
                  <a:lnTo>
                    <a:pt x="780" y="2334"/>
                  </a:lnTo>
                  <a:lnTo>
                    <a:pt x="778" y="2336"/>
                  </a:lnTo>
                  <a:lnTo>
                    <a:pt x="777" y="2338"/>
                  </a:lnTo>
                  <a:lnTo>
                    <a:pt x="777" y="2339"/>
                  </a:lnTo>
                  <a:lnTo>
                    <a:pt x="775" y="2341"/>
                  </a:lnTo>
                  <a:lnTo>
                    <a:pt x="775" y="2343"/>
                  </a:lnTo>
                  <a:lnTo>
                    <a:pt x="773" y="2345"/>
                  </a:lnTo>
                  <a:lnTo>
                    <a:pt x="772" y="2345"/>
                  </a:lnTo>
                  <a:lnTo>
                    <a:pt x="770" y="2345"/>
                  </a:lnTo>
                  <a:lnTo>
                    <a:pt x="770" y="2341"/>
                  </a:lnTo>
                  <a:lnTo>
                    <a:pt x="768" y="2343"/>
                  </a:lnTo>
                  <a:lnTo>
                    <a:pt x="767" y="2343"/>
                  </a:lnTo>
                  <a:lnTo>
                    <a:pt x="765" y="2341"/>
                  </a:lnTo>
                  <a:lnTo>
                    <a:pt x="763" y="2343"/>
                  </a:lnTo>
                  <a:lnTo>
                    <a:pt x="761" y="2341"/>
                  </a:lnTo>
                  <a:lnTo>
                    <a:pt x="761" y="2343"/>
                  </a:lnTo>
                  <a:lnTo>
                    <a:pt x="760" y="2345"/>
                  </a:lnTo>
                  <a:lnTo>
                    <a:pt x="758" y="2346"/>
                  </a:lnTo>
                  <a:lnTo>
                    <a:pt x="756" y="2343"/>
                  </a:lnTo>
                  <a:lnTo>
                    <a:pt x="753" y="2343"/>
                  </a:lnTo>
                  <a:lnTo>
                    <a:pt x="753" y="2341"/>
                  </a:lnTo>
                  <a:lnTo>
                    <a:pt x="750" y="2341"/>
                  </a:lnTo>
                  <a:lnTo>
                    <a:pt x="748" y="2339"/>
                  </a:lnTo>
                  <a:lnTo>
                    <a:pt x="746" y="2339"/>
                  </a:lnTo>
                  <a:lnTo>
                    <a:pt x="744" y="2339"/>
                  </a:lnTo>
                  <a:lnTo>
                    <a:pt x="743" y="2339"/>
                  </a:lnTo>
                  <a:lnTo>
                    <a:pt x="741" y="2341"/>
                  </a:lnTo>
                  <a:lnTo>
                    <a:pt x="739" y="2343"/>
                  </a:lnTo>
                  <a:lnTo>
                    <a:pt x="736" y="2343"/>
                  </a:lnTo>
                  <a:lnTo>
                    <a:pt x="736" y="2345"/>
                  </a:lnTo>
                  <a:lnTo>
                    <a:pt x="734" y="2345"/>
                  </a:lnTo>
                  <a:lnTo>
                    <a:pt x="733" y="2346"/>
                  </a:lnTo>
                  <a:lnTo>
                    <a:pt x="734" y="2346"/>
                  </a:lnTo>
                  <a:lnTo>
                    <a:pt x="733" y="2350"/>
                  </a:lnTo>
                  <a:lnTo>
                    <a:pt x="733" y="2351"/>
                  </a:lnTo>
                  <a:lnTo>
                    <a:pt x="729" y="2351"/>
                  </a:lnTo>
                  <a:lnTo>
                    <a:pt x="727" y="2353"/>
                  </a:lnTo>
                  <a:lnTo>
                    <a:pt x="726" y="2351"/>
                  </a:lnTo>
                  <a:lnTo>
                    <a:pt x="724" y="2348"/>
                  </a:lnTo>
                  <a:lnTo>
                    <a:pt x="724" y="2346"/>
                  </a:lnTo>
                  <a:lnTo>
                    <a:pt x="722" y="2346"/>
                  </a:lnTo>
                  <a:lnTo>
                    <a:pt x="722" y="2348"/>
                  </a:lnTo>
                  <a:lnTo>
                    <a:pt x="722" y="2346"/>
                  </a:lnTo>
                  <a:lnTo>
                    <a:pt x="719" y="2346"/>
                  </a:lnTo>
                  <a:lnTo>
                    <a:pt x="717" y="2345"/>
                  </a:lnTo>
                  <a:lnTo>
                    <a:pt x="716" y="2345"/>
                  </a:lnTo>
                  <a:lnTo>
                    <a:pt x="716" y="2343"/>
                  </a:lnTo>
                  <a:lnTo>
                    <a:pt x="712" y="2341"/>
                  </a:lnTo>
                  <a:lnTo>
                    <a:pt x="714" y="2339"/>
                  </a:lnTo>
                  <a:lnTo>
                    <a:pt x="710" y="2338"/>
                  </a:lnTo>
                  <a:lnTo>
                    <a:pt x="710" y="2336"/>
                  </a:lnTo>
                  <a:lnTo>
                    <a:pt x="714" y="2334"/>
                  </a:lnTo>
                  <a:lnTo>
                    <a:pt x="714" y="2333"/>
                  </a:lnTo>
                  <a:lnTo>
                    <a:pt x="712" y="2333"/>
                  </a:lnTo>
                  <a:lnTo>
                    <a:pt x="712" y="2331"/>
                  </a:lnTo>
                  <a:lnTo>
                    <a:pt x="712" y="2329"/>
                  </a:lnTo>
                  <a:lnTo>
                    <a:pt x="712" y="2328"/>
                  </a:lnTo>
                  <a:lnTo>
                    <a:pt x="710" y="2328"/>
                  </a:lnTo>
                  <a:lnTo>
                    <a:pt x="709" y="2326"/>
                  </a:lnTo>
                  <a:lnTo>
                    <a:pt x="707" y="2324"/>
                  </a:lnTo>
                  <a:lnTo>
                    <a:pt x="705" y="2322"/>
                  </a:lnTo>
                  <a:lnTo>
                    <a:pt x="705" y="2321"/>
                  </a:lnTo>
                  <a:lnTo>
                    <a:pt x="704" y="2321"/>
                  </a:lnTo>
                  <a:lnTo>
                    <a:pt x="705" y="2319"/>
                  </a:lnTo>
                  <a:lnTo>
                    <a:pt x="704" y="2319"/>
                  </a:lnTo>
                  <a:lnTo>
                    <a:pt x="702" y="2319"/>
                  </a:lnTo>
                  <a:lnTo>
                    <a:pt x="700" y="2319"/>
                  </a:lnTo>
                  <a:lnTo>
                    <a:pt x="702" y="2316"/>
                  </a:lnTo>
                  <a:lnTo>
                    <a:pt x="699" y="2314"/>
                  </a:lnTo>
                  <a:lnTo>
                    <a:pt x="702" y="2314"/>
                  </a:lnTo>
                  <a:lnTo>
                    <a:pt x="702" y="2312"/>
                  </a:lnTo>
                  <a:lnTo>
                    <a:pt x="702" y="2310"/>
                  </a:lnTo>
                  <a:lnTo>
                    <a:pt x="700" y="2309"/>
                  </a:lnTo>
                  <a:lnTo>
                    <a:pt x="697" y="2310"/>
                  </a:lnTo>
                  <a:lnTo>
                    <a:pt x="697" y="2312"/>
                  </a:lnTo>
                  <a:lnTo>
                    <a:pt x="695" y="2312"/>
                  </a:lnTo>
                  <a:lnTo>
                    <a:pt x="693" y="2314"/>
                  </a:lnTo>
                  <a:lnTo>
                    <a:pt x="692" y="2312"/>
                  </a:lnTo>
                  <a:lnTo>
                    <a:pt x="690" y="2312"/>
                  </a:lnTo>
                  <a:lnTo>
                    <a:pt x="692" y="2310"/>
                  </a:lnTo>
                  <a:lnTo>
                    <a:pt x="690" y="2309"/>
                  </a:lnTo>
                  <a:lnTo>
                    <a:pt x="688" y="2309"/>
                  </a:lnTo>
                  <a:lnTo>
                    <a:pt x="687" y="2307"/>
                  </a:lnTo>
                  <a:lnTo>
                    <a:pt x="688" y="2307"/>
                  </a:lnTo>
                  <a:lnTo>
                    <a:pt x="687" y="2305"/>
                  </a:lnTo>
                  <a:lnTo>
                    <a:pt x="687" y="2302"/>
                  </a:lnTo>
                  <a:lnTo>
                    <a:pt x="685" y="2302"/>
                  </a:lnTo>
                  <a:lnTo>
                    <a:pt x="683" y="2304"/>
                  </a:lnTo>
                  <a:lnTo>
                    <a:pt x="683" y="2305"/>
                  </a:lnTo>
                  <a:lnTo>
                    <a:pt x="682" y="2304"/>
                  </a:lnTo>
                  <a:lnTo>
                    <a:pt x="680" y="2305"/>
                  </a:lnTo>
                  <a:lnTo>
                    <a:pt x="678" y="2305"/>
                  </a:lnTo>
                  <a:lnTo>
                    <a:pt x="678" y="2307"/>
                  </a:lnTo>
                  <a:lnTo>
                    <a:pt x="678" y="2309"/>
                  </a:lnTo>
                  <a:lnTo>
                    <a:pt x="676" y="2309"/>
                  </a:lnTo>
                  <a:lnTo>
                    <a:pt x="675" y="2310"/>
                  </a:lnTo>
                  <a:lnTo>
                    <a:pt x="673" y="2310"/>
                  </a:lnTo>
                  <a:lnTo>
                    <a:pt x="673" y="2312"/>
                  </a:lnTo>
                  <a:lnTo>
                    <a:pt x="670" y="2312"/>
                  </a:lnTo>
                  <a:lnTo>
                    <a:pt x="668" y="2312"/>
                  </a:lnTo>
                  <a:lnTo>
                    <a:pt x="666" y="2309"/>
                  </a:lnTo>
                  <a:lnTo>
                    <a:pt x="665" y="2309"/>
                  </a:lnTo>
                  <a:lnTo>
                    <a:pt x="663" y="2310"/>
                  </a:lnTo>
                  <a:lnTo>
                    <a:pt x="661" y="2310"/>
                  </a:lnTo>
                  <a:lnTo>
                    <a:pt x="659" y="2310"/>
                  </a:lnTo>
                  <a:lnTo>
                    <a:pt x="658" y="2310"/>
                  </a:lnTo>
                  <a:lnTo>
                    <a:pt x="654" y="2310"/>
                  </a:lnTo>
                  <a:lnTo>
                    <a:pt x="653" y="2312"/>
                  </a:lnTo>
                  <a:lnTo>
                    <a:pt x="653" y="2314"/>
                  </a:lnTo>
                  <a:lnTo>
                    <a:pt x="651" y="2314"/>
                  </a:lnTo>
                  <a:lnTo>
                    <a:pt x="648" y="2314"/>
                  </a:lnTo>
                  <a:lnTo>
                    <a:pt x="649" y="2312"/>
                  </a:lnTo>
                  <a:lnTo>
                    <a:pt x="648" y="2312"/>
                  </a:lnTo>
                  <a:lnTo>
                    <a:pt x="649" y="2310"/>
                  </a:lnTo>
                  <a:lnTo>
                    <a:pt x="649" y="2309"/>
                  </a:lnTo>
                  <a:lnTo>
                    <a:pt x="651" y="2309"/>
                  </a:lnTo>
                  <a:lnTo>
                    <a:pt x="651" y="2305"/>
                  </a:lnTo>
                  <a:lnTo>
                    <a:pt x="649" y="2305"/>
                  </a:lnTo>
                  <a:lnTo>
                    <a:pt x="648" y="2305"/>
                  </a:lnTo>
                  <a:lnTo>
                    <a:pt x="648" y="2304"/>
                  </a:lnTo>
                  <a:lnTo>
                    <a:pt x="646" y="2305"/>
                  </a:lnTo>
                  <a:lnTo>
                    <a:pt x="644" y="2304"/>
                  </a:lnTo>
                  <a:lnTo>
                    <a:pt x="646" y="2302"/>
                  </a:lnTo>
                  <a:lnTo>
                    <a:pt x="644" y="2300"/>
                  </a:lnTo>
                  <a:lnTo>
                    <a:pt x="646" y="2299"/>
                  </a:lnTo>
                  <a:lnTo>
                    <a:pt x="646" y="2295"/>
                  </a:lnTo>
                  <a:lnTo>
                    <a:pt x="642" y="2295"/>
                  </a:lnTo>
                  <a:lnTo>
                    <a:pt x="642" y="2293"/>
                  </a:lnTo>
                  <a:lnTo>
                    <a:pt x="641" y="2292"/>
                  </a:lnTo>
                  <a:lnTo>
                    <a:pt x="641" y="2293"/>
                  </a:lnTo>
                  <a:lnTo>
                    <a:pt x="639" y="2292"/>
                  </a:lnTo>
                  <a:lnTo>
                    <a:pt x="637" y="2290"/>
                  </a:lnTo>
                  <a:lnTo>
                    <a:pt x="636" y="2290"/>
                  </a:lnTo>
                  <a:lnTo>
                    <a:pt x="634" y="2288"/>
                  </a:lnTo>
                  <a:lnTo>
                    <a:pt x="632" y="2288"/>
                  </a:lnTo>
                  <a:lnTo>
                    <a:pt x="634" y="2287"/>
                  </a:lnTo>
                  <a:lnTo>
                    <a:pt x="637" y="2285"/>
                  </a:lnTo>
                  <a:lnTo>
                    <a:pt x="639" y="2285"/>
                  </a:lnTo>
                  <a:lnTo>
                    <a:pt x="641" y="2283"/>
                  </a:lnTo>
                  <a:lnTo>
                    <a:pt x="641" y="2282"/>
                  </a:lnTo>
                  <a:lnTo>
                    <a:pt x="644" y="2282"/>
                  </a:lnTo>
                  <a:lnTo>
                    <a:pt x="646" y="2280"/>
                  </a:lnTo>
                  <a:lnTo>
                    <a:pt x="646" y="2278"/>
                  </a:lnTo>
                  <a:lnTo>
                    <a:pt x="644" y="2276"/>
                  </a:lnTo>
                  <a:lnTo>
                    <a:pt x="642" y="2273"/>
                  </a:lnTo>
                  <a:lnTo>
                    <a:pt x="641" y="2273"/>
                  </a:lnTo>
                  <a:lnTo>
                    <a:pt x="637" y="2271"/>
                  </a:lnTo>
                  <a:lnTo>
                    <a:pt x="634" y="2273"/>
                  </a:lnTo>
                  <a:lnTo>
                    <a:pt x="634" y="2271"/>
                  </a:lnTo>
                  <a:lnTo>
                    <a:pt x="632" y="2270"/>
                  </a:lnTo>
                  <a:lnTo>
                    <a:pt x="631" y="2268"/>
                  </a:lnTo>
                  <a:lnTo>
                    <a:pt x="629" y="2268"/>
                  </a:lnTo>
                  <a:lnTo>
                    <a:pt x="627" y="2266"/>
                  </a:lnTo>
                  <a:lnTo>
                    <a:pt x="625" y="2266"/>
                  </a:lnTo>
                  <a:lnTo>
                    <a:pt x="625" y="2265"/>
                  </a:lnTo>
                  <a:lnTo>
                    <a:pt x="622" y="2263"/>
                  </a:lnTo>
                  <a:lnTo>
                    <a:pt x="624" y="2261"/>
                  </a:lnTo>
                  <a:lnTo>
                    <a:pt x="624" y="2259"/>
                  </a:lnTo>
                  <a:lnTo>
                    <a:pt x="624" y="2258"/>
                  </a:lnTo>
                  <a:lnTo>
                    <a:pt x="622" y="2258"/>
                  </a:lnTo>
                  <a:lnTo>
                    <a:pt x="620" y="2256"/>
                  </a:lnTo>
                  <a:lnTo>
                    <a:pt x="619" y="2254"/>
                  </a:lnTo>
                  <a:lnTo>
                    <a:pt x="617" y="2254"/>
                  </a:lnTo>
                  <a:lnTo>
                    <a:pt x="617" y="2253"/>
                  </a:lnTo>
                  <a:lnTo>
                    <a:pt x="614" y="2253"/>
                  </a:lnTo>
                  <a:lnTo>
                    <a:pt x="614" y="2251"/>
                  </a:lnTo>
                  <a:lnTo>
                    <a:pt x="612" y="2249"/>
                  </a:lnTo>
                  <a:lnTo>
                    <a:pt x="610" y="2249"/>
                  </a:lnTo>
                  <a:lnTo>
                    <a:pt x="608" y="2249"/>
                  </a:lnTo>
                  <a:lnTo>
                    <a:pt x="608" y="2248"/>
                  </a:lnTo>
                  <a:lnTo>
                    <a:pt x="607" y="2246"/>
                  </a:lnTo>
                  <a:lnTo>
                    <a:pt x="605" y="2248"/>
                  </a:lnTo>
                  <a:lnTo>
                    <a:pt x="603" y="2249"/>
                  </a:lnTo>
                  <a:lnTo>
                    <a:pt x="602" y="2248"/>
                  </a:lnTo>
                  <a:lnTo>
                    <a:pt x="600" y="2251"/>
                  </a:lnTo>
                  <a:lnTo>
                    <a:pt x="598" y="2251"/>
                  </a:lnTo>
                  <a:lnTo>
                    <a:pt x="598" y="2254"/>
                  </a:lnTo>
                  <a:lnTo>
                    <a:pt x="597" y="2253"/>
                  </a:lnTo>
                  <a:lnTo>
                    <a:pt x="597" y="2254"/>
                  </a:lnTo>
                  <a:lnTo>
                    <a:pt x="595" y="2254"/>
                  </a:lnTo>
                  <a:lnTo>
                    <a:pt x="593" y="2254"/>
                  </a:lnTo>
                  <a:lnTo>
                    <a:pt x="595" y="2253"/>
                  </a:lnTo>
                  <a:lnTo>
                    <a:pt x="593" y="2251"/>
                  </a:lnTo>
                  <a:lnTo>
                    <a:pt x="591" y="2251"/>
                  </a:lnTo>
                  <a:lnTo>
                    <a:pt x="591" y="2253"/>
                  </a:lnTo>
                  <a:lnTo>
                    <a:pt x="590" y="2253"/>
                  </a:lnTo>
                  <a:lnTo>
                    <a:pt x="588" y="2253"/>
                  </a:lnTo>
                  <a:lnTo>
                    <a:pt x="588" y="2254"/>
                  </a:lnTo>
                  <a:lnTo>
                    <a:pt x="586" y="2254"/>
                  </a:lnTo>
                  <a:lnTo>
                    <a:pt x="585" y="2254"/>
                  </a:lnTo>
                  <a:lnTo>
                    <a:pt x="581" y="2254"/>
                  </a:lnTo>
                  <a:lnTo>
                    <a:pt x="580" y="2254"/>
                  </a:lnTo>
                  <a:lnTo>
                    <a:pt x="581" y="2258"/>
                  </a:lnTo>
                  <a:lnTo>
                    <a:pt x="580" y="2258"/>
                  </a:lnTo>
                  <a:lnTo>
                    <a:pt x="578" y="2261"/>
                  </a:lnTo>
                  <a:lnTo>
                    <a:pt x="576" y="2259"/>
                  </a:lnTo>
                  <a:lnTo>
                    <a:pt x="576" y="2261"/>
                  </a:lnTo>
                  <a:lnTo>
                    <a:pt x="574" y="2263"/>
                  </a:lnTo>
                  <a:lnTo>
                    <a:pt x="574" y="2265"/>
                  </a:lnTo>
                  <a:lnTo>
                    <a:pt x="573" y="2265"/>
                  </a:lnTo>
                  <a:lnTo>
                    <a:pt x="573" y="2266"/>
                  </a:lnTo>
                  <a:lnTo>
                    <a:pt x="571" y="2268"/>
                  </a:lnTo>
                  <a:lnTo>
                    <a:pt x="571" y="2266"/>
                  </a:lnTo>
                  <a:lnTo>
                    <a:pt x="568" y="2266"/>
                  </a:lnTo>
                  <a:lnTo>
                    <a:pt x="568" y="2268"/>
                  </a:lnTo>
                  <a:lnTo>
                    <a:pt x="566" y="2268"/>
                  </a:lnTo>
                  <a:lnTo>
                    <a:pt x="564" y="2270"/>
                  </a:lnTo>
                  <a:lnTo>
                    <a:pt x="563" y="2268"/>
                  </a:lnTo>
                  <a:lnTo>
                    <a:pt x="559" y="2268"/>
                  </a:lnTo>
                  <a:lnTo>
                    <a:pt x="559" y="2266"/>
                  </a:lnTo>
                  <a:lnTo>
                    <a:pt x="557" y="2268"/>
                  </a:lnTo>
                  <a:lnTo>
                    <a:pt x="556" y="2266"/>
                  </a:lnTo>
                  <a:lnTo>
                    <a:pt x="554" y="2266"/>
                  </a:lnTo>
                  <a:lnTo>
                    <a:pt x="554" y="2268"/>
                  </a:lnTo>
                  <a:lnTo>
                    <a:pt x="552" y="2268"/>
                  </a:lnTo>
                  <a:lnTo>
                    <a:pt x="551" y="2268"/>
                  </a:lnTo>
                  <a:lnTo>
                    <a:pt x="549" y="2268"/>
                  </a:lnTo>
                  <a:lnTo>
                    <a:pt x="547" y="2270"/>
                  </a:lnTo>
                  <a:lnTo>
                    <a:pt x="549" y="2271"/>
                  </a:lnTo>
                  <a:lnTo>
                    <a:pt x="551" y="2271"/>
                  </a:lnTo>
                  <a:lnTo>
                    <a:pt x="551" y="2273"/>
                  </a:lnTo>
                  <a:lnTo>
                    <a:pt x="549" y="2275"/>
                  </a:lnTo>
                  <a:lnTo>
                    <a:pt x="549" y="2276"/>
                  </a:lnTo>
                  <a:lnTo>
                    <a:pt x="551" y="2278"/>
                  </a:lnTo>
                  <a:lnTo>
                    <a:pt x="551" y="2282"/>
                  </a:lnTo>
                  <a:lnTo>
                    <a:pt x="552" y="2280"/>
                  </a:lnTo>
                  <a:lnTo>
                    <a:pt x="551" y="2282"/>
                  </a:lnTo>
                  <a:lnTo>
                    <a:pt x="551" y="2285"/>
                  </a:lnTo>
                  <a:lnTo>
                    <a:pt x="547" y="2287"/>
                  </a:lnTo>
                  <a:lnTo>
                    <a:pt x="547" y="2288"/>
                  </a:lnTo>
                  <a:lnTo>
                    <a:pt x="546" y="2288"/>
                  </a:lnTo>
                  <a:lnTo>
                    <a:pt x="546" y="2290"/>
                  </a:lnTo>
                  <a:lnTo>
                    <a:pt x="544" y="2292"/>
                  </a:lnTo>
                  <a:lnTo>
                    <a:pt x="542" y="2292"/>
                  </a:lnTo>
                  <a:lnTo>
                    <a:pt x="540" y="2292"/>
                  </a:lnTo>
                  <a:lnTo>
                    <a:pt x="537" y="2292"/>
                  </a:lnTo>
                  <a:lnTo>
                    <a:pt x="535" y="2293"/>
                  </a:lnTo>
                  <a:lnTo>
                    <a:pt x="537" y="2292"/>
                  </a:lnTo>
                  <a:lnTo>
                    <a:pt x="537" y="2290"/>
                  </a:lnTo>
                  <a:lnTo>
                    <a:pt x="535" y="2290"/>
                  </a:lnTo>
                  <a:lnTo>
                    <a:pt x="532" y="2290"/>
                  </a:lnTo>
                  <a:lnTo>
                    <a:pt x="530" y="2292"/>
                  </a:lnTo>
                  <a:lnTo>
                    <a:pt x="529" y="2290"/>
                  </a:lnTo>
                  <a:lnTo>
                    <a:pt x="530" y="2290"/>
                  </a:lnTo>
                  <a:lnTo>
                    <a:pt x="529" y="2288"/>
                  </a:lnTo>
                  <a:lnTo>
                    <a:pt x="529" y="2287"/>
                  </a:lnTo>
                  <a:lnTo>
                    <a:pt x="527" y="2285"/>
                  </a:lnTo>
                  <a:lnTo>
                    <a:pt x="525" y="2287"/>
                  </a:lnTo>
                  <a:lnTo>
                    <a:pt x="523" y="2287"/>
                  </a:lnTo>
                  <a:lnTo>
                    <a:pt x="523" y="2285"/>
                  </a:lnTo>
                  <a:lnTo>
                    <a:pt x="522" y="2282"/>
                  </a:lnTo>
                  <a:lnTo>
                    <a:pt x="523" y="2282"/>
                  </a:lnTo>
                  <a:lnTo>
                    <a:pt x="520" y="2282"/>
                  </a:lnTo>
                  <a:lnTo>
                    <a:pt x="518" y="2280"/>
                  </a:lnTo>
                  <a:lnTo>
                    <a:pt x="518" y="2282"/>
                  </a:lnTo>
                  <a:lnTo>
                    <a:pt x="517" y="2280"/>
                  </a:lnTo>
                  <a:lnTo>
                    <a:pt x="517" y="2278"/>
                  </a:lnTo>
                  <a:lnTo>
                    <a:pt x="518" y="2278"/>
                  </a:lnTo>
                  <a:lnTo>
                    <a:pt x="517" y="2275"/>
                  </a:lnTo>
                  <a:lnTo>
                    <a:pt x="517" y="2273"/>
                  </a:lnTo>
                  <a:lnTo>
                    <a:pt x="515" y="2273"/>
                  </a:lnTo>
                  <a:lnTo>
                    <a:pt x="515" y="2270"/>
                  </a:lnTo>
                  <a:lnTo>
                    <a:pt x="513" y="2270"/>
                  </a:lnTo>
                  <a:lnTo>
                    <a:pt x="515" y="2268"/>
                  </a:lnTo>
                  <a:lnTo>
                    <a:pt x="513" y="2266"/>
                  </a:lnTo>
                  <a:lnTo>
                    <a:pt x="513" y="2268"/>
                  </a:lnTo>
                  <a:lnTo>
                    <a:pt x="512" y="2266"/>
                  </a:lnTo>
                  <a:lnTo>
                    <a:pt x="513" y="2266"/>
                  </a:lnTo>
                  <a:lnTo>
                    <a:pt x="513" y="2263"/>
                  </a:lnTo>
                  <a:lnTo>
                    <a:pt x="515" y="2265"/>
                  </a:lnTo>
                  <a:lnTo>
                    <a:pt x="515" y="2263"/>
                  </a:lnTo>
                  <a:lnTo>
                    <a:pt x="513" y="2263"/>
                  </a:lnTo>
                  <a:lnTo>
                    <a:pt x="512" y="2261"/>
                  </a:lnTo>
                  <a:lnTo>
                    <a:pt x="510" y="2261"/>
                  </a:lnTo>
                  <a:lnTo>
                    <a:pt x="510" y="2258"/>
                  </a:lnTo>
                  <a:lnTo>
                    <a:pt x="508" y="2258"/>
                  </a:lnTo>
                  <a:lnTo>
                    <a:pt x="505" y="2256"/>
                  </a:lnTo>
                  <a:lnTo>
                    <a:pt x="508" y="2254"/>
                  </a:lnTo>
                  <a:lnTo>
                    <a:pt x="508" y="2253"/>
                  </a:lnTo>
                  <a:lnTo>
                    <a:pt x="508" y="2251"/>
                  </a:lnTo>
                  <a:lnTo>
                    <a:pt x="508" y="2249"/>
                  </a:lnTo>
                  <a:lnTo>
                    <a:pt x="506" y="2248"/>
                  </a:lnTo>
                  <a:lnTo>
                    <a:pt x="503" y="2246"/>
                  </a:lnTo>
                  <a:lnTo>
                    <a:pt x="503" y="2244"/>
                  </a:lnTo>
                  <a:lnTo>
                    <a:pt x="501" y="2244"/>
                  </a:lnTo>
                  <a:lnTo>
                    <a:pt x="500" y="2244"/>
                  </a:lnTo>
                  <a:lnTo>
                    <a:pt x="498" y="2242"/>
                  </a:lnTo>
                  <a:lnTo>
                    <a:pt x="496" y="2242"/>
                  </a:lnTo>
                  <a:lnTo>
                    <a:pt x="496" y="2241"/>
                  </a:lnTo>
                  <a:lnTo>
                    <a:pt x="495" y="2239"/>
                  </a:lnTo>
                  <a:lnTo>
                    <a:pt x="495" y="2237"/>
                  </a:lnTo>
                  <a:lnTo>
                    <a:pt x="493" y="2237"/>
                  </a:lnTo>
                  <a:lnTo>
                    <a:pt x="491" y="2237"/>
                  </a:lnTo>
                  <a:lnTo>
                    <a:pt x="488" y="2236"/>
                  </a:lnTo>
                  <a:lnTo>
                    <a:pt x="489" y="2236"/>
                  </a:lnTo>
                  <a:lnTo>
                    <a:pt x="491" y="2234"/>
                  </a:lnTo>
                  <a:lnTo>
                    <a:pt x="491" y="2232"/>
                  </a:lnTo>
                  <a:lnTo>
                    <a:pt x="491" y="2231"/>
                  </a:lnTo>
                  <a:lnTo>
                    <a:pt x="493" y="2231"/>
                  </a:lnTo>
                  <a:lnTo>
                    <a:pt x="493" y="2229"/>
                  </a:lnTo>
                  <a:lnTo>
                    <a:pt x="491" y="2227"/>
                  </a:lnTo>
                  <a:lnTo>
                    <a:pt x="491" y="2225"/>
                  </a:lnTo>
                  <a:lnTo>
                    <a:pt x="493" y="2224"/>
                  </a:lnTo>
                  <a:lnTo>
                    <a:pt x="491" y="2222"/>
                  </a:lnTo>
                  <a:lnTo>
                    <a:pt x="493" y="2222"/>
                  </a:lnTo>
                  <a:lnTo>
                    <a:pt x="495" y="2222"/>
                  </a:lnTo>
                  <a:lnTo>
                    <a:pt x="495" y="2220"/>
                  </a:lnTo>
                  <a:lnTo>
                    <a:pt x="496" y="2222"/>
                  </a:lnTo>
                  <a:lnTo>
                    <a:pt x="498" y="2220"/>
                  </a:lnTo>
                  <a:lnTo>
                    <a:pt x="500" y="2220"/>
                  </a:lnTo>
                  <a:lnTo>
                    <a:pt x="500" y="2219"/>
                  </a:lnTo>
                  <a:lnTo>
                    <a:pt x="501" y="2219"/>
                  </a:lnTo>
                  <a:lnTo>
                    <a:pt x="503" y="2219"/>
                  </a:lnTo>
                  <a:lnTo>
                    <a:pt x="505" y="2219"/>
                  </a:lnTo>
                  <a:lnTo>
                    <a:pt x="506" y="2219"/>
                  </a:lnTo>
                  <a:lnTo>
                    <a:pt x="508" y="2222"/>
                  </a:lnTo>
                  <a:lnTo>
                    <a:pt x="510" y="2224"/>
                  </a:lnTo>
                  <a:lnTo>
                    <a:pt x="512" y="2222"/>
                  </a:lnTo>
                  <a:lnTo>
                    <a:pt x="513" y="2222"/>
                  </a:lnTo>
                  <a:lnTo>
                    <a:pt x="513" y="2224"/>
                  </a:lnTo>
                  <a:lnTo>
                    <a:pt x="515" y="2224"/>
                  </a:lnTo>
                  <a:lnTo>
                    <a:pt x="517" y="2224"/>
                  </a:lnTo>
                  <a:lnTo>
                    <a:pt x="518" y="2222"/>
                  </a:lnTo>
                  <a:lnTo>
                    <a:pt x="520" y="2222"/>
                  </a:lnTo>
                  <a:lnTo>
                    <a:pt x="522" y="2222"/>
                  </a:lnTo>
                  <a:lnTo>
                    <a:pt x="525" y="2220"/>
                  </a:lnTo>
                  <a:lnTo>
                    <a:pt x="525" y="2219"/>
                  </a:lnTo>
                  <a:lnTo>
                    <a:pt x="527" y="2219"/>
                  </a:lnTo>
                  <a:lnTo>
                    <a:pt x="527" y="2217"/>
                  </a:lnTo>
                  <a:lnTo>
                    <a:pt x="529" y="2217"/>
                  </a:lnTo>
                  <a:lnTo>
                    <a:pt x="530" y="2215"/>
                  </a:lnTo>
                  <a:lnTo>
                    <a:pt x="530" y="2212"/>
                  </a:lnTo>
                  <a:lnTo>
                    <a:pt x="532" y="2210"/>
                  </a:lnTo>
                  <a:lnTo>
                    <a:pt x="532" y="2208"/>
                  </a:lnTo>
                  <a:lnTo>
                    <a:pt x="534" y="2205"/>
                  </a:lnTo>
                  <a:lnTo>
                    <a:pt x="534" y="2203"/>
                  </a:lnTo>
                  <a:lnTo>
                    <a:pt x="532" y="2202"/>
                  </a:lnTo>
                  <a:lnTo>
                    <a:pt x="534" y="2202"/>
                  </a:lnTo>
                  <a:lnTo>
                    <a:pt x="535" y="2202"/>
                  </a:lnTo>
                  <a:lnTo>
                    <a:pt x="537" y="2202"/>
                  </a:lnTo>
                  <a:lnTo>
                    <a:pt x="537" y="2200"/>
                  </a:lnTo>
                  <a:lnTo>
                    <a:pt x="537" y="2198"/>
                  </a:lnTo>
                  <a:lnTo>
                    <a:pt x="539" y="2200"/>
                  </a:lnTo>
                  <a:lnTo>
                    <a:pt x="539" y="2197"/>
                  </a:lnTo>
                  <a:lnTo>
                    <a:pt x="542" y="2197"/>
                  </a:lnTo>
                  <a:lnTo>
                    <a:pt x="540" y="2195"/>
                  </a:lnTo>
                  <a:lnTo>
                    <a:pt x="540" y="2193"/>
                  </a:lnTo>
                  <a:lnTo>
                    <a:pt x="542" y="2193"/>
                  </a:lnTo>
                  <a:lnTo>
                    <a:pt x="540" y="2191"/>
                  </a:lnTo>
                  <a:lnTo>
                    <a:pt x="539" y="2190"/>
                  </a:lnTo>
                  <a:lnTo>
                    <a:pt x="540" y="2188"/>
                  </a:lnTo>
                  <a:lnTo>
                    <a:pt x="539" y="2188"/>
                  </a:lnTo>
                  <a:lnTo>
                    <a:pt x="537" y="2190"/>
                  </a:lnTo>
                  <a:lnTo>
                    <a:pt x="535" y="2190"/>
                  </a:lnTo>
                  <a:lnTo>
                    <a:pt x="537" y="2188"/>
                  </a:lnTo>
                  <a:lnTo>
                    <a:pt x="534" y="2186"/>
                  </a:lnTo>
                  <a:lnTo>
                    <a:pt x="534" y="2190"/>
                  </a:lnTo>
                  <a:lnTo>
                    <a:pt x="532" y="2186"/>
                  </a:lnTo>
                  <a:lnTo>
                    <a:pt x="530" y="2188"/>
                  </a:lnTo>
                  <a:lnTo>
                    <a:pt x="530" y="2186"/>
                  </a:lnTo>
                  <a:lnTo>
                    <a:pt x="529" y="2186"/>
                  </a:lnTo>
                  <a:lnTo>
                    <a:pt x="527" y="2186"/>
                  </a:lnTo>
                  <a:lnTo>
                    <a:pt x="527" y="2185"/>
                  </a:lnTo>
                  <a:lnTo>
                    <a:pt x="525" y="2185"/>
                  </a:lnTo>
                  <a:lnTo>
                    <a:pt x="523" y="2183"/>
                  </a:lnTo>
                  <a:lnTo>
                    <a:pt x="523" y="2181"/>
                  </a:lnTo>
                  <a:lnTo>
                    <a:pt x="522" y="2180"/>
                  </a:lnTo>
                  <a:lnTo>
                    <a:pt x="523" y="2181"/>
                  </a:lnTo>
                  <a:lnTo>
                    <a:pt x="522" y="2181"/>
                  </a:lnTo>
                  <a:lnTo>
                    <a:pt x="522" y="2180"/>
                  </a:lnTo>
                  <a:lnTo>
                    <a:pt x="522" y="2178"/>
                  </a:lnTo>
                  <a:lnTo>
                    <a:pt x="523" y="2178"/>
                  </a:lnTo>
                  <a:lnTo>
                    <a:pt x="525" y="2176"/>
                  </a:lnTo>
                  <a:lnTo>
                    <a:pt x="523" y="2174"/>
                  </a:lnTo>
                  <a:lnTo>
                    <a:pt x="522" y="2174"/>
                  </a:lnTo>
                  <a:lnTo>
                    <a:pt x="520" y="2174"/>
                  </a:lnTo>
                  <a:lnTo>
                    <a:pt x="518" y="2176"/>
                  </a:lnTo>
                  <a:lnTo>
                    <a:pt x="517" y="2174"/>
                  </a:lnTo>
                  <a:lnTo>
                    <a:pt x="515" y="2174"/>
                  </a:lnTo>
                  <a:lnTo>
                    <a:pt x="515" y="2173"/>
                  </a:lnTo>
                  <a:lnTo>
                    <a:pt x="512" y="2174"/>
                  </a:lnTo>
                  <a:lnTo>
                    <a:pt x="510" y="2173"/>
                  </a:lnTo>
                  <a:lnTo>
                    <a:pt x="510" y="2174"/>
                  </a:lnTo>
                  <a:lnTo>
                    <a:pt x="506" y="2173"/>
                  </a:lnTo>
                  <a:lnTo>
                    <a:pt x="506" y="2174"/>
                  </a:lnTo>
                  <a:lnTo>
                    <a:pt x="505" y="2174"/>
                  </a:lnTo>
                  <a:lnTo>
                    <a:pt x="501" y="2174"/>
                  </a:lnTo>
                  <a:lnTo>
                    <a:pt x="501" y="2178"/>
                  </a:lnTo>
                  <a:lnTo>
                    <a:pt x="500" y="2178"/>
                  </a:lnTo>
                  <a:lnTo>
                    <a:pt x="498" y="2178"/>
                  </a:lnTo>
                  <a:lnTo>
                    <a:pt x="495" y="2178"/>
                  </a:lnTo>
                  <a:lnTo>
                    <a:pt x="493" y="2178"/>
                  </a:lnTo>
                  <a:lnTo>
                    <a:pt x="493" y="2176"/>
                  </a:lnTo>
                  <a:lnTo>
                    <a:pt x="493" y="2174"/>
                  </a:lnTo>
                  <a:lnTo>
                    <a:pt x="495" y="2173"/>
                  </a:lnTo>
                  <a:lnTo>
                    <a:pt x="493" y="2173"/>
                  </a:lnTo>
                  <a:lnTo>
                    <a:pt x="495" y="2171"/>
                  </a:lnTo>
                  <a:lnTo>
                    <a:pt x="493" y="2171"/>
                  </a:lnTo>
                  <a:lnTo>
                    <a:pt x="495" y="2169"/>
                  </a:lnTo>
                  <a:lnTo>
                    <a:pt x="493" y="2166"/>
                  </a:lnTo>
                  <a:lnTo>
                    <a:pt x="495" y="2166"/>
                  </a:lnTo>
                  <a:lnTo>
                    <a:pt x="495" y="2164"/>
                  </a:lnTo>
                  <a:lnTo>
                    <a:pt x="493" y="2164"/>
                  </a:lnTo>
                  <a:lnTo>
                    <a:pt x="493" y="2161"/>
                  </a:lnTo>
                  <a:lnTo>
                    <a:pt x="493" y="2159"/>
                  </a:lnTo>
                  <a:lnTo>
                    <a:pt x="493" y="2157"/>
                  </a:lnTo>
                  <a:lnTo>
                    <a:pt x="489" y="2159"/>
                  </a:lnTo>
                  <a:lnTo>
                    <a:pt x="489" y="2157"/>
                  </a:lnTo>
                  <a:lnTo>
                    <a:pt x="488" y="2159"/>
                  </a:lnTo>
                  <a:lnTo>
                    <a:pt x="488" y="2157"/>
                  </a:lnTo>
                  <a:lnTo>
                    <a:pt x="486" y="2159"/>
                  </a:lnTo>
                  <a:lnTo>
                    <a:pt x="484" y="2157"/>
                  </a:lnTo>
                  <a:lnTo>
                    <a:pt x="484" y="2159"/>
                  </a:lnTo>
                  <a:lnTo>
                    <a:pt x="481" y="2157"/>
                  </a:lnTo>
                  <a:lnTo>
                    <a:pt x="478" y="2157"/>
                  </a:lnTo>
                  <a:lnTo>
                    <a:pt x="476" y="2157"/>
                  </a:lnTo>
                  <a:lnTo>
                    <a:pt x="474" y="2156"/>
                  </a:lnTo>
                  <a:lnTo>
                    <a:pt x="472" y="2156"/>
                  </a:lnTo>
                  <a:lnTo>
                    <a:pt x="469" y="2156"/>
                  </a:lnTo>
                  <a:lnTo>
                    <a:pt x="471" y="2154"/>
                  </a:lnTo>
                  <a:lnTo>
                    <a:pt x="469" y="2154"/>
                  </a:lnTo>
                  <a:lnTo>
                    <a:pt x="469" y="2152"/>
                  </a:lnTo>
                  <a:lnTo>
                    <a:pt x="469" y="2154"/>
                  </a:lnTo>
                  <a:lnTo>
                    <a:pt x="466" y="2154"/>
                  </a:lnTo>
                  <a:lnTo>
                    <a:pt x="466" y="2152"/>
                  </a:lnTo>
                  <a:lnTo>
                    <a:pt x="466" y="2151"/>
                  </a:lnTo>
                  <a:lnTo>
                    <a:pt x="466" y="2149"/>
                  </a:lnTo>
                  <a:lnTo>
                    <a:pt x="464" y="2149"/>
                  </a:lnTo>
                  <a:lnTo>
                    <a:pt x="466" y="2147"/>
                  </a:lnTo>
                  <a:lnTo>
                    <a:pt x="464" y="2145"/>
                  </a:lnTo>
                  <a:lnTo>
                    <a:pt x="461" y="2145"/>
                  </a:lnTo>
                  <a:lnTo>
                    <a:pt x="462" y="2144"/>
                  </a:lnTo>
                  <a:lnTo>
                    <a:pt x="459" y="2142"/>
                  </a:lnTo>
                  <a:lnTo>
                    <a:pt x="459" y="2140"/>
                  </a:lnTo>
                  <a:lnTo>
                    <a:pt x="457" y="2140"/>
                  </a:lnTo>
                  <a:lnTo>
                    <a:pt x="455" y="2140"/>
                  </a:lnTo>
                  <a:lnTo>
                    <a:pt x="454" y="2140"/>
                  </a:lnTo>
                  <a:lnTo>
                    <a:pt x="452" y="2139"/>
                  </a:lnTo>
                  <a:lnTo>
                    <a:pt x="452" y="2137"/>
                  </a:lnTo>
                  <a:lnTo>
                    <a:pt x="454" y="2135"/>
                  </a:lnTo>
                  <a:lnTo>
                    <a:pt x="452" y="2135"/>
                  </a:lnTo>
                  <a:lnTo>
                    <a:pt x="454" y="2132"/>
                  </a:lnTo>
                  <a:lnTo>
                    <a:pt x="454" y="2130"/>
                  </a:lnTo>
                  <a:lnTo>
                    <a:pt x="454" y="2128"/>
                  </a:lnTo>
                  <a:lnTo>
                    <a:pt x="452" y="2127"/>
                  </a:lnTo>
                  <a:lnTo>
                    <a:pt x="450" y="2128"/>
                  </a:lnTo>
                  <a:lnTo>
                    <a:pt x="449" y="2128"/>
                  </a:lnTo>
                  <a:lnTo>
                    <a:pt x="447" y="2128"/>
                  </a:lnTo>
                  <a:lnTo>
                    <a:pt x="445" y="2128"/>
                  </a:lnTo>
                  <a:lnTo>
                    <a:pt x="445" y="2127"/>
                  </a:lnTo>
                  <a:lnTo>
                    <a:pt x="445" y="2125"/>
                  </a:lnTo>
                  <a:lnTo>
                    <a:pt x="444" y="2127"/>
                  </a:lnTo>
                  <a:lnTo>
                    <a:pt x="442" y="2125"/>
                  </a:lnTo>
                  <a:lnTo>
                    <a:pt x="438" y="2125"/>
                  </a:lnTo>
                  <a:lnTo>
                    <a:pt x="437" y="2123"/>
                  </a:lnTo>
                  <a:lnTo>
                    <a:pt x="435" y="2123"/>
                  </a:lnTo>
                  <a:lnTo>
                    <a:pt x="433" y="2123"/>
                  </a:lnTo>
                  <a:lnTo>
                    <a:pt x="433" y="2122"/>
                  </a:lnTo>
                  <a:lnTo>
                    <a:pt x="433" y="2118"/>
                  </a:lnTo>
                  <a:lnTo>
                    <a:pt x="435" y="2117"/>
                  </a:lnTo>
                  <a:lnTo>
                    <a:pt x="433" y="2117"/>
                  </a:lnTo>
                  <a:lnTo>
                    <a:pt x="435" y="2115"/>
                  </a:lnTo>
                  <a:lnTo>
                    <a:pt x="433" y="2113"/>
                  </a:lnTo>
                  <a:lnTo>
                    <a:pt x="437" y="2111"/>
                  </a:lnTo>
                  <a:lnTo>
                    <a:pt x="437" y="2110"/>
                  </a:lnTo>
                  <a:lnTo>
                    <a:pt x="438" y="2108"/>
                  </a:lnTo>
                  <a:lnTo>
                    <a:pt x="435" y="2106"/>
                  </a:lnTo>
                  <a:lnTo>
                    <a:pt x="435" y="2105"/>
                  </a:lnTo>
                  <a:lnTo>
                    <a:pt x="438" y="2106"/>
                  </a:lnTo>
                  <a:lnTo>
                    <a:pt x="438" y="2105"/>
                  </a:lnTo>
                  <a:lnTo>
                    <a:pt x="438" y="2103"/>
                  </a:lnTo>
                  <a:lnTo>
                    <a:pt x="437" y="2101"/>
                  </a:lnTo>
                  <a:lnTo>
                    <a:pt x="437" y="2100"/>
                  </a:lnTo>
                  <a:lnTo>
                    <a:pt x="437" y="2098"/>
                  </a:lnTo>
                  <a:lnTo>
                    <a:pt x="435" y="2098"/>
                  </a:lnTo>
                  <a:lnTo>
                    <a:pt x="435" y="2096"/>
                  </a:lnTo>
                  <a:lnTo>
                    <a:pt x="433" y="2096"/>
                  </a:lnTo>
                  <a:lnTo>
                    <a:pt x="433" y="2094"/>
                  </a:lnTo>
                  <a:lnTo>
                    <a:pt x="432" y="2094"/>
                  </a:lnTo>
                  <a:lnTo>
                    <a:pt x="430" y="2093"/>
                  </a:lnTo>
                  <a:lnTo>
                    <a:pt x="430" y="2091"/>
                  </a:lnTo>
                  <a:lnTo>
                    <a:pt x="428" y="2089"/>
                  </a:lnTo>
                  <a:lnTo>
                    <a:pt x="427" y="2089"/>
                  </a:lnTo>
                  <a:lnTo>
                    <a:pt x="425" y="2088"/>
                  </a:lnTo>
                  <a:lnTo>
                    <a:pt x="427" y="2086"/>
                  </a:lnTo>
                  <a:lnTo>
                    <a:pt x="428" y="2083"/>
                  </a:lnTo>
                  <a:lnTo>
                    <a:pt x="428" y="2081"/>
                  </a:lnTo>
                  <a:lnTo>
                    <a:pt x="427" y="2079"/>
                  </a:lnTo>
                  <a:lnTo>
                    <a:pt x="427" y="2077"/>
                  </a:lnTo>
                  <a:lnTo>
                    <a:pt x="425" y="2076"/>
                  </a:lnTo>
                  <a:lnTo>
                    <a:pt x="427" y="2076"/>
                  </a:lnTo>
                  <a:lnTo>
                    <a:pt x="428" y="2074"/>
                  </a:lnTo>
                  <a:lnTo>
                    <a:pt x="425" y="2072"/>
                  </a:lnTo>
                  <a:lnTo>
                    <a:pt x="427" y="2071"/>
                  </a:lnTo>
                  <a:lnTo>
                    <a:pt x="425" y="2069"/>
                  </a:lnTo>
                  <a:lnTo>
                    <a:pt x="425" y="2067"/>
                  </a:lnTo>
                  <a:lnTo>
                    <a:pt x="423" y="2066"/>
                  </a:lnTo>
                  <a:lnTo>
                    <a:pt x="423" y="2067"/>
                  </a:lnTo>
                  <a:lnTo>
                    <a:pt x="421" y="2066"/>
                  </a:lnTo>
                  <a:lnTo>
                    <a:pt x="420" y="2067"/>
                  </a:lnTo>
                  <a:lnTo>
                    <a:pt x="421" y="2067"/>
                  </a:lnTo>
                  <a:lnTo>
                    <a:pt x="420" y="2069"/>
                  </a:lnTo>
                  <a:lnTo>
                    <a:pt x="418" y="2071"/>
                  </a:lnTo>
                  <a:lnTo>
                    <a:pt x="418" y="2069"/>
                  </a:lnTo>
                  <a:lnTo>
                    <a:pt x="416" y="2067"/>
                  </a:lnTo>
                  <a:lnTo>
                    <a:pt x="415" y="2066"/>
                  </a:lnTo>
                  <a:lnTo>
                    <a:pt x="413" y="2069"/>
                  </a:lnTo>
                  <a:lnTo>
                    <a:pt x="413" y="2066"/>
                  </a:lnTo>
                  <a:lnTo>
                    <a:pt x="411" y="2066"/>
                  </a:lnTo>
                  <a:lnTo>
                    <a:pt x="411" y="2064"/>
                  </a:lnTo>
                  <a:lnTo>
                    <a:pt x="410" y="2062"/>
                  </a:lnTo>
                  <a:lnTo>
                    <a:pt x="408" y="2062"/>
                  </a:lnTo>
                  <a:lnTo>
                    <a:pt x="406" y="2062"/>
                  </a:lnTo>
                  <a:lnTo>
                    <a:pt x="404" y="2060"/>
                  </a:lnTo>
                  <a:lnTo>
                    <a:pt x="404" y="2059"/>
                  </a:lnTo>
                  <a:lnTo>
                    <a:pt x="403" y="2059"/>
                  </a:lnTo>
                  <a:lnTo>
                    <a:pt x="399" y="2059"/>
                  </a:lnTo>
                  <a:lnTo>
                    <a:pt x="399" y="2060"/>
                  </a:lnTo>
                  <a:lnTo>
                    <a:pt x="398" y="2059"/>
                  </a:lnTo>
                  <a:lnTo>
                    <a:pt x="396" y="2059"/>
                  </a:lnTo>
                  <a:lnTo>
                    <a:pt x="394" y="2057"/>
                  </a:lnTo>
                  <a:lnTo>
                    <a:pt x="393" y="2057"/>
                  </a:lnTo>
                  <a:lnTo>
                    <a:pt x="391" y="2059"/>
                  </a:lnTo>
                  <a:lnTo>
                    <a:pt x="389" y="2057"/>
                  </a:lnTo>
                  <a:lnTo>
                    <a:pt x="391" y="2059"/>
                  </a:lnTo>
                  <a:lnTo>
                    <a:pt x="389" y="2060"/>
                  </a:lnTo>
                  <a:lnTo>
                    <a:pt x="387" y="2060"/>
                  </a:lnTo>
                  <a:lnTo>
                    <a:pt x="386" y="2060"/>
                  </a:lnTo>
                  <a:lnTo>
                    <a:pt x="384" y="2060"/>
                  </a:lnTo>
                  <a:lnTo>
                    <a:pt x="382" y="2062"/>
                  </a:lnTo>
                  <a:lnTo>
                    <a:pt x="381" y="2062"/>
                  </a:lnTo>
                  <a:lnTo>
                    <a:pt x="379" y="2062"/>
                  </a:lnTo>
                  <a:lnTo>
                    <a:pt x="379" y="2064"/>
                  </a:lnTo>
                  <a:lnTo>
                    <a:pt x="379" y="2066"/>
                  </a:lnTo>
                  <a:lnTo>
                    <a:pt x="377" y="2067"/>
                  </a:lnTo>
                  <a:lnTo>
                    <a:pt x="377" y="2069"/>
                  </a:lnTo>
                  <a:lnTo>
                    <a:pt x="376" y="2067"/>
                  </a:lnTo>
                  <a:lnTo>
                    <a:pt x="374" y="2067"/>
                  </a:lnTo>
                  <a:lnTo>
                    <a:pt x="372" y="2069"/>
                  </a:lnTo>
                  <a:lnTo>
                    <a:pt x="372" y="2071"/>
                  </a:lnTo>
                  <a:lnTo>
                    <a:pt x="370" y="2071"/>
                  </a:lnTo>
                  <a:lnTo>
                    <a:pt x="370" y="2072"/>
                  </a:lnTo>
                  <a:lnTo>
                    <a:pt x="370" y="2074"/>
                  </a:lnTo>
                  <a:lnTo>
                    <a:pt x="369" y="2076"/>
                  </a:lnTo>
                  <a:lnTo>
                    <a:pt x="367" y="2076"/>
                  </a:lnTo>
                  <a:lnTo>
                    <a:pt x="365" y="2076"/>
                  </a:lnTo>
                  <a:lnTo>
                    <a:pt x="364" y="2074"/>
                  </a:lnTo>
                  <a:lnTo>
                    <a:pt x="362" y="2074"/>
                  </a:lnTo>
                  <a:lnTo>
                    <a:pt x="360" y="2071"/>
                  </a:lnTo>
                  <a:lnTo>
                    <a:pt x="362" y="2069"/>
                  </a:lnTo>
                  <a:lnTo>
                    <a:pt x="362" y="2066"/>
                  </a:lnTo>
                  <a:lnTo>
                    <a:pt x="360" y="2064"/>
                  </a:lnTo>
                  <a:lnTo>
                    <a:pt x="362" y="2064"/>
                  </a:lnTo>
                  <a:lnTo>
                    <a:pt x="364" y="2062"/>
                  </a:lnTo>
                  <a:lnTo>
                    <a:pt x="360" y="2060"/>
                  </a:lnTo>
                  <a:lnTo>
                    <a:pt x="362" y="2060"/>
                  </a:lnTo>
                  <a:lnTo>
                    <a:pt x="360" y="2059"/>
                  </a:lnTo>
                  <a:lnTo>
                    <a:pt x="357" y="2060"/>
                  </a:lnTo>
                  <a:lnTo>
                    <a:pt x="355" y="2059"/>
                  </a:lnTo>
                  <a:lnTo>
                    <a:pt x="353" y="2059"/>
                  </a:lnTo>
                  <a:lnTo>
                    <a:pt x="352" y="2060"/>
                  </a:lnTo>
                  <a:lnTo>
                    <a:pt x="352" y="2059"/>
                  </a:lnTo>
                  <a:lnTo>
                    <a:pt x="348" y="2059"/>
                  </a:lnTo>
                  <a:lnTo>
                    <a:pt x="347" y="2059"/>
                  </a:lnTo>
                  <a:lnTo>
                    <a:pt x="343" y="2060"/>
                  </a:lnTo>
                  <a:lnTo>
                    <a:pt x="342" y="2062"/>
                  </a:lnTo>
                  <a:lnTo>
                    <a:pt x="338" y="2064"/>
                  </a:lnTo>
                  <a:lnTo>
                    <a:pt x="338" y="2066"/>
                  </a:lnTo>
                  <a:lnTo>
                    <a:pt x="336" y="2066"/>
                  </a:lnTo>
                  <a:lnTo>
                    <a:pt x="335" y="2067"/>
                  </a:lnTo>
                  <a:lnTo>
                    <a:pt x="333" y="2066"/>
                  </a:lnTo>
                  <a:lnTo>
                    <a:pt x="331" y="2062"/>
                  </a:lnTo>
                  <a:lnTo>
                    <a:pt x="330" y="2062"/>
                  </a:lnTo>
                  <a:lnTo>
                    <a:pt x="328" y="2060"/>
                  </a:lnTo>
                  <a:lnTo>
                    <a:pt x="330" y="2057"/>
                  </a:lnTo>
                  <a:lnTo>
                    <a:pt x="328" y="2059"/>
                  </a:lnTo>
                  <a:lnTo>
                    <a:pt x="325" y="2059"/>
                  </a:lnTo>
                  <a:lnTo>
                    <a:pt x="323" y="2059"/>
                  </a:lnTo>
                  <a:lnTo>
                    <a:pt x="321" y="2060"/>
                  </a:lnTo>
                  <a:lnTo>
                    <a:pt x="319" y="2062"/>
                  </a:lnTo>
                  <a:lnTo>
                    <a:pt x="318" y="2060"/>
                  </a:lnTo>
                  <a:lnTo>
                    <a:pt x="319" y="2062"/>
                  </a:lnTo>
                  <a:lnTo>
                    <a:pt x="319" y="2064"/>
                  </a:lnTo>
                  <a:lnTo>
                    <a:pt x="316" y="2064"/>
                  </a:lnTo>
                  <a:lnTo>
                    <a:pt x="314" y="2062"/>
                  </a:lnTo>
                  <a:lnTo>
                    <a:pt x="313" y="2064"/>
                  </a:lnTo>
                  <a:lnTo>
                    <a:pt x="313" y="2062"/>
                  </a:lnTo>
                  <a:lnTo>
                    <a:pt x="311" y="2060"/>
                  </a:lnTo>
                  <a:lnTo>
                    <a:pt x="309" y="2060"/>
                  </a:lnTo>
                  <a:lnTo>
                    <a:pt x="309" y="2059"/>
                  </a:lnTo>
                  <a:lnTo>
                    <a:pt x="309" y="2057"/>
                  </a:lnTo>
                  <a:lnTo>
                    <a:pt x="309" y="2055"/>
                  </a:lnTo>
                  <a:lnTo>
                    <a:pt x="309" y="2054"/>
                  </a:lnTo>
                  <a:lnTo>
                    <a:pt x="309" y="2052"/>
                  </a:lnTo>
                  <a:lnTo>
                    <a:pt x="309" y="2050"/>
                  </a:lnTo>
                  <a:lnTo>
                    <a:pt x="308" y="2047"/>
                  </a:lnTo>
                  <a:lnTo>
                    <a:pt x="308" y="2045"/>
                  </a:lnTo>
                  <a:lnTo>
                    <a:pt x="306" y="2043"/>
                  </a:lnTo>
                  <a:lnTo>
                    <a:pt x="306" y="2042"/>
                  </a:lnTo>
                  <a:lnTo>
                    <a:pt x="306" y="2040"/>
                  </a:lnTo>
                  <a:lnTo>
                    <a:pt x="304" y="2038"/>
                  </a:lnTo>
                  <a:lnTo>
                    <a:pt x="302" y="2037"/>
                  </a:lnTo>
                  <a:lnTo>
                    <a:pt x="302" y="2035"/>
                  </a:lnTo>
                  <a:lnTo>
                    <a:pt x="301" y="2035"/>
                  </a:lnTo>
                  <a:lnTo>
                    <a:pt x="301" y="2033"/>
                  </a:lnTo>
                  <a:lnTo>
                    <a:pt x="301" y="2032"/>
                  </a:lnTo>
                  <a:lnTo>
                    <a:pt x="297" y="2032"/>
                  </a:lnTo>
                  <a:lnTo>
                    <a:pt x="297" y="2030"/>
                  </a:lnTo>
                  <a:lnTo>
                    <a:pt x="296" y="2028"/>
                  </a:lnTo>
                  <a:lnTo>
                    <a:pt x="294" y="2026"/>
                  </a:lnTo>
                  <a:lnTo>
                    <a:pt x="292" y="2025"/>
                  </a:lnTo>
                  <a:lnTo>
                    <a:pt x="292" y="2023"/>
                  </a:lnTo>
                  <a:lnTo>
                    <a:pt x="291" y="2023"/>
                  </a:lnTo>
                  <a:lnTo>
                    <a:pt x="289" y="2021"/>
                  </a:lnTo>
                  <a:lnTo>
                    <a:pt x="291" y="2020"/>
                  </a:lnTo>
                  <a:lnTo>
                    <a:pt x="291" y="2018"/>
                  </a:lnTo>
                  <a:lnTo>
                    <a:pt x="291" y="2016"/>
                  </a:lnTo>
                  <a:lnTo>
                    <a:pt x="291" y="2015"/>
                  </a:lnTo>
                  <a:lnTo>
                    <a:pt x="287" y="2016"/>
                  </a:lnTo>
                  <a:lnTo>
                    <a:pt x="285" y="2015"/>
                  </a:lnTo>
                  <a:lnTo>
                    <a:pt x="285" y="2013"/>
                  </a:lnTo>
                  <a:lnTo>
                    <a:pt x="284" y="2015"/>
                  </a:lnTo>
                  <a:lnTo>
                    <a:pt x="280" y="2016"/>
                  </a:lnTo>
                  <a:lnTo>
                    <a:pt x="280" y="2018"/>
                  </a:lnTo>
                  <a:lnTo>
                    <a:pt x="279" y="2018"/>
                  </a:lnTo>
                  <a:lnTo>
                    <a:pt x="279" y="2016"/>
                  </a:lnTo>
                  <a:lnTo>
                    <a:pt x="279" y="2015"/>
                  </a:lnTo>
                  <a:lnTo>
                    <a:pt x="279" y="2013"/>
                  </a:lnTo>
                  <a:lnTo>
                    <a:pt x="280" y="2011"/>
                  </a:lnTo>
                  <a:lnTo>
                    <a:pt x="280" y="2009"/>
                  </a:lnTo>
                  <a:lnTo>
                    <a:pt x="280" y="2006"/>
                  </a:lnTo>
                  <a:lnTo>
                    <a:pt x="279" y="2006"/>
                  </a:lnTo>
                  <a:lnTo>
                    <a:pt x="277" y="2004"/>
                  </a:lnTo>
                  <a:lnTo>
                    <a:pt x="279" y="2003"/>
                  </a:lnTo>
                  <a:lnTo>
                    <a:pt x="277" y="2001"/>
                  </a:lnTo>
                  <a:lnTo>
                    <a:pt x="279" y="1999"/>
                  </a:lnTo>
                  <a:lnTo>
                    <a:pt x="277" y="1999"/>
                  </a:lnTo>
                  <a:lnTo>
                    <a:pt x="277" y="1997"/>
                  </a:lnTo>
                  <a:lnTo>
                    <a:pt x="279" y="1996"/>
                  </a:lnTo>
                  <a:lnTo>
                    <a:pt x="279" y="1992"/>
                  </a:lnTo>
                  <a:lnTo>
                    <a:pt x="279" y="1989"/>
                  </a:lnTo>
                  <a:lnTo>
                    <a:pt x="279" y="1987"/>
                  </a:lnTo>
                  <a:lnTo>
                    <a:pt x="279" y="1984"/>
                  </a:lnTo>
                  <a:lnTo>
                    <a:pt x="277" y="1984"/>
                  </a:lnTo>
                  <a:lnTo>
                    <a:pt x="275" y="1984"/>
                  </a:lnTo>
                  <a:lnTo>
                    <a:pt x="274" y="1982"/>
                  </a:lnTo>
                  <a:lnTo>
                    <a:pt x="270" y="1980"/>
                  </a:lnTo>
                  <a:lnTo>
                    <a:pt x="267" y="1979"/>
                  </a:lnTo>
                  <a:lnTo>
                    <a:pt x="265" y="1980"/>
                  </a:lnTo>
                  <a:lnTo>
                    <a:pt x="263" y="1979"/>
                  </a:lnTo>
                  <a:lnTo>
                    <a:pt x="263" y="1977"/>
                  </a:lnTo>
                  <a:lnTo>
                    <a:pt x="263" y="1974"/>
                  </a:lnTo>
                  <a:lnTo>
                    <a:pt x="263" y="1970"/>
                  </a:lnTo>
                  <a:lnTo>
                    <a:pt x="260" y="1972"/>
                  </a:lnTo>
                  <a:lnTo>
                    <a:pt x="258" y="1974"/>
                  </a:lnTo>
                  <a:lnTo>
                    <a:pt x="257" y="1974"/>
                  </a:lnTo>
                  <a:lnTo>
                    <a:pt x="255" y="1972"/>
                  </a:lnTo>
                  <a:lnTo>
                    <a:pt x="255" y="1970"/>
                  </a:lnTo>
                  <a:lnTo>
                    <a:pt x="253" y="1970"/>
                  </a:lnTo>
                  <a:lnTo>
                    <a:pt x="255" y="1969"/>
                  </a:lnTo>
                  <a:lnTo>
                    <a:pt x="257" y="1967"/>
                  </a:lnTo>
                  <a:lnTo>
                    <a:pt x="255" y="1967"/>
                  </a:lnTo>
                  <a:lnTo>
                    <a:pt x="255" y="1963"/>
                  </a:lnTo>
                  <a:lnTo>
                    <a:pt x="255" y="1962"/>
                  </a:lnTo>
                  <a:lnTo>
                    <a:pt x="257" y="1960"/>
                  </a:lnTo>
                  <a:lnTo>
                    <a:pt x="258" y="1958"/>
                  </a:lnTo>
                  <a:lnTo>
                    <a:pt x="258" y="1960"/>
                  </a:lnTo>
                  <a:lnTo>
                    <a:pt x="260" y="1958"/>
                  </a:lnTo>
                  <a:lnTo>
                    <a:pt x="258" y="1957"/>
                  </a:lnTo>
                  <a:lnTo>
                    <a:pt x="257" y="1955"/>
                  </a:lnTo>
                  <a:lnTo>
                    <a:pt x="258" y="1953"/>
                  </a:lnTo>
                  <a:lnTo>
                    <a:pt x="258" y="1952"/>
                  </a:lnTo>
                  <a:lnTo>
                    <a:pt x="260" y="1950"/>
                  </a:lnTo>
                  <a:lnTo>
                    <a:pt x="263" y="1950"/>
                  </a:lnTo>
                  <a:lnTo>
                    <a:pt x="263" y="1948"/>
                  </a:lnTo>
                  <a:lnTo>
                    <a:pt x="265" y="1950"/>
                  </a:lnTo>
                  <a:lnTo>
                    <a:pt x="267" y="1948"/>
                  </a:lnTo>
                  <a:lnTo>
                    <a:pt x="267" y="1946"/>
                  </a:lnTo>
                  <a:lnTo>
                    <a:pt x="267" y="1945"/>
                  </a:lnTo>
                  <a:lnTo>
                    <a:pt x="265" y="1945"/>
                  </a:lnTo>
                  <a:lnTo>
                    <a:pt x="263" y="1945"/>
                  </a:lnTo>
                  <a:lnTo>
                    <a:pt x="262" y="1945"/>
                  </a:lnTo>
                  <a:lnTo>
                    <a:pt x="262" y="1943"/>
                  </a:lnTo>
                  <a:lnTo>
                    <a:pt x="260" y="1943"/>
                  </a:lnTo>
                  <a:lnTo>
                    <a:pt x="260" y="1941"/>
                  </a:lnTo>
                  <a:lnTo>
                    <a:pt x="260" y="1938"/>
                  </a:lnTo>
                  <a:lnTo>
                    <a:pt x="258" y="1938"/>
                  </a:lnTo>
                  <a:lnTo>
                    <a:pt x="260" y="1935"/>
                  </a:lnTo>
                  <a:lnTo>
                    <a:pt x="262" y="1936"/>
                  </a:lnTo>
                  <a:lnTo>
                    <a:pt x="263" y="1938"/>
                  </a:lnTo>
                  <a:lnTo>
                    <a:pt x="265" y="1940"/>
                  </a:lnTo>
                  <a:lnTo>
                    <a:pt x="268" y="1941"/>
                  </a:lnTo>
                  <a:lnTo>
                    <a:pt x="267" y="1943"/>
                  </a:lnTo>
                  <a:lnTo>
                    <a:pt x="270" y="1943"/>
                  </a:lnTo>
                  <a:lnTo>
                    <a:pt x="270" y="1945"/>
                  </a:lnTo>
                  <a:lnTo>
                    <a:pt x="272" y="1946"/>
                  </a:lnTo>
                  <a:lnTo>
                    <a:pt x="274" y="1945"/>
                  </a:lnTo>
                  <a:lnTo>
                    <a:pt x="275" y="1945"/>
                  </a:lnTo>
                  <a:lnTo>
                    <a:pt x="277" y="1945"/>
                  </a:lnTo>
                  <a:lnTo>
                    <a:pt x="279" y="1945"/>
                  </a:lnTo>
                  <a:lnTo>
                    <a:pt x="279" y="1943"/>
                  </a:lnTo>
                  <a:lnTo>
                    <a:pt x="279" y="1940"/>
                  </a:lnTo>
                  <a:lnTo>
                    <a:pt x="279" y="1938"/>
                  </a:lnTo>
                  <a:lnTo>
                    <a:pt x="277" y="1936"/>
                  </a:lnTo>
                  <a:lnTo>
                    <a:pt x="277" y="1935"/>
                  </a:lnTo>
                  <a:lnTo>
                    <a:pt x="274" y="1933"/>
                  </a:lnTo>
                  <a:lnTo>
                    <a:pt x="274" y="1931"/>
                  </a:lnTo>
                  <a:lnTo>
                    <a:pt x="272" y="1929"/>
                  </a:lnTo>
                  <a:lnTo>
                    <a:pt x="270" y="1928"/>
                  </a:lnTo>
                  <a:lnTo>
                    <a:pt x="268" y="1928"/>
                  </a:lnTo>
                  <a:lnTo>
                    <a:pt x="267" y="1926"/>
                  </a:lnTo>
                  <a:lnTo>
                    <a:pt x="265" y="1926"/>
                  </a:lnTo>
                  <a:lnTo>
                    <a:pt x="263" y="1926"/>
                  </a:lnTo>
                  <a:lnTo>
                    <a:pt x="262" y="1926"/>
                  </a:lnTo>
                  <a:lnTo>
                    <a:pt x="262" y="1924"/>
                  </a:lnTo>
                  <a:lnTo>
                    <a:pt x="258" y="1926"/>
                  </a:lnTo>
                  <a:lnTo>
                    <a:pt x="257" y="1929"/>
                  </a:lnTo>
                  <a:lnTo>
                    <a:pt x="255" y="1931"/>
                  </a:lnTo>
                  <a:lnTo>
                    <a:pt x="257" y="1931"/>
                  </a:lnTo>
                  <a:lnTo>
                    <a:pt x="255" y="1931"/>
                  </a:lnTo>
                  <a:lnTo>
                    <a:pt x="255" y="1929"/>
                  </a:lnTo>
                  <a:lnTo>
                    <a:pt x="253" y="1929"/>
                  </a:lnTo>
                  <a:lnTo>
                    <a:pt x="255" y="1928"/>
                  </a:lnTo>
                  <a:lnTo>
                    <a:pt x="255" y="1926"/>
                  </a:lnTo>
                  <a:lnTo>
                    <a:pt x="253" y="1926"/>
                  </a:lnTo>
                  <a:lnTo>
                    <a:pt x="253" y="1924"/>
                  </a:lnTo>
                  <a:lnTo>
                    <a:pt x="251" y="1926"/>
                  </a:lnTo>
                  <a:lnTo>
                    <a:pt x="250" y="1924"/>
                  </a:lnTo>
                  <a:lnTo>
                    <a:pt x="250" y="1923"/>
                  </a:lnTo>
                  <a:lnTo>
                    <a:pt x="250" y="1919"/>
                  </a:lnTo>
                  <a:lnTo>
                    <a:pt x="250" y="1918"/>
                  </a:lnTo>
                  <a:lnTo>
                    <a:pt x="253" y="1918"/>
                  </a:lnTo>
                  <a:lnTo>
                    <a:pt x="253" y="1919"/>
                  </a:lnTo>
                  <a:lnTo>
                    <a:pt x="255" y="1918"/>
                  </a:lnTo>
                  <a:lnTo>
                    <a:pt x="255" y="1916"/>
                  </a:lnTo>
                  <a:lnTo>
                    <a:pt x="251" y="1916"/>
                  </a:lnTo>
                  <a:lnTo>
                    <a:pt x="253" y="1914"/>
                  </a:lnTo>
                  <a:lnTo>
                    <a:pt x="253" y="1911"/>
                  </a:lnTo>
                  <a:lnTo>
                    <a:pt x="251" y="1912"/>
                  </a:lnTo>
                  <a:lnTo>
                    <a:pt x="253" y="1909"/>
                  </a:lnTo>
                  <a:lnTo>
                    <a:pt x="255" y="1906"/>
                  </a:lnTo>
                  <a:lnTo>
                    <a:pt x="257" y="1906"/>
                  </a:lnTo>
                  <a:lnTo>
                    <a:pt x="255" y="1909"/>
                  </a:lnTo>
                  <a:lnTo>
                    <a:pt x="257" y="1907"/>
                  </a:lnTo>
                  <a:lnTo>
                    <a:pt x="257" y="1906"/>
                  </a:lnTo>
                  <a:lnTo>
                    <a:pt x="257" y="1904"/>
                  </a:lnTo>
                  <a:lnTo>
                    <a:pt x="258" y="1904"/>
                  </a:lnTo>
                  <a:lnTo>
                    <a:pt x="257" y="1902"/>
                  </a:lnTo>
                  <a:lnTo>
                    <a:pt x="257" y="1906"/>
                  </a:lnTo>
                  <a:lnTo>
                    <a:pt x="257" y="1904"/>
                  </a:lnTo>
                  <a:lnTo>
                    <a:pt x="257" y="1901"/>
                  </a:lnTo>
                  <a:lnTo>
                    <a:pt x="255" y="1899"/>
                  </a:lnTo>
                  <a:lnTo>
                    <a:pt x="253" y="1897"/>
                  </a:lnTo>
                  <a:lnTo>
                    <a:pt x="253" y="1895"/>
                  </a:lnTo>
                  <a:lnTo>
                    <a:pt x="251" y="1894"/>
                  </a:lnTo>
                  <a:lnTo>
                    <a:pt x="251" y="1892"/>
                  </a:lnTo>
                  <a:lnTo>
                    <a:pt x="251" y="1889"/>
                  </a:lnTo>
                  <a:lnTo>
                    <a:pt x="250" y="1889"/>
                  </a:lnTo>
                  <a:lnTo>
                    <a:pt x="250" y="1885"/>
                  </a:lnTo>
                  <a:lnTo>
                    <a:pt x="250" y="1884"/>
                  </a:lnTo>
                  <a:lnTo>
                    <a:pt x="250" y="1882"/>
                  </a:lnTo>
                  <a:lnTo>
                    <a:pt x="250" y="1880"/>
                  </a:lnTo>
                  <a:lnTo>
                    <a:pt x="248" y="1878"/>
                  </a:lnTo>
                  <a:lnTo>
                    <a:pt x="246" y="1877"/>
                  </a:lnTo>
                  <a:lnTo>
                    <a:pt x="246" y="1875"/>
                  </a:lnTo>
                  <a:lnTo>
                    <a:pt x="245" y="1875"/>
                  </a:lnTo>
                  <a:lnTo>
                    <a:pt x="245" y="1872"/>
                  </a:lnTo>
                  <a:lnTo>
                    <a:pt x="245" y="1870"/>
                  </a:lnTo>
                  <a:lnTo>
                    <a:pt x="245" y="1868"/>
                  </a:lnTo>
                  <a:lnTo>
                    <a:pt x="245" y="1867"/>
                  </a:lnTo>
                  <a:lnTo>
                    <a:pt x="245" y="1865"/>
                  </a:lnTo>
                  <a:lnTo>
                    <a:pt x="245" y="1863"/>
                  </a:lnTo>
                  <a:lnTo>
                    <a:pt x="245" y="1860"/>
                  </a:lnTo>
                  <a:lnTo>
                    <a:pt x="246" y="1858"/>
                  </a:lnTo>
                  <a:lnTo>
                    <a:pt x="246" y="1856"/>
                  </a:lnTo>
                  <a:lnTo>
                    <a:pt x="246" y="1855"/>
                  </a:lnTo>
                  <a:lnTo>
                    <a:pt x="246" y="1853"/>
                  </a:lnTo>
                  <a:lnTo>
                    <a:pt x="246" y="1851"/>
                  </a:lnTo>
                  <a:lnTo>
                    <a:pt x="248" y="1850"/>
                  </a:lnTo>
                  <a:lnTo>
                    <a:pt x="251" y="1848"/>
                  </a:lnTo>
                  <a:lnTo>
                    <a:pt x="253" y="1846"/>
                  </a:lnTo>
                  <a:lnTo>
                    <a:pt x="255" y="1844"/>
                  </a:lnTo>
                  <a:lnTo>
                    <a:pt x="255" y="1841"/>
                  </a:lnTo>
                  <a:lnTo>
                    <a:pt x="255" y="1839"/>
                  </a:lnTo>
                  <a:lnTo>
                    <a:pt x="253" y="1839"/>
                  </a:lnTo>
                  <a:lnTo>
                    <a:pt x="251" y="1838"/>
                  </a:lnTo>
                  <a:lnTo>
                    <a:pt x="250" y="1836"/>
                  </a:lnTo>
                  <a:lnTo>
                    <a:pt x="246" y="1836"/>
                  </a:lnTo>
                  <a:lnTo>
                    <a:pt x="248" y="1832"/>
                  </a:lnTo>
                  <a:lnTo>
                    <a:pt x="248" y="1831"/>
                  </a:lnTo>
                  <a:lnTo>
                    <a:pt x="246" y="1827"/>
                  </a:lnTo>
                  <a:lnTo>
                    <a:pt x="246" y="1826"/>
                  </a:lnTo>
                  <a:lnTo>
                    <a:pt x="245" y="1822"/>
                  </a:lnTo>
                  <a:lnTo>
                    <a:pt x="243" y="1822"/>
                  </a:lnTo>
                  <a:lnTo>
                    <a:pt x="241" y="1821"/>
                  </a:lnTo>
                  <a:lnTo>
                    <a:pt x="243" y="1817"/>
                  </a:lnTo>
                  <a:lnTo>
                    <a:pt x="241" y="1815"/>
                  </a:lnTo>
                  <a:lnTo>
                    <a:pt x="243" y="1814"/>
                  </a:lnTo>
                  <a:lnTo>
                    <a:pt x="243" y="1812"/>
                  </a:lnTo>
                  <a:lnTo>
                    <a:pt x="246" y="1812"/>
                  </a:lnTo>
                  <a:lnTo>
                    <a:pt x="248" y="1815"/>
                  </a:lnTo>
                  <a:lnTo>
                    <a:pt x="250" y="1817"/>
                  </a:lnTo>
                  <a:lnTo>
                    <a:pt x="250" y="1819"/>
                  </a:lnTo>
                  <a:lnTo>
                    <a:pt x="253" y="1819"/>
                  </a:lnTo>
                  <a:lnTo>
                    <a:pt x="255" y="1819"/>
                  </a:lnTo>
                  <a:lnTo>
                    <a:pt x="257" y="1817"/>
                  </a:lnTo>
                  <a:lnTo>
                    <a:pt x="257" y="1814"/>
                  </a:lnTo>
                  <a:lnTo>
                    <a:pt x="255" y="1810"/>
                  </a:lnTo>
                  <a:lnTo>
                    <a:pt x="255" y="1809"/>
                  </a:lnTo>
                  <a:lnTo>
                    <a:pt x="255" y="1807"/>
                  </a:lnTo>
                  <a:lnTo>
                    <a:pt x="258" y="1805"/>
                  </a:lnTo>
                  <a:lnTo>
                    <a:pt x="262" y="1805"/>
                  </a:lnTo>
                  <a:lnTo>
                    <a:pt x="263" y="1807"/>
                  </a:lnTo>
                  <a:lnTo>
                    <a:pt x="265" y="1809"/>
                  </a:lnTo>
                  <a:lnTo>
                    <a:pt x="267" y="1807"/>
                  </a:lnTo>
                  <a:lnTo>
                    <a:pt x="267" y="1805"/>
                  </a:lnTo>
                  <a:lnTo>
                    <a:pt x="268" y="1807"/>
                  </a:lnTo>
                  <a:lnTo>
                    <a:pt x="270" y="1805"/>
                  </a:lnTo>
                  <a:lnTo>
                    <a:pt x="272" y="1804"/>
                  </a:lnTo>
                  <a:lnTo>
                    <a:pt x="274" y="1800"/>
                  </a:lnTo>
                  <a:lnTo>
                    <a:pt x="275" y="1798"/>
                  </a:lnTo>
                  <a:lnTo>
                    <a:pt x="274" y="1797"/>
                  </a:lnTo>
                  <a:lnTo>
                    <a:pt x="272" y="1797"/>
                  </a:lnTo>
                  <a:lnTo>
                    <a:pt x="274" y="1795"/>
                  </a:lnTo>
                  <a:lnTo>
                    <a:pt x="274" y="1793"/>
                  </a:lnTo>
                  <a:lnTo>
                    <a:pt x="275" y="1792"/>
                  </a:lnTo>
                  <a:lnTo>
                    <a:pt x="275" y="1790"/>
                  </a:lnTo>
                  <a:lnTo>
                    <a:pt x="277" y="1790"/>
                  </a:lnTo>
                  <a:lnTo>
                    <a:pt x="279" y="1788"/>
                  </a:lnTo>
                  <a:lnTo>
                    <a:pt x="280" y="1790"/>
                  </a:lnTo>
                  <a:lnTo>
                    <a:pt x="282" y="1788"/>
                  </a:lnTo>
                  <a:lnTo>
                    <a:pt x="284" y="1788"/>
                  </a:lnTo>
                  <a:lnTo>
                    <a:pt x="285" y="1788"/>
                  </a:lnTo>
                  <a:lnTo>
                    <a:pt x="287" y="1788"/>
                  </a:lnTo>
                  <a:lnTo>
                    <a:pt x="291" y="1788"/>
                  </a:lnTo>
                  <a:lnTo>
                    <a:pt x="292" y="1788"/>
                  </a:lnTo>
                  <a:lnTo>
                    <a:pt x="294" y="1790"/>
                  </a:lnTo>
                  <a:lnTo>
                    <a:pt x="294" y="1788"/>
                  </a:lnTo>
                  <a:lnTo>
                    <a:pt x="294" y="1785"/>
                  </a:lnTo>
                  <a:lnTo>
                    <a:pt x="294" y="1788"/>
                  </a:lnTo>
                  <a:lnTo>
                    <a:pt x="296" y="1788"/>
                  </a:lnTo>
                  <a:lnTo>
                    <a:pt x="297" y="1788"/>
                  </a:lnTo>
                  <a:lnTo>
                    <a:pt x="299" y="1788"/>
                  </a:lnTo>
                  <a:lnTo>
                    <a:pt x="301" y="1790"/>
                  </a:lnTo>
                  <a:lnTo>
                    <a:pt x="302" y="1788"/>
                  </a:lnTo>
                  <a:lnTo>
                    <a:pt x="302" y="1790"/>
                  </a:lnTo>
                  <a:lnTo>
                    <a:pt x="304" y="1788"/>
                  </a:lnTo>
                  <a:lnTo>
                    <a:pt x="308" y="1790"/>
                  </a:lnTo>
                  <a:lnTo>
                    <a:pt x="309" y="1790"/>
                  </a:lnTo>
                  <a:lnTo>
                    <a:pt x="311" y="1788"/>
                  </a:lnTo>
                  <a:lnTo>
                    <a:pt x="313" y="1790"/>
                  </a:lnTo>
                  <a:lnTo>
                    <a:pt x="313" y="1787"/>
                  </a:lnTo>
                  <a:lnTo>
                    <a:pt x="314" y="1788"/>
                  </a:lnTo>
                  <a:lnTo>
                    <a:pt x="313" y="1787"/>
                  </a:lnTo>
                  <a:lnTo>
                    <a:pt x="314" y="1787"/>
                  </a:lnTo>
                  <a:lnTo>
                    <a:pt x="313" y="1787"/>
                  </a:lnTo>
                  <a:lnTo>
                    <a:pt x="314" y="1783"/>
                  </a:lnTo>
                  <a:lnTo>
                    <a:pt x="313" y="1783"/>
                  </a:lnTo>
                  <a:lnTo>
                    <a:pt x="311" y="1781"/>
                  </a:lnTo>
                  <a:lnTo>
                    <a:pt x="313" y="1783"/>
                  </a:lnTo>
                  <a:lnTo>
                    <a:pt x="313" y="1781"/>
                  </a:lnTo>
                  <a:lnTo>
                    <a:pt x="314" y="1781"/>
                  </a:lnTo>
                  <a:lnTo>
                    <a:pt x="313" y="1781"/>
                  </a:lnTo>
                  <a:lnTo>
                    <a:pt x="314" y="1781"/>
                  </a:lnTo>
                  <a:lnTo>
                    <a:pt x="313" y="1781"/>
                  </a:lnTo>
                  <a:lnTo>
                    <a:pt x="313" y="1780"/>
                  </a:lnTo>
                  <a:lnTo>
                    <a:pt x="311" y="1780"/>
                  </a:lnTo>
                  <a:lnTo>
                    <a:pt x="309" y="1780"/>
                  </a:lnTo>
                  <a:lnTo>
                    <a:pt x="308" y="1780"/>
                  </a:lnTo>
                  <a:lnTo>
                    <a:pt x="306" y="1780"/>
                  </a:lnTo>
                  <a:lnTo>
                    <a:pt x="304" y="1781"/>
                  </a:lnTo>
                  <a:lnTo>
                    <a:pt x="302" y="1780"/>
                  </a:lnTo>
                  <a:lnTo>
                    <a:pt x="302" y="1778"/>
                  </a:lnTo>
                  <a:lnTo>
                    <a:pt x="301" y="1780"/>
                  </a:lnTo>
                  <a:lnTo>
                    <a:pt x="302" y="1778"/>
                  </a:lnTo>
                  <a:lnTo>
                    <a:pt x="299" y="1776"/>
                  </a:lnTo>
                  <a:lnTo>
                    <a:pt x="301" y="1775"/>
                  </a:lnTo>
                  <a:lnTo>
                    <a:pt x="299" y="1771"/>
                  </a:lnTo>
                  <a:lnTo>
                    <a:pt x="297" y="1771"/>
                  </a:lnTo>
                  <a:lnTo>
                    <a:pt x="296" y="1771"/>
                  </a:lnTo>
                  <a:lnTo>
                    <a:pt x="292" y="1771"/>
                  </a:lnTo>
                  <a:lnTo>
                    <a:pt x="291" y="1771"/>
                  </a:lnTo>
                  <a:lnTo>
                    <a:pt x="289" y="1771"/>
                  </a:lnTo>
                  <a:lnTo>
                    <a:pt x="287" y="1771"/>
                  </a:lnTo>
                  <a:lnTo>
                    <a:pt x="285" y="1771"/>
                  </a:lnTo>
                  <a:lnTo>
                    <a:pt x="285" y="1773"/>
                  </a:lnTo>
                  <a:lnTo>
                    <a:pt x="284" y="1775"/>
                  </a:lnTo>
                  <a:lnTo>
                    <a:pt x="282" y="1776"/>
                  </a:lnTo>
                  <a:lnTo>
                    <a:pt x="280" y="1776"/>
                  </a:lnTo>
                  <a:lnTo>
                    <a:pt x="279" y="1776"/>
                  </a:lnTo>
                  <a:lnTo>
                    <a:pt x="277" y="1776"/>
                  </a:lnTo>
                  <a:lnTo>
                    <a:pt x="275" y="1776"/>
                  </a:lnTo>
                  <a:lnTo>
                    <a:pt x="274" y="1778"/>
                  </a:lnTo>
                  <a:lnTo>
                    <a:pt x="272" y="1778"/>
                  </a:lnTo>
                  <a:lnTo>
                    <a:pt x="270" y="1778"/>
                  </a:lnTo>
                  <a:lnTo>
                    <a:pt x="268" y="1778"/>
                  </a:lnTo>
                  <a:lnTo>
                    <a:pt x="267" y="1776"/>
                  </a:lnTo>
                  <a:lnTo>
                    <a:pt x="265" y="1775"/>
                  </a:lnTo>
                  <a:lnTo>
                    <a:pt x="263" y="1775"/>
                  </a:lnTo>
                  <a:lnTo>
                    <a:pt x="263" y="1773"/>
                  </a:lnTo>
                  <a:lnTo>
                    <a:pt x="260" y="1773"/>
                  </a:lnTo>
                  <a:lnTo>
                    <a:pt x="258" y="1771"/>
                  </a:lnTo>
                  <a:lnTo>
                    <a:pt x="257" y="1768"/>
                  </a:lnTo>
                  <a:lnTo>
                    <a:pt x="258" y="1770"/>
                  </a:lnTo>
                  <a:lnTo>
                    <a:pt x="257" y="1771"/>
                  </a:lnTo>
                  <a:lnTo>
                    <a:pt x="255" y="1770"/>
                  </a:lnTo>
                  <a:lnTo>
                    <a:pt x="251" y="1770"/>
                  </a:lnTo>
                  <a:lnTo>
                    <a:pt x="250" y="1768"/>
                  </a:lnTo>
                  <a:lnTo>
                    <a:pt x="248" y="1764"/>
                  </a:lnTo>
                  <a:lnTo>
                    <a:pt x="245" y="1763"/>
                  </a:lnTo>
                  <a:lnTo>
                    <a:pt x="245" y="1761"/>
                  </a:lnTo>
                  <a:lnTo>
                    <a:pt x="243" y="1761"/>
                  </a:lnTo>
                  <a:lnTo>
                    <a:pt x="241" y="1758"/>
                  </a:lnTo>
                  <a:lnTo>
                    <a:pt x="243" y="1758"/>
                  </a:lnTo>
                  <a:lnTo>
                    <a:pt x="245" y="1759"/>
                  </a:lnTo>
                  <a:lnTo>
                    <a:pt x="246" y="1761"/>
                  </a:lnTo>
                  <a:lnTo>
                    <a:pt x="248" y="1761"/>
                  </a:lnTo>
                  <a:lnTo>
                    <a:pt x="250" y="1763"/>
                  </a:lnTo>
                  <a:lnTo>
                    <a:pt x="251" y="1764"/>
                  </a:lnTo>
                  <a:lnTo>
                    <a:pt x="253" y="1763"/>
                  </a:lnTo>
                  <a:lnTo>
                    <a:pt x="251" y="1759"/>
                  </a:lnTo>
                  <a:lnTo>
                    <a:pt x="250" y="1759"/>
                  </a:lnTo>
                  <a:lnTo>
                    <a:pt x="248" y="1758"/>
                  </a:lnTo>
                  <a:lnTo>
                    <a:pt x="250" y="1758"/>
                  </a:lnTo>
                  <a:lnTo>
                    <a:pt x="248" y="1756"/>
                  </a:lnTo>
                  <a:lnTo>
                    <a:pt x="250" y="1756"/>
                  </a:lnTo>
                  <a:lnTo>
                    <a:pt x="248" y="1753"/>
                  </a:lnTo>
                  <a:lnTo>
                    <a:pt x="250" y="1753"/>
                  </a:lnTo>
                  <a:lnTo>
                    <a:pt x="248" y="1751"/>
                  </a:lnTo>
                  <a:lnTo>
                    <a:pt x="246" y="1747"/>
                  </a:lnTo>
                  <a:lnTo>
                    <a:pt x="248" y="1747"/>
                  </a:lnTo>
                  <a:lnTo>
                    <a:pt x="250" y="1751"/>
                  </a:lnTo>
                  <a:lnTo>
                    <a:pt x="248" y="1747"/>
                  </a:lnTo>
                  <a:lnTo>
                    <a:pt x="250" y="1747"/>
                  </a:lnTo>
                  <a:lnTo>
                    <a:pt x="248" y="1746"/>
                  </a:lnTo>
                  <a:lnTo>
                    <a:pt x="248" y="1744"/>
                  </a:lnTo>
                  <a:lnTo>
                    <a:pt x="250" y="1744"/>
                  </a:lnTo>
                  <a:lnTo>
                    <a:pt x="248" y="1742"/>
                  </a:lnTo>
                  <a:lnTo>
                    <a:pt x="246" y="1741"/>
                  </a:lnTo>
                  <a:lnTo>
                    <a:pt x="245" y="1741"/>
                  </a:lnTo>
                  <a:lnTo>
                    <a:pt x="246" y="1742"/>
                  </a:lnTo>
                  <a:lnTo>
                    <a:pt x="246" y="1744"/>
                  </a:lnTo>
                  <a:lnTo>
                    <a:pt x="246" y="1746"/>
                  </a:lnTo>
                  <a:lnTo>
                    <a:pt x="245" y="1746"/>
                  </a:lnTo>
                  <a:lnTo>
                    <a:pt x="246" y="1747"/>
                  </a:lnTo>
                  <a:lnTo>
                    <a:pt x="245" y="1749"/>
                  </a:lnTo>
                  <a:lnTo>
                    <a:pt x="245" y="1747"/>
                  </a:lnTo>
                  <a:lnTo>
                    <a:pt x="245" y="1749"/>
                  </a:lnTo>
                  <a:lnTo>
                    <a:pt x="241" y="1749"/>
                  </a:lnTo>
                  <a:lnTo>
                    <a:pt x="240" y="1751"/>
                  </a:lnTo>
                  <a:lnTo>
                    <a:pt x="241" y="1751"/>
                  </a:lnTo>
                  <a:lnTo>
                    <a:pt x="240" y="1751"/>
                  </a:lnTo>
                  <a:lnTo>
                    <a:pt x="238" y="1753"/>
                  </a:lnTo>
                  <a:lnTo>
                    <a:pt x="238" y="1754"/>
                  </a:lnTo>
                  <a:lnTo>
                    <a:pt x="236" y="1754"/>
                  </a:lnTo>
                  <a:lnTo>
                    <a:pt x="238" y="1756"/>
                  </a:lnTo>
                  <a:lnTo>
                    <a:pt x="234" y="1756"/>
                  </a:lnTo>
                  <a:lnTo>
                    <a:pt x="236" y="1758"/>
                  </a:lnTo>
                  <a:lnTo>
                    <a:pt x="234" y="1758"/>
                  </a:lnTo>
                  <a:lnTo>
                    <a:pt x="234" y="1759"/>
                  </a:lnTo>
                  <a:lnTo>
                    <a:pt x="234" y="1763"/>
                  </a:lnTo>
                  <a:lnTo>
                    <a:pt x="233" y="1761"/>
                  </a:lnTo>
                  <a:lnTo>
                    <a:pt x="233" y="1763"/>
                  </a:lnTo>
                  <a:lnTo>
                    <a:pt x="229" y="1763"/>
                  </a:lnTo>
                  <a:lnTo>
                    <a:pt x="229" y="1764"/>
                  </a:lnTo>
                  <a:lnTo>
                    <a:pt x="228" y="1763"/>
                  </a:lnTo>
                  <a:lnTo>
                    <a:pt x="228" y="1766"/>
                  </a:lnTo>
                  <a:lnTo>
                    <a:pt x="226" y="1764"/>
                  </a:lnTo>
                  <a:lnTo>
                    <a:pt x="224" y="1764"/>
                  </a:lnTo>
                  <a:lnTo>
                    <a:pt x="224" y="1766"/>
                  </a:lnTo>
                  <a:lnTo>
                    <a:pt x="223" y="1764"/>
                  </a:lnTo>
                  <a:lnTo>
                    <a:pt x="221" y="1763"/>
                  </a:lnTo>
                  <a:lnTo>
                    <a:pt x="221" y="1764"/>
                  </a:lnTo>
                  <a:lnTo>
                    <a:pt x="223" y="1768"/>
                  </a:lnTo>
                  <a:lnTo>
                    <a:pt x="221" y="1770"/>
                  </a:lnTo>
                  <a:lnTo>
                    <a:pt x="221" y="1768"/>
                  </a:lnTo>
                  <a:lnTo>
                    <a:pt x="221" y="1766"/>
                  </a:lnTo>
                  <a:lnTo>
                    <a:pt x="219" y="1764"/>
                  </a:lnTo>
                  <a:lnTo>
                    <a:pt x="221" y="1763"/>
                  </a:lnTo>
                  <a:lnTo>
                    <a:pt x="221" y="1761"/>
                  </a:lnTo>
                  <a:lnTo>
                    <a:pt x="221" y="1759"/>
                  </a:lnTo>
                  <a:lnTo>
                    <a:pt x="223" y="1758"/>
                  </a:lnTo>
                  <a:lnTo>
                    <a:pt x="224" y="1754"/>
                  </a:lnTo>
                  <a:lnTo>
                    <a:pt x="224" y="1753"/>
                  </a:lnTo>
                  <a:lnTo>
                    <a:pt x="226" y="1751"/>
                  </a:lnTo>
                  <a:lnTo>
                    <a:pt x="226" y="1749"/>
                  </a:lnTo>
                  <a:lnTo>
                    <a:pt x="228" y="1747"/>
                  </a:lnTo>
                  <a:lnTo>
                    <a:pt x="228" y="1744"/>
                  </a:lnTo>
                  <a:lnTo>
                    <a:pt x="229" y="1744"/>
                  </a:lnTo>
                  <a:lnTo>
                    <a:pt x="231" y="1741"/>
                  </a:lnTo>
                  <a:lnTo>
                    <a:pt x="233" y="1739"/>
                  </a:lnTo>
                  <a:lnTo>
                    <a:pt x="233" y="1737"/>
                  </a:lnTo>
                  <a:lnTo>
                    <a:pt x="234" y="1736"/>
                  </a:lnTo>
                  <a:lnTo>
                    <a:pt x="234" y="1734"/>
                  </a:lnTo>
                  <a:lnTo>
                    <a:pt x="236" y="1732"/>
                  </a:lnTo>
                  <a:lnTo>
                    <a:pt x="236" y="1729"/>
                  </a:lnTo>
                  <a:lnTo>
                    <a:pt x="240" y="1729"/>
                  </a:lnTo>
                  <a:lnTo>
                    <a:pt x="241" y="1729"/>
                  </a:lnTo>
                  <a:lnTo>
                    <a:pt x="241" y="1727"/>
                  </a:lnTo>
                  <a:lnTo>
                    <a:pt x="241" y="1724"/>
                  </a:lnTo>
                  <a:lnTo>
                    <a:pt x="241" y="1722"/>
                  </a:lnTo>
                  <a:lnTo>
                    <a:pt x="243" y="1720"/>
                  </a:lnTo>
                  <a:lnTo>
                    <a:pt x="243" y="1719"/>
                  </a:lnTo>
                  <a:lnTo>
                    <a:pt x="243" y="1717"/>
                  </a:lnTo>
                  <a:lnTo>
                    <a:pt x="245" y="1717"/>
                  </a:lnTo>
                  <a:lnTo>
                    <a:pt x="243" y="1715"/>
                  </a:lnTo>
                  <a:lnTo>
                    <a:pt x="245" y="1713"/>
                  </a:lnTo>
                  <a:lnTo>
                    <a:pt x="248" y="1712"/>
                  </a:lnTo>
                  <a:lnTo>
                    <a:pt x="248" y="1710"/>
                  </a:lnTo>
                  <a:lnTo>
                    <a:pt x="250" y="1708"/>
                  </a:lnTo>
                  <a:lnTo>
                    <a:pt x="251" y="1707"/>
                  </a:lnTo>
                  <a:lnTo>
                    <a:pt x="253" y="1705"/>
                  </a:lnTo>
                  <a:lnTo>
                    <a:pt x="255" y="1702"/>
                  </a:lnTo>
                  <a:lnTo>
                    <a:pt x="255" y="1700"/>
                  </a:lnTo>
                  <a:lnTo>
                    <a:pt x="257" y="1696"/>
                  </a:lnTo>
                  <a:lnTo>
                    <a:pt x="257" y="1695"/>
                  </a:lnTo>
                  <a:lnTo>
                    <a:pt x="257" y="1693"/>
                  </a:lnTo>
                  <a:lnTo>
                    <a:pt x="258" y="1691"/>
                  </a:lnTo>
                  <a:lnTo>
                    <a:pt x="258" y="1690"/>
                  </a:lnTo>
                  <a:lnTo>
                    <a:pt x="260" y="1686"/>
                  </a:lnTo>
                  <a:lnTo>
                    <a:pt x="258" y="1684"/>
                  </a:lnTo>
                  <a:lnTo>
                    <a:pt x="260" y="1684"/>
                  </a:lnTo>
                  <a:lnTo>
                    <a:pt x="262" y="1683"/>
                  </a:lnTo>
                  <a:lnTo>
                    <a:pt x="263" y="1681"/>
                  </a:lnTo>
                  <a:lnTo>
                    <a:pt x="263" y="1678"/>
                  </a:lnTo>
                  <a:lnTo>
                    <a:pt x="265" y="1676"/>
                  </a:lnTo>
                  <a:lnTo>
                    <a:pt x="265" y="1674"/>
                  </a:lnTo>
                  <a:lnTo>
                    <a:pt x="267" y="1671"/>
                  </a:lnTo>
                  <a:lnTo>
                    <a:pt x="267" y="1669"/>
                  </a:lnTo>
                  <a:lnTo>
                    <a:pt x="267" y="1667"/>
                  </a:lnTo>
                  <a:lnTo>
                    <a:pt x="268" y="1666"/>
                  </a:lnTo>
                  <a:lnTo>
                    <a:pt x="270" y="1662"/>
                  </a:lnTo>
                  <a:lnTo>
                    <a:pt x="272" y="1661"/>
                  </a:lnTo>
                  <a:lnTo>
                    <a:pt x="272" y="1657"/>
                  </a:lnTo>
                  <a:lnTo>
                    <a:pt x="274" y="1654"/>
                  </a:lnTo>
                  <a:lnTo>
                    <a:pt x="274" y="1650"/>
                  </a:lnTo>
                  <a:lnTo>
                    <a:pt x="275" y="1649"/>
                  </a:lnTo>
                  <a:lnTo>
                    <a:pt x="275" y="1647"/>
                  </a:lnTo>
                  <a:lnTo>
                    <a:pt x="277" y="1647"/>
                  </a:lnTo>
                  <a:lnTo>
                    <a:pt x="275" y="1644"/>
                  </a:lnTo>
                  <a:lnTo>
                    <a:pt x="277" y="1644"/>
                  </a:lnTo>
                  <a:lnTo>
                    <a:pt x="277" y="1642"/>
                  </a:lnTo>
                  <a:lnTo>
                    <a:pt x="279" y="1640"/>
                  </a:lnTo>
                  <a:lnTo>
                    <a:pt x="279" y="1639"/>
                  </a:lnTo>
                  <a:lnTo>
                    <a:pt x="280" y="1637"/>
                  </a:lnTo>
                  <a:lnTo>
                    <a:pt x="280" y="1633"/>
                  </a:lnTo>
                  <a:lnTo>
                    <a:pt x="282" y="1632"/>
                  </a:lnTo>
                  <a:lnTo>
                    <a:pt x="282" y="1630"/>
                  </a:lnTo>
                  <a:lnTo>
                    <a:pt x="282" y="1627"/>
                  </a:lnTo>
                  <a:lnTo>
                    <a:pt x="282" y="1625"/>
                  </a:lnTo>
                  <a:lnTo>
                    <a:pt x="284" y="1623"/>
                  </a:lnTo>
                  <a:lnTo>
                    <a:pt x="285" y="1623"/>
                  </a:lnTo>
                  <a:lnTo>
                    <a:pt x="285" y="1622"/>
                  </a:lnTo>
                  <a:lnTo>
                    <a:pt x="285" y="1620"/>
                  </a:lnTo>
                  <a:lnTo>
                    <a:pt x="285" y="1618"/>
                  </a:lnTo>
                  <a:lnTo>
                    <a:pt x="287" y="1618"/>
                  </a:lnTo>
                  <a:lnTo>
                    <a:pt x="287" y="1616"/>
                  </a:lnTo>
                  <a:lnTo>
                    <a:pt x="289" y="1615"/>
                  </a:lnTo>
                  <a:lnTo>
                    <a:pt x="289" y="1613"/>
                  </a:lnTo>
                  <a:lnTo>
                    <a:pt x="291" y="1611"/>
                  </a:lnTo>
                  <a:lnTo>
                    <a:pt x="292" y="1608"/>
                  </a:lnTo>
                  <a:lnTo>
                    <a:pt x="292" y="1605"/>
                  </a:lnTo>
                  <a:lnTo>
                    <a:pt x="294" y="1603"/>
                  </a:lnTo>
                  <a:lnTo>
                    <a:pt x="292" y="1601"/>
                  </a:lnTo>
                  <a:lnTo>
                    <a:pt x="294" y="1599"/>
                  </a:lnTo>
                  <a:lnTo>
                    <a:pt x="294" y="1598"/>
                  </a:lnTo>
                  <a:lnTo>
                    <a:pt x="294" y="1596"/>
                  </a:lnTo>
                  <a:lnTo>
                    <a:pt x="296" y="1589"/>
                  </a:lnTo>
                  <a:lnTo>
                    <a:pt x="296" y="1588"/>
                  </a:lnTo>
                  <a:lnTo>
                    <a:pt x="296" y="1586"/>
                  </a:lnTo>
                  <a:lnTo>
                    <a:pt x="296" y="1582"/>
                  </a:lnTo>
                  <a:lnTo>
                    <a:pt x="296" y="1581"/>
                  </a:lnTo>
                  <a:lnTo>
                    <a:pt x="296" y="1577"/>
                  </a:lnTo>
                  <a:lnTo>
                    <a:pt x="296" y="1574"/>
                  </a:lnTo>
                  <a:lnTo>
                    <a:pt x="297" y="1571"/>
                  </a:lnTo>
                  <a:lnTo>
                    <a:pt x="297" y="1569"/>
                  </a:lnTo>
                  <a:lnTo>
                    <a:pt x="296" y="1567"/>
                  </a:lnTo>
                  <a:lnTo>
                    <a:pt x="294" y="1565"/>
                  </a:lnTo>
                  <a:lnTo>
                    <a:pt x="292" y="1564"/>
                  </a:lnTo>
                  <a:lnTo>
                    <a:pt x="291" y="1564"/>
                  </a:lnTo>
                  <a:lnTo>
                    <a:pt x="291" y="1562"/>
                  </a:lnTo>
                  <a:lnTo>
                    <a:pt x="289" y="1560"/>
                  </a:lnTo>
                  <a:lnTo>
                    <a:pt x="287" y="1559"/>
                  </a:lnTo>
                  <a:lnTo>
                    <a:pt x="284" y="1559"/>
                  </a:lnTo>
                  <a:lnTo>
                    <a:pt x="284" y="1557"/>
                  </a:lnTo>
                  <a:lnTo>
                    <a:pt x="282" y="1555"/>
                  </a:lnTo>
                  <a:lnTo>
                    <a:pt x="282" y="1554"/>
                  </a:lnTo>
                  <a:lnTo>
                    <a:pt x="280" y="1552"/>
                  </a:lnTo>
                  <a:lnTo>
                    <a:pt x="280" y="1550"/>
                  </a:lnTo>
                  <a:lnTo>
                    <a:pt x="277" y="1550"/>
                  </a:lnTo>
                  <a:lnTo>
                    <a:pt x="275" y="1548"/>
                  </a:lnTo>
                  <a:lnTo>
                    <a:pt x="274" y="1548"/>
                  </a:lnTo>
                  <a:lnTo>
                    <a:pt x="272" y="1547"/>
                  </a:lnTo>
                  <a:lnTo>
                    <a:pt x="270" y="1547"/>
                  </a:lnTo>
                  <a:lnTo>
                    <a:pt x="268" y="1545"/>
                  </a:lnTo>
                  <a:lnTo>
                    <a:pt x="268" y="1543"/>
                  </a:lnTo>
                  <a:lnTo>
                    <a:pt x="265" y="1543"/>
                  </a:lnTo>
                  <a:lnTo>
                    <a:pt x="262" y="1542"/>
                  </a:lnTo>
                  <a:lnTo>
                    <a:pt x="258" y="1542"/>
                  </a:lnTo>
                  <a:lnTo>
                    <a:pt x="253" y="1540"/>
                  </a:lnTo>
                  <a:lnTo>
                    <a:pt x="251" y="1540"/>
                  </a:lnTo>
                  <a:lnTo>
                    <a:pt x="250" y="1540"/>
                  </a:lnTo>
                  <a:lnTo>
                    <a:pt x="250" y="1538"/>
                  </a:lnTo>
                  <a:lnTo>
                    <a:pt x="246" y="1537"/>
                  </a:lnTo>
                  <a:lnTo>
                    <a:pt x="245" y="1535"/>
                  </a:lnTo>
                  <a:lnTo>
                    <a:pt x="243" y="1535"/>
                  </a:lnTo>
                  <a:lnTo>
                    <a:pt x="241" y="1533"/>
                  </a:lnTo>
                  <a:lnTo>
                    <a:pt x="241" y="1531"/>
                  </a:lnTo>
                  <a:lnTo>
                    <a:pt x="236" y="1530"/>
                  </a:lnTo>
                  <a:lnTo>
                    <a:pt x="236" y="1528"/>
                  </a:lnTo>
                  <a:lnTo>
                    <a:pt x="234" y="1528"/>
                  </a:lnTo>
                  <a:lnTo>
                    <a:pt x="231" y="1526"/>
                  </a:lnTo>
                  <a:lnTo>
                    <a:pt x="231" y="1525"/>
                  </a:lnTo>
                  <a:lnTo>
                    <a:pt x="234" y="1521"/>
                  </a:lnTo>
                  <a:lnTo>
                    <a:pt x="238" y="1518"/>
                  </a:lnTo>
                  <a:lnTo>
                    <a:pt x="238" y="1511"/>
                  </a:lnTo>
                  <a:lnTo>
                    <a:pt x="238" y="1509"/>
                  </a:lnTo>
                  <a:lnTo>
                    <a:pt x="240" y="1506"/>
                  </a:lnTo>
                  <a:lnTo>
                    <a:pt x="241" y="1502"/>
                  </a:lnTo>
                  <a:lnTo>
                    <a:pt x="241" y="1501"/>
                  </a:lnTo>
                  <a:lnTo>
                    <a:pt x="241" y="1496"/>
                  </a:lnTo>
                  <a:lnTo>
                    <a:pt x="241" y="1494"/>
                  </a:lnTo>
                  <a:lnTo>
                    <a:pt x="240" y="1492"/>
                  </a:lnTo>
                  <a:lnTo>
                    <a:pt x="236" y="1491"/>
                  </a:lnTo>
                  <a:lnTo>
                    <a:pt x="238" y="1489"/>
                  </a:lnTo>
                  <a:lnTo>
                    <a:pt x="236" y="1485"/>
                  </a:lnTo>
                  <a:lnTo>
                    <a:pt x="233" y="1485"/>
                  </a:lnTo>
                  <a:lnTo>
                    <a:pt x="231" y="1484"/>
                  </a:lnTo>
                  <a:lnTo>
                    <a:pt x="229" y="1484"/>
                  </a:lnTo>
                  <a:lnTo>
                    <a:pt x="226" y="1482"/>
                  </a:lnTo>
                  <a:lnTo>
                    <a:pt x="224" y="1482"/>
                  </a:lnTo>
                  <a:lnTo>
                    <a:pt x="223" y="1482"/>
                  </a:lnTo>
                  <a:lnTo>
                    <a:pt x="221" y="1480"/>
                  </a:lnTo>
                  <a:lnTo>
                    <a:pt x="219" y="1480"/>
                  </a:lnTo>
                  <a:lnTo>
                    <a:pt x="219" y="1477"/>
                  </a:lnTo>
                  <a:lnTo>
                    <a:pt x="217" y="1475"/>
                  </a:lnTo>
                  <a:lnTo>
                    <a:pt x="217" y="1474"/>
                  </a:lnTo>
                  <a:lnTo>
                    <a:pt x="216" y="1472"/>
                  </a:lnTo>
                  <a:lnTo>
                    <a:pt x="216" y="1468"/>
                  </a:lnTo>
                  <a:lnTo>
                    <a:pt x="214" y="1468"/>
                  </a:lnTo>
                  <a:lnTo>
                    <a:pt x="216" y="1465"/>
                  </a:lnTo>
                  <a:lnTo>
                    <a:pt x="217" y="1463"/>
                  </a:lnTo>
                  <a:lnTo>
                    <a:pt x="217" y="1462"/>
                  </a:lnTo>
                  <a:lnTo>
                    <a:pt x="214" y="1458"/>
                  </a:lnTo>
                  <a:lnTo>
                    <a:pt x="212" y="1457"/>
                  </a:lnTo>
                  <a:lnTo>
                    <a:pt x="214" y="1455"/>
                  </a:lnTo>
                  <a:lnTo>
                    <a:pt x="212" y="1453"/>
                  </a:lnTo>
                  <a:lnTo>
                    <a:pt x="211" y="1453"/>
                  </a:lnTo>
                  <a:lnTo>
                    <a:pt x="209" y="1455"/>
                  </a:lnTo>
                  <a:lnTo>
                    <a:pt x="207" y="1455"/>
                  </a:lnTo>
                  <a:lnTo>
                    <a:pt x="204" y="1457"/>
                  </a:lnTo>
                  <a:lnTo>
                    <a:pt x="202" y="1455"/>
                  </a:lnTo>
                  <a:lnTo>
                    <a:pt x="200" y="1453"/>
                  </a:lnTo>
                  <a:lnTo>
                    <a:pt x="199" y="1451"/>
                  </a:lnTo>
                  <a:lnTo>
                    <a:pt x="197" y="1448"/>
                  </a:lnTo>
                  <a:lnTo>
                    <a:pt x="197" y="1445"/>
                  </a:lnTo>
                  <a:lnTo>
                    <a:pt x="195" y="1443"/>
                  </a:lnTo>
                  <a:lnTo>
                    <a:pt x="195" y="1441"/>
                  </a:lnTo>
                  <a:lnTo>
                    <a:pt x="195" y="1438"/>
                  </a:lnTo>
                  <a:lnTo>
                    <a:pt x="197" y="1436"/>
                  </a:lnTo>
                  <a:lnTo>
                    <a:pt x="197" y="1434"/>
                  </a:lnTo>
                  <a:lnTo>
                    <a:pt x="200" y="1434"/>
                  </a:lnTo>
                  <a:lnTo>
                    <a:pt x="202" y="1433"/>
                  </a:lnTo>
                  <a:lnTo>
                    <a:pt x="200" y="1431"/>
                  </a:lnTo>
                  <a:lnTo>
                    <a:pt x="199" y="1431"/>
                  </a:lnTo>
                  <a:lnTo>
                    <a:pt x="199" y="1429"/>
                  </a:lnTo>
                  <a:lnTo>
                    <a:pt x="200" y="1428"/>
                  </a:lnTo>
                  <a:lnTo>
                    <a:pt x="199" y="1426"/>
                  </a:lnTo>
                  <a:lnTo>
                    <a:pt x="195" y="1426"/>
                  </a:lnTo>
                  <a:lnTo>
                    <a:pt x="194" y="1426"/>
                  </a:lnTo>
                  <a:lnTo>
                    <a:pt x="192" y="1426"/>
                  </a:lnTo>
                  <a:lnTo>
                    <a:pt x="190" y="1424"/>
                  </a:lnTo>
                  <a:lnTo>
                    <a:pt x="190" y="1423"/>
                  </a:lnTo>
                  <a:lnTo>
                    <a:pt x="192" y="1417"/>
                  </a:lnTo>
                  <a:lnTo>
                    <a:pt x="192" y="1416"/>
                  </a:lnTo>
                  <a:lnTo>
                    <a:pt x="190" y="1409"/>
                  </a:lnTo>
                  <a:lnTo>
                    <a:pt x="190" y="1407"/>
                  </a:lnTo>
                  <a:lnTo>
                    <a:pt x="190" y="1404"/>
                  </a:lnTo>
                  <a:lnTo>
                    <a:pt x="192" y="1402"/>
                  </a:lnTo>
                  <a:lnTo>
                    <a:pt x="190" y="1400"/>
                  </a:lnTo>
                  <a:lnTo>
                    <a:pt x="189" y="1399"/>
                  </a:lnTo>
                  <a:lnTo>
                    <a:pt x="187" y="1397"/>
                  </a:lnTo>
                  <a:lnTo>
                    <a:pt x="190" y="1395"/>
                  </a:lnTo>
                  <a:lnTo>
                    <a:pt x="190" y="1394"/>
                  </a:lnTo>
                  <a:lnTo>
                    <a:pt x="194" y="1392"/>
                  </a:lnTo>
                  <a:lnTo>
                    <a:pt x="194" y="1390"/>
                  </a:lnTo>
                  <a:lnTo>
                    <a:pt x="194" y="1392"/>
                  </a:lnTo>
                  <a:lnTo>
                    <a:pt x="195" y="1392"/>
                  </a:lnTo>
                  <a:lnTo>
                    <a:pt x="197" y="1392"/>
                  </a:lnTo>
                  <a:lnTo>
                    <a:pt x="197" y="1390"/>
                  </a:lnTo>
                  <a:lnTo>
                    <a:pt x="195" y="1387"/>
                  </a:lnTo>
                  <a:lnTo>
                    <a:pt x="194" y="1383"/>
                  </a:lnTo>
                  <a:lnTo>
                    <a:pt x="192" y="1380"/>
                  </a:lnTo>
                  <a:lnTo>
                    <a:pt x="192" y="1378"/>
                  </a:lnTo>
                  <a:lnTo>
                    <a:pt x="192" y="1377"/>
                  </a:lnTo>
                  <a:lnTo>
                    <a:pt x="190" y="1377"/>
                  </a:lnTo>
                  <a:lnTo>
                    <a:pt x="190" y="1375"/>
                  </a:lnTo>
                  <a:lnTo>
                    <a:pt x="189" y="1373"/>
                  </a:lnTo>
                  <a:lnTo>
                    <a:pt x="189" y="1372"/>
                  </a:lnTo>
                  <a:lnTo>
                    <a:pt x="187" y="1372"/>
                  </a:lnTo>
                  <a:lnTo>
                    <a:pt x="187" y="1368"/>
                  </a:lnTo>
                  <a:lnTo>
                    <a:pt x="185" y="1366"/>
                  </a:lnTo>
                  <a:lnTo>
                    <a:pt x="182" y="1361"/>
                  </a:lnTo>
                  <a:lnTo>
                    <a:pt x="180" y="1360"/>
                  </a:lnTo>
                  <a:lnTo>
                    <a:pt x="178" y="1358"/>
                  </a:lnTo>
                  <a:lnTo>
                    <a:pt x="175" y="1354"/>
                  </a:lnTo>
                  <a:lnTo>
                    <a:pt x="173" y="1354"/>
                  </a:lnTo>
                  <a:lnTo>
                    <a:pt x="173" y="1353"/>
                  </a:lnTo>
                  <a:lnTo>
                    <a:pt x="172" y="1351"/>
                  </a:lnTo>
                  <a:lnTo>
                    <a:pt x="170" y="1348"/>
                  </a:lnTo>
                  <a:lnTo>
                    <a:pt x="166" y="1343"/>
                  </a:lnTo>
                  <a:lnTo>
                    <a:pt x="165" y="1341"/>
                  </a:lnTo>
                  <a:lnTo>
                    <a:pt x="163" y="1337"/>
                  </a:lnTo>
                  <a:lnTo>
                    <a:pt x="161" y="1336"/>
                  </a:lnTo>
                  <a:lnTo>
                    <a:pt x="160" y="1334"/>
                  </a:lnTo>
                  <a:lnTo>
                    <a:pt x="158" y="1332"/>
                  </a:lnTo>
                  <a:lnTo>
                    <a:pt x="156" y="1331"/>
                  </a:lnTo>
                  <a:lnTo>
                    <a:pt x="155" y="1329"/>
                  </a:lnTo>
                  <a:lnTo>
                    <a:pt x="151" y="1324"/>
                  </a:lnTo>
                  <a:lnTo>
                    <a:pt x="148" y="1322"/>
                  </a:lnTo>
                  <a:lnTo>
                    <a:pt x="148" y="1320"/>
                  </a:lnTo>
                  <a:lnTo>
                    <a:pt x="146" y="1320"/>
                  </a:lnTo>
                  <a:lnTo>
                    <a:pt x="144" y="1317"/>
                  </a:lnTo>
                  <a:lnTo>
                    <a:pt x="143" y="1314"/>
                  </a:lnTo>
                  <a:lnTo>
                    <a:pt x="143" y="1310"/>
                  </a:lnTo>
                  <a:lnTo>
                    <a:pt x="143" y="1309"/>
                  </a:lnTo>
                  <a:lnTo>
                    <a:pt x="143" y="1307"/>
                  </a:lnTo>
                  <a:lnTo>
                    <a:pt x="143" y="1303"/>
                  </a:lnTo>
                  <a:lnTo>
                    <a:pt x="144" y="1300"/>
                  </a:lnTo>
                  <a:lnTo>
                    <a:pt x="144" y="1297"/>
                  </a:lnTo>
                  <a:lnTo>
                    <a:pt x="146" y="1297"/>
                  </a:lnTo>
                  <a:lnTo>
                    <a:pt x="146" y="1293"/>
                  </a:lnTo>
                  <a:lnTo>
                    <a:pt x="146" y="1292"/>
                  </a:lnTo>
                  <a:lnTo>
                    <a:pt x="148" y="1290"/>
                  </a:lnTo>
                  <a:lnTo>
                    <a:pt x="148" y="1288"/>
                  </a:lnTo>
                  <a:lnTo>
                    <a:pt x="149" y="1285"/>
                  </a:lnTo>
                  <a:lnTo>
                    <a:pt x="148" y="1283"/>
                  </a:lnTo>
                  <a:lnTo>
                    <a:pt x="149" y="1281"/>
                  </a:lnTo>
                  <a:lnTo>
                    <a:pt x="151" y="1280"/>
                  </a:lnTo>
                  <a:lnTo>
                    <a:pt x="149" y="1280"/>
                  </a:lnTo>
                  <a:lnTo>
                    <a:pt x="151" y="1278"/>
                  </a:lnTo>
                  <a:lnTo>
                    <a:pt x="151" y="1275"/>
                  </a:lnTo>
                  <a:lnTo>
                    <a:pt x="153" y="1273"/>
                  </a:lnTo>
                  <a:lnTo>
                    <a:pt x="153" y="1269"/>
                  </a:lnTo>
                  <a:lnTo>
                    <a:pt x="153" y="1268"/>
                  </a:lnTo>
                  <a:lnTo>
                    <a:pt x="155" y="1266"/>
                  </a:lnTo>
                  <a:lnTo>
                    <a:pt x="155" y="1264"/>
                  </a:lnTo>
                  <a:lnTo>
                    <a:pt x="155" y="1261"/>
                  </a:lnTo>
                  <a:lnTo>
                    <a:pt x="155" y="1259"/>
                  </a:lnTo>
                  <a:lnTo>
                    <a:pt x="155" y="1256"/>
                  </a:lnTo>
                  <a:lnTo>
                    <a:pt x="155" y="1254"/>
                  </a:lnTo>
                  <a:lnTo>
                    <a:pt x="153" y="1252"/>
                  </a:lnTo>
                  <a:lnTo>
                    <a:pt x="151" y="1251"/>
                  </a:lnTo>
                  <a:lnTo>
                    <a:pt x="148" y="1251"/>
                  </a:lnTo>
                  <a:lnTo>
                    <a:pt x="146" y="1249"/>
                  </a:lnTo>
                  <a:lnTo>
                    <a:pt x="143" y="1247"/>
                  </a:lnTo>
                  <a:lnTo>
                    <a:pt x="141" y="1244"/>
                  </a:lnTo>
                  <a:lnTo>
                    <a:pt x="139" y="1244"/>
                  </a:lnTo>
                  <a:lnTo>
                    <a:pt x="134" y="1237"/>
                  </a:lnTo>
                  <a:lnTo>
                    <a:pt x="132" y="1235"/>
                  </a:lnTo>
                  <a:lnTo>
                    <a:pt x="131" y="1234"/>
                  </a:lnTo>
                  <a:lnTo>
                    <a:pt x="129" y="1232"/>
                  </a:lnTo>
                  <a:lnTo>
                    <a:pt x="129" y="1230"/>
                  </a:lnTo>
                  <a:lnTo>
                    <a:pt x="126" y="1230"/>
                  </a:lnTo>
                  <a:lnTo>
                    <a:pt x="121" y="1229"/>
                  </a:lnTo>
                  <a:lnTo>
                    <a:pt x="119" y="1229"/>
                  </a:lnTo>
                  <a:lnTo>
                    <a:pt x="114" y="1227"/>
                  </a:lnTo>
                  <a:lnTo>
                    <a:pt x="110" y="1227"/>
                  </a:lnTo>
                  <a:lnTo>
                    <a:pt x="109" y="1227"/>
                  </a:lnTo>
                  <a:lnTo>
                    <a:pt x="107" y="1225"/>
                  </a:lnTo>
                  <a:lnTo>
                    <a:pt x="105" y="1222"/>
                  </a:lnTo>
                  <a:lnTo>
                    <a:pt x="105" y="1220"/>
                  </a:lnTo>
                  <a:lnTo>
                    <a:pt x="104" y="1218"/>
                  </a:lnTo>
                  <a:lnTo>
                    <a:pt x="104" y="1217"/>
                  </a:lnTo>
                  <a:lnTo>
                    <a:pt x="102" y="1213"/>
                  </a:lnTo>
                  <a:lnTo>
                    <a:pt x="100" y="1212"/>
                  </a:lnTo>
                  <a:lnTo>
                    <a:pt x="100" y="1210"/>
                  </a:lnTo>
                  <a:lnTo>
                    <a:pt x="98" y="1208"/>
                  </a:lnTo>
                  <a:lnTo>
                    <a:pt x="97" y="1206"/>
                  </a:lnTo>
                  <a:lnTo>
                    <a:pt x="97" y="1203"/>
                  </a:lnTo>
                  <a:lnTo>
                    <a:pt x="97" y="1201"/>
                  </a:lnTo>
                  <a:lnTo>
                    <a:pt x="97" y="1198"/>
                  </a:lnTo>
                  <a:lnTo>
                    <a:pt x="98" y="1196"/>
                  </a:lnTo>
                  <a:lnTo>
                    <a:pt x="98" y="1193"/>
                  </a:lnTo>
                  <a:lnTo>
                    <a:pt x="100" y="1189"/>
                  </a:lnTo>
                  <a:lnTo>
                    <a:pt x="100" y="1188"/>
                  </a:lnTo>
                  <a:lnTo>
                    <a:pt x="100" y="1186"/>
                  </a:lnTo>
                  <a:lnTo>
                    <a:pt x="100" y="1183"/>
                  </a:lnTo>
                  <a:lnTo>
                    <a:pt x="100" y="1181"/>
                  </a:lnTo>
                  <a:lnTo>
                    <a:pt x="100" y="1179"/>
                  </a:lnTo>
                  <a:lnTo>
                    <a:pt x="100" y="1178"/>
                  </a:lnTo>
                  <a:lnTo>
                    <a:pt x="97" y="1178"/>
                  </a:lnTo>
                  <a:lnTo>
                    <a:pt x="95" y="1178"/>
                  </a:lnTo>
                  <a:lnTo>
                    <a:pt x="93" y="1179"/>
                  </a:lnTo>
                  <a:lnTo>
                    <a:pt x="92" y="1179"/>
                  </a:lnTo>
                  <a:lnTo>
                    <a:pt x="88" y="1178"/>
                  </a:lnTo>
                  <a:lnTo>
                    <a:pt x="92" y="1176"/>
                  </a:lnTo>
                  <a:lnTo>
                    <a:pt x="95" y="1169"/>
                  </a:lnTo>
                  <a:lnTo>
                    <a:pt x="100" y="1164"/>
                  </a:lnTo>
                  <a:lnTo>
                    <a:pt x="102" y="1166"/>
                  </a:lnTo>
                  <a:lnTo>
                    <a:pt x="104" y="1166"/>
                  </a:lnTo>
                  <a:lnTo>
                    <a:pt x="104" y="1164"/>
                  </a:lnTo>
                  <a:lnTo>
                    <a:pt x="105" y="1162"/>
                  </a:lnTo>
                  <a:lnTo>
                    <a:pt x="105" y="1161"/>
                  </a:lnTo>
                  <a:lnTo>
                    <a:pt x="105" y="1157"/>
                  </a:lnTo>
                  <a:lnTo>
                    <a:pt x="105" y="1154"/>
                  </a:lnTo>
                  <a:lnTo>
                    <a:pt x="105" y="1150"/>
                  </a:lnTo>
                  <a:lnTo>
                    <a:pt x="105" y="1149"/>
                  </a:lnTo>
                  <a:lnTo>
                    <a:pt x="104" y="1147"/>
                  </a:lnTo>
                  <a:lnTo>
                    <a:pt x="104" y="1144"/>
                  </a:lnTo>
                  <a:lnTo>
                    <a:pt x="105" y="1142"/>
                  </a:lnTo>
                  <a:lnTo>
                    <a:pt x="107" y="1142"/>
                  </a:lnTo>
                  <a:lnTo>
                    <a:pt x="109" y="1140"/>
                  </a:lnTo>
                  <a:lnTo>
                    <a:pt x="110" y="1140"/>
                  </a:lnTo>
                  <a:lnTo>
                    <a:pt x="112" y="1138"/>
                  </a:lnTo>
                  <a:lnTo>
                    <a:pt x="112" y="1137"/>
                  </a:lnTo>
                  <a:lnTo>
                    <a:pt x="112" y="1135"/>
                  </a:lnTo>
                  <a:lnTo>
                    <a:pt x="114" y="1133"/>
                  </a:lnTo>
                  <a:lnTo>
                    <a:pt x="115" y="1132"/>
                  </a:lnTo>
                  <a:lnTo>
                    <a:pt x="117" y="1132"/>
                  </a:lnTo>
                  <a:lnTo>
                    <a:pt x="121" y="1130"/>
                  </a:lnTo>
                  <a:lnTo>
                    <a:pt x="121" y="1128"/>
                  </a:lnTo>
                  <a:lnTo>
                    <a:pt x="121" y="1127"/>
                  </a:lnTo>
                  <a:lnTo>
                    <a:pt x="121" y="1123"/>
                  </a:lnTo>
                  <a:lnTo>
                    <a:pt x="121" y="1121"/>
                  </a:lnTo>
                  <a:lnTo>
                    <a:pt x="121" y="1120"/>
                  </a:lnTo>
                  <a:lnTo>
                    <a:pt x="121" y="1118"/>
                  </a:lnTo>
                  <a:lnTo>
                    <a:pt x="119" y="1116"/>
                  </a:lnTo>
                  <a:lnTo>
                    <a:pt x="117" y="1115"/>
                  </a:lnTo>
                  <a:lnTo>
                    <a:pt x="115" y="1113"/>
                  </a:lnTo>
                  <a:lnTo>
                    <a:pt x="117" y="1111"/>
                  </a:lnTo>
                  <a:lnTo>
                    <a:pt x="121" y="1113"/>
                  </a:lnTo>
                  <a:lnTo>
                    <a:pt x="122" y="1113"/>
                  </a:lnTo>
                  <a:lnTo>
                    <a:pt x="124" y="1115"/>
                  </a:lnTo>
                  <a:lnTo>
                    <a:pt x="126" y="1116"/>
                  </a:lnTo>
                  <a:lnTo>
                    <a:pt x="127" y="1118"/>
                  </a:lnTo>
                  <a:lnTo>
                    <a:pt x="129" y="1118"/>
                  </a:lnTo>
                  <a:lnTo>
                    <a:pt x="131" y="1118"/>
                  </a:lnTo>
                  <a:lnTo>
                    <a:pt x="132" y="1118"/>
                  </a:lnTo>
                  <a:lnTo>
                    <a:pt x="136" y="1118"/>
                  </a:lnTo>
                  <a:lnTo>
                    <a:pt x="138" y="1116"/>
                  </a:lnTo>
                  <a:lnTo>
                    <a:pt x="139" y="1115"/>
                  </a:lnTo>
                  <a:lnTo>
                    <a:pt x="139" y="1111"/>
                  </a:lnTo>
                  <a:lnTo>
                    <a:pt x="138" y="1110"/>
                  </a:lnTo>
                  <a:lnTo>
                    <a:pt x="136" y="1106"/>
                  </a:lnTo>
                  <a:lnTo>
                    <a:pt x="138" y="1104"/>
                  </a:lnTo>
                  <a:lnTo>
                    <a:pt x="134" y="1103"/>
                  </a:lnTo>
                  <a:lnTo>
                    <a:pt x="134" y="1101"/>
                  </a:lnTo>
                  <a:lnTo>
                    <a:pt x="132" y="1099"/>
                  </a:lnTo>
                  <a:lnTo>
                    <a:pt x="134" y="1099"/>
                  </a:lnTo>
                  <a:lnTo>
                    <a:pt x="136" y="1098"/>
                  </a:lnTo>
                  <a:lnTo>
                    <a:pt x="139" y="1098"/>
                  </a:lnTo>
                  <a:lnTo>
                    <a:pt x="141" y="1099"/>
                  </a:lnTo>
                  <a:lnTo>
                    <a:pt x="143" y="1099"/>
                  </a:lnTo>
                  <a:lnTo>
                    <a:pt x="146" y="1099"/>
                  </a:lnTo>
                  <a:lnTo>
                    <a:pt x="146" y="1101"/>
                  </a:lnTo>
                  <a:lnTo>
                    <a:pt x="148" y="1099"/>
                  </a:lnTo>
                  <a:lnTo>
                    <a:pt x="149" y="1103"/>
                  </a:lnTo>
                  <a:lnTo>
                    <a:pt x="148" y="1106"/>
                  </a:lnTo>
                  <a:lnTo>
                    <a:pt x="149" y="1104"/>
                  </a:lnTo>
                  <a:lnTo>
                    <a:pt x="149" y="1101"/>
                  </a:lnTo>
                  <a:lnTo>
                    <a:pt x="151" y="1103"/>
                  </a:lnTo>
                  <a:lnTo>
                    <a:pt x="153" y="1104"/>
                  </a:lnTo>
                  <a:lnTo>
                    <a:pt x="151" y="1101"/>
                  </a:lnTo>
                  <a:lnTo>
                    <a:pt x="153" y="1101"/>
                  </a:lnTo>
                  <a:lnTo>
                    <a:pt x="155" y="1101"/>
                  </a:lnTo>
                  <a:lnTo>
                    <a:pt x="156" y="1101"/>
                  </a:lnTo>
                  <a:lnTo>
                    <a:pt x="158" y="1101"/>
                  </a:lnTo>
                  <a:lnTo>
                    <a:pt x="158" y="1099"/>
                  </a:lnTo>
                  <a:lnTo>
                    <a:pt x="156" y="1099"/>
                  </a:lnTo>
                  <a:lnTo>
                    <a:pt x="155" y="1098"/>
                  </a:lnTo>
                  <a:lnTo>
                    <a:pt x="155" y="1096"/>
                  </a:lnTo>
                  <a:lnTo>
                    <a:pt x="155" y="1094"/>
                  </a:lnTo>
                  <a:lnTo>
                    <a:pt x="153" y="1091"/>
                  </a:lnTo>
                  <a:lnTo>
                    <a:pt x="155" y="1089"/>
                  </a:lnTo>
                  <a:lnTo>
                    <a:pt x="156" y="1089"/>
                  </a:lnTo>
                  <a:lnTo>
                    <a:pt x="160" y="1091"/>
                  </a:lnTo>
                  <a:lnTo>
                    <a:pt x="161" y="1093"/>
                  </a:lnTo>
                  <a:lnTo>
                    <a:pt x="161" y="1091"/>
                  </a:lnTo>
                  <a:lnTo>
                    <a:pt x="163" y="1091"/>
                  </a:lnTo>
                  <a:lnTo>
                    <a:pt x="163" y="1089"/>
                  </a:lnTo>
                  <a:lnTo>
                    <a:pt x="161" y="1089"/>
                  </a:lnTo>
                  <a:lnTo>
                    <a:pt x="160" y="1087"/>
                  </a:lnTo>
                  <a:lnTo>
                    <a:pt x="158" y="1086"/>
                  </a:lnTo>
                  <a:lnTo>
                    <a:pt x="158" y="1084"/>
                  </a:lnTo>
                  <a:lnTo>
                    <a:pt x="156" y="1082"/>
                  </a:lnTo>
                  <a:lnTo>
                    <a:pt x="155" y="1082"/>
                  </a:lnTo>
                  <a:lnTo>
                    <a:pt x="155" y="1079"/>
                  </a:lnTo>
                  <a:lnTo>
                    <a:pt x="156" y="1079"/>
                  </a:lnTo>
                  <a:lnTo>
                    <a:pt x="156" y="1081"/>
                  </a:lnTo>
                  <a:lnTo>
                    <a:pt x="160" y="1079"/>
                  </a:lnTo>
                  <a:lnTo>
                    <a:pt x="161" y="1079"/>
                  </a:lnTo>
                  <a:lnTo>
                    <a:pt x="163" y="1081"/>
                  </a:lnTo>
                  <a:lnTo>
                    <a:pt x="165" y="1081"/>
                  </a:lnTo>
                  <a:lnTo>
                    <a:pt x="166" y="1081"/>
                  </a:lnTo>
                  <a:lnTo>
                    <a:pt x="168" y="1082"/>
                  </a:lnTo>
                  <a:lnTo>
                    <a:pt x="170" y="1082"/>
                  </a:lnTo>
                  <a:lnTo>
                    <a:pt x="172" y="1084"/>
                  </a:lnTo>
                  <a:lnTo>
                    <a:pt x="173" y="1086"/>
                  </a:lnTo>
                  <a:lnTo>
                    <a:pt x="177" y="1086"/>
                  </a:lnTo>
                  <a:lnTo>
                    <a:pt x="177" y="1084"/>
                  </a:lnTo>
                  <a:lnTo>
                    <a:pt x="180" y="1084"/>
                  </a:lnTo>
                  <a:lnTo>
                    <a:pt x="182" y="1084"/>
                  </a:lnTo>
                  <a:lnTo>
                    <a:pt x="183" y="1084"/>
                  </a:lnTo>
                  <a:lnTo>
                    <a:pt x="185" y="1084"/>
                  </a:lnTo>
                  <a:lnTo>
                    <a:pt x="187" y="1086"/>
                  </a:lnTo>
                  <a:lnTo>
                    <a:pt x="187" y="1084"/>
                  </a:lnTo>
                  <a:lnTo>
                    <a:pt x="189" y="1086"/>
                  </a:lnTo>
                  <a:lnTo>
                    <a:pt x="189" y="1087"/>
                  </a:lnTo>
                  <a:lnTo>
                    <a:pt x="190" y="1089"/>
                  </a:lnTo>
                  <a:lnTo>
                    <a:pt x="190" y="1091"/>
                  </a:lnTo>
                  <a:lnTo>
                    <a:pt x="189" y="1094"/>
                  </a:lnTo>
                  <a:lnTo>
                    <a:pt x="189" y="1098"/>
                  </a:lnTo>
                  <a:lnTo>
                    <a:pt x="187" y="1099"/>
                  </a:lnTo>
                  <a:lnTo>
                    <a:pt x="183" y="1099"/>
                  </a:lnTo>
                  <a:lnTo>
                    <a:pt x="182" y="1099"/>
                  </a:lnTo>
                  <a:lnTo>
                    <a:pt x="180" y="1099"/>
                  </a:lnTo>
                  <a:lnTo>
                    <a:pt x="177" y="1099"/>
                  </a:lnTo>
                  <a:lnTo>
                    <a:pt x="175" y="1098"/>
                  </a:lnTo>
                  <a:lnTo>
                    <a:pt x="173" y="1099"/>
                  </a:lnTo>
                  <a:lnTo>
                    <a:pt x="172" y="1099"/>
                  </a:lnTo>
                  <a:lnTo>
                    <a:pt x="170" y="1099"/>
                  </a:lnTo>
                  <a:lnTo>
                    <a:pt x="168" y="1099"/>
                  </a:lnTo>
                  <a:lnTo>
                    <a:pt x="166" y="1098"/>
                  </a:lnTo>
                  <a:lnTo>
                    <a:pt x="168" y="1096"/>
                  </a:lnTo>
                  <a:lnTo>
                    <a:pt x="166" y="1093"/>
                  </a:lnTo>
                  <a:lnTo>
                    <a:pt x="165" y="1093"/>
                  </a:lnTo>
                  <a:lnTo>
                    <a:pt x="166" y="1094"/>
                  </a:lnTo>
                  <a:lnTo>
                    <a:pt x="166" y="1096"/>
                  </a:lnTo>
                  <a:lnTo>
                    <a:pt x="166" y="1099"/>
                  </a:lnTo>
                  <a:lnTo>
                    <a:pt x="165" y="1101"/>
                  </a:lnTo>
                  <a:lnTo>
                    <a:pt x="163" y="1101"/>
                  </a:lnTo>
                  <a:lnTo>
                    <a:pt x="165" y="1103"/>
                  </a:lnTo>
                  <a:lnTo>
                    <a:pt x="166" y="1103"/>
                  </a:lnTo>
                  <a:lnTo>
                    <a:pt x="166" y="1106"/>
                  </a:lnTo>
                  <a:lnTo>
                    <a:pt x="166" y="1104"/>
                  </a:lnTo>
                  <a:lnTo>
                    <a:pt x="168" y="1104"/>
                  </a:lnTo>
                  <a:lnTo>
                    <a:pt x="168" y="1103"/>
                  </a:lnTo>
                  <a:lnTo>
                    <a:pt x="170" y="1103"/>
                  </a:lnTo>
                  <a:lnTo>
                    <a:pt x="173" y="1103"/>
                  </a:lnTo>
                  <a:lnTo>
                    <a:pt x="175" y="1103"/>
                  </a:lnTo>
                  <a:lnTo>
                    <a:pt x="177" y="1103"/>
                  </a:lnTo>
                  <a:lnTo>
                    <a:pt x="177" y="1106"/>
                  </a:lnTo>
                  <a:lnTo>
                    <a:pt x="178" y="1106"/>
                  </a:lnTo>
                  <a:lnTo>
                    <a:pt x="180" y="1108"/>
                  </a:lnTo>
                  <a:lnTo>
                    <a:pt x="178" y="1108"/>
                  </a:lnTo>
                  <a:lnTo>
                    <a:pt x="178" y="1110"/>
                  </a:lnTo>
                  <a:lnTo>
                    <a:pt x="177" y="1110"/>
                  </a:lnTo>
                  <a:lnTo>
                    <a:pt x="177" y="1111"/>
                  </a:lnTo>
                  <a:lnTo>
                    <a:pt x="175" y="1113"/>
                  </a:lnTo>
                  <a:lnTo>
                    <a:pt x="177" y="1113"/>
                  </a:lnTo>
                  <a:lnTo>
                    <a:pt x="177" y="1111"/>
                  </a:lnTo>
                  <a:lnTo>
                    <a:pt x="178" y="1111"/>
                  </a:lnTo>
                  <a:lnTo>
                    <a:pt x="178" y="1110"/>
                  </a:lnTo>
                  <a:lnTo>
                    <a:pt x="180" y="1110"/>
                  </a:lnTo>
                  <a:lnTo>
                    <a:pt x="180" y="1106"/>
                  </a:lnTo>
                  <a:lnTo>
                    <a:pt x="180" y="1108"/>
                  </a:lnTo>
                  <a:lnTo>
                    <a:pt x="182" y="1106"/>
                  </a:lnTo>
                  <a:lnTo>
                    <a:pt x="182" y="1110"/>
                  </a:lnTo>
                  <a:lnTo>
                    <a:pt x="182" y="1108"/>
                  </a:lnTo>
                  <a:lnTo>
                    <a:pt x="183" y="1110"/>
                  </a:lnTo>
                  <a:lnTo>
                    <a:pt x="185" y="1110"/>
                  </a:lnTo>
                  <a:lnTo>
                    <a:pt x="183" y="1108"/>
                  </a:lnTo>
                  <a:lnTo>
                    <a:pt x="183" y="1106"/>
                  </a:lnTo>
                  <a:lnTo>
                    <a:pt x="183" y="1108"/>
                  </a:lnTo>
                  <a:lnTo>
                    <a:pt x="185" y="1106"/>
                  </a:lnTo>
                  <a:lnTo>
                    <a:pt x="187" y="1106"/>
                  </a:lnTo>
                  <a:lnTo>
                    <a:pt x="190" y="1106"/>
                  </a:lnTo>
                  <a:lnTo>
                    <a:pt x="189" y="1108"/>
                  </a:lnTo>
                  <a:lnTo>
                    <a:pt x="189" y="1110"/>
                  </a:lnTo>
                  <a:lnTo>
                    <a:pt x="190" y="1108"/>
                  </a:lnTo>
                  <a:lnTo>
                    <a:pt x="192" y="1106"/>
                  </a:lnTo>
                  <a:lnTo>
                    <a:pt x="194" y="1104"/>
                  </a:lnTo>
                  <a:lnTo>
                    <a:pt x="194" y="1106"/>
                  </a:lnTo>
                  <a:lnTo>
                    <a:pt x="194" y="1108"/>
                  </a:lnTo>
                  <a:lnTo>
                    <a:pt x="192" y="1111"/>
                  </a:lnTo>
                  <a:lnTo>
                    <a:pt x="192" y="1115"/>
                  </a:lnTo>
                  <a:lnTo>
                    <a:pt x="190" y="1116"/>
                  </a:lnTo>
                  <a:lnTo>
                    <a:pt x="192" y="1116"/>
                  </a:lnTo>
                  <a:lnTo>
                    <a:pt x="192" y="1118"/>
                  </a:lnTo>
                  <a:lnTo>
                    <a:pt x="194" y="1118"/>
                  </a:lnTo>
                  <a:lnTo>
                    <a:pt x="194" y="1116"/>
                  </a:lnTo>
                  <a:lnTo>
                    <a:pt x="194" y="1113"/>
                  </a:lnTo>
                  <a:lnTo>
                    <a:pt x="195" y="1110"/>
                  </a:lnTo>
                  <a:lnTo>
                    <a:pt x="195" y="1113"/>
                  </a:lnTo>
                  <a:lnTo>
                    <a:pt x="195" y="1110"/>
                  </a:lnTo>
                  <a:lnTo>
                    <a:pt x="197" y="1110"/>
                  </a:lnTo>
                  <a:lnTo>
                    <a:pt x="199" y="1108"/>
                  </a:lnTo>
                  <a:lnTo>
                    <a:pt x="200" y="1106"/>
                  </a:lnTo>
                  <a:lnTo>
                    <a:pt x="200" y="1104"/>
                  </a:lnTo>
                  <a:lnTo>
                    <a:pt x="202" y="1106"/>
                  </a:lnTo>
                  <a:lnTo>
                    <a:pt x="204" y="1104"/>
                  </a:lnTo>
                  <a:lnTo>
                    <a:pt x="206" y="1104"/>
                  </a:lnTo>
                  <a:lnTo>
                    <a:pt x="206" y="1106"/>
                  </a:lnTo>
                  <a:lnTo>
                    <a:pt x="204" y="1110"/>
                  </a:lnTo>
                  <a:lnTo>
                    <a:pt x="207" y="1108"/>
                  </a:lnTo>
                  <a:lnTo>
                    <a:pt x="207" y="1111"/>
                  </a:lnTo>
                  <a:lnTo>
                    <a:pt x="206" y="1113"/>
                  </a:lnTo>
                  <a:lnTo>
                    <a:pt x="206" y="1115"/>
                  </a:lnTo>
                  <a:lnTo>
                    <a:pt x="206" y="1113"/>
                  </a:lnTo>
                  <a:lnTo>
                    <a:pt x="206" y="1115"/>
                  </a:lnTo>
                  <a:lnTo>
                    <a:pt x="202" y="1115"/>
                  </a:lnTo>
                  <a:lnTo>
                    <a:pt x="204" y="1116"/>
                  </a:lnTo>
                  <a:lnTo>
                    <a:pt x="202" y="1118"/>
                  </a:lnTo>
                  <a:lnTo>
                    <a:pt x="204" y="1118"/>
                  </a:lnTo>
                  <a:lnTo>
                    <a:pt x="204" y="1116"/>
                  </a:lnTo>
                  <a:lnTo>
                    <a:pt x="206" y="1116"/>
                  </a:lnTo>
                  <a:lnTo>
                    <a:pt x="206" y="1115"/>
                  </a:lnTo>
                  <a:lnTo>
                    <a:pt x="207" y="1115"/>
                  </a:lnTo>
                  <a:lnTo>
                    <a:pt x="207" y="1118"/>
                  </a:lnTo>
                  <a:lnTo>
                    <a:pt x="206" y="1118"/>
                  </a:lnTo>
                  <a:lnTo>
                    <a:pt x="204" y="1120"/>
                  </a:lnTo>
                  <a:lnTo>
                    <a:pt x="206" y="1120"/>
                  </a:lnTo>
                  <a:lnTo>
                    <a:pt x="207" y="1118"/>
                  </a:lnTo>
                  <a:lnTo>
                    <a:pt x="207" y="1121"/>
                  </a:lnTo>
                  <a:lnTo>
                    <a:pt x="209" y="1118"/>
                  </a:lnTo>
                  <a:lnTo>
                    <a:pt x="209" y="1120"/>
                  </a:lnTo>
                  <a:lnTo>
                    <a:pt x="211" y="1120"/>
                  </a:lnTo>
                  <a:lnTo>
                    <a:pt x="211" y="1121"/>
                  </a:lnTo>
                  <a:lnTo>
                    <a:pt x="211" y="1123"/>
                  </a:lnTo>
                  <a:lnTo>
                    <a:pt x="209" y="1123"/>
                  </a:lnTo>
                  <a:lnTo>
                    <a:pt x="211" y="1127"/>
                  </a:lnTo>
                  <a:lnTo>
                    <a:pt x="209" y="1127"/>
                  </a:lnTo>
                  <a:lnTo>
                    <a:pt x="207" y="1128"/>
                  </a:lnTo>
                  <a:lnTo>
                    <a:pt x="206" y="1130"/>
                  </a:lnTo>
                  <a:lnTo>
                    <a:pt x="204" y="1130"/>
                  </a:lnTo>
                  <a:lnTo>
                    <a:pt x="202" y="1132"/>
                  </a:lnTo>
                  <a:lnTo>
                    <a:pt x="202" y="1135"/>
                  </a:lnTo>
                  <a:lnTo>
                    <a:pt x="200" y="1135"/>
                  </a:lnTo>
                  <a:lnTo>
                    <a:pt x="202" y="1135"/>
                  </a:lnTo>
                  <a:lnTo>
                    <a:pt x="204" y="1138"/>
                  </a:lnTo>
                  <a:lnTo>
                    <a:pt x="204" y="1140"/>
                  </a:lnTo>
                  <a:lnTo>
                    <a:pt x="206" y="1142"/>
                  </a:lnTo>
                  <a:lnTo>
                    <a:pt x="206" y="1144"/>
                  </a:lnTo>
                  <a:lnTo>
                    <a:pt x="206" y="1145"/>
                  </a:lnTo>
                  <a:lnTo>
                    <a:pt x="204" y="1147"/>
                  </a:lnTo>
                  <a:lnTo>
                    <a:pt x="204" y="1149"/>
                  </a:lnTo>
                  <a:lnTo>
                    <a:pt x="202" y="1150"/>
                  </a:lnTo>
                  <a:lnTo>
                    <a:pt x="204" y="1149"/>
                  </a:lnTo>
                  <a:lnTo>
                    <a:pt x="206" y="1147"/>
                  </a:lnTo>
                  <a:lnTo>
                    <a:pt x="206" y="1145"/>
                  </a:lnTo>
                  <a:lnTo>
                    <a:pt x="207" y="1144"/>
                  </a:lnTo>
                  <a:lnTo>
                    <a:pt x="206" y="1142"/>
                  </a:lnTo>
                  <a:lnTo>
                    <a:pt x="206" y="1138"/>
                  </a:lnTo>
                  <a:lnTo>
                    <a:pt x="204" y="1137"/>
                  </a:lnTo>
                  <a:lnTo>
                    <a:pt x="204" y="1135"/>
                  </a:lnTo>
                  <a:lnTo>
                    <a:pt x="204" y="1133"/>
                  </a:lnTo>
                  <a:lnTo>
                    <a:pt x="206" y="1132"/>
                  </a:lnTo>
                  <a:lnTo>
                    <a:pt x="207" y="1132"/>
                  </a:lnTo>
                  <a:lnTo>
                    <a:pt x="207" y="1130"/>
                  </a:lnTo>
                  <a:lnTo>
                    <a:pt x="207" y="1132"/>
                  </a:lnTo>
                  <a:lnTo>
                    <a:pt x="209" y="1128"/>
                  </a:lnTo>
                  <a:lnTo>
                    <a:pt x="211" y="1130"/>
                  </a:lnTo>
                  <a:lnTo>
                    <a:pt x="211" y="1128"/>
                  </a:lnTo>
                  <a:lnTo>
                    <a:pt x="212" y="1128"/>
                  </a:lnTo>
                  <a:lnTo>
                    <a:pt x="211" y="1125"/>
                  </a:lnTo>
                  <a:lnTo>
                    <a:pt x="212" y="1125"/>
                  </a:lnTo>
                  <a:lnTo>
                    <a:pt x="212" y="1121"/>
                  </a:lnTo>
                  <a:lnTo>
                    <a:pt x="214" y="1123"/>
                  </a:lnTo>
                  <a:lnTo>
                    <a:pt x="214" y="1121"/>
                  </a:lnTo>
                  <a:lnTo>
                    <a:pt x="212" y="1118"/>
                  </a:lnTo>
                  <a:lnTo>
                    <a:pt x="214" y="1120"/>
                  </a:lnTo>
                  <a:lnTo>
                    <a:pt x="212" y="1118"/>
                  </a:lnTo>
                  <a:lnTo>
                    <a:pt x="211" y="1116"/>
                  </a:lnTo>
                  <a:lnTo>
                    <a:pt x="212" y="1113"/>
                  </a:lnTo>
                  <a:lnTo>
                    <a:pt x="211" y="1115"/>
                  </a:lnTo>
                  <a:lnTo>
                    <a:pt x="211" y="1111"/>
                  </a:lnTo>
                  <a:lnTo>
                    <a:pt x="212" y="1111"/>
                  </a:lnTo>
                  <a:lnTo>
                    <a:pt x="214" y="1110"/>
                  </a:lnTo>
                  <a:lnTo>
                    <a:pt x="214" y="1111"/>
                  </a:lnTo>
                  <a:lnTo>
                    <a:pt x="214" y="1113"/>
                  </a:lnTo>
                  <a:lnTo>
                    <a:pt x="214" y="1111"/>
                  </a:lnTo>
                  <a:lnTo>
                    <a:pt x="214" y="1113"/>
                  </a:lnTo>
                  <a:lnTo>
                    <a:pt x="216" y="1110"/>
                  </a:lnTo>
                  <a:lnTo>
                    <a:pt x="217" y="1111"/>
                  </a:lnTo>
                  <a:lnTo>
                    <a:pt x="219" y="1111"/>
                  </a:lnTo>
                  <a:lnTo>
                    <a:pt x="217" y="1111"/>
                  </a:lnTo>
                  <a:lnTo>
                    <a:pt x="216" y="1110"/>
                  </a:lnTo>
                  <a:lnTo>
                    <a:pt x="217" y="1110"/>
                  </a:lnTo>
                  <a:lnTo>
                    <a:pt x="219" y="1108"/>
                  </a:lnTo>
                  <a:lnTo>
                    <a:pt x="221" y="1106"/>
                  </a:lnTo>
                  <a:lnTo>
                    <a:pt x="223" y="1108"/>
                  </a:lnTo>
                  <a:lnTo>
                    <a:pt x="223" y="1106"/>
                  </a:lnTo>
                  <a:lnTo>
                    <a:pt x="226" y="1106"/>
                  </a:lnTo>
                  <a:lnTo>
                    <a:pt x="228" y="1104"/>
                  </a:lnTo>
                  <a:lnTo>
                    <a:pt x="231" y="1104"/>
                  </a:lnTo>
                  <a:lnTo>
                    <a:pt x="231" y="1108"/>
                  </a:lnTo>
                  <a:lnTo>
                    <a:pt x="231" y="1106"/>
                  </a:lnTo>
                  <a:lnTo>
                    <a:pt x="233" y="1108"/>
                  </a:lnTo>
                  <a:lnTo>
                    <a:pt x="234" y="1106"/>
                  </a:lnTo>
                  <a:lnTo>
                    <a:pt x="236" y="1106"/>
                  </a:lnTo>
                  <a:lnTo>
                    <a:pt x="238" y="1108"/>
                  </a:lnTo>
                  <a:lnTo>
                    <a:pt x="238" y="1106"/>
                  </a:lnTo>
                  <a:lnTo>
                    <a:pt x="241" y="1106"/>
                  </a:lnTo>
                  <a:lnTo>
                    <a:pt x="241" y="1108"/>
                  </a:lnTo>
                  <a:lnTo>
                    <a:pt x="243" y="1106"/>
                  </a:lnTo>
                  <a:lnTo>
                    <a:pt x="245" y="1106"/>
                  </a:lnTo>
                  <a:lnTo>
                    <a:pt x="245" y="1108"/>
                  </a:lnTo>
                  <a:lnTo>
                    <a:pt x="245" y="1106"/>
                  </a:lnTo>
                  <a:lnTo>
                    <a:pt x="246" y="1106"/>
                  </a:lnTo>
                  <a:lnTo>
                    <a:pt x="246" y="1104"/>
                  </a:lnTo>
                  <a:lnTo>
                    <a:pt x="246" y="1106"/>
                  </a:lnTo>
                  <a:lnTo>
                    <a:pt x="246" y="1108"/>
                  </a:lnTo>
                  <a:lnTo>
                    <a:pt x="246" y="1110"/>
                  </a:lnTo>
                  <a:lnTo>
                    <a:pt x="246" y="1108"/>
                  </a:lnTo>
                  <a:lnTo>
                    <a:pt x="246" y="1104"/>
                  </a:lnTo>
                  <a:lnTo>
                    <a:pt x="248" y="1104"/>
                  </a:lnTo>
                  <a:lnTo>
                    <a:pt x="250" y="1104"/>
                  </a:lnTo>
                  <a:lnTo>
                    <a:pt x="251" y="1108"/>
                  </a:lnTo>
                  <a:lnTo>
                    <a:pt x="253" y="1110"/>
                  </a:lnTo>
                  <a:lnTo>
                    <a:pt x="251" y="1108"/>
                  </a:lnTo>
                  <a:lnTo>
                    <a:pt x="253" y="1106"/>
                  </a:lnTo>
                  <a:lnTo>
                    <a:pt x="251" y="1106"/>
                  </a:lnTo>
                  <a:lnTo>
                    <a:pt x="253" y="1104"/>
                  </a:lnTo>
                  <a:lnTo>
                    <a:pt x="255" y="1106"/>
                  </a:lnTo>
                  <a:lnTo>
                    <a:pt x="255" y="1104"/>
                  </a:lnTo>
                  <a:lnTo>
                    <a:pt x="253" y="1103"/>
                  </a:lnTo>
                  <a:lnTo>
                    <a:pt x="250" y="1103"/>
                  </a:lnTo>
                  <a:lnTo>
                    <a:pt x="250" y="1101"/>
                  </a:lnTo>
                  <a:lnTo>
                    <a:pt x="251" y="1101"/>
                  </a:lnTo>
                  <a:lnTo>
                    <a:pt x="253" y="1101"/>
                  </a:lnTo>
                  <a:lnTo>
                    <a:pt x="257" y="1101"/>
                  </a:lnTo>
                  <a:lnTo>
                    <a:pt x="260" y="1101"/>
                  </a:lnTo>
                  <a:lnTo>
                    <a:pt x="262" y="1101"/>
                  </a:lnTo>
                  <a:lnTo>
                    <a:pt x="265" y="1101"/>
                  </a:lnTo>
                  <a:lnTo>
                    <a:pt x="267" y="1101"/>
                  </a:lnTo>
                  <a:lnTo>
                    <a:pt x="268" y="1101"/>
                  </a:lnTo>
                  <a:lnTo>
                    <a:pt x="268" y="1099"/>
                  </a:lnTo>
                  <a:lnTo>
                    <a:pt x="270" y="1101"/>
                  </a:lnTo>
                  <a:lnTo>
                    <a:pt x="272" y="1103"/>
                  </a:lnTo>
                  <a:lnTo>
                    <a:pt x="275" y="1103"/>
                  </a:lnTo>
                  <a:lnTo>
                    <a:pt x="275" y="1104"/>
                  </a:lnTo>
                  <a:lnTo>
                    <a:pt x="277" y="1104"/>
                  </a:lnTo>
                  <a:lnTo>
                    <a:pt x="275" y="1101"/>
                  </a:lnTo>
                  <a:lnTo>
                    <a:pt x="277" y="1103"/>
                  </a:lnTo>
                  <a:lnTo>
                    <a:pt x="279" y="1101"/>
                  </a:lnTo>
                  <a:lnTo>
                    <a:pt x="280" y="1103"/>
                  </a:lnTo>
                  <a:lnTo>
                    <a:pt x="282" y="1101"/>
                  </a:lnTo>
                  <a:lnTo>
                    <a:pt x="284" y="1103"/>
                  </a:lnTo>
                  <a:lnTo>
                    <a:pt x="280" y="1103"/>
                  </a:lnTo>
                  <a:lnTo>
                    <a:pt x="282" y="1103"/>
                  </a:lnTo>
                  <a:lnTo>
                    <a:pt x="285" y="1104"/>
                  </a:lnTo>
                  <a:lnTo>
                    <a:pt x="287" y="1104"/>
                  </a:lnTo>
                  <a:lnTo>
                    <a:pt x="289" y="1104"/>
                  </a:lnTo>
                  <a:lnTo>
                    <a:pt x="291" y="1104"/>
                  </a:lnTo>
                  <a:lnTo>
                    <a:pt x="291" y="1106"/>
                  </a:lnTo>
                  <a:lnTo>
                    <a:pt x="291" y="1104"/>
                  </a:lnTo>
                  <a:lnTo>
                    <a:pt x="294" y="1106"/>
                  </a:lnTo>
                  <a:lnTo>
                    <a:pt x="296" y="1106"/>
                  </a:lnTo>
                  <a:lnTo>
                    <a:pt x="296" y="1108"/>
                  </a:lnTo>
                  <a:lnTo>
                    <a:pt x="299" y="1108"/>
                  </a:lnTo>
                  <a:lnTo>
                    <a:pt x="299" y="1110"/>
                  </a:lnTo>
                  <a:lnTo>
                    <a:pt x="301" y="1108"/>
                  </a:lnTo>
                  <a:lnTo>
                    <a:pt x="301" y="1110"/>
                  </a:lnTo>
                  <a:lnTo>
                    <a:pt x="302" y="1110"/>
                  </a:lnTo>
                  <a:lnTo>
                    <a:pt x="306" y="1110"/>
                  </a:lnTo>
                  <a:lnTo>
                    <a:pt x="309" y="1111"/>
                  </a:lnTo>
                  <a:lnTo>
                    <a:pt x="311" y="1111"/>
                  </a:lnTo>
                  <a:lnTo>
                    <a:pt x="313" y="1113"/>
                  </a:lnTo>
                  <a:lnTo>
                    <a:pt x="314" y="1113"/>
                  </a:lnTo>
                  <a:lnTo>
                    <a:pt x="314" y="1115"/>
                  </a:lnTo>
                  <a:lnTo>
                    <a:pt x="316" y="1113"/>
                  </a:lnTo>
                  <a:lnTo>
                    <a:pt x="318" y="1115"/>
                  </a:lnTo>
                  <a:lnTo>
                    <a:pt x="319" y="1115"/>
                  </a:lnTo>
                  <a:lnTo>
                    <a:pt x="321" y="1115"/>
                  </a:lnTo>
                  <a:lnTo>
                    <a:pt x="323" y="1115"/>
                  </a:lnTo>
                  <a:lnTo>
                    <a:pt x="325" y="1116"/>
                  </a:lnTo>
                  <a:lnTo>
                    <a:pt x="325" y="1115"/>
                  </a:lnTo>
                  <a:lnTo>
                    <a:pt x="326" y="1116"/>
                  </a:lnTo>
                  <a:lnTo>
                    <a:pt x="330" y="1118"/>
                  </a:lnTo>
                  <a:lnTo>
                    <a:pt x="331" y="1118"/>
                  </a:lnTo>
                  <a:lnTo>
                    <a:pt x="330" y="1120"/>
                  </a:lnTo>
                  <a:lnTo>
                    <a:pt x="331" y="1120"/>
                  </a:lnTo>
                  <a:lnTo>
                    <a:pt x="333" y="1121"/>
                  </a:lnTo>
                  <a:lnTo>
                    <a:pt x="333" y="1120"/>
                  </a:lnTo>
                  <a:lnTo>
                    <a:pt x="335" y="1120"/>
                  </a:lnTo>
                  <a:lnTo>
                    <a:pt x="336" y="1120"/>
                  </a:lnTo>
                  <a:lnTo>
                    <a:pt x="338" y="1121"/>
                  </a:lnTo>
                  <a:lnTo>
                    <a:pt x="340" y="1123"/>
                  </a:lnTo>
                  <a:lnTo>
                    <a:pt x="342" y="1123"/>
                  </a:lnTo>
                  <a:lnTo>
                    <a:pt x="343" y="1127"/>
                  </a:lnTo>
                  <a:lnTo>
                    <a:pt x="345" y="1125"/>
                  </a:lnTo>
                  <a:lnTo>
                    <a:pt x="347" y="1127"/>
                  </a:lnTo>
                  <a:lnTo>
                    <a:pt x="347" y="1128"/>
                  </a:lnTo>
                  <a:lnTo>
                    <a:pt x="348" y="1127"/>
                  </a:lnTo>
                  <a:lnTo>
                    <a:pt x="350" y="1128"/>
                  </a:lnTo>
                  <a:lnTo>
                    <a:pt x="352" y="1128"/>
                  </a:lnTo>
                  <a:lnTo>
                    <a:pt x="353" y="1130"/>
                  </a:lnTo>
                  <a:lnTo>
                    <a:pt x="355" y="1132"/>
                  </a:lnTo>
                  <a:lnTo>
                    <a:pt x="355" y="1135"/>
                  </a:lnTo>
                  <a:lnTo>
                    <a:pt x="357" y="1135"/>
                  </a:lnTo>
                  <a:lnTo>
                    <a:pt x="355" y="1133"/>
                  </a:lnTo>
                  <a:lnTo>
                    <a:pt x="355" y="1132"/>
                  </a:lnTo>
                  <a:lnTo>
                    <a:pt x="359" y="1132"/>
                  </a:lnTo>
                  <a:lnTo>
                    <a:pt x="357" y="1132"/>
                  </a:lnTo>
                  <a:lnTo>
                    <a:pt x="359" y="1130"/>
                  </a:lnTo>
                  <a:lnTo>
                    <a:pt x="359" y="1132"/>
                  </a:lnTo>
                  <a:lnTo>
                    <a:pt x="359" y="1128"/>
                  </a:lnTo>
                  <a:lnTo>
                    <a:pt x="360" y="1128"/>
                  </a:lnTo>
                  <a:lnTo>
                    <a:pt x="362" y="1130"/>
                  </a:lnTo>
                  <a:lnTo>
                    <a:pt x="365" y="1132"/>
                  </a:lnTo>
                  <a:lnTo>
                    <a:pt x="367" y="1130"/>
                  </a:lnTo>
                  <a:lnTo>
                    <a:pt x="370" y="1130"/>
                  </a:lnTo>
                  <a:lnTo>
                    <a:pt x="369" y="1132"/>
                  </a:lnTo>
                  <a:lnTo>
                    <a:pt x="372" y="1133"/>
                  </a:lnTo>
                  <a:lnTo>
                    <a:pt x="374" y="1133"/>
                  </a:lnTo>
                  <a:lnTo>
                    <a:pt x="376" y="1135"/>
                  </a:lnTo>
                  <a:lnTo>
                    <a:pt x="376" y="1137"/>
                  </a:lnTo>
                  <a:lnTo>
                    <a:pt x="377" y="1135"/>
                  </a:lnTo>
                  <a:lnTo>
                    <a:pt x="379" y="1135"/>
                  </a:lnTo>
                  <a:lnTo>
                    <a:pt x="381" y="1135"/>
                  </a:lnTo>
                  <a:lnTo>
                    <a:pt x="384" y="1137"/>
                  </a:lnTo>
                  <a:lnTo>
                    <a:pt x="386" y="1137"/>
                  </a:lnTo>
                  <a:lnTo>
                    <a:pt x="387" y="1138"/>
                  </a:lnTo>
                  <a:lnTo>
                    <a:pt x="389" y="1138"/>
                  </a:lnTo>
                  <a:lnTo>
                    <a:pt x="393" y="1140"/>
                  </a:lnTo>
                  <a:lnTo>
                    <a:pt x="394" y="1140"/>
                  </a:lnTo>
                  <a:lnTo>
                    <a:pt x="393" y="1138"/>
                  </a:lnTo>
                  <a:lnTo>
                    <a:pt x="394" y="1138"/>
                  </a:lnTo>
                  <a:lnTo>
                    <a:pt x="396" y="1138"/>
                  </a:lnTo>
                  <a:lnTo>
                    <a:pt x="399" y="1137"/>
                  </a:lnTo>
                  <a:lnTo>
                    <a:pt x="398" y="1137"/>
                  </a:lnTo>
                  <a:lnTo>
                    <a:pt x="398" y="1135"/>
                  </a:lnTo>
                  <a:lnTo>
                    <a:pt x="396" y="1133"/>
                  </a:lnTo>
                  <a:lnTo>
                    <a:pt x="394" y="1132"/>
                  </a:lnTo>
                  <a:lnTo>
                    <a:pt x="393" y="1130"/>
                  </a:lnTo>
                  <a:lnTo>
                    <a:pt x="396" y="1132"/>
                  </a:lnTo>
                  <a:lnTo>
                    <a:pt x="398" y="1133"/>
                  </a:lnTo>
                  <a:lnTo>
                    <a:pt x="399" y="1135"/>
                  </a:lnTo>
                  <a:lnTo>
                    <a:pt x="401" y="1135"/>
                  </a:lnTo>
                  <a:lnTo>
                    <a:pt x="401" y="1137"/>
                  </a:lnTo>
                  <a:lnTo>
                    <a:pt x="403" y="1138"/>
                  </a:lnTo>
                  <a:lnTo>
                    <a:pt x="404" y="1138"/>
                  </a:lnTo>
                  <a:lnTo>
                    <a:pt x="406" y="1140"/>
                  </a:lnTo>
                  <a:lnTo>
                    <a:pt x="410" y="1140"/>
                  </a:lnTo>
                  <a:lnTo>
                    <a:pt x="411" y="1140"/>
                  </a:lnTo>
                  <a:lnTo>
                    <a:pt x="413" y="1142"/>
                  </a:lnTo>
                  <a:lnTo>
                    <a:pt x="413" y="1140"/>
                  </a:lnTo>
                  <a:lnTo>
                    <a:pt x="413" y="1144"/>
                  </a:lnTo>
                  <a:lnTo>
                    <a:pt x="415" y="1142"/>
                  </a:lnTo>
                  <a:lnTo>
                    <a:pt x="418" y="1142"/>
                  </a:lnTo>
                  <a:lnTo>
                    <a:pt x="418" y="1144"/>
                  </a:lnTo>
                  <a:lnTo>
                    <a:pt x="418" y="1145"/>
                  </a:lnTo>
                  <a:lnTo>
                    <a:pt x="416" y="1144"/>
                  </a:lnTo>
                  <a:lnTo>
                    <a:pt x="416" y="1145"/>
                  </a:lnTo>
                  <a:lnTo>
                    <a:pt x="418" y="1147"/>
                  </a:lnTo>
                  <a:lnTo>
                    <a:pt x="420" y="1147"/>
                  </a:lnTo>
                  <a:lnTo>
                    <a:pt x="421" y="1149"/>
                  </a:lnTo>
                  <a:lnTo>
                    <a:pt x="425" y="1150"/>
                  </a:lnTo>
                  <a:lnTo>
                    <a:pt x="425" y="1152"/>
                  </a:lnTo>
                  <a:lnTo>
                    <a:pt x="425" y="1150"/>
                  </a:lnTo>
                  <a:lnTo>
                    <a:pt x="427" y="1150"/>
                  </a:lnTo>
                  <a:lnTo>
                    <a:pt x="425" y="1149"/>
                  </a:lnTo>
                  <a:lnTo>
                    <a:pt x="425" y="1147"/>
                  </a:lnTo>
                  <a:lnTo>
                    <a:pt x="423" y="1145"/>
                  </a:lnTo>
                  <a:lnTo>
                    <a:pt x="421" y="1145"/>
                  </a:lnTo>
                  <a:lnTo>
                    <a:pt x="421" y="1144"/>
                  </a:lnTo>
                  <a:lnTo>
                    <a:pt x="423" y="1144"/>
                  </a:lnTo>
                  <a:lnTo>
                    <a:pt x="421" y="1144"/>
                  </a:lnTo>
                  <a:lnTo>
                    <a:pt x="425" y="1145"/>
                  </a:lnTo>
                  <a:lnTo>
                    <a:pt x="427" y="1144"/>
                  </a:lnTo>
                  <a:lnTo>
                    <a:pt x="428" y="1147"/>
                  </a:lnTo>
                  <a:lnTo>
                    <a:pt x="432" y="1147"/>
                  </a:lnTo>
                  <a:lnTo>
                    <a:pt x="433" y="1147"/>
                  </a:lnTo>
                  <a:lnTo>
                    <a:pt x="435" y="1145"/>
                  </a:lnTo>
                  <a:lnTo>
                    <a:pt x="435" y="1147"/>
                  </a:lnTo>
                  <a:lnTo>
                    <a:pt x="437" y="1147"/>
                  </a:lnTo>
                  <a:lnTo>
                    <a:pt x="438" y="1149"/>
                  </a:lnTo>
                  <a:lnTo>
                    <a:pt x="440" y="1150"/>
                  </a:lnTo>
                  <a:lnTo>
                    <a:pt x="442" y="1150"/>
                  </a:lnTo>
                  <a:lnTo>
                    <a:pt x="442" y="1154"/>
                  </a:lnTo>
                  <a:lnTo>
                    <a:pt x="442" y="1157"/>
                  </a:lnTo>
                  <a:lnTo>
                    <a:pt x="444" y="1157"/>
                  </a:lnTo>
                  <a:lnTo>
                    <a:pt x="444" y="1159"/>
                  </a:lnTo>
                  <a:lnTo>
                    <a:pt x="444" y="1161"/>
                  </a:lnTo>
                  <a:lnTo>
                    <a:pt x="445" y="1162"/>
                  </a:lnTo>
                  <a:lnTo>
                    <a:pt x="445" y="1164"/>
                  </a:lnTo>
                  <a:lnTo>
                    <a:pt x="445" y="1162"/>
                  </a:lnTo>
                  <a:lnTo>
                    <a:pt x="449" y="1162"/>
                  </a:lnTo>
                  <a:lnTo>
                    <a:pt x="450" y="1164"/>
                  </a:lnTo>
                  <a:lnTo>
                    <a:pt x="450" y="1167"/>
                  </a:lnTo>
                  <a:lnTo>
                    <a:pt x="452" y="1169"/>
                  </a:lnTo>
                  <a:lnTo>
                    <a:pt x="452" y="1171"/>
                  </a:lnTo>
                  <a:lnTo>
                    <a:pt x="452" y="1172"/>
                  </a:lnTo>
                  <a:lnTo>
                    <a:pt x="454" y="1174"/>
                  </a:lnTo>
                  <a:lnTo>
                    <a:pt x="455" y="1176"/>
                  </a:lnTo>
                  <a:lnTo>
                    <a:pt x="459" y="1176"/>
                  </a:lnTo>
                  <a:lnTo>
                    <a:pt x="459" y="1174"/>
                  </a:lnTo>
                  <a:lnTo>
                    <a:pt x="461" y="1174"/>
                  </a:lnTo>
                  <a:lnTo>
                    <a:pt x="462" y="1176"/>
                  </a:lnTo>
                  <a:lnTo>
                    <a:pt x="462" y="1179"/>
                  </a:lnTo>
                  <a:lnTo>
                    <a:pt x="464" y="1181"/>
                  </a:lnTo>
                  <a:lnTo>
                    <a:pt x="466" y="1181"/>
                  </a:lnTo>
                  <a:lnTo>
                    <a:pt x="466" y="1184"/>
                  </a:lnTo>
                  <a:lnTo>
                    <a:pt x="466" y="1186"/>
                  </a:lnTo>
                  <a:lnTo>
                    <a:pt x="467" y="1188"/>
                  </a:lnTo>
                  <a:lnTo>
                    <a:pt x="469" y="1189"/>
                  </a:lnTo>
                  <a:lnTo>
                    <a:pt x="466" y="1191"/>
                  </a:lnTo>
                  <a:lnTo>
                    <a:pt x="467" y="1193"/>
                  </a:lnTo>
                  <a:lnTo>
                    <a:pt x="467" y="1195"/>
                  </a:lnTo>
                  <a:lnTo>
                    <a:pt x="469" y="1196"/>
                  </a:lnTo>
                  <a:lnTo>
                    <a:pt x="469" y="1200"/>
                  </a:lnTo>
                  <a:lnTo>
                    <a:pt x="469" y="1203"/>
                  </a:lnTo>
                  <a:lnTo>
                    <a:pt x="469" y="1205"/>
                  </a:lnTo>
                  <a:lnTo>
                    <a:pt x="469" y="1206"/>
                  </a:lnTo>
                  <a:lnTo>
                    <a:pt x="469" y="1208"/>
                  </a:lnTo>
                  <a:lnTo>
                    <a:pt x="467" y="1212"/>
                  </a:lnTo>
                  <a:lnTo>
                    <a:pt x="467" y="1215"/>
                  </a:lnTo>
                  <a:lnTo>
                    <a:pt x="466" y="1217"/>
                  </a:lnTo>
                  <a:lnTo>
                    <a:pt x="466" y="1220"/>
                  </a:lnTo>
                  <a:lnTo>
                    <a:pt x="466" y="1222"/>
                  </a:lnTo>
                  <a:lnTo>
                    <a:pt x="464" y="1224"/>
                  </a:lnTo>
                  <a:lnTo>
                    <a:pt x="464" y="1225"/>
                  </a:lnTo>
                  <a:lnTo>
                    <a:pt x="466" y="1227"/>
                  </a:lnTo>
                  <a:lnTo>
                    <a:pt x="464" y="1230"/>
                  </a:lnTo>
                  <a:lnTo>
                    <a:pt x="464" y="1232"/>
                  </a:lnTo>
                  <a:lnTo>
                    <a:pt x="464" y="1234"/>
                  </a:lnTo>
                  <a:lnTo>
                    <a:pt x="464" y="1235"/>
                  </a:lnTo>
                  <a:lnTo>
                    <a:pt x="462" y="1237"/>
                  </a:lnTo>
                  <a:lnTo>
                    <a:pt x="462" y="1239"/>
                  </a:lnTo>
                  <a:lnTo>
                    <a:pt x="461" y="1241"/>
                  </a:lnTo>
                  <a:lnTo>
                    <a:pt x="461" y="1242"/>
                  </a:lnTo>
                  <a:lnTo>
                    <a:pt x="459" y="1242"/>
                  </a:lnTo>
                  <a:lnTo>
                    <a:pt x="459" y="1246"/>
                  </a:lnTo>
                  <a:lnTo>
                    <a:pt x="457" y="1247"/>
                  </a:lnTo>
                  <a:lnTo>
                    <a:pt x="457" y="1249"/>
                  </a:lnTo>
                  <a:lnTo>
                    <a:pt x="457" y="1251"/>
                  </a:lnTo>
                  <a:lnTo>
                    <a:pt x="455" y="1251"/>
                  </a:lnTo>
                  <a:lnTo>
                    <a:pt x="455" y="1254"/>
                  </a:lnTo>
                  <a:lnTo>
                    <a:pt x="454" y="1256"/>
                  </a:lnTo>
                  <a:lnTo>
                    <a:pt x="452" y="1258"/>
                  </a:lnTo>
                  <a:lnTo>
                    <a:pt x="450" y="1258"/>
                  </a:lnTo>
                  <a:lnTo>
                    <a:pt x="449" y="1259"/>
                  </a:lnTo>
                  <a:lnTo>
                    <a:pt x="447" y="1261"/>
                  </a:lnTo>
                  <a:lnTo>
                    <a:pt x="445" y="1263"/>
                  </a:lnTo>
                  <a:lnTo>
                    <a:pt x="445" y="1264"/>
                  </a:lnTo>
                  <a:lnTo>
                    <a:pt x="444" y="1264"/>
                  </a:lnTo>
                  <a:lnTo>
                    <a:pt x="442" y="1266"/>
                  </a:lnTo>
                  <a:lnTo>
                    <a:pt x="440" y="1269"/>
                  </a:lnTo>
                  <a:lnTo>
                    <a:pt x="437" y="1271"/>
                  </a:lnTo>
                  <a:lnTo>
                    <a:pt x="437" y="1273"/>
                  </a:lnTo>
                  <a:lnTo>
                    <a:pt x="435" y="1275"/>
                  </a:lnTo>
                  <a:lnTo>
                    <a:pt x="433" y="1275"/>
                  </a:lnTo>
                  <a:lnTo>
                    <a:pt x="430" y="1276"/>
                  </a:lnTo>
                  <a:lnTo>
                    <a:pt x="428" y="1278"/>
                  </a:lnTo>
                  <a:lnTo>
                    <a:pt x="428" y="1280"/>
                  </a:lnTo>
                  <a:lnTo>
                    <a:pt x="425" y="1283"/>
                  </a:lnTo>
                  <a:lnTo>
                    <a:pt x="425" y="1281"/>
                  </a:lnTo>
                  <a:lnTo>
                    <a:pt x="425" y="1283"/>
                  </a:lnTo>
                  <a:lnTo>
                    <a:pt x="421" y="1283"/>
                  </a:lnTo>
                  <a:lnTo>
                    <a:pt x="421" y="1285"/>
                  </a:lnTo>
                  <a:lnTo>
                    <a:pt x="418" y="1285"/>
                  </a:lnTo>
                  <a:lnTo>
                    <a:pt x="416" y="1286"/>
                  </a:lnTo>
                  <a:lnTo>
                    <a:pt x="415" y="1286"/>
                  </a:lnTo>
                  <a:lnTo>
                    <a:pt x="413" y="1286"/>
                  </a:lnTo>
                  <a:lnTo>
                    <a:pt x="410" y="1286"/>
                  </a:lnTo>
                  <a:lnTo>
                    <a:pt x="410" y="1288"/>
                  </a:lnTo>
                  <a:lnTo>
                    <a:pt x="408" y="1288"/>
                  </a:lnTo>
                  <a:lnTo>
                    <a:pt x="406" y="1288"/>
                  </a:lnTo>
                  <a:lnTo>
                    <a:pt x="404" y="1290"/>
                  </a:lnTo>
                  <a:lnTo>
                    <a:pt x="401" y="1288"/>
                  </a:lnTo>
                  <a:lnTo>
                    <a:pt x="399" y="1288"/>
                  </a:lnTo>
                  <a:lnTo>
                    <a:pt x="399" y="1290"/>
                  </a:lnTo>
                  <a:lnTo>
                    <a:pt x="398" y="1290"/>
                  </a:lnTo>
                  <a:lnTo>
                    <a:pt x="394" y="1288"/>
                  </a:lnTo>
                  <a:lnTo>
                    <a:pt x="393" y="1290"/>
                  </a:lnTo>
                  <a:lnTo>
                    <a:pt x="391" y="1288"/>
                  </a:lnTo>
                  <a:lnTo>
                    <a:pt x="387" y="1288"/>
                  </a:lnTo>
                  <a:lnTo>
                    <a:pt x="386" y="1288"/>
                  </a:lnTo>
                  <a:lnTo>
                    <a:pt x="384" y="1288"/>
                  </a:lnTo>
                  <a:lnTo>
                    <a:pt x="382" y="1288"/>
                  </a:lnTo>
                  <a:lnTo>
                    <a:pt x="379" y="1286"/>
                  </a:lnTo>
                  <a:lnTo>
                    <a:pt x="377" y="1286"/>
                  </a:lnTo>
                  <a:lnTo>
                    <a:pt x="372" y="1286"/>
                  </a:lnTo>
                  <a:lnTo>
                    <a:pt x="370" y="1286"/>
                  </a:lnTo>
                  <a:lnTo>
                    <a:pt x="369" y="1288"/>
                  </a:lnTo>
                  <a:lnTo>
                    <a:pt x="365" y="1288"/>
                  </a:lnTo>
                  <a:lnTo>
                    <a:pt x="364" y="1290"/>
                  </a:lnTo>
                  <a:lnTo>
                    <a:pt x="362" y="1290"/>
                  </a:lnTo>
                  <a:lnTo>
                    <a:pt x="360" y="1290"/>
                  </a:lnTo>
                  <a:lnTo>
                    <a:pt x="359" y="1290"/>
                  </a:lnTo>
                  <a:lnTo>
                    <a:pt x="357" y="1292"/>
                  </a:lnTo>
                  <a:lnTo>
                    <a:pt x="350" y="1292"/>
                  </a:lnTo>
                  <a:lnTo>
                    <a:pt x="348" y="1292"/>
                  </a:lnTo>
                  <a:lnTo>
                    <a:pt x="347" y="1292"/>
                  </a:lnTo>
                  <a:lnTo>
                    <a:pt x="343" y="1292"/>
                  </a:lnTo>
                  <a:lnTo>
                    <a:pt x="340" y="1293"/>
                  </a:lnTo>
                  <a:lnTo>
                    <a:pt x="338" y="1293"/>
                  </a:lnTo>
                  <a:lnTo>
                    <a:pt x="335" y="1293"/>
                  </a:lnTo>
                  <a:lnTo>
                    <a:pt x="333" y="1293"/>
                  </a:lnTo>
                  <a:lnTo>
                    <a:pt x="331" y="1293"/>
                  </a:lnTo>
                  <a:lnTo>
                    <a:pt x="328" y="1293"/>
                  </a:lnTo>
                  <a:lnTo>
                    <a:pt x="326" y="1293"/>
                  </a:lnTo>
                  <a:lnTo>
                    <a:pt x="325" y="1290"/>
                  </a:lnTo>
                  <a:lnTo>
                    <a:pt x="321" y="1292"/>
                  </a:lnTo>
                  <a:lnTo>
                    <a:pt x="319" y="1290"/>
                  </a:lnTo>
                  <a:lnTo>
                    <a:pt x="316" y="1290"/>
                  </a:lnTo>
                  <a:lnTo>
                    <a:pt x="316" y="1288"/>
                  </a:lnTo>
                  <a:lnTo>
                    <a:pt x="314" y="1288"/>
                  </a:lnTo>
                  <a:lnTo>
                    <a:pt x="313" y="1286"/>
                  </a:lnTo>
                  <a:lnTo>
                    <a:pt x="311" y="1286"/>
                  </a:lnTo>
                  <a:lnTo>
                    <a:pt x="308" y="1286"/>
                  </a:lnTo>
                  <a:lnTo>
                    <a:pt x="306" y="1286"/>
                  </a:lnTo>
                  <a:lnTo>
                    <a:pt x="304" y="1288"/>
                  </a:lnTo>
                  <a:lnTo>
                    <a:pt x="304" y="1290"/>
                  </a:lnTo>
                  <a:lnTo>
                    <a:pt x="302" y="1292"/>
                  </a:lnTo>
                  <a:lnTo>
                    <a:pt x="301" y="1293"/>
                  </a:lnTo>
                  <a:lnTo>
                    <a:pt x="299" y="1293"/>
                  </a:lnTo>
                  <a:lnTo>
                    <a:pt x="296" y="1292"/>
                  </a:lnTo>
                  <a:lnTo>
                    <a:pt x="296" y="1288"/>
                  </a:lnTo>
                  <a:lnTo>
                    <a:pt x="294" y="1288"/>
                  </a:lnTo>
                  <a:lnTo>
                    <a:pt x="297" y="1288"/>
                  </a:lnTo>
                  <a:lnTo>
                    <a:pt x="297" y="1286"/>
                  </a:lnTo>
                  <a:lnTo>
                    <a:pt x="296" y="1286"/>
                  </a:lnTo>
                  <a:lnTo>
                    <a:pt x="294" y="1286"/>
                  </a:lnTo>
                  <a:lnTo>
                    <a:pt x="292" y="1286"/>
                  </a:lnTo>
                  <a:lnTo>
                    <a:pt x="291" y="1286"/>
                  </a:lnTo>
                  <a:lnTo>
                    <a:pt x="291" y="1285"/>
                  </a:lnTo>
                  <a:lnTo>
                    <a:pt x="289" y="1286"/>
                  </a:lnTo>
                  <a:lnTo>
                    <a:pt x="287" y="1286"/>
                  </a:lnTo>
                  <a:lnTo>
                    <a:pt x="287" y="1288"/>
                  </a:lnTo>
                  <a:lnTo>
                    <a:pt x="285" y="1288"/>
                  </a:lnTo>
                  <a:lnTo>
                    <a:pt x="287" y="1286"/>
                  </a:lnTo>
                  <a:lnTo>
                    <a:pt x="285" y="1285"/>
                  </a:lnTo>
                  <a:lnTo>
                    <a:pt x="285" y="1286"/>
                  </a:lnTo>
                  <a:lnTo>
                    <a:pt x="285" y="1288"/>
                  </a:lnTo>
                  <a:lnTo>
                    <a:pt x="284" y="1285"/>
                  </a:lnTo>
                  <a:lnTo>
                    <a:pt x="284" y="1288"/>
                  </a:lnTo>
                  <a:lnTo>
                    <a:pt x="282" y="1288"/>
                  </a:lnTo>
                  <a:lnTo>
                    <a:pt x="280" y="1288"/>
                  </a:lnTo>
                  <a:lnTo>
                    <a:pt x="280" y="1286"/>
                  </a:lnTo>
                  <a:lnTo>
                    <a:pt x="279" y="1288"/>
                  </a:lnTo>
                  <a:lnTo>
                    <a:pt x="277" y="1286"/>
                  </a:lnTo>
                  <a:lnTo>
                    <a:pt x="277" y="1285"/>
                  </a:lnTo>
                  <a:lnTo>
                    <a:pt x="275" y="1285"/>
                  </a:lnTo>
                  <a:lnTo>
                    <a:pt x="274" y="1285"/>
                  </a:lnTo>
                  <a:lnTo>
                    <a:pt x="272" y="1283"/>
                  </a:lnTo>
                  <a:lnTo>
                    <a:pt x="272" y="1281"/>
                  </a:lnTo>
                  <a:lnTo>
                    <a:pt x="272" y="1283"/>
                  </a:lnTo>
                  <a:lnTo>
                    <a:pt x="270" y="1283"/>
                  </a:lnTo>
                  <a:lnTo>
                    <a:pt x="270" y="1285"/>
                  </a:lnTo>
                  <a:lnTo>
                    <a:pt x="268" y="1285"/>
                  </a:lnTo>
                  <a:lnTo>
                    <a:pt x="270" y="1286"/>
                  </a:lnTo>
                  <a:lnTo>
                    <a:pt x="272" y="1288"/>
                  </a:lnTo>
                  <a:lnTo>
                    <a:pt x="268" y="1286"/>
                  </a:lnTo>
                  <a:lnTo>
                    <a:pt x="272" y="1288"/>
                  </a:lnTo>
                  <a:lnTo>
                    <a:pt x="268" y="1286"/>
                  </a:lnTo>
                  <a:lnTo>
                    <a:pt x="270" y="1288"/>
                  </a:lnTo>
                  <a:lnTo>
                    <a:pt x="272" y="1290"/>
                  </a:lnTo>
                  <a:lnTo>
                    <a:pt x="270" y="1290"/>
                  </a:lnTo>
                  <a:lnTo>
                    <a:pt x="268" y="1290"/>
                  </a:lnTo>
                  <a:lnTo>
                    <a:pt x="267" y="1290"/>
                  </a:lnTo>
                  <a:lnTo>
                    <a:pt x="265" y="1288"/>
                  </a:lnTo>
                  <a:lnTo>
                    <a:pt x="262" y="1288"/>
                  </a:lnTo>
                  <a:lnTo>
                    <a:pt x="260" y="1286"/>
                  </a:lnTo>
                  <a:lnTo>
                    <a:pt x="258" y="1286"/>
                  </a:lnTo>
                  <a:lnTo>
                    <a:pt x="257" y="1285"/>
                  </a:lnTo>
                  <a:lnTo>
                    <a:pt x="255" y="1285"/>
                  </a:lnTo>
                  <a:lnTo>
                    <a:pt x="255" y="1283"/>
                  </a:lnTo>
                  <a:lnTo>
                    <a:pt x="253" y="1283"/>
                  </a:lnTo>
                  <a:lnTo>
                    <a:pt x="250" y="1283"/>
                  </a:lnTo>
                  <a:lnTo>
                    <a:pt x="246" y="1280"/>
                  </a:lnTo>
                  <a:lnTo>
                    <a:pt x="243" y="1276"/>
                  </a:lnTo>
                  <a:lnTo>
                    <a:pt x="243" y="1273"/>
                  </a:lnTo>
                  <a:lnTo>
                    <a:pt x="241" y="1273"/>
                  </a:lnTo>
                  <a:lnTo>
                    <a:pt x="236" y="1271"/>
                  </a:lnTo>
                  <a:lnTo>
                    <a:pt x="233" y="1271"/>
                  </a:lnTo>
                  <a:lnTo>
                    <a:pt x="233" y="1273"/>
                  </a:lnTo>
                  <a:lnTo>
                    <a:pt x="229" y="1273"/>
                  </a:lnTo>
                  <a:lnTo>
                    <a:pt x="228" y="1271"/>
                  </a:lnTo>
                  <a:lnTo>
                    <a:pt x="226" y="1273"/>
                  </a:lnTo>
                  <a:lnTo>
                    <a:pt x="223" y="1273"/>
                  </a:lnTo>
                  <a:lnTo>
                    <a:pt x="223" y="1275"/>
                  </a:lnTo>
                  <a:lnTo>
                    <a:pt x="226" y="1275"/>
                  </a:lnTo>
                  <a:lnTo>
                    <a:pt x="229" y="1276"/>
                  </a:lnTo>
                  <a:lnTo>
                    <a:pt x="228" y="1278"/>
                  </a:lnTo>
                  <a:lnTo>
                    <a:pt x="229" y="1278"/>
                  </a:lnTo>
                  <a:lnTo>
                    <a:pt x="231" y="1278"/>
                  </a:lnTo>
                  <a:lnTo>
                    <a:pt x="233" y="1278"/>
                  </a:lnTo>
                  <a:lnTo>
                    <a:pt x="234" y="1278"/>
                  </a:lnTo>
                  <a:lnTo>
                    <a:pt x="236" y="1280"/>
                  </a:lnTo>
                  <a:lnTo>
                    <a:pt x="238" y="1283"/>
                  </a:lnTo>
                  <a:lnTo>
                    <a:pt x="236" y="1283"/>
                  </a:lnTo>
                  <a:lnTo>
                    <a:pt x="236" y="1285"/>
                  </a:lnTo>
                  <a:lnTo>
                    <a:pt x="234" y="1285"/>
                  </a:lnTo>
                  <a:lnTo>
                    <a:pt x="238" y="1285"/>
                  </a:lnTo>
                  <a:lnTo>
                    <a:pt x="236" y="1286"/>
                  </a:lnTo>
                  <a:lnTo>
                    <a:pt x="238" y="1286"/>
                  </a:lnTo>
                  <a:lnTo>
                    <a:pt x="236" y="1288"/>
                  </a:lnTo>
                  <a:lnTo>
                    <a:pt x="240" y="1288"/>
                  </a:lnTo>
                  <a:lnTo>
                    <a:pt x="241" y="1290"/>
                  </a:lnTo>
                  <a:lnTo>
                    <a:pt x="243" y="1290"/>
                  </a:lnTo>
                  <a:lnTo>
                    <a:pt x="245" y="1292"/>
                  </a:lnTo>
                  <a:lnTo>
                    <a:pt x="245" y="1293"/>
                  </a:lnTo>
                  <a:lnTo>
                    <a:pt x="248" y="1293"/>
                  </a:lnTo>
                  <a:lnTo>
                    <a:pt x="250" y="1292"/>
                  </a:lnTo>
                  <a:lnTo>
                    <a:pt x="251" y="1293"/>
                  </a:lnTo>
                  <a:lnTo>
                    <a:pt x="253" y="1295"/>
                  </a:lnTo>
                  <a:lnTo>
                    <a:pt x="251" y="1295"/>
                  </a:lnTo>
                  <a:lnTo>
                    <a:pt x="251" y="1297"/>
                  </a:lnTo>
                  <a:lnTo>
                    <a:pt x="250" y="1297"/>
                  </a:lnTo>
                  <a:lnTo>
                    <a:pt x="248" y="1293"/>
                  </a:lnTo>
                  <a:lnTo>
                    <a:pt x="246" y="1295"/>
                  </a:lnTo>
                  <a:lnTo>
                    <a:pt x="246" y="1297"/>
                  </a:lnTo>
                  <a:lnTo>
                    <a:pt x="248" y="1295"/>
                  </a:lnTo>
                  <a:lnTo>
                    <a:pt x="250" y="1297"/>
                  </a:lnTo>
                  <a:lnTo>
                    <a:pt x="253" y="1297"/>
                  </a:lnTo>
                  <a:lnTo>
                    <a:pt x="255" y="1297"/>
                  </a:lnTo>
                  <a:lnTo>
                    <a:pt x="257" y="1298"/>
                  </a:lnTo>
                  <a:lnTo>
                    <a:pt x="260" y="1297"/>
                  </a:lnTo>
                  <a:lnTo>
                    <a:pt x="263" y="1297"/>
                  </a:lnTo>
                  <a:lnTo>
                    <a:pt x="263" y="1298"/>
                  </a:lnTo>
                  <a:lnTo>
                    <a:pt x="265" y="1298"/>
                  </a:lnTo>
                  <a:lnTo>
                    <a:pt x="265" y="1300"/>
                  </a:lnTo>
                  <a:lnTo>
                    <a:pt x="267" y="1300"/>
                  </a:lnTo>
                  <a:lnTo>
                    <a:pt x="268" y="1300"/>
                  </a:lnTo>
                  <a:lnTo>
                    <a:pt x="268" y="1302"/>
                  </a:lnTo>
                  <a:lnTo>
                    <a:pt x="270" y="1302"/>
                  </a:lnTo>
                  <a:lnTo>
                    <a:pt x="270" y="1303"/>
                  </a:lnTo>
                  <a:lnTo>
                    <a:pt x="274" y="1303"/>
                  </a:lnTo>
                  <a:lnTo>
                    <a:pt x="272" y="1305"/>
                  </a:lnTo>
                  <a:lnTo>
                    <a:pt x="270" y="1303"/>
                  </a:lnTo>
                  <a:lnTo>
                    <a:pt x="265" y="1303"/>
                  </a:lnTo>
                  <a:lnTo>
                    <a:pt x="263" y="1303"/>
                  </a:lnTo>
                  <a:lnTo>
                    <a:pt x="262" y="1305"/>
                  </a:lnTo>
                  <a:lnTo>
                    <a:pt x="263" y="1305"/>
                  </a:lnTo>
                  <a:lnTo>
                    <a:pt x="262" y="1307"/>
                  </a:lnTo>
                  <a:lnTo>
                    <a:pt x="263" y="1307"/>
                  </a:lnTo>
                  <a:lnTo>
                    <a:pt x="265" y="1307"/>
                  </a:lnTo>
                  <a:lnTo>
                    <a:pt x="268" y="1307"/>
                  </a:lnTo>
                  <a:lnTo>
                    <a:pt x="267" y="1307"/>
                  </a:lnTo>
                  <a:lnTo>
                    <a:pt x="268" y="1309"/>
                  </a:lnTo>
                  <a:lnTo>
                    <a:pt x="272" y="1309"/>
                  </a:lnTo>
                  <a:lnTo>
                    <a:pt x="275" y="1309"/>
                  </a:lnTo>
                  <a:lnTo>
                    <a:pt x="275" y="1307"/>
                  </a:lnTo>
                  <a:lnTo>
                    <a:pt x="277" y="1307"/>
                  </a:lnTo>
                  <a:lnTo>
                    <a:pt x="275" y="1309"/>
                  </a:lnTo>
                  <a:lnTo>
                    <a:pt x="277" y="1309"/>
                  </a:lnTo>
                  <a:lnTo>
                    <a:pt x="277" y="1310"/>
                  </a:lnTo>
                  <a:lnTo>
                    <a:pt x="279" y="1309"/>
                  </a:lnTo>
                  <a:lnTo>
                    <a:pt x="282" y="1310"/>
                  </a:lnTo>
                  <a:lnTo>
                    <a:pt x="279" y="1310"/>
                  </a:lnTo>
                  <a:lnTo>
                    <a:pt x="277" y="1312"/>
                  </a:lnTo>
                  <a:lnTo>
                    <a:pt x="275" y="1314"/>
                  </a:lnTo>
                  <a:lnTo>
                    <a:pt x="277" y="1314"/>
                  </a:lnTo>
                  <a:lnTo>
                    <a:pt x="279" y="1314"/>
                  </a:lnTo>
                  <a:lnTo>
                    <a:pt x="280" y="1315"/>
                  </a:lnTo>
                  <a:lnTo>
                    <a:pt x="282" y="1314"/>
                  </a:lnTo>
                  <a:lnTo>
                    <a:pt x="282" y="1315"/>
                  </a:lnTo>
                  <a:lnTo>
                    <a:pt x="280" y="1317"/>
                  </a:lnTo>
                  <a:lnTo>
                    <a:pt x="277" y="1317"/>
                  </a:lnTo>
                  <a:lnTo>
                    <a:pt x="275" y="1319"/>
                  </a:lnTo>
                  <a:lnTo>
                    <a:pt x="279" y="1319"/>
                  </a:lnTo>
                  <a:lnTo>
                    <a:pt x="282" y="1317"/>
                  </a:lnTo>
                  <a:lnTo>
                    <a:pt x="280" y="1319"/>
                  </a:lnTo>
                  <a:lnTo>
                    <a:pt x="284" y="1319"/>
                  </a:lnTo>
                  <a:lnTo>
                    <a:pt x="285" y="1319"/>
                  </a:lnTo>
                  <a:lnTo>
                    <a:pt x="287" y="1317"/>
                  </a:lnTo>
                  <a:lnTo>
                    <a:pt x="291" y="1317"/>
                  </a:lnTo>
                  <a:lnTo>
                    <a:pt x="292" y="1317"/>
                  </a:lnTo>
                  <a:lnTo>
                    <a:pt x="289" y="1319"/>
                  </a:lnTo>
                  <a:lnTo>
                    <a:pt x="291" y="1320"/>
                  </a:lnTo>
                  <a:lnTo>
                    <a:pt x="291" y="1322"/>
                  </a:lnTo>
                  <a:lnTo>
                    <a:pt x="292" y="1320"/>
                  </a:lnTo>
                  <a:lnTo>
                    <a:pt x="294" y="1320"/>
                  </a:lnTo>
                  <a:lnTo>
                    <a:pt x="297" y="1319"/>
                  </a:lnTo>
                  <a:lnTo>
                    <a:pt x="299" y="1320"/>
                  </a:lnTo>
                  <a:lnTo>
                    <a:pt x="302" y="1322"/>
                  </a:lnTo>
                  <a:lnTo>
                    <a:pt x="304" y="1324"/>
                  </a:lnTo>
                  <a:lnTo>
                    <a:pt x="306" y="1322"/>
                  </a:lnTo>
                  <a:lnTo>
                    <a:pt x="309" y="1324"/>
                  </a:lnTo>
                  <a:lnTo>
                    <a:pt x="311" y="1324"/>
                  </a:lnTo>
                  <a:lnTo>
                    <a:pt x="313" y="1327"/>
                  </a:lnTo>
                  <a:lnTo>
                    <a:pt x="314" y="1326"/>
                  </a:lnTo>
                  <a:lnTo>
                    <a:pt x="314" y="1327"/>
                  </a:lnTo>
                  <a:lnTo>
                    <a:pt x="316" y="1329"/>
                  </a:lnTo>
                  <a:lnTo>
                    <a:pt x="318" y="1329"/>
                  </a:lnTo>
                  <a:lnTo>
                    <a:pt x="319" y="1329"/>
                  </a:lnTo>
                  <a:lnTo>
                    <a:pt x="319" y="1331"/>
                  </a:lnTo>
                  <a:lnTo>
                    <a:pt x="318" y="1331"/>
                  </a:lnTo>
                  <a:lnTo>
                    <a:pt x="319" y="1332"/>
                  </a:lnTo>
                  <a:lnTo>
                    <a:pt x="319" y="1334"/>
                  </a:lnTo>
                  <a:lnTo>
                    <a:pt x="319" y="1336"/>
                  </a:lnTo>
                  <a:lnTo>
                    <a:pt x="321" y="1336"/>
                  </a:lnTo>
                  <a:lnTo>
                    <a:pt x="321" y="1337"/>
                  </a:lnTo>
                  <a:lnTo>
                    <a:pt x="321" y="1336"/>
                  </a:lnTo>
                  <a:lnTo>
                    <a:pt x="323" y="1334"/>
                  </a:lnTo>
                  <a:lnTo>
                    <a:pt x="325" y="1334"/>
                  </a:lnTo>
                  <a:lnTo>
                    <a:pt x="326" y="1336"/>
                  </a:lnTo>
                  <a:lnTo>
                    <a:pt x="325" y="1337"/>
                  </a:lnTo>
                  <a:lnTo>
                    <a:pt x="326" y="1339"/>
                  </a:lnTo>
                  <a:lnTo>
                    <a:pt x="325" y="1339"/>
                  </a:lnTo>
                  <a:lnTo>
                    <a:pt x="325" y="1341"/>
                  </a:lnTo>
                  <a:lnTo>
                    <a:pt x="328" y="1339"/>
                  </a:lnTo>
                  <a:lnTo>
                    <a:pt x="328" y="1341"/>
                  </a:lnTo>
                  <a:lnTo>
                    <a:pt x="330" y="1341"/>
                  </a:lnTo>
                  <a:lnTo>
                    <a:pt x="331" y="1341"/>
                  </a:lnTo>
                  <a:lnTo>
                    <a:pt x="333" y="1341"/>
                  </a:lnTo>
                  <a:lnTo>
                    <a:pt x="333" y="1343"/>
                  </a:lnTo>
                  <a:lnTo>
                    <a:pt x="331" y="1344"/>
                  </a:lnTo>
                  <a:lnTo>
                    <a:pt x="333" y="1344"/>
                  </a:lnTo>
                  <a:lnTo>
                    <a:pt x="333" y="1348"/>
                  </a:lnTo>
                  <a:lnTo>
                    <a:pt x="330" y="1346"/>
                  </a:lnTo>
                  <a:lnTo>
                    <a:pt x="328" y="1346"/>
                  </a:lnTo>
                  <a:lnTo>
                    <a:pt x="328" y="1344"/>
                  </a:lnTo>
                  <a:lnTo>
                    <a:pt x="325" y="1343"/>
                  </a:lnTo>
                  <a:lnTo>
                    <a:pt x="323" y="1344"/>
                  </a:lnTo>
                  <a:lnTo>
                    <a:pt x="325" y="1346"/>
                  </a:lnTo>
                  <a:lnTo>
                    <a:pt x="325" y="1349"/>
                  </a:lnTo>
                  <a:lnTo>
                    <a:pt x="326" y="1348"/>
                  </a:lnTo>
                  <a:lnTo>
                    <a:pt x="328" y="1348"/>
                  </a:lnTo>
                  <a:lnTo>
                    <a:pt x="326" y="1351"/>
                  </a:lnTo>
                  <a:lnTo>
                    <a:pt x="328" y="1351"/>
                  </a:lnTo>
                  <a:lnTo>
                    <a:pt x="328" y="1353"/>
                  </a:lnTo>
                  <a:lnTo>
                    <a:pt x="330" y="1354"/>
                  </a:lnTo>
                  <a:lnTo>
                    <a:pt x="331" y="1354"/>
                  </a:lnTo>
                  <a:lnTo>
                    <a:pt x="331" y="1356"/>
                  </a:lnTo>
                  <a:lnTo>
                    <a:pt x="330" y="1356"/>
                  </a:lnTo>
                  <a:lnTo>
                    <a:pt x="330" y="1358"/>
                  </a:lnTo>
                  <a:lnTo>
                    <a:pt x="331" y="1360"/>
                  </a:lnTo>
                  <a:lnTo>
                    <a:pt x="331" y="1361"/>
                  </a:lnTo>
                  <a:lnTo>
                    <a:pt x="330" y="1363"/>
                  </a:lnTo>
                  <a:lnTo>
                    <a:pt x="330" y="1365"/>
                  </a:lnTo>
                  <a:lnTo>
                    <a:pt x="331" y="1366"/>
                  </a:lnTo>
                  <a:lnTo>
                    <a:pt x="330" y="1368"/>
                  </a:lnTo>
                  <a:lnTo>
                    <a:pt x="328" y="1368"/>
                  </a:lnTo>
                  <a:lnTo>
                    <a:pt x="326" y="1368"/>
                  </a:lnTo>
                  <a:lnTo>
                    <a:pt x="326" y="1370"/>
                  </a:lnTo>
                  <a:lnTo>
                    <a:pt x="328" y="1370"/>
                  </a:lnTo>
                  <a:lnTo>
                    <a:pt x="325" y="1370"/>
                  </a:lnTo>
                  <a:lnTo>
                    <a:pt x="325" y="1372"/>
                  </a:lnTo>
                  <a:lnTo>
                    <a:pt x="323" y="1372"/>
                  </a:lnTo>
                  <a:lnTo>
                    <a:pt x="325" y="1373"/>
                  </a:lnTo>
                  <a:lnTo>
                    <a:pt x="326" y="1373"/>
                  </a:lnTo>
                  <a:lnTo>
                    <a:pt x="325" y="1373"/>
                  </a:lnTo>
                  <a:lnTo>
                    <a:pt x="321" y="1375"/>
                  </a:lnTo>
                  <a:lnTo>
                    <a:pt x="323" y="1375"/>
                  </a:lnTo>
                  <a:lnTo>
                    <a:pt x="325" y="1375"/>
                  </a:lnTo>
                  <a:lnTo>
                    <a:pt x="328" y="1375"/>
                  </a:lnTo>
                  <a:lnTo>
                    <a:pt x="328" y="1377"/>
                  </a:lnTo>
                  <a:lnTo>
                    <a:pt x="330" y="1378"/>
                  </a:lnTo>
                  <a:lnTo>
                    <a:pt x="330" y="1380"/>
                  </a:lnTo>
                  <a:lnTo>
                    <a:pt x="330" y="1382"/>
                  </a:lnTo>
                  <a:lnTo>
                    <a:pt x="331" y="1380"/>
                  </a:lnTo>
                  <a:lnTo>
                    <a:pt x="333" y="1383"/>
                  </a:lnTo>
                  <a:lnTo>
                    <a:pt x="335" y="1382"/>
                  </a:lnTo>
                  <a:lnTo>
                    <a:pt x="336" y="1383"/>
                  </a:lnTo>
                  <a:lnTo>
                    <a:pt x="335" y="1383"/>
                  </a:lnTo>
                  <a:lnTo>
                    <a:pt x="336" y="1383"/>
                  </a:lnTo>
                  <a:lnTo>
                    <a:pt x="338" y="1385"/>
                  </a:lnTo>
                  <a:lnTo>
                    <a:pt x="338" y="1387"/>
                  </a:lnTo>
                  <a:lnTo>
                    <a:pt x="340" y="1389"/>
                  </a:lnTo>
                  <a:lnTo>
                    <a:pt x="338" y="1390"/>
                  </a:lnTo>
                  <a:lnTo>
                    <a:pt x="340" y="1390"/>
                  </a:lnTo>
                  <a:lnTo>
                    <a:pt x="343" y="1390"/>
                  </a:lnTo>
                  <a:lnTo>
                    <a:pt x="343" y="1394"/>
                  </a:lnTo>
                  <a:lnTo>
                    <a:pt x="345" y="1394"/>
                  </a:lnTo>
                  <a:lnTo>
                    <a:pt x="345" y="1395"/>
                  </a:lnTo>
                  <a:lnTo>
                    <a:pt x="345" y="1394"/>
                  </a:lnTo>
                  <a:lnTo>
                    <a:pt x="345" y="1395"/>
                  </a:lnTo>
                  <a:lnTo>
                    <a:pt x="345" y="1397"/>
                  </a:lnTo>
                  <a:lnTo>
                    <a:pt x="343" y="1399"/>
                  </a:lnTo>
                  <a:lnTo>
                    <a:pt x="345" y="1399"/>
                  </a:lnTo>
                  <a:lnTo>
                    <a:pt x="347" y="1399"/>
                  </a:lnTo>
                  <a:lnTo>
                    <a:pt x="348" y="1400"/>
                  </a:lnTo>
                  <a:lnTo>
                    <a:pt x="350" y="1400"/>
                  </a:lnTo>
                  <a:lnTo>
                    <a:pt x="350" y="1402"/>
                  </a:lnTo>
                  <a:lnTo>
                    <a:pt x="352" y="1404"/>
                  </a:lnTo>
                  <a:lnTo>
                    <a:pt x="353" y="1406"/>
                  </a:lnTo>
                  <a:lnTo>
                    <a:pt x="353" y="1407"/>
                  </a:lnTo>
                  <a:lnTo>
                    <a:pt x="353" y="1409"/>
                  </a:lnTo>
                  <a:lnTo>
                    <a:pt x="352" y="1411"/>
                  </a:lnTo>
                  <a:lnTo>
                    <a:pt x="352" y="1412"/>
                  </a:lnTo>
                  <a:lnTo>
                    <a:pt x="353" y="1411"/>
                  </a:lnTo>
                  <a:lnTo>
                    <a:pt x="355" y="1409"/>
                  </a:lnTo>
                  <a:lnTo>
                    <a:pt x="357" y="1407"/>
                  </a:lnTo>
                  <a:lnTo>
                    <a:pt x="357" y="1409"/>
                  </a:lnTo>
                  <a:lnTo>
                    <a:pt x="357" y="1412"/>
                  </a:lnTo>
                  <a:lnTo>
                    <a:pt x="353" y="1414"/>
                  </a:lnTo>
                  <a:lnTo>
                    <a:pt x="353" y="1416"/>
                  </a:lnTo>
                  <a:lnTo>
                    <a:pt x="355" y="1416"/>
                  </a:lnTo>
                  <a:lnTo>
                    <a:pt x="357" y="1417"/>
                  </a:lnTo>
                  <a:lnTo>
                    <a:pt x="359" y="1419"/>
                  </a:lnTo>
                  <a:lnTo>
                    <a:pt x="360" y="1419"/>
                  </a:lnTo>
                  <a:lnTo>
                    <a:pt x="357" y="1424"/>
                  </a:lnTo>
                  <a:lnTo>
                    <a:pt x="357" y="1426"/>
                  </a:lnTo>
                  <a:lnTo>
                    <a:pt x="357" y="1428"/>
                  </a:lnTo>
                  <a:lnTo>
                    <a:pt x="359" y="1428"/>
                  </a:lnTo>
                  <a:lnTo>
                    <a:pt x="360" y="1429"/>
                  </a:lnTo>
                  <a:lnTo>
                    <a:pt x="362" y="1426"/>
                  </a:lnTo>
                  <a:lnTo>
                    <a:pt x="364" y="1426"/>
                  </a:lnTo>
                  <a:lnTo>
                    <a:pt x="364" y="1428"/>
                  </a:lnTo>
                  <a:lnTo>
                    <a:pt x="362" y="1428"/>
                  </a:lnTo>
                  <a:lnTo>
                    <a:pt x="364" y="1429"/>
                  </a:lnTo>
                  <a:lnTo>
                    <a:pt x="364" y="1431"/>
                  </a:lnTo>
                  <a:lnTo>
                    <a:pt x="367" y="1433"/>
                  </a:lnTo>
                  <a:lnTo>
                    <a:pt x="369" y="1431"/>
                  </a:lnTo>
                  <a:lnTo>
                    <a:pt x="370" y="1433"/>
                  </a:lnTo>
                  <a:lnTo>
                    <a:pt x="370" y="1434"/>
                  </a:lnTo>
                  <a:lnTo>
                    <a:pt x="372" y="1434"/>
                  </a:lnTo>
                  <a:lnTo>
                    <a:pt x="374" y="1434"/>
                  </a:lnTo>
                  <a:lnTo>
                    <a:pt x="374" y="1433"/>
                  </a:lnTo>
                  <a:lnTo>
                    <a:pt x="372" y="1431"/>
                  </a:lnTo>
                  <a:lnTo>
                    <a:pt x="374" y="1429"/>
                  </a:lnTo>
                  <a:lnTo>
                    <a:pt x="376" y="1431"/>
                  </a:lnTo>
                  <a:lnTo>
                    <a:pt x="376" y="1433"/>
                  </a:lnTo>
                  <a:lnTo>
                    <a:pt x="377" y="1434"/>
                  </a:lnTo>
                  <a:lnTo>
                    <a:pt x="377" y="1436"/>
                  </a:lnTo>
                  <a:lnTo>
                    <a:pt x="379" y="1436"/>
                  </a:lnTo>
                  <a:lnTo>
                    <a:pt x="381" y="1436"/>
                  </a:lnTo>
                  <a:lnTo>
                    <a:pt x="382" y="1434"/>
                  </a:lnTo>
                  <a:lnTo>
                    <a:pt x="382" y="1433"/>
                  </a:lnTo>
                  <a:lnTo>
                    <a:pt x="386" y="1433"/>
                  </a:lnTo>
                  <a:lnTo>
                    <a:pt x="386" y="1429"/>
                  </a:lnTo>
                  <a:lnTo>
                    <a:pt x="384" y="1428"/>
                  </a:lnTo>
                  <a:lnTo>
                    <a:pt x="386" y="1428"/>
                  </a:lnTo>
                  <a:lnTo>
                    <a:pt x="387" y="1428"/>
                  </a:lnTo>
                  <a:lnTo>
                    <a:pt x="389" y="1429"/>
                  </a:lnTo>
                  <a:lnTo>
                    <a:pt x="391" y="1429"/>
                  </a:lnTo>
                  <a:lnTo>
                    <a:pt x="393" y="1429"/>
                  </a:lnTo>
                  <a:lnTo>
                    <a:pt x="393" y="1428"/>
                  </a:lnTo>
                  <a:lnTo>
                    <a:pt x="393" y="1426"/>
                  </a:lnTo>
                  <a:lnTo>
                    <a:pt x="393" y="1424"/>
                  </a:lnTo>
                  <a:lnTo>
                    <a:pt x="394" y="1426"/>
                  </a:lnTo>
                  <a:lnTo>
                    <a:pt x="396" y="1426"/>
                  </a:lnTo>
                  <a:lnTo>
                    <a:pt x="396" y="1428"/>
                  </a:lnTo>
                  <a:lnTo>
                    <a:pt x="396" y="1429"/>
                  </a:lnTo>
                  <a:lnTo>
                    <a:pt x="394" y="1428"/>
                  </a:lnTo>
                  <a:lnTo>
                    <a:pt x="394" y="1429"/>
                  </a:lnTo>
                  <a:lnTo>
                    <a:pt x="394" y="1433"/>
                  </a:lnTo>
                  <a:lnTo>
                    <a:pt x="396" y="1433"/>
                  </a:lnTo>
                  <a:lnTo>
                    <a:pt x="396" y="1434"/>
                  </a:lnTo>
                  <a:lnTo>
                    <a:pt x="398" y="1436"/>
                  </a:lnTo>
                  <a:lnTo>
                    <a:pt x="399" y="1438"/>
                  </a:lnTo>
                  <a:lnTo>
                    <a:pt x="401" y="1436"/>
                  </a:lnTo>
                  <a:lnTo>
                    <a:pt x="401" y="1434"/>
                  </a:lnTo>
                  <a:lnTo>
                    <a:pt x="403" y="1434"/>
                  </a:lnTo>
                  <a:lnTo>
                    <a:pt x="403" y="1436"/>
                  </a:lnTo>
                  <a:lnTo>
                    <a:pt x="406" y="1436"/>
                  </a:lnTo>
                  <a:lnTo>
                    <a:pt x="408" y="1438"/>
                  </a:lnTo>
                  <a:lnTo>
                    <a:pt x="408" y="1440"/>
                  </a:lnTo>
                  <a:lnTo>
                    <a:pt x="410" y="1441"/>
                  </a:lnTo>
                  <a:lnTo>
                    <a:pt x="411" y="1443"/>
                  </a:lnTo>
                  <a:lnTo>
                    <a:pt x="413" y="1446"/>
                  </a:lnTo>
                  <a:lnTo>
                    <a:pt x="413" y="1448"/>
                  </a:lnTo>
                  <a:lnTo>
                    <a:pt x="415" y="1446"/>
                  </a:lnTo>
                  <a:lnTo>
                    <a:pt x="418" y="1446"/>
                  </a:lnTo>
                  <a:lnTo>
                    <a:pt x="420" y="1446"/>
                  </a:lnTo>
                  <a:lnTo>
                    <a:pt x="421" y="1446"/>
                  </a:lnTo>
                  <a:lnTo>
                    <a:pt x="423" y="1446"/>
                  </a:lnTo>
                  <a:lnTo>
                    <a:pt x="425" y="1446"/>
                  </a:lnTo>
                  <a:lnTo>
                    <a:pt x="427" y="1448"/>
                  </a:lnTo>
                  <a:lnTo>
                    <a:pt x="428" y="1448"/>
                  </a:lnTo>
                  <a:lnTo>
                    <a:pt x="430" y="1448"/>
                  </a:lnTo>
                  <a:lnTo>
                    <a:pt x="430" y="1446"/>
                  </a:lnTo>
                  <a:lnTo>
                    <a:pt x="432" y="1446"/>
                  </a:lnTo>
                  <a:lnTo>
                    <a:pt x="433" y="1446"/>
                  </a:lnTo>
                  <a:lnTo>
                    <a:pt x="435" y="1445"/>
                  </a:lnTo>
                  <a:lnTo>
                    <a:pt x="437" y="1446"/>
                  </a:lnTo>
                  <a:lnTo>
                    <a:pt x="438" y="1445"/>
                  </a:lnTo>
                  <a:lnTo>
                    <a:pt x="440" y="1445"/>
                  </a:lnTo>
                  <a:lnTo>
                    <a:pt x="444" y="1443"/>
                  </a:lnTo>
                  <a:lnTo>
                    <a:pt x="444" y="1445"/>
                  </a:lnTo>
                  <a:lnTo>
                    <a:pt x="445" y="1446"/>
                  </a:lnTo>
                  <a:lnTo>
                    <a:pt x="447" y="1446"/>
                  </a:lnTo>
                  <a:lnTo>
                    <a:pt x="447" y="1448"/>
                  </a:lnTo>
                  <a:lnTo>
                    <a:pt x="450" y="1448"/>
                  </a:lnTo>
                  <a:lnTo>
                    <a:pt x="452" y="1446"/>
                  </a:lnTo>
                  <a:lnTo>
                    <a:pt x="454" y="1446"/>
                  </a:lnTo>
                  <a:lnTo>
                    <a:pt x="455" y="1445"/>
                  </a:lnTo>
                  <a:lnTo>
                    <a:pt x="457" y="1443"/>
                  </a:lnTo>
                  <a:lnTo>
                    <a:pt x="457" y="1440"/>
                  </a:lnTo>
                  <a:lnTo>
                    <a:pt x="455" y="1438"/>
                  </a:lnTo>
                  <a:lnTo>
                    <a:pt x="457" y="1436"/>
                  </a:lnTo>
                  <a:lnTo>
                    <a:pt x="461" y="1436"/>
                  </a:lnTo>
                  <a:lnTo>
                    <a:pt x="462" y="1434"/>
                  </a:lnTo>
                  <a:lnTo>
                    <a:pt x="464" y="1433"/>
                  </a:lnTo>
                  <a:lnTo>
                    <a:pt x="464" y="1431"/>
                  </a:lnTo>
                  <a:lnTo>
                    <a:pt x="464" y="1429"/>
                  </a:lnTo>
                  <a:lnTo>
                    <a:pt x="466" y="1426"/>
                  </a:lnTo>
                  <a:lnTo>
                    <a:pt x="464" y="1424"/>
                  </a:lnTo>
                  <a:lnTo>
                    <a:pt x="464" y="1421"/>
                  </a:lnTo>
                  <a:lnTo>
                    <a:pt x="461" y="1419"/>
                  </a:lnTo>
                  <a:lnTo>
                    <a:pt x="459" y="1417"/>
                  </a:lnTo>
                  <a:lnTo>
                    <a:pt x="457" y="1416"/>
                  </a:lnTo>
                  <a:lnTo>
                    <a:pt x="455" y="1416"/>
                  </a:lnTo>
                  <a:lnTo>
                    <a:pt x="454" y="1414"/>
                  </a:lnTo>
                  <a:lnTo>
                    <a:pt x="454" y="1412"/>
                  </a:lnTo>
                  <a:lnTo>
                    <a:pt x="455" y="1409"/>
                  </a:lnTo>
                  <a:lnTo>
                    <a:pt x="457" y="1407"/>
                  </a:lnTo>
                  <a:lnTo>
                    <a:pt x="455" y="1407"/>
                  </a:lnTo>
                  <a:lnTo>
                    <a:pt x="454" y="1406"/>
                  </a:lnTo>
                  <a:lnTo>
                    <a:pt x="452" y="1407"/>
                  </a:lnTo>
                  <a:lnTo>
                    <a:pt x="452" y="1406"/>
                  </a:lnTo>
                  <a:lnTo>
                    <a:pt x="454" y="1406"/>
                  </a:lnTo>
                  <a:lnTo>
                    <a:pt x="455" y="1404"/>
                  </a:lnTo>
                  <a:lnTo>
                    <a:pt x="454" y="1404"/>
                  </a:lnTo>
                  <a:lnTo>
                    <a:pt x="452" y="1404"/>
                  </a:lnTo>
                  <a:lnTo>
                    <a:pt x="449" y="1404"/>
                  </a:lnTo>
                  <a:lnTo>
                    <a:pt x="449" y="1406"/>
                  </a:lnTo>
                  <a:lnTo>
                    <a:pt x="447" y="1404"/>
                  </a:lnTo>
                  <a:lnTo>
                    <a:pt x="447" y="1400"/>
                  </a:lnTo>
                  <a:lnTo>
                    <a:pt x="445" y="1400"/>
                  </a:lnTo>
                  <a:lnTo>
                    <a:pt x="447" y="1399"/>
                  </a:lnTo>
                  <a:lnTo>
                    <a:pt x="445" y="1399"/>
                  </a:lnTo>
                  <a:lnTo>
                    <a:pt x="442" y="1400"/>
                  </a:lnTo>
                  <a:lnTo>
                    <a:pt x="442" y="1402"/>
                  </a:lnTo>
                  <a:lnTo>
                    <a:pt x="442" y="1404"/>
                  </a:lnTo>
                  <a:lnTo>
                    <a:pt x="442" y="1406"/>
                  </a:lnTo>
                  <a:lnTo>
                    <a:pt x="442" y="1407"/>
                  </a:lnTo>
                  <a:lnTo>
                    <a:pt x="440" y="1406"/>
                  </a:lnTo>
                  <a:lnTo>
                    <a:pt x="438" y="1407"/>
                  </a:lnTo>
                  <a:lnTo>
                    <a:pt x="437" y="1409"/>
                  </a:lnTo>
                  <a:lnTo>
                    <a:pt x="435" y="1411"/>
                  </a:lnTo>
                  <a:lnTo>
                    <a:pt x="433" y="1411"/>
                  </a:lnTo>
                  <a:lnTo>
                    <a:pt x="430" y="1411"/>
                  </a:lnTo>
                  <a:lnTo>
                    <a:pt x="428" y="1411"/>
                  </a:lnTo>
                  <a:lnTo>
                    <a:pt x="427" y="1409"/>
                  </a:lnTo>
                  <a:lnTo>
                    <a:pt x="425" y="1407"/>
                  </a:lnTo>
                  <a:lnTo>
                    <a:pt x="423" y="1407"/>
                  </a:lnTo>
                  <a:lnTo>
                    <a:pt x="420" y="1406"/>
                  </a:lnTo>
                  <a:lnTo>
                    <a:pt x="420" y="1404"/>
                  </a:lnTo>
                  <a:lnTo>
                    <a:pt x="416" y="1402"/>
                  </a:lnTo>
                  <a:lnTo>
                    <a:pt x="415" y="1400"/>
                  </a:lnTo>
                  <a:lnTo>
                    <a:pt x="413" y="1399"/>
                  </a:lnTo>
                  <a:lnTo>
                    <a:pt x="411" y="1399"/>
                  </a:lnTo>
                  <a:lnTo>
                    <a:pt x="410" y="1397"/>
                  </a:lnTo>
                  <a:lnTo>
                    <a:pt x="408" y="1395"/>
                  </a:lnTo>
                  <a:lnTo>
                    <a:pt x="408" y="1394"/>
                  </a:lnTo>
                  <a:lnTo>
                    <a:pt x="404" y="1394"/>
                  </a:lnTo>
                  <a:lnTo>
                    <a:pt x="403" y="1395"/>
                  </a:lnTo>
                  <a:lnTo>
                    <a:pt x="401" y="1394"/>
                  </a:lnTo>
                  <a:lnTo>
                    <a:pt x="399" y="1392"/>
                  </a:lnTo>
                  <a:lnTo>
                    <a:pt x="399" y="1390"/>
                  </a:lnTo>
                  <a:lnTo>
                    <a:pt x="398" y="1389"/>
                  </a:lnTo>
                  <a:lnTo>
                    <a:pt x="399" y="1389"/>
                  </a:lnTo>
                  <a:lnTo>
                    <a:pt x="398" y="1389"/>
                  </a:lnTo>
                  <a:lnTo>
                    <a:pt x="396" y="1387"/>
                  </a:lnTo>
                  <a:lnTo>
                    <a:pt x="394" y="1385"/>
                  </a:lnTo>
                  <a:lnTo>
                    <a:pt x="394" y="1383"/>
                  </a:lnTo>
                  <a:lnTo>
                    <a:pt x="396" y="1382"/>
                  </a:lnTo>
                  <a:lnTo>
                    <a:pt x="398" y="1383"/>
                  </a:lnTo>
                  <a:lnTo>
                    <a:pt x="399" y="1382"/>
                  </a:lnTo>
                  <a:lnTo>
                    <a:pt x="399" y="1380"/>
                  </a:lnTo>
                  <a:lnTo>
                    <a:pt x="401" y="1378"/>
                  </a:lnTo>
                  <a:lnTo>
                    <a:pt x="403" y="1377"/>
                  </a:lnTo>
                  <a:lnTo>
                    <a:pt x="403" y="1373"/>
                  </a:lnTo>
                  <a:lnTo>
                    <a:pt x="401" y="1368"/>
                  </a:lnTo>
                  <a:lnTo>
                    <a:pt x="401" y="1366"/>
                  </a:lnTo>
                  <a:lnTo>
                    <a:pt x="399" y="1365"/>
                  </a:lnTo>
                  <a:lnTo>
                    <a:pt x="399" y="1363"/>
                  </a:lnTo>
                  <a:lnTo>
                    <a:pt x="401" y="1363"/>
                  </a:lnTo>
                  <a:lnTo>
                    <a:pt x="403" y="1361"/>
                  </a:lnTo>
                  <a:lnTo>
                    <a:pt x="403" y="1360"/>
                  </a:lnTo>
                  <a:lnTo>
                    <a:pt x="406" y="1360"/>
                  </a:lnTo>
                  <a:lnTo>
                    <a:pt x="408" y="1360"/>
                  </a:lnTo>
                  <a:lnTo>
                    <a:pt x="411" y="1361"/>
                  </a:lnTo>
                  <a:lnTo>
                    <a:pt x="413" y="1361"/>
                  </a:lnTo>
                  <a:lnTo>
                    <a:pt x="416" y="1360"/>
                  </a:lnTo>
                  <a:lnTo>
                    <a:pt x="421" y="1361"/>
                  </a:lnTo>
                  <a:lnTo>
                    <a:pt x="423" y="1361"/>
                  </a:lnTo>
                  <a:lnTo>
                    <a:pt x="427" y="1361"/>
                  </a:lnTo>
                  <a:lnTo>
                    <a:pt x="428" y="1363"/>
                  </a:lnTo>
                  <a:lnTo>
                    <a:pt x="428" y="1365"/>
                  </a:lnTo>
                  <a:lnTo>
                    <a:pt x="432" y="1366"/>
                  </a:lnTo>
                  <a:lnTo>
                    <a:pt x="435" y="1368"/>
                  </a:lnTo>
                  <a:lnTo>
                    <a:pt x="437" y="1368"/>
                  </a:lnTo>
                  <a:lnTo>
                    <a:pt x="438" y="1368"/>
                  </a:lnTo>
                  <a:lnTo>
                    <a:pt x="442" y="1370"/>
                  </a:lnTo>
                  <a:lnTo>
                    <a:pt x="445" y="1368"/>
                  </a:lnTo>
                  <a:lnTo>
                    <a:pt x="449" y="1366"/>
                  </a:lnTo>
                  <a:lnTo>
                    <a:pt x="450" y="1366"/>
                  </a:lnTo>
                  <a:lnTo>
                    <a:pt x="450" y="1370"/>
                  </a:lnTo>
                  <a:lnTo>
                    <a:pt x="452" y="1372"/>
                  </a:lnTo>
                  <a:lnTo>
                    <a:pt x="450" y="1370"/>
                  </a:lnTo>
                  <a:lnTo>
                    <a:pt x="449" y="1370"/>
                  </a:lnTo>
                  <a:lnTo>
                    <a:pt x="449" y="1372"/>
                  </a:lnTo>
                  <a:lnTo>
                    <a:pt x="449" y="1373"/>
                  </a:lnTo>
                  <a:lnTo>
                    <a:pt x="445" y="1372"/>
                  </a:lnTo>
                  <a:lnTo>
                    <a:pt x="444" y="1373"/>
                  </a:lnTo>
                  <a:lnTo>
                    <a:pt x="444" y="1377"/>
                  </a:lnTo>
                  <a:lnTo>
                    <a:pt x="444" y="1378"/>
                  </a:lnTo>
                  <a:lnTo>
                    <a:pt x="445" y="1378"/>
                  </a:lnTo>
                  <a:lnTo>
                    <a:pt x="449" y="1380"/>
                  </a:lnTo>
                  <a:lnTo>
                    <a:pt x="447" y="1383"/>
                  </a:lnTo>
                  <a:lnTo>
                    <a:pt x="447" y="1385"/>
                  </a:lnTo>
                  <a:lnTo>
                    <a:pt x="447" y="1387"/>
                  </a:lnTo>
                  <a:lnTo>
                    <a:pt x="449" y="1387"/>
                  </a:lnTo>
                  <a:lnTo>
                    <a:pt x="447" y="1383"/>
                  </a:lnTo>
                  <a:lnTo>
                    <a:pt x="450" y="1382"/>
                  </a:lnTo>
                  <a:lnTo>
                    <a:pt x="449" y="1378"/>
                  </a:lnTo>
                  <a:lnTo>
                    <a:pt x="449" y="1377"/>
                  </a:lnTo>
                  <a:lnTo>
                    <a:pt x="450" y="1377"/>
                  </a:lnTo>
                  <a:lnTo>
                    <a:pt x="450" y="1375"/>
                  </a:lnTo>
                  <a:lnTo>
                    <a:pt x="452" y="1373"/>
                  </a:lnTo>
                  <a:lnTo>
                    <a:pt x="455" y="1372"/>
                  </a:lnTo>
                  <a:lnTo>
                    <a:pt x="455" y="1373"/>
                  </a:lnTo>
                  <a:lnTo>
                    <a:pt x="457" y="1372"/>
                  </a:lnTo>
                  <a:lnTo>
                    <a:pt x="455" y="1370"/>
                  </a:lnTo>
                  <a:lnTo>
                    <a:pt x="452" y="1368"/>
                  </a:lnTo>
                  <a:lnTo>
                    <a:pt x="454" y="1368"/>
                  </a:lnTo>
                  <a:lnTo>
                    <a:pt x="455" y="1368"/>
                  </a:lnTo>
                  <a:lnTo>
                    <a:pt x="459" y="1368"/>
                  </a:lnTo>
                  <a:lnTo>
                    <a:pt x="461" y="1368"/>
                  </a:lnTo>
                  <a:lnTo>
                    <a:pt x="462" y="1368"/>
                  </a:lnTo>
                  <a:lnTo>
                    <a:pt x="464" y="1368"/>
                  </a:lnTo>
                  <a:lnTo>
                    <a:pt x="467" y="1366"/>
                  </a:lnTo>
                  <a:lnTo>
                    <a:pt x="469" y="1366"/>
                  </a:lnTo>
                  <a:lnTo>
                    <a:pt x="471" y="1366"/>
                  </a:lnTo>
                  <a:lnTo>
                    <a:pt x="471" y="1368"/>
                  </a:lnTo>
                  <a:lnTo>
                    <a:pt x="472" y="1368"/>
                  </a:lnTo>
                  <a:lnTo>
                    <a:pt x="476" y="1368"/>
                  </a:lnTo>
                  <a:lnTo>
                    <a:pt x="478" y="1370"/>
                  </a:lnTo>
                  <a:lnTo>
                    <a:pt x="479" y="1368"/>
                  </a:lnTo>
                  <a:lnTo>
                    <a:pt x="481" y="1368"/>
                  </a:lnTo>
                  <a:lnTo>
                    <a:pt x="483" y="1368"/>
                  </a:lnTo>
                  <a:lnTo>
                    <a:pt x="486" y="1370"/>
                  </a:lnTo>
                  <a:lnTo>
                    <a:pt x="488" y="1370"/>
                  </a:lnTo>
                  <a:lnTo>
                    <a:pt x="491" y="1372"/>
                  </a:lnTo>
                  <a:lnTo>
                    <a:pt x="493" y="1372"/>
                  </a:lnTo>
                  <a:lnTo>
                    <a:pt x="495" y="1370"/>
                  </a:lnTo>
                  <a:lnTo>
                    <a:pt x="496" y="1370"/>
                  </a:lnTo>
                  <a:lnTo>
                    <a:pt x="496" y="1368"/>
                  </a:lnTo>
                  <a:lnTo>
                    <a:pt x="496" y="1370"/>
                  </a:lnTo>
                  <a:lnTo>
                    <a:pt x="498" y="1370"/>
                  </a:lnTo>
                  <a:lnTo>
                    <a:pt x="496" y="1368"/>
                  </a:lnTo>
                  <a:lnTo>
                    <a:pt x="498" y="1366"/>
                  </a:lnTo>
                  <a:lnTo>
                    <a:pt x="496" y="1366"/>
                  </a:lnTo>
                  <a:lnTo>
                    <a:pt x="498" y="1365"/>
                  </a:lnTo>
                  <a:lnTo>
                    <a:pt x="498" y="1361"/>
                  </a:lnTo>
                  <a:lnTo>
                    <a:pt x="496" y="1361"/>
                  </a:lnTo>
                  <a:lnTo>
                    <a:pt x="500" y="1361"/>
                  </a:lnTo>
                  <a:lnTo>
                    <a:pt x="501" y="1361"/>
                  </a:lnTo>
                  <a:lnTo>
                    <a:pt x="503" y="1361"/>
                  </a:lnTo>
                  <a:lnTo>
                    <a:pt x="505" y="1361"/>
                  </a:lnTo>
                  <a:lnTo>
                    <a:pt x="505" y="1360"/>
                  </a:lnTo>
                  <a:lnTo>
                    <a:pt x="506" y="1360"/>
                  </a:lnTo>
                  <a:lnTo>
                    <a:pt x="505" y="1358"/>
                  </a:lnTo>
                  <a:lnTo>
                    <a:pt x="503" y="1358"/>
                  </a:lnTo>
                  <a:lnTo>
                    <a:pt x="500" y="1360"/>
                  </a:lnTo>
                  <a:lnTo>
                    <a:pt x="498" y="1358"/>
                  </a:lnTo>
                  <a:lnTo>
                    <a:pt x="500" y="1358"/>
                  </a:lnTo>
                  <a:lnTo>
                    <a:pt x="501" y="1356"/>
                  </a:lnTo>
                  <a:lnTo>
                    <a:pt x="503" y="1354"/>
                  </a:lnTo>
                  <a:lnTo>
                    <a:pt x="505" y="1356"/>
                  </a:lnTo>
                  <a:lnTo>
                    <a:pt x="505" y="1353"/>
                  </a:lnTo>
                  <a:lnTo>
                    <a:pt x="506" y="1354"/>
                  </a:lnTo>
                  <a:lnTo>
                    <a:pt x="508" y="1353"/>
                  </a:lnTo>
                  <a:lnTo>
                    <a:pt x="508" y="1354"/>
                  </a:lnTo>
                  <a:lnTo>
                    <a:pt x="510" y="1356"/>
                  </a:lnTo>
                  <a:lnTo>
                    <a:pt x="512" y="1356"/>
                  </a:lnTo>
                  <a:lnTo>
                    <a:pt x="513" y="1356"/>
                  </a:lnTo>
                  <a:lnTo>
                    <a:pt x="515" y="1356"/>
                  </a:lnTo>
                  <a:lnTo>
                    <a:pt x="515" y="1354"/>
                  </a:lnTo>
                  <a:lnTo>
                    <a:pt x="513" y="1353"/>
                  </a:lnTo>
                  <a:lnTo>
                    <a:pt x="512" y="1351"/>
                  </a:lnTo>
                  <a:lnTo>
                    <a:pt x="512" y="1349"/>
                  </a:lnTo>
                  <a:lnTo>
                    <a:pt x="510" y="1348"/>
                  </a:lnTo>
                  <a:lnTo>
                    <a:pt x="512" y="1348"/>
                  </a:lnTo>
                  <a:lnTo>
                    <a:pt x="512" y="1346"/>
                  </a:lnTo>
                  <a:lnTo>
                    <a:pt x="513" y="1346"/>
                  </a:lnTo>
                  <a:lnTo>
                    <a:pt x="512" y="1346"/>
                  </a:lnTo>
                  <a:lnTo>
                    <a:pt x="508" y="1344"/>
                  </a:lnTo>
                  <a:lnTo>
                    <a:pt x="506" y="1344"/>
                  </a:lnTo>
                  <a:lnTo>
                    <a:pt x="508" y="1343"/>
                  </a:lnTo>
                  <a:lnTo>
                    <a:pt x="508" y="1341"/>
                  </a:lnTo>
                  <a:lnTo>
                    <a:pt x="506" y="1339"/>
                  </a:lnTo>
                  <a:lnTo>
                    <a:pt x="505" y="1339"/>
                  </a:lnTo>
                  <a:lnTo>
                    <a:pt x="503" y="1336"/>
                  </a:lnTo>
                  <a:lnTo>
                    <a:pt x="501" y="1336"/>
                  </a:lnTo>
                  <a:lnTo>
                    <a:pt x="500" y="1334"/>
                  </a:lnTo>
                  <a:lnTo>
                    <a:pt x="500" y="1332"/>
                  </a:lnTo>
                  <a:lnTo>
                    <a:pt x="493" y="1331"/>
                  </a:lnTo>
                  <a:lnTo>
                    <a:pt x="489" y="1329"/>
                  </a:lnTo>
                  <a:lnTo>
                    <a:pt x="488" y="1327"/>
                  </a:lnTo>
                  <a:lnTo>
                    <a:pt x="484" y="1324"/>
                  </a:lnTo>
                  <a:lnTo>
                    <a:pt x="483" y="1322"/>
                  </a:lnTo>
                  <a:lnTo>
                    <a:pt x="474" y="1317"/>
                  </a:lnTo>
                  <a:lnTo>
                    <a:pt x="471" y="1310"/>
                  </a:lnTo>
                  <a:lnTo>
                    <a:pt x="469" y="1307"/>
                  </a:lnTo>
                  <a:lnTo>
                    <a:pt x="469" y="1303"/>
                  </a:lnTo>
                  <a:lnTo>
                    <a:pt x="469" y="1300"/>
                  </a:lnTo>
                  <a:lnTo>
                    <a:pt x="469" y="1298"/>
                  </a:lnTo>
                  <a:lnTo>
                    <a:pt x="471" y="1295"/>
                  </a:lnTo>
                  <a:lnTo>
                    <a:pt x="472" y="1293"/>
                  </a:lnTo>
                  <a:lnTo>
                    <a:pt x="476" y="1288"/>
                  </a:lnTo>
                  <a:lnTo>
                    <a:pt x="478" y="1286"/>
                  </a:lnTo>
                  <a:lnTo>
                    <a:pt x="478" y="1285"/>
                  </a:lnTo>
                  <a:lnTo>
                    <a:pt x="481" y="1278"/>
                  </a:lnTo>
                  <a:lnTo>
                    <a:pt x="481" y="1276"/>
                  </a:lnTo>
                  <a:lnTo>
                    <a:pt x="481" y="1273"/>
                  </a:lnTo>
                  <a:lnTo>
                    <a:pt x="481" y="1271"/>
                  </a:lnTo>
                  <a:lnTo>
                    <a:pt x="483" y="1263"/>
                  </a:lnTo>
                  <a:lnTo>
                    <a:pt x="489" y="1258"/>
                  </a:lnTo>
                  <a:lnTo>
                    <a:pt x="495" y="1252"/>
                  </a:lnTo>
                  <a:lnTo>
                    <a:pt x="498" y="1247"/>
                  </a:lnTo>
                  <a:lnTo>
                    <a:pt x="501" y="1242"/>
                  </a:lnTo>
                  <a:lnTo>
                    <a:pt x="503" y="1234"/>
                  </a:lnTo>
                  <a:lnTo>
                    <a:pt x="503" y="1227"/>
                  </a:lnTo>
                  <a:lnTo>
                    <a:pt x="503" y="1225"/>
                  </a:lnTo>
                  <a:lnTo>
                    <a:pt x="505" y="1222"/>
                  </a:lnTo>
                  <a:lnTo>
                    <a:pt x="505" y="1215"/>
                  </a:lnTo>
                  <a:lnTo>
                    <a:pt x="503" y="1213"/>
                  </a:lnTo>
                  <a:lnTo>
                    <a:pt x="506" y="1208"/>
                  </a:lnTo>
                  <a:lnTo>
                    <a:pt x="508" y="1208"/>
                  </a:lnTo>
                  <a:lnTo>
                    <a:pt x="518" y="1210"/>
                  </a:lnTo>
                  <a:lnTo>
                    <a:pt x="520" y="1212"/>
                  </a:lnTo>
                  <a:lnTo>
                    <a:pt x="522" y="1212"/>
                  </a:lnTo>
                  <a:lnTo>
                    <a:pt x="527" y="1210"/>
                  </a:lnTo>
                  <a:lnTo>
                    <a:pt x="534" y="1203"/>
                  </a:lnTo>
                  <a:lnTo>
                    <a:pt x="537" y="1203"/>
                  </a:lnTo>
                  <a:lnTo>
                    <a:pt x="539" y="1205"/>
                  </a:lnTo>
                  <a:lnTo>
                    <a:pt x="542" y="1206"/>
                  </a:lnTo>
                  <a:lnTo>
                    <a:pt x="549" y="1206"/>
                  </a:lnTo>
                  <a:lnTo>
                    <a:pt x="552" y="1208"/>
                  </a:lnTo>
                  <a:lnTo>
                    <a:pt x="554" y="1212"/>
                  </a:lnTo>
                  <a:lnTo>
                    <a:pt x="557" y="1210"/>
                  </a:lnTo>
                  <a:lnTo>
                    <a:pt x="561" y="1210"/>
                  </a:lnTo>
                  <a:lnTo>
                    <a:pt x="566" y="1215"/>
                  </a:lnTo>
                  <a:lnTo>
                    <a:pt x="568" y="1215"/>
                  </a:lnTo>
                  <a:lnTo>
                    <a:pt x="569" y="1213"/>
                  </a:lnTo>
                  <a:lnTo>
                    <a:pt x="569" y="1212"/>
                  </a:lnTo>
                  <a:lnTo>
                    <a:pt x="564" y="1208"/>
                  </a:lnTo>
                  <a:lnTo>
                    <a:pt x="563" y="1205"/>
                  </a:lnTo>
                  <a:lnTo>
                    <a:pt x="561" y="1196"/>
                  </a:lnTo>
                  <a:lnTo>
                    <a:pt x="561" y="1189"/>
                  </a:lnTo>
                  <a:lnTo>
                    <a:pt x="561" y="1184"/>
                  </a:lnTo>
                  <a:lnTo>
                    <a:pt x="563" y="1183"/>
                  </a:lnTo>
                  <a:lnTo>
                    <a:pt x="561" y="1181"/>
                  </a:lnTo>
                  <a:lnTo>
                    <a:pt x="559" y="1179"/>
                  </a:lnTo>
                  <a:lnTo>
                    <a:pt x="559" y="1176"/>
                  </a:lnTo>
                  <a:lnTo>
                    <a:pt x="559" y="1172"/>
                  </a:lnTo>
                  <a:lnTo>
                    <a:pt x="559" y="1171"/>
                  </a:lnTo>
                  <a:lnTo>
                    <a:pt x="557" y="1169"/>
                  </a:lnTo>
                  <a:lnTo>
                    <a:pt x="556" y="1169"/>
                  </a:lnTo>
                  <a:lnTo>
                    <a:pt x="552" y="1166"/>
                  </a:lnTo>
                  <a:lnTo>
                    <a:pt x="554" y="1162"/>
                  </a:lnTo>
                  <a:lnTo>
                    <a:pt x="554" y="1161"/>
                  </a:lnTo>
                  <a:lnTo>
                    <a:pt x="554" y="1159"/>
                  </a:lnTo>
                  <a:lnTo>
                    <a:pt x="552" y="1159"/>
                  </a:lnTo>
                  <a:lnTo>
                    <a:pt x="551" y="1157"/>
                  </a:lnTo>
                  <a:lnTo>
                    <a:pt x="552" y="1155"/>
                  </a:lnTo>
                  <a:lnTo>
                    <a:pt x="549" y="1154"/>
                  </a:lnTo>
                  <a:lnTo>
                    <a:pt x="546" y="1150"/>
                  </a:lnTo>
                  <a:lnTo>
                    <a:pt x="542" y="1150"/>
                  </a:lnTo>
                  <a:lnTo>
                    <a:pt x="540" y="1147"/>
                  </a:lnTo>
                  <a:lnTo>
                    <a:pt x="535" y="1145"/>
                  </a:lnTo>
                  <a:lnTo>
                    <a:pt x="532" y="1145"/>
                  </a:lnTo>
                  <a:lnTo>
                    <a:pt x="530" y="1145"/>
                  </a:lnTo>
                  <a:lnTo>
                    <a:pt x="529" y="1145"/>
                  </a:lnTo>
                  <a:lnTo>
                    <a:pt x="527" y="1147"/>
                  </a:lnTo>
                  <a:lnTo>
                    <a:pt x="525" y="1147"/>
                  </a:lnTo>
                  <a:lnTo>
                    <a:pt x="523" y="1145"/>
                  </a:lnTo>
                  <a:lnTo>
                    <a:pt x="522" y="1144"/>
                  </a:lnTo>
                  <a:lnTo>
                    <a:pt x="522" y="1142"/>
                  </a:lnTo>
                  <a:lnTo>
                    <a:pt x="520" y="1137"/>
                  </a:lnTo>
                  <a:lnTo>
                    <a:pt x="518" y="1135"/>
                  </a:lnTo>
                  <a:lnTo>
                    <a:pt x="518" y="1133"/>
                  </a:lnTo>
                  <a:lnTo>
                    <a:pt x="517" y="1127"/>
                  </a:lnTo>
                  <a:lnTo>
                    <a:pt x="517" y="1125"/>
                  </a:lnTo>
                  <a:lnTo>
                    <a:pt x="517" y="1121"/>
                  </a:lnTo>
                  <a:lnTo>
                    <a:pt x="517" y="1120"/>
                  </a:lnTo>
                  <a:lnTo>
                    <a:pt x="517" y="1116"/>
                  </a:lnTo>
                  <a:lnTo>
                    <a:pt x="517" y="1113"/>
                  </a:lnTo>
                  <a:lnTo>
                    <a:pt x="515" y="1110"/>
                  </a:lnTo>
                  <a:lnTo>
                    <a:pt x="515" y="1108"/>
                  </a:lnTo>
                  <a:lnTo>
                    <a:pt x="515" y="1106"/>
                  </a:lnTo>
                  <a:lnTo>
                    <a:pt x="515" y="1104"/>
                  </a:lnTo>
                  <a:lnTo>
                    <a:pt x="513" y="1103"/>
                  </a:lnTo>
                  <a:lnTo>
                    <a:pt x="512" y="1101"/>
                  </a:lnTo>
                  <a:lnTo>
                    <a:pt x="510" y="1099"/>
                  </a:lnTo>
                  <a:lnTo>
                    <a:pt x="510" y="1096"/>
                  </a:lnTo>
                  <a:lnTo>
                    <a:pt x="512" y="1096"/>
                  </a:lnTo>
                  <a:lnTo>
                    <a:pt x="510" y="1096"/>
                  </a:lnTo>
                  <a:lnTo>
                    <a:pt x="512" y="1094"/>
                  </a:lnTo>
                  <a:lnTo>
                    <a:pt x="510" y="1093"/>
                  </a:lnTo>
                  <a:lnTo>
                    <a:pt x="510" y="1094"/>
                  </a:lnTo>
                  <a:lnTo>
                    <a:pt x="508" y="1094"/>
                  </a:lnTo>
                  <a:lnTo>
                    <a:pt x="508" y="1091"/>
                  </a:lnTo>
                  <a:lnTo>
                    <a:pt x="508" y="1089"/>
                  </a:lnTo>
                  <a:lnTo>
                    <a:pt x="508" y="1087"/>
                  </a:lnTo>
                  <a:lnTo>
                    <a:pt x="506" y="1084"/>
                  </a:lnTo>
                  <a:lnTo>
                    <a:pt x="503" y="1081"/>
                  </a:lnTo>
                  <a:lnTo>
                    <a:pt x="501" y="1074"/>
                  </a:lnTo>
                  <a:lnTo>
                    <a:pt x="498" y="1070"/>
                  </a:lnTo>
                  <a:lnTo>
                    <a:pt x="496" y="1069"/>
                  </a:lnTo>
                  <a:lnTo>
                    <a:pt x="495" y="1067"/>
                  </a:lnTo>
                  <a:lnTo>
                    <a:pt x="491" y="1067"/>
                  </a:lnTo>
                  <a:lnTo>
                    <a:pt x="489" y="1065"/>
                  </a:lnTo>
                  <a:lnTo>
                    <a:pt x="486" y="1065"/>
                  </a:lnTo>
                  <a:lnTo>
                    <a:pt x="483" y="1065"/>
                  </a:lnTo>
                  <a:lnTo>
                    <a:pt x="469" y="1060"/>
                  </a:lnTo>
                  <a:lnTo>
                    <a:pt x="464" y="1059"/>
                  </a:lnTo>
                  <a:lnTo>
                    <a:pt x="462" y="1057"/>
                  </a:lnTo>
                  <a:lnTo>
                    <a:pt x="464" y="1055"/>
                  </a:lnTo>
                  <a:lnTo>
                    <a:pt x="466" y="1053"/>
                  </a:lnTo>
                  <a:lnTo>
                    <a:pt x="467" y="1053"/>
                  </a:lnTo>
                  <a:lnTo>
                    <a:pt x="469" y="1053"/>
                  </a:lnTo>
                  <a:lnTo>
                    <a:pt x="471" y="1053"/>
                  </a:lnTo>
                  <a:lnTo>
                    <a:pt x="474" y="1053"/>
                  </a:lnTo>
                  <a:lnTo>
                    <a:pt x="476" y="1053"/>
                  </a:lnTo>
                  <a:lnTo>
                    <a:pt x="479" y="1055"/>
                  </a:lnTo>
                  <a:lnTo>
                    <a:pt x="481" y="1055"/>
                  </a:lnTo>
                  <a:lnTo>
                    <a:pt x="483" y="1055"/>
                  </a:lnTo>
                  <a:lnTo>
                    <a:pt x="486" y="1055"/>
                  </a:lnTo>
                  <a:lnTo>
                    <a:pt x="488" y="1055"/>
                  </a:lnTo>
                  <a:lnTo>
                    <a:pt x="495" y="1052"/>
                  </a:lnTo>
                  <a:lnTo>
                    <a:pt x="495" y="1050"/>
                  </a:lnTo>
                  <a:lnTo>
                    <a:pt x="500" y="1048"/>
                  </a:lnTo>
                  <a:lnTo>
                    <a:pt x="501" y="1047"/>
                  </a:lnTo>
                  <a:lnTo>
                    <a:pt x="503" y="1047"/>
                  </a:lnTo>
                  <a:lnTo>
                    <a:pt x="506" y="1045"/>
                  </a:lnTo>
                  <a:lnTo>
                    <a:pt x="508" y="1045"/>
                  </a:lnTo>
                  <a:lnTo>
                    <a:pt x="510" y="1043"/>
                  </a:lnTo>
                  <a:lnTo>
                    <a:pt x="512" y="1043"/>
                  </a:lnTo>
                  <a:lnTo>
                    <a:pt x="518" y="1040"/>
                  </a:lnTo>
                  <a:lnTo>
                    <a:pt x="520" y="1040"/>
                  </a:lnTo>
                  <a:lnTo>
                    <a:pt x="522" y="1040"/>
                  </a:lnTo>
                  <a:lnTo>
                    <a:pt x="523" y="1040"/>
                  </a:lnTo>
                  <a:lnTo>
                    <a:pt x="527" y="1038"/>
                  </a:lnTo>
                  <a:lnTo>
                    <a:pt x="534" y="1038"/>
                  </a:lnTo>
                  <a:lnTo>
                    <a:pt x="535" y="1038"/>
                  </a:lnTo>
                  <a:lnTo>
                    <a:pt x="537" y="1038"/>
                  </a:lnTo>
                  <a:lnTo>
                    <a:pt x="534" y="1038"/>
                  </a:lnTo>
                  <a:lnTo>
                    <a:pt x="534" y="1040"/>
                  </a:lnTo>
                  <a:lnTo>
                    <a:pt x="535" y="1041"/>
                  </a:lnTo>
                  <a:lnTo>
                    <a:pt x="539" y="1043"/>
                  </a:lnTo>
                  <a:lnTo>
                    <a:pt x="540" y="1045"/>
                  </a:lnTo>
                  <a:lnTo>
                    <a:pt x="542" y="1045"/>
                  </a:lnTo>
                  <a:lnTo>
                    <a:pt x="544" y="1045"/>
                  </a:lnTo>
                  <a:lnTo>
                    <a:pt x="547" y="1047"/>
                  </a:lnTo>
                  <a:lnTo>
                    <a:pt x="552" y="1050"/>
                  </a:lnTo>
                  <a:lnTo>
                    <a:pt x="556" y="1050"/>
                  </a:lnTo>
                  <a:lnTo>
                    <a:pt x="557" y="1050"/>
                  </a:lnTo>
                  <a:lnTo>
                    <a:pt x="559" y="1052"/>
                  </a:lnTo>
                  <a:lnTo>
                    <a:pt x="561" y="1053"/>
                  </a:lnTo>
                  <a:lnTo>
                    <a:pt x="561" y="1055"/>
                  </a:lnTo>
                  <a:lnTo>
                    <a:pt x="563" y="1055"/>
                  </a:lnTo>
                  <a:lnTo>
                    <a:pt x="563" y="1057"/>
                  </a:lnTo>
                  <a:lnTo>
                    <a:pt x="564" y="1059"/>
                  </a:lnTo>
                  <a:lnTo>
                    <a:pt x="568" y="1060"/>
                  </a:lnTo>
                  <a:lnTo>
                    <a:pt x="568" y="1062"/>
                  </a:lnTo>
                  <a:lnTo>
                    <a:pt x="571" y="1064"/>
                  </a:lnTo>
                  <a:lnTo>
                    <a:pt x="573" y="1065"/>
                  </a:lnTo>
                  <a:lnTo>
                    <a:pt x="573" y="1069"/>
                  </a:lnTo>
                  <a:lnTo>
                    <a:pt x="573" y="1070"/>
                  </a:lnTo>
                  <a:lnTo>
                    <a:pt x="571" y="1070"/>
                  </a:lnTo>
                  <a:lnTo>
                    <a:pt x="569" y="1070"/>
                  </a:lnTo>
                  <a:lnTo>
                    <a:pt x="568" y="1072"/>
                  </a:lnTo>
                  <a:lnTo>
                    <a:pt x="566" y="1072"/>
                  </a:lnTo>
                  <a:lnTo>
                    <a:pt x="564" y="1074"/>
                  </a:lnTo>
                  <a:lnTo>
                    <a:pt x="561" y="1077"/>
                  </a:lnTo>
                  <a:lnTo>
                    <a:pt x="559" y="1079"/>
                  </a:lnTo>
                  <a:lnTo>
                    <a:pt x="557" y="1079"/>
                  </a:lnTo>
                  <a:lnTo>
                    <a:pt x="557" y="1081"/>
                  </a:lnTo>
                  <a:lnTo>
                    <a:pt x="556" y="1082"/>
                  </a:lnTo>
                  <a:lnTo>
                    <a:pt x="554" y="1084"/>
                  </a:lnTo>
                  <a:lnTo>
                    <a:pt x="552" y="1086"/>
                  </a:lnTo>
                  <a:lnTo>
                    <a:pt x="551" y="1086"/>
                  </a:lnTo>
                  <a:lnTo>
                    <a:pt x="547" y="1087"/>
                  </a:lnTo>
                  <a:lnTo>
                    <a:pt x="547" y="1089"/>
                  </a:lnTo>
                  <a:lnTo>
                    <a:pt x="546" y="1091"/>
                  </a:lnTo>
                  <a:lnTo>
                    <a:pt x="546" y="1094"/>
                  </a:lnTo>
                  <a:lnTo>
                    <a:pt x="547" y="1096"/>
                  </a:lnTo>
                  <a:lnTo>
                    <a:pt x="547" y="1098"/>
                  </a:lnTo>
                  <a:lnTo>
                    <a:pt x="547" y="1099"/>
                  </a:lnTo>
                  <a:lnTo>
                    <a:pt x="549" y="1101"/>
                  </a:lnTo>
                  <a:lnTo>
                    <a:pt x="547" y="1101"/>
                  </a:lnTo>
                  <a:lnTo>
                    <a:pt x="546" y="1103"/>
                  </a:lnTo>
                  <a:lnTo>
                    <a:pt x="546" y="1104"/>
                  </a:lnTo>
                  <a:lnTo>
                    <a:pt x="544" y="1111"/>
                  </a:lnTo>
                  <a:lnTo>
                    <a:pt x="544" y="1115"/>
                  </a:lnTo>
                  <a:lnTo>
                    <a:pt x="544" y="1116"/>
                  </a:lnTo>
                  <a:lnTo>
                    <a:pt x="546" y="1120"/>
                  </a:lnTo>
                  <a:lnTo>
                    <a:pt x="547" y="1121"/>
                  </a:lnTo>
                  <a:lnTo>
                    <a:pt x="549" y="1123"/>
                  </a:lnTo>
                  <a:lnTo>
                    <a:pt x="556" y="1125"/>
                  </a:lnTo>
                  <a:lnTo>
                    <a:pt x="563" y="1125"/>
                  </a:lnTo>
                  <a:lnTo>
                    <a:pt x="566" y="1125"/>
                  </a:lnTo>
                  <a:lnTo>
                    <a:pt x="568" y="1125"/>
                  </a:lnTo>
                  <a:lnTo>
                    <a:pt x="569" y="1125"/>
                  </a:lnTo>
                  <a:lnTo>
                    <a:pt x="571" y="1125"/>
                  </a:lnTo>
                  <a:lnTo>
                    <a:pt x="573" y="1128"/>
                  </a:lnTo>
                  <a:lnTo>
                    <a:pt x="573" y="1130"/>
                  </a:lnTo>
                  <a:lnTo>
                    <a:pt x="574" y="1130"/>
                  </a:lnTo>
                  <a:lnTo>
                    <a:pt x="576" y="1132"/>
                  </a:lnTo>
                  <a:lnTo>
                    <a:pt x="580" y="1133"/>
                  </a:lnTo>
                  <a:lnTo>
                    <a:pt x="581" y="1135"/>
                  </a:lnTo>
                  <a:lnTo>
                    <a:pt x="583" y="1137"/>
                  </a:lnTo>
                  <a:lnTo>
                    <a:pt x="585" y="1138"/>
                  </a:lnTo>
                  <a:lnTo>
                    <a:pt x="586" y="1138"/>
                  </a:lnTo>
                  <a:lnTo>
                    <a:pt x="588" y="1140"/>
                  </a:lnTo>
                  <a:lnTo>
                    <a:pt x="590" y="1138"/>
                  </a:lnTo>
                  <a:lnTo>
                    <a:pt x="591" y="1140"/>
                  </a:lnTo>
                  <a:lnTo>
                    <a:pt x="595" y="1138"/>
                  </a:lnTo>
                  <a:lnTo>
                    <a:pt x="597" y="1137"/>
                  </a:lnTo>
                  <a:lnTo>
                    <a:pt x="600" y="1135"/>
                  </a:lnTo>
                  <a:lnTo>
                    <a:pt x="600" y="1132"/>
                  </a:lnTo>
                  <a:lnTo>
                    <a:pt x="602" y="1132"/>
                  </a:lnTo>
                  <a:lnTo>
                    <a:pt x="603" y="1130"/>
                  </a:lnTo>
                  <a:lnTo>
                    <a:pt x="605" y="1132"/>
                  </a:lnTo>
                  <a:lnTo>
                    <a:pt x="608" y="1130"/>
                  </a:lnTo>
                  <a:lnTo>
                    <a:pt x="612" y="1128"/>
                  </a:lnTo>
                  <a:lnTo>
                    <a:pt x="614" y="1127"/>
                  </a:lnTo>
                  <a:lnTo>
                    <a:pt x="615" y="1125"/>
                  </a:lnTo>
                  <a:lnTo>
                    <a:pt x="615" y="1123"/>
                  </a:lnTo>
                  <a:lnTo>
                    <a:pt x="619" y="1121"/>
                  </a:lnTo>
                  <a:lnTo>
                    <a:pt x="620" y="1118"/>
                  </a:lnTo>
                  <a:lnTo>
                    <a:pt x="622" y="1115"/>
                  </a:lnTo>
                  <a:lnTo>
                    <a:pt x="625" y="1115"/>
                  </a:lnTo>
                  <a:lnTo>
                    <a:pt x="627" y="1115"/>
                  </a:lnTo>
                  <a:lnTo>
                    <a:pt x="627" y="1113"/>
                  </a:lnTo>
                  <a:lnTo>
                    <a:pt x="627" y="1111"/>
                  </a:lnTo>
                  <a:lnTo>
                    <a:pt x="627" y="1110"/>
                  </a:lnTo>
                  <a:lnTo>
                    <a:pt x="629" y="1108"/>
                  </a:lnTo>
                  <a:lnTo>
                    <a:pt x="627" y="1106"/>
                  </a:lnTo>
                  <a:lnTo>
                    <a:pt x="629" y="1104"/>
                  </a:lnTo>
                  <a:lnTo>
                    <a:pt x="624" y="1096"/>
                  </a:lnTo>
                  <a:lnTo>
                    <a:pt x="622" y="1094"/>
                  </a:lnTo>
                  <a:lnTo>
                    <a:pt x="620" y="1094"/>
                  </a:lnTo>
                  <a:lnTo>
                    <a:pt x="620" y="1093"/>
                  </a:lnTo>
                  <a:lnTo>
                    <a:pt x="620" y="1089"/>
                  </a:lnTo>
                  <a:lnTo>
                    <a:pt x="620" y="1087"/>
                  </a:lnTo>
                  <a:lnTo>
                    <a:pt x="619" y="1087"/>
                  </a:lnTo>
                  <a:lnTo>
                    <a:pt x="617" y="1084"/>
                  </a:lnTo>
                  <a:lnTo>
                    <a:pt x="617" y="1081"/>
                  </a:lnTo>
                  <a:lnTo>
                    <a:pt x="617" y="1079"/>
                  </a:lnTo>
                  <a:lnTo>
                    <a:pt x="617" y="1077"/>
                  </a:lnTo>
                  <a:lnTo>
                    <a:pt x="617" y="1074"/>
                  </a:lnTo>
                  <a:lnTo>
                    <a:pt x="615" y="1072"/>
                  </a:lnTo>
                  <a:lnTo>
                    <a:pt x="614" y="1072"/>
                  </a:lnTo>
                  <a:lnTo>
                    <a:pt x="612" y="1070"/>
                  </a:lnTo>
                  <a:lnTo>
                    <a:pt x="612" y="1069"/>
                  </a:lnTo>
                  <a:lnTo>
                    <a:pt x="610" y="1067"/>
                  </a:lnTo>
                  <a:lnTo>
                    <a:pt x="610" y="1065"/>
                  </a:lnTo>
                  <a:lnTo>
                    <a:pt x="612" y="1064"/>
                  </a:lnTo>
                  <a:lnTo>
                    <a:pt x="612" y="1062"/>
                  </a:lnTo>
                  <a:lnTo>
                    <a:pt x="612" y="1060"/>
                  </a:lnTo>
                  <a:lnTo>
                    <a:pt x="615" y="1062"/>
                  </a:lnTo>
                  <a:lnTo>
                    <a:pt x="614" y="1062"/>
                  </a:lnTo>
                  <a:lnTo>
                    <a:pt x="615" y="1064"/>
                  </a:lnTo>
                  <a:lnTo>
                    <a:pt x="615" y="1060"/>
                  </a:lnTo>
                  <a:lnTo>
                    <a:pt x="617" y="1059"/>
                  </a:lnTo>
                  <a:lnTo>
                    <a:pt x="617" y="1057"/>
                  </a:lnTo>
                  <a:lnTo>
                    <a:pt x="619" y="1055"/>
                  </a:lnTo>
                  <a:lnTo>
                    <a:pt x="620" y="1055"/>
                  </a:lnTo>
                  <a:lnTo>
                    <a:pt x="622" y="1055"/>
                  </a:lnTo>
                  <a:lnTo>
                    <a:pt x="624" y="1053"/>
                  </a:lnTo>
                  <a:lnTo>
                    <a:pt x="624" y="1050"/>
                  </a:lnTo>
                  <a:lnTo>
                    <a:pt x="625" y="1048"/>
                  </a:lnTo>
                  <a:lnTo>
                    <a:pt x="627" y="1048"/>
                  </a:lnTo>
                  <a:lnTo>
                    <a:pt x="625" y="1048"/>
                  </a:lnTo>
                  <a:lnTo>
                    <a:pt x="625" y="1050"/>
                  </a:lnTo>
                  <a:lnTo>
                    <a:pt x="629" y="1048"/>
                  </a:lnTo>
                  <a:lnTo>
                    <a:pt x="631" y="1047"/>
                  </a:lnTo>
                  <a:lnTo>
                    <a:pt x="632" y="1047"/>
                  </a:lnTo>
                  <a:lnTo>
                    <a:pt x="631" y="1045"/>
                  </a:lnTo>
                  <a:lnTo>
                    <a:pt x="629" y="1045"/>
                  </a:lnTo>
                  <a:lnTo>
                    <a:pt x="627" y="1047"/>
                  </a:lnTo>
                  <a:lnTo>
                    <a:pt x="625" y="1047"/>
                  </a:lnTo>
                  <a:lnTo>
                    <a:pt x="625" y="1045"/>
                  </a:lnTo>
                  <a:lnTo>
                    <a:pt x="625" y="1043"/>
                  </a:lnTo>
                  <a:lnTo>
                    <a:pt x="625" y="1041"/>
                  </a:lnTo>
                  <a:lnTo>
                    <a:pt x="624" y="1041"/>
                  </a:lnTo>
                  <a:lnTo>
                    <a:pt x="622" y="1038"/>
                  </a:lnTo>
                  <a:lnTo>
                    <a:pt x="620" y="1036"/>
                  </a:lnTo>
                  <a:lnTo>
                    <a:pt x="619" y="1036"/>
                  </a:lnTo>
                  <a:lnTo>
                    <a:pt x="617" y="1036"/>
                  </a:lnTo>
                  <a:lnTo>
                    <a:pt x="615" y="1036"/>
                  </a:lnTo>
                  <a:lnTo>
                    <a:pt x="617" y="1035"/>
                  </a:lnTo>
                  <a:lnTo>
                    <a:pt x="619" y="1036"/>
                  </a:lnTo>
                  <a:lnTo>
                    <a:pt x="620" y="1036"/>
                  </a:lnTo>
                  <a:lnTo>
                    <a:pt x="622" y="1036"/>
                  </a:lnTo>
                  <a:lnTo>
                    <a:pt x="624" y="1036"/>
                  </a:lnTo>
                  <a:lnTo>
                    <a:pt x="625" y="1036"/>
                  </a:lnTo>
                  <a:lnTo>
                    <a:pt x="627" y="1035"/>
                  </a:lnTo>
                  <a:lnTo>
                    <a:pt x="631" y="1033"/>
                  </a:lnTo>
                  <a:lnTo>
                    <a:pt x="631" y="1031"/>
                  </a:lnTo>
                  <a:lnTo>
                    <a:pt x="636" y="1021"/>
                  </a:lnTo>
                  <a:lnTo>
                    <a:pt x="637" y="1019"/>
                  </a:lnTo>
                  <a:lnTo>
                    <a:pt x="637" y="1016"/>
                  </a:lnTo>
                  <a:lnTo>
                    <a:pt x="642" y="1004"/>
                  </a:lnTo>
                  <a:lnTo>
                    <a:pt x="646" y="994"/>
                  </a:lnTo>
                  <a:lnTo>
                    <a:pt x="646" y="992"/>
                  </a:lnTo>
                  <a:lnTo>
                    <a:pt x="646" y="989"/>
                  </a:lnTo>
                  <a:lnTo>
                    <a:pt x="648" y="984"/>
                  </a:lnTo>
                  <a:lnTo>
                    <a:pt x="648" y="982"/>
                  </a:lnTo>
                  <a:lnTo>
                    <a:pt x="648" y="980"/>
                  </a:lnTo>
                  <a:lnTo>
                    <a:pt x="649" y="977"/>
                  </a:lnTo>
                  <a:lnTo>
                    <a:pt x="649" y="975"/>
                  </a:lnTo>
                  <a:lnTo>
                    <a:pt x="649" y="972"/>
                  </a:lnTo>
                  <a:lnTo>
                    <a:pt x="649" y="970"/>
                  </a:lnTo>
                  <a:lnTo>
                    <a:pt x="649" y="968"/>
                  </a:lnTo>
                  <a:lnTo>
                    <a:pt x="651" y="965"/>
                  </a:lnTo>
                  <a:lnTo>
                    <a:pt x="653" y="963"/>
                  </a:lnTo>
                  <a:lnTo>
                    <a:pt x="656" y="962"/>
                  </a:lnTo>
                  <a:lnTo>
                    <a:pt x="658" y="962"/>
                  </a:lnTo>
                  <a:lnTo>
                    <a:pt x="659" y="960"/>
                  </a:lnTo>
                  <a:lnTo>
                    <a:pt x="661" y="958"/>
                  </a:lnTo>
                  <a:lnTo>
                    <a:pt x="663" y="958"/>
                  </a:lnTo>
                  <a:lnTo>
                    <a:pt x="665" y="956"/>
                  </a:lnTo>
                  <a:lnTo>
                    <a:pt x="668" y="951"/>
                  </a:lnTo>
                  <a:lnTo>
                    <a:pt x="670" y="950"/>
                  </a:lnTo>
                  <a:lnTo>
                    <a:pt x="671" y="948"/>
                  </a:lnTo>
                  <a:lnTo>
                    <a:pt x="671" y="945"/>
                  </a:lnTo>
                  <a:lnTo>
                    <a:pt x="673" y="943"/>
                  </a:lnTo>
                  <a:lnTo>
                    <a:pt x="675" y="943"/>
                  </a:lnTo>
                  <a:lnTo>
                    <a:pt x="673" y="946"/>
                  </a:lnTo>
                  <a:lnTo>
                    <a:pt x="675" y="948"/>
                  </a:lnTo>
                  <a:lnTo>
                    <a:pt x="671" y="950"/>
                  </a:lnTo>
                  <a:lnTo>
                    <a:pt x="673" y="951"/>
                  </a:lnTo>
                  <a:lnTo>
                    <a:pt x="675" y="951"/>
                  </a:lnTo>
                  <a:lnTo>
                    <a:pt x="675" y="948"/>
                  </a:lnTo>
                  <a:lnTo>
                    <a:pt x="676" y="948"/>
                  </a:lnTo>
                  <a:lnTo>
                    <a:pt x="678" y="950"/>
                  </a:lnTo>
                  <a:lnTo>
                    <a:pt x="678" y="948"/>
                  </a:lnTo>
                  <a:lnTo>
                    <a:pt x="680" y="948"/>
                  </a:lnTo>
                  <a:lnTo>
                    <a:pt x="682" y="950"/>
                  </a:lnTo>
                  <a:lnTo>
                    <a:pt x="682" y="951"/>
                  </a:lnTo>
                  <a:lnTo>
                    <a:pt x="680" y="953"/>
                  </a:lnTo>
                  <a:lnTo>
                    <a:pt x="680" y="955"/>
                  </a:lnTo>
                  <a:lnTo>
                    <a:pt x="680" y="956"/>
                  </a:lnTo>
                  <a:lnTo>
                    <a:pt x="682" y="956"/>
                  </a:lnTo>
                  <a:lnTo>
                    <a:pt x="685" y="958"/>
                  </a:lnTo>
                  <a:lnTo>
                    <a:pt x="687" y="956"/>
                  </a:lnTo>
                  <a:lnTo>
                    <a:pt x="687" y="955"/>
                  </a:lnTo>
                  <a:lnTo>
                    <a:pt x="688" y="953"/>
                  </a:lnTo>
                  <a:lnTo>
                    <a:pt x="688" y="951"/>
                  </a:lnTo>
                  <a:lnTo>
                    <a:pt x="688" y="948"/>
                  </a:lnTo>
                  <a:lnTo>
                    <a:pt x="690" y="945"/>
                  </a:lnTo>
                  <a:lnTo>
                    <a:pt x="690" y="943"/>
                  </a:lnTo>
                  <a:lnTo>
                    <a:pt x="688" y="941"/>
                  </a:lnTo>
                  <a:lnTo>
                    <a:pt x="687" y="941"/>
                  </a:lnTo>
                  <a:lnTo>
                    <a:pt x="685" y="941"/>
                  </a:lnTo>
                  <a:lnTo>
                    <a:pt x="683" y="941"/>
                  </a:lnTo>
                  <a:lnTo>
                    <a:pt x="682" y="939"/>
                  </a:lnTo>
                  <a:lnTo>
                    <a:pt x="680" y="938"/>
                  </a:lnTo>
                  <a:lnTo>
                    <a:pt x="678" y="939"/>
                  </a:lnTo>
                  <a:lnTo>
                    <a:pt x="678" y="936"/>
                  </a:lnTo>
                  <a:lnTo>
                    <a:pt x="678" y="938"/>
                  </a:lnTo>
                  <a:lnTo>
                    <a:pt x="676" y="939"/>
                  </a:lnTo>
                  <a:lnTo>
                    <a:pt x="676" y="941"/>
                  </a:lnTo>
                  <a:lnTo>
                    <a:pt x="673" y="941"/>
                  </a:lnTo>
                  <a:lnTo>
                    <a:pt x="675" y="938"/>
                  </a:lnTo>
                  <a:lnTo>
                    <a:pt x="675" y="934"/>
                  </a:lnTo>
                  <a:lnTo>
                    <a:pt x="676" y="931"/>
                  </a:lnTo>
                  <a:lnTo>
                    <a:pt x="678" y="928"/>
                  </a:lnTo>
                  <a:lnTo>
                    <a:pt x="680" y="924"/>
                  </a:lnTo>
                  <a:lnTo>
                    <a:pt x="680" y="922"/>
                  </a:lnTo>
                  <a:lnTo>
                    <a:pt x="682" y="917"/>
                  </a:lnTo>
                  <a:lnTo>
                    <a:pt x="683" y="914"/>
                  </a:lnTo>
                  <a:lnTo>
                    <a:pt x="683" y="912"/>
                  </a:lnTo>
                  <a:lnTo>
                    <a:pt x="685" y="907"/>
                  </a:lnTo>
                  <a:lnTo>
                    <a:pt x="687" y="905"/>
                  </a:lnTo>
                  <a:lnTo>
                    <a:pt x="687" y="904"/>
                  </a:lnTo>
                  <a:lnTo>
                    <a:pt x="690" y="900"/>
                  </a:lnTo>
                  <a:lnTo>
                    <a:pt x="692" y="897"/>
                  </a:lnTo>
                  <a:lnTo>
                    <a:pt x="693" y="895"/>
                  </a:lnTo>
                  <a:lnTo>
                    <a:pt x="695" y="892"/>
                  </a:lnTo>
                  <a:lnTo>
                    <a:pt x="697" y="890"/>
                  </a:lnTo>
                  <a:lnTo>
                    <a:pt x="700" y="887"/>
                  </a:lnTo>
                  <a:lnTo>
                    <a:pt x="702" y="887"/>
                  </a:lnTo>
                  <a:lnTo>
                    <a:pt x="704" y="885"/>
                  </a:lnTo>
                  <a:lnTo>
                    <a:pt x="704" y="883"/>
                  </a:lnTo>
                  <a:lnTo>
                    <a:pt x="705" y="883"/>
                  </a:lnTo>
                  <a:lnTo>
                    <a:pt x="707" y="883"/>
                  </a:lnTo>
                  <a:lnTo>
                    <a:pt x="707" y="885"/>
                  </a:lnTo>
                  <a:lnTo>
                    <a:pt x="705" y="885"/>
                  </a:lnTo>
                  <a:lnTo>
                    <a:pt x="704" y="888"/>
                  </a:lnTo>
                  <a:lnTo>
                    <a:pt x="702" y="890"/>
                  </a:lnTo>
                  <a:lnTo>
                    <a:pt x="700" y="892"/>
                  </a:lnTo>
                  <a:lnTo>
                    <a:pt x="697" y="895"/>
                  </a:lnTo>
                  <a:lnTo>
                    <a:pt x="697" y="897"/>
                  </a:lnTo>
                  <a:lnTo>
                    <a:pt x="695" y="897"/>
                  </a:lnTo>
                  <a:lnTo>
                    <a:pt x="693" y="899"/>
                  </a:lnTo>
                  <a:lnTo>
                    <a:pt x="692" y="902"/>
                  </a:lnTo>
                  <a:lnTo>
                    <a:pt x="690" y="902"/>
                  </a:lnTo>
                  <a:lnTo>
                    <a:pt x="692" y="902"/>
                  </a:lnTo>
                  <a:lnTo>
                    <a:pt x="690" y="905"/>
                  </a:lnTo>
                  <a:lnTo>
                    <a:pt x="693" y="905"/>
                  </a:lnTo>
                  <a:lnTo>
                    <a:pt x="695" y="904"/>
                  </a:lnTo>
                  <a:lnTo>
                    <a:pt x="695" y="905"/>
                  </a:lnTo>
                  <a:lnTo>
                    <a:pt x="695" y="904"/>
                  </a:lnTo>
                  <a:lnTo>
                    <a:pt x="693" y="904"/>
                  </a:lnTo>
                  <a:lnTo>
                    <a:pt x="693" y="902"/>
                  </a:lnTo>
                  <a:lnTo>
                    <a:pt x="695" y="902"/>
                  </a:lnTo>
                  <a:lnTo>
                    <a:pt x="697" y="902"/>
                  </a:lnTo>
                  <a:lnTo>
                    <a:pt x="700" y="900"/>
                  </a:lnTo>
                  <a:lnTo>
                    <a:pt x="702" y="900"/>
                  </a:lnTo>
                  <a:lnTo>
                    <a:pt x="702" y="904"/>
                  </a:lnTo>
                  <a:lnTo>
                    <a:pt x="700" y="905"/>
                  </a:lnTo>
                  <a:lnTo>
                    <a:pt x="702" y="907"/>
                  </a:lnTo>
                  <a:lnTo>
                    <a:pt x="702" y="909"/>
                  </a:lnTo>
                  <a:lnTo>
                    <a:pt x="704" y="911"/>
                  </a:lnTo>
                  <a:lnTo>
                    <a:pt x="704" y="914"/>
                  </a:lnTo>
                  <a:lnTo>
                    <a:pt x="704" y="916"/>
                  </a:lnTo>
                  <a:lnTo>
                    <a:pt x="705" y="917"/>
                  </a:lnTo>
                  <a:lnTo>
                    <a:pt x="705" y="919"/>
                  </a:lnTo>
                  <a:lnTo>
                    <a:pt x="707" y="919"/>
                  </a:lnTo>
                  <a:lnTo>
                    <a:pt x="709" y="919"/>
                  </a:lnTo>
                  <a:lnTo>
                    <a:pt x="712" y="921"/>
                  </a:lnTo>
                  <a:lnTo>
                    <a:pt x="716" y="922"/>
                  </a:lnTo>
                  <a:lnTo>
                    <a:pt x="717" y="926"/>
                  </a:lnTo>
                  <a:lnTo>
                    <a:pt x="719" y="928"/>
                  </a:lnTo>
                  <a:lnTo>
                    <a:pt x="719" y="929"/>
                  </a:lnTo>
                  <a:lnTo>
                    <a:pt x="717" y="931"/>
                  </a:lnTo>
                  <a:lnTo>
                    <a:pt x="719" y="933"/>
                  </a:lnTo>
                  <a:lnTo>
                    <a:pt x="717" y="934"/>
                  </a:lnTo>
                  <a:lnTo>
                    <a:pt x="714" y="933"/>
                  </a:lnTo>
                  <a:lnTo>
                    <a:pt x="712" y="933"/>
                  </a:lnTo>
                  <a:lnTo>
                    <a:pt x="712" y="934"/>
                  </a:lnTo>
                  <a:lnTo>
                    <a:pt x="710" y="933"/>
                  </a:lnTo>
                  <a:lnTo>
                    <a:pt x="712" y="934"/>
                  </a:lnTo>
                  <a:lnTo>
                    <a:pt x="714" y="934"/>
                  </a:lnTo>
                  <a:lnTo>
                    <a:pt x="716" y="936"/>
                  </a:lnTo>
                  <a:lnTo>
                    <a:pt x="712" y="936"/>
                  </a:lnTo>
                  <a:lnTo>
                    <a:pt x="710" y="936"/>
                  </a:lnTo>
                  <a:lnTo>
                    <a:pt x="709" y="936"/>
                  </a:lnTo>
                  <a:lnTo>
                    <a:pt x="709" y="938"/>
                  </a:lnTo>
                  <a:lnTo>
                    <a:pt x="707" y="941"/>
                  </a:lnTo>
                  <a:lnTo>
                    <a:pt x="707" y="943"/>
                  </a:lnTo>
                  <a:lnTo>
                    <a:pt x="707" y="945"/>
                  </a:lnTo>
                  <a:lnTo>
                    <a:pt x="707" y="946"/>
                  </a:lnTo>
                  <a:lnTo>
                    <a:pt x="709" y="948"/>
                  </a:lnTo>
                  <a:lnTo>
                    <a:pt x="709" y="950"/>
                  </a:lnTo>
                  <a:lnTo>
                    <a:pt x="710" y="950"/>
                  </a:lnTo>
                  <a:lnTo>
                    <a:pt x="710" y="948"/>
                  </a:lnTo>
                  <a:lnTo>
                    <a:pt x="712" y="946"/>
                  </a:lnTo>
                  <a:lnTo>
                    <a:pt x="714" y="945"/>
                  </a:lnTo>
                  <a:lnTo>
                    <a:pt x="717" y="943"/>
                  </a:lnTo>
                  <a:lnTo>
                    <a:pt x="717" y="941"/>
                  </a:lnTo>
                  <a:lnTo>
                    <a:pt x="719" y="941"/>
                  </a:lnTo>
                  <a:lnTo>
                    <a:pt x="719" y="939"/>
                  </a:lnTo>
                  <a:lnTo>
                    <a:pt x="721" y="939"/>
                  </a:lnTo>
                  <a:lnTo>
                    <a:pt x="722" y="939"/>
                  </a:lnTo>
                  <a:lnTo>
                    <a:pt x="724" y="939"/>
                  </a:lnTo>
                  <a:lnTo>
                    <a:pt x="724" y="941"/>
                  </a:lnTo>
                  <a:lnTo>
                    <a:pt x="726" y="941"/>
                  </a:lnTo>
                  <a:lnTo>
                    <a:pt x="726" y="938"/>
                  </a:lnTo>
                  <a:lnTo>
                    <a:pt x="727" y="938"/>
                  </a:lnTo>
                  <a:lnTo>
                    <a:pt x="727" y="936"/>
                  </a:lnTo>
                  <a:lnTo>
                    <a:pt x="729" y="938"/>
                  </a:lnTo>
                  <a:lnTo>
                    <a:pt x="727" y="936"/>
                  </a:lnTo>
                  <a:lnTo>
                    <a:pt x="729" y="936"/>
                  </a:lnTo>
                  <a:lnTo>
                    <a:pt x="729" y="934"/>
                  </a:lnTo>
                  <a:lnTo>
                    <a:pt x="731" y="934"/>
                  </a:lnTo>
                  <a:lnTo>
                    <a:pt x="734" y="938"/>
                  </a:lnTo>
                  <a:lnTo>
                    <a:pt x="733" y="933"/>
                  </a:lnTo>
                  <a:lnTo>
                    <a:pt x="734" y="931"/>
                  </a:lnTo>
                  <a:lnTo>
                    <a:pt x="734" y="928"/>
                  </a:lnTo>
                  <a:lnTo>
                    <a:pt x="734" y="926"/>
                  </a:lnTo>
                  <a:lnTo>
                    <a:pt x="734" y="924"/>
                  </a:lnTo>
                  <a:lnTo>
                    <a:pt x="736" y="924"/>
                  </a:lnTo>
                  <a:lnTo>
                    <a:pt x="738" y="926"/>
                  </a:lnTo>
                  <a:lnTo>
                    <a:pt x="739" y="926"/>
                  </a:lnTo>
                  <a:lnTo>
                    <a:pt x="741" y="928"/>
                  </a:lnTo>
                  <a:lnTo>
                    <a:pt x="743" y="929"/>
                  </a:lnTo>
                  <a:lnTo>
                    <a:pt x="746" y="929"/>
                  </a:lnTo>
                  <a:lnTo>
                    <a:pt x="750" y="928"/>
                  </a:lnTo>
                  <a:lnTo>
                    <a:pt x="750" y="929"/>
                  </a:lnTo>
                  <a:lnTo>
                    <a:pt x="750" y="931"/>
                  </a:lnTo>
                  <a:lnTo>
                    <a:pt x="750" y="929"/>
                  </a:lnTo>
                  <a:lnTo>
                    <a:pt x="750" y="926"/>
                  </a:lnTo>
                  <a:lnTo>
                    <a:pt x="748" y="924"/>
                  </a:lnTo>
                  <a:lnTo>
                    <a:pt x="748" y="921"/>
                  </a:lnTo>
                  <a:lnTo>
                    <a:pt x="744" y="919"/>
                  </a:lnTo>
                  <a:lnTo>
                    <a:pt x="743" y="919"/>
                  </a:lnTo>
                  <a:lnTo>
                    <a:pt x="743" y="917"/>
                  </a:lnTo>
                  <a:lnTo>
                    <a:pt x="741" y="916"/>
                  </a:lnTo>
                  <a:lnTo>
                    <a:pt x="741" y="914"/>
                  </a:lnTo>
                  <a:lnTo>
                    <a:pt x="741" y="911"/>
                  </a:lnTo>
                  <a:lnTo>
                    <a:pt x="741" y="909"/>
                  </a:lnTo>
                  <a:lnTo>
                    <a:pt x="741" y="907"/>
                  </a:lnTo>
                  <a:lnTo>
                    <a:pt x="743" y="907"/>
                  </a:lnTo>
                  <a:lnTo>
                    <a:pt x="741" y="907"/>
                  </a:lnTo>
                  <a:lnTo>
                    <a:pt x="741" y="905"/>
                  </a:lnTo>
                  <a:lnTo>
                    <a:pt x="743" y="902"/>
                  </a:lnTo>
                  <a:lnTo>
                    <a:pt x="743" y="900"/>
                  </a:lnTo>
                  <a:lnTo>
                    <a:pt x="743" y="899"/>
                  </a:lnTo>
                  <a:lnTo>
                    <a:pt x="743" y="897"/>
                  </a:lnTo>
                  <a:lnTo>
                    <a:pt x="744" y="893"/>
                  </a:lnTo>
                  <a:lnTo>
                    <a:pt x="748" y="892"/>
                  </a:lnTo>
                  <a:lnTo>
                    <a:pt x="750" y="892"/>
                  </a:lnTo>
                  <a:lnTo>
                    <a:pt x="750" y="890"/>
                  </a:lnTo>
                  <a:lnTo>
                    <a:pt x="750" y="888"/>
                  </a:lnTo>
                  <a:lnTo>
                    <a:pt x="751" y="888"/>
                  </a:lnTo>
                  <a:lnTo>
                    <a:pt x="751" y="885"/>
                  </a:lnTo>
                  <a:lnTo>
                    <a:pt x="751" y="882"/>
                  </a:lnTo>
                  <a:lnTo>
                    <a:pt x="753" y="880"/>
                  </a:lnTo>
                  <a:lnTo>
                    <a:pt x="756" y="880"/>
                  </a:lnTo>
                  <a:lnTo>
                    <a:pt x="758" y="880"/>
                  </a:lnTo>
                  <a:lnTo>
                    <a:pt x="760" y="880"/>
                  </a:lnTo>
                  <a:lnTo>
                    <a:pt x="761" y="880"/>
                  </a:lnTo>
                  <a:lnTo>
                    <a:pt x="761" y="878"/>
                  </a:lnTo>
                  <a:lnTo>
                    <a:pt x="765" y="876"/>
                  </a:lnTo>
                  <a:lnTo>
                    <a:pt x="765" y="875"/>
                  </a:lnTo>
                  <a:lnTo>
                    <a:pt x="767" y="873"/>
                  </a:lnTo>
                  <a:lnTo>
                    <a:pt x="767" y="871"/>
                  </a:lnTo>
                  <a:lnTo>
                    <a:pt x="770" y="871"/>
                  </a:lnTo>
                  <a:lnTo>
                    <a:pt x="773" y="871"/>
                  </a:lnTo>
                  <a:lnTo>
                    <a:pt x="775" y="871"/>
                  </a:lnTo>
                  <a:lnTo>
                    <a:pt x="777" y="871"/>
                  </a:lnTo>
                  <a:lnTo>
                    <a:pt x="780" y="871"/>
                  </a:lnTo>
                  <a:lnTo>
                    <a:pt x="784" y="868"/>
                  </a:lnTo>
                  <a:lnTo>
                    <a:pt x="785" y="866"/>
                  </a:lnTo>
                  <a:lnTo>
                    <a:pt x="785" y="865"/>
                  </a:lnTo>
                  <a:lnTo>
                    <a:pt x="785" y="863"/>
                  </a:lnTo>
                  <a:lnTo>
                    <a:pt x="785" y="859"/>
                  </a:lnTo>
                  <a:lnTo>
                    <a:pt x="784" y="858"/>
                  </a:lnTo>
                  <a:lnTo>
                    <a:pt x="784" y="856"/>
                  </a:lnTo>
                  <a:lnTo>
                    <a:pt x="784" y="853"/>
                  </a:lnTo>
                  <a:lnTo>
                    <a:pt x="784" y="851"/>
                  </a:lnTo>
                  <a:lnTo>
                    <a:pt x="784" y="849"/>
                  </a:lnTo>
                  <a:lnTo>
                    <a:pt x="784" y="848"/>
                  </a:lnTo>
                  <a:lnTo>
                    <a:pt x="780" y="849"/>
                  </a:lnTo>
                  <a:lnTo>
                    <a:pt x="780" y="851"/>
                  </a:lnTo>
                  <a:lnTo>
                    <a:pt x="778" y="853"/>
                  </a:lnTo>
                  <a:lnTo>
                    <a:pt x="778" y="854"/>
                  </a:lnTo>
                  <a:lnTo>
                    <a:pt x="777" y="856"/>
                  </a:lnTo>
                  <a:lnTo>
                    <a:pt x="775" y="858"/>
                  </a:lnTo>
                  <a:lnTo>
                    <a:pt x="775" y="856"/>
                  </a:lnTo>
                  <a:lnTo>
                    <a:pt x="777" y="854"/>
                  </a:lnTo>
                  <a:lnTo>
                    <a:pt x="777" y="853"/>
                  </a:lnTo>
                  <a:lnTo>
                    <a:pt x="780" y="849"/>
                  </a:lnTo>
                  <a:lnTo>
                    <a:pt x="782" y="848"/>
                  </a:lnTo>
                  <a:lnTo>
                    <a:pt x="784" y="846"/>
                  </a:lnTo>
                  <a:lnTo>
                    <a:pt x="785" y="842"/>
                  </a:lnTo>
                  <a:lnTo>
                    <a:pt x="785" y="841"/>
                  </a:lnTo>
                  <a:lnTo>
                    <a:pt x="787" y="841"/>
                  </a:lnTo>
                  <a:lnTo>
                    <a:pt x="787" y="839"/>
                  </a:lnTo>
                  <a:lnTo>
                    <a:pt x="787" y="836"/>
                  </a:lnTo>
                  <a:lnTo>
                    <a:pt x="789" y="834"/>
                  </a:lnTo>
                  <a:lnTo>
                    <a:pt x="790" y="831"/>
                  </a:lnTo>
                  <a:lnTo>
                    <a:pt x="792" y="827"/>
                  </a:lnTo>
                  <a:lnTo>
                    <a:pt x="794" y="825"/>
                  </a:lnTo>
                  <a:lnTo>
                    <a:pt x="794" y="822"/>
                  </a:lnTo>
                  <a:lnTo>
                    <a:pt x="795" y="817"/>
                  </a:lnTo>
                  <a:lnTo>
                    <a:pt x="797" y="815"/>
                  </a:lnTo>
                  <a:lnTo>
                    <a:pt x="799" y="814"/>
                  </a:lnTo>
                  <a:lnTo>
                    <a:pt x="801" y="812"/>
                  </a:lnTo>
                  <a:lnTo>
                    <a:pt x="802" y="810"/>
                  </a:lnTo>
                  <a:lnTo>
                    <a:pt x="804" y="808"/>
                  </a:lnTo>
                  <a:lnTo>
                    <a:pt x="807" y="808"/>
                  </a:lnTo>
                  <a:lnTo>
                    <a:pt x="806" y="810"/>
                  </a:lnTo>
                  <a:lnTo>
                    <a:pt x="804" y="812"/>
                  </a:lnTo>
                  <a:lnTo>
                    <a:pt x="804" y="815"/>
                  </a:lnTo>
                  <a:lnTo>
                    <a:pt x="802" y="817"/>
                  </a:lnTo>
                  <a:lnTo>
                    <a:pt x="806" y="815"/>
                  </a:lnTo>
                  <a:lnTo>
                    <a:pt x="807" y="815"/>
                  </a:lnTo>
                  <a:lnTo>
                    <a:pt x="811" y="815"/>
                  </a:lnTo>
                  <a:lnTo>
                    <a:pt x="812" y="815"/>
                  </a:lnTo>
                  <a:lnTo>
                    <a:pt x="816" y="815"/>
                  </a:lnTo>
                  <a:lnTo>
                    <a:pt x="818" y="815"/>
                  </a:lnTo>
                  <a:lnTo>
                    <a:pt x="819" y="817"/>
                  </a:lnTo>
                  <a:lnTo>
                    <a:pt x="829" y="814"/>
                  </a:lnTo>
                  <a:lnTo>
                    <a:pt x="835" y="812"/>
                  </a:lnTo>
                  <a:lnTo>
                    <a:pt x="836" y="812"/>
                  </a:lnTo>
                  <a:lnTo>
                    <a:pt x="838" y="810"/>
                  </a:lnTo>
                  <a:lnTo>
                    <a:pt x="840" y="808"/>
                  </a:lnTo>
                  <a:lnTo>
                    <a:pt x="841" y="807"/>
                  </a:lnTo>
                  <a:lnTo>
                    <a:pt x="843" y="805"/>
                  </a:lnTo>
                  <a:lnTo>
                    <a:pt x="843" y="803"/>
                  </a:lnTo>
                  <a:lnTo>
                    <a:pt x="845" y="802"/>
                  </a:lnTo>
                  <a:lnTo>
                    <a:pt x="845" y="798"/>
                  </a:lnTo>
                  <a:lnTo>
                    <a:pt x="843" y="795"/>
                  </a:lnTo>
                  <a:lnTo>
                    <a:pt x="843" y="793"/>
                  </a:lnTo>
                  <a:lnTo>
                    <a:pt x="843" y="791"/>
                  </a:lnTo>
                  <a:lnTo>
                    <a:pt x="843" y="790"/>
                  </a:lnTo>
                  <a:lnTo>
                    <a:pt x="841" y="790"/>
                  </a:lnTo>
                  <a:lnTo>
                    <a:pt x="841" y="788"/>
                  </a:lnTo>
                  <a:lnTo>
                    <a:pt x="843" y="786"/>
                  </a:lnTo>
                  <a:lnTo>
                    <a:pt x="845" y="785"/>
                  </a:lnTo>
                  <a:lnTo>
                    <a:pt x="843" y="783"/>
                  </a:lnTo>
                  <a:lnTo>
                    <a:pt x="841" y="783"/>
                  </a:lnTo>
                  <a:lnTo>
                    <a:pt x="841" y="781"/>
                  </a:lnTo>
                  <a:lnTo>
                    <a:pt x="840" y="780"/>
                  </a:lnTo>
                  <a:lnTo>
                    <a:pt x="840" y="778"/>
                  </a:lnTo>
                  <a:lnTo>
                    <a:pt x="838" y="778"/>
                  </a:lnTo>
                  <a:lnTo>
                    <a:pt x="836" y="776"/>
                  </a:lnTo>
                  <a:lnTo>
                    <a:pt x="835" y="774"/>
                  </a:lnTo>
                  <a:lnTo>
                    <a:pt x="833" y="774"/>
                  </a:lnTo>
                  <a:lnTo>
                    <a:pt x="831" y="773"/>
                  </a:lnTo>
                  <a:lnTo>
                    <a:pt x="829" y="773"/>
                  </a:lnTo>
                  <a:lnTo>
                    <a:pt x="828" y="773"/>
                  </a:lnTo>
                  <a:lnTo>
                    <a:pt x="828" y="774"/>
                  </a:lnTo>
                  <a:lnTo>
                    <a:pt x="831" y="776"/>
                  </a:lnTo>
                  <a:lnTo>
                    <a:pt x="829" y="776"/>
                  </a:lnTo>
                  <a:lnTo>
                    <a:pt x="828" y="776"/>
                  </a:lnTo>
                  <a:lnTo>
                    <a:pt x="826" y="776"/>
                  </a:lnTo>
                  <a:lnTo>
                    <a:pt x="823" y="771"/>
                  </a:lnTo>
                  <a:lnTo>
                    <a:pt x="821" y="769"/>
                  </a:lnTo>
                  <a:lnTo>
                    <a:pt x="819" y="769"/>
                  </a:lnTo>
                  <a:lnTo>
                    <a:pt x="814" y="768"/>
                  </a:lnTo>
                  <a:lnTo>
                    <a:pt x="811" y="766"/>
                  </a:lnTo>
                  <a:lnTo>
                    <a:pt x="809" y="766"/>
                  </a:lnTo>
                  <a:lnTo>
                    <a:pt x="807" y="764"/>
                  </a:lnTo>
                  <a:lnTo>
                    <a:pt x="804" y="764"/>
                  </a:lnTo>
                  <a:lnTo>
                    <a:pt x="802" y="763"/>
                  </a:lnTo>
                  <a:lnTo>
                    <a:pt x="801" y="763"/>
                  </a:lnTo>
                  <a:lnTo>
                    <a:pt x="799" y="761"/>
                  </a:lnTo>
                  <a:lnTo>
                    <a:pt x="797" y="761"/>
                  </a:lnTo>
                  <a:lnTo>
                    <a:pt x="797" y="759"/>
                  </a:lnTo>
                  <a:lnTo>
                    <a:pt x="795" y="757"/>
                  </a:lnTo>
                  <a:lnTo>
                    <a:pt x="794" y="756"/>
                  </a:lnTo>
                  <a:lnTo>
                    <a:pt x="794" y="752"/>
                  </a:lnTo>
                  <a:lnTo>
                    <a:pt x="795" y="752"/>
                  </a:lnTo>
                  <a:lnTo>
                    <a:pt x="797" y="751"/>
                  </a:lnTo>
                  <a:lnTo>
                    <a:pt x="801" y="749"/>
                  </a:lnTo>
                  <a:lnTo>
                    <a:pt x="801" y="747"/>
                  </a:lnTo>
                  <a:lnTo>
                    <a:pt x="802" y="746"/>
                  </a:lnTo>
                  <a:lnTo>
                    <a:pt x="801" y="744"/>
                  </a:lnTo>
                  <a:lnTo>
                    <a:pt x="799" y="742"/>
                  </a:lnTo>
                  <a:lnTo>
                    <a:pt x="801" y="742"/>
                  </a:lnTo>
                  <a:lnTo>
                    <a:pt x="801" y="740"/>
                  </a:lnTo>
                  <a:lnTo>
                    <a:pt x="797" y="739"/>
                  </a:lnTo>
                  <a:lnTo>
                    <a:pt x="795" y="737"/>
                  </a:lnTo>
                  <a:lnTo>
                    <a:pt x="795" y="734"/>
                  </a:lnTo>
                  <a:lnTo>
                    <a:pt x="795" y="732"/>
                  </a:lnTo>
                  <a:lnTo>
                    <a:pt x="797" y="732"/>
                  </a:lnTo>
                  <a:lnTo>
                    <a:pt x="799" y="730"/>
                  </a:lnTo>
                  <a:lnTo>
                    <a:pt x="801" y="730"/>
                  </a:lnTo>
                  <a:lnTo>
                    <a:pt x="801" y="727"/>
                  </a:lnTo>
                  <a:lnTo>
                    <a:pt x="802" y="728"/>
                  </a:lnTo>
                  <a:lnTo>
                    <a:pt x="804" y="728"/>
                  </a:lnTo>
                  <a:lnTo>
                    <a:pt x="806" y="727"/>
                  </a:lnTo>
                  <a:lnTo>
                    <a:pt x="809" y="728"/>
                  </a:lnTo>
                  <a:lnTo>
                    <a:pt x="811" y="727"/>
                  </a:lnTo>
                  <a:lnTo>
                    <a:pt x="812" y="727"/>
                  </a:lnTo>
                  <a:lnTo>
                    <a:pt x="814" y="725"/>
                  </a:lnTo>
                  <a:lnTo>
                    <a:pt x="816" y="723"/>
                  </a:lnTo>
                  <a:lnTo>
                    <a:pt x="818" y="722"/>
                  </a:lnTo>
                  <a:lnTo>
                    <a:pt x="819" y="722"/>
                  </a:lnTo>
                  <a:lnTo>
                    <a:pt x="821" y="722"/>
                  </a:lnTo>
                  <a:lnTo>
                    <a:pt x="823" y="720"/>
                  </a:lnTo>
                  <a:lnTo>
                    <a:pt x="824" y="718"/>
                  </a:lnTo>
                  <a:lnTo>
                    <a:pt x="826" y="718"/>
                  </a:lnTo>
                  <a:lnTo>
                    <a:pt x="828" y="717"/>
                  </a:lnTo>
                  <a:lnTo>
                    <a:pt x="829" y="715"/>
                  </a:lnTo>
                  <a:lnTo>
                    <a:pt x="833" y="711"/>
                  </a:lnTo>
                  <a:lnTo>
                    <a:pt x="836" y="710"/>
                  </a:lnTo>
                  <a:lnTo>
                    <a:pt x="838" y="710"/>
                  </a:lnTo>
                  <a:lnTo>
                    <a:pt x="838" y="708"/>
                  </a:lnTo>
                  <a:lnTo>
                    <a:pt x="841" y="706"/>
                  </a:lnTo>
                  <a:lnTo>
                    <a:pt x="843" y="705"/>
                  </a:lnTo>
                  <a:lnTo>
                    <a:pt x="848" y="703"/>
                  </a:lnTo>
                  <a:lnTo>
                    <a:pt x="850" y="703"/>
                  </a:lnTo>
                  <a:lnTo>
                    <a:pt x="852" y="703"/>
                  </a:lnTo>
                  <a:lnTo>
                    <a:pt x="853" y="701"/>
                  </a:lnTo>
                  <a:lnTo>
                    <a:pt x="857" y="700"/>
                  </a:lnTo>
                  <a:lnTo>
                    <a:pt x="858" y="700"/>
                  </a:lnTo>
                  <a:lnTo>
                    <a:pt x="860" y="700"/>
                  </a:lnTo>
                  <a:lnTo>
                    <a:pt x="865" y="698"/>
                  </a:lnTo>
                  <a:lnTo>
                    <a:pt x="867" y="696"/>
                  </a:lnTo>
                  <a:lnTo>
                    <a:pt x="870" y="696"/>
                  </a:lnTo>
                  <a:lnTo>
                    <a:pt x="872" y="694"/>
                  </a:lnTo>
                  <a:lnTo>
                    <a:pt x="877" y="694"/>
                  </a:lnTo>
                  <a:lnTo>
                    <a:pt x="880" y="693"/>
                  </a:lnTo>
                  <a:lnTo>
                    <a:pt x="886" y="693"/>
                  </a:lnTo>
                  <a:lnTo>
                    <a:pt x="889" y="693"/>
                  </a:lnTo>
                  <a:lnTo>
                    <a:pt x="899" y="693"/>
                  </a:lnTo>
                  <a:lnTo>
                    <a:pt x="903" y="694"/>
                  </a:lnTo>
                  <a:lnTo>
                    <a:pt x="901" y="694"/>
                  </a:lnTo>
                  <a:lnTo>
                    <a:pt x="901" y="696"/>
                  </a:lnTo>
                  <a:lnTo>
                    <a:pt x="899" y="696"/>
                  </a:lnTo>
                  <a:lnTo>
                    <a:pt x="901" y="698"/>
                  </a:lnTo>
                  <a:lnTo>
                    <a:pt x="899" y="700"/>
                  </a:lnTo>
                  <a:lnTo>
                    <a:pt x="903" y="698"/>
                  </a:lnTo>
                  <a:lnTo>
                    <a:pt x="904" y="700"/>
                  </a:lnTo>
                  <a:lnTo>
                    <a:pt x="903" y="701"/>
                  </a:lnTo>
                  <a:lnTo>
                    <a:pt x="904" y="703"/>
                  </a:lnTo>
                  <a:lnTo>
                    <a:pt x="906" y="703"/>
                  </a:lnTo>
                  <a:lnTo>
                    <a:pt x="904" y="705"/>
                  </a:lnTo>
                  <a:lnTo>
                    <a:pt x="906" y="705"/>
                  </a:lnTo>
                  <a:lnTo>
                    <a:pt x="908" y="708"/>
                  </a:lnTo>
                  <a:lnTo>
                    <a:pt x="908" y="711"/>
                  </a:lnTo>
                  <a:lnTo>
                    <a:pt x="908" y="713"/>
                  </a:lnTo>
                  <a:lnTo>
                    <a:pt x="909" y="717"/>
                  </a:lnTo>
                  <a:lnTo>
                    <a:pt x="913" y="717"/>
                  </a:lnTo>
                  <a:lnTo>
                    <a:pt x="914" y="718"/>
                  </a:lnTo>
                  <a:lnTo>
                    <a:pt x="914" y="720"/>
                  </a:lnTo>
                  <a:lnTo>
                    <a:pt x="916" y="722"/>
                  </a:lnTo>
                  <a:lnTo>
                    <a:pt x="918" y="720"/>
                  </a:lnTo>
                  <a:lnTo>
                    <a:pt x="920" y="720"/>
                  </a:lnTo>
                  <a:lnTo>
                    <a:pt x="920" y="717"/>
                  </a:lnTo>
                  <a:lnTo>
                    <a:pt x="921" y="717"/>
                  </a:lnTo>
                  <a:lnTo>
                    <a:pt x="923" y="715"/>
                  </a:lnTo>
                  <a:lnTo>
                    <a:pt x="923" y="717"/>
                  </a:lnTo>
                  <a:lnTo>
                    <a:pt x="925" y="717"/>
                  </a:lnTo>
                  <a:lnTo>
                    <a:pt x="926" y="715"/>
                  </a:lnTo>
                  <a:lnTo>
                    <a:pt x="928" y="715"/>
                  </a:lnTo>
                  <a:lnTo>
                    <a:pt x="930" y="715"/>
                  </a:lnTo>
                  <a:lnTo>
                    <a:pt x="930" y="713"/>
                  </a:lnTo>
                  <a:lnTo>
                    <a:pt x="931" y="713"/>
                  </a:lnTo>
                  <a:lnTo>
                    <a:pt x="933" y="711"/>
                  </a:lnTo>
                  <a:lnTo>
                    <a:pt x="935" y="711"/>
                  </a:lnTo>
                  <a:lnTo>
                    <a:pt x="937" y="711"/>
                  </a:lnTo>
                  <a:lnTo>
                    <a:pt x="937" y="713"/>
                  </a:lnTo>
                  <a:lnTo>
                    <a:pt x="938" y="715"/>
                  </a:lnTo>
                  <a:lnTo>
                    <a:pt x="940" y="713"/>
                  </a:lnTo>
                  <a:lnTo>
                    <a:pt x="942" y="713"/>
                  </a:lnTo>
                  <a:lnTo>
                    <a:pt x="942" y="717"/>
                  </a:lnTo>
                  <a:lnTo>
                    <a:pt x="943" y="718"/>
                  </a:lnTo>
                  <a:lnTo>
                    <a:pt x="945" y="717"/>
                  </a:lnTo>
                  <a:lnTo>
                    <a:pt x="948" y="717"/>
                  </a:lnTo>
                  <a:lnTo>
                    <a:pt x="950" y="718"/>
                  </a:lnTo>
                  <a:lnTo>
                    <a:pt x="952" y="717"/>
                  </a:lnTo>
                  <a:lnTo>
                    <a:pt x="953" y="718"/>
                  </a:lnTo>
                  <a:lnTo>
                    <a:pt x="953" y="722"/>
                  </a:lnTo>
                  <a:lnTo>
                    <a:pt x="955" y="723"/>
                  </a:lnTo>
                  <a:lnTo>
                    <a:pt x="953" y="725"/>
                  </a:lnTo>
                  <a:lnTo>
                    <a:pt x="955" y="725"/>
                  </a:lnTo>
                  <a:lnTo>
                    <a:pt x="957" y="727"/>
                  </a:lnTo>
                  <a:lnTo>
                    <a:pt x="955" y="728"/>
                  </a:lnTo>
                  <a:lnTo>
                    <a:pt x="957" y="730"/>
                  </a:lnTo>
                  <a:lnTo>
                    <a:pt x="959" y="732"/>
                  </a:lnTo>
                  <a:lnTo>
                    <a:pt x="959" y="734"/>
                  </a:lnTo>
                  <a:lnTo>
                    <a:pt x="959" y="735"/>
                  </a:lnTo>
                  <a:lnTo>
                    <a:pt x="960" y="737"/>
                  </a:lnTo>
                  <a:lnTo>
                    <a:pt x="962" y="739"/>
                  </a:lnTo>
                  <a:lnTo>
                    <a:pt x="960" y="740"/>
                  </a:lnTo>
                  <a:lnTo>
                    <a:pt x="962" y="742"/>
                  </a:lnTo>
                  <a:lnTo>
                    <a:pt x="964" y="744"/>
                  </a:lnTo>
                  <a:lnTo>
                    <a:pt x="965" y="744"/>
                  </a:lnTo>
                  <a:lnTo>
                    <a:pt x="965" y="746"/>
                  </a:lnTo>
                  <a:lnTo>
                    <a:pt x="967" y="746"/>
                  </a:lnTo>
                  <a:lnTo>
                    <a:pt x="969" y="747"/>
                  </a:lnTo>
                  <a:lnTo>
                    <a:pt x="970" y="747"/>
                  </a:lnTo>
                  <a:lnTo>
                    <a:pt x="970" y="749"/>
                  </a:lnTo>
                  <a:lnTo>
                    <a:pt x="972" y="751"/>
                  </a:lnTo>
                  <a:lnTo>
                    <a:pt x="972" y="752"/>
                  </a:lnTo>
                  <a:lnTo>
                    <a:pt x="974" y="752"/>
                  </a:lnTo>
                  <a:lnTo>
                    <a:pt x="976" y="754"/>
                  </a:lnTo>
                  <a:lnTo>
                    <a:pt x="977" y="756"/>
                  </a:lnTo>
                  <a:lnTo>
                    <a:pt x="981" y="756"/>
                  </a:lnTo>
                  <a:lnTo>
                    <a:pt x="982" y="752"/>
                  </a:lnTo>
                  <a:lnTo>
                    <a:pt x="986" y="751"/>
                  </a:lnTo>
                  <a:lnTo>
                    <a:pt x="987" y="749"/>
                  </a:lnTo>
                  <a:lnTo>
                    <a:pt x="987" y="747"/>
                  </a:lnTo>
                  <a:lnTo>
                    <a:pt x="987" y="746"/>
                  </a:lnTo>
                  <a:lnTo>
                    <a:pt x="987" y="744"/>
                  </a:lnTo>
                  <a:lnTo>
                    <a:pt x="991" y="744"/>
                  </a:lnTo>
                  <a:lnTo>
                    <a:pt x="991" y="742"/>
                  </a:lnTo>
                  <a:lnTo>
                    <a:pt x="993" y="746"/>
                  </a:lnTo>
                  <a:lnTo>
                    <a:pt x="996" y="747"/>
                  </a:lnTo>
                  <a:lnTo>
                    <a:pt x="998" y="751"/>
                  </a:lnTo>
                  <a:lnTo>
                    <a:pt x="999" y="751"/>
                  </a:lnTo>
                  <a:lnTo>
                    <a:pt x="1003" y="749"/>
                  </a:lnTo>
                  <a:lnTo>
                    <a:pt x="1004" y="749"/>
                  </a:lnTo>
                  <a:lnTo>
                    <a:pt x="1008" y="752"/>
                  </a:lnTo>
                  <a:lnTo>
                    <a:pt x="1008" y="756"/>
                  </a:lnTo>
                  <a:lnTo>
                    <a:pt x="1003" y="757"/>
                  </a:lnTo>
                  <a:lnTo>
                    <a:pt x="1004" y="759"/>
                  </a:lnTo>
                  <a:lnTo>
                    <a:pt x="1001" y="759"/>
                  </a:lnTo>
                  <a:lnTo>
                    <a:pt x="1001" y="763"/>
                  </a:lnTo>
                  <a:lnTo>
                    <a:pt x="1003" y="764"/>
                  </a:lnTo>
                  <a:lnTo>
                    <a:pt x="1004" y="766"/>
                  </a:lnTo>
                  <a:lnTo>
                    <a:pt x="1008" y="768"/>
                  </a:lnTo>
                  <a:lnTo>
                    <a:pt x="1010" y="763"/>
                  </a:lnTo>
                  <a:lnTo>
                    <a:pt x="1015" y="766"/>
                  </a:lnTo>
                  <a:lnTo>
                    <a:pt x="1018" y="771"/>
                  </a:lnTo>
                  <a:lnTo>
                    <a:pt x="1015" y="774"/>
                  </a:lnTo>
                  <a:lnTo>
                    <a:pt x="1015" y="776"/>
                  </a:lnTo>
                  <a:lnTo>
                    <a:pt x="1013" y="778"/>
                  </a:lnTo>
                  <a:lnTo>
                    <a:pt x="1013" y="780"/>
                  </a:lnTo>
                  <a:lnTo>
                    <a:pt x="1016" y="780"/>
                  </a:lnTo>
                  <a:lnTo>
                    <a:pt x="1015" y="781"/>
                  </a:lnTo>
                  <a:lnTo>
                    <a:pt x="1016" y="783"/>
                  </a:lnTo>
                  <a:lnTo>
                    <a:pt x="1015" y="786"/>
                  </a:lnTo>
                  <a:lnTo>
                    <a:pt x="1016" y="788"/>
                  </a:lnTo>
                  <a:lnTo>
                    <a:pt x="1015" y="793"/>
                  </a:lnTo>
                  <a:lnTo>
                    <a:pt x="1015" y="800"/>
                  </a:lnTo>
                  <a:lnTo>
                    <a:pt x="1015" y="802"/>
                  </a:lnTo>
                  <a:lnTo>
                    <a:pt x="1018" y="803"/>
                  </a:lnTo>
                  <a:lnTo>
                    <a:pt x="1018" y="807"/>
                  </a:lnTo>
                  <a:lnTo>
                    <a:pt x="1018" y="808"/>
                  </a:lnTo>
                  <a:lnTo>
                    <a:pt x="1020" y="810"/>
                  </a:lnTo>
                  <a:lnTo>
                    <a:pt x="1021" y="812"/>
                  </a:lnTo>
                  <a:lnTo>
                    <a:pt x="1025" y="814"/>
                  </a:lnTo>
                  <a:lnTo>
                    <a:pt x="1025" y="815"/>
                  </a:lnTo>
                  <a:lnTo>
                    <a:pt x="1025" y="820"/>
                  </a:lnTo>
                  <a:lnTo>
                    <a:pt x="1023" y="820"/>
                  </a:lnTo>
                  <a:lnTo>
                    <a:pt x="1025" y="822"/>
                  </a:lnTo>
                  <a:lnTo>
                    <a:pt x="1021" y="827"/>
                  </a:lnTo>
                  <a:lnTo>
                    <a:pt x="1020" y="829"/>
                  </a:lnTo>
                  <a:lnTo>
                    <a:pt x="1018" y="832"/>
                  </a:lnTo>
                  <a:lnTo>
                    <a:pt x="1020" y="832"/>
                  </a:lnTo>
                  <a:lnTo>
                    <a:pt x="1021" y="834"/>
                  </a:lnTo>
                  <a:lnTo>
                    <a:pt x="1020" y="837"/>
                  </a:lnTo>
                  <a:lnTo>
                    <a:pt x="1018" y="841"/>
                  </a:lnTo>
                  <a:lnTo>
                    <a:pt x="1020" y="844"/>
                  </a:lnTo>
                  <a:lnTo>
                    <a:pt x="1018" y="846"/>
                  </a:lnTo>
                  <a:lnTo>
                    <a:pt x="1016" y="848"/>
                  </a:lnTo>
                  <a:lnTo>
                    <a:pt x="1016" y="854"/>
                  </a:lnTo>
                  <a:lnTo>
                    <a:pt x="1016" y="856"/>
                  </a:lnTo>
                  <a:lnTo>
                    <a:pt x="1016" y="858"/>
                  </a:lnTo>
                  <a:lnTo>
                    <a:pt x="1015" y="865"/>
                  </a:lnTo>
                  <a:lnTo>
                    <a:pt x="1013" y="870"/>
                  </a:lnTo>
                  <a:lnTo>
                    <a:pt x="1011" y="870"/>
                  </a:lnTo>
                  <a:lnTo>
                    <a:pt x="1011" y="871"/>
                  </a:lnTo>
                  <a:lnTo>
                    <a:pt x="1011" y="875"/>
                  </a:lnTo>
                  <a:lnTo>
                    <a:pt x="1013" y="882"/>
                  </a:lnTo>
                  <a:lnTo>
                    <a:pt x="1016" y="883"/>
                  </a:lnTo>
                  <a:lnTo>
                    <a:pt x="1020" y="885"/>
                  </a:lnTo>
                  <a:lnTo>
                    <a:pt x="1020" y="887"/>
                  </a:lnTo>
                  <a:lnTo>
                    <a:pt x="1018" y="887"/>
                  </a:lnTo>
                  <a:lnTo>
                    <a:pt x="1015" y="888"/>
                  </a:lnTo>
                  <a:lnTo>
                    <a:pt x="1016" y="892"/>
                  </a:lnTo>
                  <a:lnTo>
                    <a:pt x="1020" y="902"/>
                  </a:lnTo>
                  <a:lnTo>
                    <a:pt x="1018" y="902"/>
                  </a:lnTo>
                  <a:lnTo>
                    <a:pt x="1020" y="905"/>
                  </a:lnTo>
                  <a:lnTo>
                    <a:pt x="1020" y="909"/>
                  </a:lnTo>
                  <a:lnTo>
                    <a:pt x="1023" y="907"/>
                  </a:lnTo>
                  <a:lnTo>
                    <a:pt x="1025" y="914"/>
                  </a:lnTo>
                  <a:lnTo>
                    <a:pt x="1027" y="914"/>
                  </a:lnTo>
                  <a:lnTo>
                    <a:pt x="1028" y="916"/>
                  </a:lnTo>
                  <a:lnTo>
                    <a:pt x="1023" y="919"/>
                  </a:lnTo>
                  <a:lnTo>
                    <a:pt x="1021" y="924"/>
                  </a:lnTo>
                  <a:lnTo>
                    <a:pt x="1020" y="931"/>
                  </a:lnTo>
                  <a:lnTo>
                    <a:pt x="1018" y="934"/>
                  </a:lnTo>
                  <a:lnTo>
                    <a:pt x="1016" y="939"/>
                  </a:lnTo>
                  <a:lnTo>
                    <a:pt x="1016" y="941"/>
                  </a:lnTo>
                  <a:lnTo>
                    <a:pt x="1015" y="945"/>
                  </a:lnTo>
                  <a:lnTo>
                    <a:pt x="1016" y="948"/>
                  </a:lnTo>
                  <a:lnTo>
                    <a:pt x="1015" y="951"/>
                  </a:lnTo>
                  <a:lnTo>
                    <a:pt x="1016" y="953"/>
                  </a:lnTo>
                  <a:lnTo>
                    <a:pt x="1016" y="960"/>
                  </a:lnTo>
                  <a:lnTo>
                    <a:pt x="1018" y="965"/>
                  </a:lnTo>
                  <a:lnTo>
                    <a:pt x="1020" y="968"/>
                  </a:lnTo>
                  <a:lnTo>
                    <a:pt x="1018" y="972"/>
                  </a:lnTo>
                  <a:lnTo>
                    <a:pt x="1020" y="975"/>
                  </a:lnTo>
                  <a:lnTo>
                    <a:pt x="1020" y="977"/>
                  </a:lnTo>
                  <a:lnTo>
                    <a:pt x="1023" y="975"/>
                  </a:lnTo>
                  <a:lnTo>
                    <a:pt x="1025" y="977"/>
                  </a:lnTo>
                  <a:lnTo>
                    <a:pt x="1025" y="980"/>
                  </a:lnTo>
                  <a:lnTo>
                    <a:pt x="1025" y="982"/>
                  </a:lnTo>
                  <a:lnTo>
                    <a:pt x="1025" y="984"/>
                  </a:lnTo>
                  <a:lnTo>
                    <a:pt x="1025" y="985"/>
                  </a:lnTo>
                  <a:lnTo>
                    <a:pt x="1023" y="985"/>
                  </a:lnTo>
                  <a:lnTo>
                    <a:pt x="1023" y="989"/>
                  </a:lnTo>
                  <a:lnTo>
                    <a:pt x="1025" y="992"/>
                  </a:lnTo>
                  <a:lnTo>
                    <a:pt x="1025" y="994"/>
                  </a:lnTo>
                  <a:lnTo>
                    <a:pt x="1025" y="997"/>
                  </a:lnTo>
                  <a:lnTo>
                    <a:pt x="1023" y="1001"/>
                  </a:lnTo>
                  <a:lnTo>
                    <a:pt x="1025" y="1007"/>
                  </a:lnTo>
                  <a:lnTo>
                    <a:pt x="1021" y="1011"/>
                  </a:lnTo>
                  <a:lnTo>
                    <a:pt x="1016" y="1009"/>
                  </a:lnTo>
                  <a:lnTo>
                    <a:pt x="1013" y="1009"/>
                  </a:lnTo>
                  <a:lnTo>
                    <a:pt x="1011" y="1009"/>
                  </a:lnTo>
                  <a:lnTo>
                    <a:pt x="1008" y="1006"/>
                  </a:lnTo>
                  <a:lnTo>
                    <a:pt x="1006" y="1007"/>
                  </a:lnTo>
                  <a:lnTo>
                    <a:pt x="1006" y="1009"/>
                  </a:lnTo>
                  <a:lnTo>
                    <a:pt x="1003" y="1013"/>
                  </a:lnTo>
                  <a:lnTo>
                    <a:pt x="1001" y="1014"/>
                  </a:lnTo>
                  <a:lnTo>
                    <a:pt x="1001" y="1016"/>
                  </a:lnTo>
                  <a:lnTo>
                    <a:pt x="1003" y="1019"/>
                  </a:lnTo>
                  <a:lnTo>
                    <a:pt x="1004" y="1021"/>
                  </a:lnTo>
                  <a:lnTo>
                    <a:pt x="1003" y="1023"/>
                  </a:lnTo>
                  <a:lnTo>
                    <a:pt x="1003" y="1024"/>
                  </a:lnTo>
                  <a:lnTo>
                    <a:pt x="1001" y="1028"/>
                  </a:lnTo>
                  <a:lnTo>
                    <a:pt x="1003" y="1031"/>
                  </a:lnTo>
                  <a:lnTo>
                    <a:pt x="1003" y="1035"/>
                  </a:lnTo>
                  <a:lnTo>
                    <a:pt x="1006" y="1041"/>
                  </a:lnTo>
                  <a:lnTo>
                    <a:pt x="1008" y="1040"/>
                  </a:lnTo>
                  <a:lnTo>
                    <a:pt x="1011" y="1040"/>
                  </a:lnTo>
                  <a:lnTo>
                    <a:pt x="1015" y="1043"/>
                  </a:lnTo>
                  <a:lnTo>
                    <a:pt x="1016" y="1053"/>
                  </a:lnTo>
                  <a:lnTo>
                    <a:pt x="1016" y="1055"/>
                  </a:lnTo>
                  <a:lnTo>
                    <a:pt x="1020" y="1055"/>
                  </a:lnTo>
                  <a:lnTo>
                    <a:pt x="1021" y="1059"/>
                  </a:lnTo>
                  <a:lnTo>
                    <a:pt x="1023" y="1064"/>
                  </a:lnTo>
                  <a:lnTo>
                    <a:pt x="1025" y="1067"/>
                  </a:lnTo>
                  <a:lnTo>
                    <a:pt x="1027" y="1069"/>
                  </a:lnTo>
                  <a:lnTo>
                    <a:pt x="1030" y="1069"/>
                  </a:lnTo>
                  <a:lnTo>
                    <a:pt x="1033" y="1070"/>
                  </a:lnTo>
                  <a:lnTo>
                    <a:pt x="1037" y="1069"/>
                  </a:lnTo>
                  <a:lnTo>
                    <a:pt x="1040" y="1070"/>
                  </a:lnTo>
                  <a:lnTo>
                    <a:pt x="1042" y="1077"/>
                  </a:lnTo>
                  <a:lnTo>
                    <a:pt x="1044" y="1081"/>
                  </a:lnTo>
                  <a:lnTo>
                    <a:pt x="1042" y="1086"/>
                  </a:lnTo>
                  <a:lnTo>
                    <a:pt x="1045" y="1089"/>
                  </a:lnTo>
                  <a:lnTo>
                    <a:pt x="1047" y="1094"/>
                  </a:lnTo>
                  <a:lnTo>
                    <a:pt x="1049" y="1098"/>
                  </a:lnTo>
                  <a:lnTo>
                    <a:pt x="1052" y="1101"/>
                  </a:lnTo>
                  <a:lnTo>
                    <a:pt x="1055" y="1108"/>
                  </a:lnTo>
                  <a:lnTo>
                    <a:pt x="1059" y="1116"/>
                  </a:lnTo>
                  <a:lnTo>
                    <a:pt x="1059" y="1120"/>
                  </a:lnTo>
                  <a:lnTo>
                    <a:pt x="1061" y="1120"/>
                  </a:lnTo>
                  <a:lnTo>
                    <a:pt x="1064" y="1123"/>
                  </a:lnTo>
                  <a:lnTo>
                    <a:pt x="1066" y="1125"/>
                  </a:lnTo>
                  <a:lnTo>
                    <a:pt x="1067" y="1132"/>
                  </a:lnTo>
                  <a:lnTo>
                    <a:pt x="1071" y="1133"/>
                  </a:lnTo>
                  <a:lnTo>
                    <a:pt x="1071" y="1135"/>
                  </a:lnTo>
                  <a:lnTo>
                    <a:pt x="1071" y="1137"/>
                  </a:lnTo>
                  <a:lnTo>
                    <a:pt x="1071" y="1138"/>
                  </a:lnTo>
                  <a:lnTo>
                    <a:pt x="1072" y="1140"/>
                  </a:lnTo>
                  <a:lnTo>
                    <a:pt x="1074" y="1144"/>
                  </a:lnTo>
                  <a:lnTo>
                    <a:pt x="1078" y="1144"/>
                  </a:lnTo>
                  <a:lnTo>
                    <a:pt x="1079" y="1144"/>
                  </a:lnTo>
                  <a:lnTo>
                    <a:pt x="1081" y="1142"/>
                  </a:lnTo>
                  <a:lnTo>
                    <a:pt x="1083" y="1142"/>
                  </a:lnTo>
                  <a:lnTo>
                    <a:pt x="1086" y="1144"/>
                  </a:lnTo>
                  <a:lnTo>
                    <a:pt x="1086" y="1145"/>
                  </a:lnTo>
                  <a:lnTo>
                    <a:pt x="1088" y="1149"/>
                  </a:lnTo>
                  <a:lnTo>
                    <a:pt x="1089" y="1152"/>
                  </a:lnTo>
                  <a:lnTo>
                    <a:pt x="1091" y="1155"/>
                  </a:lnTo>
                  <a:lnTo>
                    <a:pt x="1095" y="1157"/>
                  </a:lnTo>
                  <a:lnTo>
                    <a:pt x="1096" y="1159"/>
                  </a:lnTo>
                  <a:lnTo>
                    <a:pt x="1098" y="1159"/>
                  </a:lnTo>
                  <a:lnTo>
                    <a:pt x="1100" y="1162"/>
                  </a:lnTo>
                  <a:lnTo>
                    <a:pt x="1103" y="1161"/>
                  </a:lnTo>
                  <a:lnTo>
                    <a:pt x="1106" y="1159"/>
                  </a:lnTo>
                  <a:lnTo>
                    <a:pt x="1110" y="1167"/>
                  </a:lnTo>
                  <a:lnTo>
                    <a:pt x="1113" y="1174"/>
                  </a:lnTo>
                  <a:lnTo>
                    <a:pt x="1113" y="1176"/>
                  </a:lnTo>
                  <a:lnTo>
                    <a:pt x="1117" y="1181"/>
                  </a:lnTo>
                  <a:lnTo>
                    <a:pt x="1118" y="1186"/>
                  </a:lnTo>
                  <a:lnTo>
                    <a:pt x="1120" y="1188"/>
                  </a:lnTo>
                  <a:lnTo>
                    <a:pt x="1122" y="1189"/>
                  </a:lnTo>
                  <a:lnTo>
                    <a:pt x="1125" y="1193"/>
                  </a:lnTo>
                  <a:lnTo>
                    <a:pt x="1127" y="1193"/>
                  </a:lnTo>
                  <a:lnTo>
                    <a:pt x="1129" y="1195"/>
                  </a:lnTo>
                  <a:lnTo>
                    <a:pt x="1129" y="1198"/>
                  </a:lnTo>
                  <a:lnTo>
                    <a:pt x="1129" y="1200"/>
                  </a:lnTo>
                  <a:lnTo>
                    <a:pt x="1130" y="1205"/>
                  </a:lnTo>
                  <a:lnTo>
                    <a:pt x="1132" y="1206"/>
                  </a:lnTo>
                  <a:lnTo>
                    <a:pt x="1135" y="1206"/>
                  </a:lnTo>
                  <a:lnTo>
                    <a:pt x="1137" y="1208"/>
                  </a:lnTo>
                  <a:lnTo>
                    <a:pt x="1137" y="1212"/>
                  </a:lnTo>
                  <a:lnTo>
                    <a:pt x="1139" y="1213"/>
                  </a:lnTo>
                  <a:lnTo>
                    <a:pt x="1140" y="1215"/>
                  </a:lnTo>
                  <a:lnTo>
                    <a:pt x="1144" y="1215"/>
                  </a:lnTo>
                  <a:lnTo>
                    <a:pt x="1144" y="1217"/>
                  </a:lnTo>
                  <a:lnTo>
                    <a:pt x="1146" y="1218"/>
                  </a:lnTo>
                  <a:lnTo>
                    <a:pt x="1147" y="1220"/>
                  </a:lnTo>
                  <a:lnTo>
                    <a:pt x="1149" y="1220"/>
                  </a:lnTo>
                  <a:lnTo>
                    <a:pt x="1151" y="1222"/>
                  </a:lnTo>
                  <a:lnTo>
                    <a:pt x="1151" y="1224"/>
                  </a:lnTo>
                  <a:lnTo>
                    <a:pt x="1152" y="1225"/>
                  </a:lnTo>
                  <a:lnTo>
                    <a:pt x="1154" y="1227"/>
                  </a:lnTo>
                  <a:lnTo>
                    <a:pt x="1152" y="1229"/>
                  </a:lnTo>
                  <a:lnTo>
                    <a:pt x="1152" y="1230"/>
                  </a:lnTo>
                  <a:lnTo>
                    <a:pt x="1154" y="1232"/>
                  </a:lnTo>
                  <a:lnTo>
                    <a:pt x="1154" y="1234"/>
                  </a:lnTo>
                  <a:lnTo>
                    <a:pt x="1154" y="1235"/>
                  </a:lnTo>
                  <a:lnTo>
                    <a:pt x="1156" y="1237"/>
                  </a:lnTo>
                  <a:lnTo>
                    <a:pt x="1157" y="1239"/>
                  </a:lnTo>
                  <a:lnTo>
                    <a:pt x="1161" y="1242"/>
                  </a:lnTo>
                  <a:lnTo>
                    <a:pt x="1163" y="1244"/>
                  </a:lnTo>
                  <a:lnTo>
                    <a:pt x="1164" y="1244"/>
                  </a:lnTo>
                  <a:lnTo>
                    <a:pt x="1166" y="1246"/>
                  </a:lnTo>
                  <a:lnTo>
                    <a:pt x="1168" y="1246"/>
                  </a:lnTo>
                  <a:lnTo>
                    <a:pt x="1168" y="1247"/>
                  </a:lnTo>
                  <a:lnTo>
                    <a:pt x="1171" y="1249"/>
                  </a:lnTo>
                  <a:lnTo>
                    <a:pt x="1171" y="1251"/>
                  </a:lnTo>
                  <a:lnTo>
                    <a:pt x="1173" y="1252"/>
                  </a:lnTo>
                  <a:lnTo>
                    <a:pt x="1176" y="1251"/>
                  </a:lnTo>
                  <a:lnTo>
                    <a:pt x="1180" y="1256"/>
                  </a:lnTo>
                  <a:lnTo>
                    <a:pt x="1181" y="1258"/>
                  </a:lnTo>
                  <a:lnTo>
                    <a:pt x="1183" y="1263"/>
                  </a:lnTo>
                  <a:lnTo>
                    <a:pt x="1185" y="1263"/>
                  </a:lnTo>
                  <a:lnTo>
                    <a:pt x="1186" y="1266"/>
                  </a:lnTo>
                  <a:lnTo>
                    <a:pt x="1188" y="1269"/>
                  </a:lnTo>
                  <a:lnTo>
                    <a:pt x="1188" y="1271"/>
                  </a:lnTo>
                  <a:lnTo>
                    <a:pt x="1190" y="1273"/>
                  </a:lnTo>
                  <a:lnTo>
                    <a:pt x="1191" y="1275"/>
                  </a:lnTo>
                  <a:lnTo>
                    <a:pt x="1191" y="1276"/>
                  </a:lnTo>
                  <a:lnTo>
                    <a:pt x="1190" y="1280"/>
                  </a:lnTo>
                  <a:lnTo>
                    <a:pt x="1191" y="1283"/>
                  </a:lnTo>
                  <a:lnTo>
                    <a:pt x="1191" y="1285"/>
                  </a:lnTo>
                  <a:lnTo>
                    <a:pt x="1193" y="1286"/>
                  </a:lnTo>
                  <a:lnTo>
                    <a:pt x="1193" y="1290"/>
                  </a:lnTo>
                  <a:lnTo>
                    <a:pt x="1195" y="1292"/>
                  </a:lnTo>
                  <a:lnTo>
                    <a:pt x="1197" y="1293"/>
                  </a:lnTo>
                  <a:lnTo>
                    <a:pt x="1198" y="1295"/>
                  </a:lnTo>
                  <a:lnTo>
                    <a:pt x="1198" y="1297"/>
                  </a:lnTo>
                  <a:lnTo>
                    <a:pt x="1200" y="1298"/>
                  </a:lnTo>
                  <a:lnTo>
                    <a:pt x="1200" y="1300"/>
                  </a:lnTo>
                  <a:lnTo>
                    <a:pt x="1205" y="1312"/>
                  </a:lnTo>
                  <a:lnTo>
                    <a:pt x="1205" y="1314"/>
                  </a:lnTo>
                  <a:lnTo>
                    <a:pt x="1205" y="1315"/>
                  </a:lnTo>
                  <a:lnTo>
                    <a:pt x="1207" y="1315"/>
                  </a:lnTo>
                  <a:lnTo>
                    <a:pt x="1208" y="1319"/>
                  </a:lnTo>
                  <a:lnTo>
                    <a:pt x="1203" y="1320"/>
                  </a:lnTo>
                  <a:lnTo>
                    <a:pt x="1207" y="1326"/>
                  </a:lnTo>
                  <a:lnTo>
                    <a:pt x="1203" y="1327"/>
                  </a:lnTo>
                  <a:lnTo>
                    <a:pt x="1207" y="1339"/>
                  </a:lnTo>
                  <a:lnTo>
                    <a:pt x="1203" y="1341"/>
                  </a:lnTo>
                  <a:lnTo>
                    <a:pt x="1210" y="1356"/>
                  </a:lnTo>
                  <a:lnTo>
                    <a:pt x="1214" y="1354"/>
                  </a:lnTo>
                  <a:lnTo>
                    <a:pt x="1217" y="1354"/>
                  </a:lnTo>
                  <a:lnTo>
                    <a:pt x="1219" y="1356"/>
                  </a:lnTo>
                  <a:lnTo>
                    <a:pt x="1222" y="1358"/>
                  </a:lnTo>
                  <a:lnTo>
                    <a:pt x="1225" y="1360"/>
                  </a:lnTo>
                  <a:lnTo>
                    <a:pt x="1229" y="1360"/>
                  </a:lnTo>
                  <a:lnTo>
                    <a:pt x="1231" y="1360"/>
                  </a:lnTo>
                  <a:lnTo>
                    <a:pt x="1232" y="1360"/>
                  </a:lnTo>
                  <a:lnTo>
                    <a:pt x="1237" y="1356"/>
                  </a:lnTo>
                  <a:lnTo>
                    <a:pt x="1241" y="1356"/>
                  </a:lnTo>
                  <a:lnTo>
                    <a:pt x="1242" y="1356"/>
                  </a:lnTo>
                  <a:lnTo>
                    <a:pt x="1248" y="1354"/>
                  </a:lnTo>
                  <a:lnTo>
                    <a:pt x="1251" y="1365"/>
                  </a:lnTo>
                  <a:lnTo>
                    <a:pt x="1256" y="1365"/>
                  </a:lnTo>
                  <a:lnTo>
                    <a:pt x="1258" y="1370"/>
                  </a:lnTo>
                  <a:lnTo>
                    <a:pt x="1256" y="1372"/>
                  </a:lnTo>
                  <a:lnTo>
                    <a:pt x="1261" y="1378"/>
                  </a:lnTo>
                  <a:lnTo>
                    <a:pt x="1263" y="1377"/>
                  </a:lnTo>
                  <a:lnTo>
                    <a:pt x="1266" y="1380"/>
                  </a:lnTo>
                  <a:lnTo>
                    <a:pt x="1268" y="1377"/>
                  </a:lnTo>
                  <a:lnTo>
                    <a:pt x="1270" y="1377"/>
                  </a:lnTo>
                  <a:lnTo>
                    <a:pt x="1271" y="1377"/>
                  </a:lnTo>
                  <a:lnTo>
                    <a:pt x="1271" y="1375"/>
                  </a:lnTo>
                  <a:lnTo>
                    <a:pt x="1273" y="1373"/>
                  </a:lnTo>
                  <a:lnTo>
                    <a:pt x="1275" y="1377"/>
                  </a:lnTo>
                  <a:lnTo>
                    <a:pt x="1278" y="1382"/>
                  </a:lnTo>
                  <a:lnTo>
                    <a:pt x="1280" y="1382"/>
                  </a:lnTo>
                  <a:lnTo>
                    <a:pt x="1285" y="1385"/>
                  </a:lnTo>
                  <a:lnTo>
                    <a:pt x="1285" y="1390"/>
                  </a:lnTo>
                  <a:lnTo>
                    <a:pt x="1283" y="1392"/>
                  </a:lnTo>
                  <a:lnTo>
                    <a:pt x="1283" y="1394"/>
                  </a:lnTo>
                  <a:lnTo>
                    <a:pt x="1285" y="1395"/>
                  </a:lnTo>
                  <a:lnTo>
                    <a:pt x="1287" y="1397"/>
                  </a:lnTo>
                  <a:lnTo>
                    <a:pt x="1285" y="1399"/>
                  </a:lnTo>
                  <a:lnTo>
                    <a:pt x="1287" y="1402"/>
                  </a:lnTo>
                  <a:lnTo>
                    <a:pt x="1283" y="1404"/>
                  </a:lnTo>
                  <a:lnTo>
                    <a:pt x="1285" y="1406"/>
                  </a:lnTo>
                  <a:lnTo>
                    <a:pt x="1278" y="1409"/>
                  </a:lnTo>
                  <a:lnTo>
                    <a:pt x="1280" y="1411"/>
                  </a:lnTo>
                  <a:lnTo>
                    <a:pt x="1278" y="1412"/>
                  </a:lnTo>
                  <a:lnTo>
                    <a:pt x="1280" y="1414"/>
                  </a:lnTo>
                  <a:lnTo>
                    <a:pt x="1278" y="1414"/>
                  </a:lnTo>
                  <a:lnTo>
                    <a:pt x="1280" y="1417"/>
                  </a:lnTo>
                  <a:lnTo>
                    <a:pt x="1278" y="1417"/>
                  </a:lnTo>
                  <a:lnTo>
                    <a:pt x="1280" y="1419"/>
                  </a:lnTo>
                  <a:lnTo>
                    <a:pt x="1280" y="1421"/>
                  </a:lnTo>
                  <a:lnTo>
                    <a:pt x="1278" y="1424"/>
                  </a:lnTo>
                  <a:lnTo>
                    <a:pt x="1282" y="1426"/>
                  </a:lnTo>
                  <a:lnTo>
                    <a:pt x="1282" y="1428"/>
                  </a:lnTo>
                  <a:lnTo>
                    <a:pt x="1280" y="1428"/>
                  </a:lnTo>
                  <a:lnTo>
                    <a:pt x="1280" y="1429"/>
                  </a:lnTo>
                  <a:lnTo>
                    <a:pt x="1280" y="1431"/>
                  </a:lnTo>
                  <a:lnTo>
                    <a:pt x="1282" y="1431"/>
                  </a:lnTo>
                  <a:lnTo>
                    <a:pt x="1283" y="1431"/>
                  </a:lnTo>
                  <a:lnTo>
                    <a:pt x="1285" y="1433"/>
                  </a:lnTo>
                  <a:lnTo>
                    <a:pt x="1287" y="1434"/>
                  </a:lnTo>
                  <a:lnTo>
                    <a:pt x="1288" y="1434"/>
                  </a:lnTo>
                  <a:lnTo>
                    <a:pt x="1290" y="1434"/>
                  </a:lnTo>
                  <a:lnTo>
                    <a:pt x="1292" y="1436"/>
                  </a:lnTo>
                  <a:lnTo>
                    <a:pt x="1297" y="1434"/>
                  </a:lnTo>
                  <a:lnTo>
                    <a:pt x="1300" y="1440"/>
                  </a:lnTo>
                  <a:lnTo>
                    <a:pt x="1300" y="1441"/>
                  </a:lnTo>
                  <a:lnTo>
                    <a:pt x="1299" y="1441"/>
                  </a:lnTo>
                  <a:lnTo>
                    <a:pt x="1299" y="1448"/>
                  </a:lnTo>
                  <a:lnTo>
                    <a:pt x="1299" y="1457"/>
                  </a:lnTo>
                  <a:lnTo>
                    <a:pt x="1297" y="1458"/>
                  </a:lnTo>
                  <a:lnTo>
                    <a:pt x="1295" y="1457"/>
                  </a:lnTo>
                  <a:lnTo>
                    <a:pt x="1293" y="1455"/>
                  </a:lnTo>
                  <a:lnTo>
                    <a:pt x="1292" y="1453"/>
                  </a:lnTo>
                  <a:lnTo>
                    <a:pt x="1285" y="1458"/>
                  </a:lnTo>
                  <a:lnTo>
                    <a:pt x="1283" y="1460"/>
                  </a:lnTo>
                  <a:lnTo>
                    <a:pt x="1282" y="1460"/>
                  </a:lnTo>
                  <a:lnTo>
                    <a:pt x="1282" y="1462"/>
                  </a:lnTo>
                  <a:lnTo>
                    <a:pt x="1283" y="1463"/>
                  </a:lnTo>
                  <a:lnTo>
                    <a:pt x="1283" y="1465"/>
                  </a:lnTo>
                  <a:lnTo>
                    <a:pt x="1285" y="1465"/>
                  </a:lnTo>
                  <a:lnTo>
                    <a:pt x="1285" y="1467"/>
                  </a:lnTo>
                  <a:lnTo>
                    <a:pt x="1283" y="1465"/>
                  </a:lnTo>
                  <a:lnTo>
                    <a:pt x="1282" y="1467"/>
                  </a:lnTo>
                  <a:lnTo>
                    <a:pt x="1283" y="1468"/>
                  </a:lnTo>
                  <a:lnTo>
                    <a:pt x="1283" y="1470"/>
                  </a:lnTo>
                  <a:lnTo>
                    <a:pt x="1283" y="1472"/>
                  </a:lnTo>
                  <a:lnTo>
                    <a:pt x="1285" y="1475"/>
                  </a:lnTo>
                  <a:lnTo>
                    <a:pt x="1287" y="1474"/>
                  </a:lnTo>
                  <a:lnTo>
                    <a:pt x="1292" y="1484"/>
                  </a:lnTo>
                  <a:lnTo>
                    <a:pt x="1293" y="1484"/>
                  </a:lnTo>
                  <a:lnTo>
                    <a:pt x="1293" y="1485"/>
                  </a:lnTo>
                  <a:lnTo>
                    <a:pt x="1295" y="1485"/>
                  </a:lnTo>
                  <a:lnTo>
                    <a:pt x="1297" y="1487"/>
                  </a:lnTo>
                  <a:lnTo>
                    <a:pt x="1299" y="1485"/>
                  </a:lnTo>
                  <a:lnTo>
                    <a:pt x="1299" y="1487"/>
                  </a:lnTo>
                  <a:lnTo>
                    <a:pt x="1297" y="1489"/>
                  </a:lnTo>
                  <a:lnTo>
                    <a:pt x="1299" y="1491"/>
                  </a:lnTo>
                  <a:lnTo>
                    <a:pt x="1300" y="1489"/>
                  </a:lnTo>
                  <a:lnTo>
                    <a:pt x="1302" y="1492"/>
                  </a:lnTo>
                  <a:lnTo>
                    <a:pt x="1305" y="1491"/>
                  </a:lnTo>
                  <a:lnTo>
                    <a:pt x="1304" y="1494"/>
                  </a:lnTo>
                  <a:lnTo>
                    <a:pt x="1305" y="1492"/>
                  </a:lnTo>
                  <a:lnTo>
                    <a:pt x="1307" y="1496"/>
                  </a:lnTo>
                  <a:lnTo>
                    <a:pt x="1307" y="1497"/>
                  </a:lnTo>
                  <a:lnTo>
                    <a:pt x="1305" y="1499"/>
                  </a:lnTo>
                  <a:lnTo>
                    <a:pt x="1304" y="1499"/>
                  </a:lnTo>
                  <a:lnTo>
                    <a:pt x="1305" y="1497"/>
                  </a:lnTo>
                  <a:lnTo>
                    <a:pt x="1305" y="1496"/>
                  </a:lnTo>
                  <a:lnTo>
                    <a:pt x="1304" y="1497"/>
                  </a:lnTo>
                  <a:lnTo>
                    <a:pt x="1304" y="1499"/>
                  </a:lnTo>
                  <a:lnTo>
                    <a:pt x="1302" y="1499"/>
                  </a:lnTo>
                  <a:lnTo>
                    <a:pt x="1300" y="1499"/>
                  </a:lnTo>
                  <a:lnTo>
                    <a:pt x="1302" y="1501"/>
                  </a:lnTo>
                  <a:lnTo>
                    <a:pt x="1300" y="1502"/>
                  </a:lnTo>
                  <a:lnTo>
                    <a:pt x="1302" y="1504"/>
                  </a:lnTo>
                  <a:lnTo>
                    <a:pt x="1304" y="1506"/>
                  </a:lnTo>
                  <a:lnTo>
                    <a:pt x="1300" y="1506"/>
                  </a:lnTo>
                  <a:lnTo>
                    <a:pt x="1302" y="1508"/>
                  </a:lnTo>
                  <a:lnTo>
                    <a:pt x="1302" y="1509"/>
                  </a:lnTo>
                  <a:lnTo>
                    <a:pt x="1300" y="1509"/>
                  </a:lnTo>
                  <a:lnTo>
                    <a:pt x="1299" y="1511"/>
                  </a:lnTo>
                  <a:lnTo>
                    <a:pt x="1302" y="1513"/>
                  </a:lnTo>
                  <a:lnTo>
                    <a:pt x="1300" y="1514"/>
                  </a:lnTo>
                  <a:lnTo>
                    <a:pt x="1299" y="1514"/>
                  </a:lnTo>
                  <a:lnTo>
                    <a:pt x="1299" y="1516"/>
                  </a:lnTo>
                  <a:lnTo>
                    <a:pt x="1295" y="1518"/>
                  </a:lnTo>
                  <a:lnTo>
                    <a:pt x="1292" y="1516"/>
                  </a:lnTo>
                  <a:lnTo>
                    <a:pt x="1292" y="1518"/>
                  </a:lnTo>
                  <a:lnTo>
                    <a:pt x="1290" y="1518"/>
                  </a:lnTo>
                  <a:lnTo>
                    <a:pt x="1290" y="1519"/>
                  </a:lnTo>
                  <a:lnTo>
                    <a:pt x="1290" y="1521"/>
                  </a:lnTo>
                  <a:lnTo>
                    <a:pt x="1290" y="1523"/>
                  </a:lnTo>
                  <a:lnTo>
                    <a:pt x="1290" y="1525"/>
                  </a:lnTo>
                  <a:lnTo>
                    <a:pt x="1290" y="1526"/>
                  </a:lnTo>
                  <a:lnTo>
                    <a:pt x="1292" y="1526"/>
                  </a:lnTo>
                  <a:lnTo>
                    <a:pt x="1293" y="1528"/>
                  </a:lnTo>
                  <a:lnTo>
                    <a:pt x="1295" y="1530"/>
                  </a:lnTo>
                  <a:lnTo>
                    <a:pt x="1297" y="1530"/>
                  </a:lnTo>
                  <a:lnTo>
                    <a:pt x="1300" y="1531"/>
                  </a:lnTo>
                  <a:lnTo>
                    <a:pt x="1300" y="1533"/>
                  </a:lnTo>
                  <a:lnTo>
                    <a:pt x="1302" y="1533"/>
                  </a:lnTo>
                  <a:lnTo>
                    <a:pt x="1304" y="1531"/>
                  </a:lnTo>
                  <a:lnTo>
                    <a:pt x="1305" y="1535"/>
                  </a:lnTo>
                  <a:lnTo>
                    <a:pt x="1304" y="1537"/>
                  </a:lnTo>
                  <a:lnTo>
                    <a:pt x="1304" y="1538"/>
                  </a:lnTo>
                  <a:lnTo>
                    <a:pt x="1305" y="1537"/>
                  </a:lnTo>
                  <a:lnTo>
                    <a:pt x="1307" y="1537"/>
                  </a:lnTo>
                  <a:lnTo>
                    <a:pt x="1309" y="1538"/>
                  </a:lnTo>
                  <a:lnTo>
                    <a:pt x="1307" y="1538"/>
                  </a:lnTo>
                  <a:lnTo>
                    <a:pt x="1309" y="1542"/>
                  </a:lnTo>
                  <a:lnTo>
                    <a:pt x="1310" y="1545"/>
                  </a:lnTo>
                  <a:lnTo>
                    <a:pt x="1312" y="1547"/>
                  </a:lnTo>
                  <a:lnTo>
                    <a:pt x="1312" y="1550"/>
                  </a:lnTo>
                  <a:lnTo>
                    <a:pt x="1314" y="1552"/>
                  </a:lnTo>
                  <a:lnTo>
                    <a:pt x="1316" y="1550"/>
                  </a:lnTo>
                  <a:lnTo>
                    <a:pt x="1317" y="1550"/>
                  </a:lnTo>
                  <a:lnTo>
                    <a:pt x="1321" y="1552"/>
                  </a:lnTo>
                  <a:lnTo>
                    <a:pt x="1321" y="1555"/>
                  </a:lnTo>
                  <a:lnTo>
                    <a:pt x="1322" y="1555"/>
                  </a:lnTo>
                  <a:lnTo>
                    <a:pt x="1324" y="1557"/>
                  </a:lnTo>
                  <a:lnTo>
                    <a:pt x="1326" y="1557"/>
                  </a:lnTo>
                  <a:lnTo>
                    <a:pt x="1327" y="1559"/>
                  </a:lnTo>
                  <a:lnTo>
                    <a:pt x="1329" y="1562"/>
                  </a:lnTo>
                  <a:lnTo>
                    <a:pt x="1331" y="1562"/>
                  </a:lnTo>
                  <a:lnTo>
                    <a:pt x="1334" y="1560"/>
                  </a:lnTo>
                  <a:lnTo>
                    <a:pt x="1336" y="1559"/>
                  </a:lnTo>
                  <a:lnTo>
                    <a:pt x="1334" y="1555"/>
                  </a:lnTo>
                  <a:lnTo>
                    <a:pt x="1336" y="1555"/>
                  </a:lnTo>
                  <a:lnTo>
                    <a:pt x="1338" y="1554"/>
                  </a:lnTo>
                  <a:lnTo>
                    <a:pt x="1339" y="1554"/>
                  </a:lnTo>
                  <a:lnTo>
                    <a:pt x="1341" y="1550"/>
                  </a:lnTo>
                  <a:lnTo>
                    <a:pt x="1343" y="1550"/>
                  </a:lnTo>
                  <a:lnTo>
                    <a:pt x="1343" y="1552"/>
                  </a:lnTo>
                  <a:lnTo>
                    <a:pt x="1344" y="1552"/>
                  </a:lnTo>
                  <a:lnTo>
                    <a:pt x="1348" y="1548"/>
                  </a:lnTo>
                  <a:lnTo>
                    <a:pt x="1348" y="1545"/>
                  </a:lnTo>
                  <a:lnTo>
                    <a:pt x="1350" y="1543"/>
                  </a:lnTo>
                  <a:lnTo>
                    <a:pt x="1351" y="1545"/>
                  </a:lnTo>
                  <a:lnTo>
                    <a:pt x="1353" y="1543"/>
                  </a:lnTo>
                  <a:lnTo>
                    <a:pt x="1355" y="1543"/>
                  </a:lnTo>
                  <a:lnTo>
                    <a:pt x="1356" y="1543"/>
                  </a:lnTo>
                  <a:lnTo>
                    <a:pt x="1356" y="1540"/>
                  </a:lnTo>
                  <a:lnTo>
                    <a:pt x="1358" y="1543"/>
                  </a:lnTo>
                  <a:lnTo>
                    <a:pt x="1360" y="1542"/>
                  </a:lnTo>
                  <a:lnTo>
                    <a:pt x="1360" y="1540"/>
                  </a:lnTo>
                  <a:lnTo>
                    <a:pt x="1358" y="1538"/>
                  </a:lnTo>
                  <a:lnTo>
                    <a:pt x="1360" y="1538"/>
                  </a:lnTo>
                  <a:lnTo>
                    <a:pt x="1360" y="1537"/>
                  </a:lnTo>
                  <a:lnTo>
                    <a:pt x="1360" y="1533"/>
                  </a:lnTo>
                  <a:lnTo>
                    <a:pt x="1361" y="1533"/>
                  </a:lnTo>
                  <a:lnTo>
                    <a:pt x="1365" y="1533"/>
                  </a:lnTo>
                  <a:lnTo>
                    <a:pt x="1368" y="1531"/>
                  </a:lnTo>
                  <a:lnTo>
                    <a:pt x="1370" y="1533"/>
                  </a:lnTo>
                  <a:lnTo>
                    <a:pt x="1372" y="1531"/>
                  </a:lnTo>
                  <a:lnTo>
                    <a:pt x="1373" y="1531"/>
                  </a:lnTo>
                  <a:lnTo>
                    <a:pt x="1375" y="1530"/>
                  </a:lnTo>
                  <a:lnTo>
                    <a:pt x="1377" y="1531"/>
                  </a:lnTo>
                  <a:lnTo>
                    <a:pt x="1377" y="1530"/>
                  </a:lnTo>
                  <a:lnTo>
                    <a:pt x="1377" y="1528"/>
                  </a:lnTo>
                  <a:lnTo>
                    <a:pt x="1377" y="1525"/>
                  </a:lnTo>
                  <a:lnTo>
                    <a:pt x="1377" y="1523"/>
                  </a:lnTo>
                  <a:lnTo>
                    <a:pt x="1375" y="1523"/>
                  </a:lnTo>
                  <a:lnTo>
                    <a:pt x="1375" y="1521"/>
                  </a:lnTo>
                  <a:lnTo>
                    <a:pt x="1377" y="1521"/>
                  </a:lnTo>
                  <a:lnTo>
                    <a:pt x="1378" y="1519"/>
                  </a:lnTo>
                  <a:lnTo>
                    <a:pt x="1380" y="1519"/>
                  </a:lnTo>
                  <a:lnTo>
                    <a:pt x="1384" y="1518"/>
                  </a:lnTo>
                  <a:lnTo>
                    <a:pt x="1382" y="1516"/>
                  </a:lnTo>
                  <a:lnTo>
                    <a:pt x="1384" y="1514"/>
                  </a:lnTo>
                  <a:lnTo>
                    <a:pt x="1385" y="1516"/>
                  </a:lnTo>
                  <a:lnTo>
                    <a:pt x="1387" y="1516"/>
                  </a:lnTo>
                  <a:lnTo>
                    <a:pt x="1387" y="1518"/>
                  </a:lnTo>
                  <a:lnTo>
                    <a:pt x="1389" y="1521"/>
                  </a:lnTo>
                  <a:lnTo>
                    <a:pt x="1389" y="1523"/>
                  </a:lnTo>
                  <a:lnTo>
                    <a:pt x="1385" y="1525"/>
                  </a:lnTo>
                  <a:lnTo>
                    <a:pt x="1389" y="1526"/>
                  </a:lnTo>
                  <a:lnTo>
                    <a:pt x="1390" y="1528"/>
                  </a:lnTo>
                  <a:lnTo>
                    <a:pt x="1392" y="1530"/>
                  </a:lnTo>
                  <a:lnTo>
                    <a:pt x="1392" y="1531"/>
                  </a:lnTo>
                  <a:lnTo>
                    <a:pt x="1392" y="1533"/>
                  </a:lnTo>
                  <a:lnTo>
                    <a:pt x="1395" y="1533"/>
                  </a:lnTo>
                  <a:lnTo>
                    <a:pt x="1395" y="1537"/>
                  </a:lnTo>
                  <a:lnTo>
                    <a:pt x="1394" y="1538"/>
                  </a:lnTo>
                  <a:lnTo>
                    <a:pt x="1395" y="1540"/>
                  </a:lnTo>
                  <a:lnTo>
                    <a:pt x="1399" y="1537"/>
                  </a:lnTo>
                  <a:lnTo>
                    <a:pt x="1402" y="1537"/>
                  </a:lnTo>
                  <a:lnTo>
                    <a:pt x="1402" y="1540"/>
                  </a:lnTo>
                  <a:lnTo>
                    <a:pt x="1404" y="1540"/>
                  </a:lnTo>
                  <a:lnTo>
                    <a:pt x="1406" y="1542"/>
                  </a:lnTo>
                  <a:lnTo>
                    <a:pt x="1407" y="1543"/>
                  </a:lnTo>
                  <a:lnTo>
                    <a:pt x="1407" y="1545"/>
                  </a:lnTo>
                  <a:lnTo>
                    <a:pt x="1407" y="1547"/>
                  </a:lnTo>
                  <a:lnTo>
                    <a:pt x="1406" y="1547"/>
                  </a:lnTo>
                  <a:lnTo>
                    <a:pt x="1407" y="1548"/>
                  </a:lnTo>
                  <a:lnTo>
                    <a:pt x="1409" y="1547"/>
                  </a:lnTo>
                  <a:lnTo>
                    <a:pt x="1409" y="1543"/>
                  </a:lnTo>
                  <a:lnTo>
                    <a:pt x="1409" y="1542"/>
                  </a:lnTo>
                  <a:lnTo>
                    <a:pt x="1409" y="1540"/>
                  </a:lnTo>
                  <a:lnTo>
                    <a:pt x="1411" y="1538"/>
                  </a:lnTo>
                  <a:lnTo>
                    <a:pt x="1412" y="1540"/>
                  </a:lnTo>
                  <a:lnTo>
                    <a:pt x="1412" y="1542"/>
                  </a:lnTo>
                  <a:lnTo>
                    <a:pt x="1416" y="1540"/>
                  </a:lnTo>
                  <a:lnTo>
                    <a:pt x="1416" y="1537"/>
                  </a:lnTo>
                  <a:lnTo>
                    <a:pt x="1419" y="1537"/>
                  </a:lnTo>
                  <a:lnTo>
                    <a:pt x="1421" y="1538"/>
                  </a:lnTo>
                  <a:lnTo>
                    <a:pt x="1419" y="1542"/>
                  </a:lnTo>
                  <a:lnTo>
                    <a:pt x="1421" y="1543"/>
                  </a:lnTo>
                  <a:lnTo>
                    <a:pt x="1419" y="1545"/>
                  </a:lnTo>
                  <a:lnTo>
                    <a:pt x="1419" y="1547"/>
                  </a:lnTo>
                  <a:lnTo>
                    <a:pt x="1418" y="1547"/>
                  </a:lnTo>
                  <a:lnTo>
                    <a:pt x="1419" y="1548"/>
                  </a:lnTo>
                  <a:lnTo>
                    <a:pt x="1418" y="1548"/>
                  </a:lnTo>
                  <a:lnTo>
                    <a:pt x="1416" y="1548"/>
                  </a:lnTo>
                  <a:lnTo>
                    <a:pt x="1416" y="1550"/>
                  </a:lnTo>
                  <a:lnTo>
                    <a:pt x="1414" y="1550"/>
                  </a:lnTo>
                  <a:lnTo>
                    <a:pt x="1412" y="1554"/>
                  </a:lnTo>
                  <a:lnTo>
                    <a:pt x="1411" y="1555"/>
                  </a:lnTo>
                  <a:lnTo>
                    <a:pt x="1412" y="1557"/>
                  </a:lnTo>
                  <a:lnTo>
                    <a:pt x="1411" y="1560"/>
                  </a:lnTo>
                  <a:lnTo>
                    <a:pt x="1414" y="1560"/>
                  </a:lnTo>
                  <a:lnTo>
                    <a:pt x="1416" y="1562"/>
                  </a:lnTo>
                  <a:lnTo>
                    <a:pt x="1416" y="1564"/>
                  </a:lnTo>
                  <a:lnTo>
                    <a:pt x="1414" y="1564"/>
                  </a:lnTo>
                  <a:lnTo>
                    <a:pt x="1414" y="1565"/>
                  </a:lnTo>
                  <a:lnTo>
                    <a:pt x="1414" y="1567"/>
                  </a:lnTo>
                  <a:lnTo>
                    <a:pt x="1414" y="1569"/>
                  </a:lnTo>
                  <a:lnTo>
                    <a:pt x="1412" y="1571"/>
                  </a:lnTo>
                  <a:lnTo>
                    <a:pt x="1414" y="1571"/>
                  </a:lnTo>
                  <a:lnTo>
                    <a:pt x="1412" y="1572"/>
                  </a:lnTo>
                  <a:lnTo>
                    <a:pt x="1411" y="1569"/>
                  </a:lnTo>
                  <a:lnTo>
                    <a:pt x="1407" y="1571"/>
                  </a:lnTo>
                  <a:lnTo>
                    <a:pt x="1406" y="1572"/>
                  </a:lnTo>
                  <a:lnTo>
                    <a:pt x="1407" y="1574"/>
                  </a:lnTo>
                  <a:lnTo>
                    <a:pt x="1411" y="1571"/>
                  </a:lnTo>
                  <a:lnTo>
                    <a:pt x="1411" y="1572"/>
                  </a:lnTo>
                  <a:lnTo>
                    <a:pt x="1404" y="1577"/>
                  </a:lnTo>
                  <a:lnTo>
                    <a:pt x="1406" y="1581"/>
                  </a:lnTo>
                  <a:lnTo>
                    <a:pt x="1409" y="1579"/>
                  </a:lnTo>
                  <a:lnTo>
                    <a:pt x="1411" y="1582"/>
                  </a:lnTo>
                  <a:lnTo>
                    <a:pt x="1411" y="1586"/>
                  </a:lnTo>
                  <a:lnTo>
                    <a:pt x="1407" y="1584"/>
                  </a:lnTo>
                  <a:lnTo>
                    <a:pt x="1407" y="1586"/>
                  </a:lnTo>
                  <a:lnTo>
                    <a:pt x="1406" y="1584"/>
                  </a:lnTo>
                  <a:lnTo>
                    <a:pt x="1404" y="1586"/>
                  </a:lnTo>
                  <a:lnTo>
                    <a:pt x="1406" y="1588"/>
                  </a:lnTo>
                  <a:lnTo>
                    <a:pt x="1407" y="1588"/>
                  </a:lnTo>
                  <a:lnTo>
                    <a:pt x="1411" y="1586"/>
                  </a:lnTo>
                  <a:lnTo>
                    <a:pt x="1412" y="1586"/>
                  </a:lnTo>
                  <a:lnTo>
                    <a:pt x="1414" y="1588"/>
                  </a:lnTo>
                  <a:lnTo>
                    <a:pt x="1416" y="1588"/>
                  </a:lnTo>
                  <a:lnTo>
                    <a:pt x="1418" y="1588"/>
                  </a:lnTo>
                  <a:lnTo>
                    <a:pt x="1418" y="1589"/>
                  </a:lnTo>
                  <a:lnTo>
                    <a:pt x="1418" y="1591"/>
                  </a:lnTo>
                  <a:lnTo>
                    <a:pt x="1418" y="1593"/>
                  </a:lnTo>
                  <a:lnTo>
                    <a:pt x="1418" y="1594"/>
                  </a:lnTo>
                  <a:lnTo>
                    <a:pt x="1416" y="1596"/>
                  </a:lnTo>
                  <a:lnTo>
                    <a:pt x="1414" y="1598"/>
                  </a:lnTo>
                  <a:lnTo>
                    <a:pt x="1412" y="1598"/>
                  </a:lnTo>
                  <a:lnTo>
                    <a:pt x="1411" y="1599"/>
                  </a:lnTo>
                  <a:lnTo>
                    <a:pt x="1411" y="1598"/>
                  </a:lnTo>
                  <a:lnTo>
                    <a:pt x="1411" y="1596"/>
                  </a:lnTo>
                  <a:lnTo>
                    <a:pt x="1409" y="1598"/>
                  </a:lnTo>
                  <a:lnTo>
                    <a:pt x="1409" y="1599"/>
                  </a:lnTo>
                  <a:lnTo>
                    <a:pt x="1406" y="1599"/>
                  </a:lnTo>
                  <a:lnTo>
                    <a:pt x="1404" y="1596"/>
                  </a:lnTo>
                  <a:lnTo>
                    <a:pt x="1404" y="1598"/>
                  </a:lnTo>
                  <a:lnTo>
                    <a:pt x="1402" y="1596"/>
                  </a:lnTo>
                  <a:lnTo>
                    <a:pt x="1401" y="1596"/>
                  </a:lnTo>
                  <a:lnTo>
                    <a:pt x="1401" y="1594"/>
                  </a:lnTo>
                  <a:lnTo>
                    <a:pt x="1399" y="1594"/>
                  </a:lnTo>
                  <a:lnTo>
                    <a:pt x="1397" y="1594"/>
                  </a:lnTo>
                  <a:lnTo>
                    <a:pt x="1395" y="1594"/>
                  </a:lnTo>
                  <a:lnTo>
                    <a:pt x="1394" y="1596"/>
                  </a:lnTo>
                  <a:lnTo>
                    <a:pt x="1394" y="1598"/>
                  </a:lnTo>
                  <a:lnTo>
                    <a:pt x="1394" y="1599"/>
                  </a:lnTo>
                  <a:lnTo>
                    <a:pt x="1392" y="1599"/>
                  </a:lnTo>
                  <a:lnTo>
                    <a:pt x="1392" y="1601"/>
                  </a:lnTo>
                  <a:lnTo>
                    <a:pt x="1394" y="1603"/>
                  </a:lnTo>
                  <a:lnTo>
                    <a:pt x="1395" y="1603"/>
                  </a:lnTo>
                  <a:lnTo>
                    <a:pt x="1395" y="1601"/>
                  </a:lnTo>
                  <a:lnTo>
                    <a:pt x="1397" y="1601"/>
                  </a:lnTo>
                  <a:lnTo>
                    <a:pt x="1395" y="1603"/>
                  </a:lnTo>
                  <a:lnTo>
                    <a:pt x="1399" y="1605"/>
                  </a:lnTo>
                  <a:lnTo>
                    <a:pt x="1397" y="1606"/>
                  </a:lnTo>
                  <a:lnTo>
                    <a:pt x="1397" y="1608"/>
                  </a:lnTo>
                  <a:lnTo>
                    <a:pt x="1397" y="1610"/>
                  </a:lnTo>
                  <a:lnTo>
                    <a:pt x="1399" y="1608"/>
                  </a:lnTo>
                  <a:lnTo>
                    <a:pt x="1401" y="1610"/>
                  </a:lnTo>
                  <a:lnTo>
                    <a:pt x="1399" y="1613"/>
                  </a:lnTo>
                  <a:lnTo>
                    <a:pt x="1399" y="1615"/>
                  </a:lnTo>
                  <a:lnTo>
                    <a:pt x="1397" y="1615"/>
                  </a:lnTo>
                  <a:lnTo>
                    <a:pt x="1395" y="1616"/>
                  </a:lnTo>
                  <a:lnTo>
                    <a:pt x="1394" y="1615"/>
                  </a:lnTo>
                  <a:lnTo>
                    <a:pt x="1394" y="1613"/>
                  </a:lnTo>
                  <a:lnTo>
                    <a:pt x="1395" y="1611"/>
                  </a:lnTo>
                  <a:lnTo>
                    <a:pt x="1394" y="1610"/>
                  </a:lnTo>
                  <a:lnTo>
                    <a:pt x="1394" y="1608"/>
                  </a:lnTo>
                  <a:lnTo>
                    <a:pt x="1392" y="1606"/>
                  </a:lnTo>
                  <a:lnTo>
                    <a:pt x="1389" y="1605"/>
                  </a:lnTo>
                  <a:lnTo>
                    <a:pt x="1389" y="1603"/>
                  </a:lnTo>
                  <a:lnTo>
                    <a:pt x="1387" y="1603"/>
                  </a:lnTo>
                  <a:lnTo>
                    <a:pt x="1387" y="1601"/>
                  </a:lnTo>
                  <a:lnTo>
                    <a:pt x="1390" y="1596"/>
                  </a:lnTo>
                  <a:lnTo>
                    <a:pt x="1389" y="1596"/>
                  </a:lnTo>
                  <a:lnTo>
                    <a:pt x="1387" y="1596"/>
                  </a:lnTo>
                  <a:lnTo>
                    <a:pt x="1385" y="1596"/>
                  </a:lnTo>
                  <a:lnTo>
                    <a:pt x="1382" y="1594"/>
                  </a:lnTo>
                  <a:lnTo>
                    <a:pt x="1380" y="1596"/>
                  </a:lnTo>
                  <a:lnTo>
                    <a:pt x="1378" y="1596"/>
                  </a:lnTo>
                  <a:lnTo>
                    <a:pt x="1377" y="1598"/>
                  </a:lnTo>
                  <a:lnTo>
                    <a:pt x="1373" y="1601"/>
                  </a:lnTo>
                  <a:lnTo>
                    <a:pt x="1372" y="1601"/>
                  </a:lnTo>
                  <a:lnTo>
                    <a:pt x="1370" y="1603"/>
                  </a:lnTo>
                  <a:lnTo>
                    <a:pt x="1367" y="1605"/>
                  </a:lnTo>
                  <a:lnTo>
                    <a:pt x="1365" y="1603"/>
                  </a:lnTo>
                  <a:lnTo>
                    <a:pt x="1365" y="1605"/>
                  </a:lnTo>
                  <a:lnTo>
                    <a:pt x="1363" y="1606"/>
                  </a:lnTo>
                  <a:lnTo>
                    <a:pt x="1361" y="1608"/>
                  </a:lnTo>
                  <a:lnTo>
                    <a:pt x="1361" y="1610"/>
                  </a:lnTo>
                  <a:lnTo>
                    <a:pt x="1361" y="1611"/>
                  </a:lnTo>
                  <a:lnTo>
                    <a:pt x="1361" y="1613"/>
                  </a:lnTo>
                  <a:lnTo>
                    <a:pt x="1358" y="1615"/>
                  </a:lnTo>
                  <a:lnTo>
                    <a:pt x="1360" y="1616"/>
                  </a:lnTo>
                  <a:lnTo>
                    <a:pt x="1361" y="1616"/>
                  </a:lnTo>
                  <a:lnTo>
                    <a:pt x="1360" y="1616"/>
                  </a:lnTo>
                  <a:lnTo>
                    <a:pt x="1360" y="1618"/>
                  </a:lnTo>
                  <a:lnTo>
                    <a:pt x="1361" y="1620"/>
                  </a:lnTo>
                  <a:lnTo>
                    <a:pt x="1363" y="1620"/>
                  </a:lnTo>
                  <a:lnTo>
                    <a:pt x="1363" y="1622"/>
                  </a:lnTo>
                  <a:lnTo>
                    <a:pt x="1361" y="1625"/>
                  </a:lnTo>
                  <a:lnTo>
                    <a:pt x="1363" y="1627"/>
                  </a:lnTo>
                  <a:lnTo>
                    <a:pt x="1365" y="1628"/>
                  </a:lnTo>
                  <a:lnTo>
                    <a:pt x="1367" y="1628"/>
                  </a:lnTo>
                  <a:lnTo>
                    <a:pt x="1368" y="1630"/>
                  </a:lnTo>
                  <a:lnTo>
                    <a:pt x="1370" y="1632"/>
                  </a:lnTo>
                  <a:lnTo>
                    <a:pt x="1372" y="1632"/>
                  </a:lnTo>
                  <a:lnTo>
                    <a:pt x="1372" y="1633"/>
                  </a:lnTo>
                  <a:lnTo>
                    <a:pt x="1373" y="1640"/>
                  </a:lnTo>
                  <a:lnTo>
                    <a:pt x="1373" y="1639"/>
                  </a:lnTo>
                  <a:lnTo>
                    <a:pt x="1377" y="1640"/>
                  </a:lnTo>
                  <a:lnTo>
                    <a:pt x="1380" y="1642"/>
                  </a:lnTo>
                  <a:lnTo>
                    <a:pt x="1385" y="1640"/>
                  </a:lnTo>
                  <a:lnTo>
                    <a:pt x="1387" y="1640"/>
                  </a:lnTo>
                  <a:lnTo>
                    <a:pt x="1389" y="1640"/>
                  </a:lnTo>
                  <a:lnTo>
                    <a:pt x="1390" y="1639"/>
                  </a:lnTo>
                  <a:lnTo>
                    <a:pt x="1392" y="1640"/>
                  </a:lnTo>
                  <a:lnTo>
                    <a:pt x="1392" y="1642"/>
                  </a:lnTo>
                  <a:lnTo>
                    <a:pt x="1394" y="1642"/>
                  </a:lnTo>
                  <a:lnTo>
                    <a:pt x="1395" y="1639"/>
                  </a:lnTo>
                  <a:lnTo>
                    <a:pt x="1399" y="1640"/>
                  </a:lnTo>
                  <a:lnTo>
                    <a:pt x="1404" y="1640"/>
                  </a:lnTo>
                  <a:lnTo>
                    <a:pt x="1406" y="1640"/>
                  </a:lnTo>
                  <a:lnTo>
                    <a:pt x="1407" y="1644"/>
                  </a:lnTo>
                  <a:lnTo>
                    <a:pt x="1411" y="1644"/>
                  </a:lnTo>
                  <a:lnTo>
                    <a:pt x="1416" y="1645"/>
                  </a:lnTo>
                  <a:lnTo>
                    <a:pt x="1419" y="1644"/>
                  </a:lnTo>
                  <a:lnTo>
                    <a:pt x="1421" y="1644"/>
                  </a:lnTo>
                  <a:lnTo>
                    <a:pt x="1421" y="1633"/>
                  </a:lnTo>
                  <a:lnTo>
                    <a:pt x="1423" y="1630"/>
                  </a:lnTo>
                  <a:lnTo>
                    <a:pt x="1428" y="1623"/>
                  </a:lnTo>
                  <a:lnTo>
                    <a:pt x="1428" y="1625"/>
                  </a:lnTo>
                  <a:lnTo>
                    <a:pt x="1436" y="1625"/>
                  </a:lnTo>
                  <a:lnTo>
                    <a:pt x="1440" y="1622"/>
                  </a:lnTo>
                  <a:lnTo>
                    <a:pt x="1436" y="1618"/>
                  </a:lnTo>
                  <a:lnTo>
                    <a:pt x="1440" y="1615"/>
                  </a:lnTo>
                  <a:lnTo>
                    <a:pt x="1440" y="1613"/>
                  </a:lnTo>
                  <a:lnTo>
                    <a:pt x="1441" y="1611"/>
                  </a:lnTo>
                  <a:lnTo>
                    <a:pt x="1441" y="1610"/>
                  </a:lnTo>
                  <a:lnTo>
                    <a:pt x="1443" y="1610"/>
                  </a:lnTo>
                  <a:lnTo>
                    <a:pt x="1443" y="1606"/>
                  </a:lnTo>
                  <a:lnTo>
                    <a:pt x="1443" y="1603"/>
                  </a:lnTo>
                  <a:lnTo>
                    <a:pt x="1445" y="1603"/>
                  </a:lnTo>
                  <a:lnTo>
                    <a:pt x="1446" y="1601"/>
                  </a:lnTo>
                  <a:lnTo>
                    <a:pt x="1450" y="1599"/>
                  </a:lnTo>
                  <a:lnTo>
                    <a:pt x="1450" y="1598"/>
                  </a:lnTo>
                  <a:lnTo>
                    <a:pt x="1450" y="1596"/>
                  </a:lnTo>
                  <a:lnTo>
                    <a:pt x="1450" y="1593"/>
                  </a:lnTo>
                  <a:lnTo>
                    <a:pt x="1452" y="1589"/>
                  </a:lnTo>
                  <a:lnTo>
                    <a:pt x="1450" y="1589"/>
                  </a:lnTo>
                  <a:lnTo>
                    <a:pt x="1452" y="1586"/>
                  </a:lnTo>
                  <a:lnTo>
                    <a:pt x="1452" y="1584"/>
                  </a:lnTo>
                  <a:lnTo>
                    <a:pt x="1450" y="1582"/>
                  </a:lnTo>
                  <a:lnTo>
                    <a:pt x="1450" y="1581"/>
                  </a:lnTo>
                  <a:lnTo>
                    <a:pt x="1448" y="1581"/>
                  </a:lnTo>
                  <a:lnTo>
                    <a:pt x="1448" y="1579"/>
                  </a:lnTo>
                  <a:lnTo>
                    <a:pt x="1450" y="1577"/>
                  </a:lnTo>
                  <a:lnTo>
                    <a:pt x="1448" y="1576"/>
                  </a:lnTo>
                  <a:lnTo>
                    <a:pt x="1450" y="1574"/>
                  </a:lnTo>
                  <a:lnTo>
                    <a:pt x="1452" y="1574"/>
                  </a:lnTo>
                  <a:lnTo>
                    <a:pt x="1453" y="1574"/>
                  </a:lnTo>
                  <a:lnTo>
                    <a:pt x="1455" y="1574"/>
                  </a:lnTo>
                  <a:lnTo>
                    <a:pt x="1458" y="1572"/>
                  </a:lnTo>
                  <a:lnTo>
                    <a:pt x="1460" y="1569"/>
                  </a:lnTo>
                  <a:lnTo>
                    <a:pt x="1462" y="1567"/>
                  </a:lnTo>
                  <a:lnTo>
                    <a:pt x="1462" y="1572"/>
                  </a:lnTo>
                  <a:lnTo>
                    <a:pt x="1463" y="1574"/>
                  </a:lnTo>
                  <a:lnTo>
                    <a:pt x="1465" y="1576"/>
                  </a:lnTo>
                  <a:lnTo>
                    <a:pt x="1467" y="1579"/>
                  </a:lnTo>
                  <a:lnTo>
                    <a:pt x="1469" y="1582"/>
                  </a:lnTo>
                  <a:lnTo>
                    <a:pt x="1469" y="1584"/>
                  </a:lnTo>
                  <a:lnTo>
                    <a:pt x="1469" y="1591"/>
                  </a:lnTo>
                  <a:lnTo>
                    <a:pt x="1467" y="1591"/>
                  </a:lnTo>
                  <a:lnTo>
                    <a:pt x="1469" y="1594"/>
                  </a:lnTo>
                  <a:lnTo>
                    <a:pt x="1467" y="1594"/>
                  </a:lnTo>
                  <a:lnTo>
                    <a:pt x="1469" y="1596"/>
                  </a:lnTo>
                  <a:lnTo>
                    <a:pt x="1470" y="1598"/>
                  </a:lnTo>
                  <a:lnTo>
                    <a:pt x="1472" y="1596"/>
                  </a:lnTo>
                  <a:lnTo>
                    <a:pt x="1475" y="1599"/>
                  </a:lnTo>
                  <a:lnTo>
                    <a:pt x="1475" y="1605"/>
                  </a:lnTo>
                  <a:lnTo>
                    <a:pt x="1479" y="1603"/>
                  </a:lnTo>
                  <a:lnTo>
                    <a:pt x="1482" y="1605"/>
                  </a:lnTo>
                  <a:lnTo>
                    <a:pt x="1484" y="1606"/>
                  </a:lnTo>
                  <a:lnTo>
                    <a:pt x="1484" y="1608"/>
                  </a:lnTo>
                  <a:lnTo>
                    <a:pt x="1484" y="1611"/>
                  </a:lnTo>
                  <a:lnTo>
                    <a:pt x="1486" y="1613"/>
                  </a:lnTo>
                  <a:lnTo>
                    <a:pt x="1484" y="1615"/>
                  </a:lnTo>
                  <a:lnTo>
                    <a:pt x="1482" y="1616"/>
                  </a:lnTo>
                  <a:lnTo>
                    <a:pt x="1479" y="1616"/>
                  </a:lnTo>
                  <a:lnTo>
                    <a:pt x="1477" y="1618"/>
                  </a:lnTo>
                  <a:lnTo>
                    <a:pt x="1474" y="1620"/>
                  </a:lnTo>
                  <a:lnTo>
                    <a:pt x="1472" y="1622"/>
                  </a:lnTo>
                  <a:lnTo>
                    <a:pt x="1472" y="1623"/>
                  </a:lnTo>
                  <a:lnTo>
                    <a:pt x="1472" y="1625"/>
                  </a:lnTo>
                  <a:lnTo>
                    <a:pt x="1474" y="1628"/>
                  </a:lnTo>
                  <a:lnTo>
                    <a:pt x="1474" y="1630"/>
                  </a:lnTo>
                  <a:lnTo>
                    <a:pt x="1474" y="1633"/>
                  </a:lnTo>
                  <a:lnTo>
                    <a:pt x="1475" y="1635"/>
                  </a:lnTo>
                  <a:lnTo>
                    <a:pt x="1475" y="1639"/>
                  </a:lnTo>
                  <a:lnTo>
                    <a:pt x="1475" y="1640"/>
                  </a:lnTo>
                  <a:lnTo>
                    <a:pt x="1474" y="1639"/>
                  </a:lnTo>
                  <a:lnTo>
                    <a:pt x="1472" y="1640"/>
                  </a:lnTo>
                  <a:lnTo>
                    <a:pt x="1472" y="1642"/>
                  </a:lnTo>
                  <a:lnTo>
                    <a:pt x="1469" y="1644"/>
                  </a:lnTo>
                  <a:lnTo>
                    <a:pt x="1469" y="1645"/>
                  </a:lnTo>
                  <a:lnTo>
                    <a:pt x="1470" y="1645"/>
                  </a:lnTo>
                  <a:lnTo>
                    <a:pt x="1472" y="1645"/>
                  </a:lnTo>
                  <a:lnTo>
                    <a:pt x="1472" y="1647"/>
                  </a:lnTo>
                  <a:lnTo>
                    <a:pt x="1472" y="1649"/>
                  </a:lnTo>
                  <a:lnTo>
                    <a:pt x="1477" y="1654"/>
                  </a:lnTo>
                  <a:lnTo>
                    <a:pt x="1477" y="1656"/>
                  </a:lnTo>
                  <a:lnTo>
                    <a:pt x="1477" y="1657"/>
                  </a:lnTo>
                  <a:lnTo>
                    <a:pt x="1479" y="1657"/>
                  </a:lnTo>
                  <a:lnTo>
                    <a:pt x="1480" y="1659"/>
                  </a:lnTo>
                  <a:lnTo>
                    <a:pt x="1482" y="1662"/>
                  </a:lnTo>
                  <a:lnTo>
                    <a:pt x="1480" y="1667"/>
                  </a:lnTo>
                  <a:lnTo>
                    <a:pt x="1484" y="1669"/>
                  </a:lnTo>
                  <a:lnTo>
                    <a:pt x="1486" y="1667"/>
                  </a:lnTo>
                  <a:lnTo>
                    <a:pt x="1489" y="1669"/>
                  </a:lnTo>
                  <a:lnTo>
                    <a:pt x="1487" y="1671"/>
                  </a:lnTo>
                  <a:lnTo>
                    <a:pt x="1489" y="1671"/>
                  </a:lnTo>
                  <a:lnTo>
                    <a:pt x="1491" y="1674"/>
                  </a:lnTo>
                  <a:lnTo>
                    <a:pt x="1492" y="1676"/>
                  </a:lnTo>
                  <a:lnTo>
                    <a:pt x="1494" y="1678"/>
                  </a:lnTo>
                  <a:lnTo>
                    <a:pt x="1496" y="1679"/>
                  </a:lnTo>
                  <a:lnTo>
                    <a:pt x="1497" y="1681"/>
                  </a:lnTo>
                  <a:lnTo>
                    <a:pt x="1497" y="1683"/>
                  </a:lnTo>
                  <a:lnTo>
                    <a:pt x="1501" y="1686"/>
                  </a:lnTo>
                  <a:lnTo>
                    <a:pt x="1508" y="1693"/>
                  </a:lnTo>
                  <a:lnTo>
                    <a:pt x="1511" y="1691"/>
                  </a:lnTo>
                  <a:lnTo>
                    <a:pt x="1511" y="1693"/>
                  </a:lnTo>
                  <a:lnTo>
                    <a:pt x="1508" y="1696"/>
                  </a:lnTo>
                  <a:lnTo>
                    <a:pt x="1511" y="1702"/>
                  </a:lnTo>
                  <a:lnTo>
                    <a:pt x="1509" y="1702"/>
                  </a:lnTo>
                  <a:lnTo>
                    <a:pt x="1511" y="1703"/>
                  </a:lnTo>
                  <a:lnTo>
                    <a:pt x="1511" y="1708"/>
                  </a:lnTo>
                  <a:lnTo>
                    <a:pt x="1513" y="1708"/>
                  </a:lnTo>
                  <a:lnTo>
                    <a:pt x="1514" y="1712"/>
                  </a:lnTo>
                  <a:lnTo>
                    <a:pt x="1520" y="1717"/>
                  </a:lnTo>
                  <a:lnTo>
                    <a:pt x="1521" y="1719"/>
                  </a:lnTo>
                  <a:lnTo>
                    <a:pt x="1520" y="1720"/>
                  </a:lnTo>
                  <a:lnTo>
                    <a:pt x="1523" y="1722"/>
                  </a:lnTo>
                  <a:lnTo>
                    <a:pt x="1525" y="1722"/>
                  </a:lnTo>
                  <a:lnTo>
                    <a:pt x="1526" y="1722"/>
                  </a:lnTo>
                  <a:lnTo>
                    <a:pt x="1530" y="1725"/>
                  </a:lnTo>
                  <a:lnTo>
                    <a:pt x="1526" y="1725"/>
                  </a:lnTo>
                  <a:lnTo>
                    <a:pt x="1528" y="1729"/>
                  </a:lnTo>
                  <a:lnTo>
                    <a:pt x="1530" y="1729"/>
                  </a:lnTo>
                  <a:lnTo>
                    <a:pt x="1531" y="1730"/>
                  </a:lnTo>
                  <a:lnTo>
                    <a:pt x="1533" y="1729"/>
                  </a:lnTo>
                  <a:lnTo>
                    <a:pt x="1535" y="1727"/>
                  </a:lnTo>
                  <a:lnTo>
                    <a:pt x="1537" y="1727"/>
                  </a:lnTo>
                  <a:lnTo>
                    <a:pt x="1538" y="1725"/>
                  </a:lnTo>
                  <a:lnTo>
                    <a:pt x="1538" y="1727"/>
                  </a:lnTo>
                  <a:lnTo>
                    <a:pt x="1540" y="1727"/>
                  </a:lnTo>
                  <a:lnTo>
                    <a:pt x="1542" y="1729"/>
                  </a:lnTo>
                  <a:lnTo>
                    <a:pt x="1543" y="1729"/>
                  </a:lnTo>
                  <a:lnTo>
                    <a:pt x="1550" y="1729"/>
                  </a:lnTo>
                  <a:lnTo>
                    <a:pt x="1552" y="1727"/>
                  </a:lnTo>
                  <a:lnTo>
                    <a:pt x="1545" y="1720"/>
                  </a:lnTo>
                  <a:lnTo>
                    <a:pt x="1547" y="1719"/>
                  </a:lnTo>
                  <a:lnTo>
                    <a:pt x="1545" y="1717"/>
                  </a:lnTo>
                  <a:lnTo>
                    <a:pt x="1545" y="1715"/>
                  </a:lnTo>
                  <a:lnTo>
                    <a:pt x="1547" y="1715"/>
                  </a:lnTo>
                  <a:lnTo>
                    <a:pt x="1548" y="1713"/>
                  </a:lnTo>
                  <a:lnTo>
                    <a:pt x="1550" y="1712"/>
                  </a:lnTo>
                  <a:lnTo>
                    <a:pt x="1550" y="1713"/>
                  </a:lnTo>
                  <a:lnTo>
                    <a:pt x="1552" y="1712"/>
                  </a:lnTo>
                  <a:lnTo>
                    <a:pt x="1555" y="1712"/>
                  </a:lnTo>
                  <a:lnTo>
                    <a:pt x="1557" y="1713"/>
                  </a:lnTo>
                  <a:lnTo>
                    <a:pt x="1557" y="1712"/>
                  </a:lnTo>
                  <a:lnTo>
                    <a:pt x="1555" y="1710"/>
                  </a:lnTo>
                  <a:lnTo>
                    <a:pt x="1559" y="1707"/>
                  </a:lnTo>
                  <a:lnTo>
                    <a:pt x="1562" y="1708"/>
                  </a:lnTo>
                  <a:lnTo>
                    <a:pt x="1562" y="1705"/>
                  </a:lnTo>
                  <a:lnTo>
                    <a:pt x="1564" y="1700"/>
                  </a:lnTo>
                  <a:lnTo>
                    <a:pt x="1565" y="1700"/>
                  </a:lnTo>
                  <a:lnTo>
                    <a:pt x="1569" y="1702"/>
                  </a:lnTo>
                  <a:lnTo>
                    <a:pt x="1572" y="1698"/>
                  </a:lnTo>
                  <a:lnTo>
                    <a:pt x="1574" y="1696"/>
                  </a:lnTo>
                  <a:lnTo>
                    <a:pt x="1577" y="1695"/>
                  </a:lnTo>
                  <a:lnTo>
                    <a:pt x="1582" y="1702"/>
                  </a:lnTo>
                  <a:lnTo>
                    <a:pt x="1584" y="1703"/>
                  </a:lnTo>
                  <a:lnTo>
                    <a:pt x="1584" y="1705"/>
                  </a:lnTo>
                  <a:lnTo>
                    <a:pt x="1584" y="1707"/>
                  </a:lnTo>
                  <a:lnTo>
                    <a:pt x="1584" y="1708"/>
                  </a:lnTo>
                  <a:lnTo>
                    <a:pt x="1584" y="1710"/>
                  </a:lnTo>
                  <a:lnTo>
                    <a:pt x="1584" y="1712"/>
                  </a:lnTo>
                  <a:lnTo>
                    <a:pt x="1582" y="1715"/>
                  </a:lnTo>
                  <a:lnTo>
                    <a:pt x="1584" y="1719"/>
                  </a:lnTo>
                  <a:lnTo>
                    <a:pt x="1584" y="1720"/>
                  </a:lnTo>
                  <a:lnTo>
                    <a:pt x="1586" y="1722"/>
                  </a:lnTo>
                  <a:lnTo>
                    <a:pt x="1588" y="1720"/>
                  </a:lnTo>
                  <a:lnTo>
                    <a:pt x="1591" y="1722"/>
                  </a:lnTo>
                  <a:lnTo>
                    <a:pt x="1593" y="1724"/>
                  </a:lnTo>
                  <a:lnTo>
                    <a:pt x="1594" y="1724"/>
                  </a:lnTo>
                  <a:lnTo>
                    <a:pt x="1596" y="1725"/>
                  </a:lnTo>
                  <a:lnTo>
                    <a:pt x="1598" y="1725"/>
                  </a:lnTo>
                  <a:lnTo>
                    <a:pt x="1599" y="1725"/>
                  </a:lnTo>
                  <a:lnTo>
                    <a:pt x="1601" y="1725"/>
                  </a:lnTo>
                  <a:lnTo>
                    <a:pt x="1601" y="1724"/>
                  </a:lnTo>
                  <a:lnTo>
                    <a:pt x="1599" y="1722"/>
                  </a:lnTo>
                  <a:lnTo>
                    <a:pt x="1601" y="1722"/>
                  </a:lnTo>
                  <a:lnTo>
                    <a:pt x="1603" y="1722"/>
                  </a:lnTo>
                  <a:lnTo>
                    <a:pt x="1605" y="1722"/>
                  </a:lnTo>
                  <a:lnTo>
                    <a:pt x="1606" y="1722"/>
                  </a:lnTo>
                  <a:lnTo>
                    <a:pt x="1608" y="1722"/>
                  </a:lnTo>
                  <a:lnTo>
                    <a:pt x="1611" y="1720"/>
                  </a:lnTo>
                  <a:lnTo>
                    <a:pt x="1615" y="1720"/>
                  </a:lnTo>
                  <a:lnTo>
                    <a:pt x="1615" y="1719"/>
                  </a:lnTo>
                  <a:lnTo>
                    <a:pt x="1616" y="1719"/>
                  </a:lnTo>
                  <a:lnTo>
                    <a:pt x="1618" y="1719"/>
                  </a:lnTo>
                  <a:lnTo>
                    <a:pt x="1616" y="1722"/>
                  </a:lnTo>
                  <a:lnTo>
                    <a:pt x="1618" y="1724"/>
                  </a:lnTo>
                  <a:lnTo>
                    <a:pt x="1616" y="1725"/>
                  </a:lnTo>
                  <a:lnTo>
                    <a:pt x="1616" y="1729"/>
                  </a:lnTo>
                  <a:lnTo>
                    <a:pt x="1620" y="1729"/>
                  </a:lnTo>
                  <a:lnTo>
                    <a:pt x="1625" y="1725"/>
                  </a:lnTo>
                  <a:lnTo>
                    <a:pt x="1625" y="1727"/>
                  </a:lnTo>
                  <a:lnTo>
                    <a:pt x="1628" y="1725"/>
                  </a:lnTo>
                  <a:lnTo>
                    <a:pt x="1633" y="1720"/>
                  </a:lnTo>
                  <a:lnTo>
                    <a:pt x="1639" y="1715"/>
                  </a:lnTo>
                  <a:lnTo>
                    <a:pt x="1639" y="1717"/>
                  </a:lnTo>
                  <a:lnTo>
                    <a:pt x="1640" y="1719"/>
                  </a:lnTo>
                  <a:lnTo>
                    <a:pt x="1642" y="1720"/>
                  </a:lnTo>
                  <a:lnTo>
                    <a:pt x="1644" y="1722"/>
                  </a:lnTo>
                  <a:lnTo>
                    <a:pt x="1645" y="1722"/>
                  </a:lnTo>
                  <a:lnTo>
                    <a:pt x="1647" y="1720"/>
                  </a:lnTo>
                  <a:lnTo>
                    <a:pt x="1649" y="1722"/>
                  </a:lnTo>
                  <a:lnTo>
                    <a:pt x="1649" y="1720"/>
                  </a:lnTo>
                  <a:lnTo>
                    <a:pt x="1650" y="1719"/>
                  </a:lnTo>
                  <a:lnTo>
                    <a:pt x="1652" y="1720"/>
                  </a:lnTo>
                  <a:lnTo>
                    <a:pt x="1652" y="1719"/>
                  </a:lnTo>
                  <a:lnTo>
                    <a:pt x="1654" y="1719"/>
                  </a:lnTo>
                  <a:lnTo>
                    <a:pt x="1654" y="1717"/>
                  </a:lnTo>
                  <a:lnTo>
                    <a:pt x="1657" y="1717"/>
                  </a:lnTo>
                  <a:lnTo>
                    <a:pt x="1657" y="1715"/>
                  </a:lnTo>
                  <a:lnTo>
                    <a:pt x="1659" y="1713"/>
                  </a:lnTo>
                  <a:lnTo>
                    <a:pt x="1661" y="1713"/>
                  </a:lnTo>
                  <a:lnTo>
                    <a:pt x="1662" y="1713"/>
                  </a:lnTo>
                  <a:lnTo>
                    <a:pt x="1664" y="1712"/>
                  </a:lnTo>
                  <a:lnTo>
                    <a:pt x="1666" y="1712"/>
                  </a:lnTo>
                  <a:lnTo>
                    <a:pt x="1667" y="1710"/>
                  </a:lnTo>
                  <a:lnTo>
                    <a:pt x="1669" y="1712"/>
                  </a:lnTo>
                  <a:lnTo>
                    <a:pt x="1671" y="1713"/>
                  </a:lnTo>
                  <a:lnTo>
                    <a:pt x="1673" y="1713"/>
                  </a:lnTo>
                  <a:lnTo>
                    <a:pt x="1676" y="1713"/>
                  </a:lnTo>
                  <a:lnTo>
                    <a:pt x="1679" y="1713"/>
                  </a:lnTo>
                  <a:lnTo>
                    <a:pt x="1676" y="1719"/>
                  </a:lnTo>
                  <a:lnTo>
                    <a:pt x="1678" y="1719"/>
                  </a:lnTo>
                  <a:lnTo>
                    <a:pt x="1681" y="1725"/>
                  </a:lnTo>
                  <a:lnTo>
                    <a:pt x="1684" y="1732"/>
                  </a:lnTo>
                  <a:lnTo>
                    <a:pt x="1686" y="1734"/>
                  </a:lnTo>
                  <a:lnTo>
                    <a:pt x="1688" y="1736"/>
                  </a:lnTo>
                  <a:lnTo>
                    <a:pt x="1690" y="1739"/>
                  </a:lnTo>
                  <a:lnTo>
                    <a:pt x="1693" y="1744"/>
                  </a:lnTo>
                  <a:lnTo>
                    <a:pt x="1690" y="1749"/>
                  </a:lnTo>
                  <a:lnTo>
                    <a:pt x="1688" y="1753"/>
                  </a:lnTo>
                  <a:lnTo>
                    <a:pt x="1684" y="1758"/>
                  </a:lnTo>
                  <a:lnTo>
                    <a:pt x="1683" y="1761"/>
                  </a:lnTo>
                  <a:lnTo>
                    <a:pt x="1681" y="1764"/>
                  </a:lnTo>
                  <a:lnTo>
                    <a:pt x="1679" y="1768"/>
                  </a:lnTo>
                  <a:lnTo>
                    <a:pt x="1678" y="1771"/>
                  </a:lnTo>
                  <a:lnTo>
                    <a:pt x="1676" y="1771"/>
                  </a:lnTo>
                  <a:lnTo>
                    <a:pt x="1673" y="1775"/>
                  </a:lnTo>
                  <a:lnTo>
                    <a:pt x="1671" y="1776"/>
                  </a:lnTo>
                  <a:lnTo>
                    <a:pt x="1669" y="1776"/>
                  </a:lnTo>
                  <a:lnTo>
                    <a:pt x="1667" y="1778"/>
                  </a:lnTo>
                  <a:lnTo>
                    <a:pt x="1666" y="1780"/>
                  </a:lnTo>
                  <a:lnTo>
                    <a:pt x="1664" y="1781"/>
                  </a:lnTo>
                  <a:lnTo>
                    <a:pt x="1661" y="1783"/>
                  </a:lnTo>
                  <a:lnTo>
                    <a:pt x="1657" y="1783"/>
                  </a:lnTo>
                  <a:lnTo>
                    <a:pt x="1654" y="1781"/>
                  </a:lnTo>
                  <a:lnTo>
                    <a:pt x="1650" y="1781"/>
                  </a:lnTo>
                  <a:lnTo>
                    <a:pt x="1650" y="1780"/>
                  </a:lnTo>
                  <a:lnTo>
                    <a:pt x="1649" y="1780"/>
                  </a:lnTo>
                  <a:lnTo>
                    <a:pt x="1647" y="1780"/>
                  </a:lnTo>
                  <a:lnTo>
                    <a:pt x="1645" y="1781"/>
                  </a:lnTo>
                  <a:lnTo>
                    <a:pt x="1644" y="1781"/>
                  </a:lnTo>
                  <a:lnTo>
                    <a:pt x="1644" y="1785"/>
                  </a:lnTo>
                  <a:lnTo>
                    <a:pt x="1644" y="1787"/>
                  </a:lnTo>
                  <a:lnTo>
                    <a:pt x="1644" y="1788"/>
                  </a:lnTo>
                  <a:lnTo>
                    <a:pt x="1645" y="1788"/>
                  </a:lnTo>
                  <a:lnTo>
                    <a:pt x="1647" y="1790"/>
                  </a:lnTo>
                  <a:lnTo>
                    <a:pt x="1649" y="1792"/>
                  </a:lnTo>
                  <a:lnTo>
                    <a:pt x="1649" y="1793"/>
                  </a:lnTo>
                  <a:lnTo>
                    <a:pt x="1649" y="1797"/>
                  </a:lnTo>
                  <a:lnTo>
                    <a:pt x="1649" y="1798"/>
                  </a:lnTo>
                  <a:lnTo>
                    <a:pt x="1649" y="1800"/>
                  </a:lnTo>
                  <a:lnTo>
                    <a:pt x="1649" y="1804"/>
                  </a:lnTo>
                  <a:lnTo>
                    <a:pt x="1649" y="1805"/>
                  </a:lnTo>
                  <a:lnTo>
                    <a:pt x="1647" y="1807"/>
                  </a:lnTo>
                  <a:lnTo>
                    <a:pt x="1645" y="1809"/>
                  </a:lnTo>
                  <a:lnTo>
                    <a:pt x="1644" y="1810"/>
                  </a:lnTo>
                  <a:lnTo>
                    <a:pt x="1642" y="1812"/>
                  </a:lnTo>
                  <a:lnTo>
                    <a:pt x="1642" y="1815"/>
                  </a:lnTo>
                  <a:lnTo>
                    <a:pt x="1640" y="1815"/>
                  </a:lnTo>
                  <a:lnTo>
                    <a:pt x="1640" y="1814"/>
                  </a:lnTo>
                  <a:lnTo>
                    <a:pt x="1637" y="1815"/>
                  </a:lnTo>
                  <a:lnTo>
                    <a:pt x="1635" y="1812"/>
                  </a:lnTo>
                  <a:lnTo>
                    <a:pt x="1637" y="1812"/>
                  </a:lnTo>
                  <a:lnTo>
                    <a:pt x="1640" y="1810"/>
                  </a:lnTo>
                  <a:lnTo>
                    <a:pt x="1639" y="1810"/>
                  </a:lnTo>
                  <a:lnTo>
                    <a:pt x="1637" y="1809"/>
                  </a:lnTo>
                  <a:lnTo>
                    <a:pt x="1635" y="1810"/>
                  </a:lnTo>
                  <a:lnTo>
                    <a:pt x="1633" y="1809"/>
                  </a:lnTo>
                  <a:lnTo>
                    <a:pt x="1632" y="1810"/>
                  </a:lnTo>
                  <a:lnTo>
                    <a:pt x="1630" y="1812"/>
                  </a:lnTo>
                  <a:lnTo>
                    <a:pt x="1627" y="1814"/>
                  </a:lnTo>
                  <a:lnTo>
                    <a:pt x="1627" y="1815"/>
                  </a:lnTo>
                  <a:lnTo>
                    <a:pt x="1625" y="1814"/>
                  </a:lnTo>
                  <a:lnTo>
                    <a:pt x="1622" y="1815"/>
                  </a:lnTo>
                  <a:lnTo>
                    <a:pt x="1620" y="1817"/>
                  </a:lnTo>
                  <a:lnTo>
                    <a:pt x="1618" y="1819"/>
                  </a:lnTo>
                  <a:lnTo>
                    <a:pt x="1616" y="1819"/>
                  </a:lnTo>
                  <a:lnTo>
                    <a:pt x="1615" y="1819"/>
                  </a:lnTo>
                  <a:lnTo>
                    <a:pt x="1613" y="1821"/>
                  </a:lnTo>
                  <a:lnTo>
                    <a:pt x="1611" y="1822"/>
                  </a:lnTo>
                  <a:lnTo>
                    <a:pt x="1610" y="1822"/>
                  </a:lnTo>
                  <a:lnTo>
                    <a:pt x="1606" y="1821"/>
                  </a:lnTo>
                  <a:lnTo>
                    <a:pt x="1606" y="1822"/>
                  </a:lnTo>
                  <a:lnTo>
                    <a:pt x="1603" y="1821"/>
                  </a:lnTo>
                  <a:lnTo>
                    <a:pt x="1605" y="1821"/>
                  </a:lnTo>
                  <a:lnTo>
                    <a:pt x="1601" y="1819"/>
                  </a:lnTo>
                  <a:lnTo>
                    <a:pt x="1601" y="1821"/>
                  </a:lnTo>
                  <a:lnTo>
                    <a:pt x="1599" y="1822"/>
                  </a:lnTo>
                  <a:lnTo>
                    <a:pt x="1598" y="1822"/>
                  </a:lnTo>
                  <a:lnTo>
                    <a:pt x="1596" y="1821"/>
                  </a:lnTo>
                  <a:lnTo>
                    <a:pt x="1598" y="1819"/>
                  </a:lnTo>
                  <a:lnTo>
                    <a:pt x="1596" y="1817"/>
                  </a:lnTo>
                  <a:lnTo>
                    <a:pt x="1594" y="1821"/>
                  </a:lnTo>
                  <a:lnTo>
                    <a:pt x="1593" y="1821"/>
                  </a:lnTo>
                  <a:lnTo>
                    <a:pt x="1589" y="1817"/>
                  </a:lnTo>
                  <a:lnTo>
                    <a:pt x="1588" y="1815"/>
                  </a:lnTo>
                  <a:lnTo>
                    <a:pt x="1589" y="1814"/>
                  </a:lnTo>
                  <a:lnTo>
                    <a:pt x="1588" y="1812"/>
                  </a:lnTo>
                  <a:lnTo>
                    <a:pt x="1584" y="1812"/>
                  </a:lnTo>
                  <a:lnTo>
                    <a:pt x="1582" y="1812"/>
                  </a:lnTo>
                  <a:lnTo>
                    <a:pt x="1581" y="1812"/>
                  </a:lnTo>
                  <a:lnTo>
                    <a:pt x="1579" y="1814"/>
                  </a:lnTo>
                  <a:lnTo>
                    <a:pt x="1577" y="1815"/>
                  </a:lnTo>
                  <a:lnTo>
                    <a:pt x="1576" y="1814"/>
                  </a:lnTo>
                  <a:lnTo>
                    <a:pt x="1574" y="1814"/>
                  </a:lnTo>
                  <a:lnTo>
                    <a:pt x="1572" y="1812"/>
                  </a:lnTo>
                  <a:lnTo>
                    <a:pt x="1571" y="1812"/>
                  </a:lnTo>
                  <a:lnTo>
                    <a:pt x="1571" y="1814"/>
                  </a:lnTo>
                  <a:lnTo>
                    <a:pt x="1571" y="1815"/>
                  </a:lnTo>
                  <a:lnTo>
                    <a:pt x="1569" y="1814"/>
                  </a:lnTo>
                  <a:lnTo>
                    <a:pt x="1571" y="1815"/>
                  </a:lnTo>
                  <a:lnTo>
                    <a:pt x="1569" y="1817"/>
                  </a:lnTo>
                  <a:lnTo>
                    <a:pt x="1571" y="1819"/>
                  </a:lnTo>
                  <a:lnTo>
                    <a:pt x="1569" y="1821"/>
                  </a:lnTo>
                  <a:lnTo>
                    <a:pt x="1571" y="1822"/>
                  </a:lnTo>
                  <a:lnTo>
                    <a:pt x="1569" y="1822"/>
                  </a:lnTo>
                  <a:lnTo>
                    <a:pt x="1567" y="1824"/>
                  </a:lnTo>
                  <a:lnTo>
                    <a:pt x="1565" y="1824"/>
                  </a:lnTo>
                  <a:lnTo>
                    <a:pt x="1564" y="1821"/>
                  </a:lnTo>
                  <a:lnTo>
                    <a:pt x="1564" y="1824"/>
                  </a:lnTo>
                  <a:lnTo>
                    <a:pt x="1562" y="1826"/>
                  </a:lnTo>
                  <a:lnTo>
                    <a:pt x="1562" y="1827"/>
                  </a:lnTo>
                  <a:lnTo>
                    <a:pt x="1559" y="1826"/>
                  </a:lnTo>
                  <a:lnTo>
                    <a:pt x="1559" y="1829"/>
                  </a:lnTo>
                  <a:lnTo>
                    <a:pt x="1555" y="1829"/>
                  </a:lnTo>
                  <a:lnTo>
                    <a:pt x="1554" y="1827"/>
                  </a:lnTo>
                  <a:lnTo>
                    <a:pt x="1554" y="1829"/>
                  </a:lnTo>
                  <a:lnTo>
                    <a:pt x="1552" y="1829"/>
                  </a:lnTo>
                  <a:lnTo>
                    <a:pt x="1554" y="1832"/>
                  </a:lnTo>
                  <a:lnTo>
                    <a:pt x="1555" y="1834"/>
                  </a:lnTo>
                  <a:lnTo>
                    <a:pt x="1559" y="1836"/>
                  </a:lnTo>
                  <a:lnTo>
                    <a:pt x="1560" y="1839"/>
                  </a:lnTo>
                  <a:lnTo>
                    <a:pt x="1560" y="1841"/>
                  </a:lnTo>
                  <a:lnTo>
                    <a:pt x="1562" y="1841"/>
                  </a:lnTo>
                  <a:lnTo>
                    <a:pt x="1560" y="1841"/>
                  </a:lnTo>
                  <a:lnTo>
                    <a:pt x="1559" y="1844"/>
                  </a:lnTo>
                  <a:lnTo>
                    <a:pt x="1559" y="1843"/>
                  </a:lnTo>
                  <a:lnTo>
                    <a:pt x="1557" y="1844"/>
                  </a:lnTo>
                  <a:lnTo>
                    <a:pt x="1554" y="1846"/>
                  </a:lnTo>
                  <a:lnTo>
                    <a:pt x="1554" y="1848"/>
                  </a:lnTo>
                  <a:lnTo>
                    <a:pt x="1555" y="1850"/>
                  </a:lnTo>
                  <a:lnTo>
                    <a:pt x="1554" y="1851"/>
                  </a:lnTo>
                  <a:lnTo>
                    <a:pt x="1552" y="1851"/>
                  </a:lnTo>
                  <a:lnTo>
                    <a:pt x="1548" y="1851"/>
                  </a:lnTo>
                  <a:lnTo>
                    <a:pt x="1547" y="1851"/>
                  </a:lnTo>
                  <a:lnTo>
                    <a:pt x="1543" y="1851"/>
                  </a:lnTo>
                  <a:lnTo>
                    <a:pt x="1543" y="1850"/>
                  </a:lnTo>
                  <a:lnTo>
                    <a:pt x="1542" y="1850"/>
                  </a:lnTo>
                  <a:lnTo>
                    <a:pt x="1542" y="1848"/>
                  </a:lnTo>
                  <a:lnTo>
                    <a:pt x="1540" y="1850"/>
                  </a:lnTo>
                  <a:lnTo>
                    <a:pt x="1537" y="1850"/>
                  </a:lnTo>
                  <a:lnTo>
                    <a:pt x="1535" y="1848"/>
                  </a:lnTo>
                  <a:lnTo>
                    <a:pt x="1533" y="1846"/>
                  </a:lnTo>
                  <a:lnTo>
                    <a:pt x="1533" y="1848"/>
                  </a:lnTo>
                  <a:lnTo>
                    <a:pt x="1533" y="1850"/>
                  </a:lnTo>
                  <a:lnTo>
                    <a:pt x="1531" y="1851"/>
                  </a:lnTo>
                  <a:lnTo>
                    <a:pt x="1530" y="1853"/>
                  </a:lnTo>
                  <a:lnTo>
                    <a:pt x="1530" y="1855"/>
                  </a:lnTo>
                  <a:lnTo>
                    <a:pt x="1526" y="1855"/>
                  </a:lnTo>
                  <a:lnTo>
                    <a:pt x="1526" y="1856"/>
                  </a:lnTo>
                  <a:lnTo>
                    <a:pt x="1523" y="1858"/>
                  </a:lnTo>
                  <a:lnTo>
                    <a:pt x="1521" y="1858"/>
                  </a:lnTo>
                  <a:lnTo>
                    <a:pt x="1520" y="1858"/>
                  </a:lnTo>
                  <a:lnTo>
                    <a:pt x="1518" y="1861"/>
                  </a:lnTo>
                  <a:lnTo>
                    <a:pt x="1520" y="1863"/>
                  </a:lnTo>
                  <a:lnTo>
                    <a:pt x="1523" y="1865"/>
                  </a:lnTo>
                  <a:lnTo>
                    <a:pt x="1525" y="1865"/>
                  </a:lnTo>
                  <a:lnTo>
                    <a:pt x="1523" y="1867"/>
                  </a:lnTo>
                  <a:lnTo>
                    <a:pt x="1521" y="1867"/>
                  </a:lnTo>
                  <a:lnTo>
                    <a:pt x="1520" y="1868"/>
                  </a:lnTo>
                  <a:lnTo>
                    <a:pt x="1518" y="1868"/>
                  </a:lnTo>
                  <a:lnTo>
                    <a:pt x="1516" y="1867"/>
                  </a:lnTo>
                  <a:lnTo>
                    <a:pt x="1514" y="1867"/>
                  </a:lnTo>
                  <a:lnTo>
                    <a:pt x="1513" y="1867"/>
                  </a:lnTo>
                  <a:lnTo>
                    <a:pt x="1511" y="1867"/>
                  </a:lnTo>
                  <a:lnTo>
                    <a:pt x="1509" y="1868"/>
                  </a:lnTo>
                  <a:lnTo>
                    <a:pt x="1511" y="1868"/>
                  </a:lnTo>
                  <a:lnTo>
                    <a:pt x="1514" y="1873"/>
                  </a:lnTo>
                  <a:lnTo>
                    <a:pt x="1511" y="1877"/>
                  </a:lnTo>
                  <a:lnTo>
                    <a:pt x="1513" y="1877"/>
                  </a:lnTo>
                  <a:lnTo>
                    <a:pt x="1514" y="1880"/>
                  </a:lnTo>
                  <a:lnTo>
                    <a:pt x="1511" y="1882"/>
                  </a:lnTo>
                  <a:lnTo>
                    <a:pt x="1509" y="1882"/>
                  </a:lnTo>
                  <a:lnTo>
                    <a:pt x="1506" y="1882"/>
                  </a:lnTo>
                  <a:lnTo>
                    <a:pt x="1508" y="1885"/>
                  </a:lnTo>
                  <a:lnTo>
                    <a:pt x="1508" y="1889"/>
                  </a:lnTo>
                  <a:lnTo>
                    <a:pt x="1509" y="1890"/>
                  </a:lnTo>
                  <a:lnTo>
                    <a:pt x="1509" y="1892"/>
                  </a:lnTo>
                  <a:lnTo>
                    <a:pt x="1513" y="1894"/>
                  </a:lnTo>
                  <a:lnTo>
                    <a:pt x="1511" y="1895"/>
                  </a:lnTo>
                  <a:lnTo>
                    <a:pt x="1511" y="1899"/>
                  </a:lnTo>
                  <a:lnTo>
                    <a:pt x="1511" y="1901"/>
                  </a:lnTo>
                  <a:lnTo>
                    <a:pt x="1511" y="1902"/>
                  </a:lnTo>
                  <a:lnTo>
                    <a:pt x="1509" y="1904"/>
                  </a:lnTo>
                  <a:lnTo>
                    <a:pt x="1509" y="1906"/>
                  </a:lnTo>
                  <a:lnTo>
                    <a:pt x="1509" y="1907"/>
                  </a:lnTo>
                  <a:lnTo>
                    <a:pt x="1506" y="1909"/>
                  </a:lnTo>
                  <a:lnTo>
                    <a:pt x="1506" y="1911"/>
                  </a:lnTo>
                  <a:lnTo>
                    <a:pt x="1506" y="1914"/>
                  </a:lnTo>
                  <a:lnTo>
                    <a:pt x="1506" y="1916"/>
                  </a:lnTo>
                  <a:lnTo>
                    <a:pt x="1503" y="1918"/>
                  </a:lnTo>
                  <a:lnTo>
                    <a:pt x="1501" y="1918"/>
                  </a:lnTo>
                  <a:lnTo>
                    <a:pt x="1499" y="1918"/>
                  </a:lnTo>
                  <a:lnTo>
                    <a:pt x="1497" y="1918"/>
                  </a:lnTo>
                  <a:lnTo>
                    <a:pt x="1494" y="1916"/>
                  </a:lnTo>
                  <a:lnTo>
                    <a:pt x="1492" y="1916"/>
                  </a:lnTo>
                  <a:lnTo>
                    <a:pt x="1489" y="1916"/>
                  </a:lnTo>
                  <a:lnTo>
                    <a:pt x="1489" y="1919"/>
                  </a:lnTo>
                  <a:lnTo>
                    <a:pt x="1487" y="1919"/>
                  </a:lnTo>
                  <a:lnTo>
                    <a:pt x="1484" y="1919"/>
                  </a:lnTo>
                  <a:lnTo>
                    <a:pt x="1479" y="1918"/>
                  </a:lnTo>
                  <a:lnTo>
                    <a:pt x="1477" y="1918"/>
                  </a:lnTo>
                  <a:lnTo>
                    <a:pt x="1475" y="1918"/>
                  </a:lnTo>
                  <a:lnTo>
                    <a:pt x="1472" y="1918"/>
                  </a:lnTo>
                  <a:lnTo>
                    <a:pt x="1470" y="1918"/>
                  </a:lnTo>
                  <a:lnTo>
                    <a:pt x="1470" y="1914"/>
                  </a:lnTo>
                  <a:lnTo>
                    <a:pt x="1470" y="1912"/>
                  </a:lnTo>
                  <a:lnTo>
                    <a:pt x="1467" y="1912"/>
                  </a:lnTo>
                  <a:lnTo>
                    <a:pt x="1465" y="1916"/>
                  </a:lnTo>
                  <a:lnTo>
                    <a:pt x="1463" y="1916"/>
                  </a:lnTo>
                  <a:lnTo>
                    <a:pt x="1460" y="1918"/>
                  </a:lnTo>
                  <a:lnTo>
                    <a:pt x="1460" y="1914"/>
                  </a:lnTo>
                  <a:lnTo>
                    <a:pt x="1457" y="1916"/>
                  </a:lnTo>
                  <a:lnTo>
                    <a:pt x="1455" y="1916"/>
                  </a:lnTo>
                  <a:lnTo>
                    <a:pt x="1453" y="1916"/>
                  </a:lnTo>
                  <a:lnTo>
                    <a:pt x="1452" y="1916"/>
                  </a:lnTo>
                  <a:lnTo>
                    <a:pt x="1450" y="1914"/>
                  </a:lnTo>
                  <a:lnTo>
                    <a:pt x="1450" y="1916"/>
                  </a:lnTo>
                  <a:lnTo>
                    <a:pt x="1448" y="1916"/>
                  </a:lnTo>
                  <a:lnTo>
                    <a:pt x="1450" y="1916"/>
                  </a:lnTo>
                  <a:lnTo>
                    <a:pt x="1448" y="1918"/>
                  </a:lnTo>
                  <a:lnTo>
                    <a:pt x="1446" y="1919"/>
                  </a:lnTo>
                  <a:lnTo>
                    <a:pt x="1445" y="1921"/>
                  </a:lnTo>
                  <a:lnTo>
                    <a:pt x="1448" y="1923"/>
                  </a:lnTo>
                  <a:lnTo>
                    <a:pt x="1448" y="1924"/>
                  </a:lnTo>
                  <a:lnTo>
                    <a:pt x="1450" y="1924"/>
                  </a:lnTo>
                  <a:lnTo>
                    <a:pt x="1448" y="1924"/>
                  </a:lnTo>
                  <a:lnTo>
                    <a:pt x="1450" y="1926"/>
                  </a:lnTo>
                  <a:lnTo>
                    <a:pt x="1446" y="1926"/>
                  </a:lnTo>
                  <a:lnTo>
                    <a:pt x="1450" y="1926"/>
                  </a:lnTo>
                  <a:lnTo>
                    <a:pt x="1452" y="1924"/>
                  </a:lnTo>
                  <a:lnTo>
                    <a:pt x="1453" y="1923"/>
                  </a:lnTo>
                  <a:lnTo>
                    <a:pt x="1455" y="1924"/>
                  </a:lnTo>
                  <a:lnTo>
                    <a:pt x="1457" y="1928"/>
                  </a:lnTo>
                  <a:lnTo>
                    <a:pt x="1457" y="1929"/>
                  </a:lnTo>
                  <a:lnTo>
                    <a:pt x="1458" y="1931"/>
                  </a:lnTo>
                  <a:lnTo>
                    <a:pt x="1460" y="1933"/>
                  </a:lnTo>
                  <a:lnTo>
                    <a:pt x="1462" y="1935"/>
                  </a:lnTo>
                  <a:lnTo>
                    <a:pt x="1463" y="1935"/>
                  </a:lnTo>
                  <a:lnTo>
                    <a:pt x="1465" y="1936"/>
                  </a:lnTo>
                  <a:lnTo>
                    <a:pt x="1467" y="1938"/>
                  </a:lnTo>
                  <a:lnTo>
                    <a:pt x="1467" y="1941"/>
                  </a:lnTo>
                  <a:lnTo>
                    <a:pt x="1467" y="1945"/>
                  </a:lnTo>
                  <a:lnTo>
                    <a:pt x="1465" y="1945"/>
                  </a:lnTo>
                  <a:lnTo>
                    <a:pt x="1463" y="1948"/>
                  </a:lnTo>
                  <a:lnTo>
                    <a:pt x="1462" y="1948"/>
                  </a:lnTo>
                  <a:lnTo>
                    <a:pt x="1460" y="1948"/>
                  </a:lnTo>
                  <a:lnTo>
                    <a:pt x="1455" y="1946"/>
                  </a:lnTo>
                  <a:lnTo>
                    <a:pt x="1455" y="1945"/>
                  </a:lnTo>
                  <a:lnTo>
                    <a:pt x="1455" y="1941"/>
                  </a:lnTo>
                  <a:lnTo>
                    <a:pt x="1453" y="1940"/>
                  </a:lnTo>
                  <a:lnTo>
                    <a:pt x="1452" y="1936"/>
                  </a:lnTo>
                  <a:lnTo>
                    <a:pt x="1452" y="1935"/>
                  </a:lnTo>
                  <a:lnTo>
                    <a:pt x="1452" y="1933"/>
                  </a:lnTo>
                  <a:lnTo>
                    <a:pt x="1452" y="1931"/>
                  </a:lnTo>
                  <a:lnTo>
                    <a:pt x="1450" y="1931"/>
                  </a:lnTo>
                  <a:lnTo>
                    <a:pt x="1448" y="1933"/>
                  </a:lnTo>
                  <a:lnTo>
                    <a:pt x="1446" y="1931"/>
                  </a:lnTo>
                  <a:lnTo>
                    <a:pt x="1443" y="1933"/>
                  </a:lnTo>
                  <a:lnTo>
                    <a:pt x="1441" y="1933"/>
                  </a:lnTo>
                  <a:lnTo>
                    <a:pt x="1440" y="1933"/>
                  </a:lnTo>
                  <a:lnTo>
                    <a:pt x="1438" y="1931"/>
                  </a:lnTo>
                  <a:lnTo>
                    <a:pt x="1436" y="1933"/>
                  </a:lnTo>
                  <a:lnTo>
                    <a:pt x="1435" y="1933"/>
                  </a:lnTo>
                  <a:lnTo>
                    <a:pt x="1433" y="1931"/>
                  </a:lnTo>
                  <a:lnTo>
                    <a:pt x="1431" y="1931"/>
                  </a:lnTo>
                  <a:lnTo>
                    <a:pt x="1431" y="1929"/>
                  </a:lnTo>
                  <a:lnTo>
                    <a:pt x="1429" y="1928"/>
                  </a:lnTo>
                  <a:lnTo>
                    <a:pt x="1429" y="1929"/>
                  </a:lnTo>
                  <a:lnTo>
                    <a:pt x="1428" y="1928"/>
                  </a:lnTo>
                  <a:lnTo>
                    <a:pt x="1426" y="1926"/>
                  </a:lnTo>
                  <a:lnTo>
                    <a:pt x="1424" y="1926"/>
                  </a:lnTo>
                  <a:lnTo>
                    <a:pt x="1421" y="1926"/>
                  </a:lnTo>
                  <a:lnTo>
                    <a:pt x="1419" y="1926"/>
                  </a:lnTo>
                  <a:lnTo>
                    <a:pt x="1418" y="1926"/>
                  </a:lnTo>
                  <a:lnTo>
                    <a:pt x="1416" y="1926"/>
                  </a:lnTo>
                  <a:lnTo>
                    <a:pt x="1414" y="1926"/>
                  </a:lnTo>
                  <a:lnTo>
                    <a:pt x="1412" y="1928"/>
                  </a:lnTo>
                  <a:lnTo>
                    <a:pt x="1411" y="1929"/>
                  </a:lnTo>
                  <a:lnTo>
                    <a:pt x="1411" y="1928"/>
                  </a:lnTo>
                  <a:lnTo>
                    <a:pt x="1409" y="1929"/>
                  </a:lnTo>
                  <a:lnTo>
                    <a:pt x="1406" y="1929"/>
                  </a:lnTo>
                  <a:lnTo>
                    <a:pt x="1404" y="1931"/>
                  </a:lnTo>
                  <a:lnTo>
                    <a:pt x="1404" y="1929"/>
                  </a:lnTo>
                  <a:lnTo>
                    <a:pt x="1402" y="1929"/>
                  </a:lnTo>
                  <a:lnTo>
                    <a:pt x="1402" y="1928"/>
                  </a:lnTo>
                  <a:lnTo>
                    <a:pt x="1402" y="1929"/>
                  </a:lnTo>
                  <a:lnTo>
                    <a:pt x="1399" y="1928"/>
                  </a:lnTo>
                  <a:lnTo>
                    <a:pt x="1399" y="1924"/>
                  </a:lnTo>
                  <a:lnTo>
                    <a:pt x="1397" y="1924"/>
                  </a:lnTo>
                  <a:lnTo>
                    <a:pt x="1397" y="1923"/>
                  </a:lnTo>
                  <a:lnTo>
                    <a:pt x="1395" y="1923"/>
                  </a:lnTo>
                  <a:lnTo>
                    <a:pt x="1394" y="1923"/>
                  </a:lnTo>
                  <a:lnTo>
                    <a:pt x="1392" y="1921"/>
                  </a:lnTo>
                  <a:lnTo>
                    <a:pt x="1392" y="1923"/>
                  </a:lnTo>
                  <a:lnTo>
                    <a:pt x="1389" y="1923"/>
                  </a:lnTo>
                  <a:lnTo>
                    <a:pt x="1387" y="1923"/>
                  </a:lnTo>
                  <a:lnTo>
                    <a:pt x="1385" y="1921"/>
                  </a:lnTo>
                  <a:lnTo>
                    <a:pt x="1384" y="1923"/>
                  </a:lnTo>
                  <a:lnTo>
                    <a:pt x="1382" y="1923"/>
                  </a:lnTo>
                  <a:lnTo>
                    <a:pt x="1380" y="1924"/>
                  </a:lnTo>
                  <a:lnTo>
                    <a:pt x="1380" y="1926"/>
                  </a:lnTo>
                  <a:lnTo>
                    <a:pt x="1378" y="1924"/>
                  </a:lnTo>
                  <a:lnTo>
                    <a:pt x="1377" y="1926"/>
                  </a:lnTo>
                  <a:lnTo>
                    <a:pt x="1375" y="1926"/>
                  </a:lnTo>
                  <a:lnTo>
                    <a:pt x="1375" y="1924"/>
                  </a:lnTo>
                  <a:lnTo>
                    <a:pt x="1375" y="1926"/>
                  </a:lnTo>
                  <a:lnTo>
                    <a:pt x="1373" y="1926"/>
                  </a:lnTo>
                  <a:lnTo>
                    <a:pt x="1375" y="1928"/>
                  </a:lnTo>
                  <a:lnTo>
                    <a:pt x="1373" y="1929"/>
                  </a:lnTo>
                  <a:lnTo>
                    <a:pt x="1372" y="1929"/>
                  </a:lnTo>
                  <a:lnTo>
                    <a:pt x="1372" y="1931"/>
                  </a:lnTo>
                  <a:lnTo>
                    <a:pt x="1372" y="1933"/>
                  </a:lnTo>
                  <a:lnTo>
                    <a:pt x="1370" y="1933"/>
                  </a:lnTo>
                  <a:lnTo>
                    <a:pt x="1368" y="1935"/>
                  </a:lnTo>
                  <a:lnTo>
                    <a:pt x="1370" y="1935"/>
                  </a:lnTo>
                  <a:lnTo>
                    <a:pt x="1367" y="1935"/>
                  </a:lnTo>
                  <a:lnTo>
                    <a:pt x="1367" y="1933"/>
                  </a:lnTo>
                  <a:lnTo>
                    <a:pt x="1367" y="1935"/>
                  </a:lnTo>
                  <a:lnTo>
                    <a:pt x="1365" y="1933"/>
                  </a:lnTo>
                  <a:lnTo>
                    <a:pt x="1365" y="1936"/>
                  </a:lnTo>
                  <a:lnTo>
                    <a:pt x="1363" y="1935"/>
                  </a:lnTo>
                  <a:lnTo>
                    <a:pt x="1365" y="1936"/>
                  </a:lnTo>
                  <a:lnTo>
                    <a:pt x="1363" y="1936"/>
                  </a:lnTo>
                  <a:lnTo>
                    <a:pt x="1361" y="1936"/>
                  </a:lnTo>
                  <a:lnTo>
                    <a:pt x="1361" y="1938"/>
                  </a:lnTo>
                  <a:lnTo>
                    <a:pt x="1360" y="1938"/>
                  </a:lnTo>
                  <a:lnTo>
                    <a:pt x="1360" y="1940"/>
                  </a:lnTo>
                  <a:lnTo>
                    <a:pt x="1358" y="1941"/>
                  </a:lnTo>
                  <a:lnTo>
                    <a:pt x="1360" y="1941"/>
                  </a:lnTo>
                  <a:lnTo>
                    <a:pt x="1358" y="1940"/>
                  </a:lnTo>
                  <a:lnTo>
                    <a:pt x="1358" y="1943"/>
                  </a:lnTo>
                  <a:lnTo>
                    <a:pt x="1356" y="1943"/>
                  </a:lnTo>
                  <a:lnTo>
                    <a:pt x="1358" y="1943"/>
                  </a:lnTo>
                  <a:lnTo>
                    <a:pt x="1356" y="1945"/>
                  </a:lnTo>
                  <a:lnTo>
                    <a:pt x="1356" y="1943"/>
                  </a:lnTo>
                  <a:lnTo>
                    <a:pt x="1353" y="1943"/>
                  </a:lnTo>
                  <a:lnTo>
                    <a:pt x="1351" y="1943"/>
                  </a:lnTo>
                  <a:lnTo>
                    <a:pt x="1350" y="1941"/>
                  </a:lnTo>
                  <a:lnTo>
                    <a:pt x="1348" y="1940"/>
                  </a:lnTo>
                  <a:lnTo>
                    <a:pt x="1346" y="1938"/>
                  </a:lnTo>
                  <a:lnTo>
                    <a:pt x="1344" y="1938"/>
                  </a:lnTo>
                  <a:lnTo>
                    <a:pt x="1343" y="1938"/>
                  </a:lnTo>
                  <a:lnTo>
                    <a:pt x="1343" y="1936"/>
                  </a:lnTo>
                  <a:lnTo>
                    <a:pt x="1341" y="1936"/>
                  </a:lnTo>
                  <a:lnTo>
                    <a:pt x="1339" y="1935"/>
                  </a:lnTo>
                  <a:lnTo>
                    <a:pt x="1338" y="1933"/>
                  </a:lnTo>
                  <a:lnTo>
                    <a:pt x="1336" y="1931"/>
                  </a:lnTo>
                  <a:lnTo>
                    <a:pt x="1334" y="1933"/>
                  </a:lnTo>
                  <a:lnTo>
                    <a:pt x="1336" y="1933"/>
                  </a:lnTo>
                  <a:lnTo>
                    <a:pt x="1334" y="1935"/>
                  </a:lnTo>
                  <a:lnTo>
                    <a:pt x="1334" y="1936"/>
                  </a:lnTo>
                  <a:lnTo>
                    <a:pt x="1331" y="1938"/>
                  </a:lnTo>
                  <a:lnTo>
                    <a:pt x="1333" y="1940"/>
                  </a:lnTo>
                  <a:lnTo>
                    <a:pt x="1333" y="1941"/>
                  </a:lnTo>
                  <a:lnTo>
                    <a:pt x="1331" y="1945"/>
                  </a:lnTo>
                  <a:lnTo>
                    <a:pt x="1329" y="1943"/>
                  </a:lnTo>
                  <a:lnTo>
                    <a:pt x="1329" y="1945"/>
                  </a:lnTo>
                  <a:lnTo>
                    <a:pt x="1327" y="1946"/>
                  </a:lnTo>
                  <a:lnTo>
                    <a:pt x="1326" y="1945"/>
                  </a:lnTo>
                  <a:lnTo>
                    <a:pt x="1324" y="1946"/>
                  </a:lnTo>
                  <a:lnTo>
                    <a:pt x="1322" y="1948"/>
                  </a:lnTo>
                  <a:lnTo>
                    <a:pt x="1322" y="1950"/>
                  </a:lnTo>
                  <a:lnTo>
                    <a:pt x="1322" y="1952"/>
                  </a:lnTo>
                  <a:lnTo>
                    <a:pt x="1322" y="1955"/>
                  </a:lnTo>
                  <a:lnTo>
                    <a:pt x="1322" y="1957"/>
                  </a:lnTo>
                  <a:lnTo>
                    <a:pt x="1327" y="1960"/>
                  </a:lnTo>
                  <a:lnTo>
                    <a:pt x="1326" y="1963"/>
                  </a:lnTo>
                  <a:lnTo>
                    <a:pt x="1324" y="1963"/>
                  </a:lnTo>
                  <a:lnTo>
                    <a:pt x="1326" y="1963"/>
                  </a:lnTo>
                  <a:lnTo>
                    <a:pt x="1324" y="1965"/>
                  </a:lnTo>
                  <a:lnTo>
                    <a:pt x="1322" y="1965"/>
                  </a:lnTo>
                  <a:lnTo>
                    <a:pt x="1321" y="1965"/>
                  </a:lnTo>
                  <a:lnTo>
                    <a:pt x="1321" y="1963"/>
                  </a:lnTo>
                  <a:lnTo>
                    <a:pt x="1319" y="1962"/>
                  </a:lnTo>
                  <a:lnTo>
                    <a:pt x="1319" y="1963"/>
                  </a:lnTo>
                  <a:lnTo>
                    <a:pt x="1317" y="1962"/>
                  </a:lnTo>
                  <a:lnTo>
                    <a:pt x="1317" y="1965"/>
                  </a:lnTo>
                  <a:lnTo>
                    <a:pt x="1316" y="1967"/>
                  </a:lnTo>
                  <a:lnTo>
                    <a:pt x="1316" y="1969"/>
                  </a:lnTo>
                  <a:lnTo>
                    <a:pt x="1314" y="1970"/>
                  </a:lnTo>
                  <a:lnTo>
                    <a:pt x="1312" y="1972"/>
                  </a:lnTo>
                  <a:lnTo>
                    <a:pt x="1309" y="1972"/>
                  </a:lnTo>
                  <a:lnTo>
                    <a:pt x="1309" y="1974"/>
                  </a:lnTo>
                  <a:lnTo>
                    <a:pt x="1307" y="1970"/>
                  </a:lnTo>
                  <a:lnTo>
                    <a:pt x="1305" y="1972"/>
                  </a:lnTo>
                  <a:lnTo>
                    <a:pt x="1304" y="1970"/>
                  </a:lnTo>
                  <a:lnTo>
                    <a:pt x="1305" y="1969"/>
                  </a:lnTo>
                  <a:lnTo>
                    <a:pt x="1307" y="1969"/>
                  </a:lnTo>
                  <a:lnTo>
                    <a:pt x="1309" y="1967"/>
                  </a:lnTo>
                  <a:lnTo>
                    <a:pt x="1307" y="1963"/>
                  </a:lnTo>
                  <a:lnTo>
                    <a:pt x="1305" y="1962"/>
                  </a:lnTo>
                  <a:lnTo>
                    <a:pt x="1304" y="1963"/>
                  </a:lnTo>
                  <a:lnTo>
                    <a:pt x="1300" y="1962"/>
                  </a:lnTo>
                  <a:lnTo>
                    <a:pt x="1299" y="1962"/>
                  </a:lnTo>
                  <a:lnTo>
                    <a:pt x="1299" y="1965"/>
                  </a:lnTo>
                  <a:lnTo>
                    <a:pt x="1297" y="1965"/>
                  </a:lnTo>
                  <a:lnTo>
                    <a:pt x="1293" y="1967"/>
                  </a:lnTo>
                  <a:lnTo>
                    <a:pt x="1292" y="1967"/>
                  </a:lnTo>
                  <a:lnTo>
                    <a:pt x="1290" y="1969"/>
                  </a:lnTo>
                  <a:lnTo>
                    <a:pt x="1288" y="1970"/>
                  </a:lnTo>
                  <a:lnTo>
                    <a:pt x="1287" y="1972"/>
                  </a:lnTo>
                  <a:lnTo>
                    <a:pt x="1283" y="1969"/>
                  </a:lnTo>
                  <a:lnTo>
                    <a:pt x="1283" y="1967"/>
                  </a:lnTo>
                  <a:lnTo>
                    <a:pt x="1280" y="1969"/>
                  </a:lnTo>
                  <a:lnTo>
                    <a:pt x="1280" y="1970"/>
                  </a:lnTo>
                  <a:lnTo>
                    <a:pt x="1278" y="1969"/>
                  </a:lnTo>
                  <a:lnTo>
                    <a:pt x="1278" y="1970"/>
                  </a:lnTo>
                  <a:lnTo>
                    <a:pt x="1280" y="1972"/>
                  </a:lnTo>
                  <a:lnTo>
                    <a:pt x="1283" y="1974"/>
                  </a:lnTo>
                  <a:lnTo>
                    <a:pt x="1285" y="1974"/>
                  </a:lnTo>
                  <a:lnTo>
                    <a:pt x="1285" y="1975"/>
                  </a:lnTo>
                  <a:lnTo>
                    <a:pt x="1285" y="1977"/>
                  </a:lnTo>
                  <a:lnTo>
                    <a:pt x="1287" y="1977"/>
                  </a:lnTo>
                  <a:lnTo>
                    <a:pt x="1287" y="1979"/>
                  </a:lnTo>
                  <a:lnTo>
                    <a:pt x="1285" y="1979"/>
                  </a:lnTo>
                  <a:lnTo>
                    <a:pt x="1287" y="1980"/>
                  </a:lnTo>
                  <a:lnTo>
                    <a:pt x="1283" y="1982"/>
                  </a:lnTo>
                  <a:lnTo>
                    <a:pt x="1283" y="1980"/>
                  </a:lnTo>
                  <a:lnTo>
                    <a:pt x="1283" y="1979"/>
                  </a:lnTo>
                  <a:lnTo>
                    <a:pt x="1282" y="1979"/>
                  </a:lnTo>
                  <a:lnTo>
                    <a:pt x="1278" y="1980"/>
                  </a:lnTo>
                  <a:lnTo>
                    <a:pt x="1278" y="1979"/>
                  </a:lnTo>
                  <a:lnTo>
                    <a:pt x="1276" y="1980"/>
                  </a:lnTo>
                  <a:lnTo>
                    <a:pt x="1278" y="1984"/>
                  </a:lnTo>
                  <a:lnTo>
                    <a:pt x="1276" y="1984"/>
                  </a:lnTo>
                  <a:lnTo>
                    <a:pt x="1276" y="1986"/>
                  </a:lnTo>
                  <a:lnTo>
                    <a:pt x="1278" y="1989"/>
                  </a:lnTo>
                  <a:lnTo>
                    <a:pt x="1280" y="1989"/>
                  </a:lnTo>
                  <a:lnTo>
                    <a:pt x="1282" y="1991"/>
                  </a:lnTo>
                  <a:lnTo>
                    <a:pt x="1280" y="1992"/>
                  </a:lnTo>
                  <a:lnTo>
                    <a:pt x="1282" y="1996"/>
                  </a:lnTo>
                  <a:lnTo>
                    <a:pt x="1280" y="1996"/>
                  </a:lnTo>
                  <a:lnTo>
                    <a:pt x="1276" y="1997"/>
                  </a:lnTo>
                  <a:lnTo>
                    <a:pt x="1276" y="1999"/>
                  </a:lnTo>
                  <a:lnTo>
                    <a:pt x="1278" y="1999"/>
                  </a:lnTo>
                  <a:lnTo>
                    <a:pt x="1276" y="2003"/>
                  </a:lnTo>
                  <a:lnTo>
                    <a:pt x="1278" y="2003"/>
                  </a:lnTo>
                  <a:lnTo>
                    <a:pt x="1280" y="2003"/>
                  </a:lnTo>
                  <a:lnTo>
                    <a:pt x="1280" y="2004"/>
                  </a:lnTo>
                  <a:lnTo>
                    <a:pt x="1278" y="2009"/>
                  </a:lnTo>
                  <a:lnTo>
                    <a:pt x="1276" y="2011"/>
                  </a:lnTo>
                  <a:lnTo>
                    <a:pt x="1273" y="2015"/>
                  </a:lnTo>
                  <a:lnTo>
                    <a:pt x="1271" y="2016"/>
                  </a:lnTo>
                  <a:lnTo>
                    <a:pt x="1270" y="2018"/>
                  </a:lnTo>
                  <a:lnTo>
                    <a:pt x="1268" y="2021"/>
                  </a:lnTo>
                  <a:lnTo>
                    <a:pt x="1268" y="2023"/>
                  </a:lnTo>
                  <a:lnTo>
                    <a:pt x="1268" y="2025"/>
                  </a:lnTo>
                  <a:lnTo>
                    <a:pt x="1268" y="2026"/>
                  </a:lnTo>
                  <a:lnTo>
                    <a:pt x="1266" y="2032"/>
                  </a:lnTo>
                  <a:lnTo>
                    <a:pt x="1263" y="2033"/>
                  </a:lnTo>
                  <a:lnTo>
                    <a:pt x="1258" y="2037"/>
                  </a:lnTo>
                  <a:lnTo>
                    <a:pt x="1256" y="2038"/>
                  </a:lnTo>
                  <a:lnTo>
                    <a:pt x="1254" y="2037"/>
                  </a:lnTo>
                  <a:lnTo>
                    <a:pt x="1253" y="2038"/>
                  </a:lnTo>
                  <a:lnTo>
                    <a:pt x="1254" y="2040"/>
                  </a:lnTo>
                  <a:lnTo>
                    <a:pt x="1253" y="2040"/>
                  </a:lnTo>
                  <a:lnTo>
                    <a:pt x="1253" y="2042"/>
                  </a:lnTo>
                  <a:lnTo>
                    <a:pt x="1254" y="2043"/>
                  </a:lnTo>
                  <a:lnTo>
                    <a:pt x="1254" y="2047"/>
                  </a:lnTo>
                  <a:lnTo>
                    <a:pt x="1256" y="2049"/>
                  </a:lnTo>
                  <a:lnTo>
                    <a:pt x="1258" y="2049"/>
                  </a:lnTo>
                  <a:lnTo>
                    <a:pt x="1259" y="2050"/>
                  </a:lnTo>
                  <a:lnTo>
                    <a:pt x="1261" y="2050"/>
                  </a:lnTo>
                  <a:lnTo>
                    <a:pt x="1263" y="2052"/>
                  </a:lnTo>
                  <a:lnTo>
                    <a:pt x="1263" y="2054"/>
                  </a:lnTo>
                  <a:lnTo>
                    <a:pt x="1263" y="2055"/>
                  </a:lnTo>
                  <a:lnTo>
                    <a:pt x="1258" y="2059"/>
                  </a:lnTo>
                  <a:lnTo>
                    <a:pt x="1256" y="2062"/>
                  </a:lnTo>
                  <a:lnTo>
                    <a:pt x="1254" y="2064"/>
                  </a:lnTo>
                  <a:lnTo>
                    <a:pt x="1253" y="2066"/>
                  </a:lnTo>
                  <a:lnTo>
                    <a:pt x="1254" y="2066"/>
                  </a:lnTo>
                  <a:lnTo>
                    <a:pt x="1254" y="2067"/>
                  </a:lnTo>
                  <a:lnTo>
                    <a:pt x="1253" y="2069"/>
                  </a:lnTo>
                  <a:lnTo>
                    <a:pt x="1253" y="2071"/>
                  </a:lnTo>
                  <a:lnTo>
                    <a:pt x="1253" y="2074"/>
                  </a:lnTo>
                  <a:lnTo>
                    <a:pt x="1253" y="2076"/>
                  </a:lnTo>
                  <a:lnTo>
                    <a:pt x="1253" y="2077"/>
                  </a:lnTo>
                  <a:lnTo>
                    <a:pt x="1249" y="2081"/>
                  </a:lnTo>
                  <a:lnTo>
                    <a:pt x="1249" y="2083"/>
                  </a:lnTo>
                  <a:lnTo>
                    <a:pt x="1248" y="2083"/>
                  </a:lnTo>
                  <a:lnTo>
                    <a:pt x="1246" y="2084"/>
                  </a:lnTo>
                  <a:lnTo>
                    <a:pt x="1244" y="2086"/>
                  </a:lnTo>
                  <a:lnTo>
                    <a:pt x="1241" y="2084"/>
                  </a:lnTo>
                  <a:lnTo>
                    <a:pt x="1239" y="2084"/>
                  </a:lnTo>
                  <a:lnTo>
                    <a:pt x="1237" y="2086"/>
                  </a:lnTo>
                  <a:lnTo>
                    <a:pt x="1237" y="2088"/>
                  </a:lnTo>
                  <a:lnTo>
                    <a:pt x="1239" y="2088"/>
                  </a:lnTo>
                  <a:lnTo>
                    <a:pt x="1241" y="2088"/>
                  </a:lnTo>
                  <a:lnTo>
                    <a:pt x="1242" y="2088"/>
                  </a:lnTo>
                  <a:lnTo>
                    <a:pt x="1244" y="2088"/>
                  </a:lnTo>
                  <a:lnTo>
                    <a:pt x="1244" y="2091"/>
                  </a:lnTo>
                  <a:lnTo>
                    <a:pt x="1246" y="2091"/>
                  </a:lnTo>
                  <a:lnTo>
                    <a:pt x="1248" y="2093"/>
                  </a:lnTo>
                  <a:lnTo>
                    <a:pt x="1248" y="2094"/>
                  </a:lnTo>
                  <a:lnTo>
                    <a:pt x="1251" y="2098"/>
                  </a:lnTo>
                  <a:lnTo>
                    <a:pt x="1254" y="2101"/>
                  </a:lnTo>
                  <a:lnTo>
                    <a:pt x="1256" y="2103"/>
                  </a:lnTo>
                  <a:lnTo>
                    <a:pt x="1258" y="2106"/>
                  </a:lnTo>
                  <a:lnTo>
                    <a:pt x="1261" y="2108"/>
                  </a:lnTo>
                  <a:lnTo>
                    <a:pt x="1265" y="2110"/>
                  </a:lnTo>
                  <a:lnTo>
                    <a:pt x="1265" y="2111"/>
                  </a:lnTo>
                  <a:lnTo>
                    <a:pt x="1265" y="2113"/>
                  </a:lnTo>
                  <a:lnTo>
                    <a:pt x="1265" y="2115"/>
                  </a:lnTo>
                  <a:lnTo>
                    <a:pt x="1266" y="2113"/>
                  </a:lnTo>
                  <a:lnTo>
                    <a:pt x="1268" y="2113"/>
                  </a:lnTo>
                  <a:lnTo>
                    <a:pt x="1270" y="2113"/>
                  </a:lnTo>
                  <a:lnTo>
                    <a:pt x="1270" y="2115"/>
                  </a:lnTo>
                  <a:lnTo>
                    <a:pt x="1271" y="2117"/>
                  </a:lnTo>
                  <a:lnTo>
                    <a:pt x="1273" y="2117"/>
                  </a:lnTo>
                  <a:lnTo>
                    <a:pt x="1270" y="2125"/>
                  </a:lnTo>
                  <a:lnTo>
                    <a:pt x="1265" y="2135"/>
                  </a:lnTo>
                  <a:lnTo>
                    <a:pt x="1261" y="2137"/>
                  </a:lnTo>
                  <a:lnTo>
                    <a:pt x="1263" y="2140"/>
                  </a:lnTo>
                  <a:lnTo>
                    <a:pt x="1261" y="2140"/>
                  </a:lnTo>
                  <a:lnTo>
                    <a:pt x="1259" y="2139"/>
                  </a:lnTo>
                  <a:lnTo>
                    <a:pt x="1258" y="2140"/>
                  </a:lnTo>
                  <a:lnTo>
                    <a:pt x="1256" y="2140"/>
                  </a:lnTo>
                  <a:lnTo>
                    <a:pt x="1256" y="2139"/>
                  </a:lnTo>
                  <a:lnTo>
                    <a:pt x="1254" y="2140"/>
                  </a:lnTo>
                  <a:lnTo>
                    <a:pt x="1253" y="2140"/>
                  </a:lnTo>
                  <a:lnTo>
                    <a:pt x="1251" y="2139"/>
                  </a:lnTo>
                  <a:lnTo>
                    <a:pt x="1249" y="2137"/>
                  </a:lnTo>
                  <a:lnTo>
                    <a:pt x="1248" y="2137"/>
                  </a:lnTo>
                  <a:lnTo>
                    <a:pt x="1246" y="2137"/>
                  </a:lnTo>
                  <a:lnTo>
                    <a:pt x="1246" y="2135"/>
                  </a:lnTo>
                  <a:lnTo>
                    <a:pt x="1244" y="2135"/>
                  </a:lnTo>
                  <a:lnTo>
                    <a:pt x="1242" y="2134"/>
                  </a:lnTo>
                  <a:lnTo>
                    <a:pt x="1242" y="2132"/>
                  </a:lnTo>
                  <a:lnTo>
                    <a:pt x="1241" y="2132"/>
                  </a:lnTo>
                  <a:lnTo>
                    <a:pt x="1239" y="2130"/>
                  </a:lnTo>
                  <a:lnTo>
                    <a:pt x="1236" y="2130"/>
                  </a:lnTo>
                  <a:lnTo>
                    <a:pt x="1236" y="2128"/>
                  </a:lnTo>
                  <a:lnTo>
                    <a:pt x="1234" y="2128"/>
                  </a:lnTo>
                  <a:lnTo>
                    <a:pt x="1232" y="2127"/>
                  </a:lnTo>
                  <a:lnTo>
                    <a:pt x="1229" y="2127"/>
                  </a:lnTo>
                  <a:lnTo>
                    <a:pt x="1227" y="2125"/>
                  </a:lnTo>
                  <a:lnTo>
                    <a:pt x="1225" y="2125"/>
                  </a:lnTo>
                  <a:lnTo>
                    <a:pt x="1222" y="2123"/>
                  </a:lnTo>
                  <a:lnTo>
                    <a:pt x="1220" y="2123"/>
                  </a:lnTo>
                  <a:lnTo>
                    <a:pt x="1220" y="2122"/>
                  </a:lnTo>
                  <a:lnTo>
                    <a:pt x="1217" y="2123"/>
                  </a:lnTo>
                  <a:lnTo>
                    <a:pt x="1215" y="2122"/>
                  </a:lnTo>
                  <a:lnTo>
                    <a:pt x="1215" y="2120"/>
                  </a:lnTo>
                  <a:lnTo>
                    <a:pt x="1214" y="2122"/>
                  </a:lnTo>
                  <a:lnTo>
                    <a:pt x="1212" y="2122"/>
                  </a:lnTo>
                  <a:lnTo>
                    <a:pt x="1212" y="2120"/>
                  </a:lnTo>
                  <a:lnTo>
                    <a:pt x="1210" y="2120"/>
                  </a:lnTo>
                  <a:lnTo>
                    <a:pt x="1210" y="2118"/>
                  </a:lnTo>
                  <a:lnTo>
                    <a:pt x="1208" y="2120"/>
                  </a:lnTo>
                  <a:lnTo>
                    <a:pt x="1208" y="2118"/>
                  </a:lnTo>
                  <a:lnTo>
                    <a:pt x="1207" y="2118"/>
                  </a:lnTo>
                  <a:lnTo>
                    <a:pt x="1205" y="2120"/>
                  </a:lnTo>
                  <a:lnTo>
                    <a:pt x="1205" y="2123"/>
                  </a:lnTo>
                  <a:lnTo>
                    <a:pt x="1203" y="2125"/>
                  </a:lnTo>
                  <a:lnTo>
                    <a:pt x="1203" y="2128"/>
                  </a:lnTo>
                  <a:lnTo>
                    <a:pt x="1203" y="2132"/>
                  </a:lnTo>
                  <a:lnTo>
                    <a:pt x="1202" y="2132"/>
                  </a:lnTo>
                  <a:lnTo>
                    <a:pt x="1202" y="2135"/>
                  </a:lnTo>
                  <a:lnTo>
                    <a:pt x="1200" y="2135"/>
                  </a:lnTo>
                  <a:lnTo>
                    <a:pt x="1202" y="2137"/>
                  </a:lnTo>
                  <a:lnTo>
                    <a:pt x="1205" y="2139"/>
                  </a:lnTo>
                  <a:lnTo>
                    <a:pt x="1203" y="2142"/>
                  </a:lnTo>
                  <a:lnTo>
                    <a:pt x="1207" y="2144"/>
                  </a:lnTo>
                  <a:lnTo>
                    <a:pt x="1210" y="2145"/>
                  </a:lnTo>
                  <a:lnTo>
                    <a:pt x="1210" y="2147"/>
                  </a:lnTo>
                  <a:lnTo>
                    <a:pt x="1210" y="2151"/>
                  </a:lnTo>
                  <a:lnTo>
                    <a:pt x="1208" y="2156"/>
                  </a:lnTo>
                  <a:lnTo>
                    <a:pt x="1208" y="2159"/>
                  </a:lnTo>
                  <a:lnTo>
                    <a:pt x="1208" y="2161"/>
                  </a:lnTo>
                  <a:lnTo>
                    <a:pt x="1205" y="2164"/>
                  </a:lnTo>
                  <a:lnTo>
                    <a:pt x="1203" y="2168"/>
                  </a:lnTo>
                  <a:lnTo>
                    <a:pt x="1202" y="2169"/>
                  </a:lnTo>
                  <a:lnTo>
                    <a:pt x="1200" y="2169"/>
                  </a:lnTo>
                  <a:lnTo>
                    <a:pt x="1200" y="2171"/>
                  </a:lnTo>
                  <a:lnTo>
                    <a:pt x="1202" y="2174"/>
                  </a:lnTo>
                  <a:lnTo>
                    <a:pt x="1202" y="2176"/>
                  </a:lnTo>
                  <a:lnTo>
                    <a:pt x="1203" y="2178"/>
                  </a:lnTo>
                  <a:lnTo>
                    <a:pt x="1203" y="2180"/>
                  </a:lnTo>
                  <a:lnTo>
                    <a:pt x="1205" y="2181"/>
                  </a:lnTo>
                  <a:lnTo>
                    <a:pt x="1207" y="2185"/>
                  </a:lnTo>
                  <a:lnTo>
                    <a:pt x="1208" y="2191"/>
                  </a:lnTo>
                  <a:lnTo>
                    <a:pt x="1208" y="2193"/>
                  </a:lnTo>
                  <a:lnTo>
                    <a:pt x="1210" y="2198"/>
                  </a:lnTo>
                  <a:lnTo>
                    <a:pt x="1212" y="2200"/>
                  </a:lnTo>
                  <a:lnTo>
                    <a:pt x="1212" y="2203"/>
                  </a:lnTo>
                  <a:lnTo>
                    <a:pt x="1214" y="2205"/>
                  </a:lnTo>
                  <a:lnTo>
                    <a:pt x="1217" y="2205"/>
                  </a:lnTo>
                  <a:lnTo>
                    <a:pt x="1219" y="2207"/>
                  </a:lnTo>
                  <a:lnTo>
                    <a:pt x="1219" y="2205"/>
                  </a:lnTo>
                  <a:lnTo>
                    <a:pt x="1219" y="2207"/>
                  </a:lnTo>
                  <a:lnTo>
                    <a:pt x="1222" y="2207"/>
                  </a:lnTo>
                  <a:lnTo>
                    <a:pt x="1224" y="2207"/>
                  </a:lnTo>
                  <a:lnTo>
                    <a:pt x="1225" y="2207"/>
                  </a:lnTo>
                  <a:lnTo>
                    <a:pt x="1225" y="2208"/>
                  </a:lnTo>
                  <a:lnTo>
                    <a:pt x="1227" y="2208"/>
                  </a:lnTo>
                  <a:lnTo>
                    <a:pt x="1231" y="2210"/>
                  </a:lnTo>
                  <a:lnTo>
                    <a:pt x="1231" y="2212"/>
                  </a:lnTo>
                  <a:lnTo>
                    <a:pt x="1232" y="2215"/>
                  </a:lnTo>
                  <a:lnTo>
                    <a:pt x="1232" y="2217"/>
                  </a:lnTo>
                  <a:lnTo>
                    <a:pt x="1232" y="2220"/>
                  </a:lnTo>
                  <a:lnTo>
                    <a:pt x="1232" y="2222"/>
                  </a:lnTo>
                  <a:lnTo>
                    <a:pt x="1231" y="2225"/>
                  </a:lnTo>
                  <a:lnTo>
                    <a:pt x="1229" y="2227"/>
                  </a:lnTo>
                  <a:lnTo>
                    <a:pt x="1227" y="2229"/>
                  </a:lnTo>
                  <a:lnTo>
                    <a:pt x="1227" y="2231"/>
                  </a:lnTo>
                  <a:lnTo>
                    <a:pt x="1227" y="2234"/>
                  </a:lnTo>
                  <a:lnTo>
                    <a:pt x="1229" y="2239"/>
                  </a:lnTo>
                  <a:lnTo>
                    <a:pt x="1229" y="2241"/>
                  </a:lnTo>
                  <a:lnTo>
                    <a:pt x="1229" y="2242"/>
                  </a:lnTo>
                  <a:lnTo>
                    <a:pt x="1229" y="2244"/>
                  </a:lnTo>
                  <a:lnTo>
                    <a:pt x="1231" y="2249"/>
                  </a:lnTo>
                  <a:lnTo>
                    <a:pt x="1231" y="2251"/>
                  </a:lnTo>
                  <a:lnTo>
                    <a:pt x="1232" y="2265"/>
                  </a:lnTo>
                  <a:lnTo>
                    <a:pt x="1232" y="2268"/>
                  </a:lnTo>
                  <a:lnTo>
                    <a:pt x="1234" y="2268"/>
                  </a:lnTo>
                  <a:lnTo>
                    <a:pt x="1242" y="2266"/>
                  </a:lnTo>
                  <a:lnTo>
                    <a:pt x="1246" y="2266"/>
                  </a:lnTo>
                  <a:lnTo>
                    <a:pt x="1248" y="2266"/>
                  </a:lnTo>
                  <a:lnTo>
                    <a:pt x="1253" y="2266"/>
                  </a:lnTo>
                  <a:lnTo>
                    <a:pt x="1254" y="2265"/>
                  </a:lnTo>
                  <a:lnTo>
                    <a:pt x="1256" y="2265"/>
                  </a:lnTo>
                  <a:lnTo>
                    <a:pt x="1258" y="2265"/>
                  </a:lnTo>
                  <a:lnTo>
                    <a:pt x="1259" y="2265"/>
                  </a:lnTo>
                  <a:lnTo>
                    <a:pt x="1263" y="2263"/>
                  </a:lnTo>
                  <a:lnTo>
                    <a:pt x="1265" y="2263"/>
                  </a:lnTo>
                  <a:lnTo>
                    <a:pt x="1266" y="2266"/>
                  </a:lnTo>
                  <a:lnTo>
                    <a:pt x="1266" y="2268"/>
                  </a:lnTo>
                  <a:lnTo>
                    <a:pt x="1266" y="2270"/>
                  </a:lnTo>
                  <a:lnTo>
                    <a:pt x="1268" y="2270"/>
                  </a:lnTo>
                  <a:lnTo>
                    <a:pt x="1268" y="2273"/>
                  </a:lnTo>
                  <a:lnTo>
                    <a:pt x="1268" y="2275"/>
                  </a:lnTo>
                  <a:lnTo>
                    <a:pt x="1275" y="2273"/>
                  </a:lnTo>
                  <a:lnTo>
                    <a:pt x="1275" y="2275"/>
                  </a:lnTo>
                  <a:lnTo>
                    <a:pt x="1273" y="2275"/>
                  </a:lnTo>
                  <a:lnTo>
                    <a:pt x="1273" y="2276"/>
                  </a:lnTo>
                  <a:lnTo>
                    <a:pt x="1273" y="2278"/>
                  </a:lnTo>
                  <a:lnTo>
                    <a:pt x="1271" y="2282"/>
                  </a:lnTo>
                  <a:lnTo>
                    <a:pt x="1273" y="2282"/>
                  </a:lnTo>
                  <a:lnTo>
                    <a:pt x="1273" y="2283"/>
                  </a:lnTo>
                  <a:lnTo>
                    <a:pt x="1276" y="2285"/>
                  </a:lnTo>
                  <a:lnTo>
                    <a:pt x="1280" y="2287"/>
                  </a:lnTo>
                  <a:lnTo>
                    <a:pt x="1280" y="2290"/>
                  </a:lnTo>
                  <a:lnTo>
                    <a:pt x="1283" y="2292"/>
                  </a:lnTo>
                  <a:lnTo>
                    <a:pt x="1287" y="2292"/>
                  </a:lnTo>
                  <a:lnTo>
                    <a:pt x="1290" y="2293"/>
                  </a:lnTo>
                  <a:lnTo>
                    <a:pt x="1292" y="2293"/>
                  </a:lnTo>
                  <a:lnTo>
                    <a:pt x="1295" y="2292"/>
                  </a:lnTo>
                  <a:lnTo>
                    <a:pt x="1293" y="2290"/>
                  </a:lnTo>
                  <a:lnTo>
                    <a:pt x="1293" y="2285"/>
                  </a:lnTo>
                  <a:lnTo>
                    <a:pt x="1293" y="2283"/>
                  </a:lnTo>
                  <a:lnTo>
                    <a:pt x="1295" y="2283"/>
                  </a:lnTo>
                  <a:lnTo>
                    <a:pt x="1300" y="2282"/>
                  </a:lnTo>
                  <a:lnTo>
                    <a:pt x="1302" y="2282"/>
                  </a:lnTo>
                  <a:lnTo>
                    <a:pt x="1304" y="2282"/>
                  </a:lnTo>
                  <a:lnTo>
                    <a:pt x="1304" y="2283"/>
                  </a:lnTo>
                  <a:lnTo>
                    <a:pt x="1305" y="2282"/>
                  </a:lnTo>
                  <a:lnTo>
                    <a:pt x="1307" y="2280"/>
                  </a:lnTo>
                  <a:lnTo>
                    <a:pt x="1310" y="2278"/>
                  </a:lnTo>
                  <a:lnTo>
                    <a:pt x="1316" y="2276"/>
                  </a:lnTo>
                  <a:lnTo>
                    <a:pt x="1317" y="2275"/>
                  </a:lnTo>
                  <a:lnTo>
                    <a:pt x="1319" y="2273"/>
                  </a:lnTo>
                  <a:lnTo>
                    <a:pt x="1322" y="2273"/>
                  </a:lnTo>
                  <a:lnTo>
                    <a:pt x="1324" y="2273"/>
                  </a:lnTo>
                  <a:lnTo>
                    <a:pt x="1326" y="2273"/>
                  </a:lnTo>
                  <a:lnTo>
                    <a:pt x="1327" y="2273"/>
                  </a:lnTo>
                  <a:lnTo>
                    <a:pt x="1338" y="2278"/>
                  </a:lnTo>
                  <a:lnTo>
                    <a:pt x="1346" y="2283"/>
                  </a:lnTo>
                  <a:lnTo>
                    <a:pt x="1348" y="2285"/>
                  </a:lnTo>
                  <a:lnTo>
                    <a:pt x="1351" y="2283"/>
                  </a:lnTo>
                  <a:lnTo>
                    <a:pt x="1358" y="2288"/>
                  </a:lnTo>
                  <a:lnTo>
                    <a:pt x="1361" y="2290"/>
                  </a:lnTo>
                  <a:lnTo>
                    <a:pt x="1367" y="2295"/>
                  </a:lnTo>
                  <a:lnTo>
                    <a:pt x="1370" y="2299"/>
                  </a:lnTo>
                  <a:lnTo>
                    <a:pt x="1373" y="2299"/>
                  </a:lnTo>
                  <a:lnTo>
                    <a:pt x="1385" y="2304"/>
                  </a:lnTo>
                  <a:lnTo>
                    <a:pt x="1390" y="2307"/>
                  </a:lnTo>
                  <a:lnTo>
                    <a:pt x="1392" y="2309"/>
                  </a:lnTo>
                  <a:lnTo>
                    <a:pt x="1394" y="2310"/>
                  </a:lnTo>
                  <a:lnTo>
                    <a:pt x="1395" y="2310"/>
                  </a:lnTo>
                  <a:lnTo>
                    <a:pt x="1394" y="2312"/>
                  </a:lnTo>
                  <a:lnTo>
                    <a:pt x="1394" y="2314"/>
                  </a:lnTo>
                  <a:lnTo>
                    <a:pt x="1392" y="2316"/>
                  </a:lnTo>
                  <a:lnTo>
                    <a:pt x="1390" y="2317"/>
                  </a:lnTo>
                  <a:lnTo>
                    <a:pt x="1387" y="2321"/>
                  </a:lnTo>
                  <a:lnTo>
                    <a:pt x="1382" y="2317"/>
                  </a:lnTo>
                  <a:lnTo>
                    <a:pt x="1378" y="2317"/>
                  </a:lnTo>
                  <a:lnTo>
                    <a:pt x="1378" y="2319"/>
                  </a:lnTo>
                  <a:lnTo>
                    <a:pt x="1377" y="2321"/>
                  </a:lnTo>
                  <a:lnTo>
                    <a:pt x="1375" y="2322"/>
                  </a:lnTo>
                  <a:lnTo>
                    <a:pt x="1375" y="2324"/>
                  </a:lnTo>
                  <a:lnTo>
                    <a:pt x="1377" y="2326"/>
                  </a:lnTo>
                  <a:lnTo>
                    <a:pt x="1375" y="2328"/>
                  </a:lnTo>
                  <a:lnTo>
                    <a:pt x="1377" y="2329"/>
                  </a:lnTo>
                  <a:lnTo>
                    <a:pt x="1378" y="2328"/>
                  </a:lnTo>
                  <a:lnTo>
                    <a:pt x="1380" y="2328"/>
                  </a:lnTo>
                  <a:lnTo>
                    <a:pt x="1382" y="2329"/>
                  </a:lnTo>
                  <a:lnTo>
                    <a:pt x="1384" y="2329"/>
                  </a:lnTo>
                  <a:lnTo>
                    <a:pt x="1382" y="2331"/>
                  </a:lnTo>
                  <a:lnTo>
                    <a:pt x="1382" y="2333"/>
                  </a:lnTo>
                  <a:lnTo>
                    <a:pt x="1384" y="2333"/>
                  </a:lnTo>
                  <a:lnTo>
                    <a:pt x="1385" y="2333"/>
                  </a:lnTo>
                  <a:lnTo>
                    <a:pt x="1387" y="2331"/>
                  </a:lnTo>
                  <a:lnTo>
                    <a:pt x="1389" y="2331"/>
                  </a:lnTo>
                  <a:lnTo>
                    <a:pt x="1392" y="2329"/>
                  </a:lnTo>
                  <a:lnTo>
                    <a:pt x="1394" y="2329"/>
                  </a:lnTo>
                  <a:lnTo>
                    <a:pt x="1395" y="2331"/>
                  </a:lnTo>
                  <a:lnTo>
                    <a:pt x="1397" y="2331"/>
                  </a:lnTo>
                  <a:lnTo>
                    <a:pt x="1399" y="2331"/>
                  </a:lnTo>
                  <a:lnTo>
                    <a:pt x="1402" y="2331"/>
                  </a:lnTo>
                  <a:lnTo>
                    <a:pt x="1404" y="2331"/>
                  </a:lnTo>
                  <a:lnTo>
                    <a:pt x="1407" y="2329"/>
                  </a:lnTo>
                  <a:lnTo>
                    <a:pt x="1411" y="2331"/>
                  </a:lnTo>
                  <a:lnTo>
                    <a:pt x="1412" y="2331"/>
                  </a:lnTo>
                  <a:lnTo>
                    <a:pt x="1414" y="2331"/>
                  </a:lnTo>
                  <a:lnTo>
                    <a:pt x="1416" y="2334"/>
                  </a:lnTo>
                  <a:lnTo>
                    <a:pt x="1418" y="2336"/>
                  </a:lnTo>
                  <a:lnTo>
                    <a:pt x="1418" y="2338"/>
                  </a:lnTo>
                  <a:lnTo>
                    <a:pt x="1416" y="2336"/>
                  </a:lnTo>
                  <a:lnTo>
                    <a:pt x="1416" y="2338"/>
                  </a:lnTo>
                  <a:lnTo>
                    <a:pt x="1416" y="2339"/>
                  </a:lnTo>
                  <a:lnTo>
                    <a:pt x="1416" y="2343"/>
                  </a:lnTo>
                  <a:lnTo>
                    <a:pt x="1416" y="2345"/>
                  </a:lnTo>
                  <a:lnTo>
                    <a:pt x="1418" y="2345"/>
                  </a:lnTo>
                  <a:lnTo>
                    <a:pt x="1418" y="2346"/>
                  </a:lnTo>
                  <a:lnTo>
                    <a:pt x="1416" y="2346"/>
                  </a:lnTo>
                  <a:lnTo>
                    <a:pt x="1418" y="2346"/>
                  </a:lnTo>
                  <a:lnTo>
                    <a:pt x="1418" y="2348"/>
                  </a:lnTo>
                  <a:lnTo>
                    <a:pt x="1418" y="2351"/>
                  </a:lnTo>
                  <a:lnTo>
                    <a:pt x="1416" y="2350"/>
                  </a:lnTo>
                  <a:lnTo>
                    <a:pt x="1418" y="2351"/>
                  </a:lnTo>
                  <a:lnTo>
                    <a:pt x="1416" y="2351"/>
                  </a:lnTo>
                  <a:lnTo>
                    <a:pt x="1414" y="2351"/>
                  </a:lnTo>
                  <a:lnTo>
                    <a:pt x="1416" y="2353"/>
                  </a:lnTo>
                  <a:lnTo>
                    <a:pt x="1414" y="2355"/>
                  </a:lnTo>
                  <a:lnTo>
                    <a:pt x="1414" y="2356"/>
                  </a:lnTo>
                  <a:lnTo>
                    <a:pt x="1414" y="2358"/>
                  </a:lnTo>
                  <a:lnTo>
                    <a:pt x="1414" y="2360"/>
                  </a:lnTo>
                  <a:lnTo>
                    <a:pt x="1414" y="2362"/>
                  </a:lnTo>
                  <a:lnTo>
                    <a:pt x="1416" y="2363"/>
                  </a:lnTo>
                  <a:lnTo>
                    <a:pt x="1418" y="2363"/>
                  </a:lnTo>
                  <a:lnTo>
                    <a:pt x="1418" y="2365"/>
                  </a:lnTo>
                  <a:lnTo>
                    <a:pt x="1419" y="2367"/>
                  </a:lnTo>
                  <a:lnTo>
                    <a:pt x="1418" y="2365"/>
                  </a:lnTo>
                  <a:lnTo>
                    <a:pt x="1416" y="2365"/>
                  </a:lnTo>
                  <a:lnTo>
                    <a:pt x="1416" y="2367"/>
                  </a:lnTo>
                  <a:lnTo>
                    <a:pt x="1414" y="2367"/>
                  </a:lnTo>
                  <a:lnTo>
                    <a:pt x="1414" y="2365"/>
                  </a:lnTo>
                  <a:lnTo>
                    <a:pt x="1412" y="2363"/>
                  </a:lnTo>
                  <a:lnTo>
                    <a:pt x="1411" y="2363"/>
                  </a:lnTo>
                  <a:lnTo>
                    <a:pt x="1409" y="2362"/>
                  </a:lnTo>
                  <a:lnTo>
                    <a:pt x="1409" y="2363"/>
                  </a:lnTo>
                  <a:lnTo>
                    <a:pt x="1407" y="2367"/>
                  </a:lnTo>
                  <a:lnTo>
                    <a:pt x="1407" y="2368"/>
                  </a:lnTo>
                  <a:lnTo>
                    <a:pt x="1409" y="2367"/>
                  </a:lnTo>
                  <a:lnTo>
                    <a:pt x="1409" y="2365"/>
                  </a:lnTo>
                  <a:lnTo>
                    <a:pt x="1411" y="2365"/>
                  </a:lnTo>
                  <a:lnTo>
                    <a:pt x="1412" y="2365"/>
                  </a:lnTo>
                  <a:lnTo>
                    <a:pt x="1412" y="2368"/>
                  </a:lnTo>
                  <a:lnTo>
                    <a:pt x="1414" y="2368"/>
                  </a:lnTo>
                  <a:lnTo>
                    <a:pt x="1414" y="2370"/>
                  </a:lnTo>
                  <a:lnTo>
                    <a:pt x="1416" y="2372"/>
                  </a:lnTo>
                  <a:lnTo>
                    <a:pt x="1418" y="2372"/>
                  </a:lnTo>
                  <a:lnTo>
                    <a:pt x="1418" y="2373"/>
                  </a:lnTo>
                  <a:lnTo>
                    <a:pt x="1414" y="2373"/>
                  </a:lnTo>
                  <a:lnTo>
                    <a:pt x="1416" y="2372"/>
                  </a:lnTo>
                  <a:lnTo>
                    <a:pt x="1411" y="2372"/>
                  </a:lnTo>
                  <a:lnTo>
                    <a:pt x="1409" y="2370"/>
                  </a:lnTo>
                  <a:lnTo>
                    <a:pt x="1407" y="2370"/>
                  </a:lnTo>
                  <a:lnTo>
                    <a:pt x="1406" y="2368"/>
                  </a:lnTo>
                  <a:lnTo>
                    <a:pt x="1404" y="2370"/>
                  </a:lnTo>
                  <a:lnTo>
                    <a:pt x="1404" y="2372"/>
                  </a:lnTo>
                  <a:lnTo>
                    <a:pt x="1404" y="2375"/>
                  </a:lnTo>
                  <a:lnTo>
                    <a:pt x="1402" y="2375"/>
                  </a:lnTo>
                  <a:lnTo>
                    <a:pt x="1402" y="2377"/>
                  </a:lnTo>
                  <a:lnTo>
                    <a:pt x="1402" y="2379"/>
                  </a:lnTo>
                  <a:lnTo>
                    <a:pt x="1402" y="2380"/>
                  </a:lnTo>
                  <a:lnTo>
                    <a:pt x="1402" y="2382"/>
                  </a:lnTo>
                  <a:lnTo>
                    <a:pt x="1402" y="2384"/>
                  </a:lnTo>
                  <a:lnTo>
                    <a:pt x="1406" y="2384"/>
                  </a:lnTo>
                  <a:lnTo>
                    <a:pt x="1406" y="2387"/>
                  </a:lnTo>
                  <a:lnTo>
                    <a:pt x="1406" y="2389"/>
                  </a:lnTo>
                  <a:lnTo>
                    <a:pt x="1409" y="2387"/>
                  </a:lnTo>
                  <a:lnTo>
                    <a:pt x="1407" y="2387"/>
                  </a:lnTo>
                  <a:lnTo>
                    <a:pt x="1406" y="2385"/>
                  </a:lnTo>
                  <a:lnTo>
                    <a:pt x="1407" y="2385"/>
                  </a:lnTo>
                  <a:lnTo>
                    <a:pt x="1409" y="2389"/>
                  </a:lnTo>
                  <a:lnTo>
                    <a:pt x="1411" y="2389"/>
                  </a:lnTo>
                  <a:lnTo>
                    <a:pt x="1409" y="2389"/>
                  </a:lnTo>
                  <a:lnTo>
                    <a:pt x="1407" y="2389"/>
                  </a:lnTo>
                  <a:lnTo>
                    <a:pt x="1407" y="2390"/>
                  </a:lnTo>
                  <a:lnTo>
                    <a:pt x="1406" y="2390"/>
                  </a:lnTo>
                  <a:lnTo>
                    <a:pt x="1404" y="2389"/>
                  </a:lnTo>
                  <a:lnTo>
                    <a:pt x="1406" y="2390"/>
                  </a:lnTo>
                  <a:lnTo>
                    <a:pt x="1406" y="2392"/>
                  </a:lnTo>
                  <a:lnTo>
                    <a:pt x="1402" y="2390"/>
                  </a:lnTo>
                  <a:lnTo>
                    <a:pt x="1401" y="2389"/>
                  </a:lnTo>
                  <a:lnTo>
                    <a:pt x="1402" y="2389"/>
                  </a:lnTo>
                  <a:lnTo>
                    <a:pt x="1401" y="2387"/>
                  </a:lnTo>
                  <a:lnTo>
                    <a:pt x="1401" y="2390"/>
                  </a:lnTo>
                  <a:lnTo>
                    <a:pt x="1399" y="2389"/>
                  </a:lnTo>
                  <a:lnTo>
                    <a:pt x="1399" y="2390"/>
                  </a:lnTo>
                  <a:lnTo>
                    <a:pt x="1401" y="2392"/>
                  </a:lnTo>
                  <a:lnTo>
                    <a:pt x="1397" y="2392"/>
                  </a:lnTo>
                  <a:lnTo>
                    <a:pt x="1399" y="2392"/>
                  </a:lnTo>
                  <a:lnTo>
                    <a:pt x="1397" y="2394"/>
                  </a:lnTo>
                  <a:lnTo>
                    <a:pt x="1395" y="2396"/>
                  </a:lnTo>
                  <a:lnTo>
                    <a:pt x="1397" y="2396"/>
                  </a:lnTo>
                  <a:lnTo>
                    <a:pt x="1395" y="2397"/>
                  </a:lnTo>
                  <a:lnTo>
                    <a:pt x="1394" y="2397"/>
                  </a:lnTo>
                  <a:lnTo>
                    <a:pt x="1394" y="2396"/>
                  </a:lnTo>
                  <a:lnTo>
                    <a:pt x="1392" y="2396"/>
                  </a:lnTo>
                  <a:lnTo>
                    <a:pt x="1392" y="2397"/>
                  </a:lnTo>
                  <a:lnTo>
                    <a:pt x="1390" y="2399"/>
                  </a:lnTo>
                  <a:lnTo>
                    <a:pt x="1390" y="2401"/>
                  </a:lnTo>
                  <a:lnTo>
                    <a:pt x="1389" y="2399"/>
                  </a:lnTo>
                  <a:lnTo>
                    <a:pt x="1387" y="2401"/>
                  </a:lnTo>
                  <a:lnTo>
                    <a:pt x="1385" y="2401"/>
                  </a:lnTo>
                  <a:lnTo>
                    <a:pt x="1385" y="2402"/>
                  </a:lnTo>
                  <a:lnTo>
                    <a:pt x="1384" y="2399"/>
                  </a:lnTo>
                  <a:lnTo>
                    <a:pt x="1384" y="2401"/>
                  </a:lnTo>
                  <a:lnTo>
                    <a:pt x="1384" y="2402"/>
                  </a:lnTo>
                  <a:lnTo>
                    <a:pt x="1384" y="2404"/>
                  </a:lnTo>
                  <a:lnTo>
                    <a:pt x="1385" y="2406"/>
                  </a:lnTo>
                  <a:lnTo>
                    <a:pt x="1385" y="2407"/>
                  </a:lnTo>
                  <a:lnTo>
                    <a:pt x="1387" y="2406"/>
                  </a:lnTo>
                  <a:lnTo>
                    <a:pt x="1389" y="2406"/>
                  </a:lnTo>
                  <a:lnTo>
                    <a:pt x="1389" y="2407"/>
                  </a:lnTo>
                  <a:lnTo>
                    <a:pt x="1390" y="2407"/>
                  </a:lnTo>
                  <a:lnTo>
                    <a:pt x="1392" y="2413"/>
                  </a:lnTo>
                  <a:lnTo>
                    <a:pt x="1394" y="2414"/>
                  </a:lnTo>
                  <a:lnTo>
                    <a:pt x="1394" y="2416"/>
                  </a:lnTo>
                  <a:lnTo>
                    <a:pt x="1392" y="2414"/>
                  </a:lnTo>
                  <a:lnTo>
                    <a:pt x="1390" y="2414"/>
                  </a:lnTo>
                  <a:lnTo>
                    <a:pt x="1389" y="2413"/>
                  </a:lnTo>
                  <a:lnTo>
                    <a:pt x="1385" y="2411"/>
                  </a:lnTo>
                  <a:lnTo>
                    <a:pt x="1385" y="2409"/>
                  </a:lnTo>
                  <a:lnTo>
                    <a:pt x="1384" y="2407"/>
                  </a:lnTo>
                  <a:lnTo>
                    <a:pt x="1384" y="2409"/>
                  </a:lnTo>
                  <a:lnTo>
                    <a:pt x="1382" y="2409"/>
                  </a:lnTo>
                  <a:lnTo>
                    <a:pt x="1380" y="2407"/>
                  </a:lnTo>
                  <a:lnTo>
                    <a:pt x="1378" y="2407"/>
                  </a:lnTo>
                  <a:lnTo>
                    <a:pt x="1380" y="2409"/>
                  </a:lnTo>
                  <a:lnTo>
                    <a:pt x="1380" y="2411"/>
                  </a:lnTo>
                  <a:lnTo>
                    <a:pt x="1382" y="2411"/>
                  </a:lnTo>
                  <a:lnTo>
                    <a:pt x="1382" y="2413"/>
                  </a:lnTo>
                  <a:lnTo>
                    <a:pt x="1384" y="2413"/>
                  </a:lnTo>
                  <a:lnTo>
                    <a:pt x="1385" y="2416"/>
                  </a:lnTo>
                  <a:lnTo>
                    <a:pt x="1387" y="2416"/>
                  </a:lnTo>
                  <a:lnTo>
                    <a:pt x="1387" y="2418"/>
                  </a:lnTo>
                  <a:lnTo>
                    <a:pt x="1389" y="2419"/>
                  </a:lnTo>
                  <a:lnTo>
                    <a:pt x="1390" y="2423"/>
                  </a:lnTo>
                  <a:lnTo>
                    <a:pt x="1389" y="2421"/>
                  </a:lnTo>
                  <a:lnTo>
                    <a:pt x="1387" y="2418"/>
                  </a:lnTo>
                  <a:lnTo>
                    <a:pt x="1385" y="2418"/>
                  </a:lnTo>
                  <a:lnTo>
                    <a:pt x="1385" y="2416"/>
                  </a:lnTo>
                  <a:lnTo>
                    <a:pt x="1384" y="2414"/>
                  </a:lnTo>
                  <a:lnTo>
                    <a:pt x="1382" y="2413"/>
                  </a:lnTo>
                  <a:lnTo>
                    <a:pt x="1380" y="2413"/>
                  </a:lnTo>
                  <a:lnTo>
                    <a:pt x="1380" y="2411"/>
                  </a:lnTo>
                  <a:lnTo>
                    <a:pt x="1378" y="2411"/>
                  </a:lnTo>
                  <a:lnTo>
                    <a:pt x="1375" y="2409"/>
                  </a:lnTo>
                  <a:lnTo>
                    <a:pt x="1373" y="2409"/>
                  </a:lnTo>
                  <a:lnTo>
                    <a:pt x="1377" y="2411"/>
                  </a:lnTo>
                  <a:lnTo>
                    <a:pt x="1378" y="2411"/>
                  </a:lnTo>
                  <a:lnTo>
                    <a:pt x="1380" y="2414"/>
                  </a:lnTo>
                  <a:lnTo>
                    <a:pt x="1378" y="2414"/>
                  </a:lnTo>
                  <a:lnTo>
                    <a:pt x="1380" y="2416"/>
                  </a:lnTo>
                  <a:lnTo>
                    <a:pt x="1380" y="2418"/>
                  </a:lnTo>
                  <a:lnTo>
                    <a:pt x="1382" y="2419"/>
                  </a:lnTo>
                  <a:lnTo>
                    <a:pt x="1382" y="2421"/>
                  </a:lnTo>
                  <a:lnTo>
                    <a:pt x="1380" y="2421"/>
                  </a:lnTo>
                  <a:lnTo>
                    <a:pt x="1382" y="2421"/>
                  </a:lnTo>
                  <a:lnTo>
                    <a:pt x="1382" y="2423"/>
                  </a:lnTo>
                  <a:lnTo>
                    <a:pt x="1384" y="2424"/>
                  </a:lnTo>
                  <a:lnTo>
                    <a:pt x="1385" y="2426"/>
                  </a:lnTo>
                  <a:lnTo>
                    <a:pt x="1384" y="2426"/>
                  </a:lnTo>
                  <a:lnTo>
                    <a:pt x="1382" y="2426"/>
                  </a:lnTo>
                  <a:lnTo>
                    <a:pt x="1382" y="2428"/>
                  </a:lnTo>
                  <a:lnTo>
                    <a:pt x="1380" y="2426"/>
                  </a:lnTo>
                  <a:lnTo>
                    <a:pt x="1380" y="2428"/>
                  </a:lnTo>
                  <a:lnTo>
                    <a:pt x="1382" y="2430"/>
                  </a:lnTo>
                  <a:lnTo>
                    <a:pt x="1382" y="2433"/>
                  </a:lnTo>
                  <a:lnTo>
                    <a:pt x="1384" y="2433"/>
                  </a:lnTo>
                  <a:lnTo>
                    <a:pt x="1382" y="2435"/>
                  </a:lnTo>
                  <a:lnTo>
                    <a:pt x="1380" y="2433"/>
                  </a:lnTo>
                  <a:lnTo>
                    <a:pt x="1378" y="2433"/>
                  </a:lnTo>
                  <a:lnTo>
                    <a:pt x="1380" y="2433"/>
                  </a:lnTo>
                  <a:lnTo>
                    <a:pt x="1382" y="2436"/>
                  </a:lnTo>
                  <a:lnTo>
                    <a:pt x="1384" y="2441"/>
                  </a:lnTo>
                  <a:lnTo>
                    <a:pt x="1385" y="2445"/>
                  </a:lnTo>
                  <a:lnTo>
                    <a:pt x="1387" y="2448"/>
                  </a:lnTo>
                  <a:lnTo>
                    <a:pt x="1384" y="2447"/>
                  </a:lnTo>
                  <a:lnTo>
                    <a:pt x="1384" y="2445"/>
                  </a:lnTo>
                  <a:lnTo>
                    <a:pt x="1384" y="2448"/>
                  </a:lnTo>
                  <a:lnTo>
                    <a:pt x="1385" y="2448"/>
                  </a:lnTo>
                  <a:lnTo>
                    <a:pt x="1384" y="2450"/>
                  </a:lnTo>
                  <a:lnTo>
                    <a:pt x="1385" y="2453"/>
                  </a:lnTo>
                  <a:lnTo>
                    <a:pt x="1384" y="2455"/>
                  </a:lnTo>
                  <a:lnTo>
                    <a:pt x="1385" y="2455"/>
                  </a:lnTo>
                  <a:lnTo>
                    <a:pt x="1384" y="2457"/>
                  </a:lnTo>
                  <a:lnTo>
                    <a:pt x="1385" y="2460"/>
                  </a:lnTo>
                  <a:lnTo>
                    <a:pt x="1384" y="2460"/>
                  </a:lnTo>
                  <a:lnTo>
                    <a:pt x="1385" y="2462"/>
                  </a:lnTo>
                  <a:lnTo>
                    <a:pt x="1385" y="2464"/>
                  </a:lnTo>
                  <a:lnTo>
                    <a:pt x="1385" y="2465"/>
                  </a:lnTo>
                  <a:lnTo>
                    <a:pt x="1387" y="2467"/>
                  </a:lnTo>
                  <a:lnTo>
                    <a:pt x="1389" y="2469"/>
                  </a:lnTo>
                  <a:lnTo>
                    <a:pt x="1389" y="2470"/>
                  </a:lnTo>
                  <a:lnTo>
                    <a:pt x="1389" y="2474"/>
                  </a:lnTo>
                  <a:lnTo>
                    <a:pt x="1389" y="2477"/>
                  </a:lnTo>
                  <a:lnTo>
                    <a:pt x="1387" y="2479"/>
                  </a:lnTo>
                  <a:lnTo>
                    <a:pt x="1385" y="2477"/>
                  </a:lnTo>
                  <a:lnTo>
                    <a:pt x="1384" y="2477"/>
                  </a:lnTo>
                  <a:lnTo>
                    <a:pt x="1382" y="2477"/>
                  </a:lnTo>
                  <a:lnTo>
                    <a:pt x="1380" y="2475"/>
                  </a:lnTo>
                  <a:lnTo>
                    <a:pt x="1380" y="2474"/>
                  </a:lnTo>
                  <a:lnTo>
                    <a:pt x="1380" y="2475"/>
                  </a:lnTo>
                  <a:lnTo>
                    <a:pt x="1380" y="2477"/>
                  </a:lnTo>
                  <a:lnTo>
                    <a:pt x="1382" y="2477"/>
                  </a:lnTo>
                  <a:lnTo>
                    <a:pt x="1382" y="2479"/>
                  </a:lnTo>
                  <a:lnTo>
                    <a:pt x="1380" y="2479"/>
                  </a:lnTo>
                  <a:lnTo>
                    <a:pt x="1380" y="2481"/>
                  </a:lnTo>
                  <a:lnTo>
                    <a:pt x="1380" y="2482"/>
                  </a:lnTo>
                  <a:lnTo>
                    <a:pt x="1378" y="2482"/>
                  </a:lnTo>
                  <a:lnTo>
                    <a:pt x="1378" y="2481"/>
                  </a:lnTo>
                  <a:lnTo>
                    <a:pt x="1378" y="2482"/>
                  </a:lnTo>
                  <a:lnTo>
                    <a:pt x="1377" y="2484"/>
                  </a:lnTo>
                  <a:lnTo>
                    <a:pt x="1378" y="2487"/>
                  </a:lnTo>
                  <a:lnTo>
                    <a:pt x="1377" y="2489"/>
                  </a:lnTo>
                  <a:lnTo>
                    <a:pt x="1378" y="2493"/>
                  </a:lnTo>
                  <a:lnTo>
                    <a:pt x="1375" y="2494"/>
                  </a:lnTo>
                  <a:lnTo>
                    <a:pt x="1377" y="2494"/>
                  </a:lnTo>
                  <a:lnTo>
                    <a:pt x="1378" y="2493"/>
                  </a:lnTo>
                  <a:lnTo>
                    <a:pt x="1377" y="2496"/>
                  </a:lnTo>
                  <a:lnTo>
                    <a:pt x="1380" y="2496"/>
                  </a:lnTo>
                  <a:lnTo>
                    <a:pt x="1380" y="2498"/>
                  </a:lnTo>
                  <a:lnTo>
                    <a:pt x="1382" y="2499"/>
                  </a:lnTo>
                  <a:lnTo>
                    <a:pt x="1384" y="2499"/>
                  </a:lnTo>
                  <a:lnTo>
                    <a:pt x="1384" y="2501"/>
                  </a:lnTo>
                  <a:lnTo>
                    <a:pt x="1382" y="2503"/>
                  </a:lnTo>
                  <a:lnTo>
                    <a:pt x="1380" y="2503"/>
                  </a:lnTo>
                  <a:lnTo>
                    <a:pt x="1378" y="2501"/>
                  </a:lnTo>
                  <a:lnTo>
                    <a:pt x="1380" y="2499"/>
                  </a:lnTo>
                  <a:lnTo>
                    <a:pt x="1378" y="2496"/>
                  </a:lnTo>
                  <a:lnTo>
                    <a:pt x="1378" y="2498"/>
                  </a:lnTo>
                  <a:lnTo>
                    <a:pt x="1377" y="2498"/>
                  </a:lnTo>
                  <a:lnTo>
                    <a:pt x="1378" y="2499"/>
                  </a:lnTo>
                  <a:lnTo>
                    <a:pt x="1378" y="2501"/>
                  </a:lnTo>
                  <a:lnTo>
                    <a:pt x="1375" y="2503"/>
                  </a:lnTo>
                  <a:lnTo>
                    <a:pt x="1377" y="2504"/>
                  </a:lnTo>
                  <a:lnTo>
                    <a:pt x="1378" y="2506"/>
                  </a:lnTo>
                  <a:lnTo>
                    <a:pt x="1380" y="2508"/>
                  </a:lnTo>
                  <a:lnTo>
                    <a:pt x="1382" y="2508"/>
                  </a:lnTo>
                  <a:lnTo>
                    <a:pt x="1382" y="2506"/>
                  </a:lnTo>
                  <a:lnTo>
                    <a:pt x="1382" y="2508"/>
                  </a:lnTo>
                  <a:lnTo>
                    <a:pt x="1384" y="2506"/>
                  </a:lnTo>
                  <a:lnTo>
                    <a:pt x="1384" y="2510"/>
                  </a:lnTo>
                  <a:lnTo>
                    <a:pt x="1385" y="2508"/>
                  </a:lnTo>
                  <a:lnTo>
                    <a:pt x="1387" y="2506"/>
                  </a:lnTo>
                  <a:lnTo>
                    <a:pt x="1387" y="2504"/>
                  </a:lnTo>
                  <a:lnTo>
                    <a:pt x="1387" y="2506"/>
                  </a:lnTo>
                  <a:lnTo>
                    <a:pt x="1390" y="2506"/>
                  </a:lnTo>
                  <a:lnTo>
                    <a:pt x="1392" y="2504"/>
                  </a:lnTo>
                  <a:lnTo>
                    <a:pt x="1395" y="2504"/>
                  </a:lnTo>
                  <a:lnTo>
                    <a:pt x="1397" y="2506"/>
                  </a:lnTo>
                  <a:lnTo>
                    <a:pt x="1399" y="2508"/>
                  </a:lnTo>
                  <a:lnTo>
                    <a:pt x="1401" y="2510"/>
                  </a:lnTo>
                  <a:lnTo>
                    <a:pt x="1402" y="2511"/>
                  </a:lnTo>
                  <a:lnTo>
                    <a:pt x="1404" y="2511"/>
                  </a:lnTo>
                  <a:lnTo>
                    <a:pt x="1406" y="2511"/>
                  </a:lnTo>
                  <a:lnTo>
                    <a:pt x="1407" y="2510"/>
                  </a:lnTo>
                  <a:lnTo>
                    <a:pt x="1409" y="2508"/>
                  </a:lnTo>
                  <a:lnTo>
                    <a:pt x="1411" y="2510"/>
                  </a:lnTo>
                  <a:lnTo>
                    <a:pt x="1412" y="2511"/>
                  </a:lnTo>
                  <a:lnTo>
                    <a:pt x="1416" y="2515"/>
                  </a:lnTo>
                  <a:lnTo>
                    <a:pt x="1418" y="2516"/>
                  </a:lnTo>
                  <a:lnTo>
                    <a:pt x="1419" y="2518"/>
                  </a:lnTo>
                  <a:lnTo>
                    <a:pt x="1423" y="2518"/>
                  </a:lnTo>
                  <a:lnTo>
                    <a:pt x="1424" y="2518"/>
                  </a:lnTo>
                  <a:lnTo>
                    <a:pt x="1426" y="2520"/>
                  </a:lnTo>
                  <a:lnTo>
                    <a:pt x="1428" y="2521"/>
                  </a:lnTo>
                  <a:lnTo>
                    <a:pt x="1428" y="2523"/>
                  </a:lnTo>
                  <a:lnTo>
                    <a:pt x="1429" y="2523"/>
                  </a:lnTo>
                  <a:lnTo>
                    <a:pt x="1431" y="2525"/>
                  </a:lnTo>
                  <a:lnTo>
                    <a:pt x="1433" y="2523"/>
                  </a:lnTo>
                  <a:lnTo>
                    <a:pt x="1433" y="2527"/>
                  </a:lnTo>
                  <a:lnTo>
                    <a:pt x="1435" y="2525"/>
                  </a:lnTo>
                  <a:lnTo>
                    <a:pt x="1436" y="2525"/>
                  </a:lnTo>
                  <a:lnTo>
                    <a:pt x="1438" y="2527"/>
                  </a:lnTo>
                  <a:lnTo>
                    <a:pt x="1438" y="2528"/>
                  </a:lnTo>
                  <a:lnTo>
                    <a:pt x="1436" y="2532"/>
                  </a:lnTo>
                  <a:lnTo>
                    <a:pt x="1436" y="2533"/>
                  </a:lnTo>
                  <a:lnTo>
                    <a:pt x="1440" y="2535"/>
                  </a:lnTo>
                  <a:lnTo>
                    <a:pt x="1440" y="2537"/>
                  </a:lnTo>
                  <a:lnTo>
                    <a:pt x="1441" y="2535"/>
                  </a:lnTo>
                  <a:lnTo>
                    <a:pt x="1440" y="2533"/>
                  </a:lnTo>
                  <a:lnTo>
                    <a:pt x="1440" y="2532"/>
                  </a:lnTo>
                  <a:lnTo>
                    <a:pt x="1440" y="2530"/>
                  </a:lnTo>
                  <a:lnTo>
                    <a:pt x="1438" y="2528"/>
                  </a:lnTo>
                  <a:lnTo>
                    <a:pt x="1438" y="2527"/>
                  </a:lnTo>
                  <a:lnTo>
                    <a:pt x="1436" y="2523"/>
                  </a:lnTo>
                  <a:lnTo>
                    <a:pt x="1436" y="2520"/>
                  </a:lnTo>
                  <a:lnTo>
                    <a:pt x="1438" y="2518"/>
                  </a:lnTo>
                  <a:lnTo>
                    <a:pt x="1440" y="2515"/>
                  </a:lnTo>
                  <a:lnTo>
                    <a:pt x="1441" y="2515"/>
                  </a:lnTo>
                  <a:lnTo>
                    <a:pt x="1443" y="2515"/>
                  </a:lnTo>
                  <a:lnTo>
                    <a:pt x="1443" y="2516"/>
                  </a:lnTo>
                  <a:lnTo>
                    <a:pt x="1441" y="2518"/>
                  </a:lnTo>
                  <a:lnTo>
                    <a:pt x="1441" y="2520"/>
                  </a:lnTo>
                  <a:lnTo>
                    <a:pt x="1441" y="2521"/>
                  </a:lnTo>
                  <a:lnTo>
                    <a:pt x="1443" y="2523"/>
                  </a:lnTo>
                  <a:lnTo>
                    <a:pt x="1443" y="2527"/>
                  </a:lnTo>
                  <a:lnTo>
                    <a:pt x="1443" y="2530"/>
                  </a:lnTo>
                  <a:lnTo>
                    <a:pt x="1443" y="2532"/>
                  </a:lnTo>
                  <a:lnTo>
                    <a:pt x="1443" y="2533"/>
                  </a:lnTo>
                  <a:lnTo>
                    <a:pt x="1445" y="2537"/>
                  </a:lnTo>
                  <a:lnTo>
                    <a:pt x="1446" y="2538"/>
                  </a:lnTo>
                  <a:lnTo>
                    <a:pt x="1445" y="2538"/>
                  </a:lnTo>
                  <a:lnTo>
                    <a:pt x="1446" y="2538"/>
                  </a:lnTo>
                  <a:lnTo>
                    <a:pt x="1446" y="2540"/>
                  </a:lnTo>
                  <a:lnTo>
                    <a:pt x="1446" y="2544"/>
                  </a:lnTo>
                  <a:lnTo>
                    <a:pt x="1450" y="2552"/>
                  </a:lnTo>
                  <a:lnTo>
                    <a:pt x="1450" y="2555"/>
                  </a:lnTo>
                  <a:lnTo>
                    <a:pt x="1452" y="2555"/>
                  </a:lnTo>
                  <a:lnTo>
                    <a:pt x="1452" y="2557"/>
                  </a:lnTo>
                  <a:lnTo>
                    <a:pt x="1455" y="2559"/>
                  </a:lnTo>
                  <a:lnTo>
                    <a:pt x="1455" y="2557"/>
                  </a:lnTo>
                  <a:lnTo>
                    <a:pt x="1455" y="2555"/>
                  </a:lnTo>
                  <a:lnTo>
                    <a:pt x="1457" y="2557"/>
                  </a:lnTo>
                  <a:lnTo>
                    <a:pt x="1457" y="2559"/>
                  </a:lnTo>
                  <a:lnTo>
                    <a:pt x="1457" y="2561"/>
                  </a:lnTo>
                  <a:lnTo>
                    <a:pt x="1457" y="2562"/>
                  </a:lnTo>
                  <a:lnTo>
                    <a:pt x="1457" y="2564"/>
                  </a:lnTo>
                  <a:lnTo>
                    <a:pt x="1457" y="2566"/>
                  </a:lnTo>
                  <a:lnTo>
                    <a:pt x="1458" y="2567"/>
                  </a:lnTo>
                  <a:lnTo>
                    <a:pt x="1458" y="2569"/>
                  </a:lnTo>
                  <a:lnTo>
                    <a:pt x="1458" y="2571"/>
                  </a:lnTo>
                  <a:lnTo>
                    <a:pt x="1460" y="2572"/>
                  </a:lnTo>
                  <a:lnTo>
                    <a:pt x="1460" y="2574"/>
                  </a:lnTo>
                  <a:lnTo>
                    <a:pt x="1462" y="2576"/>
                  </a:lnTo>
                  <a:lnTo>
                    <a:pt x="1462" y="2578"/>
                  </a:lnTo>
                  <a:lnTo>
                    <a:pt x="1465" y="2576"/>
                  </a:lnTo>
                  <a:lnTo>
                    <a:pt x="1465" y="2578"/>
                  </a:lnTo>
                  <a:lnTo>
                    <a:pt x="1467" y="2578"/>
                  </a:lnTo>
                  <a:lnTo>
                    <a:pt x="1469" y="2578"/>
                  </a:lnTo>
                  <a:lnTo>
                    <a:pt x="1470" y="2578"/>
                  </a:lnTo>
                  <a:lnTo>
                    <a:pt x="1472" y="2578"/>
                  </a:lnTo>
                  <a:lnTo>
                    <a:pt x="1474" y="2579"/>
                  </a:lnTo>
                  <a:lnTo>
                    <a:pt x="1475" y="2579"/>
                  </a:lnTo>
                  <a:lnTo>
                    <a:pt x="1477" y="2579"/>
                  </a:lnTo>
                  <a:lnTo>
                    <a:pt x="1479" y="2581"/>
                  </a:lnTo>
                  <a:lnTo>
                    <a:pt x="1480" y="2584"/>
                  </a:lnTo>
                  <a:lnTo>
                    <a:pt x="1482" y="2586"/>
                  </a:lnTo>
                  <a:lnTo>
                    <a:pt x="1484" y="2588"/>
                  </a:lnTo>
                  <a:lnTo>
                    <a:pt x="1484" y="2589"/>
                  </a:lnTo>
                  <a:lnTo>
                    <a:pt x="1487" y="2591"/>
                  </a:lnTo>
                  <a:lnTo>
                    <a:pt x="1489" y="2593"/>
                  </a:lnTo>
                  <a:lnTo>
                    <a:pt x="1491" y="2593"/>
                  </a:lnTo>
                  <a:lnTo>
                    <a:pt x="1492" y="2591"/>
                  </a:lnTo>
                  <a:lnTo>
                    <a:pt x="1496" y="2593"/>
                  </a:lnTo>
                  <a:lnTo>
                    <a:pt x="1497" y="2593"/>
                  </a:lnTo>
                  <a:lnTo>
                    <a:pt x="1499" y="2595"/>
                  </a:lnTo>
                  <a:lnTo>
                    <a:pt x="1501" y="2596"/>
                  </a:lnTo>
                  <a:lnTo>
                    <a:pt x="1503" y="2596"/>
                  </a:lnTo>
                  <a:lnTo>
                    <a:pt x="1504" y="2598"/>
                  </a:lnTo>
                  <a:lnTo>
                    <a:pt x="1506" y="2600"/>
                  </a:lnTo>
                  <a:lnTo>
                    <a:pt x="1508" y="2600"/>
                  </a:lnTo>
                  <a:lnTo>
                    <a:pt x="1509" y="2601"/>
                  </a:lnTo>
                  <a:lnTo>
                    <a:pt x="1511" y="2601"/>
                  </a:lnTo>
                  <a:lnTo>
                    <a:pt x="1514" y="2601"/>
                  </a:lnTo>
                  <a:lnTo>
                    <a:pt x="1518" y="2603"/>
                  </a:lnTo>
                  <a:lnTo>
                    <a:pt x="1520" y="2605"/>
                  </a:lnTo>
                  <a:lnTo>
                    <a:pt x="1521" y="2606"/>
                  </a:lnTo>
                  <a:lnTo>
                    <a:pt x="1523" y="2606"/>
                  </a:lnTo>
                  <a:lnTo>
                    <a:pt x="1526" y="2608"/>
                  </a:lnTo>
                  <a:lnTo>
                    <a:pt x="1528" y="2610"/>
                  </a:lnTo>
                  <a:lnTo>
                    <a:pt x="1530" y="2610"/>
                  </a:lnTo>
                  <a:lnTo>
                    <a:pt x="1531" y="2610"/>
                  </a:lnTo>
                  <a:lnTo>
                    <a:pt x="1533" y="2612"/>
                  </a:lnTo>
                  <a:lnTo>
                    <a:pt x="1535" y="2613"/>
                  </a:lnTo>
                  <a:lnTo>
                    <a:pt x="1537" y="2615"/>
                  </a:lnTo>
                  <a:lnTo>
                    <a:pt x="1538" y="2615"/>
                  </a:lnTo>
                  <a:lnTo>
                    <a:pt x="1540" y="2617"/>
                  </a:lnTo>
                  <a:lnTo>
                    <a:pt x="1540" y="2618"/>
                  </a:lnTo>
                  <a:lnTo>
                    <a:pt x="1542" y="2618"/>
                  </a:lnTo>
                  <a:lnTo>
                    <a:pt x="1545" y="2618"/>
                  </a:lnTo>
                  <a:lnTo>
                    <a:pt x="1547" y="2618"/>
                  </a:lnTo>
                  <a:lnTo>
                    <a:pt x="1547" y="2617"/>
                  </a:lnTo>
                  <a:lnTo>
                    <a:pt x="1550" y="2617"/>
                  </a:lnTo>
                  <a:lnTo>
                    <a:pt x="1552" y="2618"/>
                  </a:lnTo>
                  <a:lnTo>
                    <a:pt x="1554" y="2618"/>
                  </a:lnTo>
                  <a:lnTo>
                    <a:pt x="1555" y="2618"/>
                  </a:lnTo>
                  <a:close/>
                  <a:moveTo>
                    <a:pt x="534" y="233"/>
                  </a:moveTo>
                  <a:lnTo>
                    <a:pt x="534" y="232"/>
                  </a:lnTo>
                  <a:lnTo>
                    <a:pt x="537" y="228"/>
                  </a:lnTo>
                  <a:lnTo>
                    <a:pt x="540" y="230"/>
                  </a:lnTo>
                  <a:lnTo>
                    <a:pt x="540" y="228"/>
                  </a:lnTo>
                  <a:lnTo>
                    <a:pt x="544" y="227"/>
                  </a:lnTo>
                  <a:lnTo>
                    <a:pt x="546" y="227"/>
                  </a:lnTo>
                  <a:lnTo>
                    <a:pt x="547" y="228"/>
                  </a:lnTo>
                  <a:lnTo>
                    <a:pt x="547" y="227"/>
                  </a:lnTo>
                  <a:lnTo>
                    <a:pt x="549" y="227"/>
                  </a:lnTo>
                  <a:lnTo>
                    <a:pt x="552" y="227"/>
                  </a:lnTo>
                  <a:lnTo>
                    <a:pt x="554" y="228"/>
                  </a:lnTo>
                  <a:lnTo>
                    <a:pt x="556" y="230"/>
                  </a:lnTo>
                  <a:lnTo>
                    <a:pt x="557" y="230"/>
                  </a:lnTo>
                  <a:lnTo>
                    <a:pt x="559" y="230"/>
                  </a:lnTo>
                  <a:lnTo>
                    <a:pt x="561" y="232"/>
                  </a:lnTo>
                  <a:lnTo>
                    <a:pt x="563" y="232"/>
                  </a:lnTo>
                  <a:lnTo>
                    <a:pt x="566" y="232"/>
                  </a:lnTo>
                  <a:lnTo>
                    <a:pt x="566" y="235"/>
                  </a:lnTo>
                  <a:lnTo>
                    <a:pt x="566" y="239"/>
                  </a:lnTo>
                  <a:lnTo>
                    <a:pt x="569" y="242"/>
                  </a:lnTo>
                  <a:lnTo>
                    <a:pt x="571" y="244"/>
                  </a:lnTo>
                  <a:lnTo>
                    <a:pt x="573" y="244"/>
                  </a:lnTo>
                  <a:lnTo>
                    <a:pt x="573" y="245"/>
                  </a:lnTo>
                  <a:lnTo>
                    <a:pt x="574" y="250"/>
                  </a:lnTo>
                  <a:lnTo>
                    <a:pt x="574" y="252"/>
                  </a:lnTo>
                  <a:lnTo>
                    <a:pt x="576" y="256"/>
                  </a:lnTo>
                  <a:lnTo>
                    <a:pt x="576" y="257"/>
                  </a:lnTo>
                  <a:lnTo>
                    <a:pt x="576" y="259"/>
                  </a:lnTo>
                  <a:lnTo>
                    <a:pt x="578" y="264"/>
                  </a:lnTo>
                  <a:lnTo>
                    <a:pt x="578" y="266"/>
                  </a:lnTo>
                  <a:lnTo>
                    <a:pt x="581" y="266"/>
                  </a:lnTo>
                  <a:lnTo>
                    <a:pt x="581" y="268"/>
                  </a:lnTo>
                  <a:lnTo>
                    <a:pt x="580" y="269"/>
                  </a:lnTo>
                  <a:lnTo>
                    <a:pt x="578" y="273"/>
                  </a:lnTo>
                  <a:lnTo>
                    <a:pt x="578" y="276"/>
                  </a:lnTo>
                  <a:lnTo>
                    <a:pt x="578" y="278"/>
                  </a:lnTo>
                  <a:lnTo>
                    <a:pt x="578" y="279"/>
                  </a:lnTo>
                  <a:lnTo>
                    <a:pt x="576" y="283"/>
                  </a:lnTo>
                  <a:lnTo>
                    <a:pt x="576" y="285"/>
                  </a:lnTo>
                  <a:lnTo>
                    <a:pt x="576" y="288"/>
                  </a:lnTo>
                  <a:lnTo>
                    <a:pt x="576" y="293"/>
                  </a:lnTo>
                  <a:lnTo>
                    <a:pt x="576" y="295"/>
                  </a:lnTo>
                  <a:lnTo>
                    <a:pt x="574" y="295"/>
                  </a:lnTo>
                  <a:lnTo>
                    <a:pt x="574" y="298"/>
                  </a:lnTo>
                  <a:lnTo>
                    <a:pt x="573" y="300"/>
                  </a:lnTo>
                  <a:lnTo>
                    <a:pt x="573" y="302"/>
                  </a:lnTo>
                  <a:lnTo>
                    <a:pt x="573" y="303"/>
                  </a:lnTo>
                  <a:lnTo>
                    <a:pt x="573" y="305"/>
                  </a:lnTo>
                  <a:lnTo>
                    <a:pt x="571" y="308"/>
                  </a:lnTo>
                  <a:lnTo>
                    <a:pt x="569" y="308"/>
                  </a:lnTo>
                  <a:lnTo>
                    <a:pt x="571" y="310"/>
                  </a:lnTo>
                  <a:lnTo>
                    <a:pt x="569" y="312"/>
                  </a:lnTo>
                  <a:lnTo>
                    <a:pt x="571" y="313"/>
                  </a:lnTo>
                  <a:lnTo>
                    <a:pt x="568" y="317"/>
                  </a:lnTo>
                  <a:lnTo>
                    <a:pt x="568" y="319"/>
                  </a:lnTo>
                  <a:lnTo>
                    <a:pt x="568" y="320"/>
                  </a:lnTo>
                  <a:lnTo>
                    <a:pt x="566" y="322"/>
                  </a:lnTo>
                  <a:lnTo>
                    <a:pt x="566" y="324"/>
                  </a:lnTo>
                  <a:lnTo>
                    <a:pt x="566" y="325"/>
                  </a:lnTo>
                  <a:lnTo>
                    <a:pt x="564" y="327"/>
                  </a:lnTo>
                  <a:lnTo>
                    <a:pt x="564" y="329"/>
                  </a:lnTo>
                  <a:lnTo>
                    <a:pt x="564" y="332"/>
                  </a:lnTo>
                  <a:lnTo>
                    <a:pt x="564" y="334"/>
                  </a:lnTo>
                  <a:lnTo>
                    <a:pt x="563" y="337"/>
                  </a:lnTo>
                  <a:lnTo>
                    <a:pt x="561" y="339"/>
                  </a:lnTo>
                  <a:lnTo>
                    <a:pt x="563" y="339"/>
                  </a:lnTo>
                  <a:lnTo>
                    <a:pt x="561" y="342"/>
                  </a:lnTo>
                  <a:lnTo>
                    <a:pt x="561" y="344"/>
                  </a:lnTo>
                  <a:lnTo>
                    <a:pt x="557" y="347"/>
                  </a:lnTo>
                  <a:lnTo>
                    <a:pt x="557" y="349"/>
                  </a:lnTo>
                  <a:lnTo>
                    <a:pt x="556" y="353"/>
                  </a:lnTo>
                  <a:lnTo>
                    <a:pt x="554" y="354"/>
                  </a:lnTo>
                  <a:lnTo>
                    <a:pt x="556" y="356"/>
                  </a:lnTo>
                  <a:lnTo>
                    <a:pt x="554" y="358"/>
                  </a:lnTo>
                  <a:lnTo>
                    <a:pt x="554" y="359"/>
                  </a:lnTo>
                  <a:lnTo>
                    <a:pt x="554" y="361"/>
                  </a:lnTo>
                  <a:lnTo>
                    <a:pt x="554" y="363"/>
                  </a:lnTo>
                  <a:lnTo>
                    <a:pt x="552" y="361"/>
                  </a:lnTo>
                  <a:lnTo>
                    <a:pt x="551" y="361"/>
                  </a:lnTo>
                  <a:lnTo>
                    <a:pt x="551" y="359"/>
                  </a:lnTo>
                  <a:lnTo>
                    <a:pt x="549" y="359"/>
                  </a:lnTo>
                  <a:lnTo>
                    <a:pt x="549" y="361"/>
                  </a:lnTo>
                  <a:lnTo>
                    <a:pt x="551" y="364"/>
                  </a:lnTo>
                  <a:lnTo>
                    <a:pt x="551" y="366"/>
                  </a:lnTo>
                  <a:lnTo>
                    <a:pt x="549" y="370"/>
                  </a:lnTo>
                  <a:lnTo>
                    <a:pt x="551" y="370"/>
                  </a:lnTo>
                  <a:lnTo>
                    <a:pt x="549" y="371"/>
                  </a:lnTo>
                  <a:lnTo>
                    <a:pt x="549" y="373"/>
                  </a:lnTo>
                  <a:lnTo>
                    <a:pt x="546" y="373"/>
                  </a:lnTo>
                  <a:lnTo>
                    <a:pt x="547" y="376"/>
                  </a:lnTo>
                  <a:lnTo>
                    <a:pt x="547" y="378"/>
                  </a:lnTo>
                  <a:lnTo>
                    <a:pt x="547" y="380"/>
                  </a:lnTo>
                  <a:lnTo>
                    <a:pt x="547" y="381"/>
                  </a:lnTo>
                  <a:lnTo>
                    <a:pt x="546" y="383"/>
                  </a:lnTo>
                  <a:lnTo>
                    <a:pt x="546" y="385"/>
                  </a:lnTo>
                  <a:lnTo>
                    <a:pt x="544" y="387"/>
                  </a:lnTo>
                  <a:lnTo>
                    <a:pt x="544" y="388"/>
                  </a:lnTo>
                  <a:lnTo>
                    <a:pt x="544" y="392"/>
                  </a:lnTo>
                  <a:lnTo>
                    <a:pt x="544" y="393"/>
                  </a:lnTo>
                  <a:lnTo>
                    <a:pt x="542" y="393"/>
                  </a:lnTo>
                  <a:lnTo>
                    <a:pt x="540" y="393"/>
                  </a:lnTo>
                  <a:lnTo>
                    <a:pt x="539" y="397"/>
                  </a:lnTo>
                  <a:lnTo>
                    <a:pt x="539" y="398"/>
                  </a:lnTo>
                  <a:lnTo>
                    <a:pt x="540" y="400"/>
                  </a:lnTo>
                  <a:lnTo>
                    <a:pt x="540" y="404"/>
                  </a:lnTo>
                  <a:lnTo>
                    <a:pt x="542" y="405"/>
                  </a:lnTo>
                  <a:lnTo>
                    <a:pt x="540" y="404"/>
                  </a:lnTo>
                  <a:lnTo>
                    <a:pt x="539" y="404"/>
                  </a:lnTo>
                  <a:lnTo>
                    <a:pt x="539" y="405"/>
                  </a:lnTo>
                  <a:lnTo>
                    <a:pt x="540" y="407"/>
                  </a:lnTo>
                  <a:lnTo>
                    <a:pt x="542" y="409"/>
                  </a:lnTo>
                  <a:lnTo>
                    <a:pt x="542" y="410"/>
                  </a:lnTo>
                  <a:lnTo>
                    <a:pt x="542" y="412"/>
                  </a:lnTo>
                  <a:lnTo>
                    <a:pt x="542" y="415"/>
                  </a:lnTo>
                  <a:lnTo>
                    <a:pt x="542" y="417"/>
                  </a:lnTo>
                  <a:lnTo>
                    <a:pt x="540" y="415"/>
                  </a:lnTo>
                  <a:lnTo>
                    <a:pt x="539" y="414"/>
                  </a:lnTo>
                  <a:lnTo>
                    <a:pt x="539" y="412"/>
                  </a:lnTo>
                  <a:lnTo>
                    <a:pt x="537" y="414"/>
                  </a:lnTo>
                  <a:lnTo>
                    <a:pt x="537" y="415"/>
                  </a:lnTo>
                  <a:lnTo>
                    <a:pt x="537" y="419"/>
                  </a:lnTo>
                  <a:lnTo>
                    <a:pt x="539" y="421"/>
                  </a:lnTo>
                  <a:lnTo>
                    <a:pt x="539" y="422"/>
                  </a:lnTo>
                  <a:lnTo>
                    <a:pt x="539" y="424"/>
                  </a:lnTo>
                  <a:lnTo>
                    <a:pt x="537" y="426"/>
                  </a:lnTo>
                  <a:lnTo>
                    <a:pt x="539" y="426"/>
                  </a:lnTo>
                  <a:lnTo>
                    <a:pt x="537" y="429"/>
                  </a:lnTo>
                  <a:lnTo>
                    <a:pt x="539" y="431"/>
                  </a:lnTo>
                  <a:lnTo>
                    <a:pt x="539" y="433"/>
                  </a:lnTo>
                  <a:lnTo>
                    <a:pt x="540" y="433"/>
                  </a:lnTo>
                  <a:lnTo>
                    <a:pt x="540" y="434"/>
                  </a:lnTo>
                  <a:lnTo>
                    <a:pt x="542" y="438"/>
                  </a:lnTo>
                  <a:lnTo>
                    <a:pt x="540" y="438"/>
                  </a:lnTo>
                  <a:lnTo>
                    <a:pt x="537" y="436"/>
                  </a:lnTo>
                  <a:lnTo>
                    <a:pt x="535" y="434"/>
                  </a:lnTo>
                  <a:lnTo>
                    <a:pt x="535" y="438"/>
                  </a:lnTo>
                  <a:lnTo>
                    <a:pt x="535" y="439"/>
                  </a:lnTo>
                  <a:lnTo>
                    <a:pt x="537" y="443"/>
                  </a:lnTo>
                  <a:lnTo>
                    <a:pt x="537" y="446"/>
                  </a:lnTo>
                  <a:lnTo>
                    <a:pt x="535" y="446"/>
                  </a:lnTo>
                  <a:lnTo>
                    <a:pt x="534" y="444"/>
                  </a:lnTo>
                  <a:lnTo>
                    <a:pt x="535" y="448"/>
                  </a:lnTo>
                  <a:lnTo>
                    <a:pt x="534" y="448"/>
                  </a:lnTo>
                  <a:lnTo>
                    <a:pt x="535" y="450"/>
                  </a:lnTo>
                  <a:lnTo>
                    <a:pt x="537" y="448"/>
                  </a:lnTo>
                  <a:lnTo>
                    <a:pt x="542" y="443"/>
                  </a:lnTo>
                  <a:lnTo>
                    <a:pt x="546" y="444"/>
                  </a:lnTo>
                  <a:lnTo>
                    <a:pt x="547" y="450"/>
                  </a:lnTo>
                  <a:lnTo>
                    <a:pt x="542" y="455"/>
                  </a:lnTo>
                  <a:lnTo>
                    <a:pt x="544" y="456"/>
                  </a:lnTo>
                  <a:lnTo>
                    <a:pt x="546" y="456"/>
                  </a:lnTo>
                  <a:lnTo>
                    <a:pt x="547" y="456"/>
                  </a:lnTo>
                  <a:lnTo>
                    <a:pt x="549" y="460"/>
                  </a:lnTo>
                  <a:lnTo>
                    <a:pt x="547" y="461"/>
                  </a:lnTo>
                  <a:lnTo>
                    <a:pt x="547" y="463"/>
                  </a:lnTo>
                  <a:lnTo>
                    <a:pt x="546" y="465"/>
                  </a:lnTo>
                  <a:lnTo>
                    <a:pt x="544" y="467"/>
                  </a:lnTo>
                  <a:lnTo>
                    <a:pt x="540" y="467"/>
                  </a:lnTo>
                  <a:lnTo>
                    <a:pt x="539" y="468"/>
                  </a:lnTo>
                  <a:lnTo>
                    <a:pt x="537" y="467"/>
                  </a:lnTo>
                  <a:lnTo>
                    <a:pt x="534" y="467"/>
                  </a:lnTo>
                  <a:lnTo>
                    <a:pt x="535" y="468"/>
                  </a:lnTo>
                  <a:lnTo>
                    <a:pt x="537" y="468"/>
                  </a:lnTo>
                  <a:lnTo>
                    <a:pt x="539" y="470"/>
                  </a:lnTo>
                  <a:lnTo>
                    <a:pt x="540" y="468"/>
                  </a:lnTo>
                  <a:lnTo>
                    <a:pt x="544" y="470"/>
                  </a:lnTo>
                  <a:lnTo>
                    <a:pt x="546" y="470"/>
                  </a:lnTo>
                  <a:lnTo>
                    <a:pt x="547" y="472"/>
                  </a:lnTo>
                  <a:lnTo>
                    <a:pt x="549" y="473"/>
                  </a:lnTo>
                  <a:lnTo>
                    <a:pt x="549" y="477"/>
                  </a:lnTo>
                  <a:lnTo>
                    <a:pt x="546" y="478"/>
                  </a:lnTo>
                  <a:lnTo>
                    <a:pt x="544" y="477"/>
                  </a:lnTo>
                  <a:lnTo>
                    <a:pt x="542" y="478"/>
                  </a:lnTo>
                  <a:lnTo>
                    <a:pt x="539" y="477"/>
                  </a:lnTo>
                  <a:lnTo>
                    <a:pt x="537" y="477"/>
                  </a:lnTo>
                  <a:lnTo>
                    <a:pt x="537" y="475"/>
                  </a:lnTo>
                  <a:lnTo>
                    <a:pt x="534" y="477"/>
                  </a:lnTo>
                  <a:lnTo>
                    <a:pt x="530" y="475"/>
                  </a:lnTo>
                  <a:lnTo>
                    <a:pt x="530" y="477"/>
                  </a:lnTo>
                  <a:lnTo>
                    <a:pt x="532" y="477"/>
                  </a:lnTo>
                  <a:lnTo>
                    <a:pt x="534" y="478"/>
                  </a:lnTo>
                  <a:lnTo>
                    <a:pt x="535" y="478"/>
                  </a:lnTo>
                  <a:lnTo>
                    <a:pt x="537" y="480"/>
                  </a:lnTo>
                  <a:lnTo>
                    <a:pt x="539" y="480"/>
                  </a:lnTo>
                  <a:lnTo>
                    <a:pt x="537" y="480"/>
                  </a:lnTo>
                  <a:lnTo>
                    <a:pt x="537" y="482"/>
                  </a:lnTo>
                  <a:lnTo>
                    <a:pt x="539" y="484"/>
                  </a:lnTo>
                  <a:lnTo>
                    <a:pt x="539" y="485"/>
                  </a:lnTo>
                  <a:lnTo>
                    <a:pt x="540" y="487"/>
                  </a:lnTo>
                  <a:lnTo>
                    <a:pt x="540" y="489"/>
                  </a:lnTo>
                  <a:lnTo>
                    <a:pt x="542" y="489"/>
                  </a:lnTo>
                  <a:lnTo>
                    <a:pt x="542" y="492"/>
                  </a:lnTo>
                  <a:lnTo>
                    <a:pt x="546" y="494"/>
                  </a:lnTo>
                  <a:lnTo>
                    <a:pt x="544" y="494"/>
                  </a:lnTo>
                  <a:lnTo>
                    <a:pt x="542" y="495"/>
                  </a:lnTo>
                  <a:lnTo>
                    <a:pt x="540" y="495"/>
                  </a:lnTo>
                  <a:lnTo>
                    <a:pt x="537" y="495"/>
                  </a:lnTo>
                  <a:lnTo>
                    <a:pt x="535" y="495"/>
                  </a:lnTo>
                  <a:lnTo>
                    <a:pt x="534" y="495"/>
                  </a:lnTo>
                  <a:lnTo>
                    <a:pt x="532" y="495"/>
                  </a:lnTo>
                  <a:lnTo>
                    <a:pt x="529" y="495"/>
                  </a:lnTo>
                  <a:lnTo>
                    <a:pt x="529" y="497"/>
                  </a:lnTo>
                  <a:lnTo>
                    <a:pt x="525" y="495"/>
                  </a:lnTo>
                  <a:lnTo>
                    <a:pt x="525" y="499"/>
                  </a:lnTo>
                  <a:lnTo>
                    <a:pt x="529" y="499"/>
                  </a:lnTo>
                  <a:lnTo>
                    <a:pt x="530" y="499"/>
                  </a:lnTo>
                  <a:lnTo>
                    <a:pt x="532" y="497"/>
                  </a:lnTo>
                  <a:lnTo>
                    <a:pt x="532" y="499"/>
                  </a:lnTo>
                  <a:lnTo>
                    <a:pt x="535" y="499"/>
                  </a:lnTo>
                  <a:lnTo>
                    <a:pt x="537" y="501"/>
                  </a:lnTo>
                  <a:lnTo>
                    <a:pt x="539" y="501"/>
                  </a:lnTo>
                  <a:lnTo>
                    <a:pt x="539" y="504"/>
                  </a:lnTo>
                  <a:lnTo>
                    <a:pt x="542" y="504"/>
                  </a:lnTo>
                  <a:lnTo>
                    <a:pt x="542" y="506"/>
                  </a:lnTo>
                  <a:lnTo>
                    <a:pt x="544" y="506"/>
                  </a:lnTo>
                  <a:lnTo>
                    <a:pt x="544" y="507"/>
                  </a:lnTo>
                  <a:lnTo>
                    <a:pt x="546" y="509"/>
                  </a:lnTo>
                  <a:lnTo>
                    <a:pt x="547" y="509"/>
                  </a:lnTo>
                  <a:lnTo>
                    <a:pt x="546" y="511"/>
                  </a:lnTo>
                  <a:lnTo>
                    <a:pt x="549" y="511"/>
                  </a:lnTo>
                  <a:lnTo>
                    <a:pt x="547" y="512"/>
                  </a:lnTo>
                  <a:lnTo>
                    <a:pt x="546" y="512"/>
                  </a:lnTo>
                  <a:lnTo>
                    <a:pt x="547" y="514"/>
                  </a:lnTo>
                  <a:lnTo>
                    <a:pt x="547" y="512"/>
                  </a:lnTo>
                  <a:lnTo>
                    <a:pt x="549" y="514"/>
                  </a:lnTo>
                  <a:lnTo>
                    <a:pt x="546" y="516"/>
                  </a:lnTo>
                  <a:lnTo>
                    <a:pt x="547" y="516"/>
                  </a:lnTo>
                  <a:lnTo>
                    <a:pt x="549" y="518"/>
                  </a:lnTo>
                  <a:lnTo>
                    <a:pt x="547" y="518"/>
                  </a:lnTo>
                  <a:lnTo>
                    <a:pt x="546" y="518"/>
                  </a:lnTo>
                  <a:lnTo>
                    <a:pt x="546" y="519"/>
                  </a:lnTo>
                  <a:lnTo>
                    <a:pt x="544" y="521"/>
                  </a:lnTo>
                  <a:lnTo>
                    <a:pt x="547" y="521"/>
                  </a:lnTo>
                  <a:lnTo>
                    <a:pt x="551" y="519"/>
                  </a:lnTo>
                  <a:lnTo>
                    <a:pt x="551" y="521"/>
                  </a:lnTo>
                  <a:lnTo>
                    <a:pt x="549" y="521"/>
                  </a:lnTo>
                  <a:lnTo>
                    <a:pt x="547" y="521"/>
                  </a:lnTo>
                  <a:lnTo>
                    <a:pt x="547" y="523"/>
                  </a:lnTo>
                  <a:lnTo>
                    <a:pt x="549" y="524"/>
                  </a:lnTo>
                  <a:lnTo>
                    <a:pt x="547" y="523"/>
                  </a:lnTo>
                  <a:lnTo>
                    <a:pt x="546" y="523"/>
                  </a:lnTo>
                  <a:lnTo>
                    <a:pt x="544" y="524"/>
                  </a:lnTo>
                  <a:lnTo>
                    <a:pt x="542" y="524"/>
                  </a:lnTo>
                  <a:lnTo>
                    <a:pt x="544" y="524"/>
                  </a:lnTo>
                  <a:lnTo>
                    <a:pt x="546" y="526"/>
                  </a:lnTo>
                  <a:lnTo>
                    <a:pt x="547" y="526"/>
                  </a:lnTo>
                  <a:lnTo>
                    <a:pt x="549" y="528"/>
                  </a:lnTo>
                  <a:lnTo>
                    <a:pt x="551" y="529"/>
                  </a:lnTo>
                  <a:lnTo>
                    <a:pt x="552" y="529"/>
                  </a:lnTo>
                  <a:lnTo>
                    <a:pt x="551" y="531"/>
                  </a:lnTo>
                  <a:lnTo>
                    <a:pt x="551" y="533"/>
                  </a:lnTo>
                  <a:lnTo>
                    <a:pt x="549" y="533"/>
                  </a:lnTo>
                  <a:lnTo>
                    <a:pt x="546" y="535"/>
                  </a:lnTo>
                  <a:lnTo>
                    <a:pt x="544" y="535"/>
                  </a:lnTo>
                  <a:lnTo>
                    <a:pt x="542" y="535"/>
                  </a:lnTo>
                  <a:lnTo>
                    <a:pt x="540" y="535"/>
                  </a:lnTo>
                  <a:lnTo>
                    <a:pt x="537" y="533"/>
                  </a:lnTo>
                  <a:lnTo>
                    <a:pt x="537" y="531"/>
                  </a:lnTo>
                  <a:lnTo>
                    <a:pt x="534" y="531"/>
                  </a:lnTo>
                  <a:lnTo>
                    <a:pt x="532" y="529"/>
                  </a:lnTo>
                  <a:lnTo>
                    <a:pt x="530" y="529"/>
                  </a:lnTo>
                  <a:lnTo>
                    <a:pt x="535" y="535"/>
                  </a:lnTo>
                  <a:lnTo>
                    <a:pt x="535" y="536"/>
                  </a:lnTo>
                  <a:lnTo>
                    <a:pt x="532" y="538"/>
                  </a:lnTo>
                  <a:lnTo>
                    <a:pt x="530" y="540"/>
                  </a:lnTo>
                  <a:lnTo>
                    <a:pt x="532" y="540"/>
                  </a:lnTo>
                  <a:lnTo>
                    <a:pt x="534" y="538"/>
                  </a:lnTo>
                  <a:lnTo>
                    <a:pt x="537" y="536"/>
                  </a:lnTo>
                  <a:lnTo>
                    <a:pt x="540" y="538"/>
                  </a:lnTo>
                  <a:lnTo>
                    <a:pt x="542" y="538"/>
                  </a:lnTo>
                  <a:lnTo>
                    <a:pt x="544" y="540"/>
                  </a:lnTo>
                  <a:lnTo>
                    <a:pt x="546" y="540"/>
                  </a:lnTo>
                  <a:lnTo>
                    <a:pt x="547" y="540"/>
                  </a:lnTo>
                  <a:lnTo>
                    <a:pt x="551" y="541"/>
                  </a:lnTo>
                  <a:lnTo>
                    <a:pt x="549" y="541"/>
                  </a:lnTo>
                  <a:lnTo>
                    <a:pt x="549" y="545"/>
                  </a:lnTo>
                  <a:lnTo>
                    <a:pt x="552" y="543"/>
                  </a:lnTo>
                  <a:lnTo>
                    <a:pt x="552" y="545"/>
                  </a:lnTo>
                  <a:lnTo>
                    <a:pt x="556" y="548"/>
                  </a:lnTo>
                  <a:lnTo>
                    <a:pt x="557" y="552"/>
                  </a:lnTo>
                  <a:lnTo>
                    <a:pt x="556" y="555"/>
                  </a:lnTo>
                  <a:lnTo>
                    <a:pt x="552" y="553"/>
                  </a:lnTo>
                  <a:lnTo>
                    <a:pt x="551" y="553"/>
                  </a:lnTo>
                  <a:lnTo>
                    <a:pt x="549" y="552"/>
                  </a:lnTo>
                  <a:lnTo>
                    <a:pt x="547" y="552"/>
                  </a:lnTo>
                  <a:lnTo>
                    <a:pt x="546" y="552"/>
                  </a:lnTo>
                  <a:lnTo>
                    <a:pt x="544" y="553"/>
                  </a:lnTo>
                  <a:lnTo>
                    <a:pt x="546" y="555"/>
                  </a:lnTo>
                  <a:lnTo>
                    <a:pt x="547" y="555"/>
                  </a:lnTo>
                  <a:lnTo>
                    <a:pt x="549" y="555"/>
                  </a:lnTo>
                  <a:lnTo>
                    <a:pt x="551" y="555"/>
                  </a:lnTo>
                  <a:lnTo>
                    <a:pt x="552" y="557"/>
                  </a:lnTo>
                  <a:lnTo>
                    <a:pt x="554" y="558"/>
                  </a:lnTo>
                  <a:lnTo>
                    <a:pt x="559" y="562"/>
                  </a:lnTo>
                  <a:lnTo>
                    <a:pt x="559" y="563"/>
                  </a:lnTo>
                  <a:lnTo>
                    <a:pt x="559" y="565"/>
                  </a:lnTo>
                  <a:lnTo>
                    <a:pt x="557" y="569"/>
                  </a:lnTo>
                  <a:lnTo>
                    <a:pt x="557" y="570"/>
                  </a:lnTo>
                  <a:lnTo>
                    <a:pt x="554" y="572"/>
                  </a:lnTo>
                  <a:lnTo>
                    <a:pt x="552" y="572"/>
                  </a:lnTo>
                  <a:lnTo>
                    <a:pt x="551" y="572"/>
                  </a:lnTo>
                  <a:lnTo>
                    <a:pt x="549" y="574"/>
                  </a:lnTo>
                  <a:lnTo>
                    <a:pt x="551" y="574"/>
                  </a:lnTo>
                  <a:lnTo>
                    <a:pt x="554" y="574"/>
                  </a:lnTo>
                  <a:lnTo>
                    <a:pt x="556" y="574"/>
                  </a:lnTo>
                  <a:lnTo>
                    <a:pt x="559" y="575"/>
                  </a:lnTo>
                  <a:lnTo>
                    <a:pt x="561" y="577"/>
                  </a:lnTo>
                  <a:lnTo>
                    <a:pt x="559" y="579"/>
                  </a:lnTo>
                  <a:lnTo>
                    <a:pt x="561" y="582"/>
                  </a:lnTo>
                  <a:lnTo>
                    <a:pt x="561" y="586"/>
                  </a:lnTo>
                  <a:lnTo>
                    <a:pt x="563" y="587"/>
                  </a:lnTo>
                  <a:lnTo>
                    <a:pt x="561" y="589"/>
                  </a:lnTo>
                  <a:lnTo>
                    <a:pt x="563" y="591"/>
                  </a:lnTo>
                  <a:lnTo>
                    <a:pt x="559" y="591"/>
                  </a:lnTo>
                  <a:lnTo>
                    <a:pt x="559" y="592"/>
                  </a:lnTo>
                  <a:lnTo>
                    <a:pt x="561" y="594"/>
                  </a:lnTo>
                  <a:lnTo>
                    <a:pt x="561" y="596"/>
                  </a:lnTo>
                  <a:lnTo>
                    <a:pt x="563" y="596"/>
                  </a:lnTo>
                  <a:lnTo>
                    <a:pt x="561" y="598"/>
                  </a:lnTo>
                  <a:lnTo>
                    <a:pt x="559" y="598"/>
                  </a:lnTo>
                  <a:lnTo>
                    <a:pt x="557" y="599"/>
                  </a:lnTo>
                  <a:lnTo>
                    <a:pt x="556" y="599"/>
                  </a:lnTo>
                  <a:lnTo>
                    <a:pt x="554" y="599"/>
                  </a:lnTo>
                  <a:lnTo>
                    <a:pt x="552" y="601"/>
                  </a:lnTo>
                  <a:lnTo>
                    <a:pt x="551" y="603"/>
                  </a:lnTo>
                  <a:lnTo>
                    <a:pt x="547" y="603"/>
                  </a:lnTo>
                  <a:lnTo>
                    <a:pt x="544" y="603"/>
                  </a:lnTo>
                  <a:lnTo>
                    <a:pt x="546" y="603"/>
                  </a:lnTo>
                  <a:lnTo>
                    <a:pt x="546" y="604"/>
                  </a:lnTo>
                  <a:lnTo>
                    <a:pt x="547" y="606"/>
                  </a:lnTo>
                  <a:lnTo>
                    <a:pt x="551" y="604"/>
                  </a:lnTo>
                  <a:lnTo>
                    <a:pt x="552" y="603"/>
                  </a:lnTo>
                  <a:lnTo>
                    <a:pt x="556" y="603"/>
                  </a:lnTo>
                  <a:lnTo>
                    <a:pt x="557" y="601"/>
                  </a:lnTo>
                  <a:lnTo>
                    <a:pt x="559" y="603"/>
                  </a:lnTo>
                  <a:lnTo>
                    <a:pt x="563" y="604"/>
                  </a:lnTo>
                  <a:lnTo>
                    <a:pt x="564" y="606"/>
                  </a:lnTo>
                  <a:lnTo>
                    <a:pt x="561" y="611"/>
                  </a:lnTo>
                  <a:lnTo>
                    <a:pt x="561" y="613"/>
                  </a:lnTo>
                  <a:lnTo>
                    <a:pt x="559" y="615"/>
                  </a:lnTo>
                  <a:lnTo>
                    <a:pt x="557" y="615"/>
                  </a:lnTo>
                  <a:lnTo>
                    <a:pt x="557" y="616"/>
                  </a:lnTo>
                  <a:lnTo>
                    <a:pt x="559" y="616"/>
                  </a:lnTo>
                  <a:lnTo>
                    <a:pt x="559" y="615"/>
                  </a:lnTo>
                  <a:lnTo>
                    <a:pt x="563" y="615"/>
                  </a:lnTo>
                  <a:lnTo>
                    <a:pt x="564" y="613"/>
                  </a:lnTo>
                  <a:lnTo>
                    <a:pt x="566" y="613"/>
                  </a:lnTo>
                  <a:lnTo>
                    <a:pt x="564" y="615"/>
                  </a:lnTo>
                  <a:lnTo>
                    <a:pt x="564" y="618"/>
                  </a:lnTo>
                  <a:lnTo>
                    <a:pt x="563" y="618"/>
                  </a:lnTo>
                  <a:lnTo>
                    <a:pt x="563" y="620"/>
                  </a:lnTo>
                  <a:lnTo>
                    <a:pt x="561" y="621"/>
                  </a:lnTo>
                  <a:lnTo>
                    <a:pt x="559" y="623"/>
                  </a:lnTo>
                  <a:lnTo>
                    <a:pt x="559" y="625"/>
                  </a:lnTo>
                  <a:lnTo>
                    <a:pt x="559" y="626"/>
                  </a:lnTo>
                  <a:lnTo>
                    <a:pt x="557" y="625"/>
                  </a:lnTo>
                  <a:lnTo>
                    <a:pt x="557" y="626"/>
                  </a:lnTo>
                  <a:lnTo>
                    <a:pt x="556" y="628"/>
                  </a:lnTo>
                  <a:lnTo>
                    <a:pt x="554" y="630"/>
                  </a:lnTo>
                  <a:lnTo>
                    <a:pt x="556" y="628"/>
                  </a:lnTo>
                  <a:lnTo>
                    <a:pt x="557" y="628"/>
                  </a:lnTo>
                  <a:lnTo>
                    <a:pt x="557" y="626"/>
                  </a:lnTo>
                  <a:lnTo>
                    <a:pt x="561" y="626"/>
                  </a:lnTo>
                  <a:lnTo>
                    <a:pt x="563" y="623"/>
                  </a:lnTo>
                  <a:lnTo>
                    <a:pt x="564" y="620"/>
                  </a:lnTo>
                  <a:lnTo>
                    <a:pt x="566" y="620"/>
                  </a:lnTo>
                  <a:lnTo>
                    <a:pt x="566" y="623"/>
                  </a:lnTo>
                  <a:lnTo>
                    <a:pt x="569" y="625"/>
                  </a:lnTo>
                  <a:lnTo>
                    <a:pt x="569" y="626"/>
                  </a:lnTo>
                  <a:lnTo>
                    <a:pt x="569" y="628"/>
                  </a:lnTo>
                  <a:lnTo>
                    <a:pt x="569" y="630"/>
                  </a:lnTo>
                  <a:lnTo>
                    <a:pt x="571" y="632"/>
                  </a:lnTo>
                  <a:lnTo>
                    <a:pt x="569" y="633"/>
                  </a:lnTo>
                  <a:lnTo>
                    <a:pt x="566" y="635"/>
                  </a:lnTo>
                  <a:lnTo>
                    <a:pt x="566" y="638"/>
                  </a:lnTo>
                  <a:lnTo>
                    <a:pt x="566" y="640"/>
                  </a:lnTo>
                  <a:lnTo>
                    <a:pt x="568" y="638"/>
                  </a:lnTo>
                  <a:lnTo>
                    <a:pt x="569" y="640"/>
                  </a:lnTo>
                  <a:lnTo>
                    <a:pt x="571" y="640"/>
                  </a:lnTo>
                  <a:lnTo>
                    <a:pt x="573" y="643"/>
                  </a:lnTo>
                  <a:lnTo>
                    <a:pt x="571" y="643"/>
                  </a:lnTo>
                  <a:lnTo>
                    <a:pt x="569" y="645"/>
                  </a:lnTo>
                  <a:lnTo>
                    <a:pt x="569" y="647"/>
                  </a:lnTo>
                  <a:lnTo>
                    <a:pt x="571" y="649"/>
                  </a:lnTo>
                  <a:lnTo>
                    <a:pt x="571" y="650"/>
                  </a:lnTo>
                  <a:lnTo>
                    <a:pt x="573" y="654"/>
                  </a:lnTo>
                  <a:lnTo>
                    <a:pt x="573" y="655"/>
                  </a:lnTo>
                  <a:lnTo>
                    <a:pt x="571" y="655"/>
                  </a:lnTo>
                  <a:lnTo>
                    <a:pt x="569" y="657"/>
                  </a:lnTo>
                  <a:lnTo>
                    <a:pt x="573" y="657"/>
                  </a:lnTo>
                  <a:lnTo>
                    <a:pt x="574" y="659"/>
                  </a:lnTo>
                  <a:lnTo>
                    <a:pt x="574" y="662"/>
                  </a:lnTo>
                  <a:lnTo>
                    <a:pt x="576" y="664"/>
                  </a:lnTo>
                  <a:lnTo>
                    <a:pt x="578" y="666"/>
                  </a:lnTo>
                  <a:lnTo>
                    <a:pt x="580" y="669"/>
                  </a:lnTo>
                  <a:lnTo>
                    <a:pt x="580" y="672"/>
                  </a:lnTo>
                  <a:lnTo>
                    <a:pt x="583" y="672"/>
                  </a:lnTo>
                  <a:lnTo>
                    <a:pt x="583" y="674"/>
                  </a:lnTo>
                  <a:lnTo>
                    <a:pt x="585" y="674"/>
                  </a:lnTo>
                  <a:lnTo>
                    <a:pt x="586" y="676"/>
                  </a:lnTo>
                  <a:lnTo>
                    <a:pt x="588" y="676"/>
                  </a:lnTo>
                  <a:lnTo>
                    <a:pt x="588" y="679"/>
                  </a:lnTo>
                  <a:lnTo>
                    <a:pt x="588" y="681"/>
                  </a:lnTo>
                  <a:lnTo>
                    <a:pt x="588" y="683"/>
                  </a:lnTo>
                  <a:lnTo>
                    <a:pt x="590" y="684"/>
                  </a:lnTo>
                  <a:lnTo>
                    <a:pt x="591" y="686"/>
                  </a:lnTo>
                  <a:lnTo>
                    <a:pt x="591" y="688"/>
                  </a:lnTo>
                  <a:lnTo>
                    <a:pt x="593" y="691"/>
                  </a:lnTo>
                  <a:lnTo>
                    <a:pt x="593" y="693"/>
                  </a:lnTo>
                  <a:lnTo>
                    <a:pt x="595" y="693"/>
                  </a:lnTo>
                  <a:lnTo>
                    <a:pt x="597" y="694"/>
                  </a:lnTo>
                  <a:lnTo>
                    <a:pt x="600" y="694"/>
                  </a:lnTo>
                  <a:lnTo>
                    <a:pt x="602" y="696"/>
                  </a:lnTo>
                  <a:lnTo>
                    <a:pt x="603" y="698"/>
                  </a:lnTo>
                  <a:lnTo>
                    <a:pt x="605" y="701"/>
                  </a:lnTo>
                  <a:lnTo>
                    <a:pt x="608" y="705"/>
                  </a:lnTo>
                  <a:lnTo>
                    <a:pt x="610" y="705"/>
                  </a:lnTo>
                  <a:lnTo>
                    <a:pt x="612" y="706"/>
                  </a:lnTo>
                  <a:lnTo>
                    <a:pt x="614" y="706"/>
                  </a:lnTo>
                  <a:lnTo>
                    <a:pt x="614" y="708"/>
                  </a:lnTo>
                  <a:lnTo>
                    <a:pt x="617" y="710"/>
                  </a:lnTo>
                  <a:lnTo>
                    <a:pt x="619" y="711"/>
                  </a:lnTo>
                  <a:lnTo>
                    <a:pt x="620" y="711"/>
                  </a:lnTo>
                  <a:lnTo>
                    <a:pt x="622" y="713"/>
                  </a:lnTo>
                  <a:lnTo>
                    <a:pt x="625" y="715"/>
                  </a:lnTo>
                  <a:lnTo>
                    <a:pt x="625" y="717"/>
                  </a:lnTo>
                  <a:lnTo>
                    <a:pt x="629" y="717"/>
                  </a:lnTo>
                  <a:lnTo>
                    <a:pt x="634" y="720"/>
                  </a:lnTo>
                  <a:lnTo>
                    <a:pt x="636" y="722"/>
                  </a:lnTo>
                  <a:lnTo>
                    <a:pt x="637" y="723"/>
                  </a:lnTo>
                  <a:lnTo>
                    <a:pt x="639" y="723"/>
                  </a:lnTo>
                  <a:lnTo>
                    <a:pt x="641" y="725"/>
                  </a:lnTo>
                  <a:lnTo>
                    <a:pt x="642" y="725"/>
                  </a:lnTo>
                  <a:lnTo>
                    <a:pt x="644" y="727"/>
                  </a:lnTo>
                  <a:lnTo>
                    <a:pt x="648" y="727"/>
                  </a:lnTo>
                  <a:lnTo>
                    <a:pt x="649" y="728"/>
                  </a:lnTo>
                  <a:lnTo>
                    <a:pt x="651" y="728"/>
                  </a:lnTo>
                  <a:lnTo>
                    <a:pt x="656" y="728"/>
                  </a:lnTo>
                  <a:lnTo>
                    <a:pt x="659" y="730"/>
                  </a:lnTo>
                  <a:lnTo>
                    <a:pt x="659" y="732"/>
                  </a:lnTo>
                  <a:lnTo>
                    <a:pt x="663" y="732"/>
                  </a:lnTo>
                  <a:lnTo>
                    <a:pt x="665" y="732"/>
                  </a:lnTo>
                  <a:lnTo>
                    <a:pt x="666" y="732"/>
                  </a:lnTo>
                  <a:lnTo>
                    <a:pt x="670" y="732"/>
                  </a:lnTo>
                  <a:lnTo>
                    <a:pt x="671" y="734"/>
                  </a:lnTo>
                  <a:lnTo>
                    <a:pt x="675" y="735"/>
                  </a:lnTo>
                  <a:lnTo>
                    <a:pt x="676" y="734"/>
                  </a:lnTo>
                  <a:lnTo>
                    <a:pt x="678" y="734"/>
                  </a:lnTo>
                  <a:lnTo>
                    <a:pt x="680" y="734"/>
                  </a:lnTo>
                  <a:lnTo>
                    <a:pt x="683" y="734"/>
                  </a:lnTo>
                  <a:lnTo>
                    <a:pt x="685" y="732"/>
                  </a:lnTo>
                  <a:lnTo>
                    <a:pt x="687" y="734"/>
                  </a:lnTo>
                  <a:lnTo>
                    <a:pt x="690" y="734"/>
                  </a:lnTo>
                  <a:lnTo>
                    <a:pt x="692" y="734"/>
                  </a:lnTo>
                  <a:lnTo>
                    <a:pt x="693" y="735"/>
                  </a:lnTo>
                  <a:lnTo>
                    <a:pt x="692" y="735"/>
                  </a:lnTo>
                  <a:lnTo>
                    <a:pt x="692" y="739"/>
                  </a:lnTo>
                  <a:lnTo>
                    <a:pt x="692" y="740"/>
                  </a:lnTo>
                  <a:lnTo>
                    <a:pt x="693" y="740"/>
                  </a:lnTo>
                  <a:lnTo>
                    <a:pt x="693" y="742"/>
                  </a:lnTo>
                  <a:lnTo>
                    <a:pt x="693" y="744"/>
                  </a:lnTo>
                  <a:lnTo>
                    <a:pt x="695" y="746"/>
                  </a:lnTo>
                  <a:lnTo>
                    <a:pt x="693" y="746"/>
                  </a:lnTo>
                  <a:lnTo>
                    <a:pt x="692" y="746"/>
                  </a:lnTo>
                  <a:lnTo>
                    <a:pt x="690" y="746"/>
                  </a:lnTo>
                  <a:lnTo>
                    <a:pt x="688" y="746"/>
                  </a:lnTo>
                  <a:lnTo>
                    <a:pt x="687" y="746"/>
                  </a:lnTo>
                  <a:lnTo>
                    <a:pt x="685" y="746"/>
                  </a:lnTo>
                  <a:lnTo>
                    <a:pt x="683" y="747"/>
                  </a:lnTo>
                  <a:lnTo>
                    <a:pt x="683" y="749"/>
                  </a:lnTo>
                  <a:lnTo>
                    <a:pt x="682" y="751"/>
                  </a:lnTo>
                  <a:lnTo>
                    <a:pt x="678" y="749"/>
                  </a:lnTo>
                  <a:lnTo>
                    <a:pt x="678" y="751"/>
                  </a:lnTo>
                  <a:lnTo>
                    <a:pt x="682" y="751"/>
                  </a:lnTo>
                  <a:lnTo>
                    <a:pt x="683" y="751"/>
                  </a:lnTo>
                  <a:lnTo>
                    <a:pt x="687" y="749"/>
                  </a:lnTo>
                  <a:lnTo>
                    <a:pt x="688" y="747"/>
                  </a:lnTo>
                  <a:lnTo>
                    <a:pt x="692" y="749"/>
                  </a:lnTo>
                  <a:lnTo>
                    <a:pt x="693" y="747"/>
                  </a:lnTo>
                  <a:lnTo>
                    <a:pt x="693" y="749"/>
                  </a:lnTo>
                  <a:lnTo>
                    <a:pt x="692" y="749"/>
                  </a:lnTo>
                  <a:lnTo>
                    <a:pt x="690" y="751"/>
                  </a:lnTo>
                  <a:lnTo>
                    <a:pt x="687" y="752"/>
                  </a:lnTo>
                  <a:lnTo>
                    <a:pt x="685" y="751"/>
                  </a:lnTo>
                  <a:lnTo>
                    <a:pt x="687" y="752"/>
                  </a:lnTo>
                  <a:lnTo>
                    <a:pt x="685" y="752"/>
                  </a:lnTo>
                  <a:lnTo>
                    <a:pt x="687" y="754"/>
                  </a:lnTo>
                  <a:lnTo>
                    <a:pt x="688" y="752"/>
                  </a:lnTo>
                  <a:lnTo>
                    <a:pt x="690" y="754"/>
                  </a:lnTo>
                  <a:lnTo>
                    <a:pt x="690" y="752"/>
                  </a:lnTo>
                  <a:lnTo>
                    <a:pt x="692" y="752"/>
                  </a:lnTo>
                  <a:lnTo>
                    <a:pt x="693" y="752"/>
                  </a:lnTo>
                  <a:lnTo>
                    <a:pt x="693" y="754"/>
                  </a:lnTo>
                  <a:lnTo>
                    <a:pt x="690" y="754"/>
                  </a:lnTo>
                  <a:lnTo>
                    <a:pt x="693" y="756"/>
                  </a:lnTo>
                  <a:lnTo>
                    <a:pt x="690" y="756"/>
                  </a:lnTo>
                  <a:lnTo>
                    <a:pt x="690" y="757"/>
                  </a:lnTo>
                  <a:lnTo>
                    <a:pt x="687" y="756"/>
                  </a:lnTo>
                  <a:lnTo>
                    <a:pt x="685" y="756"/>
                  </a:lnTo>
                  <a:lnTo>
                    <a:pt x="687" y="754"/>
                  </a:lnTo>
                  <a:lnTo>
                    <a:pt x="683" y="756"/>
                  </a:lnTo>
                  <a:lnTo>
                    <a:pt x="683" y="754"/>
                  </a:lnTo>
                  <a:lnTo>
                    <a:pt x="685" y="752"/>
                  </a:lnTo>
                  <a:lnTo>
                    <a:pt x="683" y="752"/>
                  </a:lnTo>
                  <a:lnTo>
                    <a:pt x="682" y="752"/>
                  </a:lnTo>
                  <a:lnTo>
                    <a:pt x="680" y="754"/>
                  </a:lnTo>
                  <a:lnTo>
                    <a:pt x="678" y="752"/>
                  </a:lnTo>
                  <a:lnTo>
                    <a:pt x="676" y="752"/>
                  </a:lnTo>
                  <a:lnTo>
                    <a:pt x="675" y="754"/>
                  </a:lnTo>
                  <a:lnTo>
                    <a:pt x="676" y="754"/>
                  </a:lnTo>
                  <a:lnTo>
                    <a:pt x="678" y="754"/>
                  </a:lnTo>
                  <a:lnTo>
                    <a:pt x="676" y="756"/>
                  </a:lnTo>
                  <a:lnTo>
                    <a:pt x="675" y="754"/>
                  </a:lnTo>
                  <a:lnTo>
                    <a:pt x="673" y="754"/>
                  </a:lnTo>
                  <a:lnTo>
                    <a:pt x="675" y="754"/>
                  </a:lnTo>
                  <a:lnTo>
                    <a:pt x="673" y="752"/>
                  </a:lnTo>
                  <a:lnTo>
                    <a:pt x="671" y="751"/>
                  </a:lnTo>
                  <a:lnTo>
                    <a:pt x="673" y="749"/>
                  </a:lnTo>
                  <a:lnTo>
                    <a:pt x="671" y="749"/>
                  </a:lnTo>
                  <a:lnTo>
                    <a:pt x="670" y="751"/>
                  </a:lnTo>
                  <a:lnTo>
                    <a:pt x="670" y="752"/>
                  </a:lnTo>
                  <a:lnTo>
                    <a:pt x="668" y="754"/>
                  </a:lnTo>
                  <a:lnTo>
                    <a:pt x="666" y="754"/>
                  </a:lnTo>
                  <a:lnTo>
                    <a:pt x="665" y="754"/>
                  </a:lnTo>
                  <a:lnTo>
                    <a:pt x="665" y="756"/>
                  </a:lnTo>
                  <a:lnTo>
                    <a:pt x="666" y="756"/>
                  </a:lnTo>
                  <a:lnTo>
                    <a:pt x="668" y="756"/>
                  </a:lnTo>
                  <a:lnTo>
                    <a:pt x="666" y="756"/>
                  </a:lnTo>
                  <a:lnTo>
                    <a:pt x="666" y="757"/>
                  </a:lnTo>
                  <a:lnTo>
                    <a:pt x="670" y="757"/>
                  </a:lnTo>
                  <a:lnTo>
                    <a:pt x="668" y="759"/>
                  </a:lnTo>
                  <a:lnTo>
                    <a:pt x="670" y="761"/>
                  </a:lnTo>
                  <a:lnTo>
                    <a:pt x="671" y="759"/>
                  </a:lnTo>
                  <a:lnTo>
                    <a:pt x="673" y="757"/>
                  </a:lnTo>
                  <a:lnTo>
                    <a:pt x="673" y="756"/>
                  </a:lnTo>
                  <a:lnTo>
                    <a:pt x="671" y="757"/>
                  </a:lnTo>
                  <a:lnTo>
                    <a:pt x="670" y="756"/>
                  </a:lnTo>
                  <a:lnTo>
                    <a:pt x="671" y="756"/>
                  </a:lnTo>
                  <a:lnTo>
                    <a:pt x="675" y="756"/>
                  </a:lnTo>
                  <a:lnTo>
                    <a:pt x="675" y="757"/>
                  </a:lnTo>
                  <a:lnTo>
                    <a:pt x="676" y="757"/>
                  </a:lnTo>
                  <a:lnTo>
                    <a:pt x="678" y="757"/>
                  </a:lnTo>
                  <a:lnTo>
                    <a:pt x="680" y="757"/>
                  </a:lnTo>
                  <a:lnTo>
                    <a:pt x="678" y="759"/>
                  </a:lnTo>
                  <a:lnTo>
                    <a:pt x="678" y="757"/>
                  </a:lnTo>
                  <a:lnTo>
                    <a:pt x="676" y="757"/>
                  </a:lnTo>
                  <a:lnTo>
                    <a:pt x="676" y="761"/>
                  </a:lnTo>
                  <a:lnTo>
                    <a:pt x="678" y="759"/>
                  </a:lnTo>
                  <a:lnTo>
                    <a:pt x="680" y="759"/>
                  </a:lnTo>
                  <a:lnTo>
                    <a:pt x="680" y="757"/>
                  </a:lnTo>
                  <a:lnTo>
                    <a:pt x="680" y="759"/>
                  </a:lnTo>
                  <a:lnTo>
                    <a:pt x="680" y="761"/>
                  </a:lnTo>
                  <a:lnTo>
                    <a:pt x="680" y="763"/>
                  </a:lnTo>
                  <a:lnTo>
                    <a:pt x="676" y="763"/>
                  </a:lnTo>
                  <a:lnTo>
                    <a:pt x="675" y="763"/>
                  </a:lnTo>
                  <a:lnTo>
                    <a:pt x="675" y="761"/>
                  </a:lnTo>
                  <a:lnTo>
                    <a:pt x="673" y="761"/>
                  </a:lnTo>
                  <a:lnTo>
                    <a:pt x="670" y="761"/>
                  </a:lnTo>
                  <a:lnTo>
                    <a:pt x="668" y="761"/>
                  </a:lnTo>
                  <a:lnTo>
                    <a:pt x="666" y="761"/>
                  </a:lnTo>
                  <a:lnTo>
                    <a:pt x="665" y="761"/>
                  </a:lnTo>
                  <a:lnTo>
                    <a:pt x="666" y="761"/>
                  </a:lnTo>
                  <a:lnTo>
                    <a:pt x="665" y="763"/>
                  </a:lnTo>
                  <a:lnTo>
                    <a:pt x="663" y="763"/>
                  </a:lnTo>
                  <a:lnTo>
                    <a:pt x="659" y="764"/>
                  </a:lnTo>
                  <a:lnTo>
                    <a:pt x="661" y="764"/>
                  </a:lnTo>
                  <a:lnTo>
                    <a:pt x="665" y="764"/>
                  </a:lnTo>
                  <a:lnTo>
                    <a:pt x="666" y="766"/>
                  </a:lnTo>
                  <a:lnTo>
                    <a:pt x="668" y="768"/>
                  </a:lnTo>
                  <a:lnTo>
                    <a:pt x="666" y="768"/>
                  </a:lnTo>
                  <a:lnTo>
                    <a:pt x="665" y="768"/>
                  </a:lnTo>
                  <a:lnTo>
                    <a:pt x="663" y="768"/>
                  </a:lnTo>
                  <a:lnTo>
                    <a:pt x="661" y="769"/>
                  </a:lnTo>
                  <a:lnTo>
                    <a:pt x="658" y="768"/>
                  </a:lnTo>
                  <a:lnTo>
                    <a:pt x="661" y="768"/>
                  </a:lnTo>
                  <a:lnTo>
                    <a:pt x="658" y="768"/>
                  </a:lnTo>
                  <a:lnTo>
                    <a:pt x="654" y="768"/>
                  </a:lnTo>
                  <a:lnTo>
                    <a:pt x="654" y="766"/>
                  </a:lnTo>
                  <a:lnTo>
                    <a:pt x="656" y="766"/>
                  </a:lnTo>
                  <a:lnTo>
                    <a:pt x="658" y="768"/>
                  </a:lnTo>
                  <a:lnTo>
                    <a:pt x="661" y="768"/>
                  </a:lnTo>
                  <a:lnTo>
                    <a:pt x="663" y="766"/>
                  </a:lnTo>
                  <a:lnTo>
                    <a:pt x="661" y="766"/>
                  </a:lnTo>
                  <a:lnTo>
                    <a:pt x="658" y="764"/>
                  </a:lnTo>
                  <a:lnTo>
                    <a:pt x="656" y="764"/>
                  </a:lnTo>
                  <a:lnTo>
                    <a:pt x="653" y="763"/>
                  </a:lnTo>
                  <a:lnTo>
                    <a:pt x="654" y="764"/>
                  </a:lnTo>
                  <a:lnTo>
                    <a:pt x="656" y="764"/>
                  </a:lnTo>
                  <a:lnTo>
                    <a:pt x="658" y="766"/>
                  </a:lnTo>
                  <a:lnTo>
                    <a:pt x="661" y="766"/>
                  </a:lnTo>
                  <a:lnTo>
                    <a:pt x="659" y="766"/>
                  </a:lnTo>
                  <a:lnTo>
                    <a:pt x="658" y="766"/>
                  </a:lnTo>
                  <a:lnTo>
                    <a:pt x="656" y="766"/>
                  </a:lnTo>
                  <a:lnTo>
                    <a:pt x="654" y="766"/>
                  </a:lnTo>
                  <a:lnTo>
                    <a:pt x="651" y="768"/>
                  </a:lnTo>
                  <a:lnTo>
                    <a:pt x="649" y="766"/>
                  </a:lnTo>
                  <a:lnTo>
                    <a:pt x="649" y="768"/>
                  </a:lnTo>
                  <a:lnTo>
                    <a:pt x="651" y="769"/>
                  </a:lnTo>
                  <a:lnTo>
                    <a:pt x="654" y="769"/>
                  </a:lnTo>
                  <a:lnTo>
                    <a:pt x="654" y="771"/>
                  </a:lnTo>
                  <a:lnTo>
                    <a:pt x="653" y="771"/>
                  </a:lnTo>
                  <a:lnTo>
                    <a:pt x="651" y="771"/>
                  </a:lnTo>
                  <a:lnTo>
                    <a:pt x="649" y="769"/>
                  </a:lnTo>
                  <a:lnTo>
                    <a:pt x="649" y="771"/>
                  </a:lnTo>
                  <a:lnTo>
                    <a:pt x="649" y="773"/>
                  </a:lnTo>
                  <a:lnTo>
                    <a:pt x="649" y="774"/>
                  </a:lnTo>
                  <a:lnTo>
                    <a:pt x="653" y="774"/>
                  </a:lnTo>
                  <a:lnTo>
                    <a:pt x="653" y="776"/>
                  </a:lnTo>
                  <a:lnTo>
                    <a:pt x="654" y="778"/>
                  </a:lnTo>
                  <a:lnTo>
                    <a:pt x="651" y="778"/>
                  </a:lnTo>
                  <a:lnTo>
                    <a:pt x="653" y="780"/>
                  </a:lnTo>
                  <a:lnTo>
                    <a:pt x="649" y="780"/>
                  </a:lnTo>
                  <a:lnTo>
                    <a:pt x="646" y="780"/>
                  </a:lnTo>
                  <a:lnTo>
                    <a:pt x="646" y="778"/>
                  </a:lnTo>
                  <a:lnTo>
                    <a:pt x="644" y="780"/>
                  </a:lnTo>
                  <a:lnTo>
                    <a:pt x="642" y="778"/>
                  </a:lnTo>
                  <a:lnTo>
                    <a:pt x="641" y="780"/>
                  </a:lnTo>
                  <a:lnTo>
                    <a:pt x="639" y="780"/>
                  </a:lnTo>
                  <a:lnTo>
                    <a:pt x="636" y="778"/>
                  </a:lnTo>
                  <a:lnTo>
                    <a:pt x="636" y="776"/>
                  </a:lnTo>
                  <a:lnTo>
                    <a:pt x="632" y="776"/>
                  </a:lnTo>
                  <a:lnTo>
                    <a:pt x="631" y="776"/>
                  </a:lnTo>
                  <a:lnTo>
                    <a:pt x="631" y="780"/>
                  </a:lnTo>
                  <a:lnTo>
                    <a:pt x="629" y="780"/>
                  </a:lnTo>
                  <a:lnTo>
                    <a:pt x="631" y="780"/>
                  </a:lnTo>
                  <a:lnTo>
                    <a:pt x="634" y="780"/>
                  </a:lnTo>
                  <a:lnTo>
                    <a:pt x="636" y="780"/>
                  </a:lnTo>
                  <a:lnTo>
                    <a:pt x="637" y="781"/>
                  </a:lnTo>
                  <a:lnTo>
                    <a:pt x="639" y="780"/>
                  </a:lnTo>
                  <a:lnTo>
                    <a:pt x="641" y="781"/>
                  </a:lnTo>
                  <a:lnTo>
                    <a:pt x="637" y="781"/>
                  </a:lnTo>
                  <a:lnTo>
                    <a:pt x="636" y="783"/>
                  </a:lnTo>
                  <a:lnTo>
                    <a:pt x="634" y="781"/>
                  </a:lnTo>
                  <a:lnTo>
                    <a:pt x="634" y="780"/>
                  </a:lnTo>
                  <a:lnTo>
                    <a:pt x="632" y="781"/>
                  </a:lnTo>
                  <a:lnTo>
                    <a:pt x="631" y="780"/>
                  </a:lnTo>
                  <a:lnTo>
                    <a:pt x="627" y="781"/>
                  </a:lnTo>
                  <a:lnTo>
                    <a:pt x="625" y="780"/>
                  </a:lnTo>
                  <a:lnTo>
                    <a:pt x="625" y="781"/>
                  </a:lnTo>
                  <a:lnTo>
                    <a:pt x="627" y="781"/>
                  </a:lnTo>
                  <a:lnTo>
                    <a:pt x="625" y="781"/>
                  </a:lnTo>
                  <a:lnTo>
                    <a:pt x="625" y="783"/>
                  </a:lnTo>
                  <a:lnTo>
                    <a:pt x="622" y="785"/>
                  </a:lnTo>
                  <a:lnTo>
                    <a:pt x="624" y="785"/>
                  </a:lnTo>
                  <a:lnTo>
                    <a:pt x="620" y="786"/>
                  </a:lnTo>
                  <a:lnTo>
                    <a:pt x="620" y="785"/>
                  </a:lnTo>
                  <a:lnTo>
                    <a:pt x="619" y="785"/>
                  </a:lnTo>
                  <a:lnTo>
                    <a:pt x="617" y="783"/>
                  </a:lnTo>
                  <a:lnTo>
                    <a:pt x="617" y="786"/>
                  </a:lnTo>
                  <a:lnTo>
                    <a:pt x="615" y="785"/>
                  </a:lnTo>
                  <a:lnTo>
                    <a:pt x="614" y="786"/>
                  </a:lnTo>
                  <a:lnTo>
                    <a:pt x="612" y="786"/>
                  </a:lnTo>
                  <a:lnTo>
                    <a:pt x="608" y="785"/>
                  </a:lnTo>
                  <a:lnTo>
                    <a:pt x="610" y="786"/>
                  </a:lnTo>
                  <a:lnTo>
                    <a:pt x="607" y="788"/>
                  </a:lnTo>
                  <a:lnTo>
                    <a:pt x="610" y="788"/>
                  </a:lnTo>
                  <a:lnTo>
                    <a:pt x="608" y="788"/>
                  </a:lnTo>
                  <a:lnTo>
                    <a:pt x="607" y="788"/>
                  </a:lnTo>
                  <a:lnTo>
                    <a:pt x="605" y="788"/>
                  </a:lnTo>
                  <a:lnTo>
                    <a:pt x="603" y="788"/>
                  </a:lnTo>
                  <a:lnTo>
                    <a:pt x="602" y="786"/>
                  </a:lnTo>
                  <a:lnTo>
                    <a:pt x="605" y="785"/>
                  </a:lnTo>
                  <a:lnTo>
                    <a:pt x="607" y="785"/>
                  </a:lnTo>
                  <a:lnTo>
                    <a:pt x="605" y="783"/>
                  </a:lnTo>
                  <a:lnTo>
                    <a:pt x="607" y="781"/>
                  </a:lnTo>
                  <a:lnTo>
                    <a:pt x="610" y="785"/>
                  </a:lnTo>
                  <a:lnTo>
                    <a:pt x="612" y="785"/>
                  </a:lnTo>
                  <a:lnTo>
                    <a:pt x="610" y="783"/>
                  </a:lnTo>
                  <a:lnTo>
                    <a:pt x="608" y="781"/>
                  </a:lnTo>
                  <a:lnTo>
                    <a:pt x="608" y="778"/>
                  </a:lnTo>
                  <a:lnTo>
                    <a:pt x="607" y="776"/>
                  </a:lnTo>
                  <a:lnTo>
                    <a:pt x="605" y="774"/>
                  </a:lnTo>
                  <a:lnTo>
                    <a:pt x="602" y="774"/>
                  </a:lnTo>
                  <a:lnTo>
                    <a:pt x="600" y="773"/>
                  </a:lnTo>
                  <a:lnTo>
                    <a:pt x="598" y="773"/>
                  </a:lnTo>
                  <a:lnTo>
                    <a:pt x="597" y="771"/>
                  </a:lnTo>
                  <a:lnTo>
                    <a:pt x="597" y="769"/>
                  </a:lnTo>
                  <a:lnTo>
                    <a:pt x="595" y="769"/>
                  </a:lnTo>
                  <a:lnTo>
                    <a:pt x="593" y="769"/>
                  </a:lnTo>
                  <a:lnTo>
                    <a:pt x="595" y="768"/>
                  </a:lnTo>
                  <a:lnTo>
                    <a:pt x="597" y="768"/>
                  </a:lnTo>
                  <a:lnTo>
                    <a:pt x="595" y="766"/>
                  </a:lnTo>
                  <a:lnTo>
                    <a:pt x="598" y="768"/>
                  </a:lnTo>
                  <a:lnTo>
                    <a:pt x="598" y="769"/>
                  </a:lnTo>
                  <a:lnTo>
                    <a:pt x="598" y="771"/>
                  </a:lnTo>
                  <a:lnTo>
                    <a:pt x="600" y="771"/>
                  </a:lnTo>
                  <a:lnTo>
                    <a:pt x="600" y="769"/>
                  </a:lnTo>
                  <a:lnTo>
                    <a:pt x="600" y="768"/>
                  </a:lnTo>
                  <a:lnTo>
                    <a:pt x="603" y="768"/>
                  </a:lnTo>
                  <a:lnTo>
                    <a:pt x="605" y="769"/>
                  </a:lnTo>
                  <a:lnTo>
                    <a:pt x="607" y="768"/>
                  </a:lnTo>
                  <a:lnTo>
                    <a:pt x="605" y="768"/>
                  </a:lnTo>
                  <a:lnTo>
                    <a:pt x="605" y="766"/>
                  </a:lnTo>
                  <a:lnTo>
                    <a:pt x="603" y="766"/>
                  </a:lnTo>
                  <a:lnTo>
                    <a:pt x="602" y="764"/>
                  </a:lnTo>
                  <a:lnTo>
                    <a:pt x="603" y="764"/>
                  </a:lnTo>
                  <a:lnTo>
                    <a:pt x="602" y="763"/>
                  </a:lnTo>
                  <a:lnTo>
                    <a:pt x="603" y="763"/>
                  </a:lnTo>
                  <a:lnTo>
                    <a:pt x="607" y="763"/>
                  </a:lnTo>
                  <a:lnTo>
                    <a:pt x="608" y="763"/>
                  </a:lnTo>
                  <a:lnTo>
                    <a:pt x="607" y="761"/>
                  </a:lnTo>
                  <a:lnTo>
                    <a:pt x="603" y="761"/>
                  </a:lnTo>
                  <a:lnTo>
                    <a:pt x="605" y="759"/>
                  </a:lnTo>
                  <a:lnTo>
                    <a:pt x="603" y="757"/>
                  </a:lnTo>
                  <a:lnTo>
                    <a:pt x="602" y="757"/>
                  </a:lnTo>
                  <a:lnTo>
                    <a:pt x="602" y="761"/>
                  </a:lnTo>
                  <a:lnTo>
                    <a:pt x="600" y="761"/>
                  </a:lnTo>
                  <a:lnTo>
                    <a:pt x="598" y="761"/>
                  </a:lnTo>
                  <a:lnTo>
                    <a:pt x="600" y="763"/>
                  </a:lnTo>
                  <a:lnTo>
                    <a:pt x="600" y="764"/>
                  </a:lnTo>
                  <a:lnTo>
                    <a:pt x="597" y="764"/>
                  </a:lnTo>
                  <a:lnTo>
                    <a:pt x="597" y="763"/>
                  </a:lnTo>
                  <a:lnTo>
                    <a:pt x="595" y="763"/>
                  </a:lnTo>
                  <a:lnTo>
                    <a:pt x="593" y="764"/>
                  </a:lnTo>
                  <a:lnTo>
                    <a:pt x="591" y="763"/>
                  </a:lnTo>
                  <a:lnTo>
                    <a:pt x="588" y="761"/>
                  </a:lnTo>
                  <a:lnTo>
                    <a:pt x="586" y="759"/>
                  </a:lnTo>
                  <a:lnTo>
                    <a:pt x="586" y="761"/>
                  </a:lnTo>
                  <a:lnTo>
                    <a:pt x="583" y="761"/>
                  </a:lnTo>
                  <a:lnTo>
                    <a:pt x="581" y="761"/>
                  </a:lnTo>
                  <a:lnTo>
                    <a:pt x="580" y="759"/>
                  </a:lnTo>
                  <a:lnTo>
                    <a:pt x="578" y="759"/>
                  </a:lnTo>
                  <a:lnTo>
                    <a:pt x="580" y="757"/>
                  </a:lnTo>
                  <a:lnTo>
                    <a:pt x="578" y="757"/>
                  </a:lnTo>
                  <a:lnTo>
                    <a:pt x="576" y="757"/>
                  </a:lnTo>
                  <a:lnTo>
                    <a:pt x="576" y="756"/>
                  </a:lnTo>
                  <a:lnTo>
                    <a:pt x="580" y="756"/>
                  </a:lnTo>
                  <a:lnTo>
                    <a:pt x="581" y="757"/>
                  </a:lnTo>
                  <a:lnTo>
                    <a:pt x="580" y="757"/>
                  </a:lnTo>
                  <a:lnTo>
                    <a:pt x="581" y="759"/>
                  </a:lnTo>
                  <a:lnTo>
                    <a:pt x="585" y="761"/>
                  </a:lnTo>
                  <a:lnTo>
                    <a:pt x="585" y="759"/>
                  </a:lnTo>
                  <a:lnTo>
                    <a:pt x="583" y="759"/>
                  </a:lnTo>
                  <a:lnTo>
                    <a:pt x="581" y="756"/>
                  </a:lnTo>
                  <a:lnTo>
                    <a:pt x="580" y="756"/>
                  </a:lnTo>
                  <a:lnTo>
                    <a:pt x="580" y="754"/>
                  </a:lnTo>
                  <a:lnTo>
                    <a:pt x="578" y="752"/>
                  </a:lnTo>
                  <a:lnTo>
                    <a:pt x="576" y="752"/>
                  </a:lnTo>
                  <a:lnTo>
                    <a:pt x="578" y="749"/>
                  </a:lnTo>
                  <a:lnTo>
                    <a:pt x="576" y="747"/>
                  </a:lnTo>
                  <a:lnTo>
                    <a:pt x="576" y="744"/>
                  </a:lnTo>
                  <a:lnTo>
                    <a:pt x="574" y="744"/>
                  </a:lnTo>
                  <a:lnTo>
                    <a:pt x="573" y="746"/>
                  </a:lnTo>
                  <a:lnTo>
                    <a:pt x="574" y="749"/>
                  </a:lnTo>
                  <a:lnTo>
                    <a:pt x="574" y="752"/>
                  </a:lnTo>
                  <a:lnTo>
                    <a:pt x="576" y="756"/>
                  </a:lnTo>
                  <a:lnTo>
                    <a:pt x="574" y="756"/>
                  </a:lnTo>
                  <a:lnTo>
                    <a:pt x="573" y="754"/>
                  </a:lnTo>
                  <a:lnTo>
                    <a:pt x="571" y="752"/>
                  </a:lnTo>
                  <a:lnTo>
                    <a:pt x="569" y="752"/>
                  </a:lnTo>
                  <a:lnTo>
                    <a:pt x="571" y="754"/>
                  </a:lnTo>
                  <a:lnTo>
                    <a:pt x="573" y="754"/>
                  </a:lnTo>
                  <a:lnTo>
                    <a:pt x="573" y="756"/>
                  </a:lnTo>
                  <a:lnTo>
                    <a:pt x="571" y="756"/>
                  </a:lnTo>
                  <a:lnTo>
                    <a:pt x="569" y="756"/>
                  </a:lnTo>
                  <a:lnTo>
                    <a:pt x="571" y="757"/>
                  </a:lnTo>
                  <a:lnTo>
                    <a:pt x="573" y="757"/>
                  </a:lnTo>
                  <a:lnTo>
                    <a:pt x="573" y="759"/>
                  </a:lnTo>
                  <a:lnTo>
                    <a:pt x="571" y="759"/>
                  </a:lnTo>
                  <a:lnTo>
                    <a:pt x="573" y="761"/>
                  </a:lnTo>
                  <a:lnTo>
                    <a:pt x="573" y="763"/>
                  </a:lnTo>
                  <a:lnTo>
                    <a:pt x="576" y="763"/>
                  </a:lnTo>
                  <a:lnTo>
                    <a:pt x="578" y="764"/>
                  </a:lnTo>
                  <a:lnTo>
                    <a:pt x="580" y="764"/>
                  </a:lnTo>
                  <a:lnTo>
                    <a:pt x="581" y="768"/>
                  </a:lnTo>
                  <a:lnTo>
                    <a:pt x="578" y="766"/>
                  </a:lnTo>
                  <a:lnTo>
                    <a:pt x="576" y="766"/>
                  </a:lnTo>
                  <a:lnTo>
                    <a:pt x="576" y="764"/>
                  </a:lnTo>
                  <a:lnTo>
                    <a:pt x="573" y="764"/>
                  </a:lnTo>
                  <a:lnTo>
                    <a:pt x="571" y="764"/>
                  </a:lnTo>
                  <a:lnTo>
                    <a:pt x="574" y="764"/>
                  </a:lnTo>
                  <a:lnTo>
                    <a:pt x="574" y="768"/>
                  </a:lnTo>
                  <a:lnTo>
                    <a:pt x="576" y="766"/>
                  </a:lnTo>
                  <a:lnTo>
                    <a:pt x="578" y="768"/>
                  </a:lnTo>
                  <a:lnTo>
                    <a:pt x="581" y="768"/>
                  </a:lnTo>
                  <a:lnTo>
                    <a:pt x="583" y="768"/>
                  </a:lnTo>
                  <a:lnTo>
                    <a:pt x="581" y="768"/>
                  </a:lnTo>
                  <a:lnTo>
                    <a:pt x="583" y="766"/>
                  </a:lnTo>
                  <a:lnTo>
                    <a:pt x="581" y="766"/>
                  </a:lnTo>
                  <a:lnTo>
                    <a:pt x="583" y="764"/>
                  </a:lnTo>
                  <a:lnTo>
                    <a:pt x="585" y="766"/>
                  </a:lnTo>
                  <a:lnTo>
                    <a:pt x="585" y="768"/>
                  </a:lnTo>
                  <a:lnTo>
                    <a:pt x="586" y="768"/>
                  </a:lnTo>
                  <a:lnTo>
                    <a:pt x="586" y="769"/>
                  </a:lnTo>
                  <a:lnTo>
                    <a:pt x="588" y="771"/>
                  </a:lnTo>
                  <a:lnTo>
                    <a:pt x="588" y="774"/>
                  </a:lnTo>
                  <a:lnTo>
                    <a:pt x="590" y="776"/>
                  </a:lnTo>
                  <a:lnTo>
                    <a:pt x="590" y="778"/>
                  </a:lnTo>
                  <a:lnTo>
                    <a:pt x="590" y="780"/>
                  </a:lnTo>
                  <a:lnTo>
                    <a:pt x="590" y="781"/>
                  </a:lnTo>
                  <a:lnTo>
                    <a:pt x="591" y="783"/>
                  </a:lnTo>
                  <a:lnTo>
                    <a:pt x="595" y="783"/>
                  </a:lnTo>
                  <a:lnTo>
                    <a:pt x="593" y="786"/>
                  </a:lnTo>
                  <a:lnTo>
                    <a:pt x="591" y="785"/>
                  </a:lnTo>
                  <a:lnTo>
                    <a:pt x="590" y="783"/>
                  </a:lnTo>
                  <a:lnTo>
                    <a:pt x="586" y="781"/>
                  </a:lnTo>
                  <a:lnTo>
                    <a:pt x="583" y="781"/>
                  </a:lnTo>
                  <a:lnTo>
                    <a:pt x="583" y="780"/>
                  </a:lnTo>
                  <a:lnTo>
                    <a:pt x="581" y="778"/>
                  </a:lnTo>
                  <a:lnTo>
                    <a:pt x="578" y="778"/>
                  </a:lnTo>
                  <a:lnTo>
                    <a:pt x="574" y="774"/>
                  </a:lnTo>
                  <a:lnTo>
                    <a:pt x="573" y="774"/>
                  </a:lnTo>
                  <a:lnTo>
                    <a:pt x="571" y="776"/>
                  </a:lnTo>
                  <a:lnTo>
                    <a:pt x="568" y="778"/>
                  </a:lnTo>
                  <a:lnTo>
                    <a:pt x="566" y="778"/>
                  </a:lnTo>
                  <a:lnTo>
                    <a:pt x="564" y="778"/>
                  </a:lnTo>
                  <a:lnTo>
                    <a:pt x="563" y="776"/>
                  </a:lnTo>
                  <a:lnTo>
                    <a:pt x="561" y="773"/>
                  </a:lnTo>
                  <a:lnTo>
                    <a:pt x="561" y="771"/>
                  </a:lnTo>
                  <a:lnTo>
                    <a:pt x="563" y="769"/>
                  </a:lnTo>
                  <a:lnTo>
                    <a:pt x="564" y="768"/>
                  </a:lnTo>
                  <a:lnTo>
                    <a:pt x="566" y="768"/>
                  </a:lnTo>
                  <a:lnTo>
                    <a:pt x="564" y="764"/>
                  </a:lnTo>
                  <a:lnTo>
                    <a:pt x="568" y="764"/>
                  </a:lnTo>
                  <a:lnTo>
                    <a:pt x="568" y="766"/>
                  </a:lnTo>
                  <a:lnTo>
                    <a:pt x="569" y="764"/>
                  </a:lnTo>
                  <a:lnTo>
                    <a:pt x="571" y="766"/>
                  </a:lnTo>
                  <a:lnTo>
                    <a:pt x="571" y="764"/>
                  </a:lnTo>
                  <a:lnTo>
                    <a:pt x="568" y="764"/>
                  </a:lnTo>
                  <a:lnTo>
                    <a:pt x="568" y="763"/>
                  </a:lnTo>
                  <a:lnTo>
                    <a:pt x="569" y="761"/>
                  </a:lnTo>
                  <a:lnTo>
                    <a:pt x="573" y="763"/>
                  </a:lnTo>
                  <a:lnTo>
                    <a:pt x="571" y="759"/>
                  </a:lnTo>
                  <a:lnTo>
                    <a:pt x="569" y="757"/>
                  </a:lnTo>
                  <a:lnTo>
                    <a:pt x="566" y="757"/>
                  </a:lnTo>
                  <a:lnTo>
                    <a:pt x="569" y="759"/>
                  </a:lnTo>
                  <a:lnTo>
                    <a:pt x="566" y="759"/>
                  </a:lnTo>
                  <a:lnTo>
                    <a:pt x="564" y="757"/>
                  </a:lnTo>
                  <a:lnTo>
                    <a:pt x="563" y="757"/>
                  </a:lnTo>
                  <a:lnTo>
                    <a:pt x="564" y="757"/>
                  </a:lnTo>
                  <a:lnTo>
                    <a:pt x="563" y="756"/>
                  </a:lnTo>
                  <a:lnTo>
                    <a:pt x="559" y="754"/>
                  </a:lnTo>
                  <a:lnTo>
                    <a:pt x="557" y="752"/>
                  </a:lnTo>
                  <a:lnTo>
                    <a:pt x="556" y="752"/>
                  </a:lnTo>
                  <a:lnTo>
                    <a:pt x="556" y="754"/>
                  </a:lnTo>
                  <a:lnTo>
                    <a:pt x="557" y="757"/>
                  </a:lnTo>
                  <a:lnTo>
                    <a:pt x="554" y="757"/>
                  </a:lnTo>
                  <a:lnTo>
                    <a:pt x="556" y="759"/>
                  </a:lnTo>
                  <a:lnTo>
                    <a:pt x="557" y="759"/>
                  </a:lnTo>
                  <a:lnTo>
                    <a:pt x="557" y="761"/>
                  </a:lnTo>
                  <a:lnTo>
                    <a:pt x="559" y="763"/>
                  </a:lnTo>
                  <a:lnTo>
                    <a:pt x="557" y="761"/>
                  </a:lnTo>
                  <a:lnTo>
                    <a:pt x="554" y="761"/>
                  </a:lnTo>
                  <a:lnTo>
                    <a:pt x="552" y="757"/>
                  </a:lnTo>
                  <a:lnTo>
                    <a:pt x="551" y="757"/>
                  </a:lnTo>
                  <a:lnTo>
                    <a:pt x="551" y="761"/>
                  </a:lnTo>
                  <a:lnTo>
                    <a:pt x="551" y="763"/>
                  </a:lnTo>
                  <a:lnTo>
                    <a:pt x="552" y="763"/>
                  </a:lnTo>
                  <a:lnTo>
                    <a:pt x="554" y="763"/>
                  </a:lnTo>
                  <a:lnTo>
                    <a:pt x="556" y="764"/>
                  </a:lnTo>
                  <a:lnTo>
                    <a:pt x="552" y="764"/>
                  </a:lnTo>
                  <a:lnTo>
                    <a:pt x="552" y="768"/>
                  </a:lnTo>
                  <a:lnTo>
                    <a:pt x="551" y="768"/>
                  </a:lnTo>
                  <a:lnTo>
                    <a:pt x="549" y="768"/>
                  </a:lnTo>
                  <a:lnTo>
                    <a:pt x="549" y="769"/>
                  </a:lnTo>
                  <a:lnTo>
                    <a:pt x="547" y="769"/>
                  </a:lnTo>
                  <a:lnTo>
                    <a:pt x="544" y="768"/>
                  </a:lnTo>
                  <a:lnTo>
                    <a:pt x="540" y="768"/>
                  </a:lnTo>
                  <a:lnTo>
                    <a:pt x="537" y="766"/>
                  </a:lnTo>
                  <a:lnTo>
                    <a:pt x="537" y="764"/>
                  </a:lnTo>
                  <a:lnTo>
                    <a:pt x="535" y="764"/>
                  </a:lnTo>
                  <a:lnTo>
                    <a:pt x="535" y="763"/>
                  </a:lnTo>
                  <a:lnTo>
                    <a:pt x="532" y="761"/>
                  </a:lnTo>
                  <a:lnTo>
                    <a:pt x="530" y="759"/>
                  </a:lnTo>
                  <a:lnTo>
                    <a:pt x="529" y="757"/>
                  </a:lnTo>
                  <a:lnTo>
                    <a:pt x="527" y="756"/>
                  </a:lnTo>
                  <a:lnTo>
                    <a:pt x="525" y="754"/>
                  </a:lnTo>
                  <a:lnTo>
                    <a:pt x="523" y="752"/>
                  </a:lnTo>
                  <a:lnTo>
                    <a:pt x="523" y="749"/>
                  </a:lnTo>
                  <a:lnTo>
                    <a:pt x="522" y="746"/>
                  </a:lnTo>
                  <a:lnTo>
                    <a:pt x="520" y="744"/>
                  </a:lnTo>
                  <a:lnTo>
                    <a:pt x="520" y="742"/>
                  </a:lnTo>
                  <a:lnTo>
                    <a:pt x="518" y="740"/>
                  </a:lnTo>
                  <a:lnTo>
                    <a:pt x="518" y="737"/>
                  </a:lnTo>
                  <a:lnTo>
                    <a:pt x="518" y="735"/>
                  </a:lnTo>
                  <a:lnTo>
                    <a:pt x="518" y="732"/>
                  </a:lnTo>
                  <a:lnTo>
                    <a:pt x="520" y="728"/>
                  </a:lnTo>
                  <a:lnTo>
                    <a:pt x="518" y="727"/>
                  </a:lnTo>
                  <a:lnTo>
                    <a:pt x="520" y="727"/>
                  </a:lnTo>
                  <a:lnTo>
                    <a:pt x="523" y="728"/>
                  </a:lnTo>
                  <a:lnTo>
                    <a:pt x="525" y="727"/>
                  </a:lnTo>
                  <a:lnTo>
                    <a:pt x="527" y="727"/>
                  </a:lnTo>
                  <a:lnTo>
                    <a:pt x="527" y="723"/>
                  </a:lnTo>
                  <a:lnTo>
                    <a:pt x="529" y="725"/>
                  </a:lnTo>
                  <a:lnTo>
                    <a:pt x="529" y="727"/>
                  </a:lnTo>
                  <a:lnTo>
                    <a:pt x="530" y="727"/>
                  </a:lnTo>
                  <a:lnTo>
                    <a:pt x="530" y="725"/>
                  </a:lnTo>
                  <a:lnTo>
                    <a:pt x="532" y="727"/>
                  </a:lnTo>
                  <a:lnTo>
                    <a:pt x="534" y="727"/>
                  </a:lnTo>
                  <a:lnTo>
                    <a:pt x="534" y="723"/>
                  </a:lnTo>
                  <a:lnTo>
                    <a:pt x="535" y="725"/>
                  </a:lnTo>
                  <a:lnTo>
                    <a:pt x="535" y="723"/>
                  </a:lnTo>
                  <a:lnTo>
                    <a:pt x="532" y="723"/>
                  </a:lnTo>
                  <a:lnTo>
                    <a:pt x="532" y="722"/>
                  </a:lnTo>
                  <a:lnTo>
                    <a:pt x="530" y="720"/>
                  </a:lnTo>
                  <a:lnTo>
                    <a:pt x="530" y="718"/>
                  </a:lnTo>
                  <a:lnTo>
                    <a:pt x="534" y="720"/>
                  </a:lnTo>
                  <a:lnTo>
                    <a:pt x="532" y="718"/>
                  </a:lnTo>
                  <a:lnTo>
                    <a:pt x="532" y="717"/>
                  </a:lnTo>
                  <a:lnTo>
                    <a:pt x="529" y="717"/>
                  </a:lnTo>
                  <a:lnTo>
                    <a:pt x="527" y="715"/>
                  </a:lnTo>
                  <a:lnTo>
                    <a:pt x="529" y="715"/>
                  </a:lnTo>
                  <a:lnTo>
                    <a:pt x="530" y="717"/>
                  </a:lnTo>
                  <a:lnTo>
                    <a:pt x="529" y="715"/>
                  </a:lnTo>
                  <a:lnTo>
                    <a:pt x="529" y="713"/>
                  </a:lnTo>
                  <a:lnTo>
                    <a:pt x="529" y="711"/>
                  </a:lnTo>
                  <a:lnTo>
                    <a:pt x="527" y="713"/>
                  </a:lnTo>
                  <a:lnTo>
                    <a:pt x="525" y="711"/>
                  </a:lnTo>
                  <a:lnTo>
                    <a:pt x="529" y="711"/>
                  </a:lnTo>
                  <a:lnTo>
                    <a:pt x="530" y="711"/>
                  </a:lnTo>
                  <a:lnTo>
                    <a:pt x="529" y="710"/>
                  </a:lnTo>
                  <a:lnTo>
                    <a:pt x="529" y="708"/>
                  </a:lnTo>
                  <a:lnTo>
                    <a:pt x="530" y="706"/>
                  </a:lnTo>
                  <a:lnTo>
                    <a:pt x="529" y="706"/>
                  </a:lnTo>
                  <a:lnTo>
                    <a:pt x="529" y="705"/>
                  </a:lnTo>
                  <a:lnTo>
                    <a:pt x="525" y="705"/>
                  </a:lnTo>
                  <a:lnTo>
                    <a:pt x="523" y="705"/>
                  </a:lnTo>
                  <a:lnTo>
                    <a:pt x="527" y="703"/>
                  </a:lnTo>
                  <a:lnTo>
                    <a:pt x="529" y="705"/>
                  </a:lnTo>
                  <a:lnTo>
                    <a:pt x="527" y="703"/>
                  </a:lnTo>
                  <a:lnTo>
                    <a:pt x="527" y="700"/>
                  </a:lnTo>
                  <a:lnTo>
                    <a:pt x="523" y="700"/>
                  </a:lnTo>
                  <a:lnTo>
                    <a:pt x="525" y="698"/>
                  </a:lnTo>
                  <a:lnTo>
                    <a:pt x="527" y="696"/>
                  </a:lnTo>
                  <a:lnTo>
                    <a:pt x="525" y="698"/>
                  </a:lnTo>
                  <a:lnTo>
                    <a:pt x="525" y="696"/>
                  </a:lnTo>
                  <a:lnTo>
                    <a:pt x="523" y="696"/>
                  </a:lnTo>
                  <a:lnTo>
                    <a:pt x="523" y="698"/>
                  </a:lnTo>
                  <a:lnTo>
                    <a:pt x="522" y="696"/>
                  </a:lnTo>
                  <a:lnTo>
                    <a:pt x="523" y="696"/>
                  </a:lnTo>
                  <a:lnTo>
                    <a:pt x="523" y="694"/>
                  </a:lnTo>
                  <a:lnTo>
                    <a:pt x="523" y="693"/>
                  </a:lnTo>
                  <a:lnTo>
                    <a:pt x="525" y="693"/>
                  </a:lnTo>
                  <a:lnTo>
                    <a:pt x="523" y="691"/>
                  </a:lnTo>
                  <a:lnTo>
                    <a:pt x="523" y="688"/>
                  </a:lnTo>
                  <a:lnTo>
                    <a:pt x="522" y="688"/>
                  </a:lnTo>
                  <a:lnTo>
                    <a:pt x="522" y="689"/>
                  </a:lnTo>
                  <a:lnTo>
                    <a:pt x="520" y="691"/>
                  </a:lnTo>
                  <a:lnTo>
                    <a:pt x="518" y="688"/>
                  </a:lnTo>
                  <a:lnTo>
                    <a:pt x="518" y="686"/>
                  </a:lnTo>
                  <a:lnTo>
                    <a:pt x="518" y="684"/>
                  </a:lnTo>
                  <a:lnTo>
                    <a:pt x="517" y="686"/>
                  </a:lnTo>
                  <a:lnTo>
                    <a:pt x="517" y="688"/>
                  </a:lnTo>
                  <a:lnTo>
                    <a:pt x="517" y="684"/>
                  </a:lnTo>
                  <a:lnTo>
                    <a:pt x="517" y="683"/>
                  </a:lnTo>
                  <a:lnTo>
                    <a:pt x="513" y="684"/>
                  </a:lnTo>
                  <a:lnTo>
                    <a:pt x="512" y="686"/>
                  </a:lnTo>
                  <a:lnTo>
                    <a:pt x="508" y="684"/>
                  </a:lnTo>
                  <a:lnTo>
                    <a:pt x="506" y="684"/>
                  </a:lnTo>
                  <a:lnTo>
                    <a:pt x="505" y="683"/>
                  </a:lnTo>
                  <a:lnTo>
                    <a:pt x="506" y="683"/>
                  </a:lnTo>
                  <a:lnTo>
                    <a:pt x="505" y="681"/>
                  </a:lnTo>
                  <a:lnTo>
                    <a:pt x="505" y="677"/>
                  </a:lnTo>
                  <a:lnTo>
                    <a:pt x="503" y="674"/>
                  </a:lnTo>
                  <a:lnTo>
                    <a:pt x="505" y="672"/>
                  </a:lnTo>
                  <a:lnTo>
                    <a:pt x="505" y="669"/>
                  </a:lnTo>
                  <a:lnTo>
                    <a:pt x="506" y="669"/>
                  </a:lnTo>
                  <a:lnTo>
                    <a:pt x="508" y="667"/>
                  </a:lnTo>
                  <a:lnTo>
                    <a:pt x="508" y="666"/>
                  </a:lnTo>
                  <a:lnTo>
                    <a:pt x="510" y="666"/>
                  </a:lnTo>
                  <a:lnTo>
                    <a:pt x="512" y="664"/>
                  </a:lnTo>
                  <a:lnTo>
                    <a:pt x="513" y="662"/>
                  </a:lnTo>
                  <a:lnTo>
                    <a:pt x="510" y="662"/>
                  </a:lnTo>
                  <a:lnTo>
                    <a:pt x="508" y="660"/>
                  </a:lnTo>
                  <a:lnTo>
                    <a:pt x="508" y="659"/>
                  </a:lnTo>
                  <a:lnTo>
                    <a:pt x="506" y="657"/>
                  </a:lnTo>
                  <a:lnTo>
                    <a:pt x="508" y="655"/>
                  </a:lnTo>
                  <a:lnTo>
                    <a:pt x="510" y="655"/>
                  </a:lnTo>
                  <a:lnTo>
                    <a:pt x="512" y="655"/>
                  </a:lnTo>
                  <a:lnTo>
                    <a:pt x="512" y="654"/>
                  </a:lnTo>
                  <a:lnTo>
                    <a:pt x="510" y="654"/>
                  </a:lnTo>
                  <a:lnTo>
                    <a:pt x="508" y="652"/>
                  </a:lnTo>
                  <a:lnTo>
                    <a:pt x="505" y="652"/>
                  </a:lnTo>
                  <a:lnTo>
                    <a:pt x="503" y="650"/>
                  </a:lnTo>
                  <a:lnTo>
                    <a:pt x="503" y="649"/>
                  </a:lnTo>
                  <a:lnTo>
                    <a:pt x="503" y="645"/>
                  </a:lnTo>
                  <a:lnTo>
                    <a:pt x="503" y="643"/>
                  </a:lnTo>
                  <a:lnTo>
                    <a:pt x="503" y="640"/>
                  </a:lnTo>
                  <a:lnTo>
                    <a:pt x="503" y="638"/>
                  </a:lnTo>
                  <a:lnTo>
                    <a:pt x="506" y="638"/>
                  </a:lnTo>
                  <a:lnTo>
                    <a:pt x="506" y="637"/>
                  </a:lnTo>
                  <a:lnTo>
                    <a:pt x="506" y="633"/>
                  </a:lnTo>
                  <a:lnTo>
                    <a:pt x="508" y="632"/>
                  </a:lnTo>
                  <a:lnTo>
                    <a:pt x="508" y="630"/>
                  </a:lnTo>
                  <a:lnTo>
                    <a:pt x="510" y="630"/>
                  </a:lnTo>
                  <a:lnTo>
                    <a:pt x="512" y="628"/>
                  </a:lnTo>
                  <a:lnTo>
                    <a:pt x="512" y="630"/>
                  </a:lnTo>
                  <a:lnTo>
                    <a:pt x="513" y="630"/>
                  </a:lnTo>
                  <a:lnTo>
                    <a:pt x="517" y="628"/>
                  </a:lnTo>
                  <a:lnTo>
                    <a:pt x="517" y="626"/>
                  </a:lnTo>
                  <a:lnTo>
                    <a:pt x="517" y="625"/>
                  </a:lnTo>
                  <a:lnTo>
                    <a:pt x="517" y="623"/>
                  </a:lnTo>
                  <a:lnTo>
                    <a:pt x="520" y="625"/>
                  </a:lnTo>
                  <a:lnTo>
                    <a:pt x="520" y="623"/>
                  </a:lnTo>
                  <a:lnTo>
                    <a:pt x="517" y="623"/>
                  </a:lnTo>
                  <a:lnTo>
                    <a:pt x="517" y="620"/>
                  </a:lnTo>
                  <a:lnTo>
                    <a:pt x="517" y="618"/>
                  </a:lnTo>
                  <a:lnTo>
                    <a:pt x="517" y="616"/>
                  </a:lnTo>
                  <a:lnTo>
                    <a:pt x="515" y="616"/>
                  </a:lnTo>
                  <a:lnTo>
                    <a:pt x="515" y="618"/>
                  </a:lnTo>
                  <a:lnTo>
                    <a:pt x="515" y="620"/>
                  </a:lnTo>
                  <a:lnTo>
                    <a:pt x="515" y="621"/>
                  </a:lnTo>
                  <a:lnTo>
                    <a:pt x="513" y="625"/>
                  </a:lnTo>
                  <a:lnTo>
                    <a:pt x="512" y="623"/>
                  </a:lnTo>
                  <a:lnTo>
                    <a:pt x="510" y="625"/>
                  </a:lnTo>
                  <a:lnTo>
                    <a:pt x="508" y="623"/>
                  </a:lnTo>
                  <a:lnTo>
                    <a:pt x="508" y="620"/>
                  </a:lnTo>
                  <a:lnTo>
                    <a:pt x="510" y="618"/>
                  </a:lnTo>
                  <a:lnTo>
                    <a:pt x="510" y="616"/>
                  </a:lnTo>
                  <a:lnTo>
                    <a:pt x="510" y="615"/>
                  </a:lnTo>
                  <a:lnTo>
                    <a:pt x="512" y="613"/>
                  </a:lnTo>
                  <a:lnTo>
                    <a:pt x="512" y="611"/>
                  </a:lnTo>
                  <a:lnTo>
                    <a:pt x="512" y="609"/>
                  </a:lnTo>
                  <a:lnTo>
                    <a:pt x="510" y="609"/>
                  </a:lnTo>
                  <a:lnTo>
                    <a:pt x="510" y="611"/>
                  </a:lnTo>
                  <a:lnTo>
                    <a:pt x="508" y="615"/>
                  </a:lnTo>
                  <a:lnTo>
                    <a:pt x="506" y="613"/>
                  </a:lnTo>
                  <a:lnTo>
                    <a:pt x="506" y="611"/>
                  </a:lnTo>
                  <a:lnTo>
                    <a:pt x="506" y="609"/>
                  </a:lnTo>
                  <a:lnTo>
                    <a:pt x="505" y="606"/>
                  </a:lnTo>
                  <a:lnTo>
                    <a:pt x="506" y="604"/>
                  </a:lnTo>
                  <a:lnTo>
                    <a:pt x="506" y="603"/>
                  </a:lnTo>
                  <a:lnTo>
                    <a:pt x="508" y="601"/>
                  </a:lnTo>
                  <a:lnTo>
                    <a:pt x="508" y="599"/>
                  </a:lnTo>
                  <a:lnTo>
                    <a:pt x="508" y="598"/>
                  </a:lnTo>
                  <a:lnTo>
                    <a:pt x="510" y="596"/>
                  </a:lnTo>
                  <a:lnTo>
                    <a:pt x="512" y="594"/>
                  </a:lnTo>
                  <a:lnTo>
                    <a:pt x="512" y="591"/>
                  </a:lnTo>
                  <a:lnTo>
                    <a:pt x="513" y="591"/>
                  </a:lnTo>
                  <a:lnTo>
                    <a:pt x="513" y="589"/>
                  </a:lnTo>
                  <a:lnTo>
                    <a:pt x="510" y="591"/>
                  </a:lnTo>
                  <a:lnTo>
                    <a:pt x="510" y="592"/>
                  </a:lnTo>
                  <a:lnTo>
                    <a:pt x="510" y="594"/>
                  </a:lnTo>
                  <a:lnTo>
                    <a:pt x="508" y="592"/>
                  </a:lnTo>
                  <a:lnTo>
                    <a:pt x="508" y="591"/>
                  </a:lnTo>
                  <a:lnTo>
                    <a:pt x="506" y="594"/>
                  </a:lnTo>
                  <a:lnTo>
                    <a:pt x="503" y="596"/>
                  </a:lnTo>
                  <a:lnTo>
                    <a:pt x="503" y="598"/>
                  </a:lnTo>
                  <a:lnTo>
                    <a:pt x="501" y="599"/>
                  </a:lnTo>
                  <a:lnTo>
                    <a:pt x="503" y="603"/>
                  </a:lnTo>
                  <a:lnTo>
                    <a:pt x="501" y="604"/>
                  </a:lnTo>
                  <a:lnTo>
                    <a:pt x="501" y="606"/>
                  </a:lnTo>
                  <a:lnTo>
                    <a:pt x="498" y="606"/>
                  </a:lnTo>
                  <a:lnTo>
                    <a:pt x="498" y="608"/>
                  </a:lnTo>
                  <a:lnTo>
                    <a:pt x="496" y="608"/>
                  </a:lnTo>
                  <a:lnTo>
                    <a:pt x="495" y="606"/>
                  </a:lnTo>
                  <a:lnTo>
                    <a:pt x="493" y="606"/>
                  </a:lnTo>
                  <a:lnTo>
                    <a:pt x="489" y="604"/>
                  </a:lnTo>
                  <a:lnTo>
                    <a:pt x="488" y="604"/>
                  </a:lnTo>
                  <a:lnTo>
                    <a:pt x="486" y="604"/>
                  </a:lnTo>
                  <a:lnTo>
                    <a:pt x="484" y="604"/>
                  </a:lnTo>
                  <a:lnTo>
                    <a:pt x="484" y="603"/>
                  </a:lnTo>
                  <a:lnTo>
                    <a:pt x="483" y="601"/>
                  </a:lnTo>
                  <a:lnTo>
                    <a:pt x="484" y="603"/>
                  </a:lnTo>
                  <a:lnTo>
                    <a:pt x="486" y="601"/>
                  </a:lnTo>
                  <a:lnTo>
                    <a:pt x="488" y="599"/>
                  </a:lnTo>
                  <a:lnTo>
                    <a:pt x="489" y="598"/>
                  </a:lnTo>
                  <a:lnTo>
                    <a:pt x="489" y="594"/>
                  </a:lnTo>
                  <a:lnTo>
                    <a:pt x="488" y="594"/>
                  </a:lnTo>
                  <a:lnTo>
                    <a:pt x="488" y="592"/>
                  </a:lnTo>
                  <a:lnTo>
                    <a:pt x="488" y="591"/>
                  </a:lnTo>
                  <a:lnTo>
                    <a:pt x="488" y="589"/>
                  </a:lnTo>
                  <a:lnTo>
                    <a:pt x="488" y="587"/>
                  </a:lnTo>
                  <a:lnTo>
                    <a:pt x="489" y="586"/>
                  </a:lnTo>
                  <a:lnTo>
                    <a:pt x="489" y="584"/>
                  </a:lnTo>
                  <a:lnTo>
                    <a:pt x="491" y="582"/>
                  </a:lnTo>
                  <a:lnTo>
                    <a:pt x="493" y="581"/>
                  </a:lnTo>
                  <a:lnTo>
                    <a:pt x="493" y="579"/>
                  </a:lnTo>
                  <a:lnTo>
                    <a:pt x="493" y="577"/>
                  </a:lnTo>
                  <a:lnTo>
                    <a:pt x="496" y="577"/>
                  </a:lnTo>
                  <a:lnTo>
                    <a:pt x="498" y="577"/>
                  </a:lnTo>
                  <a:lnTo>
                    <a:pt x="496" y="575"/>
                  </a:lnTo>
                  <a:lnTo>
                    <a:pt x="493" y="575"/>
                  </a:lnTo>
                  <a:lnTo>
                    <a:pt x="491" y="577"/>
                  </a:lnTo>
                  <a:lnTo>
                    <a:pt x="489" y="575"/>
                  </a:lnTo>
                  <a:lnTo>
                    <a:pt x="489" y="574"/>
                  </a:lnTo>
                  <a:lnTo>
                    <a:pt x="489" y="572"/>
                  </a:lnTo>
                  <a:lnTo>
                    <a:pt x="489" y="569"/>
                  </a:lnTo>
                  <a:lnTo>
                    <a:pt x="489" y="567"/>
                  </a:lnTo>
                  <a:lnTo>
                    <a:pt x="489" y="565"/>
                  </a:lnTo>
                  <a:lnTo>
                    <a:pt x="489" y="562"/>
                  </a:lnTo>
                  <a:lnTo>
                    <a:pt x="491" y="562"/>
                  </a:lnTo>
                  <a:lnTo>
                    <a:pt x="493" y="560"/>
                  </a:lnTo>
                  <a:lnTo>
                    <a:pt x="496" y="560"/>
                  </a:lnTo>
                  <a:lnTo>
                    <a:pt x="498" y="560"/>
                  </a:lnTo>
                  <a:lnTo>
                    <a:pt x="500" y="558"/>
                  </a:lnTo>
                  <a:lnTo>
                    <a:pt x="501" y="557"/>
                  </a:lnTo>
                  <a:lnTo>
                    <a:pt x="503" y="558"/>
                  </a:lnTo>
                  <a:lnTo>
                    <a:pt x="505" y="557"/>
                  </a:lnTo>
                  <a:lnTo>
                    <a:pt x="506" y="557"/>
                  </a:lnTo>
                  <a:lnTo>
                    <a:pt x="508" y="555"/>
                  </a:lnTo>
                  <a:lnTo>
                    <a:pt x="505" y="553"/>
                  </a:lnTo>
                  <a:lnTo>
                    <a:pt x="503" y="555"/>
                  </a:lnTo>
                  <a:lnTo>
                    <a:pt x="501" y="555"/>
                  </a:lnTo>
                  <a:lnTo>
                    <a:pt x="498" y="553"/>
                  </a:lnTo>
                  <a:lnTo>
                    <a:pt x="496" y="553"/>
                  </a:lnTo>
                  <a:lnTo>
                    <a:pt x="493" y="555"/>
                  </a:lnTo>
                  <a:lnTo>
                    <a:pt x="491" y="555"/>
                  </a:lnTo>
                  <a:lnTo>
                    <a:pt x="489" y="557"/>
                  </a:lnTo>
                  <a:lnTo>
                    <a:pt x="488" y="555"/>
                  </a:lnTo>
                  <a:lnTo>
                    <a:pt x="488" y="553"/>
                  </a:lnTo>
                  <a:lnTo>
                    <a:pt x="488" y="550"/>
                  </a:lnTo>
                  <a:lnTo>
                    <a:pt x="491" y="553"/>
                  </a:lnTo>
                  <a:lnTo>
                    <a:pt x="491" y="552"/>
                  </a:lnTo>
                  <a:lnTo>
                    <a:pt x="493" y="550"/>
                  </a:lnTo>
                  <a:lnTo>
                    <a:pt x="495" y="548"/>
                  </a:lnTo>
                  <a:lnTo>
                    <a:pt x="495" y="546"/>
                  </a:lnTo>
                  <a:lnTo>
                    <a:pt x="498" y="548"/>
                  </a:lnTo>
                  <a:lnTo>
                    <a:pt x="496" y="545"/>
                  </a:lnTo>
                  <a:lnTo>
                    <a:pt x="493" y="545"/>
                  </a:lnTo>
                  <a:lnTo>
                    <a:pt x="491" y="543"/>
                  </a:lnTo>
                  <a:lnTo>
                    <a:pt x="489" y="545"/>
                  </a:lnTo>
                  <a:lnTo>
                    <a:pt x="486" y="546"/>
                  </a:lnTo>
                  <a:lnTo>
                    <a:pt x="484" y="541"/>
                  </a:lnTo>
                  <a:lnTo>
                    <a:pt x="484" y="540"/>
                  </a:lnTo>
                  <a:lnTo>
                    <a:pt x="486" y="541"/>
                  </a:lnTo>
                  <a:lnTo>
                    <a:pt x="486" y="540"/>
                  </a:lnTo>
                  <a:lnTo>
                    <a:pt x="488" y="538"/>
                  </a:lnTo>
                  <a:lnTo>
                    <a:pt x="488" y="536"/>
                  </a:lnTo>
                  <a:lnTo>
                    <a:pt x="489" y="535"/>
                  </a:lnTo>
                  <a:lnTo>
                    <a:pt x="493" y="535"/>
                  </a:lnTo>
                  <a:lnTo>
                    <a:pt x="493" y="531"/>
                  </a:lnTo>
                  <a:lnTo>
                    <a:pt x="495" y="529"/>
                  </a:lnTo>
                  <a:lnTo>
                    <a:pt x="496" y="528"/>
                  </a:lnTo>
                  <a:lnTo>
                    <a:pt x="496" y="526"/>
                  </a:lnTo>
                  <a:lnTo>
                    <a:pt x="495" y="528"/>
                  </a:lnTo>
                  <a:lnTo>
                    <a:pt x="493" y="529"/>
                  </a:lnTo>
                  <a:lnTo>
                    <a:pt x="491" y="529"/>
                  </a:lnTo>
                  <a:lnTo>
                    <a:pt x="491" y="528"/>
                  </a:lnTo>
                  <a:lnTo>
                    <a:pt x="491" y="526"/>
                  </a:lnTo>
                  <a:lnTo>
                    <a:pt x="488" y="528"/>
                  </a:lnTo>
                  <a:lnTo>
                    <a:pt x="486" y="529"/>
                  </a:lnTo>
                  <a:lnTo>
                    <a:pt x="486" y="531"/>
                  </a:lnTo>
                  <a:lnTo>
                    <a:pt x="484" y="529"/>
                  </a:lnTo>
                  <a:lnTo>
                    <a:pt x="481" y="531"/>
                  </a:lnTo>
                  <a:lnTo>
                    <a:pt x="479" y="528"/>
                  </a:lnTo>
                  <a:lnTo>
                    <a:pt x="478" y="526"/>
                  </a:lnTo>
                  <a:lnTo>
                    <a:pt x="479" y="524"/>
                  </a:lnTo>
                  <a:lnTo>
                    <a:pt x="479" y="523"/>
                  </a:lnTo>
                  <a:lnTo>
                    <a:pt x="479" y="519"/>
                  </a:lnTo>
                  <a:lnTo>
                    <a:pt x="481" y="519"/>
                  </a:lnTo>
                  <a:lnTo>
                    <a:pt x="483" y="519"/>
                  </a:lnTo>
                  <a:lnTo>
                    <a:pt x="484" y="519"/>
                  </a:lnTo>
                  <a:lnTo>
                    <a:pt x="484" y="518"/>
                  </a:lnTo>
                  <a:lnTo>
                    <a:pt x="486" y="516"/>
                  </a:lnTo>
                  <a:lnTo>
                    <a:pt x="486" y="514"/>
                  </a:lnTo>
                  <a:lnTo>
                    <a:pt x="488" y="512"/>
                  </a:lnTo>
                  <a:lnTo>
                    <a:pt x="488" y="511"/>
                  </a:lnTo>
                  <a:lnTo>
                    <a:pt x="491" y="511"/>
                  </a:lnTo>
                  <a:lnTo>
                    <a:pt x="493" y="511"/>
                  </a:lnTo>
                  <a:lnTo>
                    <a:pt x="495" y="511"/>
                  </a:lnTo>
                  <a:lnTo>
                    <a:pt x="495" y="509"/>
                  </a:lnTo>
                  <a:lnTo>
                    <a:pt x="493" y="509"/>
                  </a:lnTo>
                  <a:lnTo>
                    <a:pt x="489" y="507"/>
                  </a:lnTo>
                  <a:lnTo>
                    <a:pt x="488" y="507"/>
                  </a:lnTo>
                  <a:lnTo>
                    <a:pt x="488" y="509"/>
                  </a:lnTo>
                  <a:lnTo>
                    <a:pt x="486" y="507"/>
                  </a:lnTo>
                  <a:lnTo>
                    <a:pt x="488" y="506"/>
                  </a:lnTo>
                  <a:lnTo>
                    <a:pt x="488" y="504"/>
                  </a:lnTo>
                  <a:lnTo>
                    <a:pt x="486" y="506"/>
                  </a:lnTo>
                  <a:lnTo>
                    <a:pt x="484" y="507"/>
                  </a:lnTo>
                  <a:lnTo>
                    <a:pt x="483" y="507"/>
                  </a:lnTo>
                  <a:lnTo>
                    <a:pt x="481" y="507"/>
                  </a:lnTo>
                  <a:lnTo>
                    <a:pt x="479" y="511"/>
                  </a:lnTo>
                  <a:lnTo>
                    <a:pt x="479" y="512"/>
                  </a:lnTo>
                  <a:lnTo>
                    <a:pt x="478" y="512"/>
                  </a:lnTo>
                  <a:lnTo>
                    <a:pt x="476" y="512"/>
                  </a:lnTo>
                  <a:lnTo>
                    <a:pt x="474" y="511"/>
                  </a:lnTo>
                  <a:lnTo>
                    <a:pt x="476" y="509"/>
                  </a:lnTo>
                  <a:lnTo>
                    <a:pt x="476" y="507"/>
                  </a:lnTo>
                  <a:lnTo>
                    <a:pt x="476" y="506"/>
                  </a:lnTo>
                  <a:lnTo>
                    <a:pt x="476" y="504"/>
                  </a:lnTo>
                  <a:lnTo>
                    <a:pt x="478" y="501"/>
                  </a:lnTo>
                  <a:lnTo>
                    <a:pt x="479" y="499"/>
                  </a:lnTo>
                  <a:lnTo>
                    <a:pt x="481" y="499"/>
                  </a:lnTo>
                  <a:lnTo>
                    <a:pt x="481" y="497"/>
                  </a:lnTo>
                  <a:lnTo>
                    <a:pt x="481" y="495"/>
                  </a:lnTo>
                  <a:lnTo>
                    <a:pt x="483" y="492"/>
                  </a:lnTo>
                  <a:lnTo>
                    <a:pt x="479" y="494"/>
                  </a:lnTo>
                  <a:lnTo>
                    <a:pt x="478" y="494"/>
                  </a:lnTo>
                  <a:lnTo>
                    <a:pt x="479" y="497"/>
                  </a:lnTo>
                  <a:lnTo>
                    <a:pt x="478" y="499"/>
                  </a:lnTo>
                  <a:lnTo>
                    <a:pt x="478" y="495"/>
                  </a:lnTo>
                  <a:lnTo>
                    <a:pt x="476" y="497"/>
                  </a:lnTo>
                  <a:lnTo>
                    <a:pt x="476" y="494"/>
                  </a:lnTo>
                  <a:lnTo>
                    <a:pt x="472" y="492"/>
                  </a:lnTo>
                  <a:lnTo>
                    <a:pt x="472" y="494"/>
                  </a:lnTo>
                  <a:lnTo>
                    <a:pt x="471" y="495"/>
                  </a:lnTo>
                  <a:lnTo>
                    <a:pt x="471" y="497"/>
                  </a:lnTo>
                  <a:lnTo>
                    <a:pt x="467" y="499"/>
                  </a:lnTo>
                  <a:lnTo>
                    <a:pt x="466" y="497"/>
                  </a:lnTo>
                  <a:lnTo>
                    <a:pt x="466" y="494"/>
                  </a:lnTo>
                  <a:lnTo>
                    <a:pt x="462" y="494"/>
                  </a:lnTo>
                  <a:lnTo>
                    <a:pt x="461" y="495"/>
                  </a:lnTo>
                  <a:lnTo>
                    <a:pt x="461" y="494"/>
                  </a:lnTo>
                  <a:lnTo>
                    <a:pt x="461" y="492"/>
                  </a:lnTo>
                  <a:lnTo>
                    <a:pt x="459" y="490"/>
                  </a:lnTo>
                  <a:lnTo>
                    <a:pt x="459" y="487"/>
                  </a:lnTo>
                  <a:lnTo>
                    <a:pt x="459" y="485"/>
                  </a:lnTo>
                  <a:lnTo>
                    <a:pt x="461" y="485"/>
                  </a:lnTo>
                  <a:lnTo>
                    <a:pt x="462" y="485"/>
                  </a:lnTo>
                  <a:lnTo>
                    <a:pt x="462" y="484"/>
                  </a:lnTo>
                  <a:lnTo>
                    <a:pt x="464" y="485"/>
                  </a:lnTo>
                  <a:lnTo>
                    <a:pt x="466" y="484"/>
                  </a:lnTo>
                  <a:lnTo>
                    <a:pt x="467" y="485"/>
                  </a:lnTo>
                  <a:lnTo>
                    <a:pt x="471" y="485"/>
                  </a:lnTo>
                  <a:lnTo>
                    <a:pt x="472" y="489"/>
                  </a:lnTo>
                  <a:lnTo>
                    <a:pt x="474" y="487"/>
                  </a:lnTo>
                  <a:lnTo>
                    <a:pt x="474" y="485"/>
                  </a:lnTo>
                  <a:lnTo>
                    <a:pt x="474" y="484"/>
                  </a:lnTo>
                  <a:lnTo>
                    <a:pt x="472" y="482"/>
                  </a:lnTo>
                  <a:lnTo>
                    <a:pt x="472" y="478"/>
                  </a:lnTo>
                  <a:lnTo>
                    <a:pt x="472" y="475"/>
                  </a:lnTo>
                  <a:lnTo>
                    <a:pt x="472" y="472"/>
                  </a:lnTo>
                  <a:lnTo>
                    <a:pt x="471" y="472"/>
                  </a:lnTo>
                  <a:lnTo>
                    <a:pt x="471" y="470"/>
                  </a:lnTo>
                  <a:lnTo>
                    <a:pt x="467" y="472"/>
                  </a:lnTo>
                  <a:lnTo>
                    <a:pt x="466" y="470"/>
                  </a:lnTo>
                  <a:lnTo>
                    <a:pt x="466" y="468"/>
                  </a:lnTo>
                  <a:lnTo>
                    <a:pt x="466" y="467"/>
                  </a:lnTo>
                  <a:lnTo>
                    <a:pt x="467" y="463"/>
                  </a:lnTo>
                  <a:lnTo>
                    <a:pt x="467" y="461"/>
                  </a:lnTo>
                  <a:lnTo>
                    <a:pt x="469" y="461"/>
                  </a:lnTo>
                  <a:lnTo>
                    <a:pt x="472" y="460"/>
                  </a:lnTo>
                  <a:lnTo>
                    <a:pt x="472" y="458"/>
                  </a:lnTo>
                  <a:lnTo>
                    <a:pt x="474" y="460"/>
                  </a:lnTo>
                  <a:lnTo>
                    <a:pt x="476" y="460"/>
                  </a:lnTo>
                  <a:lnTo>
                    <a:pt x="479" y="460"/>
                  </a:lnTo>
                  <a:lnTo>
                    <a:pt x="479" y="458"/>
                  </a:lnTo>
                  <a:lnTo>
                    <a:pt x="481" y="456"/>
                  </a:lnTo>
                  <a:lnTo>
                    <a:pt x="483" y="456"/>
                  </a:lnTo>
                  <a:lnTo>
                    <a:pt x="483" y="455"/>
                  </a:lnTo>
                  <a:lnTo>
                    <a:pt x="481" y="453"/>
                  </a:lnTo>
                  <a:lnTo>
                    <a:pt x="479" y="455"/>
                  </a:lnTo>
                  <a:lnTo>
                    <a:pt x="478" y="455"/>
                  </a:lnTo>
                  <a:lnTo>
                    <a:pt x="476" y="451"/>
                  </a:lnTo>
                  <a:lnTo>
                    <a:pt x="474" y="450"/>
                  </a:lnTo>
                  <a:lnTo>
                    <a:pt x="472" y="451"/>
                  </a:lnTo>
                  <a:lnTo>
                    <a:pt x="471" y="450"/>
                  </a:lnTo>
                  <a:lnTo>
                    <a:pt x="471" y="448"/>
                  </a:lnTo>
                  <a:lnTo>
                    <a:pt x="471" y="446"/>
                  </a:lnTo>
                  <a:lnTo>
                    <a:pt x="472" y="443"/>
                  </a:lnTo>
                  <a:lnTo>
                    <a:pt x="472" y="439"/>
                  </a:lnTo>
                  <a:lnTo>
                    <a:pt x="476" y="438"/>
                  </a:lnTo>
                  <a:lnTo>
                    <a:pt x="476" y="434"/>
                  </a:lnTo>
                  <a:lnTo>
                    <a:pt x="474" y="433"/>
                  </a:lnTo>
                  <a:lnTo>
                    <a:pt x="472" y="434"/>
                  </a:lnTo>
                  <a:lnTo>
                    <a:pt x="471" y="436"/>
                  </a:lnTo>
                  <a:lnTo>
                    <a:pt x="469" y="436"/>
                  </a:lnTo>
                  <a:lnTo>
                    <a:pt x="469" y="433"/>
                  </a:lnTo>
                  <a:lnTo>
                    <a:pt x="471" y="429"/>
                  </a:lnTo>
                  <a:lnTo>
                    <a:pt x="472" y="429"/>
                  </a:lnTo>
                  <a:lnTo>
                    <a:pt x="472" y="426"/>
                  </a:lnTo>
                  <a:lnTo>
                    <a:pt x="474" y="424"/>
                  </a:lnTo>
                  <a:lnTo>
                    <a:pt x="476" y="421"/>
                  </a:lnTo>
                  <a:lnTo>
                    <a:pt x="474" y="419"/>
                  </a:lnTo>
                  <a:lnTo>
                    <a:pt x="472" y="421"/>
                  </a:lnTo>
                  <a:lnTo>
                    <a:pt x="472" y="419"/>
                  </a:lnTo>
                  <a:lnTo>
                    <a:pt x="472" y="415"/>
                  </a:lnTo>
                  <a:lnTo>
                    <a:pt x="472" y="414"/>
                  </a:lnTo>
                  <a:lnTo>
                    <a:pt x="472" y="410"/>
                  </a:lnTo>
                  <a:lnTo>
                    <a:pt x="472" y="409"/>
                  </a:lnTo>
                  <a:lnTo>
                    <a:pt x="476" y="409"/>
                  </a:lnTo>
                  <a:lnTo>
                    <a:pt x="476" y="407"/>
                  </a:lnTo>
                  <a:lnTo>
                    <a:pt x="476" y="405"/>
                  </a:lnTo>
                  <a:lnTo>
                    <a:pt x="472" y="407"/>
                  </a:lnTo>
                  <a:lnTo>
                    <a:pt x="472" y="405"/>
                  </a:lnTo>
                  <a:lnTo>
                    <a:pt x="474" y="404"/>
                  </a:lnTo>
                  <a:lnTo>
                    <a:pt x="476" y="404"/>
                  </a:lnTo>
                  <a:lnTo>
                    <a:pt x="478" y="404"/>
                  </a:lnTo>
                  <a:lnTo>
                    <a:pt x="476" y="400"/>
                  </a:lnTo>
                  <a:lnTo>
                    <a:pt x="478" y="398"/>
                  </a:lnTo>
                  <a:lnTo>
                    <a:pt x="479" y="398"/>
                  </a:lnTo>
                  <a:lnTo>
                    <a:pt x="483" y="397"/>
                  </a:lnTo>
                  <a:lnTo>
                    <a:pt x="483" y="395"/>
                  </a:lnTo>
                  <a:lnTo>
                    <a:pt x="484" y="392"/>
                  </a:lnTo>
                  <a:lnTo>
                    <a:pt x="483" y="390"/>
                  </a:lnTo>
                  <a:lnTo>
                    <a:pt x="486" y="388"/>
                  </a:lnTo>
                  <a:lnTo>
                    <a:pt x="488" y="385"/>
                  </a:lnTo>
                  <a:lnTo>
                    <a:pt x="486" y="383"/>
                  </a:lnTo>
                  <a:lnTo>
                    <a:pt x="484" y="383"/>
                  </a:lnTo>
                  <a:lnTo>
                    <a:pt x="481" y="385"/>
                  </a:lnTo>
                  <a:lnTo>
                    <a:pt x="479" y="385"/>
                  </a:lnTo>
                  <a:lnTo>
                    <a:pt x="481" y="381"/>
                  </a:lnTo>
                  <a:lnTo>
                    <a:pt x="481" y="380"/>
                  </a:lnTo>
                  <a:lnTo>
                    <a:pt x="479" y="380"/>
                  </a:lnTo>
                  <a:lnTo>
                    <a:pt x="479" y="381"/>
                  </a:lnTo>
                  <a:lnTo>
                    <a:pt x="478" y="381"/>
                  </a:lnTo>
                  <a:lnTo>
                    <a:pt x="476" y="383"/>
                  </a:lnTo>
                  <a:lnTo>
                    <a:pt x="474" y="381"/>
                  </a:lnTo>
                  <a:lnTo>
                    <a:pt x="476" y="380"/>
                  </a:lnTo>
                  <a:lnTo>
                    <a:pt x="476" y="378"/>
                  </a:lnTo>
                  <a:lnTo>
                    <a:pt x="478" y="376"/>
                  </a:lnTo>
                  <a:lnTo>
                    <a:pt x="478" y="375"/>
                  </a:lnTo>
                  <a:lnTo>
                    <a:pt x="479" y="371"/>
                  </a:lnTo>
                  <a:lnTo>
                    <a:pt x="481" y="375"/>
                  </a:lnTo>
                  <a:lnTo>
                    <a:pt x="479" y="376"/>
                  </a:lnTo>
                  <a:lnTo>
                    <a:pt x="481" y="380"/>
                  </a:lnTo>
                  <a:lnTo>
                    <a:pt x="483" y="376"/>
                  </a:lnTo>
                  <a:lnTo>
                    <a:pt x="483" y="375"/>
                  </a:lnTo>
                  <a:lnTo>
                    <a:pt x="484" y="375"/>
                  </a:lnTo>
                  <a:lnTo>
                    <a:pt x="486" y="373"/>
                  </a:lnTo>
                  <a:lnTo>
                    <a:pt x="488" y="371"/>
                  </a:lnTo>
                  <a:lnTo>
                    <a:pt x="488" y="373"/>
                  </a:lnTo>
                  <a:lnTo>
                    <a:pt x="488" y="376"/>
                  </a:lnTo>
                  <a:lnTo>
                    <a:pt x="488" y="378"/>
                  </a:lnTo>
                  <a:lnTo>
                    <a:pt x="488" y="380"/>
                  </a:lnTo>
                  <a:lnTo>
                    <a:pt x="488" y="383"/>
                  </a:lnTo>
                  <a:lnTo>
                    <a:pt x="489" y="383"/>
                  </a:lnTo>
                  <a:lnTo>
                    <a:pt x="491" y="381"/>
                  </a:lnTo>
                  <a:lnTo>
                    <a:pt x="493" y="381"/>
                  </a:lnTo>
                  <a:lnTo>
                    <a:pt x="493" y="380"/>
                  </a:lnTo>
                  <a:lnTo>
                    <a:pt x="491" y="376"/>
                  </a:lnTo>
                  <a:lnTo>
                    <a:pt x="491" y="375"/>
                  </a:lnTo>
                  <a:lnTo>
                    <a:pt x="493" y="373"/>
                  </a:lnTo>
                  <a:lnTo>
                    <a:pt x="495" y="371"/>
                  </a:lnTo>
                  <a:lnTo>
                    <a:pt x="493" y="370"/>
                  </a:lnTo>
                  <a:lnTo>
                    <a:pt x="493" y="368"/>
                  </a:lnTo>
                  <a:lnTo>
                    <a:pt x="491" y="366"/>
                  </a:lnTo>
                  <a:lnTo>
                    <a:pt x="489" y="368"/>
                  </a:lnTo>
                  <a:lnTo>
                    <a:pt x="488" y="368"/>
                  </a:lnTo>
                  <a:lnTo>
                    <a:pt x="486" y="366"/>
                  </a:lnTo>
                  <a:lnTo>
                    <a:pt x="486" y="364"/>
                  </a:lnTo>
                  <a:lnTo>
                    <a:pt x="484" y="364"/>
                  </a:lnTo>
                  <a:lnTo>
                    <a:pt x="483" y="363"/>
                  </a:lnTo>
                  <a:lnTo>
                    <a:pt x="483" y="359"/>
                  </a:lnTo>
                  <a:lnTo>
                    <a:pt x="484" y="358"/>
                  </a:lnTo>
                  <a:lnTo>
                    <a:pt x="484" y="359"/>
                  </a:lnTo>
                  <a:lnTo>
                    <a:pt x="486" y="356"/>
                  </a:lnTo>
                  <a:lnTo>
                    <a:pt x="488" y="354"/>
                  </a:lnTo>
                  <a:lnTo>
                    <a:pt x="489" y="353"/>
                  </a:lnTo>
                  <a:lnTo>
                    <a:pt x="489" y="349"/>
                  </a:lnTo>
                  <a:lnTo>
                    <a:pt x="493" y="351"/>
                  </a:lnTo>
                  <a:lnTo>
                    <a:pt x="495" y="347"/>
                  </a:lnTo>
                  <a:lnTo>
                    <a:pt x="496" y="349"/>
                  </a:lnTo>
                  <a:lnTo>
                    <a:pt x="498" y="347"/>
                  </a:lnTo>
                  <a:lnTo>
                    <a:pt x="500" y="346"/>
                  </a:lnTo>
                  <a:lnTo>
                    <a:pt x="501" y="346"/>
                  </a:lnTo>
                  <a:lnTo>
                    <a:pt x="503" y="344"/>
                  </a:lnTo>
                  <a:lnTo>
                    <a:pt x="505" y="346"/>
                  </a:lnTo>
                  <a:lnTo>
                    <a:pt x="506" y="347"/>
                  </a:lnTo>
                  <a:lnTo>
                    <a:pt x="508" y="347"/>
                  </a:lnTo>
                  <a:lnTo>
                    <a:pt x="508" y="344"/>
                  </a:lnTo>
                  <a:lnTo>
                    <a:pt x="506" y="344"/>
                  </a:lnTo>
                  <a:lnTo>
                    <a:pt x="508" y="344"/>
                  </a:lnTo>
                  <a:lnTo>
                    <a:pt x="508" y="341"/>
                  </a:lnTo>
                  <a:lnTo>
                    <a:pt x="506" y="339"/>
                  </a:lnTo>
                  <a:lnTo>
                    <a:pt x="510" y="339"/>
                  </a:lnTo>
                  <a:lnTo>
                    <a:pt x="510" y="341"/>
                  </a:lnTo>
                  <a:lnTo>
                    <a:pt x="512" y="339"/>
                  </a:lnTo>
                  <a:lnTo>
                    <a:pt x="512" y="341"/>
                  </a:lnTo>
                  <a:lnTo>
                    <a:pt x="515" y="339"/>
                  </a:lnTo>
                  <a:lnTo>
                    <a:pt x="513" y="337"/>
                  </a:lnTo>
                  <a:lnTo>
                    <a:pt x="515" y="336"/>
                  </a:lnTo>
                  <a:lnTo>
                    <a:pt x="515" y="332"/>
                  </a:lnTo>
                  <a:lnTo>
                    <a:pt x="515" y="329"/>
                  </a:lnTo>
                  <a:lnTo>
                    <a:pt x="517" y="327"/>
                  </a:lnTo>
                  <a:lnTo>
                    <a:pt x="515" y="327"/>
                  </a:lnTo>
                  <a:lnTo>
                    <a:pt x="517" y="324"/>
                  </a:lnTo>
                  <a:lnTo>
                    <a:pt x="518" y="324"/>
                  </a:lnTo>
                  <a:lnTo>
                    <a:pt x="518" y="320"/>
                  </a:lnTo>
                  <a:lnTo>
                    <a:pt x="522" y="320"/>
                  </a:lnTo>
                  <a:lnTo>
                    <a:pt x="523" y="320"/>
                  </a:lnTo>
                  <a:lnTo>
                    <a:pt x="523" y="319"/>
                  </a:lnTo>
                  <a:lnTo>
                    <a:pt x="523" y="317"/>
                  </a:lnTo>
                  <a:lnTo>
                    <a:pt x="523" y="313"/>
                  </a:lnTo>
                  <a:lnTo>
                    <a:pt x="525" y="313"/>
                  </a:lnTo>
                  <a:lnTo>
                    <a:pt x="523" y="310"/>
                  </a:lnTo>
                  <a:lnTo>
                    <a:pt x="527" y="310"/>
                  </a:lnTo>
                  <a:lnTo>
                    <a:pt x="530" y="308"/>
                  </a:lnTo>
                  <a:lnTo>
                    <a:pt x="529" y="308"/>
                  </a:lnTo>
                  <a:lnTo>
                    <a:pt x="527" y="308"/>
                  </a:lnTo>
                  <a:lnTo>
                    <a:pt x="525" y="307"/>
                  </a:lnTo>
                  <a:lnTo>
                    <a:pt x="525" y="305"/>
                  </a:lnTo>
                  <a:lnTo>
                    <a:pt x="525" y="303"/>
                  </a:lnTo>
                  <a:lnTo>
                    <a:pt x="523" y="302"/>
                  </a:lnTo>
                  <a:lnTo>
                    <a:pt x="525" y="298"/>
                  </a:lnTo>
                  <a:lnTo>
                    <a:pt x="527" y="296"/>
                  </a:lnTo>
                  <a:lnTo>
                    <a:pt x="529" y="298"/>
                  </a:lnTo>
                  <a:lnTo>
                    <a:pt x="530" y="296"/>
                  </a:lnTo>
                  <a:lnTo>
                    <a:pt x="529" y="295"/>
                  </a:lnTo>
                  <a:lnTo>
                    <a:pt x="530" y="293"/>
                  </a:lnTo>
                  <a:lnTo>
                    <a:pt x="529" y="290"/>
                  </a:lnTo>
                  <a:lnTo>
                    <a:pt x="527" y="290"/>
                  </a:lnTo>
                  <a:lnTo>
                    <a:pt x="527" y="286"/>
                  </a:lnTo>
                  <a:lnTo>
                    <a:pt x="529" y="286"/>
                  </a:lnTo>
                  <a:lnTo>
                    <a:pt x="530" y="286"/>
                  </a:lnTo>
                  <a:lnTo>
                    <a:pt x="535" y="285"/>
                  </a:lnTo>
                  <a:lnTo>
                    <a:pt x="537" y="285"/>
                  </a:lnTo>
                  <a:lnTo>
                    <a:pt x="537" y="283"/>
                  </a:lnTo>
                  <a:lnTo>
                    <a:pt x="537" y="281"/>
                  </a:lnTo>
                  <a:lnTo>
                    <a:pt x="534" y="281"/>
                  </a:lnTo>
                  <a:lnTo>
                    <a:pt x="532" y="279"/>
                  </a:lnTo>
                  <a:lnTo>
                    <a:pt x="529" y="278"/>
                  </a:lnTo>
                  <a:lnTo>
                    <a:pt x="527" y="278"/>
                  </a:lnTo>
                  <a:lnTo>
                    <a:pt x="527" y="276"/>
                  </a:lnTo>
                  <a:lnTo>
                    <a:pt x="525" y="274"/>
                  </a:lnTo>
                  <a:lnTo>
                    <a:pt x="525" y="271"/>
                  </a:lnTo>
                  <a:lnTo>
                    <a:pt x="525" y="269"/>
                  </a:lnTo>
                  <a:lnTo>
                    <a:pt x="527" y="269"/>
                  </a:lnTo>
                  <a:lnTo>
                    <a:pt x="527" y="268"/>
                  </a:lnTo>
                  <a:lnTo>
                    <a:pt x="525" y="264"/>
                  </a:lnTo>
                  <a:lnTo>
                    <a:pt x="527" y="264"/>
                  </a:lnTo>
                  <a:lnTo>
                    <a:pt x="525" y="261"/>
                  </a:lnTo>
                  <a:lnTo>
                    <a:pt x="525" y="259"/>
                  </a:lnTo>
                  <a:lnTo>
                    <a:pt x="525" y="256"/>
                  </a:lnTo>
                  <a:lnTo>
                    <a:pt x="527" y="256"/>
                  </a:lnTo>
                  <a:lnTo>
                    <a:pt x="525" y="254"/>
                  </a:lnTo>
                  <a:lnTo>
                    <a:pt x="527" y="252"/>
                  </a:lnTo>
                  <a:lnTo>
                    <a:pt x="527" y="249"/>
                  </a:lnTo>
                  <a:lnTo>
                    <a:pt x="527" y="245"/>
                  </a:lnTo>
                  <a:lnTo>
                    <a:pt x="529" y="245"/>
                  </a:lnTo>
                  <a:lnTo>
                    <a:pt x="530" y="244"/>
                  </a:lnTo>
                  <a:lnTo>
                    <a:pt x="529" y="240"/>
                  </a:lnTo>
                  <a:lnTo>
                    <a:pt x="530" y="239"/>
                  </a:lnTo>
                  <a:lnTo>
                    <a:pt x="530" y="237"/>
                  </a:lnTo>
                  <a:lnTo>
                    <a:pt x="532" y="233"/>
                  </a:lnTo>
                  <a:lnTo>
                    <a:pt x="534" y="233"/>
                  </a:lnTo>
                  <a:close/>
                  <a:moveTo>
                    <a:pt x="127" y="2227"/>
                  </a:moveTo>
                  <a:lnTo>
                    <a:pt x="124" y="2229"/>
                  </a:lnTo>
                  <a:lnTo>
                    <a:pt x="122" y="2229"/>
                  </a:lnTo>
                  <a:lnTo>
                    <a:pt x="121" y="2229"/>
                  </a:lnTo>
                  <a:lnTo>
                    <a:pt x="117" y="2231"/>
                  </a:lnTo>
                  <a:lnTo>
                    <a:pt x="115" y="2231"/>
                  </a:lnTo>
                  <a:lnTo>
                    <a:pt x="114" y="2231"/>
                  </a:lnTo>
                  <a:lnTo>
                    <a:pt x="112" y="2231"/>
                  </a:lnTo>
                  <a:lnTo>
                    <a:pt x="110" y="2232"/>
                  </a:lnTo>
                  <a:lnTo>
                    <a:pt x="109" y="2232"/>
                  </a:lnTo>
                  <a:lnTo>
                    <a:pt x="107" y="2232"/>
                  </a:lnTo>
                  <a:lnTo>
                    <a:pt x="105" y="2232"/>
                  </a:lnTo>
                  <a:lnTo>
                    <a:pt x="104" y="2232"/>
                  </a:lnTo>
                  <a:lnTo>
                    <a:pt x="102" y="2234"/>
                  </a:lnTo>
                  <a:lnTo>
                    <a:pt x="98" y="2234"/>
                  </a:lnTo>
                  <a:lnTo>
                    <a:pt x="97" y="2234"/>
                  </a:lnTo>
                  <a:lnTo>
                    <a:pt x="95" y="2236"/>
                  </a:lnTo>
                  <a:lnTo>
                    <a:pt x="92" y="2236"/>
                  </a:lnTo>
                  <a:lnTo>
                    <a:pt x="90" y="2236"/>
                  </a:lnTo>
                  <a:lnTo>
                    <a:pt x="88" y="2236"/>
                  </a:lnTo>
                  <a:lnTo>
                    <a:pt x="87" y="2237"/>
                  </a:lnTo>
                  <a:lnTo>
                    <a:pt x="85" y="2237"/>
                  </a:lnTo>
                  <a:lnTo>
                    <a:pt x="81" y="2237"/>
                  </a:lnTo>
                  <a:lnTo>
                    <a:pt x="78" y="2239"/>
                  </a:lnTo>
                  <a:lnTo>
                    <a:pt x="76" y="2239"/>
                  </a:lnTo>
                  <a:lnTo>
                    <a:pt x="75" y="2239"/>
                  </a:lnTo>
                  <a:lnTo>
                    <a:pt x="73" y="2239"/>
                  </a:lnTo>
                  <a:lnTo>
                    <a:pt x="71" y="2239"/>
                  </a:lnTo>
                  <a:lnTo>
                    <a:pt x="68" y="2239"/>
                  </a:lnTo>
                  <a:lnTo>
                    <a:pt x="66" y="2241"/>
                  </a:lnTo>
                  <a:lnTo>
                    <a:pt x="64" y="2241"/>
                  </a:lnTo>
                  <a:lnTo>
                    <a:pt x="61" y="2241"/>
                  </a:lnTo>
                  <a:lnTo>
                    <a:pt x="59" y="2241"/>
                  </a:lnTo>
                  <a:lnTo>
                    <a:pt x="56" y="2241"/>
                  </a:lnTo>
                  <a:lnTo>
                    <a:pt x="53" y="2241"/>
                  </a:lnTo>
                  <a:lnTo>
                    <a:pt x="49" y="2241"/>
                  </a:lnTo>
                  <a:lnTo>
                    <a:pt x="47" y="2241"/>
                  </a:lnTo>
                  <a:lnTo>
                    <a:pt x="44" y="2241"/>
                  </a:lnTo>
                  <a:lnTo>
                    <a:pt x="42" y="2241"/>
                  </a:lnTo>
                  <a:lnTo>
                    <a:pt x="41" y="2241"/>
                  </a:lnTo>
                  <a:lnTo>
                    <a:pt x="37" y="2241"/>
                  </a:lnTo>
                  <a:lnTo>
                    <a:pt x="36" y="2241"/>
                  </a:lnTo>
                  <a:lnTo>
                    <a:pt x="34" y="2241"/>
                  </a:lnTo>
                  <a:lnTo>
                    <a:pt x="30" y="2241"/>
                  </a:lnTo>
                  <a:lnTo>
                    <a:pt x="29" y="2241"/>
                  </a:lnTo>
                  <a:lnTo>
                    <a:pt x="27" y="2241"/>
                  </a:lnTo>
                  <a:lnTo>
                    <a:pt x="25" y="2241"/>
                  </a:lnTo>
                  <a:lnTo>
                    <a:pt x="22" y="2241"/>
                  </a:lnTo>
                  <a:lnTo>
                    <a:pt x="20" y="2241"/>
                  </a:lnTo>
                  <a:lnTo>
                    <a:pt x="19" y="2241"/>
                  </a:lnTo>
                  <a:lnTo>
                    <a:pt x="17" y="2241"/>
                  </a:lnTo>
                  <a:lnTo>
                    <a:pt x="13" y="2241"/>
                  </a:lnTo>
                  <a:lnTo>
                    <a:pt x="12" y="2241"/>
                  </a:lnTo>
                  <a:lnTo>
                    <a:pt x="10" y="2241"/>
                  </a:lnTo>
                  <a:lnTo>
                    <a:pt x="8" y="2241"/>
                  </a:lnTo>
                  <a:lnTo>
                    <a:pt x="7" y="2241"/>
                  </a:lnTo>
                  <a:lnTo>
                    <a:pt x="7" y="2239"/>
                  </a:lnTo>
                  <a:lnTo>
                    <a:pt x="8" y="2237"/>
                  </a:lnTo>
                  <a:lnTo>
                    <a:pt x="10" y="2237"/>
                  </a:lnTo>
                  <a:lnTo>
                    <a:pt x="12" y="2236"/>
                  </a:lnTo>
                  <a:lnTo>
                    <a:pt x="12" y="2234"/>
                  </a:lnTo>
                  <a:lnTo>
                    <a:pt x="12" y="2232"/>
                  </a:lnTo>
                  <a:lnTo>
                    <a:pt x="12" y="2231"/>
                  </a:lnTo>
                  <a:lnTo>
                    <a:pt x="13" y="2231"/>
                  </a:lnTo>
                  <a:lnTo>
                    <a:pt x="15" y="2232"/>
                  </a:lnTo>
                  <a:lnTo>
                    <a:pt x="17" y="2232"/>
                  </a:lnTo>
                  <a:lnTo>
                    <a:pt x="19" y="2229"/>
                  </a:lnTo>
                  <a:lnTo>
                    <a:pt x="20" y="2227"/>
                  </a:lnTo>
                  <a:lnTo>
                    <a:pt x="22" y="2227"/>
                  </a:lnTo>
                  <a:lnTo>
                    <a:pt x="22" y="2225"/>
                  </a:lnTo>
                  <a:lnTo>
                    <a:pt x="24" y="2224"/>
                  </a:lnTo>
                  <a:lnTo>
                    <a:pt x="25" y="2222"/>
                  </a:lnTo>
                  <a:lnTo>
                    <a:pt x="25" y="2224"/>
                  </a:lnTo>
                  <a:lnTo>
                    <a:pt x="27" y="2222"/>
                  </a:lnTo>
                  <a:lnTo>
                    <a:pt x="29" y="2220"/>
                  </a:lnTo>
                  <a:lnTo>
                    <a:pt x="27" y="2220"/>
                  </a:lnTo>
                  <a:lnTo>
                    <a:pt x="29" y="2220"/>
                  </a:lnTo>
                  <a:lnTo>
                    <a:pt x="30" y="2219"/>
                  </a:lnTo>
                  <a:lnTo>
                    <a:pt x="29" y="2220"/>
                  </a:lnTo>
                  <a:lnTo>
                    <a:pt x="25" y="2220"/>
                  </a:lnTo>
                  <a:lnTo>
                    <a:pt x="25" y="2222"/>
                  </a:lnTo>
                  <a:lnTo>
                    <a:pt x="24" y="2220"/>
                  </a:lnTo>
                  <a:lnTo>
                    <a:pt x="22" y="2222"/>
                  </a:lnTo>
                  <a:lnTo>
                    <a:pt x="22" y="2220"/>
                  </a:lnTo>
                  <a:lnTo>
                    <a:pt x="19" y="2222"/>
                  </a:lnTo>
                  <a:lnTo>
                    <a:pt x="17" y="2224"/>
                  </a:lnTo>
                  <a:lnTo>
                    <a:pt x="15" y="2225"/>
                  </a:lnTo>
                  <a:lnTo>
                    <a:pt x="13" y="2224"/>
                  </a:lnTo>
                  <a:lnTo>
                    <a:pt x="13" y="2222"/>
                  </a:lnTo>
                  <a:lnTo>
                    <a:pt x="13" y="2220"/>
                  </a:lnTo>
                  <a:lnTo>
                    <a:pt x="10" y="2220"/>
                  </a:lnTo>
                  <a:lnTo>
                    <a:pt x="8" y="2222"/>
                  </a:lnTo>
                  <a:lnTo>
                    <a:pt x="10" y="2224"/>
                  </a:lnTo>
                  <a:lnTo>
                    <a:pt x="10" y="2225"/>
                  </a:lnTo>
                  <a:lnTo>
                    <a:pt x="10" y="2227"/>
                  </a:lnTo>
                  <a:lnTo>
                    <a:pt x="8" y="2227"/>
                  </a:lnTo>
                  <a:lnTo>
                    <a:pt x="8" y="2225"/>
                  </a:lnTo>
                  <a:lnTo>
                    <a:pt x="7" y="2227"/>
                  </a:lnTo>
                  <a:lnTo>
                    <a:pt x="7" y="2225"/>
                  </a:lnTo>
                  <a:lnTo>
                    <a:pt x="8" y="2225"/>
                  </a:lnTo>
                  <a:lnTo>
                    <a:pt x="8" y="2224"/>
                  </a:lnTo>
                  <a:lnTo>
                    <a:pt x="8" y="2220"/>
                  </a:lnTo>
                  <a:lnTo>
                    <a:pt x="8" y="2217"/>
                  </a:lnTo>
                  <a:lnTo>
                    <a:pt x="8" y="2215"/>
                  </a:lnTo>
                  <a:lnTo>
                    <a:pt x="8" y="2214"/>
                  </a:lnTo>
                  <a:lnTo>
                    <a:pt x="7" y="2210"/>
                  </a:lnTo>
                  <a:lnTo>
                    <a:pt x="7" y="2208"/>
                  </a:lnTo>
                  <a:lnTo>
                    <a:pt x="7" y="2207"/>
                  </a:lnTo>
                  <a:lnTo>
                    <a:pt x="8" y="2203"/>
                  </a:lnTo>
                  <a:lnTo>
                    <a:pt x="10" y="2205"/>
                  </a:lnTo>
                  <a:lnTo>
                    <a:pt x="12" y="2205"/>
                  </a:lnTo>
                  <a:lnTo>
                    <a:pt x="13" y="2205"/>
                  </a:lnTo>
                  <a:lnTo>
                    <a:pt x="15" y="2203"/>
                  </a:lnTo>
                  <a:lnTo>
                    <a:pt x="17" y="2203"/>
                  </a:lnTo>
                  <a:lnTo>
                    <a:pt x="20" y="2202"/>
                  </a:lnTo>
                  <a:lnTo>
                    <a:pt x="20" y="2203"/>
                  </a:lnTo>
                  <a:lnTo>
                    <a:pt x="24" y="2203"/>
                  </a:lnTo>
                  <a:lnTo>
                    <a:pt x="25" y="2203"/>
                  </a:lnTo>
                  <a:lnTo>
                    <a:pt x="27" y="2202"/>
                  </a:lnTo>
                  <a:lnTo>
                    <a:pt x="29" y="2200"/>
                  </a:lnTo>
                  <a:lnTo>
                    <a:pt x="30" y="2198"/>
                  </a:lnTo>
                  <a:lnTo>
                    <a:pt x="32" y="2197"/>
                  </a:lnTo>
                  <a:lnTo>
                    <a:pt x="34" y="2195"/>
                  </a:lnTo>
                  <a:lnTo>
                    <a:pt x="36" y="2193"/>
                  </a:lnTo>
                  <a:lnTo>
                    <a:pt x="36" y="2191"/>
                  </a:lnTo>
                  <a:lnTo>
                    <a:pt x="37" y="2190"/>
                  </a:lnTo>
                  <a:lnTo>
                    <a:pt x="37" y="2188"/>
                  </a:lnTo>
                  <a:lnTo>
                    <a:pt x="39" y="2186"/>
                  </a:lnTo>
                  <a:lnTo>
                    <a:pt x="41" y="2185"/>
                  </a:lnTo>
                  <a:lnTo>
                    <a:pt x="41" y="2181"/>
                  </a:lnTo>
                  <a:lnTo>
                    <a:pt x="42" y="2178"/>
                  </a:lnTo>
                  <a:lnTo>
                    <a:pt x="44" y="2176"/>
                  </a:lnTo>
                  <a:lnTo>
                    <a:pt x="46" y="2178"/>
                  </a:lnTo>
                  <a:lnTo>
                    <a:pt x="44" y="2178"/>
                  </a:lnTo>
                  <a:lnTo>
                    <a:pt x="42" y="2181"/>
                  </a:lnTo>
                  <a:lnTo>
                    <a:pt x="41" y="2183"/>
                  </a:lnTo>
                  <a:lnTo>
                    <a:pt x="41" y="2185"/>
                  </a:lnTo>
                  <a:lnTo>
                    <a:pt x="41" y="2186"/>
                  </a:lnTo>
                  <a:lnTo>
                    <a:pt x="39" y="2186"/>
                  </a:lnTo>
                  <a:lnTo>
                    <a:pt x="39" y="2188"/>
                  </a:lnTo>
                  <a:lnTo>
                    <a:pt x="37" y="2190"/>
                  </a:lnTo>
                  <a:lnTo>
                    <a:pt x="37" y="2191"/>
                  </a:lnTo>
                  <a:lnTo>
                    <a:pt x="36" y="2193"/>
                  </a:lnTo>
                  <a:lnTo>
                    <a:pt x="34" y="2195"/>
                  </a:lnTo>
                  <a:lnTo>
                    <a:pt x="32" y="2197"/>
                  </a:lnTo>
                  <a:lnTo>
                    <a:pt x="32" y="2198"/>
                  </a:lnTo>
                  <a:lnTo>
                    <a:pt x="30" y="2200"/>
                  </a:lnTo>
                  <a:lnTo>
                    <a:pt x="29" y="2202"/>
                  </a:lnTo>
                  <a:lnTo>
                    <a:pt x="30" y="2202"/>
                  </a:lnTo>
                  <a:lnTo>
                    <a:pt x="32" y="2203"/>
                  </a:lnTo>
                  <a:lnTo>
                    <a:pt x="34" y="2202"/>
                  </a:lnTo>
                  <a:lnTo>
                    <a:pt x="36" y="2202"/>
                  </a:lnTo>
                  <a:lnTo>
                    <a:pt x="37" y="2202"/>
                  </a:lnTo>
                  <a:lnTo>
                    <a:pt x="41" y="2200"/>
                  </a:lnTo>
                  <a:lnTo>
                    <a:pt x="42" y="2202"/>
                  </a:lnTo>
                  <a:lnTo>
                    <a:pt x="44" y="2203"/>
                  </a:lnTo>
                  <a:lnTo>
                    <a:pt x="46" y="2203"/>
                  </a:lnTo>
                  <a:lnTo>
                    <a:pt x="47" y="2203"/>
                  </a:lnTo>
                  <a:lnTo>
                    <a:pt x="49" y="2203"/>
                  </a:lnTo>
                  <a:lnTo>
                    <a:pt x="51" y="2202"/>
                  </a:lnTo>
                  <a:lnTo>
                    <a:pt x="53" y="2202"/>
                  </a:lnTo>
                  <a:lnTo>
                    <a:pt x="56" y="2200"/>
                  </a:lnTo>
                  <a:lnTo>
                    <a:pt x="58" y="2200"/>
                  </a:lnTo>
                  <a:lnTo>
                    <a:pt x="58" y="2198"/>
                  </a:lnTo>
                  <a:lnTo>
                    <a:pt x="58" y="2197"/>
                  </a:lnTo>
                  <a:lnTo>
                    <a:pt x="58" y="2195"/>
                  </a:lnTo>
                  <a:lnTo>
                    <a:pt x="56" y="2193"/>
                  </a:lnTo>
                  <a:lnTo>
                    <a:pt x="56" y="2191"/>
                  </a:lnTo>
                  <a:lnTo>
                    <a:pt x="56" y="2190"/>
                  </a:lnTo>
                  <a:lnTo>
                    <a:pt x="56" y="2188"/>
                  </a:lnTo>
                  <a:lnTo>
                    <a:pt x="54" y="2186"/>
                  </a:lnTo>
                  <a:lnTo>
                    <a:pt x="54" y="2185"/>
                  </a:lnTo>
                  <a:lnTo>
                    <a:pt x="53" y="2183"/>
                  </a:lnTo>
                  <a:lnTo>
                    <a:pt x="53" y="2181"/>
                  </a:lnTo>
                  <a:lnTo>
                    <a:pt x="54" y="2180"/>
                  </a:lnTo>
                  <a:lnTo>
                    <a:pt x="54" y="2181"/>
                  </a:lnTo>
                  <a:lnTo>
                    <a:pt x="56" y="2181"/>
                  </a:lnTo>
                  <a:lnTo>
                    <a:pt x="58" y="2178"/>
                  </a:lnTo>
                  <a:lnTo>
                    <a:pt x="56" y="2176"/>
                  </a:lnTo>
                  <a:lnTo>
                    <a:pt x="58" y="2176"/>
                  </a:lnTo>
                  <a:lnTo>
                    <a:pt x="58" y="2174"/>
                  </a:lnTo>
                  <a:lnTo>
                    <a:pt x="59" y="2173"/>
                  </a:lnTo>
                  <a:lnTo>
                    <a:pt x="61" y="2174"/>
                  </a:lnTo>
                  <a:lnTo>
                    <a:pt x="63" y="2176"/>
                  </a:lnTo>
                  <a:lnTo>
                    <a:pt x="63" y="2178"/>
                  </a:lnTo>
                  <a:lnTo>
                    <a:pt x="64" y="2178"/>
                  </a:lnTo>
                  <a:lnTo>
                    <a:pt x="66" y="2180"/>
                  </a:lnTo>
                  <a:lnTo>
                    <a:pt x="68" y="2178"/>
                  </a:lnTo>
                  <a:lnTo>
                    <a:pt x="70" y="2180"/>
                  </a:lnTo>
                  <a:lnTo>
                    <a:pt x="71" y="2180"/>
                  </a:lnTo>
                  <a:lnTo>
                    <a:pt x="73" y="2180"/>
                  </a:lnTo>
                  <a:lnTo>
                    <a:pt x="75" y="2181"/>
                  </a:lnTo>
                  <a:lnTo>
                    <a:pt x="78" y="2183"/>
                  </a:lnTo>
                  <a:lnTo>
                    <a:pt x="80" y="2183"/>
                  </a:lnTo>
                  <a:lnTo>
                    <a:pt x="83" y="2185"/>
                  </a:lnTo>
                  <a:lnTo>
                    <a:pt x="85" y="2185"/>
                  </a:lnTo>
                  <a:lnTo>
                    <a:pt x="88" y="2183"/>
                  </a:lnTo>
                  <a:lnTo>
                    <a:pt x="88" y="2186"/>
                  </a:lnTo>
                  <a:lnTo>
                    <a:pt x="90" y="2186"/>
                  </a:lnTo>
                  <a:lnTo>
                    <a:pt x="92" y="2186"/>
                  </a:lnTo>
                  <a:lnTo>
                    <a:pt x="93" y="2185"/>
                  </a:lnTo>
                  <a:lnTo>
                    <a:pt x="95" y="2185"/>
                  </a:lnTo>
                  <a:lnTo>
                    <a:pt x="95" y="2183"/>
                  </a:lnTo>
                  <a:lnTo>
                    <a:pt x="98" y="2183"/>
                  </a:lnTo>
                  <a:lnTo>
                    <a:pt x="100" y="2183"/>
                  </a:lnTo>
                  <a:lnTo>
                    <a:pt x="102" y="2183"/>
                  </a:lnTo>
                  <a:lnTo>
                    <a:pt x="104" y="2183"/>
                  </a:lnTo>
                  <a:lnTo>
                    <a:pt x="105" y="2183"/>
                  </a:lnTo>
                  <a:lnTo>
                    <a:pt x="107" y="2183"/>
                  </a:lnTo>
                  <a:lnTo>
                    <a:pt x="109" y="2181"/>
                  </a:lnTo>
                  <a:lnTo>
                    <a:pt x="110" y="2180"/>
                  </a:lnTo>
                  <a:lnTo>
                    <a:pt x="110" y="2181"/>
                  </a:lnTo>
                  <a:lnTo>
                    <a:pt x="110" y="2183"/>
                  </a:lnTo>
                  <a:lnTo>
                    <a:pt x="114" y="2186"/>
                  </a:lnTo>
                  <a:lnTo>
                    <a:pt x="115" y="2185"/>
                  </a:lnTo>
                  <a:lnTo>
                    <a:pt x="117" y="2186"/>
                  </a:lnTo>
                  <a:lnTo>
                    <a:pt x="117" y="2188"/>
                  </a:lnTo>
                  <a:lnTo>
                    <a:pt x="119" y="2188"/>
                  </a:lnTo>
                  <a:lnTo>
                    <a:pt x="119" y="2190"/>
                  </a:lnTo>
                  <a:lnTo>
                    <a:pt x="119" y="2188"/>
                  </a:lnTo>
                  <a:lnTo>
                    <a:pt x="121" y="2190"/>
                  </a:lnTo>
                  <a:lnTo>
                    <a:pt x="122" y="2190"/>
                  </a:lnTo>
                  <a:lnTo>
                    <a:pt x="122" y="2191"/>
                  </a:lnTo>
                  <a:lnTo>
                    <a:pt x="122" y="2193"/>
                  </a:lnTo>
                  <a:lnTo>
                    <a:pt x="124" y="2193"/>
                  </a:lnTo>
                  <a:lnTo>
                    <a:pt x="124" y="2195"/>
                  </a:lnTo>
                  <a:lnTo>
                    <a:pt x="126" y="2195"/>
                  </a:lnTo>
                  <a:lnTo>
                    <a:pt x="126" y="2197"/>
                  </a:lnTo>
                  <a:lnTo>
                    <a:pt x="124" y="2198"/>
                  </a:lnTo>
                  <a:lnTo>
                    <a:pt x="124" y="2200"/>
                  </a:lnTo>
                  <a:lnTo>
                    <a:pt x="122" y="2200"/>
                  </a:lnTo>
                  <a:lnTo>
                    <a:pt x="122" y="2202"/>
                  </a:lnTo>
                  <a:lnTo>
                    <a:pt x="121" y="2202"/>
                  </a:lnTo>
                  <a:lnTo>
                    <a:pt x="121" y="2203"/>
                  </a:lnTo>
                  <a:lnTo>
                    <a:pt x="121" y="2205"/>
                  </a:lnTo>
                  <a:lnTo>
                    <a:pt x="122" y="2208"/>
                  </a:lnTo>
                  <a:lnTo>
                    <a:pt x="122" y="2210"/>
                  </a:lnTo>
                  <a:lnTo>
                    <a:pt x="121" y="2210"/>
                  </a:lnTo>
                  <a:lnTo>
                    <a:pt x="121" y="2214"/>
                  </a:lnTo>
                  <a:lnTo>
                    <a:pt x="121" y="2217"/>
                  </a:lnTo>
                  <a:lnTo>
                    <a:pt x="121" y="2219"/>
                  </a:lnTo>
                  <a:lnTo>
                    <a:pt x="122" y="2219"/>
                  </a:lnTo>
                  <a:lnTo>
                    <a:pt x="122" y="2222"/>
                  </a:lnTo>
                  <a:lnTo>
                    <a:pt x="124" y="2224"/>
                  </a:lnTo>
                  <a:lnTo>
                    <a:pt x="126" y="2227"/>
                  </a:lnTo>
                  <a:lnTo>
                    <a:pt x="127" y="2227"/>
                  </a:lnTo>
                  <a:close/>
                  <a:moveTo>
                    <a:pt x="131" y="157"/>
                  </a:moveTo>
                  <a:lnTo>
                    <a:pt x="131" y="159"/>
                  </a:lnTo>
                  <a:lnTo>
                    <a:pt x="129" y="160"/>
                  </a:lnTo>
                  <a:lnTo>
                    <a:pt x="129" y="162"/>
                  </a:lnTo>
                  <a:lnTo>
                    <a:pt x="127" y="164"/>
                  </a:lnTo>
                  <a:lnTo>
                    <a:pt x="129" y="164"/>
                  </a:lnTo>
                  <a:lnTo>
                    <a:pt x="127" y="167"/>
                  </a:lnTo>
                  <a:lnTo>
                    <a:pt x="129" y="167"/>
                  </a:lnTo>
                  <a:lnTo>
                    <a:pt x="127" y="169"/>
                  </a:lnTo>
                  <a:lnTo>
                    <a:pt x="129" y="171"/>
                  </a:lnTo>
                  <a:lnTo>
                    <a:pt x="131" y="171"/>
                  </a:lnTo>
                  <a:lnTo>
                    <a:pt x="131" y="169"/>
                  </a:lnTo>
                  <a:lnTo>
                    <a:pt x="131" y="165"/>
                  </a:lnTo>
                  <a:lnTo>
                    <a:pt x="132" y="165"/>
                  </a:lnTo>
                  <a:lnTo>
                    <a:pt x="132" y="164"/>
                  </a:lnTo>
                  <a:lnTo>
                    <a:pt x="134" y="162"/>
                  </a:lnTo>
                  <a:lnTo>
                    <a:pt x="136" y="164"/>
                  </a:lnTo>
                  <a:lnTo>
                    <a:pt x="138" y="162"/>
                  </a:lnTo>
                  <a:lnTo>
                    <a:pt x="136" y="160"/>
                  </a:lnTo>
                  <a:lnTo>
                    <a:pt x="138" y="159"/>
                  </a:lnTo>
                  <a:lnTo>
                    <a:pt x="141" y="160"/>
                  </a:lnTo>
                  <a:lnTo>
                    <a:pt x="143" y="160"/>
                  </a:lnTo>
                  <a:lnTo>
                    <a:pt x="148" y="160"/>
                  </a:lnTo>
                  <a:lnTo>
                    <a:pt x="148" y="164"/>
                  </a:lnTo>
                  <a:lnTo>
                    <a:pt x="146" y="164"/>
                  </a:lnTo>
                  <a:lnTo>
                    <a:pt x="146" y="167"/>
                  </a:lnTo>
                  <a:lnTo>
                    <a:pt x="146" y="169"/>
                  </a:lnTo>
                  <a:lnTo>
                    <a:pt x="144" y="172"/>
                  </a:lnTo>
                  <a:lnTo>
                    <a:pt x="144" y="176"/>
                  </a:lnTo>
                  <a:lnTo>
                    <a:pt x="146" y="177"/>
                  </a:lnTo>
                  <a:lnTo>
                    <a:pt x="146" y="179"/>
                  </a:lnTo>
                  <a:lnTo>
                    <a:pt x="144" y="181"/>
                  </a:lnTo>
                  <a:lnTo>
                    <a:pt x="143" y="182"/>
                  </a:lnTo>
                  <a:lnTo>
                    <a:pt x="141" y="182"/>
                  </a:lnTo>
                  <a:lnTo>
                    <a:pt x="139" y="184"/>
                  </a:lnTo>
                  <a:lnTo>
                    <a:pt x="138" y="188"/>
                  </a:lnTo>
                  <a:lnTo>
                    <a:pt x="136" y="189"/>
                  </a:lnTo>
                  <a:lnTo>
                    <a:pt x="134" y="191"/>
                  </a:lnTo>
                  <a:lnTo>
                    <a:pt x="132" y="193"/>
                  </a:lnTo>
                  <a:lnTo>
                    <a:pt x="132" y="194"/>
                  </a:lnTo>
                  <a:lnTo>
                    <a:pt x="136" y="194"/>
                  </a:lnTo>
                  <a:lnTo>
                    <a:pt x="138" y="198"/>
                  </a:lnTo>
                  <a:lnTo>
                    <a:pt x="138" y="199"/>
                  </a:lnTo>
                  <a:lnTo>
                    <a:pt x="139" y="201"/>
                  </a:lnTo>
                  <a:lnTo>
                    <a:pt x="138" y="203"/>
                  </a:lnTo>
                  <a:lnTo>
                    <a:pt x="134" y="205"/>
                  </a:lnTo>
                  <a:lnTo>
                    <a:pt x="131" y="205"/>
                  </a:lnTo>
                  <a:lnTo>
                    <a:pt x="129" y="206"/>
                  </a:lnTo>
                  <a:lnTo>
                    <a:pt x="127" y="206"/>
                  </a:lnTo>
                  <a:lnTo>
                    <a:pt x="127" y="208"/>
                  </a:lnTo>
                  <a:lnTo>
                    <a:pt x="129" y="210"/>
                  </a:lnTo>
                  <a:lnTo>
                    <a:pt x="127" y="211"/>
                  </a:lnTo>
                  <a:lnTo>
                    <a:pt x="126" y="213"/>
                  </a:lnTo>
                  <a:lnTo>
                    <a:pt x="127" y="216"/>
                  </a:lnTo>
                  <a:lnTo>
                    <a:pt x="129" y="215"/>
                  </a:lnTo>
                  <a:lnTo>
                    <a:pt x="132" y="213"/>
                  </a:lnTo>
                  <a:lnTo>
                    <a:pt x="134" y="215"/>
                  </a:lnTo>
                  <a:lnTo>
                    <a:pt x="136" y="215"/>
                  </a:lnTo>
                  <a:lnTo>
                    <a:pt x="134" y="218"/>
                  </a:lnTo>
                  <a:lnTo>
                    <a:pt x="138" y="218"/>
                  </a:lnTo>
                  <a:lnTo>
                    <a:pt x="139" y="220"/>
                  </a:lnTo>
                  <a:lnTo>
                    <a:pt x="138" y="222"/>
                  </a:lnTo>
                  <a:lnTo>
                    <a:pt x="139" y="223"/>
                  </a:lnTo>
                  <a:lnTo>
                    <a:pt x="138" y="223"/>
                  </a:lnTo>
                  <a:lnTo>
                    <a:pt x="134" y="223"/>
                  </a:lnTo>
                  <a:lnTo>
                    <a:pt x="131" y="222"/>
                  </a:lnTo>
                  <a:lnTo>
                    <a:pt x="131" y="225"/>
                  </a:lnTo>
                  <a:lnTo>
                    <a:pt x="132" y="225"/>
                  </a:lnTo>
                  <a:lnTo>
                    <a:pt x="134" y="227"/>
                  </a:lnTo>
                  <a:lnTo>
                    <a:pt x="134" y="232"/>
                  </a:lnTo>
                  <a:lnTo>
                    <a:pt x="132" y="230"/>
                  </a:lnTo>
                  <a:lnTo>
                    <a:pt x="131" y="230"/>
                  </a:lnTo>
                  <a:lnTo>
                    <a:pt x="129" y="230"/>
                  </a:lnTo>
                  <a:lnTo>
                    <a:pt x="129" y="233"/>
                  </a:lnTo>
                  <a:lnTo>
                    <a:pt x="131" y="235"/>
                  </a:lnTo>
                  <a:lnTo>
                    <a:pt x="129" y="237"/>
                  </a:lnTo>
                  <a:lnTo>
                    <a:pt x="127" y="239"/>
                  </a:lnTo>
                  <a:lnTo>
                    <a:pt x="126" y="237"/>
                  </a:lnTo>
                  <a:lnTo>
                    <a:pt x="126" y="235"/>
                  </a:lnTo>
                  <a:lnTo>
                    <a:pt x="126" y="232"/>
                  </a:lnTo>
                  <a:lnTo>
                    <a:pt x="124" y="228"/>
                  </a:lnTo>
                  <a:lnTo>
                    <a:pt x="126" y="227"/>
                  </a:lnTo>
                  <a:lnTo>
                    <a:pt x="127" y="225"/>
                  </a:lnTo>
                  <a:lnTo>
                    <a:pt x="124" y="227"/>
                  </a:lnTo>
                  <a:lnTo>
                    <a:pt x="122" y="227"/>
                  </a:lnTo>
                  <a:lnTo>
                    <a:pt x="122" y="225"/>
                  </a:lnTo>
                  <a:lnTo>
                    <a:pt x="124" y="223"/>
                  </a:lnTo>
                  <a:lnTo>
                    <a:pt x="121" y="223"/>
                  </a:lnTo>
                  <a:lnTo>
                    <a:pt x="119" y="225"/>
                  </a:lnTo>
                  <a:lnTo>
                    <a:pt x="119" y="227"/>
                  </a:lnTo>
                  <a:lnTo>
                    <a:pt x="117" y="227"/>
                  </a:lnTo>
                  <a:lnTo>
                    <a:pt x="115" y="228"/>
                  </a:lnTo>
                  <a:lnTo>
                    <a:pt x="119" y="230"/>
                  </a:lnTo>
                  <a:lnTo>
                    <a:pt x="117" y="232"/>
                  </a:lnTo>
                  <a:lnTo>
                    <a:pt x="115" y="235"/>
                  </a:lnTo>
                  <a:lnTo>
                    <a:pt x="112" y="233"/>
                  </a:lnTo>
                  <a:lnTo>
                    <a:pt x="112" y="230"/>
                  </a:lnTo>
                  <a:lnTo>
                    <a:pt x="109" y="230"/>
                  </a:lnTo>
                  <a:lnTo>
                    <a:pt x="105" y="228"/>
                  </a:lnTo>
                  <a:lnTo>
                    <a:pt x="105" y="225"/>
                  </a:lnTo>
                  <a:lnTo>
                    <a:pt x="105" y="223"/>
                  </a:lnTo>
                  <a:lnTo>
                    <a:pt x="105" y="220"/>
                  </a:lnTo>
                  <a:lnTo>
                    <a:pt x="107" y="218"/>
                  </a:lnTo>
                  <a:lnTo>
                    <a:pt x="110" y="218"/>
                  </a:lnTo>
                  <a:lnTo>
                    <a:pt x="110" y="222"/>
                  </a:lnTo>
                  <a:lnTo>
                    <a:pt x="112" y="222"/>
                  </a:lnTo>
                  <a:lnTo>
                    <a:pt x="114" y="220"/>
                  </a:lnTo>
                  <a:lnTo>
                    <a:pt x="115" y="222"/>
                  </a:lnTo>
                  <a:lnTo>
                    <a:pt x="117" y="220"/>
                  </a:lnTo>
                  <a:lnTo>
                    <a:pt x="119" y="218"/>
                  </a:lnTo>
                  <a:lnTo>
                    <a:pt x="121" y="218"/>
                  </a:lnTo>
                  <a:lnTo>
                    <a:pt x="117" y="216"/>
                  </a:lnTo>
                  <a:lnTo>
                    <a:pt x="121" y="215"/>
                  </a:lnTo>
                  <a:lnTo>
                    <a:pt x="119" y="215"/>
                  </a:lnTo>
                  <a:lnTo>
                    <a:pt x="115" y="216"/>
                  </a:lnTo>
                  <a:lnTo>
                    <a:pt x="114" y="215"/>
                  </a:lnTo>
                  <a:lnTo>
                    <a:pt x="112" y="215"/>
                  </a:lnTo>
                  <a:lnTo>
                    <a:pt x="114" y="211"/>
                  </a:lnTo>
                  <a:lnTo>
                    <a:pt x="115" y="211"/>
                  </a:lnTo>
                  <a:lnTo>
                    <a:pt x="117" y="210"/>
                  </a:lnTo>
                  <a:lnTo>
                    <a:pt x="121" y="210"/>
                  </a:lnTo>
                  <a:lnTo>
                    <a:pt x="117" y="208"/>
                  </a:lnTo>
                  <a:lnTo>
                    <a:pt x="117" y="206"/>
                  </a:lnTo>
                  <a:lnTo>
                    <a:pt x="114" y="206"/>
                  </a:lnTo>
                  <a:lnTo>
                    <a:pt x="112" y="208"/>
                  </a:lnTo>
                  <a:lnTo>
                    <a:pt x="110" y="208"/>
                  </a:lnTo>
                  <a:lnTo>
                    <a:pt x="109" y="211"/>
                  </a:lnTo>
                  <a:lnTo>
                    <a:pt x="107" y="211"/>
                  </a:lnTo>
                  <a:lnTo>
                    <a:pt x="109" y="208"/>
                  </a:lnTo>
                  <a:lnTo>
                    <a:pt x="109" y="205"/>
                  </a:lnTo>
                  <a:lnTo>
                    <a:pt x="110" y="201"/>
                  </a:lnTo>
                  <a:lnTo>
                    <a:pt x="110" y="199"/>
                  </a:lnTo>
                  <a:lnTo>
                    <a:pt x="112" y="201"/>
                  </a:lnTo>
                  <a:lnTo>
                    <a:pt x="114" y="198"/>
                  </a:lnTo>
                  <a:lnTo>
                    <a:pt x="115" y="196"/>
                  </a:lnTo>
                  <a:lnTo>
                    <a:pt x="119" y="199"/>
                  </a:lnTo>
                  <a:lnTo>
                    <a:pt x="119" y="198"/>
                  </a:lnTo>
                  <a:lnTo>
                    <a:pt x="122" y="199"/>
                  </a:lnTo>
                  <a:lnTo>
                    <a:pt x="122" y="198"/>
                  </a:lnTo>
                  <a:lnTo>
                    <a:pt x="121" y="196"/>
                  </a:lnTo>
                  <a:lnTo>
                    <a:pt x="122" y="194"/>
                  </a:lnTo>
                  <a:lnTo>
                    <a:pt x="126" y="194"/>
                  </a:lnTo>
                  <a:lnTo>
                    <a:pt x="124" y="191"/>
                  </a:lnTo>
                  <a:lnTo>
                    <a:pt x="122" y="189"/>
                  </a:lnTo>
                  <a:lnTo>
                    <a:pt x="124" y="186"/>
                  </a:lnTo>
                  <a:lnTo>
                    <a:pt x="122" y="184"/>
                  </a:lnTo>
                  <a:lnTo>
                    <a:pt x="122" y="182"/>
                  </a:lnTo>
                  <a:lnTo>
                    <a:pt x="124" y="182"/>
                  </a:lnTo>
                  <a:lnTo>
                    <a:pt x="124" y="179"/>
                  </a:lnTo>
                  <a:lnTo>
                    <a:pt x="124" y="177"/>
                  </a:lnTo>
                  <a:lnTo>
                    <a:pt x="122" y="179"/>
                  </a:lnTo>
                  <a:lnTo>
                    <a:pt x="122" y="176"/>
                  </a:lnTo>
                  <a:lnTo>
                    <a:pt x="121" y="179"/>
                  </a:lnTo>
                  <a:lnTo>
                    <a:pt x="119" y="179"/>
                  </a:lnTo>
                  <a:lnTo>
                    <a:pt x="117" y="181"/>
                  </a:lnTo>
                  <a:lnTo>
                    <a:pt x="117" y="179"/>
                  </a:lnTo>
                  <a:lnTo>
                    <a:pt x="117" y="176"/>
                  </a:lnTo>
                  <a:lnTo>
                    <a:pt x="115" y="177"/>
                  </a:lnTo>
                  <a:lnTo>
                    <a:pt x="115" y="181"/>
                  </a:lnTo>
                  <a:lnTo>
                    <a:pt x="114" y="179"/>
                  </a:lnTo>
                  <a:lnTo>
                    <a:pt x="114" y="176"/>
                  </a:lnTo>
                  <a:lnTo>
                    <a:pt x="112" y="176"/>
                  </a:lnTo>
                  <a:lnTo>
                    <a:pt x="114" y="174"/>
                  </a:lnTo>
                  <a:lnTo>
                    <a:pt x="114" y="172"/>
                  </a:lnTo>
                  <a:lnTo>
                    <a:pt x="114" y="171"/>
                  </a:lnTo>
                  <a:lnTo>
                    <a:pt x="115" y="171"/>
                  </a:lnTo>
                  <a:lnTo>
                    <a:pt x="115" y="167"/>
                  </a:lnTo>
                  <a:lnTo>
                    <a:pt x="115" y="164"/>
                  </a:lnTo>
                  <a:lnTo>
                    <a:pt x="115" y="162"/>
                  </a:lnTo>
                  <a:lnTo>
                    <a:pt x="117" y="159"/>
                  </a:lnTo>
                  <a:lnTo>
                    <a:pt x="117" y="157"/>
                  </a:lnTo>
                  <a:lnTo>
                    <a:pt x="119" y="155"/>
                  </a:lnTo>
                  <a:lnTo>
                    <a:pt x="122" y="155"/>
                  </a:lnTo>
                  <a:lnTo>
                    <a:pt x="122" y="157"/>
                  </a:lnTo>
                  <a:lnTo>
                    <a:pt x="119" y="159"/>
                  </a:lnTo>
                  <a:lnTo>
                    <a:pt x="119" y="162"/>
                  </a:lnTo>
                  <a:lnTo>
                    <a:pt x="121" y="162"/>
                  </a:lnTo>
                  <a:lnTo>
                    <a:pt x="121" y="164"/>
                  </a:lnTo>
                  <a:lnTo>
                    <a:pt x="122" y="160"/>
                  </a:lnTo>
                  <a:lnTo>
                    <a:pt x="124" y="159"/>
                  </a:lnTo>
                  <a:lnTo>
                    <a:pt x="124" y="157"/>
                  </a:lnTo>
                  <a:lnTo>
                    <a:pt x="126" y="155"/>
                  </a:lnTo>
                  <a:lnTo>
                    <a:pt x="126" y="152"/>
                  </a:lnTo>
                  <a:lnTo>
                    <a:pt x="126" y="150"/>
                  </a:lnTo>
                  <a:lnTo>
                    <a:pt x="126" y="152"/>
                  </a:lnTo>
                  <a:lnTo>
                    <a:pt x="127" y="152"/>
                  </a:lnTo>
                  <a:lnTo>
                    <a:pt x="129" y="154"/>
                  </a:lnTo>
                  <a:lnTo>
                    <a:pt x="131" y="155"/>
                  </a:lnTo>
                  <a:lnTo>
                    <a:pt x="131" y="157"/>
                  </a:lnTo>
                  <a:close/>
                  <a:moveTo>
                    <a:pt x="608" y="938"/>
                  </a:moveTo>
                  <a:lnTo>
                    <a:pt x="610" y="941"/>
                  </a:lnTo>
                  <a:lnTo>
                    <a:pt x="610" y="943"/>
                  </a:lnTo>
                  <a:lnTo>
                    <a:pt x="610" y="945"/>
                  </a:lnTo>
                  <a:lnTo>
                    <a:pt x="610" y="948"/>
                  </a:lnTo>
                  <a:lnTo>
                    <a:pt x="608" y="946"/>
                  </a:lnTo>
                  <a:lnTo>
                    <a:pt x="608" y="945"/>
                  </a:lnTo>
                  <a:lnTo>
                    <a:pt x="607" y="941"/>
                  </a:lnTo>
                  <a:lnTo>
                    <a:pt x="607" y="939"/>
                  </a:lnTo>
                  <a:lnTo>
                    <a:pt x="603" y="941"/>
                  </a:lnTo>
                  <a:lnTo>
                    <a:pt x="605" y="943"/>
                  </a:lnTo>
                  <a:lnTo>
                    <a:pt x="603" y="945"/>
                  </a:lnTo>
                  <a:lnTo>
                    <a:pt x="603" y="946"/>
                  </a:lnTo>
                  <a:lnTo>
                    <a:pt x="603" y="948"/>
                  </a:lnTo>
                  <a:lnTo>
                    <a:pt x="603" y="951"/>
                  </a:lnTo>
                  <a:lnTo>
                    <a:pt x="605" y="950"/>
                  </a:lnTo>
                  <a:lnTo>
                    <a:pt x="605" y="951"/>
                  </a:lnTo>
                  <a:lnTo>
                    <a:pt x="603" y="953"/>
                  </a:lnTo>
                  <a:lnTo>
                    <a:pt x="603" y="955"/>
                  </a:lnTo>
                  <a:lnTo>
                    <a:pt x="603" y="958"/>
                  </a:lnTo>
                  <a:lnTo>
                    <a:pt x="605" y="958"/>
                  </a:lnTo>
                  <a:lnTo>
                    <a:pt x="603" y="962"/>
                  </a:lnTo>
                  <a:lnTo>
                    <a:pt x="605" y="962"/>
                  </a:lnTo>
                  <a:lnTo>
                    <a:pt x="603" y="962"/>
                  </a:lnTo>
                  <a:lnTo>
                    <a:pt x="602" y="965"/>
                  </a:lnTo>
                  <a:lnTo>
                    <a:pt x="602" y="968"/>
                  </a:lnTo>
                  <a:lnTo>
                    <a:pt x="600" y="970"/>
                  </a:lnTo>
                  <a:lnTo>
                    <a:pt x="597" y="975"/>
                  </a:lnTo>
                  <a:lnTo>
                    <a:pt x="593" y="979"/>
                  </a:lnTo>
                  <a:lnTo>
                    <a:pt x="593" y="980"/>
                  </a:lnTo>
                  <a:lnTo>
                    <a:pt x="593" y="979"/>
                  </a:lnTo>
                  <a:lnTo>
                    <a:pt x="591" y="980"/>
                  </a:lnTo>
                  <a:lnTo>
                    <a:pt x="590" y="982"/>
                  </a:lnTo>
                  <a:lnTo>
                    <a:pt x="588" y="984"/>
                  </a:lnTo>
                  <a:lnTo>
                    <a:pt x="588" y="985"/>
                  </a:lnTo>
                  <a:lnTo>
                    <a:pt x="585" y="985"/>
                  </a:lnTo>
                  <a:lnTo>
                    <a:pt x="583" y="985"/>
                  </a:lnTo>
                  <a:lnTo>
                    <a:pt x="580" y="987"/>
                  </a:lnTo>
                  <a:lnTo>
                    <a:pt x="578" y="987"/>
                  </a:lnTo>
                  <a:lnTo>
                    <a:pt x="576" y="987"/>
                  </a:lnTo>
                  <a:lnTo>
                    <a:pt x="576" y="985"/>
                  </a:lnTo>
                  <a:lnTo>
                    <a:pt x="573" y="982"/>
                  </a:lnTo>
                  <a:lnTo>
                    <a:pt x="569" y="979"/>
                  </a:lnTo>
                  <a:lnTo>
                    <a:pt x="568" y="975"/>
                  </a:lnTo>
                  <a:lnTo>
                    <a:pt x="568" y="973"/>
                  </a:lnTo>
                  <a:lnTo>
                    <a:pt x="566" y="972"/>
                  </a:lnTo>
                  <a:lnTo>
                    <a:pt x="566" y="970"/>
                  </a:lnTo>
                  <a:lnTo>
                    <a:pt x="564" y="968"/>
                  </a:lnTo>
                  <a:lnTo>
                    <a:pt x="563" y="967"/>
                  </a:lnTo>
                  <a:lnTo>
                    <a:pt x="563" y="965"/>
                  </a:lnTo>
                  <a:lnTo>
                    <a:pt x="561" y="963"/>
                  </a:lnTo>
                  <a:lnTo>
                    <a:pt x="559" y="955"/>
                  </a:lnTo>
                  <a:lnTo>
                    <a:pt x="557" y="951"/>
                  </a:lnTo>
                  <a:lnTo>
                    <a:pt x="557" y="948"/>
                  </a:lnTo>
                  <a:lnTo>
                    <a:pt x="559" y="945"/>
                  </a:lnTo>
                  <a:lnTo>
                    <a:pt x="559" y="939"/>
                  </a:lnTo>
                  <a:lnTo>
                    <a:pt x="559" y="938"/>
                  </a:lnTo>
                  <a:lnTo>
                    <a:pt x="561" y="936"/>
                  </a:lnTo>
                  <a:lnTo>
                    <a:pt x="563" y="933"/>
                  </a:lnTo>
                  <a:lnTo>
                    <a:pt x="566" y="929"/>
                  </a:lnTo>
                  <a:lnTo>
                    <a:pt x="568" y="928"/>
                  </a:lnTo>
                  <a:lnTo>
                    <a:pt x="569" y="928"/>
                  </a:lnTo>
                  <a:lnTo>
                    <a:pt x="571" y="928"/>
                  </a:lnTo>
                  <a:lnTo>
                    <a:pt x="573" y="926"/>
                  </a:lnTo>
                  <a:lnTo>
                    <a:pt x="574" y="926"/>
                  </a:lnTo>
                  <a:lnTo>
                    <a:pt x="576" y="928"/>
                  </a:lnTo>
                  <a:lnTo>
                    <a:pt x="581" y="928"/>
                  </a:lnTo>
                  <a:lnTo>
                    <a:pt x="586" y="929"/>
                  </a:lnTo>
                  <a:lnTo>
                    <a:pt x="595" y="929"/>
                  </a:lnTo>
                  <a:lnTo>
                    <a:pt x="600" y="929"/>
                  </a:lnTo>
                  <a:lnTo>
                    <a:pt x="603" y="931"/>
                  </a:lnTo>
                  <a:lnTo>
                    <a:pt x="605" y="933"/>
                  </a:lnTo>
                  <a:lnTo>
                    <a:pt x="607" y="934"/>
                  </a:lnTo>
                  <a:lnTo>
                    <a:pt x="608" y="936"/>
                  </a:lnTo>
                  <a:lnTo>
                    <a:pt x="608" y="938"/>
                  </a:lnTo>
                  <a:close/>
                  <a:moveTo>
                    <a:pt x="178" y="101"/>
                  </a:moveTo>
                  <a:lnTo>
                    <a:pt x="182" y="99"/>
                  </a:lnTo>
                  <a:lnTo>
                    <a:pt x="183" y="96"/>
                  </a:lnTo>
                  <a:lnTo>
                    <a:pt x="185" y="96"/>
                  </a:lnTo>
                  <a:lnTo>
                    <a:pt x="187" y="97"/>
                  </a:lnTo>
                  <a:lnTo>
                    <a:pt x="190" y="96"/>
                  </a:lnTo>
                  <a:lnTo>
                    <a:pt x="192" y="96"/>
                  </a:lnTo>
                  <a:lnTo>
                    <a:pt x="195" y="94"/>
                  </a:lnTo>
                  <a:lnTo>
                    <a:pt x="195" y="96"/>
                  </a:lnTo>
                  <a:lnTo>
                    <a:pt x="197" y="96"/>
                  </a:lnTo>
                  <a:lnTo>
                    <a:pt x="200" y="96"/>
                  </a:lnTo>
                  <a:lnTo>
                    <a:pt x="202" y="97"/>
                  </a:lnTo>
                  <a:lnTo>
                    <a:pt x="202" y="96"/>
                  </a:lnTo>
                  <a:lnTo>
                    <a:pt x="202" y="94"/>
                  </a:lnTo>
                  <a:lnTo>
                    <a:pt x="204" y="92"/>
                  </a:lnTo>
                  <a:lnTo>
                    <a:pt x="200" y="92"/>
                  </a:lnTo>
                  <a:lnTo>
                    <a:pt x="199" y="92"/>
                  </a:lnTo>
                  <a:lnTo>
                    <a:pt x="197" y="91"/>
                  </a:lnTo>
                  <a:lnTo>
                    <a:pt x="197" y="89"/>
                  </a:lnTo>
                  <a:lnTo>
                    <a:pt x="197" y="87"/>
                  </a:lnTo>
                  <a:lnTo>
                    <a:pt x="197" y="85"/>
                  </a:lnTo>
                  <a:lnTo>
                    <a:pt x="200" y="84"/>
                  </a:lnTo>
                  <a:lnTo>
                    <a:pt x="204" y="85"/>
                  </a:lnTo>
                  <a:lnTo>
                    <a:pt x="207" y="85"/>
                  </a:lnTo>
                  <a:lnTo>
                    <a:pt x="209" y="85"/>
                  </a:lnTo>
                  <a:lnTo>
                    <a:pt x="209" y="89"/>
                  </a:lnTo>
                  <a:lnTo>
                    <a:pt x="209" y="91"/>
                  </a:lnTo>
                  <a:lnTo>
                    <a:pt x="211" y="91"/>
                  </a:lnTo>
                  <a:lnTo>
                    <a:pt x="211" y="92"/>
                  </a:lnTo>
                  <a:lnTo>
                    <a:pt x="209" y="94"/>
                  </a:lnTo>
                  <a:lnTo>
                    <a:pt x="206" y="94"/>
                  </a:lnTo>
                  <a:lnTo>
                    <a:pt x="204" y="94"/>
                  </a:lnTo>
                  <a:lnTo>
                    <a:pt x="206" y="96"/>
                  </a:lnTo>
                  <a:lnTo>
                    <a:pt x="209" y="96"/>
                  </a:lnTo>
                  <a:lnTo>
                    <a:pt x="209" y="97"/>
                  </a:lnTo>
                  <a:lnTo>
                    <a:pt x="207" y="101"/>
                  </a:lnTo>
                  <a:lnTo>
                    <a:pt x="209" y="101"/>
                  </a:lnTo>
                  <a:lnTo>
                    <a:pt x="207" y="103"/>
                  </a:lnTo>
                  <a:lnTo>
                    <a:pt x="209" y="104"/>
                  </a:lnTo>
                  <a:lnTo>
                    <a:pt x="209" y="106"/>
                  </a:lnTo>
                  <a:lnTo>
                    <a:pt x="206" y="108"/>
                  </a:lnTo>
                  <a:lnTo>
                    <a:pt x="209" y="109"/>
                  </a:lnTo>
                  <a:lnTo>
                    <a:pt x="211" y="108"/>
                  </a:lnTo>
                  <a:lnTo>
                    <a:pt x="211" y="106"/>
                  </a:lnTo>
                  <a:lnTo>
                    <a:pt x="211" y="104"/>
                  </a:lnTo>
                  <a:lnTo>
                    <a:pt x="211" y="101"/>
                  </a:lnTo>
                  <a:lnTo>
                    <a:pt x="211" y="99"/>
                  </a:lnTo>
                  <a:lnTo>
                    <a:pt x="212" y="97"/>
                  </a:lnTo>
                  <a:lnTo>
                    <a:pt x="214" y="94"/>
                  </a:lnTo>
                  <a:lnTo>
                    <a:pt x="217" y="94"/>
                  </a:lnTo>
                  <a:lnTo>
                    <a:pt x="221" y="96"/>
                  </a:lnTo>
                  <a:lnTo>
                    <a:pt x="221" y="97"/>
                  </a:lnTo>
                  <a:lnTo>
                    <a:pt x="223" y="101"/>
                  </a:lnTo>
                  <a:lnTo>
                    <a:pt x="221" y="103"/>
                  </a:lnTo>
                  <a:lnTo>
                    <a:pt x="221" y="106"/>
                  </a:lnTo>
                  <a:lnTo>
                    <a:pt x="221" y="108"/>
                  </a:lnTo>
                  <a:lnTo>
                    <a:pt x="217" y="108"/>
                  </a:lnTo>
                  <a:lnTo>
                    <a:pt x="216" y="108"/>
                  </a:lnTo>
                  <a:lnTo>
                    <a:pt x="214" y="109"/>
                  </a:lnTo>
                  <a:lnTo>
                    <a:pt x="211" y="109"/>
                  </a:lnTo>
                  <a:lnTo>
                    <a:pt x="211" y="111"/>
                  </a:lnTo>
                  <a:lnTo>
                    <a:pt x="211" y="114"/>
                  </a:lnTo>
                  <a:lnTo>
                    <a:pt x="212" y="116"/>
                  </a:lnTo>
                  <a:lnTo>
                    <a:pt x="211" y="118"/>
                  </a:lnTo>
                  <a:lnTo>
                    <a:pt x="209" y="121"/>
                  </a:lnTo>
                  <a:lnTo>
                    <a:pt x="207" y="123"/>
                  </a:lnTo>
                  <a:lnTo>
                    <a:pt x="209" y="126"/>
                  </a:lnTo>
                  <a:lnTo>
                    <a:pt x="207" y="130"/>
                  </a:lnTo>
                  <a:lnTo>
                    <a:pt x="206" y="130"/>
                  </a:lnTo>
                  <a:lnTo>
                    <a:pt x="204" y="133"/>
                  </a:lnTo>
                  <a:lnTo>
                    <a:pt x="202" y="131"/>
                  </a:lnTo>
                  <a:lnTo>
                    <a:pt x="200" y="133"/>
                  </a:lnTo>
                  <a:lnTo>
                    <a:pt x="200" y="135"/>
                  </a:lnTo>
                  <a:lnTo>
                    <a:pt x="195" y="137"/>
                  </a:lnTo>
                  <a:lnTo>
                    <a:pt x="195" y="138"/>
                  </a:lnTo>
                  <a:lnTo>
                    <a:pt x="194" y="137"/>
                  </a:lnTo>
                  <a:lnTo>
                    <a:pt x="194" y="135"/>
                  </a:lnTo>
                  <a:lnTo>
                    <a:pt x="194" y="133"/>
                  </a:lnTo>
                  <a:lnTo>
                    <a:pt x="192" y="131"/>
                  </a:lnTo>
                  <a:lnTo>
                    <a:pt x="192" y="133"/>
                  </a:lnTo>
                  <a:lnTo>
                    <a:pt x="189" y="135"/>
                  </a:lnTo>
                  <a:lnTo>
                    <a:pt x="189" y="133"/>
                  </a:lnTo>
                  <a:lnTo>
                    <a:pt x="189" y="131"/>
                  </a:lnTo>
                  <a:lnTo>
                    <a:pt x="190" y="130"/>
                  </a:lnTo>
                  <a:lnTo>
                    <a:pt x="190" y="128"/>
                  </a:lnTo>
                  <a:lnTo>
                    <a:pt x="192" y="126"/>
                  </a:lnTo>
                  <a:lnTo>
                    <a:pt x="194" y="125"/>
                  </a:lnTo>
                  <a:lnTo>
                    <a:pt x="195" y="121"/>
                  </a:lnTo>
                  <a:lnTo>
                    <a:pt x="197" y="121"/>
                  </a:lnTo>
                  <a:lnTo>
                    <a:pt x="200" y="121"/>
                  </a:lnTo>
                  <a:lnTo>
                    <a:pt x="204" y="121"/>
                  </a:lnTo>
                  <a:lnTo>
                    <a:pt x="204" y="120"/>
                  </a:lnTo>
                  <a:lnTo>
                    <a:pt x="200" y="120"/>
                  </a:lnTo>
                  <a:lnTo>
                    <a:pt x="197" y="118"/>
                  </a:lnTo>
                  <a:lnTo>
                    <a:pt x="194" y="120"/>
                  </a:lnTo>
                  <a:lnTo>
                    <a:pt x="192" y="120"/>
                  </a:lnTo>
                  <a:lnTo>
                    <a:pt x="190" y="121"/>
                  </a:lnTo>
                  <a:lnTo>
                    <a:pt x="187" y="121"/>
                  </a:lnTo>
                  <a:lnTo>
                    <a:pt x="185" y="121"/>
                  </a:lnTo>
                  <a:lnTo>
                    <a:pt x="185" y="120"/>
                  </a:lnTo>
                  <a:lnTo>
                    <a:pt x="182" y="120"/>
                  </a:lnTo>
                  <a:lnTo>
                    <a:pt x="178" y="120"/>
                  </a:lnTo>
                  <a:lnTo>
                    <a:pt x="175" y="118"/>
                  </a:lnTo>
                  <a:lnTo>
                    <a:pt x="175" y="120"/>
                  </a:lnTo>
                  <a:lnTo>
                    <a:pt x="172" y="121"/>
                  </a:lnTo>
                  <a:lnTo>
                    <a:pt x="170" y="121"/>
                  </a:lnTo>
                  <a:lnTo>
                    <a:pt x="170" y="120"/>
                  </a:lnTo>
                  <a:lnTo>
                    <a:pt x="168" y="118"/>
                  </a:lnTo>
                  <a:lnTo>
                    <a:pt x="165" y="121"/>
                  </a:lnTo>
                  <a:lnTo>
                    <a:pt x="163" y="121"/>
                  </a:lnTo>
                  <a:lnTo>
                    <a:pt x="161" y="120"/>
                  </a:lnTo>
                  <a:lnTo>
                    <a:pt x="161" y="118"/>
                  </a:lnTo>
                  <a:lnTo>
                    <a:pt x="161" y="114"/>
                  </a:lnTo>
                  <a:lnTo>
                    <a:pt x="160" y="113"/>
                  </a:lnTo>
                  <a:lnTo>
                    <a:pt x="161" y="111"/>
                  </a:lnTo>
                  <a:lnTo>
                    <a:pt x="165" y="111"/>
                  </a:lnTo>
                  <a:lnTo>
                    <a:pt x="166" y="111"/>
                  </a:lnTo>
                  <a:lnTo>
                    <a:pt x="168" y="111"/>
                  </a:lnTo>
                  <a:lnTo>
                    <a:pt x="170" y="111"/>
                  </a:lnTo>
                  <a:lnTo>
                    <a:pt x="172" y="111"/>
                  </a:lnTo>
                  <a:lnTo>
                    <a:pt x="173" y="113"/>
                  </a:lnTo>
                  <a:lnTo>
                    <a:pt x="175" y="111"/>
                  </a:lnTo>
                  <a:lnTo>
                    <a:pt x="177" y="108"/>
                  </a:lnTo>
                  <a:lnTo>
                    <a:pt x="178" y="106"/>
                  </a:lnTo>
                  <a:lnTo>
                    <a:pt x="182" y="106"/>
                  </a:lnTo>
                  <a:lnTo>
                    <a:pt x="183" y="108"/>
                  </a:lnTo>
                  <a:lnTo>
                    <a:pt x="185" y="106"/>
                  </a:lnTo>
                  <a:lnTo>
                    <a:pt x="189" y="106"/>
                  </a:lnTo>
                  <a:lnTo>
                    <a:pt x="192" y="108"/>
                  </a:lnTo>
                  <a:lnTo>
                    <a:pt x="194" y="109"/>
                  </a:lnTo>
                  <a:lnTo>
                    <a:pt x="195" y="109"/>
                  </a:lnTo>
                  <a:lnTo>
                    <a:pt x="199" y="109"/>
                  </a:lnTo>
                  <a:lnTo>
                    <a:pt x="200" y="109"/>
                  </a:lnTo>
                  <a:lnTo>
                    <a:pt x="202" y="109"/>
                  </a:lnTo>
                  <a:lnTo>
                    <a:pt x="200" y="108"/>
                  </a:lnTo>
                  <a:lnTo>
                    <a:pt x="199" y="104"/>
                  </a:lnTo>
                  <a:lnTo>
                    <a:pt x="195" y="104"/>
                  </a:lnTo>
                  <a:lnTo>
                    <a:pt x="194" y="104"/>
                  </a:lnTo>
                  <a:lnTo>
                    <a:pt x="192" y="104"/>
                  </a:lnTo>
                  <a:lnTo>
                    <a:pt x="190" y="103"/>
                  </a:lnTo>
                  <a:lnTo>
                    <a:pt x="187" y="101"/>
                  </a:lnTo>
                  <a:lnTo>
                    <a:pt x="183" y="103"/>
                  </a:lnTo>
                  <a:lnTo>
                    <a:pt x="182" y="101"/>
                  </a:lnTo>
                  <a:lnTo>
                    <a:pt x="177" y="103"/>
                  </a:lnTo>
                  <a:lnTo>
                    <a:pt x="175" y="99"/>
                  </a:lnTo>
                  <a:lnTo>
                    <a:pt x="178" y="101"/>
                  </a:lnTo>
                  <a:close/>
                  <a:moveTo>
                    <a:pt x="253" y="68"/>
                  </a:moveTo>
                  <a:lnTo>
                    <a:pt x="255" y="70"/>
                  </a:lnTo>
                  <a:lnTo>
                    <a:pt x="257" y="72"/>
                  </a:lnTo>
                  <a:lnTo>
                    <a:pt x="260" y="75"/>
                  </a:lnTo>
                  <a:lnTo>
                    <a:pt x="262" y="79"/>
                  </a:lnTo>
                  <a:lnTo>
                    <a:pt x="263" y="82"/>
                  </a:lnTo>
                  <a:lnTo>
                    <a:pt x="265" y="84"/>
                  </a:lnTo>
                  <a:lnTo>
                    <a:pt x="265" y="87"/>
                  </a:lnTo>
                  <a:lnTo>
                    <a:pt x="263" y="89"/>
                  </a:lnTo>
                  <a:lnTo>
                    <a:pt x="263" y="92"/>
                  </a:lnTo>
                  <a:lnTo>
                    <a:pt x="265" y="94"/>
                  </a:lnTo>
                  <a:lnTo>
                    <a:pt x="267" y="96"/>
                  </a:lnTo>
                  <a:lnTo>
                    <a:pt x="267" y="97"/>
                  </a:lnTo>
                  <a:lnTo>
                    <a:pt x="265" y="99"/>
                  </a:lnTo>
                  <a:lnTo>
                    <a:pt x="267" y="99"/>
                  </a:lnTo>
                  <a:lnTo>
                    <a:pt x="267" y="103"/>
                  </a:lnTo>
                  <a:lnTo>
                    <a:pt x="268" y="104"/>
                  </a:lnTo>
                  <a:lnTo>
                    <a:pt x="267" y="108"/>
                  </a:lnTo>
                  <a:lnTo>
                    <a:pt x="263" y="108"/>
                  </a:lnTo>
                  <a:lnTo>
                    <a:pt x="263" y="109"/>
                  </a:lnTo>
                  <a:lnTo>
                    <a:pt x="260" y="109"/>
                  </a:lnTo>
                  <a:lnTo>
                    <a:pt x="258" y="109"/>
                  </a:lnTo>
                  <a:lnTo>
                    <a:pt x="255" y="108"/>
                  </a:lnTo>
                  <a:lnTo>
                    <a:pt x="253" y="109"/>
                  </a:lnTo>
                  <a:lnTo>
                    <a:pt x="255" y="111"/>
                  </a:lnTo>
                  <a:lnTo>
                    <a:pt x="253" y="113"/>
                  </a:lnTo>
                  <a:lnTo>
                    <a:pt x="253" y="114"/>
                  </a:lnTo>
                  <a:lnTo>
                    <a:pt x="251" y="118"/>
                  </a:lnTo>
                  <a:lnTo>
                    <a:pt x="250" y="118"/>
                  </a:lnTo>
                  <a:lnTo>
                    <a:pt x="248" y="118"/>
                  </a:lnTo>
                  <a:lnTo>
                    <a:pt x="246" y="116"/>
                  </a:lnTo>
                  <a:lnTo>
                    <a:pt x="245" y="116"/>
                  </a:lnTo>
                  <a:lnTo>
                    <a:pt x="241" y="114"/>
                  </a:lnTo>
                  <a:lnTo>
                    <a:pt x="241" y="111"/>
                  </a:lnTo>
                  <a:lnTo>
                    <a:pt x="240" y="111"/>
                  </a:lnTo>
                  <a:lnTo>
                    <a:pt x="238" y="109"/>
                  </a:lnTo>
                  <a:lnTo>
                    <a:pt x="236" y="108"/>
                  </a:lnTo>
                  <a:lnTo>
                    <a:pt x="236" y="106"/>
                  </a:lnTo>
                  <a:lnTo>
                    <a:pt x="234" y="104"/>
                  </a:lnTo>
                  <a:lnTo>
                    <a:pt x="234" y="103"/>
                  </a:lnTo>
                  <a:lnTo>
                    <a:pt x="233" y="101"/>
                  </a:lnTo>
                  <a:lnTo>
                    <a:pt x="231" y="97"/>
                  </a:lnTo>
                  <a:lnTo>
                    <a:pt x="233" y="96"/>
                  </a:lnTo>
                  <a:lnTo>
                    <a:pt x="231" y="96"/>
                  </a:lnTo>
                  <a:lnTo>
                    <a:pt x="229" y="92"/>
                  </a:lnTo>
                  <a:lnTo>
                    <a:pt x="229" y="91"/>
                  </a:lnTo>
                  <a:lnTo>
                    <a:pt x="231" y="89"/>
                  </a:lnTo>
                  <a:lnTo>
                    <a:pt x="231" y="85"/>
                  </a:lnTo>
                  <a:lnTo>
                    <a:pt x="234" y="85"/>
                  </a:lnTo>
                  <a:lnTo>
                    <a:pt x="234" y="87"/>
                  </a:lnTo>
                  <a:lnTo>
                    <a:pt x="233" y="89"/>
                  </a:lnTo>
                  <a:lnTo>
                    <a:pt x="234" y="89"/>
                  </a:lnTo>
                  <a:lnTo>
                    <a:pt x="234" y="87"/>
                  </a:lnTo>
                  <a:lnTo>
                    <a:pt x="238" y="87"/>
                  </a:lnTo>
                  <a:lnTo>
                    <a:pt x="238" y="85"/>
                  </a:lnTo>
                  <a:lnTo>
                    <a:pt x="240" y="84"/>
                  </a:lnTo>
                  <a:lnTo>
                    <a:pt x="241" y="84"/>
                  </a:lnTo>
                  <a:lnTo>
                    <a:pt x="240" y="82"/>
                  </a:lnTo>
                  <a:lnTo>
                    <a:pt x="243" y="79"/>
                  </a:lnTo>
                  <a:lnTo>
                    <a:pt x="243" y="77"/>
                  </a:lnTo>
                  <a:lnTo>
                    <a:pt x="245" y="75"/>
                  </a:lnTo>
                  <a:lnTo>
                    <a:pt x="246" y="74"/>
                  </a:lnTo>
                  <a:lnTo>
                    <a:pt x="245" y="70"/>
                  </a:lnTo>
                  <a:lnTo>
                    <a:pt x="250" y="67"/>
                  </a:lnTo>
                  <a:lnTo>
                    <a:pt x="253" y="68"/>
                  </a:lnTo>
                  <a:close/>
                  <a:moveTo>
                    <a:pt x="260" y="23"/>
                  </a:moveTo>
                  <a:lnTo>
                    <a:pt x="260" y="21"/>
                  </a:lnTo>
                  <a:lnTo>
                    <a:pt x="262" y="21"/>
                  </a:lnTo>
                  <a:lnTo>
                    <a:pt x="265" y="21"/>
                  </a:lnTo>
                  <a:lnTo>
                    <a:pt x="268" y="23"/>
                  </a:lnTo>
                  <a:lnTo>
                    <a:pt x="270" y="24"/>
                  </a:lnTo>
                  <a:lnTo>
                    <a:pt x="272" y="26"/>
                  </a:lnTo>
                  <a:lnTo>
                    <a:pt x="274" y="26"/>
                  </a:lnTo>
                  <a:lnTo>
                    <a:pt x="274" y="28"/>
                  </a:lnTo>
                  <a:lnTo>
                    <a:pt x="274" y="31"/>
                  </a:lnTo>
                  <a:lnTo>
                    <a:pt x="275" y="31"/>
                  </a:lnTo>
                  <a:lnTo>
                    <a:pt x="277" y="33"/>
                  </a:lnTo>
                  <a:lnTo>
                    <a:pt x="280" y="33"/>
                  </a:lnTo>
                  <a:lnTo>
                    <a:pt x="280" y="36"/>
                  </a:lnTo>
                  <a:lnTo>
                    <a:pt x="282" y="40"/>
                  </a:lnTo>
                  <a:lnTo>
                    <a:pt x="282" y="41"/>
                  </a:lnTo>
                  <a:lnTo>
                    <a:pt x="284" y="45"/>
                  </a:lnTo>
                  <a:lnTo>
                    <a:pt x="284" y="46"/>
                  </a:lnTo>
                  <a:lnTo>
                    <a:pt x="282" y="48"/>
                  </a:lnTo>
                  <a:lnTo>
                    <a:pt x="284" y="50"/>
                  </a:lnTo>
                  <a:lnTo>
                    <a:pt x="282" y="51"/>
                  </a:lnTo>
                  <a:lnTo>
                    <a:pt x="282" y="53"/>
                  </a:lnTo>
                  <a:lnTo>
                    <a:pt x="282" y="55"/>
                  </a:lnTo>
                  <a:lnTo>
                    <a:pt x="280" y="57"/>
                  </a:lnTo>
                  <a:lnTo>
                    <a:pt x="280" y="58"/>
                  </a:lnTo>
                  <a:lnTo>
                    <a:pt x="279" y="60"/>
                  </a:lnTo>
                  <a:lnTo>
                    <a:pt x="279" y="62"/>
                  </a:lnTo>
                  <a:lnTo>
                    <a:pt x="277" y="63"/>
                  </a:lnTo>
                  <a:lnTo>
                    <a:pt x="275" y="62"/>
                  </a:lnTo>
                  <a:lnTo>
                    <a:pt x="275" y="63"/>
                  </a:lnTo>
                  <a:lnTo>
                    <a:pt x="275" y="65"/>
                  </a:lnTo>
                  <a:lnTo>
                    <a:pt x="274" y="67"/>
                  </a:lnTo>
                  <a:lnTo>
                    <a:pt x="274" y="70"/>
                  </a:lnTo>
                  <a:lnTo>
                    <a:pt x="272" y="72"/>
                  </a:lnTo>
                  <a:lnTo>
                    <a:pt x="270" y="70"/>
                  </a:lnTo>
                  <a:lnTo>
                    <a:pt x="268" y="70"/>
                  </a:lnTo>
                  <a:lnTo>
                    <a:pt x="265" y="68"/>
                  </a:lnTo>
                  <a:lnTo>
                    <a:pt x="263" y="68"/>
                  </a:lnTo>
                  <a:lnTo>
                    <a:pt x="262" y="68"/>
                  </a:lnTo>
                  <a:lnTo>
                    <a:pt x="260" y="68"/>
                  </a:lnTo>
                  <a:lnTo>
                    <a:pt x="258" y="67"/>
                  </a:lnTo>
                  <a:lnTo>
                    <a:pt x="258" y="65"/>
                  </a:lnTo>
                  <a:lnTo>
                    <a:pt x="258" y="63"/>
                  </a:lnTo>
                  <a:lnTo>
                    <a:pt x="257" y="60"/>
                  </a:lnTo>
                  <a:lnTo>
                    <a:pt x="258" y="58"/>
                  </a:lnTo>
                  <a:lnTo>
                    <a:pt x="258" y="55"/>
                  </a:lnTo>
                  <a:lnTo>
                    <a:pt x="257" y="51"/>
                  </a:lnTo>
                  <a:lnTo>
                    <a:pt x="257" y="50"/>
                  </a:lnTo>
                  <a:lnTo>
                    <a:pt x="258" y="48"/>
                  </a:lnTo>
                  <a:lnTo>
                    <a:pt x="260" y="46"/>
                  </a:lnTo>
                  <a:lnTo>
                    <a:pt x="262" y="45"/>
                  </a:lnTo>
                  <a:lnTo>
                    <a:pt x="263" y="43"/>
                  </a:lnTo>
                  <a:lnTo>
                    <a:pt x="263" y="41"/>
                  </a:lnTo>
                  <a:lnTo>
                    <a:pt x="262" y="38"/>
                  </a:lnTo>
                  <a:lnTo>
                    <a:pt x="260" y="36"/>
                  </a:lnTo>
                  <a:lnTo>
                    <a:pt x="258" y="34"/>
                  </a:lnTo>
                  <a:lnTo>
                    <a:pt x="257" y="33"/>
                  </a:lnTo>
                  <a:lnTo>
                    <a:pt x="257" y="31"/>
                  </a:lnTo>
                  <a:lnTo>
                    <a:pt x="255" y="31"/>
                  </a:lnTo>
                  <a:lnTo>
                    <a:pt x="255" y="26"/>
                  </a:lnTo>
                  <a:lnTo>
                    <a:pt x="255" y="24"/>
                  </a:lnTo>
                  <a:lnTo>
                    <a:pt x="258" y="23"/>
                  </a:lnTo>
                  <a:lnTo>
                    <a:pt x="260" y="23"/>
                  </a:lnTo>
                  <a:close/>
                  <a:moveTo>
                    <a:pt x="733" y="727"/>
                  </a:moveTo>
                  <a:lnTo>
                    <a:pt x="734" y="728"/>
                  </a:lnTo>
                  <a:lnTo>
                    <a:pt x="736" y="727"/>
                  </a:lnTo>
                  <a:lnTo>
                    <a:pt x="738" y="728"/>
                  </a:lnTo>
                  <a:lnTo>
                    <a:pt x="739" y="728"/>
                  </a:lnTo>
                  <a:lnTo>
                    <a:pt x="741" y="728"/>
                  </a:lnTo>
                  <a:lnTo>
                    <a:pt x="744" y="728"/>
                  </a:lnTo>
                  <a:lnTo>
                    <a:pt x="746" y="728"/>
                  </a:lnTo>
                  <a:lnTo>
                    <a:pt x="748" y="730"/>
                  </a:lnTo>
                  <a:lnTo>
                    <a:pt x="750" y="730"/>
                  </a:lnTo>
                  <a:lnTo>
                    <a:pt x="753" y="732"/>
                  </a:lnTo>
                  <a:lnTo>
                    <a:pt x="755" y="732"/>
                  </a:lnTo>
                  <a:lnTo>
                    <a:pt x="756" y="732"/>
                  </a:lnTo>
                  <a:lnTo>
                    <a:pt x="761" y="732"/>
                  </a:lnTo>
                  <a:lnTo>
                    <a:pt x="761" y="734"/>
                  </a:lnTo>
                  <a:lnTo>
                    <a:pt x="765" y="734"/>
                  </a:lnTo>
                  <a:lnTo>
                    <a:pt x="767" y="734"/>
                  </a:lnTo>
                  <a:lnTo>
                    <a:pt x="768" y="734"/>
                  </a:lnTo>
                  <a:lnTo>
                    <a:pt x="768" y="732"/>
                  </a:lnTo>
                  <a:lnTo>
                    <a:pt x="770" y="734"/>
                  </a:lnTo>
                  <a:lnTo>
                    <a:pt x="773" y="734"/>
                  </a:lnTo>
                  <a:lnTo>
                    <a:pt x="775" y="734"/>
                  </a:lnTo>
                  <a:lnTo>
                    <a:pt x="778" y="735"/>
                  </a:lnTo>
                  <a:lnTo>
                    <a:pt x="780" y="735"/>
                  </a:lnTo>
                  <a:lnTo>
                    <a:pt x="782" y="735"/>
                  </a:lnTo>
                  <a:lnTo>
                    <a:pt x="784" y="735"/>
                  </a:lnTo>
                  <a:lnTo>
                    <a:pt x="785" y="735"/>
                  </a:lnTo>
                  <a:lnTo>
                    <a:pt x="785" y="737"/>
                  </a:lnTo>
                  <a:lnTo>
                    <a:pt x="792" y="739"/>
                  </a:lnTo>
                  <a:lnTo>
                    <a:pt x="792" y="740"/>
                  </a:lnTo>
                  <a:lnTo>
                    <a:pt x="792" y="742"/>
                  </a:lnTo>
                  <a:lnTo>
                    <a:pt x="794" y="744"/>
                  </a:lnTo>
                  <a:lnTo>
                    <a:pt x="795" y="746"/>
                  </a:lnTo>
                  <a:lnTo>
                    <a:pt x="794" y="747"/>
                  </a:lnTo>
                  <a:lnTo>
                    <a:pt x="792" y="747"/>
                  </a:lnTo>
                  <a:lnTo>
                    <a:pt x="794" y="747"/>
                  </a:lnTo>
                  <a:lnTo>
                    <a:pt x="792" y="749"/>
                  </a:lnTo>
                  <a:lnTo>
                    <a:pt x="794" y="751"/>
                  </a:lnTo>
                  <a:lnTo>
                    <a:pt x="792" y="751"/>
                  </a:lnTo>
                  <a:lnTo>
                    <a:pt x="792" y="752"/>
                  </a:lnTo>
                  <a:lnTo>
                    <a:pt x="790" y="752"/>
                  </a:lnTo>
                  <a:lnTo>
                    <a:pt x="792" y="754"/>
                  </a:lnTo>
                  <a:lnTo>
                    <a:pt x="790" y="752"/>
                  </a:lnTo>
                  <a:lnTo>
                    <a:pt x="787" y="754"/>
                  </a:lnTo>
                  <a:lnTo>
                    <a:pt x="785" y="754"/>
                  </a:lnTo>
                  <a:lnTo>
                    <a:pt x="789" y="756"/>
                  </a:lnTo>
                  <a:lnTo>
                    <a:pt x="785" y="756"/>
                  </a:lnTo>
                  <a:lnTo>
                    <a:pt x="789" y="757"/>
                  </a:lnTo>
                  <a:lnTo>
                    <a:pt x="787" y="757"/>
                  </a:lnTo>
                  <a:lnTo>
                    <a:pt x="785" y="757"/>
                  </a:lnTo>
                  <a:lnTo>
                    <a:pt x="784" y="759"/>
                  </a:lnTo>
                  <a:lnTo>
                    <a:pt x="780" y="761"/>
                  </a:lnTo>
                  <a:lnTo>
                    <a:pt x="778" y="761"/>
                  </a:lnTo>
                  <a:lnTo>
                    <a:pt x="777" y="759"/>
                  </a:lnTo>
                  <a:lnTo>
                    <a:pt x="775" y="759"/>
                  </a:lnTo>
                  <a:lnTo>
                    <a:pt x="773" y="757"/>
                  </a:lnTo>
                  <a:lnTo>
                    <a:pt x="775" y="757"/>
                  </a:lnTo>
                  <a:lnTo>
                    <a:pt x="777" y="756"/>
                  </a:lnTo>
                  <a:lnTo>
                    <a:pt x="777" y="754"/>
                  </a:lnTo>
                  <a:lnTo>
                    <a:pt x="777" y="756"/>
                  </a:lnTo>
                  <a:lnTo>
                    <a:pt x="773" y="754"/>
                  </a:lnTo>
                  <a:lnTo>
                    <a:pt x="770" y="754"/>
                  </a:lnTo>
                  <a:lnTo>
                    <a:pt x="770" y="752"/>
                  </a:lnTo>
                  <a:lnTo>
                    <a:pt x="767" y="754"/>
                  </a:lnTo>
                  <a:lnTo>
                    <a:pt x="763" y="756"/>
                  </a:lnTo>
                  <a:lnTo>
                    <a:pt x="761" y="756"/>
                  </a:lnTo>
                  <a:lnTo>
                    <a:pt x="760" y="757"/>
                  </a:lnTo>
                  <a:lnTo>
                    <a:pt x="758" y="757"/>
                  </a:lnTo>
                  <a:lnTo>
                    <a:pt x="755" y="757"/>
                  </a:lnTo>
                  <a:lnTo>
                    <a:pt x="756" y="759"/>
                  </a:lnTo>
                  <a:lnTo>
                    <a:pt x="758" y="759"/>
                  </a:lnTo>
                  <a:lnTo>
                    <a:pt x="760" y="757"/>
                  </a:lnTo>
                  <a:lnTo>
                    <a:pt x="761" y="759"/>
                  </a:lnTo>
                  <a:lnTo>
                    <a:pt x="763" y="759"/>
                  </a:lnTo>
                  <a:lnTo>
                    <a:pt x="761" y="761"/>
                  </a:lnTo>
                  <a:lnTo>
                    <a:pt x="758" y="761"/>
                  </a:lnTo>
                  <a:lnTo>
                    <a:pt x="756" y="759"/>
                  </a:lnTo>
                  <a:lnTo>
                    <a:pt x="755" y="759"/>
                  </a:lnTo>
                  <a:lnTo>
                    <a:pt x="751" y="759"/>
                  </a:lnTo>
                  <a:lnTo>
                    <a:pt x="750" y="759"/>
                  </a:lnTo>
                  <a:lnTo>
                    <a:pt x="748" y="759"/>
                  </a:lnTo>
                  <a:lnTo>
                    <a:pt x="746" y="757"/>
                  </a:lnTo>
                  <a:lnTo>
                    <a:pt x="744" y="757"/>
                  </a:lnTo>
                  <a:lnTo>
                    <a:pt x="743" y="756"/>
                  </a:lnTo>
                  <a:lnTo>
                    <a:pt x="741" y="756"/>
                  </a:lnTo>
                  <a:lnTo>
                    <a:pt x="741" y="754"/>
                  </a:lnTo>
                  <a:lnTo>
                    <a:pt x="738" y="754"/>
                  </a:lnTo>
                  <a:lnTo>
                    <a:pt x="739" y="752"/>
                  </a:lnTo>
                  <a:lnTo>
                    <a:pt x="738" y="752"/>
                  </a:lnTo>
                  <a:lnTo>
                    <a:pt x="738" y="751"/>
                  </a:lnTo>
                  <a:lnTo>
                    <a:pt x="738" y="752"/>
                  </a:lnTo>
                  <a:lnTo>
                    <a:pt x="736" y="751"/>
                  </a:lnTo>
                  <a:lnTo>
                    <a:pt x="736" y="752"/>
                  </a:lnTo>
                  <a:lnTo>
                    <a:pt x="734" y="752"/>
                  </a:lnTo>
                  <a:lnTo>
                    <a:pt x="734" y="749"/>
                  </a:lnTo>
                  <a:lnTo>
                    <a:pt x="733" y="749"/>
                  </a:lnTo>
                  <a:lnTo>
                    <a:pt x="733" y="751"/>
                  </a:lnTo>
                  <a:lnTo>
                    <a:pt x="731" y="749"/>
                  </a:lnTo>
                  <a:lnTo>
                    <a:pt x="729" y="749"/>
                  </a:lnTo>
                  <a:lnTo>
                    <a:pt x="731" y="747"/>
                  </a:lnTo>
                  <a:lnTo>
                    <a:pt x="733" y="747"/>
                  </a:lnTo>
                  <a:lnTo>
                    <a:pt x="734" y="746"/>
                  </a:lnTo>
                  <a:lnTo>
                    <a:pt x="736" y="746"/>
                  </a:lnTo>
                  <a:lnTo>
                    <a:pt x="739" y="746"/>
                  </a:lnTo>
                  <a:lnTo>
                    <a:pt x="739" y="744"/>
                  </a:lnTo>
                  <a:lnTo>
                    <a:pt x="736" y="744"/>
                  </a:lnTo>
                  <a:lnTo>
                    <a:pt x="734" y="742"/>
                  </a:lnTo>
                  <a:lnTo>
                    <a:pt x="734" y="744"/>
                  </a:lnTo>
                  <a:lnTo>
                    <a:pt x="731" y="742"/>
                  </a:lnTo>
                  <a:lnTo>
                    <a:pt x="729" y="744"/>
                  </a:lnTo>
                  <a:lnTo>
                    <a:pt x="727" y="742"/>
                  </a:lnTo>
                  <a:lnTo>
                    <a:pt x="731" y="740"/>
                  </a:lnTo>
                  <a:lnTo>
                    <a:pt x="731" y="739"/>
                  </a:lnTo>
                  <a:lnTo>
                    <a:pt x="731" y="735"/>
                  </a:lnTo>
                  <a:lnTo>
                    <a:pt x="729" y="734"/>
                  </a:lnTo>
                  <a:lnTo>
                    <a:pt x="729" y="732"/>
                  </a:lnTo>
                  <a:lnTo>
                    <a:pt x="731" y="730"/>
                  </a:lnTo>
                  <a:lnTo>
                    <a:pt x="733" y="727"/>
                  </a:lnTo>
                  <a:close/>
                  <a:moveTo>
                    <a:pt x="93" y="181"/>
                  </a:moveTo>
                  <a:lnTo>
                    <a:pt x="95" y="181"/>
                  </a:lnTo>
                  <a:lnTo>
                    <a:pt x="98" y="182"/>
                  </a:lnTo>
                  <a:lnTo>
                    <a:pt x="102" y="181"/>
                  </a:lnTo>
                  <a:lnTo>
                    <a:pt x="102" y="179"/>
                  </a:lnTo>
                  <a:lnTo>
                    <a:pt x="105" y="179"/>
                  </a:lnTo>
                  <a:lnTo>
                    <a:pt x="107" y="179"/>
                  </a:lnTo>
                  <a:lnTo>
                    <a:pt x="109" y="181"/>
                  </a:lnTo>
                  <a:lnTo>
                    <a:pt x="107" y="184"/>
                  </a:lnTo>
                  <a:lnTo>
                    <a:pt x="110" y="184"/>
                  </a:lnTo>
                  <a:lnTo>
                    <a:pt x="112" y="186"/>
                  </a:lnTo>
                  <a:lnTo>
                    <a:pt x="115" y="188"/>
                  </a:lnTo>
                  <a:lnTo>
                    <a:pt x="115" y="189"/>
                  </a:lnTo>
                  <a:lnTo>
                    <a:pt x="112" y="191"/>
                  </a:lnTo>
                  <a:lnTo>
                    <a:pt x="110" y="189"/>
                  </a:lnTo>
                  <a:lnTo>
                    <a:pt x="109" y="191"/>
                  </a:lnTo>
                  <a:lnTo>
                    <a:pt x="107" y="193"/>
                  </a:lnTo>
                  <a:lnTo>
                    <a:pt x="104" y="189"/>
                  </a:lnTo>
                  <a:lnTo>
                    <a:pt x="102" y="189"/>
                  </a:lnTo>
                  <a:lnTo>
                    <a:pt x="100" y="186"/>
                  </a:lnTo>
                  <a:lnTo>
                    <a:pt x="97" y="186"/>
                  </a:lnTo>
                  <a:lnTo>
                    <a:pt x="97" y="188"/>
                  </a:lnTo>
                  <a:lnTo>
                    <a:pt x="98" y="189"/>
                  </a:lnTo>
                  <a:lnTo>
                    <a:pt x="95" y="191"/>
                  </a:lnTo>
                  <a:lnTo>
                    <a:pt x="98" y="191"/>
                  </a:lnTo>
                  <a:lnTo>
                    <a:pt x="98" y="194"/>
                  </a:lnTo>
                  <a:lnTo>
                    <a:pt x="95" y="194"/>
                  </a:lnTo>
                  <a:lnTo>
                    <a:pt x="97" y="198"/>
                  </a:lnTo>
                  <a:lnTo>
                    <a:pt x="100" y="199"/>
                  </a:lnTo>
                  <a:lnTo>
                    <a:pt x="102" y="201"/>
                  </a:lnTo>
                  <a:lnTo>
                    <a:pt x="100" y="203"/>
                  </a:lnTo>
                  <a:lnTo>
                    <a:pt x="97" y="203"/>
                  </a:lnTo>
                  <a:lnTo>
                    <a:pt x="97" y="206"/>
                  </a:lnTo>
                  <a:lnTo>
                    <a:pt x="97" y="210"/>
                  </a:lnTo>
                  <a:lnTo>
                    <a:pt x="95" y="210"/>
                  </a:lnTo>
                  <a:lnTo>
                    <a:pt x="93" y="210"/>
                  </a:lnTo>
                  <a:lnTo>
                    <a:pt x="93" y="211"/>
                  </a:lnTo>
                  <a:lnTo>
                    <a:pt x="95" y="215"/>
                  </a:lnTo>
                  <a:lnTo>
                    <a:pt x="92" y="215"/>
                  </a:lnTo>
                  <a:lnTo>
                    <a:pt x="93" y="218"/>
                  </a:lnTo>
                  <a:lnTo>
                    <a:pt x="93" y="220"/>
                  </a:lnTo>
                  <a:lnTo>
                    <a:pt x="90" y="220"/>
                  </a:lnTo>
                  <a:lnTo>
                    <a:pt x="88" y="218"/>
                  </a:lnTo>
                  <a:lnTo>
                    <a:pt x="88" y="215"/>
                  </a:lnTo>
                  <a:lnTo>
                    <a:pt x="87" y="213"/>
                  </a:lnTo>
                  <a:lnTo>
                    <a:pt x="85" y="216"/>
                  </a:lnTo>
                  <a:lnTo>
                    <a:pt x="83" y="216"/>
                  </a:lnTo>
                  <a:lnTo>
                    <a:pt x="81" y="220"/>
                  </a:lnTo>
                  <a:lnTo>
                    <a:pt x="78" y="218"/>
                  </a:lnTo>
                  <a:lnTo>
                    <a:pt x="76" y="216"/>
                  </a:lnTo>
                  <a:lnTo>
                    <a:pt x="75" y="218"/>
                  </a:lnTo>
                  <a:lnTo>
                    <a:pt x="70" y="218"/>
                  </a:lnTo>
                  <a:lnTo>
                    <a:pt x="70" y="216"/>
                  </a:lnTo>
                  <a:lnTo>
                    <a:pt x="71" y="215"/>
                  </a:lnTo>
                  <a:lnTo>
                    <a:pt x="75" y="213"/>
                  </a:lnTo>
                  <a:lnTo>
                    <a:pt x="75" y="211"/>
                  </a:lnTo>
                  <a:lnTo>
                    <a:pt x="76" y="210"/>
                  </a:lnTo>
                  <a:lnTo>
                    <a:pt x="80" y="206"/>
                  </a:lnTo>
                  <a:lnTo>
                    <a:pt x="81" y="206"/>
                  </a:lnTo>
                  <a:lnTo>
                    <a:pt x="83" y="205"/>
                  </a:lnTo>
                  <a:lnTo>
                    <a:pt x="83" y="203"/>
                  </a:lnTo>
                  <a:lnTo>
                    <a:pt x="85" y="201"/>
                  </a:lnTo>
                  <a:lnTo>
                    <a:pt x="85" y="198"/>
                  </a:lnTo>
                  <a:lnTo>
                    <a:pt x="87" y="196"/>
                  </a:lnTo>
                  <a:lnTo>
                    <a:pt x="88" y="193"/>
                  </a:lnTo>
                  <a:lnTo>
                    <a:pt x="88" y="191"/>
                  </a:lnTo>
                  <a:lnTo>
                    <a:pt x="90" y="188"/>
                  </a:lnTo>
                  <a:lnTo>
                    <a:pt x="88" y="186"/>
                  </a:lnTo>
                  <a:lnTo>
                    <a:pt x="88" y="184"/>
                  </a:lnTo>
                  <a:lnTo>
                    <a:pt x="90" y="184"/>
                  </a:lnTo>
                  <a:lnTo>
                    <a:pt x="90" y="182"/>
                  </a:lnTo>
                  <a:lnTo>
                    <a:pt x="93" y="181"/>
                  </a:lnTo>
                  <a:close/>
                  <a:moveTo>
                    <a:pt x="229" y="126"/>
                  </a:moveTo>
                  <a:lnTo>
                    <a:pt x="231" y="126"/>
                  </a:lnTo>
                  <a:lnTo>
                    <a:pt x="231" y="125"/>
                  </a:lnTo>
                  <a:lnTo>
                    <a:pt x="233" y="125"/>
                  </a:lnTo>
                  <a:lnTo>
                    <a:pt x="240" y="123"/>
                  </a:lnTo>
                  <a:lnTo>
                    <a:pt x="241" y="123"/>
                  </a:lnTo>
                  <a:lnTo>
                    <a:pt x="245" y="125"/>
                  </a:lnTo>
                  <a:lnTo>
                    <a:pt x="246" y="123"/>
                  </a:lnTo>
                  <a:lnTo>
                    <a:pt x="250" y="125"/>
                  </a:lnTo>
                  <a:lnTo>
                    <a:pt x="250" y="126"/>
                  </a:lnTo>
                  <a:lnTo>
                    <a:pt x="250" y="128"/>
                  </a:lnTo>
                  <a:lnTo>
                    <a:pt x="246" y="130"/>
                  </a:lnTo>
                  <a:lnTo>
                    <a:pt x="243" y="131"/>
                  </a:lnTo>
                  <a:lnTo>
                    <a:pt x="243" y="133"/>
                  </a:lnTo>
                  <a:lnTo>
                    <a:pt x="241" y="135"/>
                  </a:lnTo>
                  <a:lnTo>
                    <a:pt x="241" y="137"/>
                  </a:lnTo>
                  <a:lnTo>
                    <a:pt x="241" y="140"/>
                  </a:lnTo>
                  <a:lnTo>
                    <a:pt x="243" y="143"/>
                  </a:lnTo>
                  <a:lnTo>
                    <a:pt x="245" y="142"/>
                  </a:lnTo>
                  <a:lnTo>
                    <a:pt x="248" y="142"/>
                  </a:lnTo>
                  <a:lnTo>
                    <a:pt x="248" y="143"/>
                  </a:lnTo>
                  <a:lnTo>
                    <a:pt x="250" y="145"/>
                  </a:lnTo>
                  <a:lnTo>
                    <a:pt x="245" y="148"/>
                  </a:lnTo>
                  <a:lnTo>
                    <a:pt x="248" y="150"/>
                  </a:lnTo>
                  <a:lnTo>
                    <a:pt x="248" y="152"/>
                  </a:lnTo>
                  <a:lnTo>
                    <a:pt x="246" y="154"/>
                  </a:lnTo>
                  <a:lnTo>
                    <a:pt x="243" y="154"/>
                  </a:lnTo>
                  <a:lnTo>
                    <a:pt x="241" y="154"/>
                  </a:lnTo>
                  <a:lnTo>
                    <a:pt x="238" y="154"/>
                  </a:lnTo>
                  <a:lnTo>
                    <a:pt x="236" y="152"/>
                  </a:lnTo>
                  <a:lnTo>
                    <a:pt x="234" y="152"/>
                  </a:lnTo>
                  <a:lnTo>
                    <a:pt x="231" y="148"/>
                  </a:lnTo>
                  <a:lnTo>
                    <a:pt x="229" y="147"/>
                  </a:lnTo>
                  <a:lnTo>
                    <a:pt x="229" y="145"/>
                  </a:lnTo>
                  <a:lnTo>
                    <a:pt x="228" y="145"/>
                  </a:lnTo>
                  <a:lnTo>
                    <a:pt x="226" y="142"/>
                  </a:lnTo>
                  <a:lnTo>
                    <a:pt x="224" y="142"/>
                  </a:lnTo>
                  <a:lnTo>
                    <a:pt x="223" y="138"/>
                  </a:lnTo>
                  <a:lnTo>
                    <a:pt x="219" y="138"/>
                  </a:lnTo>
                  <a:lnTo>
                    <a:pt x="219" y="137"/>
                  </a:lnTo>
                  <a:lnTo>
                    <a:pt x="221" y="135"/>
                  </a:lnTo>
                  <a:lnTo>
                    <a:pt x="221" y="133"/>
                  </a:lnTo>
                  <a:lnTo>
                    <a:pt x="224" y="131"/>
                  </a:lnTo>
                  <a:lnTo>
                    <a:pt x="226" y="128"/>
                  </a:lnTo>
                  <a:lnTo>
                    <a:pt x="228" y="128"/>
                  </a:lnTo>
                  <a:lnTo>
                    <a:pt x="229" y="126"/>
                  </a:lnTo>
                  <a:close/>
                  <a:moveTo>
                    <a:pt x="223" y="143"/>
                  </a:moveTo>
                  <a:lnTo>
                    <a:pt x="224" y="145"/>
                  </a:lnTo>
                  <a:lnTo>
                    <a:pt x="228" y="145"/>
                  </a:lnTo>
                  <a:lnTo>
                    <a:pt x="228" y="147"/>
                  </a:lnTo>
                  <a:lnTo>
                    <a:pt x="229" y="148"/>
                  </a:lnTo>
                  <a:lnTo>
                    <a:pt x="229" y="150"/>
                  </a:lnTo>
                  <a:lnTo>
                    <a:pt x="231" y="152"/>
                  </a:lnTo>
                  <a:lnTo>
                    <a:pt x="233" y="152"/>
                  </a:lnTo>
                  <a:lnTo>
                    <a:pt x="233" y="155"/>
                  </a:lnTo>
                  <a:lnTo>
                    <a:pt x="236" y="159"/>
                  </a:lnTo>
                  <a:lnTo>
                    <a:pt x="238" y="160"/>
                  </a:lnTo>
                  <a:lnTo>
                    <a:pt x="238" y="162"/>
                  </a:lnTo>
                  <a:lnTo>
                    <a:pt x="236" y="165"/>
                  </a:lnTo>
                  <a:lnTo>
                    <a:pt x="236" y="167"/>
                  </a:lnTo>
                  <a:lnTo>
                    <a:pt x="234" y="165"/>
                  </a:lnTo>
                  <a:lnTo>
                    <a:pt x="233" y="167"/>
                  </a:lnTo>
                  <a:lnTo>
                    <a:pt x="231" y="169"/>
                  </a:lnTo>
                  <a:lnTo>
                    <a:pt x="229" y="171"/>
                  </a:lnTo>
                  <a:lnTo>
                    <a:pt x="228" y="171"/>
                  </a:lnTo>
                  <a:lnTo>
                    <a:pt x="224" y="172"/>
                  </a:lnTo>
                  <a:lnTo>
                    <a:pt x="223" y="172"/>
                  </a:lnTo>
                  <a:lnTo>
                    <a:pt x="223" y="171"/>
                  </a:lnTo>
                  <a:lnTo>
                    <a:pt x="223" y="167"/>
                  </a:lnTo>
                  <a:lnTo>
                    <a:pt x="223" y="165"/>
                  </a:lnTo>
                  <a:lnTo>
                    <a:pt x="223" y="162"/>
                  </a:lnTo>
                  <a:lnTo>
                    <a:pt x="221" y="160"/>
                  </a:lnTo>
                  <a:lnTo>
                    <a:pt x="219" y="160"/>
                  </a:lnTo>
                  <a:lnTo>
                    <a:pt x="217" y="159"/>
                  </a:lnTo>
                  <a:lnTo>
                    <a:pt x="216" y="157"/>
                  </a:lnTo>
                  <a:lnTo>
                    <a:pt x="214" y="157"/>
                  </a:lnTo>
                  <a:lnTo>
                    <a:pt x="214" y="154"/>
                  </a:lnTo>
                  <a:lnTo>
                    <a:pt x="216" y="152"/>
                  </a:lnTo>
                  <a:lnTo>
                    <a:pt x="217" y="150"/>
                  </a:lnTo>
                  <a:lnTo>
                    <a:pt x="219" y="150"/>
                  </a:lnTo>
                  <a:lnTo>
                    <a:pt x="221" y="150"/>
                  </a:lnTo>
                  <a:lnTo>
                    <a:pt x="221" y="147"/>
                  </a:lnTo>
                  <a:lnTo>
                    <a:pt x="223" y="145"/>
                  </a:lnTo>
                  <a:lnTo>
                    <a:pt x="223" y="143"/>
                  </a:lnTo>
                  <a:close/>
                  <a:moveTo>
                    <a:pt x="165" y="75"/>
                  </a:moveTo>
                  <a:lnTo>
                    <a:pt x="168" y="75"/>
                  </a:lnTo>
                  <a:lnTo>
                    <a:pt x="170" y="74"/>
                  </a:lnTo>
                  <a:lnTo>
                    <a:pt x="173" y="74"/>
                  </a:lnTo>
                  <a:lnTo>
                    <a:pt x="175" y="75"/>
                  </a:lnTo>
                  <a:lnTo>
                    <a:pt x="175" y="74"/>
                  </a:lnTo>
                  <a:lnTo>
                    <a:pt x="178" y="75"/>
                  </a:lnTo>
                  <a:lnTo>
                    <a:pt x="180" y="74"/>
                  </a:lnTo>
                  <a:lnTo>
                    <a:pt x="180" y="72"/>
                  </a:lnTo>
                  <a:lnTo>
                    <a:pt x="182" y="74"/>
                  </a:lnTo>
                  <a:lnTo>
                    <a:pt x="185" y="74"/>
                  </a:lnTo>
                  <a:lnTo>
                    <a:pt x="183" y="75"/>
                  </a:lnTo>
                  <a:lnTo>
                    <a:pt x="183" y="77"/>
                  </a:lnTo>
                  <a:lnTo>
                    <a:pt x="182" y="77"/>
                  </a:lnTo>
                  <a:lnTo>
                    <a:pt x="180" y="80"/>
                  </a:lnTo>
                  <a:lnTo>
                    <a:pt x="178" y="85"/>
                  </a:lnTo>
                  <a:lnTo>
                    <a:pt x="178" y="89"/>
                  </a:lnTo>
                  <a:lnTo>
                    <a:pt x="178" y="91"/>
                  </a:lnTo>
                  <a:lnTo>
                    <a:pt x="178" y="92"/>
                  </a:lnTo>
                  <a:lnTo>
                    <a:pt x="177" y="94"/>
                  </a:lnTo>
                  <a:lnTo>
                    <a:pt x="175" y="94"/>
                  </a:lnTo>
                  <a:lnTo>
                    <a:pt x="173" y="92"/>
                  </a:lnTo>
                  <a:lnTo>
                    <a:pt x="172" y="92"/>
                  </a:lnTo>
                  <a:lnTo>
                    <a:pt x="170" y="96"/>
                  </a:lnTo>
                  <a:lnTo>
                    <a:pt x="168" y="97"/>
                  </a:lnTo>
                  <a:lnTo>
                    <a:pt x="165" y="97"/>
                  </a:lnTo>
                  <a:lnTo>
                    <a:pt x="163" y="96"/>
                  </a:lnTo>
                  <a:lnTo>
                    <a:pt x="163" y="94"/>
                  </a:lnTo>
                  <a:lnTo>
                    <a:pt x="160" y="94"/>
                  </a:lnTo>
                  <a:lnTo>
                    <a:pt x="160" y="92"/>
                  </a:lnTo>
                  <a:lnTo>
                    <a:pt x="158" y="91"/>
                  </a:lnTo>
                  <a:lnTo>
                    <a:pt x="160" y="87"/>
                  </a:lnTo>
                  <a:lnTo>
                    <a:pt x="161" y="89"/>
                  </a:lnTo>
                  <a:lnTo>
                    <a:pt x="163" y="87"/>
                  </a:lnTo>
                  <a:lnTo>
                    <a:pt x="166" y="89"/>
                  </a:lnTo>
                  <a:lnTo>
                    <a:pt x="168" y="87"/>
                  </a:lnTo>
                  <a:lnTo>
                    <a:pt x="170" y="87"/>
                  </a:lnTo>
                  <a:lnTo>
                    <a:pt x="173" y="87"/>
                  </a:lnTo>
                  <a:lnTo>
                    <a:pt x="173" y="85"/>
                  </a:lnTo>
                  <a:lnTo>
                    <a:pt x="170" y="84"/>
                  </a:lnTo>
                  <a:lnTo>
                    <a:pt x="168" y="84"/>
                  </a:lnTo>
                  <a:lnTo>
                    <a:pt x="166" y="82"/>
                  </a:lnTo>
                  <a:lnTo>
                    <a:pt x="165" y="80"/>
                  </a:lnTo>
                  <a:lnTo>
                    <a:pt x="163" y="79"/>
                  </a:lnTo>
                  <a:lnTo>
                    <a:pt x="165" y="75"/>
                  </a:lnTo>
                  <a:close/>
                  <a:moveTo>
                    <a:pt x="180" y="172"/>
                  </a:moveTo>
                  <a:lnTo>
                    <a:pt x="183" y="174"/>
                  </a:lnTo>
                  <a:lnTo>
                    <a:pt x="183" y="176"/>
                  </a:lnTo>
                  <a:lnTo>
                    <a:pt x="187" y="176"/>
                  </a:lnTo>
                  <a:lnTo>
                    <a:pt x="190" y="177"/>
                  </a:lnTo>
                  <a:lnTo>
                    <a:pt x="194" y="177"/>
                  </a:lnTo>
                  <a:lnTo>
                    <a:pt x="195" y="179"/>
                  </a:lnTo>
                  <a:lnTo>
                    <a:pt x="195" y="182"/>
                  </a:lnTo>
                  <a:lnTo>
                    <a:pt x="192" y="181"/>
                  </a:lnTo>
                  <a:lnTo>
                    <a:pt x="192" y="182"/>
                  </a:lnTo>
                  <a:lnTo>
                    <a:pt x="192" y="184"/>
                  </a:lnTo>
                  <a:lnTo>
                    <a:pt x="194" y="188"/>
                  </a:lnTo>
                  <a:lnTo>
                    <a:pt x="190" y="189"/>
                  </a:lnTo>
                  <a:lnTo>
                    <a:pt x="189" y="189"/>
                  </a:lnTo>
                  <a:lnTo>
                    <a:pt x="187" y="191"/>
                  </a:lnTo>
                  <a:lnTo>
                    <a:pt x="185" y="191"/>
                  </a:lnTo>
                  <a:lnTo>
                    <a:pt x="183" y="193"/>
                  </a:lnTo>
                  <a:lnTo>
                    <a:pt x="182" y="193"/>
                  </a:lnTo>
                  <a:lnTo>
                    <a:pt x="178" y="193"/>
                  </a:lnTo>
                  <a:lnTo>
                    <a:pt x="175" y="191"/>
                  </a:lnTo>
                  <a:lnTo>
                    <a:pt x="173" y="189"/>
                  </a:lnTo>
                  <a:lnTo>
                    <a:pt x="173" y="188"/>
                  </a:lnTo>
                  <a:lnTo>
                    <a:pt x="177" y="186"/>
                  </a:lnTo>
                  <a:lnTo>
                    <a:pt x="177" y="184"/>
                  </a:lnTo>
                  <a:lnTo>
                    <a:pt x="178" y="182"/>
                  </a:lnTo>
                  <a:lnTo>
                    <a:pt x="178" y="179"/>
                  </a:lnTo>
                  <a:lnTo>
                    <a:pt x="175" y="179"/>
                  </a:lnTo>
                  <a:lnTo>
                    <a:pt x="175" y="177"/>
                  </a:lnTo>
                  <a:lnTo>
                    <a:pt x="177" y="174"/>
                  </a:lnTo>
                  <a:lnTo>
                    <a:pt x="178" y="174"/>
                  </a:lnTo>
                  <a:lnTo>
                    <a:pt x="178" y="172"/>
                  </a:lnTo>
                  <a:lnTo>
                    <a:pt x="180" y="172"/>
                  </a:lnTo>
                  <a:close/>
                  <a:moveTo>
                    <a:pt x="233" y="58"/>
                  </a:moveTo>
                  <a:lnTo>
                    <a:pt x="234" y="60"/>
                  </a:lnTo>
                  <a:lnTo>
                    <a:pt x="236" y="62"/>
                  </a:lnTo>
                  <a:lnTo>
                    <a:pt x="236" y="65"/>
                  </a:lnTo>
                  <a:lnTo>
                    <a:pt x="238" y="68"/>
                  </a:lnTo>
                  <a:lnTo>
                    <a:pt x="238" y="70"/>
                  </a:lnTo>
                  <a:lnTo>
                    <a:pt x="238" y="72"/>
                  </a:lnTo>
                  <a:lnTo>
                    <a:pt x="236" y="75"/>
                  </a:lnTo>
                  <a:lnTo>
                    <a:pt x="233" y="77"/>
                  </a:lnTo>
                  <a:lnTo>
                    <a:pt x="228" y="79"/>
                  </a:lnTo>
                  <a:lnTo>
                    <a:pt x="228" y="77"/>
                  </a:lnTo>
                  <a:lnTo>
                    <a:pt x="224" y="79"/>
                  </a:lnTo>
                  <a:lnTo>
                    <a:pt x="223" y="77"/>
                  </a:lnTo>
                  <a:lnTo>
                    <a:pt x="224" y="74"/>
                  </a:lnTo>
                  <a:lnTo>
                    <a:pt x="223" y="72"/>
                  </a:lnTo>
                  <a:lnTo>
                    <a:pt x="224" y="68"/>
                  </a:lnTo>
                  <a:lnTo>
                    <a:pt x="224" y="67"/>
                  </a:lnTo>
                  <a:lnTo>
                    <a:pt x="224" y="65"/>
                  </a:lnTo>
                  <a:lnTo>
                    <a:pt x="224" y="63"/>
                  </a:lnTo>
                  <a:lnTo>
                    <a:pt x="226" y="62"/>
                  </a:lnTo>
                  <a:lnTo>
                    <a:pt x="226" y="58"/>
                  </a:lnTo>
                  <a:lnTo>
                    <a:pt x="229" y="57"/>
                  </a:lnTo>
                  <a:lnTo>
                    <a:pt x="233" y="55"/>
                  </a:lnTo>
                  <a:lnTo>
                    <a:pt x="233" y="58"/>
                  </a:lnTo>
                  <a:close/>
                  <a:moveTo>
                    <a:pt x="168" y="57"/>
                  </a:moveTo>
                  <a:lnTo>
                    <a:pt x="170" y="57"/>
                  </a:lnTo>
                  <a:lnTo>
                    <a:pt x="172" y="58"/>
                  </a:lnTo>
                  <a:lnTo>
                    <a:pt x="173" y="60"/>
                  </a:lnTo>
                  <a:lnTo>
                    <a:pt x="175" y="60"/>
                  </a:lnTo>
                  <a:lnTo>
                    <a:pt x="177" y="58"/>
                  </a:lnTo>
                  <a:lnTo>
                    <a:pt x="178" y="57"/>
                  </a:lnTo>
                  <a:lnTo>
                    <a:pt x="183" y="58"/>
                  </a:lnTo>
                  <a:lnTo>
                    <a:pt x="185" y="60"/>
                  </a:lnTo>
                  <a:lnTo>
                    <a:pt x="183" y="63"/>
                  </a:lnTo>
                  <a:lnTo>
                    <a:pt x="183" y="65"/>
                  </a:lnTo>
                  <a:lnTo>
                    <a:pt x="182" y="67"/>
                  </a:lnTo>
                  <a:lnTo>
                    <a:pt x="178" y="68"/>
                  </a:lnTo>
                  <a:lnTo>
                    <a:pt x="175" y="68"/>
                  </a:lnTo>
                  <a:lnTo>
                    <a:pt x="173" y="67"/>
                  </a:lnTo>
                  <a:lnTo>
                    <a:pt x="172" y="67"/>
                  </a:lnTo>
                  <a:lnTo>
                    <a:pt x="170" y="70"/>
                  </a:lnTo>
                  <a:lnTo>
                    <a:pt x="168" y="70"/>
                  </a:lnTo>
                  <a:lnTo>
                    <a:pt x="165" y="70"/>
                  </a:lnTo>
                  <a:lnTo>
                    <a:pt x="163" y="68"/>
                  </a:lnTo>
                  <a:lnTo>
                    <a:pt x="165" y="67"/>
                  </a:lnTo>
                  <a:lnTo>
                    <a:pt x="161" y="65"/>
                  </a:lnTo>
                  <a:lnTo>
                    <a:pt x="163" y="63"/>
                  </a:lnTo>
                  <a:lnTo>
                    <a:pt x="165" y="62"/>
                  </a:lnTo>
                  <a:lnTo>
                    <a:pt x="166" y="58"/>
                  </a:lnTo>
                  <a:lnTo>
                    <a:pt x="168" y="57"/>
                  </a:lnTo>
                  <a:close/>
                  <a:moveTo>
                    <a:pt x="180" y="125"/>
                  </a:moveTo>
                  <a:lnTo>
                    <a:pt x="182" y="125"/>
                  </a:lnTo>
                  <a:lnTo>
                    <a:pt x="185" y="125"/>
                  </a:lnTo>
                  <a:lnTo>
                    <a:pt x="187" y="125"/>
                  </a:lnTo>
                  <a:lnTo>
                    <a:pt x="190" y="125"/>
                  </a:lnTo>
                  <a:lnTo>
                    <a:pt x="190" y="126"/>
                  </a:lnTo>
                  <a:lnTo>
                    <a:pt x="189" y="128"/>
                  </a:lnTo>
                  <a:lnTo>
                    <a:pt x="187" y="130"/>
                  </a:lnTo>
                  <a:lnTo>
                    <a:pt x="187" y="131"/>
                  </a:lnTo>
                  <a:lnTo>
                    <a:pt x="183" y="133"/>
                  </a:lnTo>
                  <a:lnTo>
                    <a:pt x="183" y="137"/>
                  </a:lnTo>
                  <a:lnTo>
                    <a:pt x="182" y="137"/>
                  </a:lnTo>
                  <a:lnTo>
                    <a:pt x="178" y="137"/>
                  </a:lnTo>
                  <a:lnTo>
                    <a:pt x="177" y="135"/>
                  </a:lnTo>
                  <a:lnTo>
                    <a:pt x="173" y="135"/>
                  </a:lnTo>
                  <a:lnTo>
                    <a:pt x="172" y="138"/>
                  </a:lnTo>
                  <a:lnTo>
                    <a:pt x="168" y="138"/>
                  </a:lnTo>
                  <a:lnTo>
                    <a:pt x="166" y="137"/>
                  </a:lnTo>
                  <a:lnTo>
                    <a:pt x="166" y="133"/>
                  </a:lnTo>
                  <a:lnTo>
                    <a:pt x="168" y="131"/>
                  </a:lnTo>
                  <a:lnTo>
                    <a:pt x="170" y="131"/>
                  </a:lnTo>
                  <a:lnTo>
                    <a:pt x="172" y="128"/>
                  </a:lnTo>
                  <a:lnTo>
                    <a:pt x="173" y="128"/>
                  </a:lnTo>
                  <a:lnTo>
                    <a:pt x="175" y="128"/>
                  </a:lnTo>
                  <a:lnTo>
                    <a:pt x="175" y="125"/>
                  </a:lnTo>
                  <a:lnTo>
                    <a:pt x="177" y="123"/>
                  </a:lnTo>
                  <a:lnTo>
                    <a:pt x="180" y="125"/>
                  </a:lnTo>
                  <a:close/>
                  <a:moveTo>
                    <a:pt x="165" y="26"/>
                  </a:moveTo>
                  <a:lnTo>
                    <a:pt x="168" y="26"/>
                  </a:lnTo>
                  <a:lnTo>
                    <a:pt x="170" y="26"/>
                  </a:lnTo>
                  <a:lnTo>
                    <a:pt x="172" y="29"/>
                  </a:lnTo>
                  <a:lnTo>
                    <a:pt x="173" y="31"/>
                  </a:lnTo>
                  <a:lnTo>
                    <a:pt x="173" y="33"/>
                  </a:lnTo>
                  <a:lnTo>
                    <a:pt x="173" y="34"/>
                  </a:lnTo>
                  <a:lnTo>
                    <a:pt x="170" y="36"/>
                  </a:lnTo>
                  <a:lnTo>
                    <a:pt x="170" y="38"/>
                  </a:lnTo>
                  <a:lnTo>
                    <a:pt x="166" y="40"/>
                  </a:lnTo>
                  <a:lnTo>
                    <a:pt x="166" y="41"/>
                  </a:lnTo>
                  <a:lnTo>
                    <a:pt x="166" y="45"/>
                  </a:lnTo>
                  <a:lnTo>
                    <a:pt x="165" y="45"/>
                  </a:lnTo>
                  <a:lnTo>
                    <a:pt x="163" y="45"/>
                  </a:lnTo>
                  <a:lnTo>
                    <a:pt x="161" y="43"/>
                  </a:lnTo>
                  <a:lnTo>
                    <a:pt x="160" y="40"/>
                  </a:lnTo>
                  <a:lnTo>
                    <a:pt x="156" y="38"/>
                  </a:lnTo>
                  <a:lnTo>
                    <a:pt x="158" y="36"/>
                  </a:lnTo>
                  <a:lnTo>
                    <a:pt x="158" y="34"/>
                  </a:lnTo>
                  <a:lnTo>
                    <a:pt x="161" y="33"/>
                  </a:lnTo>
                  <a:lnTo>
                    <a:pt x="161" y="31"/>
                  </a:lnTo>
                  <a:lnTo>
                    <a:pt x="163" y="29"/>
                  </a:lnTo>
                  <a:lnTo>
                    <a:pt x="163" y="28"/>
                  </a:lnTo>
                  <a:lnTo>
                    <a:pt x="165" y="26"/>
                  </a:lnTo>
                  <a:close/>
                  <a:moveTo>
                    <a:pt x="217" y="0"/>
                  </a:moveTo>
                  <a:lnTo>
                    <a:pt x="219" y="0"/>
                  </a:lnTo>
                  <a:lnTo>
                    <a:pt x="223" y="2"/>
                  </a:lnTo>
                  <a:lnTo>
                    <a:pt x="224" y="6"/>
                  </a:lnTo>
                  <a:lnTo>
                    <a:pt x="224" y="7"/>
                  </a:lnTo>
                  <a:lnTo>
                    <a:pt x="223" y="9"/>
                  </a:lnTo>
                  <a:lnTo>
                    <a:pt x="219" y="11"/>
                  </a:lnTo>
                  <a:lnTo>
                    <a:pt x="217" y="12"/>
                  </a:lnTo>
                  <a:lnTo>
                    <a:pt x="216" y="14"/>
                  </a:lnTo>
                  <a:lnTo>
                    <a:pt x="214" y="14"/>
                  </a:lnTo>
                  <a:lnTo>
                    <a:pt x="211" y="12"/>
                  </a:lnTo>
                  <a:lnTo>
                    <a:pt x="207" y="14"/>
                  </a:lnTo>
                  <a:lnTo>
                    <a:pt x="206" y="14"/>
                  </a:lnTo>
                  <a:lnTo>
                    <a:pt x="206" y="11"/>
                  </a:lnTo>
                  <a:lnTo>
                    <a:pt x="206" y="9"/>
                  </a:lnTo>
                  <a:lnTo>
                    <a:pt x="207" y="7"/>
                  </a:lnTo>
                  <a:lnTo>
                    <a:pt x="209" y="6"/>
                  </a:lnTo>
                  <a:lnTo>
                    <a:pt x="209" y="7"/>
                  </a:lnTo>
                  <a:lnTo>
                    <a:pt x="211" y="6"/>
                  </a:lnTo>
                  <a:lnTo>
                    <a:pt x="212" y="4"/>
                  </a:lnTo>
                  <a:lnTo>
                    <a:pt x="212" y="2"/>
                  </a:lnTo>
                  <a:lnTo>
                    <a:pt x="216" y="0"/>
                  </a:lnTo>
                  <a:lnTo>
                    <a:pt x="217" y="0"/>
                  </a:lnTo>
                  <a:close/>
                  <a:moveTo>
                    <a:pt x="187" y="157"/>
                  </a:moveTo>
                  <a:lnTo>
                    <a:pt x="189" y="155"/>
                  </a:lnTo>
                  <a:lnTo>
                    <a:pt x="190" y="155"/>
                  </a:lnTo>
                  <a:lnTo>
                    <a:pt x="192" y="154"/>
                  </a:lnTo>
                  <a:lnTo>
                    <a:pt x="189" y="154"/>
                  </a:lnTo>
                  <a:lnTo>
                    <a:pt x="189" y="152"/>
                  </a:lnTo>
                  <a:lnTo>
                    <a:pt x="190" y="150"/>
                  </a:lnTo>
                  <a:lnTo>
                    <a:pt x="192" y="150"/>
                  </a:lnTo>
                  <a:lnTo>
                    <a:pt x="195" y="150"/>
                  </a:lnTo>
                  <a:lnTo>
                    <a:pt x="195" y="152"/>
                  </a:lnTo>
                  <a:lnTo>
                    <a:pt x="197" y="155"/>
                  </a:lnTo>
                  <a:lnTo>
                    <a:pt x="194" y="155"/>
                  </a:lnTo>
                  <a:lnTo>
                    <a:pt x="195" y="157"/>
                  </a:lnTo>
                  <a:lnTo>
                    <a:pt x="195" y="160"/>
                  </a:lnTo>
                  <a:lnTo>
                    <a:pt x="197" y="160"/>
                  </a:lnTo>
                  <a:lnTo>
                    <a:pt x="197" y="159"/>
                  </a:lnTo>
                  <a:lnTo>
                    <a:pt x="197" y="157"/>
                  </a:lnTo>
                  <a:lnTo>
                    <a:pt x="200" y="155"/>
                  </a:lnTo>
                  <a:lnTo>
                    <a:pt x="200" y="154"/>
                  </a:lnTo>
                  <a:lnTo>
                    <a:pt x="202" y="155"/>
                  </a:lnTo>
                  <a:lnTo>
                    <a:pt x="202" y="157"/>
                  </a:lnTo>
                  <a:lnTo>
                    <a:pt x="200" y="159"/>
                  </a:lnTo>
                  <a:lnTo>
                    <a:pt x="197" y="157"/>
                  </a:lnTo>
                  <a:lnTo>
                    <a:pt x="197" y="160"/>
                  </a:lnTo>
                  <a:lnTo>
                    <a:pt x="199" y="162"/>
                  </a:lnTo>
                  <a:lnTo>
                    <a:pt x="197" y="164"/>
                  </a:lnTo>
                  <a:lnTo>
                    <a:pt x="195" y="162"/>
                  </a:lnTo>
                  <a:lnTo>
                    <a:pt x="192" y="164"/>
                  </a:lnTo>
                  <a:lnTo>
                    <a:pt x="192" y="160"/>
                  </a:lnTo>
                  <a:lnTo>
                    <a:pt x="190" y="159"/>
                  </a:lnTo>
                  <a:lnTo>
                    <a:pt x="190" y="157"/>
                  </a:lnTo>
                  <a:lnTo>
                    <a:pt x="189" y="159"/>
                  </a:lnTo>
                  <a:lnTo>
                    <a:pt x="190" y="162"/>
                  </a:lnTo>
                  <a:lnTo>
                    <a:pt x="189" y="162"/>
                  </a:lnTo>
                  <a:lnTo>
                    <a:pt x="185" y="162"/>
                  </a:lnTo>
                  <a:lnTo>
                    <a:pt x="183" y="164"/>
                  </a:lnTo>
                  <a:lnTo>
                    <a:pt x="183" y="162"/>
                  </a:lnTo>
                  <a:lnTo>
                    <a:pt x="182" y="160"/>
                  </a:lnTo>
                  <a:lnTo>
                    <a:pt x="182" y="159"/>
                  </a:lnTo>
                  <a:lnTo>
                    <a:pt x="178" y="157"/>
                  </a:lnTo>
                  <a:lnTo>
                    <a:pt x="177" y="155"/>
                  </a:lnTo>
                  <a:lnTo>
                    <a:pt x="177" y="154"/>
                  </a:lnTo>
                  <a:lnTo>
                    <a:pt x="178" y="152"/>
                  </a:lnTo>
                  <a:lnTo>
                    <a:pt x="182" y="150"/>
                  </a:lnTo>
                  <a:lnTo>
                    <a:pt x="182" y="152"/>
                  </a:lnTo>
                  <a:lnTo>
                    <a:pt x="182" y="155"/>
                  </a:lnTo>
                  <a:lnTo>
                    <a:pt x="185" y="154"/>
                  </a:lnTo>
                  <a:lnTo>
                    <a:pt x="187" y="157"/>
                  </a:lnTo>
                  <a:close/>
                  <a:moveTo>
                    <a:pt x="275" y="140"/>
                  </a:moveTo>
                  <a:lnTo>
                    <a:pt x="275" y="142"/>
                  </a:lnTo>
                  <a:lnTo>
                    <a:pt x="275" y="143"/>
                  </a:lnTo>
                  <a:lnTo>
                    <a:pt x="275" y="147"/>
                  </a:lnTo>
                  <a:lnTo>
                    <a:pt x="274" y="148"/>
                  </a:lnTo>
                  <a:lnTo>
                    <a:pt x="274" y="150"/>
                  </a:lnTo>
                  <a:lnTo>
                    <a:pt x="272" y="152"/>
                  </a:lnTo>
                  <a:lnTo>
                    <a:pt x="270" y="150"/>
                  </a:lnTo>
                  <a:lnTo>
                    <a:pt x="267" y="150"/>
                  </a:lnTo>
                  <a:lnTo>
                    <a:pt x="265" y="152"/>
                  </a:lnTo>
                  <a:lnTo>
                    <a:pt x="263" y="150"/>
                  </a:lnTo>
                  <a:lnTo>
                    <a:pt x="262" y="152"/>
                  </a:lnTo>
                  <a:lnTo>
                    <a:pt x="262" y="150"/>
                  </a:lnTo>
                  <a:lnTo>
                    <a:pt x="262" y="148"/>
                  </a:lnTo>
                  <a:lnTo>
                    <a:pt x="263" y="142"/>
                  </a:lnTo>
                  <a:lnTo>
                    <a:pt x="265" y="140"/>
                  </a:lnTo>
                  <a:lnTo>
                    <a:pt x="267" y="138"/>
                  </a:lnTo>
                  <a:lnTo>
                    <a:pt x="268" y="138"/>
                  </a:lnTo>
                  <a:lnTo>
                    <a:pt x="272" y="138"/>
                  </a:lnTo>
                  <a:lnTo>
                    <a:pt x="274" y="140"/>
                  </a:lnTo>
                  <a:lnTo>
                    <a:pt x="275" y="140"/>
                  </a:lnTo>
                  <a:close/>
                  <a:moveTo>
                    <a:pt x="189" y="79"/>
                  </a:moveTo>
                  <a:lnTo>
                    <a:pt x="190" y="79"/>
                  </a:lnTo>
                  <a:lnTo>
                    <a:pt x="192" y="79"/>
                  </a:lnTo>
                  <a:lnTo>
                    <a:pt x="190" y="80"/>
                  </a:lnTo>
                  <a:lnTo>
                    <a:pt x="190" y="82"/>
                  </a:lnTo>
                  <a:lnTo>
                    <a:pt x="192" y="85"/>
                  </a:lnTo>
                  <a:lnTo>
                    <a:pt x="192" y="87"/>
                  </a:lnTo>
                  <a:lnTo>
                    <a:pt x="190" y="91"/>
                  </a:lnTo>
                  <a:lnTo>
                    <a:pt x="187" y="92"/>
                  </a:lnTo>
                  <a:lnTo>
                    <a:pt x="185" y="91"/>
                  </a:lnTo>
                  <a:lnTo>
                    <a:pt x="182" y="91"/>
                  </a:lnTo>
                  <a:lnTo>
                    <a:pt x="182" y="89"/>
                  </a:lnTo>
                  <a:lnTo>
                    <a:pt x="183" y="87"/>
                  </a:lnTo>
                  <a:lnTo>
                    <a:pt x="183" y="84"/>
                  </a:lnTo>
                  <a:lnTo>
                    <a:pt x="185" y="82"/>
                  </a:lnTo>
                  <a:lnTo>
                    <a:pt x="185" y="80"/>
                  </a:lnTo>
                  <a:lnTo>
                    <a:pt x="189" y="79"/>
                  </a:lnTo>
                  <a:close/>
                  <a:moveTo>
                    <a:pt x="190" y="53"/>
                  </a:moveTo>
                  <a:lnTo>
                    <a:pt x="192" y="57"/>
                  </a:lnTo>
                  <a:lnTo>
                    <a:pt x="194" y="57"/>
                  </a:lnTo>
                  <a:lnTo>
                    <a:pt x="194" y="58"/>
                  </a:lnTo>
                  <a:lnTo>
                    <a:pt x="197" y="58"/>
                  </a:lnTo>
                  <a:lnTo>
                    <a:pt x="197" y="60"/>
                  </a:lnTo>
                  <a:lnTo>
                    <a:pt x="197" y="63"/>
                  </a:lnTo>
                  <a:lnTo>
                    <a:pt x="195" y="65"/>
                  </a:lnTo>
                  <a:lnTo>
                    <a:pt x="194" y="65"/>
                  </a:lnTo>
                  <a:lnTo>
                    <a:pt x="190" y="67"/>
                  </a:lnTo>
                  <a:lnTo>
                    <a:pt x="187" y="65"/>
                  </a:lnTo>
                  <a:lnTo>
                    <a:pt x="187" y="63"/>
                  </a:lnTo>
                  <a:lnTo>
                    <a:pt x="187" y="60"/>
                  </a:lnTo>
                  <a:lnTo>
                    <a:pt x="187" y="58"/>
                  </a:lnTo>
                  <a:lnTo>
                    <a:pt x="187" y="57"/>
                  </a:lnTo>
                  <a:lnTo>
                    <a:pt x="190" y="53"/>
                  </a:lnTo>
                  <a:close/>
                  <a:moveTo>
                    <a:pt x="370" y="1375"/>
                  </a:moveTo>
                  <a:lnTo>
                    <a:pt x="372" y="1377"/>
                  </a:lnTo>
                  <a:lnTo>
                    <a:pt x="372" y="1378"/>
                  </a:lnTo>
                  <a:lnTo>
                    <a:pt x="374" y="1380"/>
                  </a:lnTo>
                  <a:lnTo>
                    <a:pt x="374" y="1382"/>
                  </a:lnTo>
                  <a:lnTo>
                    <a:pt x="372" y="1378"/>
                  </a:lnTo>
                  <a:lnTo>
                    <a:pt x="370" y="1380"/>
                  </a:lnTo>
                  <a:lnTo>
                    <a:pt x="372" y="1382"/>
                  </a:lnTo>
                  <a:lnTo>
                    <a:pt x="376" y="1382"/>
                  </a:lnTo>
                  <a:lnTo>
                    <a:pt x="376" y="1385"/>
                  </a:lnTo>
                  <a:lnTo>
                    <a:pt x="374" y="1387"/>
                  </a:lnTo>
                  <a:lnTo>
                    <a:pt x="374" y="1389"/>
                  </a:lnTo>
                  <a:lnTo>
                    <a:pt x="372" y="1387"/>
                  </a:lnTo>
                  <a:lnTo>
                    <a:pt x="372" y="1385"/>
                  </a:lnTo>
                  <a:lnTo>
                    <a:pt x="370" y="1383"/>
                  </a:lnTo>
                  <a:lnTo>
                    <a:pt x="369" y="1383"/>
                  </a:lnTo>
                  <a:lnTo>
                    <a:pt x="367" y="1383"/>
                  </a:lnTo>
                  <a:lnTo>
                    <a:pt x="364" y="1383"/>
                  </a:lnTo>
                  <a:lnTo>
                    <a:pt x="364" y="1382"/>
                  </a:lnTo>
                  <a:lnTo>
                    <a:pt x="362" y="1380"/>
                  </a:lnTo>
                  <a:lnTo>
                    <a:pt x="362" y="1378"/>
                  </a:lnTo>
                  <a:lnTo>
                    <a:pt x="364" y="1377"/>
                  </a:lnTo>
                  <a:lnTo>
                    <a:pt x="364" y="1378"/>
                  </a:lnTo>
                  <a:lnTo>
                    <a:pt x="365" y="1378"/>
                  </a:lnTo>
                  <a:lnTo>
                    <a:pt x="365" y="1375"/>
                  </a:lnTo>
                  <a:lnTo>
                    <a:pt x="369" y="1373"/>
                  </a:lnTo>
                  <a:lnTo>
                    <a:pt x="370" y="1373"/>
                  </a:lnTo>
                  <a:lnTo>
                    <a:pt x="370" y="1375"/>
                  </a:lnTo>
                  <a:close/>
                  <a:moveTo>
                    <a:pt x="780" y="795"/>
                  </a:moveTo>
                  <a:lnTo>
                    <a:pt x="782" y="795"/>
                  </a:lnTo>
                  <a:lnTo>
                    <a:pt x="784" y="793"/>
                  </a:lnTo>
                  <a:lnTo>
                    <a:pt x="789" y="793"/>
                  </a:lnTo>
                  <a:lnTo>
                    <a:pt x="790" y="793"/>
                  </a:lnTo>
                  <a:lnTo>
                    <a:pt x="792" y="793"/>
                  </a:lnTo>
                  <a:lnTo>
                    <a:pt x="795" y="793"/>
                  </a:lnTo>
                  <a:lnTo>
                    <a:pt x="795" y="797"/>
                  </a:lnTo>
                  <a:lnTo>
                    <a:pt x="797" y="797"/>
                  </a:lnTo>
                  <a:lnTo>
                    <a:pt x="797" y="798"/>
                  </a:lnTo>
                  <a:lnTo>
                    <a:pt x="801" y="800"/>
                  </a:lnTo>
                  <a:lnTo>
                    <a:pt x="797" y="800"/>
                  </a:lnTo>
                  <a:lnTo>
                    <a:pt x="797" y="798"/>
                  </a:lnTo>
                  <a:lnTo>
                    <a:pt x="795" y="798"/>
                  </a:lnTo>
                  <a:lnTo>
                    <a:pt x="794" y="797"/>
                  </a:lnTo>
                  <a:lnTo>
                    <a:pt x="792" y="795"/>
                  </a:lnTo>
                  <a:lnTo>
                    <a:pt x="790" y="795"/>
                  </a:lnTo>
                  <a:lnTo>
                    <a:pt x="787" y="795"/>
                  </a:lnTo>
                  <a:lnTo>
                    <a:pt x="785" y="795"/>
                  </a:lnTo>
                  <a:lnTo>
                    <a:pt x="784" y="797"/>
                  </a:lnTo>
                  <a:lnTo>
                    <a:pt x="780" y="797"/>
                  </a:lnTo>
                  <a:lnTo>
                    <a:pt x="778" y="797"/>
                  </a:lnTo>
                  <a:lnTo>
                    <a:pt x="777" y="795"/>
                  </a:lnTo>
                  <a:lnTo>
                    <a:pt x="777" y="793"/>
                  </a:lnTo>
                  <a:lnTo>
                    <a:pt x="777" y="795"/>
                  </a:lnTo>
                  <a:lnTo>
                    <a:pt x="780" y="795"/>
                  </a:lnTo>
                  <a:close/>
                  <a:moveTo>
                    <a:pt x="221" y="1101"/>
                  </a:moveTo>
                  <a:lnTo>
                    <a:pt x="224" y="1101"/>
                  </a:lnTo>
                  <a:lnTo>
                    <a:pt x="228" y="1101"/>
                  </a:lnTo>
                  <a:lnTo>
                    <a:pt x="229" y="1101"/>
                  </a:lnTo>
                  <a:lnTo>
                    <a:pt x="229" y="1103"/>
                  </a:lnTo>
                  <a:lnTo>
                    <a:pt x="228" y="1104"/>
                  </a:lnTo>
                  <a:lnTo>
                    <a:pt x="226" y="1106"/>
                  </a:lnTo>
                  <a:lnTo>
                    <a:pt x="224" y="1106"/>
                  </a:lnTo>
                  <a:lnTo>
                    <a:pt x="223" y="1104"/>
                  </a:lnTo>
                  <a:lnTo>
                    <a:pt x="221" y="1104"/>
                  </a:lnTo>
                  <a:lnTo>
                    <a:pt x="219" y="1106"/>
                  </a:lnTo>
                  <a:lnTo>
                    <a:pt x="219" y="1103"/>
                  </a:lnTo>
                  <a:lnTo>
                    <a:pt x="221" y="1101"/>
                  </a:lnTo>
                  <a:close/>
                  <a:moveTo>
                    <a:pt x="506" y="1348"/>
                  </a:moveTo>
                  <a:lnTo>
                    <a:pt x="508" y="1348"/>
                  </a:lnTo>
                  <a:lnTo>
                    <a:pt x="510" y="1349"/>
                  </a:lnTo>
                  <a:lnTo>
                    <a:pt x="512" y="1351"/>
                  </a:lnTo>
                  <a:lnTo>
                    <a:pt x="513" y="1354"/>
                  </a:lnTo>
                  <a:lnTo>
                    <a:pt x="513" y="1356"/>
                  </a:lnTo>
                  <a:lnTo>
                    <a:pt x="510" y="1356"/>
                  </a:lnTo>
                  <a:lnTo>
                    <a:pt x="510" y="1353"/>
                  </a:lnTo>
                  <a:lnTo>
                    <a:pt x="508" y="1353"/>
                  </a:lnTo>
                  <a:lnTo>
                    <a:pt x="506" y="1351"/>
                  </a:lnTo>
                  <a:lnTo>
                    <a:pt x="503" y="1351"/>
                  </a:lnTo>
                  <a:lnTo>
                    <a:pt x="501" y="1351"/>
                  </a:lnTo>
                  <a:lnTo>
                    <a:pt x="503" y="1351"/>
                  </a:lnTo>
                  <a:lnTo>
                    <a:pt x="505" y="1349"/>
                  </a:lnTo>
                  <a:lnTo>
                    <a:pt x="506" y="1348"/>
                  </a:lnTo>
                  <a:close/>
                  <a:moveTo>
                    <a:pt x="1399" y="2414"/>
                  </a:moveTo>
                  <a:lnTo>
                    <a:pt x="1399" y="2416"/>
                  </a:lnTo>
                  <a:lnTo>
                    <a:pt x="1397" y="2414"/>
                  </a:lnTo>
                  <a:lnTo>
                    <a:pt x="1397" y="2413"/>
                  </a:lnTo>
                  <a:lnTo>
                    <a:pt x="1395" y="2413"/>
                  </a:lnTo>
                  <a:lnTo>
                    <a:pt x="1394" y="2411"/>
                  </a:lnTo>
                  <a:lnTo>
                    <a:pt x="1392" y="2411"/>
                  </a:lnTo>
                  <a:lnTo>
                    <a:pt x="1392" y="2409"/>
                  </a:lnTo>
                  <a:lnTo>
                    <a:pt x="1392" y="2407"/>
                  </a:lnTo>
                  <a:lnTo>
                    <a:pt x="1390" y="2406"/>
                  </a:lnTo>
                  <a:lnTo>
                    <a:pt x="1389" y="2404"/>
                  </a:lnTo>
                  <a:lnTo>
                    <a:pt x="1390" y="2404"/>
                  </a:lnTo>
                  <a:lnTo>
                    <a:pt x="1390" y="2402"/>
                  </a:lnTo>
                  <a:lnTo>
                    <a:pt x="1389" y="2402"/>
                  </a:lnTo>
                  <a:lnTo>
                    <a:pt x="1392" y="2402"/>
                  </a:lnTo>
                  <a:lnTo>
                    <a:pt x="1392" y="2404"/>
                  </a:lnTo>
                  <a:lnTo>
                    <a:pt x="1394" y="2404"/>
                  </a:lnTo>
                  <a:lnTo>
                    <a:pt x="1394" y="2406"/>
                  </a:lnTo>
                  <a:lnTo>
                    <a:pt x="1395" y="2409"/>
                  </a:lnTo>
                  <a:lnTo>
                    <a:pt x="1397" y="2409"/>
                  </a:lnTo>
                  <a:lnTo>
                    <a:pt x="1397" y="2411"/>
                  </a:lnTo>
                  <a:lnTo>
                    <a:pt x="1399" y="2413"/>
                  </a:lnTo>
                  <a:lnTo>
                    <a:pt x="1399" y="2414"/>
                  </a:lnTo>
                  <a:close/>
                  <a:moveTo>
                    <a:pt x="1441" y="2510"/>
                  </a:moveTo>
                  <a:lnTo>
                    <a:pt x="1443" y="2508"/>
                  </a:lnTo>
                  <a:lnTo>
                    <a:pt x="1445" y="2506"/>
                  </a:lnTo>
                  <a:lnTo>
                    <a:pt x="1445" y="2508"/>
                  </a:lnTo>
                  <a:lnTo>
                    <a:pt x="1445" y="2510"/>
                  </a:lnTo>
                  <a:lnTo>
                    <a:pt x="1445" y="2511"/>
                  </a:lnTo>
                  <a:lnTo>
                    <a:pt x="1443" y="2513"/>
                  </a:lnTo>
                  <a:lnTo>
                    <a:pt x="1443" y="2511"/>
                  </a:lnTo>
                  <a:lnTo>
                    <a:pt x="1443" y="2513"/>
                  </a:lnTo>
                  <a:lnTo>
                    <a:pt x="1441" y="2513"/>
                  </a:lnTo>
                  <a:lnTo>
                    <a:pt x="1438" y="2515"/>
                  </a:lnTo>
                  <a:lnTo>
                    <a:pt x="1440" y="2513"/>
                  </a:lnTo>
                  <a:lnTo>
                    <a:pt x="1440" y="2511"/>
                  </a:lnTo>
                  <a:lnTo>
                    <a:pt x="1440" y="2513"/>
                  </a:lnTo>
                  <a:lnTo>
                    <a:pt x="1438" y="2515"/>
                  </a:lnTo>
                  <a:lnTo>
                    <a:pt x="1436" y="2515"/>
                  </a:lnTo>
                  <a:lnTo>
                    <a:pt x="1436" y="2511"/>
                  </a:lnTo>
                  <a:lnTo>
                    <a:pt x="1438" y="2510"/>
                  </a:lnTo>
                  <a:lnTo>
                    <a:pt x="1440" y="2510"/>
                  </a:lnTo>
                  <a:lnTo>
                    <a:pt x="1441" y="2510"/>
                  </a:lnTo>
                  <a:close/>
                  <a:moveTo>
                    <a:pt x="374" y="1372"/>
                  </a:moveTo>
                  <a:lnTo>
                    <a:pt x="376" y="1370"/>
                  </a:lnTo>
                  <a:lnTo>
                    <a:pt x="377" y="1372"/>
                  </a:lnTo>
                  <a:lnTo>
                    <a:pt x="379" y="1370"/>
                  </a:lnTo>
                  <a:lnTo>
                    <a:pt x="381" y="1370"/>
                  </a:lnTo>
                  <a:lnTo>
                    <a:pt x="382" y="1368"/>
                  </a:lnTo>
                  <a:lnTo>
                    <a:pt x="382" y="1370"/>
                  </a:lnTo>
                  <a:lnTo>
                    <a:pt x="379" y="1372"/>
                  </a:lnTo>
                  <a:lnTo>
                    <a:pt x="379" y="1373"/>
                  </a:lnTo>
                  <a:lnTo>
                    <a:pt x="377" y="1373"/>
                  </a:lnTo>
                  <a:lnTo>
                    <a:pt x="374" y="1373"/>
                  </a:lnTo>
                  <a:lnTo>
                    <a:pt x="374" y="1372"/>
                  </a:lnTo>
                  <a:lnTo>
                    <a:pt x="374" y="1370"/>
                  </a:lnTo>
                  <a:lnTo>
                    <a:pt x="374" y="1372"/>
                  </a:lnTo>
                  <a:close/>
                  <a:moveTo>
                    <a:pt x="721" y="928"/>
                  </a:moveTo>
                  <a:lnTo>
                    <a:pt x="722" y="929"/>
                  </a:lnTo>
                  <a:lnTo>
                    <a:pt x="722" y="931"/>
                  </a:lnTo>
                  <a:lnTo>
                    <a:pt x="722" y="934"/>
                  </a:lnTo>
                  <a:lnTo>
                    <a:pt x="721" y="934"/>
                  </a:lnTo>
                  <a:lnTo>
                    <a:pt x="719" y="933"/>
                  </a:lnTo>
                  <a:lnTo>
                    <a:pt x="719" y="929"/>
                  </a:lnTo>
                  <a:lnTo>
                    <a:pt x="721" y="928"/>
                  </a:lnTo>
                  <a:close/>
                  <a:moveTo>
                    <a:pt x="250" y="1771"/>
                  </a:moveTo>
                  <a:lnTo>
                    <a:pt x="250" y="1770"/>
                  </a:lnTo>
                  <a:lnTo>
                    <a:pt x="250" y="1771"/>
                  </a:lnTo>
                  <a:lnTo>
                    <a:pt x="251" y="1771"/>
                  </a:lnTo>
                  <a:lnTo>
                    <a:pt x="253" y="1773"/>
                  </a:lnTo>
                  <a:lnTo>
                    <a:pt x="255" y="1773"/>
                  </a:lnTo>
                  <a:lnTo>
                    <a:pt x="255" y="1775"/>
                  </a:lnTo>
                  <a:lnTo>
                    <a:pt x="253" y="1776"/>
                  </a:lnTo>
                  <a:lnTo>
                    <a:pt x="250" y="1775"/>
                  </a:lnTo>
                  <a:lnTo>
                    <a:pt x="250" y="1773"/>
                  </a:lnTo>
                  <a:lnTo>
                    <a:pt x="248" y="1771"/>
                  </a:lnTo>
                  <a:lnTo>
                    <a:pt x="250" y="1771"/>
                  </a:lnTo>
                  <a:close/>
                  <a:moveTo>
                    <a:pt x="729" y="928"/>
                  </a:moveTo>
                  <a:lnTo>
                    <a:pt x="731" y="928"/>
                  </a:lnTo>
                  <a:lnTo>
                    <a:pt x="731" y="926"/>
                  </a:lnTo>
                  <a:lnTo>
                    <a:pt x="733" y="929"/>
                  </a:lnTo>
                  <a:lnTo>
                    <a:pt x="733" y="931"/>
                  </a:lnTo>
                  <a:lnTo>
                    <a:pt x="731" y="933"/>
                  </a:lnTo>
                  <a:lnTo>
                    <a:pt x="729" y="931"/>
                  </a:lnTo>
                  <a:lnTo>
                    <a:pt x="729" y="929"/>
                  </a:lnTo>
                  <a:lnTo>
                    <a:pt x="729" y="926"/>
                  </a:lnTo>
                  <a:lnTo>
                    <a:pt x="729" y="924"/>
                  </a:lnTo>
                  <a:lnTo>
                    <a:pt x="729" y="928"/>
                  </a:lnTo>
                  <a:close/>
                  <a:moveTo>
                    <a:pt x="503" y="1339"/>
                  </a:moveTo>
                  <a:lnTo>
                    <a:pt x="503" y="1343"/>
                  </a:lnTo>
                  <a:lnTo>
                    <a:pt x="501" y="1341"/>
                  </a:lnTo>
                  <a:lnTo>
                    <a:pt x="500" y="1339"/>
                  </a:lnTo>
                  <a:lnTo>
                    <a:pt x="500" y="1337"/>
                  </a:lnTo>
                  <a:lnTo>
                    <a:pt x="498" y="1336"/>
                  </a:lnTo>
                  <a:lnTo>
                    <a:pt x="498" y="1334"/>
                  </a:lnTo>
                  <a:lnTo>
                    <a:pt x="500" y="1336"/>
                  </a:lnTo>
                  <a:lnTo>
                    <a:pt x="501" y="1337"/>
                  </a:lnTo>
                  <a:lnTo>
                    <a:pt x="503" y="1339"/>
                  </a:lnTo>
                  <a:close/>
                  <a:moveTo>
                    <a:pt x="197" y="1106"/>
                  </a:moveTo>
                  <a:lnTo>
                    <a:pt x="199" y="1106"/>
                  </a:lnTo>
                  <a:lnTo>
                    <a:pt x="195" y="1108"/>
                  </a:lnTo>
                  <a:lnTo>
                    <a:pt x="197" y="1108"/>
                  </a:lnTo>
                  <a:lnTo>
                    <a:pt x="195" y="1110"/>
                  </a:lnTo>
                  <a:lnTo>
                    <a:pt x="194" y="1111"/>
                  </a:lnTo>
                  <a:lnTo>
                    <a:pt x="194" y="1108"/>
                  </a:lnTo>
                  <a:lnTo>
                    <a:pt x="195" y="1108"/>
                  </a:lnTo>
                  <a:lnTo>
                    <a:pt x="197" y="1106"/>
                  </a:lnTo>
                  <a:close/>
                  <a:moveTo>
                    <a:pt x="0" y="2241"/>
                  </a:moveTo>
                  <a:lnTo>
                    <a:pt x="0" y="2239"/>
                  </a:lnTo>
                  <a:lnTo>
                    <a:pt x="2" y="2237"/>
                  </a:lnTo>
                  <a:lnTo>
                    <a:pt x="3" y="2234"/>
                  </a:lnTo>
                  <a:lnTo>
                    <a:pt x="5" y="2232"/>
                  </a:lnTo>
                  <a:lnTo>
                    <a:pt x="5" y="2231"/>
                  </a:lnTo>
                  <a:lnTo>
                    <a:pt x="7" y="2229"/>
                  </a:lnTo>
                  <a:lnTo>
                    <a:pt x="7" y="2227"/>
                  </a:lnTo>
                  <a:lnTo>
                    <a:pt x="7" y="2229"/>
                  </a:lnTo>
                  <a:lnTo>
                    <a:pt x="5" y="2231"/>
                  </a:lnTo>
                  <a:lnTo>
                    <a:pt x="5" y="2234"/>
                  </a:lnTo>
                  <a:lnTo>
                    <a:pt x="3" y="2234"/>
                  </a:lnTo>
                  <a:lnTo>
                    <a:pt x="3" y="2236"/>
                  </a:lnTo>
                  <a:lnTo>
                    <a:pt x="3" y="2237"/>
                  </a:lnTo>
                  <a:lnTo>
                    <a:pt x="2" y="2237"/>
                  </a:lnTo>
                  <a:lnTo>
                    <a:pt x="2" y="2239"/>
                  </a:lnTo>
                  <a:lnTo>
                    <a:pt x="0" y="2241"/>
                  </a:lnTo>
                  <a:close/>
                  <a:moveTo>
                    <a:pt x="202" y="1804"/>
                  </a:moveTo>
                  <a:lnTo>
                    <a:pt x="202" y="1805"/>
                  </a:lnTo>
                  <a:lnTo>
                    <a:pt x="200" y="1807"/>
                  </a:lnTo>
                  <a:lnTo>
                    <a:pt x="200" y="1804"/>
                  </a:lnTo>
                  <a:lnTo>
                    <a:pt x="199" y="1802"/>
                  </a:lnTo>
                  <a:lnTo>
                    <a:pt x="199" y="1800"/>
                  </a:lnTo>
                  <a:lnTo>
                    <a:pt x="200" y="1802"/>
                  </a:lnTo>
                  <a:lnTo>
                    <a:pt x="202" y="1804"/>
                  </a:lnTo>
                  <a:close/>
                  <a:moveTo>
                    <a:pt x="1407" y="2380"/>
                  </a:moveTo>
                  <a:lnTo>
                    <a:pt x="1407" y="2382"/>
                  </a:lnTo>
                  <a:lnTo>
                    <a:pt x="1409" y="2384"/>
                  </a:lnTo>
                  <a:lnTo>
                    <a:pt x="1411" y="2384"/>
                  </a:lnTo>
                  <a:lnTo>
                    <a:pt x="1412" y="2387"/>
                  </a:lnTo>
                  <a:lnTo>
                    <a:pt x="1414" y="2387"/>
                  </a:lnTo>
                  <a:lnTo>
                    <a:pt x="1412" y="2387"/>
                  </a:lnTo>
                  <a:lnTo>
                    <a:pt x="1411" y="2385"/>
                  </a:lnTo>
                  <a:lnTo>
                    <a:pt x="1411" y="2387"/>
                  </a:lnTo>
                  <a:lnTo>
                    <a:pt x="1409" y="2385"/>
                  </a:lnTo>
                  <a:lnTo>
                    <a:pt x="1409" y="2384"/>
                  </a:lnTo>
                  <a:lnTo>
                    <a:pt x="1407" y="2382"/>
                  </a:lnTo>
                  <a:lnTo>
                    <a:pt x="1406" y="2382"/>
                  </a:lnTo>
                  <a:lnTo>
                    <a:pt x="1406" y="2380"/>
                  </a:lnTo>
                  <a:lnTo>
                    <a:pt x="1407" y="2380"/>
                  </a:lnTo>
                  <a:close/>
                  <a:moveTo>
                    <a:pt x="245" y="1770"/>
                  </a:moveTo>
                  <a:lnTo>
                    <a:pt x="248" y="1771"/>
                  </a:lnTo>
                  <a:lnTo>
                    <a:pt x="248" y="1775"/>
                  </a:lnTo>
                  <a:lnTo>
                    <a:pt x="248" y="1773"/>
                  </a:lnTo>
                  <a:lnTo>
                    <a:pt x="246" y="1773"/>
                  </a:lnTo>
                  <a:lnTo>
                    <a:pt x="246" y="1771"/>
                  </a:lnTo>
                  <a:lnTo>
                    <a:pt x="245" y="1771"/>
                  </a:lnTo>
                  <a:lnTo>
                    <a:pt x="245" y="1770"/>
                  </a:lnTo>
                  <a:close/>
                  <a:moveTo>
                    <a:pt x="245" y="1751"/>
                  </a:moveTo>
                  <a:lnTo>
                    <a:pt x="246" y="1753"/>
                  </a:lnTo>
                  <a:lnTo>
                    <a:pt x="248" y="1754"/>
                  </a:lnTo>
                  <a:lnTo>
                    <a:pt x="246" y="1754"/>
                  </a:lnTo>
                  <a:lnTo>
                    <a:pt x="248" y="1756"/>
                  </a:lnTo>
                  <a:lnTo>
                    <a:pt x="246" y="1754"/>
                  </a:lnTo>
                  <a:lnTo>
                    <a:pt x="246" y="1756"/>
                  </a:lnTo>
                  <a:lnTo>
                    <a:pt x="245" y="1754"/>
                  </a:lnTo>
                  <a:lnTo>
                    <a:pt x="245" y="1753"/>
                  </a:lnTo>
                  <a:lnTo>
                    <a:pt x="245" y="1751"/>
                  </a:lnTo>
                  <a:close/>
                  <a:moveTo>
                    <a:pt x="377" y="1378"/>
                  </a:moveTo>
                  <a:lnTo>
                    <a:pt x="379" y="1382"/>
                  </a:lnTo>
                  <a:lnTo>
                    <a:pt x="377" y="1382"/>
                  </a:lnTo>
                  <a:lnTo>
                    <a:pt x="376" y="1382"/>
                  </a:lnTo>
                  <a:lnTo>
                    <a:pt x="377" y="1378"/>
                  </a:lnTo>
                  <a:close/>
                  <a:moveTo>
                    <a:pt x="292" y="1781"/>
                  </a:moveTo>
                  <a:lnTo>
                    <a:pt x="294" y="1781"/>
                  </a:lnTo>
                  <a:lnTo>
                    <a:pt x="296" y="1781"/>
                  </a:lnTo>
                  <a:lnTo>
                    <a:pt x="297" y="1781"/>
                  </a:lnTo>
                  <a:lnTo>
                    <a:pt x="296" y="1781"/>
                  </a:lnTo>
                  <a:lnTo>
                    <a:pt x="297" y="1783"/>
                  </a:lnTo>
                  <a:lnTo>
                    <a:pt x="297" y="1785"/>
                  </a:lnTo>
                  <a:lnTo>
                    <a:pt x="296" y="1785"/>
                  </a:lnTo>
                  <a:lnTo>
                    <a:pt x="294" y="1783"/>
                  </a:lnTo>
                  <a:lnTo>
                    <a:pt x="294" y="1785"/>
                  </a:lnTo>
                  <a:lnTo>
                    <a:pt x="294" y="1783"/>
                  </a:lnTo>
                  <a:lnTo>
                    <a:pt x="292" y="1781"/>
                  </a:lnTo>
                  <a:close/>
                  <a:moveTo>
                    <a:pt x="243" y="1764"/>
                  </a:moveTo>
                  <a:lnTo>
                    <a:pt x="245" y="1766"/>
                  </a:lnTo>
                  <a:lnTo>
                    <a:pt x="246" y="1768"/>
                  </a:lnTo>
                  <a:lnTo>
                    <a:pt x="248" y="1770"/>
                  </a:lnTo>
                  <a:lnTo>
                    <a:pt x="246" y="1770"/>
                  </a:lnTo>
                  <a:lnTo>
                    <a:pt x="248" y="1771"/>
                  </a:lnTo>
                  <a:lnTo>
                    <a:pt x="246" y="1770"/>
                  </a:lnTo>
                  <a:lnTo>
                    <a:pt x="246" y="1768"/>
                  </a:lnTo>
                  <a:lnTo>
                    <a:pt x="245" y="1766"/>
                  </a:lnTo>
                  <a:lnTo>
                    <a:pt x="243" y="1764"/>
                  </a:lnTo>
                  <a:close/>
                  <a:moveTo>
                    <a:pt x="246" y="1758"/>
                  </a:moveTo>
                  <a:lnTo>
                    <a:pt x="248" y="1759"/>
                  </a:lnTo>
                  <a:lnTo>
                    <a:pt x="251" y="1761"/>
                  </a:lnTo>
                  <a:lnTo>
                    <a:pt x="250" y="1761"/>
                  </a:lnTo>
                  <a:lnTo>
                    <a:pt x="248" y="1761"/>
                  </a:lnTo>
                  <a:lnTo>
                    <a:pt x="246" y="1758"/>
                  </a:lnTo>
                  <a:close/>
                  <a:moveTo>
                    <a:pt x="501" y="1348"/>
                  </a:moveTo>
                  <a:lnTo>
                    <a:pt x="503" y="1348"/>
                  </a:lnTo>
                  <a:lnTo>
                    <a:pt x="501" y="1349"/>
                  </a:lnTo>
                  <a:lnTo>
                    <a:pt x="503" y="1348"/>
                  </a:lnTo>
                  <a:lnTo>
                    <a:pt x="505" y="1349"/>
                  </a:lnTo>
                  <a:lnTo>
                    <a:pt x="501" y="1349"/>
                  </a:lnTo>
                  <a:lnTo>
                    <a:pt x="500" y="1351"/>
                  </a:lnTo>
                  <a:lnTo>
                    <a:pt x="501" y="1349"/>
                  </a:lnTo>
                  <a:lnTo>
                    <a:pt x="501" y="1348"/>
                  </a:lnTo>
                  <a:close/>
                  <a:moveTo>
                    <a:pt x="229" y="1798"/>
                  </a:moveTo>
                  <a:lnTo>
                    <a:pt x="233" y="1800"/>
                  </a:lnTo>
                  <a:lnTo>
                    <a:pt x="229" y="1802"/>
                  </a:lnTo>
                  <a:lnTo>
                    <a:pt x="229" y="1800"/>
                  </a:lnTo>
                  <a:lnTo>
                    <a:pt x="229" y="1798"/>
                  </a:lnTo>
                  <a:close/>
                  <a:moveTo>
                    <a:pt x="500" y="1353"/>
                  </a:moveTo>
                  <a:lnTo>
                    <a:pt x="498" y="1354"/>
                  </a:lnTo>
                  <a:lnTo>
                    <a:pt x="498" y="1353"/>
                  </a:lnTo>
                  <a:lnTo>
                    <a:pt x="498" y="1354"/>
                  </a:lnTo>
                  <a:lnTo>
                    <a:pt x="498" y="1353"/>
                  </a:lnTo>
                  <a:lnTo>
                    <a:pt x="500" y="1353"/>
                  </a:lnTo>
                  <a:close/>
                  <a:moveTo>
                    <a:pt x="1409" y="2377"/>
                  </a:moveTo>
                  <a:lnTo>
                    <a:pt x="1411" y="2380"/>
                  </a:lnTo>
                  <a:lnTo>
                    <a:pt x="1411" y="2382"/>
                  </a:lnTo>
                  <a:lnTo>
                    <a:pt x="1409" y="2380"/>
                  </a:lnTo>
                  <a:lnTo>
                    <a:pt x="1407" y="2379"/>
                  </a:lnTo>
                  <a:lnTo>
                    <a:pt x="1409" y="2377"/>
                  </a:lnTo>
                  <a:close/>
                  <a:moveTo>
                    <a:pt x="238" y="1104"/>
                  </a:moveTo>
                  <a:lnTo>
                    <a:pt x="240" y="1104"/>
                  </a:lnTo>
                  <a:lnTo>
                    <a:pt x="241" y="1104"/>
                  </a:lnTo>
                  <a:lnTo>
                    <a:pt x="240" y="1106"/>
                  </a:lnTo>
                  <a:lnTo>
                    <a:pt x="238" y="1104"/>
                  </a:lnTo>
                  <a:close/>
                  <a:moveTo>
                    <a:pt x="258" y="1935"/>
                  </a:moveTo>
                  <a:lnTo>
                    <a:pt x="258" y="1938"/>
                  </a:lnTo>
                  <a:lnTo>
                    <a:pt x="257" y="1936"/>
                  </a:lnTo>
                  <a:lnTo>
                    <a:pt x="258" y="1935"/>
                  </a:lnTo>
                  <a:close/>
                  <a:moveTo>
                    <a:pt x="212" y="1817"/>
                  </a:moveTo>
                  <a:lnTo>
                    <a:pt x="211" y="1817"/>
                  </a:lnTo>
                  <a:lnTo>
                    <a:pt x="211" y="1815"/>
                  </a:lnTo>
                  <a:lnTo>
                    <a:pt x="212" y="1815"/>
                  </a:lnTo>
                  <a:lnTo>
                    <a:pt x="212" y="1817"/>
                  </a:lnTo>
                  <a:close/>
                  <a:moveTo>
                    <a:pt x="498" y="1356"/>
                  </a:moveTo>
                  <a:lnTo>
                    <a:pt x="496" y="1358"/>
                  </a:lnTo>
                  <a:lnTo>
                    <a:pt x="496" y="1360"/>
                  </a:lnTo>
                  <a:lnTo>
                    <a:pt x="496" y="1358"/>
                  </a:lnTo>
                  <a:lnTo>
                    <a:pt x="498" y="1356"/>
                  </a:lnTo>
                  <a:close/>
                  <a:moveTo>
                    <a:pt x="246" y="1742"/>
                  </a:moveTo>
                  <a:lnTo>
                    <a:pt x="248" y="1742"/>
                  </a:lnTo>
                  <a:lnTo>
                    <a:pt x="248" y="1744"/>
                  </a:lnTo>
                  <a:lnTo>
                    <a:pt x="246" y="1744"/>
                  </a:lnTo>
                  <a:lnTo>
                    <a:pt x="246" y="1742"/>
                  </a:lnTo>
                  <a:close/>
                  <a:moveTo>
                    <a:pt x="243" y="1751"/>
                  </a:moveTo>
                  <a:lnTo>
                    <a:pt x="245" y="1753"/>
                  </a:lnTo>
                  <a:lnTo>
                    <a:pt x="243" y="1753"/>
                  </a:lnTo>
                  <a:lnTo>
                    <a:pt x="243" y="1751"/>
                  </a:lnTo>
                  <a:close/>
                  <a:moveTo>
                    <a:pt x="248" y="1793"/>
                  </a:moveTo>
                  <a:lnTo>
                    <a:pt x="250" y="1793"/>
                  </a:lnTo>
                  <a:lnTo>
                    <a:pt x="250" y="1795"/>
                  </a:lnTo>
                  <a:lnTo>
                    <a:pt x="248" y="1795"/>
                  </a:lnTo>
                  <a:lnTo>
                    <a:pt x="248" y="1793"/>
                  </a:lnTo>
                  <a:close/>
                  <a:moveTo>
                    <a:pt x="500" y="1354"/>
                  </a:moveTo>
                  <a:lnTo>
                    <a:pt x="501" y="1356"/>
                  </a:lnTo>
                  <a:lnTo>
                    <a:pt x="500" y="1356"/>
                  </a:lnTo>
                  <a:lnTo>
                    <a:pt x="500" y="1354"/>
                  </a:lnTo>
                  <a:close/>
                  <a:moveTo>
                    <a:pt x="209" y="1118"/>
                  </a:moveTo>
                  <a:lnTo>
                    <a:pt x="211" y="1118"/>
                  </a:lnTo>
                  <a:lnTo>
                    <a:pt x="209" y="1120"/>
                  </a:lnTo>
                  <a:lnTo>
                    <a:pt x="209" y="1118"/>
                  </a:lnTo>
                  <a:close/>
                  <a:moveTo>
                    <a:pt x="498" y="1356"/>
                  </a:moveTo>
                  <a:lnTo>
                    <a:pt x="500" y="1356"/>
                  </a:lnTo>
                  <a:lnTo>
                    <a:pt x="500" y="1358"/>
                  </a:lnTo>
                  <a:lnTo>
                    <a:pt x="498" y="1356"/>
                  </a:lnTo>
                  <a:close/>
                  <a:moveTo>
                    <a:pt x="246" y="1756"/>
                  </a:moveTo>
                  <a:lnTo>
                    <a:pt x="248" y="1758"/>
                  </a:lnTo>
                  <a:lnTo>
                    <a:pt x="246" y="1758"/>
                  </a:lnTo>
                  <a:lnTo>
                    <a:pt x="246" y="1756"/>
                  </a:lnTo>
                  <a:close/>
                  <a:moveTo>
                    <a:pt x="503" y="1360"/>
                  </a:moveTo>
                  <a:lnTo>
                    <a:pt x="505" y="1360"/>
                  </a:lnTo>
                  <a:lnTo>
                    <a:pt x="501" y="1360"/>
                  </a:lnTo>
                  <a:lnTo>
                    <a:pt x="503" y="1360"/>
                  </a:lnTo>
                  <a:close/>
                  <a:moveTo>
                    <a:pt x="236" y="1797"/>
                  </a:moveTo>
                  <a:lnTo>
                    <a:pt x="238" y="1797"/>
                  </a:lnTo>
                  <a:lnTo>
                    <a:pt x="236" y="1798"/>
                  </a:lnTo>
                  <a:lnTo>
                    <a:pt x="236" y="1797"/>
                  </a:lnTo>
                  <a:close/>
                  <a:moveTo>
                    <a:pt x="241" y="1754"/>
                  </a:moveTo>
                  <a:lnTo>
                    <a:pt x="241" y="1756"/>
                  </a:lnTo>
                  <a:lnTo>
                    <a:pt x="241" y="1754"/>
                  </a:lnTo>
                  <a:close/>
                  <a:moveTo>
                    <a:pt x="313" y="1787"/>
                  </a:moveTo>
                  <a:lnTo>
                    <a:pt x="314" y="1785"/>
                  </a:lnTo>
                  <a:lnTo>
                    <a:pt x="313" y="1787"/>
                  </a:lnTo>
                  <a:close/>
                  <a:moveTo>
                    <a:pt x="250" y="1761"/>
                  </a:moveTo>
                  <a:lnTo>
                    <a:pt x="251" y="1761"/>
                  </a:lnTo>
                  <a:lnTo>
                    <a:pt x="251" y="1763"/>
                  </a:lnTo>
                  <a:lnTo>
                    <a:pt x="250" y="1761"/>
                  </a:lnTo>
                  <a:close/>
                  <a:moveTo>
                    <a:pt x="182" y="1106"/>
                  </a:moveTo>
                  <a:lnTo>
                    <a:pt x="183" y="1106"/>
                  </a:lnTo>
                  <a:lnTo>
                    <a:pt x="183" y="1108"/>
                  </a:lnTo>
                  <a:lnTo>
                    <a:pt x="182" y="1106"/>
                  </a:lnTo>
                  <a:close/>
                  <a:moveTo>
                    <a:pt x="496" y="1361"/>
                  </a:moveTo>
                  <a:lnTo>
                    <a:pt x="498" y="1363"/>
                  </a:lnTo>
                  <a:lnTo>
                    <a:pt x="496" y="1363"/>
                  </a:lnTo>
                  <a:lnTo>
                    <a:pt x="496" y="1361"/>
                  </a:lnTo>
                  <a:close/>
                  <a:moveTo>
                    <a:pt x="245" y="1756"/>
                  </a:moveTo>
                  <a:lnTo>
                    <a:pt x="246" y="1756"/>
                  </a:lnTo>
                  <a:lnTo>
                    <a:pt x="246" y="1758"/>
                  </a:lnTo>
                  <a:lnTo>
                    <a:pt x="245" y="1756"/>
                  </a:lnTo>
                  <a:close/>
                  <a:moveTo>
                    <a:pt x="299" y="1780"/>
                  </a:moveTo>
                  <a:lnTo>
                    <a:pt x="297" y="1781"/>
                  </a:lnTo>
                  <a:lnTo>
                    <a:pt x="297" y="1780"/>
                  </a:lnTo>
                  <a:lnTo>
                    <a:pt x="299" y="1780"/>
                  </a:lnTo>
                  <a:close/>
                  <a:moveTo>
                    <a:pt x="258" y="1938"/>
                  </a:moveTo>
                  <a:lnTo>
                    <a:pt x="258" y="1940"/>
                  </a:lnTo>
                  <a:lnTo>
                    <a:pt x="258" y="193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09" name="Freeform 39">
              <a:extLst>
                <a:ext uri="{FF2B5EF4-FFF2-40B4-BE49-F238E27FC236}">
                  <a16:creationId xmlns:a16="http://schemas.microsoft.com/office/drawing/2014/main" id="{E2385FE7-2F84-44D5-A8BA-B9CC007A7DD7}"/>
                </a:ext>
              </a:extLst>
            </p:cNvPr>
            <p:cNvSpPr>
              <a:spLocks noEditPoints="1"/>
            </p:cNvSpPr>
            <p:nvPr/>
          </p:nvSpPr>
          <p:spPr bwMode="gray">
            <a:xfrm>
              <a:off x="9190115" y="-101457"/>
              <a:ext cx="1223611" cy="2257608"/>
            </a:xfrm>
            <a:custGeom>
              <a:avLst/>
              <a:gdLst>
                <a:gd name="T0" fmla="*/ 264 w 413"/>
                <a:gd name="T1" fmla="*/ 192 h 762"/>
                <a:gd name="T2" fmla="*/ 310 w 413"/>
                <a:gd name="T3" fmla="*/ 330 h 762"/>
                <a:gd name="T4" fmla="*/ 361 w 413"/>
                <a:gd name="T5" fmla="*/ 439 h 762"/>
                <a:gd name="T6" fmla="*/ 391 w 413"/>
                <a:gd name="T7" fmla="*/ 548 h 762"/>
                <a:gd name="T8" fmla="*/ 333 w 413"/>
                <a:gd name="T9" fmla="*/ 668 h 762"/>
                <a:gd name="T10" fmla="*/ 296 w 413"/>
                <a:gd name="T11" fmla="*/ 685 h 762"/>
                <a:gd name="T12" fmla="*/ 279 w 413"/>
                <a:gd name="T13" fmla="*/ 699 h 762"/>
                <a:gd name="T14" fmla="*/ 252 w 413"/>
                <a:gd name="T15" fmla="*/ 709 h 762"/>
                <a:gd name="T16" fmla="*/ 230 w 413"/>
                <a:gd name="T17" fmla="*/ 728 h 762"/>
                <a:gd name="T18" fmla="*/ 197 w 413"/>
                <a:gd name="T19" fmla="*/ 738 h 762"/>
                <a:gd name="T20" fmla="*/ 187 w 413"/>
                <a:gd name="T21" fmla="*/ 736 h 762"/>
                <a:gd name="T22" fmla="*/ 177 w 413"/>
                <a:gd name="T23" fmla="*/ 731 h 762"/>
                <a:gd name="T24" fmla="*/ 138 w 413"/>
                <a:gd name="T25" fmla="*/ 713 h 762"/>
                <a:gd name="T26" fmla="*/ 112 w 413"/>
                <a:gd name="T27" fmla="*/ 689 h 762"/>
                <a:gd name="T28" fmla="*/ 112 w 413"/>
                <a:gd name="T29" fmla="*/ 662 h 762"/>
                <a:gd name="T30" fmla="*/ 106 w 413"/>
                <a:gd name="T31" fmla="*/ 626 h 762"/>
                <a:gd name="T32" fmla="*/ 94 w 413"/>
                <a:gd name="T33" fmla="*/ 585 h 762"/>
                <a:gd name="T34" fmla="*/ 92 w 413"/>
                <a:gd name="T35" fmla="*/ 537 h 762"/>
                <a:gd name="T36" fmla="*/ 106 w 413"/>
                <a:gd name="T37" fmla="*/ 524 h 762"/>
                <a:gd name="T38" fmla="*/ 121 w 413"/>
                <a:gd name="T39" fmla="*/ 483 h 762"/>
                <a:gd name="T40" fmla="*/ 135 w 413"/>
                <a:gd name="T41" fmla="*/ 471 h 762"/>
                <a:gd name="T42" fmla="*/ 163 w 413"/>
                <a:gd name="T43" fmla="*/ 410 h 762"/>
                <a:gd name="T44" fmla="*/ 180 w 413"/>
                <a:gd name="T45" fmla="*/ 359 h 762"/>
                <a:gd name="T46" fmla="*/ 141 w 413"/>
                <a:gd name="T47" fmla="*/ 327 h 762"/>
                <a:gd name="T48" fmla="*/ 101 w 413"/>
                <a:gd name="T49" fmla="*/ 214 h 762"/>
                <a:gd name="T50" fmla="*/ 21 w 413"/>
                <a:gd name="T51" fmla="*/ 128 h 762"/>
                <a:gd name="T52" fmla="*/ 87 w 413"/>
                <a:gd name="T53" fmla="*/ 122 h 762"/>
                <a:gd name="T54" fmla="*/ 129 w 413"/>
                <a:gd name="T55" fmla="*/ 41 h 762"/>
                <a:gd name="T56" fmla="*/ 211 w 413"/>
                <a:gd name="T57" fmla="*/ 61 h 762"/>
                <a:gd name="T58" fmla="*/ 82 w 413"/>
                <a:gd name="T59" fmla="*/ 750 h 762"/>
                <a:gd name="T60" fmla="*/ 68 w 413"/>
                <a:gd name="T61" fmla="*/ 738 h 762"/>
                <a:gd name="T62" fmla="*/ 160 w 413"/>
                <a:gd name="T63" fmla="*/ 738 h 762"/>
                <a:gd name="T64" fmla="*/ 89 w 413"/>
                <a:gd name="T65" fmla="*/ 520 h 762"/>
                <a:gd name="T66" fmla="*/ 163 w 413"/>
                <a:gd name="T67" fmla="*/ 376 h 762"/>
                <a:gd name="T68" fmla="*/ 116 w 413"/>
                <a:gd name="T69" fmla="*/ 709 h 762"/>
                <a:gd name="T70" fmla="*/ 61 w 413"/>
                <a:gd name="T71" fmla="*/ 747 h 762"/>
                <a:gd name="T72" fmla="*/ 133 w 413"/>
                <a:gd name="T73" fmla="*/ 740 h 762"/>
                <a:gd name="T74" fmla="*/ 153 w 413"/>
                <a:gd name="T75" fmla="*/ 728 h 762"/>
                <a:gd name="T76" fmla="*/ 84 w 413"/>
                <a:gd name="T77" fmla="*/ 748 h 762"/>
                <a:gd name="T78" fmla="*/ 112 w 413"/>
                <a:gd name="T79" fmla="*/ 711 h 762"/>
                <a:gd name="T80" fmla="*/ 140 w 413"/>
                <a:gd name="T81" fmla="*/ 327 h 762"/>
                <a:gd name="T82" fmla="*/ 87 w 413"/>
                <a:gd name="T83" fmla="*/ 757 h 762"/>
                <a:gd name="T84" fmla="*/ 121 w 413"/>
                <a:gd name="T85" fmla="*/ 478 h 762"/>
                <a:gd name="T86" fmla="*/ 85 w 413"/>
                <a:gd name="T87" fmla="*/ 548 h 762"/>
                <a:gd name="T88" fmla="*/ 141 w 413"/>
                <a:gd name="T89" fmla="*/ 723 h 762"/>
                <a:gd name="T90" fmla="*/ 165 w 413"/>
                <a:gd name="T91" fmla="*/ 747 h 762"/>
                <a:gd name="T92" fmla="*/ 116 w 413"/>
                <a:gd name="T93" fmla="*/ 697 h 762"/>
                <a:gd name="T94" fmla="*/ 92 w 413"/>
                <a:gd name="T95" fmla="*/ 583 h 762"/>
                <a:gd name="T96" fmla="*/ 121 w 413"/>
                <a:gd name="T97" fmla="*/ 725 h 762"/>
                <a:gd name="T98" fmla="*/ 126 w 413"/>
                <a:gd name="T99" fmla="*/ 730 h 762"/>
                <a:gd name="T100" fmla="*/ 119 w 413"/>
                <a:gd name="T101" fmla="*/ 719 h 762"/>
                <a:gd name="T102" fmla="*/ 109 w 413"/>
                <a:gd name="T103" fmla="*/ 726 h 762"/>
                <a:gd name="T104" fmla="*/ 248 w 413"/>
                <a:gd name="T105" fmla="*/ 718 h 762"/>
                <a:gd name="T106" fmla="*/ 107 w 413"/>
                <a:gd name="T107" fmla="*/ 696 h 762"/>
                <a:gd name="T108" fmla="*/ 124 w 413"/>
                <a:gd name="T109" fmla="*/ 713 h 762"/>
                <a:gd name="T110" fmla="*/ 129 w 413"/>
                <a:gd name="T111" fmla="*/ 709 h 762"/>
                <a:gd name="T112" fmla="*/ 63 w 413"/>
                <a:gd name="T113" fmla="*/ 733 h 762"/>
                <a:gd name="T114" fmla="*/ 124 w 413"/>
                <a:gd name="T115" fmla="*/ 740 h 762"/>
                <a:gd name="T116" fmla="*/ 150 w 413"/>
                <a:gd name="T117" fmla="*/ 719 h 762"/>
                <a:gd name="T118" fmla="*/ 138 w 413"/>
                <a:gd name="T119" fmla="*/ 754 h 762"/>
                <a:gd name="T120" fmla="*/ 327 w 413"/>
                <a:gd name="T121" fmla="*/ 680 h 762"/>
                <a:gd name="T122" fmla="*/ 169 w 413"/>
                <a:gd name="T123" fmla="*/ 750 h 762"/>
                <a:gd name="T124" fmla="*/ 107 w 413"/>
                <a:gd name="T125" fmla="*/ 736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3" h="762">
                  <a:moveTo>
                    <a:pt x="216" y="68"/>
                  </a:moveTo>
                  <a:lnTo>
                    <a:pt x="211" y="73"/>
                  </a:lnTo>
                  <a:lnTo>
                    <a:pt x="208" y="80"/>
                  </a:lnTo>
                  <a:lnTo>
                    <a:pt x="204" y="82"/>
                  </a:lnTo>
                  <a:lnTo>
                    <a:pt x="208" y="83"/>
                  </a:lnTo>
                  <a:lnTo>
                    <a:pt x="209" y="83"/>
                  </a:lnTo>
                  <a:lnTo>
                    <a:pt x="211" y="82"/>
                  </a:lnTo>
                  <a:lnTo>
                    <a:pt x="213" y="82"/>
                  </a:lnTo>
                  <a:lnTo>
                    <a:pt x="216" y="82"/>
                  </a:lnTo>
                  <a:lnTo>
                    <a:pt x="216" y="83"/>
                  </a:lnTo>
                  <a:lnTo>
                    <a:pt x="216" y="85"/>
                  </a:lnTo>
                  <a:lnTo>
                    <a:pt x="216" y="87"/>
                  </a:lnTo>
                  <a:lnTo>
                    <a:pt x="216" y="90"/>
                  </a:lnTo>
                  <a:lnTo>
                    <a:pt x="216" y="92"/>
                  </a:lnTo>
                  <a:lnTo>
                    <a:pt x="216" y="93"/>
                  </a:lnTo>
                  <a:lnTo>
                    <a:pt x="214" y="97"/>
                  </a:lnTo>
                  <a:lnTo>
                    <a:pt x="214" y="100"/>
                  </a:lnTo>
                  <a:lnTo>
                    <a:pt x="213" y="102"/>
                  </a:lnTo>
                  <a:lnTo>
                    <a:pt x="213" y="105"/>
                  </a:lnTo>
                  <a:lnTo>
                    <a:pt x="213" y="107"/>
                  </a:lnTo>
                  <a:lnTo>
                    <a:pt x="213" y="110"/>
                  </a:lnTo>
                  <a:lnTo>
                    <a:pt x="214" y="112"/>
                  </a:lnTo>
                  <a:lnTo>
                    <a:pt x="216" y="114"/>
                  </a:lnTo>
                  <a:lnTo>
                    <a:pt x="216" y="116"/>
                  </a:lnTo>
                  <a:lnTo>
                    <a:pt x="218" y="117"/>
                  </a:lnTo>
                  <a:lnTo>
                    <a:pt x="220" y="121"/>
                  </a:lnTo>
                  <a:lnTo>
                    <a:pt x="220" y="122"/>
                  </a:lnTo>
                  <a:lnTo>
                    <a:pt x="221" y="124"/>
                  </a:lnTo>
                  <a:lnTo>
                    <a:pt x="221" y="126"/>
                  </a:lnTo>
                  <a:lnTo>
                    <a:pt x="223" y="129"/>
                  </a:lnTo>
                  <a:lnTo>
                    <a:pt x="225" y="131"/>
                  </a:lnTo>
                  <a:lnTo>
                    <a:pt x="226" y="131"/>
                  </a:lnTo>
                  <a:lnTo>
                    <a:pt x="230" y="131"/>
                  </a:lnTo>
                  <a:lnTo>
                    <a:pt x="235" y="133"/>
                  </a:lnTo>
                  <a:lnTo>
                    <a:pt x="237" y="133"/>
                  </a:lnTo>
                  <a:lnTo>
                    <a:pt x="242" y="134"/>
                  </a:lnTo>
                  <a:lnTo>
                    <a:pt x="245" y="134"/>
                  </a:lnTo>
                  <a:lnTo>
                    <a:pt x="245" y="136"/>
                  </a:lnTo>
                  <a:lnTo>
                    <a:pt x="247" y="138"/>
                  </a:lnTo>
                  <a:lnTo>
                    <a:pt x="248" y="139"/>
                  </a:lnTo>
                  <a:lnTo>
                    <a:pt x="250" y="141"/>
                  </a:lnTo>
                  <a:lnTo>
                    <a:pt x="255" y="148"/>
                  </a:lnTo>
                  <a:lnTo>
                    <a:pt x="257" y="148"/>
                  </a:lnTo>
                  <a:lnTo>
                    <a:pt x="259" y="151"/>
                  </a:lnTo>
                  <a:lnTo>
                    <a:pt x="262" y="153"/>
                  </a:lnTo>
                  <a:lnTo>
                    <a:pt x="264" y="155"/>
                  </a:lnTo>
                  <a:lnTo>
                    <a:pt x="267" y="155"/>
                  </a:lnTo>
                  <a:lnTo>
                    <a:pt x="269" y="156"/>
                  </a:lnTo>
                  <a:lnTo>
                    <a:pt x="271" y="158"/>
                  </a:lnTo>
                  <a:lnTo>
                    <a:pt x="271" y="160"/>
                  </a:lnTo>
                  <a:lnTo>
                    <a:pt x="271" y="163"/>
                  </a:lnTo>
                  <a:lnTo>
                    <a:pt x="271" y="165"/>
                  </a:lnTo>
                  <a:lnTo>
                    <a:pt x="271" y="168"/>
                  </a:lnTo>
                  <a:lnTo>
                    <a:pt x="271" y="170"/>
                  </a:lnTo>
                  <a:lnTo>
                    <a:pt x="269" y="172"/>
                  </a:lnTo>
                  <a:lnTo>
                    <a:pt x="269" y="173"/>
                  </a:lnTo>
                  <a:lnTo>
                    <a:pt x="269" y="177"/>
                  </a:lnTo>
                  <a:lnTo>
                    <a:pt x="267" y="179"/>
                  </a:lnTo>
                  <a:lnTo>
                    <a:pt x="267" y="182"/>
                  </a:lnTo>
                  <a:lnTo>
                    <a:pt x="265" y="184"/>
                  </a:lnTo>
                  <a:lnTo>
                    <a:pt x="267" y="184"/>
                  </a:lnTo>
                  <a:lnTo>
                    <a:pt x="265" y="185"/>
                  </a:lnTo>
                  <a:lnTo>
                    <a:pt x="264" y="187"/>
                  </a:lnTo>
                  <a:lnTo>
                    <a:pt x="265" y="189"/>
                  </a:lnTo>
                  <a:lnTo>
                    <a:pt x="264" y="192"/>
                  </a:lnTo>
                  <a:lnTo>
                    <a:pt x="264" y="194"/>
                  </a:lnTo>
                  <a:lnTo>
                    <a:pt x="262" y="196"/>
                  </a:lnTo>
                  <a:lnTo>
                    <a:pt x="262" y="197"/>
                  </a:lnTo>
                  <a:lnTo>
                    <a:pt x="262" y="201"/>
                  </a:lnTo>
                  <a:lnTo>
                    <a:pt x="260" y="201"/>
                  </a:lnTo>
                  <a:lnTo>
                    <a:pt x="260" y="204"/>
                  </a:lnTo>
                  <a:lnTo>
                    <a:pt x="259" y="207"/>
                  </a:lnTo>
                  <a:lnTo>
                    <a:pt x="259" y="211"/>
                  </a:lnTo>
                  <a:lnTo>
                    <a:pt x="259" y="213"/>
                  </a:lnTo>
                  <a:lnTo>
                    <a:pt x="259" y="214"/>
                  </a:lnTo>
                  <a:lnTo>
                    <a:pt x="259" y="218"/>
                  </a:lnTo>
                  <a:lnTo>
                    <a:pt x="260" y="221"/>
                  </a:lnTo>
                  <a:lnTo>
                    <a:pt x="262" y="224"/>
                  </a:lnTo>
                  <a:lnTo>
                    <a:pt x="264" y="224"/>
                  </a:lnTo>
                  <a:lnTo>
                    <a:pt x="264" y="226"/>
                  </a:lnTo>
                  <a:lnTo>
                    <a:pt x="267" y="228"/>
                  </a:lnTo>
                  <a:lnTo>
                    <a:pt x="271" y="233"/>
                  </a:lnTo>
                  <a:lnTo>
                    <a:pt x="272" y="235"/>
                  </a:lnTo>
                  <a:lnTo>
                    <a:pt x="274" y="236"/>
                  </a:lnTo>
                  <a:lnTo>
                    <a:pt x="276" y="238"/>
                  </a:lnTo>
                  <a:lnTo>
                    <a:pt x="277" y="240"/>
                  </a:lnTo>
                  <a:lnTo>
                    <a:pt x="279" y="241"/>
                  </a:lnTo>
                  <a:lnTo>
                    <a:pt x="281" y="245"/>
                  </a:lnTo>
                  <a:lnTo>
                    <a:pt x="282" y="247"/>
                  </a:lnTo>
                  <a:lnTo>
                    <a:pt x="286" y="252"/>
                  </a:lnTo>
                  <a:lnTo>
                    <a:pt x="288" y="255"/>
                  </a:lnTo>
                  <a:lnTo>
                    <a:pt x="289" y="257"/>
                  </a:lnTo>
                  <a:lnTo>
                    <a:pt x="289" y="258"/>
                  </a:lnTo>
                  <a:lnTo>
                    <a:pt x="291" y="258"/>
                  </a:lnTo>
                  <a:lnTo>
                    <a:pt x="294" y="262"/>
                  </a:lnTo>
                  <a:lnTo>
                    <a:pt x="296" y="264"/>
                  </a:lnTo>
                  <a:lnTo>
                    <a:pt x="298" y="265"/>
                  </a:lnTo>
                  <a:lnTo>
                    <a:pt x="301" y="270"/>
                  </a:lnTo>
                  <a:lnTo>
                    <a:pt x="303" y="272"/>
                  </a:lnTo>
                  <a:lnTo>
                    <a:pt x="303" y="276"/>
                  </a:lnTo>
                  <a:lnTo>
                    <a:pt x="305" y="276"/>
                  </a:lnTo>
                  <a:lnTo>
                    <a:pt x="305" y="277"/>
                  </a:lnTo>
                  <a:lnTo>
                    <a:pt x="306" y="279"/>
                  </a:lnTo>
                  <a:lnTo>
                    <a:pt x="306" y="281"/>
                  </a:lnTo>
                  <a:lnTo>
                    <a:pt x="308" y="281"/>
                  </a:lnTo>
                  <a:lnTo>
                    <a:pt x="308" y="282"/>
                  </a:lnTo>
                  <a:lnTo>
                    <a:pt x="308" y="284"/>
                  </a:lnTo>
                  <a:lnTo>
                    <a:pt x="310" y="287"/>
                  </a:lnTo>
                  <a:lnTo>
                    <a:pt x="311" y="291"/>
                  </a:lnTo>
                  <a:lnTo>
                    <a:pt x="313" y="294"/>
                  </a:lnTo>
                  <a:lnTo>
                    <a:pt x="313" y="296"/>
                  </a:lnTo>
                  <a:lnTo>
                    <a:pt x="311" y="296"/>
                  </a:lnTo>
                  <a:lnTo>
                    <a:pt x="310" y="296"/>
                  </a:lnTo>
                  <a:lnTo>
                    <a:pt x="310" y="294"/>
                  </a:lnTo>
                  <a:lnTo>
                    <a:pt x="310" y="296"/>
                  </a:lnTo>
                  <a:lnTo>
                    <a:pt x="306" y="298"/>
                  </a:lnTo>
                  <a:lnTo>
                    <a:pt x="306" y="299"/>
                  </a:lnTo>
                  <a:lnTo>
                    <a:pt x="303" y="301"/>
                  </a:lnTo>
                  <a:lnTo>
                    <a:pt x="305" y="303"/>
                  </a:lnTo>
                  <a:lnTo>
                    <a:pt x="306" y="304"/>
                  </a:lnTo>
                  <a:lnTo>
                    <a:pt x="308" y="306"/>
                  </a:lnTo>
                  <a:lnTo>
                    <a:pt x="306" y="308"/>
                  </a:lnTo>
                  <a:lnTo>
                    <a:pt x="306" y="311"/>
                  </a:lnTo>
                  <a:lnTo>
                    <a:pt x="306" y="313"/>
                  </a:lnTo>
                  <a:lnTo>
                    <a:pt x="308" y="320"/>
                  </a:lnTo>
                  <a:lnTo>
                    <a:pt x="308" y="321"/>
                  </a:lnTo>
                  <a:lnTo>
                    <a:pt x="306" y="327"/>
                  </a:lnTo>
                  <a:lnTo>
                    <a:pt x="306" y="328"/>
                  </a:lnTo>
                  <a:lnTo>
                    <a:pt x="308" y="330"/>
                  </a:lnTo>
                  <a:lnTo>
                    <a:pt x="310" y="330"/>
                  </a:lnTo>
                  <a:lnTo>
                    <a:pt x="311" y="330"/>
                  </a:lnTo>
                  <a:lnTo>
                    <a:pt x="315" y="330"/>
                  </a:lnTo>
                  <a:lnTo>
                    <a:pt x="316" y="332"/>
                  </a:lnTo>
                  <a:lnTo>
                    <a:pt x="315" y="333"/>
                  </a:lnTo>
                  <a:lnTo>
                    <a:pt x="315" y="335"/>
                  </a:lnTo>
                  <a:lnTo>
                    <a:pt x="316" y="335"/>
                  </a:lnTo>
                  <a:lnTo>
                    <a:pt x="318" y="337"/>
                  </a:lnTo>
                  <a:lnTo>
                    <a:pt x="316" y="338"/>
                  </a:lnTo>
                  <a:lnTo>
                    <a:pt x="313" y="338"/>
                  </a:lnTo>
                  <a:lnTo>
                    <a:pt x="313" y="340"/>
                  </a:lnTo>
                  <a:lnTo>
                    <a:pt x="311" y="342"/>
                  </a:lnTo>
                  <a:lnTo>
                    <a:pt x="311" y="345"/>
                  </a:lnTo>
                  <a:lnTo>
                    <a:pt x="311" y="347"/>
                  </a:lnTo>
                  <a:lnTo>
                    <a:pt x="313" y="349"/>
                  </a:lnTo>
                  <a:lnTo>
                    <a:pt x="313" y="352"/>
                  </a:lnTo>
                  <a:lnTo>
                    <a:pt x="315" y="355"/>
                  </a:lnTo>
                  <a:lnTo>
                    <a:pt x="316" y="357"/>
                  </a:lnTo>
                  <a:lnTo>
                    <a:pt x="318" y="359"/>
                  </a:lnTo>
                  <a:lnTo>
                    <a:pt x="320" y="361"/>
                  </a:lnTo>
                  <a:lnTo>
                    <a:pt x="323" y="359"/>
                  </a:lnTo>
                  <a:lnTo>
                    <a:pt x="325" y="359"/>
                  </a:lnTo>
                  <a:lnTo>
                    <a:pt x="327" y="357"/>
                  </a:lnTo>
                  <a:lnTo>
                    <a:pt x="328" y="357"/>
                  </a:lnTo>
                  <a:lnTo>
                    <a:pt x="330" y="359"/>
                  </a:lnTo>
                  <a:lnTo>
                    <a:pt x="328" y="361"/>
                  </a:lnTo>
                  <a:lnTo>
                    <a:pt x="330" y="362"/>
                  </a:lnTo>
                  <a:lnTo>
                    <a:pt x="333" y="366"/>
                  </a:lnTo>
                  <a:lnTo>
                    <a:pt x="333" y="367"/>
                  </a:lnTo>
                  <a:lnTo>
                    <a:pt x="332" y="369"/>
                  </a:lnTo>
                  <a:lnTo>
                    <a:pt x="330" y="372"/>
                  </a:lnTo>
                  <a:lnTo>
                    <a:pt x="332" y="372"/>
                  </a:lnTo>
                  <a:lnTo>
                    <a:pt x="332" y="376"/>
                  </a:lnTo>
                  <a:lnTo>
                    <a:pt x="333" y="378"/>
                  </a:lnTo>
                  <a:lnTo>
                    <a:pt x="333" y="379"/>
                  </a:lnTo>
                  <a:lnTo>
                    <a:pt x="335" y="381"/>
                  </a:lnTo>
                  <a:lnTo>
                    <a:pt x="335" y="384"/>
                  </a:lnTo>
                  <a:lnTo>
                    <a:pt x="337" y="384"/>
                  </a:lnTo>
                  <a:lnTo>
                    <a:pt x="339" y="386"/>
                  </a:lnTo>
                  <a:lnTo>
                    <a:pt x="340" y="386"/>
                  </a:lnTo>
                  <a:lnTo>
                    <a:pt x="342" y="386"/>
                  </a:lnTo>
                  <a:lnTo>
                    <a:pt x="345" y="388"/>
                  </a:lnTo>
                  <a:lnTo>
                    <a:pt x="347" y="388"/>
                  </a:lnTo>
                  <a:lnTo>
                    <a:pt x="349" y="389"/>
                  </a:lnTo>
                  <a:lnTo>
                    <a:pt x="352" y="389"/>
                  </a:lnTo>
                  <a:lnTo>
                    <a:pt x="354" y="393"/>
                  </a:lnTo>
                  <a:lnTo>
                    <a:pt x="352" y="395"/>
                  </a:lnTo>
                  <a:lnTo>
                    <a:pt x="356" y="396"/>
                  </a:lnTo>
                  <a:lnTo>
                    <a:pt x="357" y="398"/>
                  </a:lnTo>
                  <a:lnTo>
                    <a:pt x="357" y="400"/>
                  </a:lnTo>
                  <a:lnTo>
                    <a:pt x="357" y="405"/>
                  </a:lnTo>
                  <a:lnTo>
                    <a:pt x="357" y="406"/>
                  </a:lnTo>
                  <a:lnTo>
                    <a:pt x="356" y="410"/>
                  </a:lnTo>
                  <a:lnTo>
                    <a:pt x="354" y="413"/>
                  </a:lnTo>
                  <a:lnTo>
                    <a:pt x="354" y="415"/>
                  </a:lnTo>
                  <a:lnTo>
                    <a:pt x="354" y="422"/>
                  </a:lnTo>
                  <a:lnTo>
                    <a:pt x="350" y="425"/>
                  </a:lnTo>
                  <a:lnTo>
                    <a:pt x="347" y="429"/>
                  </a:lnTo>
                  <a:lnTo>
                    <a:pt x="347" y="430"/>
                  </a:lnTo>
                  <a:lnTo>
                    <a:pt x="350" y="432"/>
                  </a:lnTo>
                  <a:lnTo>
                    <a:pt x="352" y="432"/>
                  </a:lnTo>
                  <a:lnTo>
                    <a:pt x="352" y="434"/>
                  </a:lnTo>
                  <a:lnTo>
                    <a:pt x="357" y="435"/>
                  </a:lnTo>
                  <a:lnTo>
                    <a:pt x="357" y="437"/>
                  </a:lnTo>
                  <a:lnTo>
                    <a:pt x="359" y="439"/>
                  </a:lnTo>
                  <a:lnTo>
                    <a:pt x="361" y="439"/>
                  </a:lnTo>
                  <a:lnTo>
                    <a:pt x="362" y="441"/>
                  </a:lnTo>
                  <a:lnTo>
                    <a:pt x="366" y="442"/>
                  </a:lnTo>
                  <a:lnTo>
                    <a:pt x="366" y="444"/>
                  </a:lnTo>
                  <a:lnTo>
                    <a:pt x="367" y="444"/>
                  </a:lnTo>
                  <a:lnTo>
                    <a:pt x="369" y="444"/>
                  </a:lnTo>
                  <a:lnTo>
                    <a:pt x="374" y="446"/>
                  </a:lnTo>
                  <a:lnTo>
                    <a:pt x="378" y="446"/>
                  </a:lnTo>
                  <a:lnTo>
                    <a:pt x="381" y="447"/>
                  </a:lnTo>
                  <a:lnTo>
                    <a:pt x="384" y="447"/>
                  </a:lnTo>
                  <a:lnTo>
                    <a:pt x="384" y="449"/>
                  </a:lnTo>
                  <a:lnTo>
                    <a:pt x="386" y="451"/>
                  </a:lnTo>
                  <a:lnTo>
                    <a:pt x="388" y="451"/>
                  </a:lnTo>
                  <a:lnTo>
                    <a:pt x="390" y="452"/>
                  </a:lnTo>
                  <a:lnTo>
                    <a:pt x="391" y="452"/>
                  </a:lnTo>
                  <a:lnTo>
                    <a:pt x="393" y="454"/>
                  </a:lnTo>
                  <a:lnTo>
                    <a:pt x="396" y="454"/>
                  </a:lnTo>
                  <a:lnTo>
                    <a:pt x="396" y="456"/>
                  </a:lnTo>
                  <a:lnTo>
                    <a:pt x="398" y="458"/>
                  </a:lnTo>
                  <a:lnTo>
                    <a:pt x="398" y="459"/>
                  </a:lnTo>
                  <a:lnTo>
                    <a:pt x="400" y="461"/>
                  </a:lnTo>
                  <a:lnTo>
                    <a:pt x="400" y="463"/>
                  </a:lnTo>
                  <a:lnTo>
                    <a:pt x="403" y="463"/>
                  </a:lnTo>
                  <a:lnTo>
                    <a:pt x="405" y="464"/>
                  </a:lnTo>
                  <a:lnTo>
                    <a:pt x="407" y="466"/>
                  </a:lnTo>
                  <a:lnTo>
                    <a:pt x="407" y="468"/>
                  </a:lnTo>
                  <a:lnTo>
                    <a:pt x="408" y="468"/>
                  </a:lnTo>
                  <a:lnTo>
                    <a:pt x="410" y="469"/>
                  </a:lnTo>
                  <a:lnTo>
                    <a:pt x="412" y="471"/>
                  </a:lnTo>
                  <a:lnTo>
                    <a:pt x="413" y="473"/>
                  </a:lnTo>
                  <a:lnTo>
                    <a:pt x="413" y="475"/>
                  </a:lnTo>
                  <a:lnTo>
                    <a:pt x="412" y="478"/>
                  </a:lnTo>
                  <a:lnTo>
                    <a:pt x="412" y="481"/>
                  </a:lnTo>
                  <a:lnTo>
                    <a:pt x="412" y="485"/>
                  </a:lnTo>
                  <a:lnTo>
                    <a:pt x="412" y="486"/>
                  </a:lnTo>
                  <a:lnTo>
                    <a:pt x="412" y="490"/>
                  </a:lnTo>
                  <a:lnTo>
                    <a:pt x="412" y="492"/>
                  </a:lnTo>
                  <a:lnTo>
                    <a:pt x="412" y="493"/>
                  </a:lnTo>
                  <a:lnTo>
                    <a:pt x="410" y="500"/>
                  </a:lnTo>
                  <a:lnTo>
                    <a:pt x="410" y="502"/>
                  </a:lnTo>
                  <a:lnTo>
                    <a:pt x="410" y="503"/>
                  </a:lnTo>
                  <a:lnTo>
                    <a:pt x="408" y="505"/>
                  </a:lnTo>
                  <a:lnTo>
                    <a:pt x="410" y="507"/>
                  </a:lnTo>
                  <a:lnTo>
                    <a:pt x="408" y="509"/>
                  </a:lnTo>
                  <a:lnTo>
                    <a:pt x="408" y="512"/>
                  </a:lnTo>
                  <a:lnTo>
                    <a:pt x="407" y="515"/>
                  </a:lnTo>
                  <a:lnTo>
                    <a:pt x="405" y="517"/>
                  </a:lnTo>
                  <a:lnTo>
                    <a:pt x="405" y="519"/>
                  </a:lnTo>
                  <a:lnTo>
                    <a:pt x="403" y="520"/>
                  </a:lnTo>
                  <a:lnTo>
                    <a:pt x="403" y="522"/>
                  </a:lnTo>
                  <a:lnTo>
                    <a:pt x="401" y="522"/>
                  </a:lnTo>
                  <a:lnTo>
                    <a:pt x="401" y="524"/>
                  </a:lnTo>
                  <a:lnTo>
                    <a:pt x="401" y="526"/>
                  </a:lnTo>
                  <a:lnTo>
                    <a:pt x="401" y="527"/>
                  </a:lnTo>
                  <a:lnTo>
                    <a:pt x="400" y="527"/>
                  </a:lnTo>
                  <a:lnTo>
                    <a:pt x="398" y="529"/>
                  </a:lnTo>
                  <a:lnTo>
                    <a:pt x="398" y="531"/>
                  </a:lnTo>
                  <a:lnTo>
                    <a:pt x="398" y="534"/>
                  </a:lnTo>
                  <a:lnTo>
                    <a:pt x="398" y="536"/>
                  </a:lnTo>
                  <a:lnTo>
                    <a:pt x="396" y="537"/>
                  </a:lnTo>
                  <a:lnTo>
                    <a:pt x="396" y="541"/>
                  </a:lnTo>
                  <a:lnTo>
                    <a:pt x="395" y="543"/>
                  </a:lnTo>
                  <a:lnTo>
                    <a:pt x="395" y="544"/>
                  </a:lnTo>
                  <a:lnTo>
                    <a:pt x="393" y="546"/>
                  </a:lnTo>
                  <a:lnTo>
                    <a:pt x="393" y="548"/>
                  </a:lnTo>
                  <a:lnTo>
                    <a:pt x="391" y="548"/>
                  </a:lnTo>
                  <a:lnTo>
                    <a:pt x="393" y="551"/>
                  </a:lnTo>
                  <a:lnTo>
                    <a:pt x="391" y="551"/>
                  </a:lnTo>
                  <a:lnTo>
                    <a:pt x="391" y="553"/>
                  </a:lnTo>
                  <a:lnTo>
                    <a:pt x="390" y="554"/>
                  </a:lnTo>
                  <a:lnTo>
                    <a:pt x="390" y="558"/>
                  </a:lnTo>
                  <a:lnTo>
                    <a:pt x="388" y="561"/>
                  </a:lnTo>
                  <a:lnTo>
                    <a:pt x="388" y="565"/>
                  </a:lnTo>
                  <a:lnTo>
                    <a:pt x="386" y="566"/>
                  </a:lnTo>
                  <a:lnTo>
                    <a:pt x="384" y="570"/>
                  </a:lnTo>
                  <a:lnTo>
                    <a:pt x="383" y="571"/>
                  </a:lnTo>
                  <a:lnTo>
                    <a:pt x="383" y="573"/>
                  </a:lnTo>
                  <a:lnTo>
                    <a:pt x="383" y="575"/>
                  </a:lnTo>
                  <a:lnTo>
                    <a:pt x="381" y="578"/>
                  </a:lnTo>
                  <a:lnTo>
                    <a:pt x="381" y="580"/>
                  </a:lnTo>
                  <a:lnTo>
                    <a:pt x="379" y="582"/>
                  </a:lnTo>
                  <a:lnTo>
                    <a:pt x="379" y="585"/>
                  </a:lnTo>
                  <a:lnTo>
                    <a:pt x="378" y="587"/>
                  </a:lnTo>
                  <a:lnTo>
                    <a:pt x="376" y="588"/>
                  </a:lnTo>
                  <a:lnTo>
                    <a:pt x="374" y="588"/>
                  </a:lnTo>
                  <a:lnTo>
                    <a:pt x="376" y="590"/>
                  </a:lnTo>
                  <a:lnTo>
                    <a:pt x="374" y="594"/>
                  </a:lnTo>
                  <a:lnTo>
                    <a:pt x="374" y="595"/>
                  </a:lnTo>
                  <a:lnTo>
                    <a:pt x="373" y="597"/>
                  </a:lnTo>
                  <a:lnTo>
                    <a:pt x="373" y="599"/>
                  </a:lnTo>
                  <a:lnTo>
                    <a:pt x="373" y="600"/>
                  </a:lnTo>
                  <a:lnTo>
                    <a:pt x="371" y="604"/>
                  </a:lnTo>
                  <a:lnTo>
                    <a:pt x="371" y="606"/>
                  </a:lnTo>
                  <a:lnTo>
                    <a:pt x="369" y="609"/>
                  </a:lnTo>
                  <a:lnTo>
                    <a:pt x="367" y="611"/>
                  </a:lnTo>
                  <a:lnTo>
                    <a:pt x="366" y="612"/>
                  </a:lnTo>
                  <a:lnTo>
                    <a:pt x="364" y="614"/>
                  </a:lnTo>
                  <a:lnTo>
                    <a:pt x="364" y="616"/>
                  </a:lnTo>
                  <a:lnTo>
                    <a:pt x="361" y="617"/>
                  </a:lnTo>
                  <a:lnTo>
                    <a:pt x="359" y="619"/>
                  </a:lnTo>
                  <a:lnTo>
                    <a:pt x="361" y="621"/>
                  </a:lnTo>
                  <a:lnTo>
                    <a:pt x="359" y="621"/>
                  </a:lnTo>
                  <a:lnTo>
                    <a:pt x="359" y="623"/>
                  </a:lnTo>
                  <a:lnTo>
                    <a:pt x="359" y="624"/>
                  </a:lnTo>
                  <a:lnTo>
                    <a:pt x="357" y="626"/>
                  </a:lnTo>
                  <a:lnTo>
                    <a:pt x="357" y="628"/>
                  </a:lnTo>
                  <a:lnTo>
                    <a:pt x="357" y="631"/>
                  </a:lnTo>
                  <a:lnTo>
                    <a:pt x="357" y="633"/>
                  </a:lnTo>
                  <a:lnTo>
                    <a:pt x="356" y="633"/>
                  </a:lnTo>
                  <a:lnTo>
                    <a:pt x="352" y="633"/>
                  </a:lnTo>
                  <a:lnTo>
                    <a:pt x="352" y="636"/>
                  </a:lnTo>
                  <a:lnTo>
                    <a:pt x="350" y="638"/>
                  </a:lnTo>
                  <a:lnTo>
                    <a:pt x="350" y="640"/>
                  </a:lnTo>
                  <a:lnTo>
                    <a:pt x="349" y="641"/>
                  </a:lnTo>
                  <a:lnTo>
                    <a:pt x="349" y="643"/>
                  </a:lnTo>
                  <a:lnTo>
                    <a:pt x="347" y="645"/>
                  </a:lnTo>
                  <a:lnTo>
                    <a:pt x="345" y="648"/>
                  </a:lnTo>
                  <a:lnTo>
                    <a:pt x="344" y="648"/>
                  </a:lnTo>
                  <a:lnTo>
                    <a:pt x="344" y="651"/>
                  </a:lnTo>
                  <a:lnTo>
                    <a:pt x="342" y="653"/>
                  </a:lnTo>
                  <a:lnTo>
                    <a:pt x="342" y="655"/>
                  </a:lnTo>
                  <a:lnTo>
                    <a:pt x="340" y="657"/>
                  </a:lnTo>
                  <a:lnTo>
                    <a:pt x="340" y="658"/>
                  </a:lnTo>
                  <a:lnTo>
                    <a:pt x="339" y="662"/>
                  </a:lnTo>
                  <a:lnTo>
                    <a:pt x="337" y="663"/>
                  </a:lnTo>
                  <a:lnTo>
                    <a:pt x="337" y="665"/>
                  </a:lnTo>
                  <a:lnTo>
                    <a:pt x="337" y="667"/>
                  </a:lnTo>
                  <a:lnTo>
                    <a:pt x="335" y="668"/>
                  </a:lnTo>
                  <a:lnTo>
                    <a:pt x="335" y="665"/>
                  </a:lnTo>
                  <a:lnTo>
                    <a:pt x="333" y="665"/>
                  </a:lnTo>
                  <a:lnTo>
                    <a:pt x="333" y="668"/>
                  </a:lnTo>
                  <a:lnTo>
                    <a:pt x="335" y="670"/>
                  </a:lnTo>
                  <a:lnTo>
                    <a:pt x="333" y="670"/>
                  </a:lnTo>
                  <a:lnTo>
                    <a:pt x="335" y="670"/>
                  </a:lnTo>
                  <a:lnTo>
                    <a:pt x="335" y="672"/>
                  </a:lnTo>
                  <a:lnTo>
                    <a:pt x="333" y="672"/>
                  </a:lnTo>
                  <a:lnTo>
                    <a:pt x="333" y="674"/>
                  </a:lnTo>
                  <a:lnTo>
                    <a:pt x="332" y="674"/>
                  </a:lnTo>
                  <a:lnTo>
                    <a:pt x="330" y="674"/>
                  </a:lnTo>
                  <a:lnTo>
                    <a:pt x="330" y="672"/>
                  </a:lnTo>
                  <a:lnTo>
                    <a:pt x="330" y="670"/>
                  </a:lnTo>
                  <a:lnTo>
                    <a:pt x="332" y="670"/>
                  </a:lnTo>
                  <a:lnTo>
                    <a:pt x="330" y="670"/>
                  </a:lnTo>
                  <a:lnTo>
                    <a:pt x="328" y="672"/>
                  </a:lnTo>
                  <a:lnTo>
                    <a:pt x="332" y="674"/>
                  </a:lnTo>
                  <a:lnTo>
                    <a:pt x="332" y="675"/>
                  </a:lnTo>
                  <a:lnTo>
                    <a:pt x="328" y="674"/>
                  </a:lnTo>
                  <a:lnTo>
                    <a:pt x="327" y="672"/>
                  </a:lnTo>
                  <a:lnTo>
                    <a:pt x="325" y="674"/>
                  </a:lnTo>
                  <a:lnTo>
                    <a:pt x="325" y="675"/>
                  </a:lnTo>
                  <a:lnTo>
                    <a:pt x="327" y="677"/>
                  </a:lnTo>
                  <a:lnTo>
                    <a:pt x="325" y="675"/>
                  </a:lnTo>
                  <a:lnTo>
                    <a:pt x="325" y="677"/>
                  </a:lnTo>
                  <a:lnTo>
                    <a:pt x="323" y="675"/>
                  </a:lnTo>
                  <a:lnTo>
                    <a:pt x="323" y="674"/>
                  </a:lnTo>
                  <a:lnTo>
                    <a:pt x="322" y="674"/>
                  </a:lnTo>
                  <a:lnTo>
                    <a:pt x="322" y="675"/>
                  </a:lnTo>
                  <a:lnTo>
                    <a:pt x="320" y="674"/>
                  </a:lnTo>
                  <a:lnTo>
                    <a:pt x="318" y="675"/>
                  </a:lnTo>
                  <a:lnTo>
                    <a:pt x="316" y="674"/>
                  </a:lnTo>
                  <a:lnTo>
                    <a:pt x="316" y="675"/>
                  </a:lnTo>
                  <a:lnTo>
                    <a:pt x="318" y="675"/>
                  </a:lnTo>
                  <a:lnTo>
                    <a:pt x="316" y="675"/>
                  </a:lnTo>
                  <a:lnTo>
                    <a:pt x="316" y="674"/>
                  </a:lnTo>
                  <a:lnTo>
                    <a:pt x="315" y="674"/>
                  </a:lnTo>
                  <a:lnTo>
                    <a:pt x="315" y="672"/>
                  </a:lnTo>
                  <a:lnTo>
                    <a:pt x="315" y="674"/>
                  </a:lnTo>
                  <a:lnTo>
                    <a:pt x="315" y="675"/>
                  </a:lnTo>
                  <a:lnTo>
                    <a:pt x="313" y="675"/>
                  </a:lnTo>
                  <a:lnTo>
                    <a:pt x="315" y="674"/>
                  </a:lnTo>
                  <a:lnTo>
                    <a:pt x="313" y="675"/>
                  </a:lnTo>
                  <a:lnTo>
                    <a:pt x="313" y="674"/>
                  </a:lnTo>
                  <a:lnTo>
                    <a:pt x="313" y="675"/>
                  </a:lnTo>
                  <a:lnTo>
                    <a:pt x="310" y="674"/>
                  </a:lnTo>
                  <a:lnTo>
                    <a:pt x="311" y="675"/>
                  </a:lnTo>
                  <a:lnTo>
                    <a:pt x="310" y="675"/>
                  </a:lnTo>
                  <a:lnTo>
                    <a:pt x="310" y="674"/>
                  </a:lnTo>
                  <a:lnTo>
                    <a:pt x="310" y="675"/>
                  </a:lnTo>
                  <a:lnTo>
                    <a:pt x="308" y="677"/>
                  </a:lnTo>
                  <a:lnTo>
                    <a:pt x="310" y="679"/>
                  </a:lnTo>
                  <a:lnTo>
                    <a:pt x="306" y="679"/>
                  </a:lnTo>
                  <a:lnTo>
                    <a:pt x="308" y="679"/>
                  </a:lnTo>
                  <a:lnTo>
                    <a:pt x="308" y="680"/>
                  </a:lnTo>
                  <a:lnTo>
                    <a:pt x="306" y="679"/>
                  </a:lnTo>
                  <a:lnTo>
                    <a:pt x="306" y="680"/>
                  </a:lnTo>
                  <a:lnTo>
                    <a:pt x="305" y="680"/>
                  </a:lnTo>
                  <a:lnTo>
                    <a:pt x="306" y="682"/>
                  </a:lnTo>
                  <a:lnTo>
                    <a:pt x="305" y="682"/>
                  </a:lnTo>
                  <a:lnTo>
                    <a:pt x="303" y="682"/>
                  </a:lnTo>
                  <a:lnTo>
                    <a:pt x="303" y="680"/>
                  </a:lnTo>
                  <a:lnTo>
                    <a:pt x="301" y="680"/>
                  </a:lnTo>
                  <a:lnTo>
                    <a:pt x="303" y="684"/>
                  </a:lnTo>
                  <a:lnTo>
                    <a:pt x="299" y="685"/>
                  </a:lnTo>
                  <a:lnTo>
                    <a:pt x="298" y="684"/>
                  </a:lnTo>
                  <a:lnTo>
                    <a:pt x="296" y="684"/>
                  </a:lnTo>
                  <a:lnTo>
                    <a:pt x="296" y="685"/>
                  </a:lnTo>
                  <a:lnTo>
                    <a:pt x="294" y="684"/>
                  </a:lnTo>
                  <a:lnTo>
                    <a:pt x="294" y="685"/>
                  </a:lnTo>
                  <a:lnTo>
                    <a:pt x="293" y="682"/>
                  </a:lnTo>
                  <a:lnTo>
                    <a:pt x="291" y="682"/>
                  </a:lnTo>
                  <a:lnTo>
                    <a:pt x="291" y="684"/>
                  </a:lnTo>
                  <a:lnTo>
                    <a:pt x="293" y="685"/>
                  </a:lnTo>
                  <a:lnTo>
                    <a:pt x="293" y="687"/>
                  </a:lnTo>
                  <a:lnTo>
                    <a:pt x="291" y="687"/>
                  </a:lnTo>
                  <a:lnTo>
                    <a:pt x="291" y="689"/>
                  </a:lnTo>
                  <a:lnTo>
                    <a:pt x="293" y="689"/>
                  </a:lnTo>
                  <a:lnTo>
                    <a:pt x="294" y="691"/>
                  </a:lnTo>
                  <a:lnTo>
                    <a:pt x="296" y="691"/>
                  </a:lnTo>
                  <a:lnTo>
                    <a:pt x="296" y="692"/>
                  </a:lnTo>
                  <a:lnTo>
                    <a:pt x="294" y="691"/>
                  </a:lnTo>
                  <a:lnTo>
                    <a:pt x="294" y="692"/>
                  </a:lnTo>
                  <a:lnTo>
                    <a:pt x="293" y="691"/>
                  </a:lnTo>
                  <a:lnTo>
                    <a:pt x="291" y="692"/>
                  </a:lnTo>
                  <a:lnTo>
                    <a:pt x="291" y="691"/>
                  </a:lnTo>
                  <a:lnTo>
                    <a:pt x="293" y="691"/>
                  </a:lnTo>
                  <a:lnTo>
                    <a:pt x="293" y="689"/>
                  </a:lnTo>
                  <a:lnTo>
                    <a:pt x="291" y="689"/>
                  </a:lnTo>
                  <a:lnTo>
                    <a:pt x="289" y="689"/>
                  </a:lnTo>
                  <a:lnTo>
                    <a:pt x="291" y="689"/>
                  </a:lnTo>
                  <a:lnTo>
                    <a:pt x="289" y="689"/>
                  </a:lnTo>
                  <a:lnTo>
                    <a:pt x="289" y="691"/>
                  </a:lnTo>
                  <a:lnTo>
                    <a:pt x="289" y="692"/>
                  </a:lnTo>
                  <a:lnTo>
                    <a:pt x="288" y="689"/>
                  </a:lnTo>
                  <a:lnTo>
                    <a:pt x="286" y="689"/>
                  </a:lnTo>
                  <a:lnTo>
                    <a:pt x="288" y="687"/>
                  </a:lnTo>
                  <a:lnTo>
                    <a:pt x="286" y="687"/>
                  </a:lnTo>
                  <a:lnTo>
                    <a:pt x="284" y="687"/>
                  </a:lnTo>
                  <a:lnTo>
                    <a:pt x="286" y="691"/>
                  </a:lnTo>
                  <a:lnTo>
                    <a:pt x="288" y="691"/>
                  </a:lnTo>
                  <a:lnTo>
                    <a:pt x="286" y="691"/>
                  </a:lnTo>
                  <a:lnTo>
                    <a:pt x="282" y="689"/>
                  </a:lnTo>
                  <a:lnTo>
                    <a:pt x="284" y="691"/>
                  </a:lnTo>
                  <a:lnTo>
                    <a:pt x="286" y="691"/>
                  </a:lnTo>
                  <a:lnTo>
                    <a:pt x="284" y="692"/>
                  </a:lnTo>
                  <a:lnTo>
                    <a:pt x="286" y="694"/>
                  </a:lnTo>
                  <a:lnTo>
                    <a:pt x="284" y="694"/>
                  </a:lnTo>
                  <a:lnTo>
                    <a:pt x="282" y="692"/>
                  </a:lnTo>
                  <a:lnTo>
                    <a:pt x="284" y="692"/>
                  </a:lnTo>
                  <a:lnTo>
                    <a:pt x="282" y="692"/>
                  </a:lnTo>
                  <a:lnTo>
                    <a:pt x="284" y="691"/>
                  </a:lnTo>
                  <a:lnTo>
                    <a:pt x="282" y="692"/>
                  </a:lnTo>
                  <a:lnTo>
                    <a:pt x="282" y="691"/>
                  </a:lnTo>
                  <a:lnTo>
                    <a:pt x="279" y="689"/>
                  </a:lnTo>
                  <a:lnTo>
                    <a:pt x="279" y="691"/>
                  </a:lnTo>
                  <a:lnTo>
                    <a:pt x="277" y="689"/>
                  </a:lnTo>
                  <a:lnTo>
                    <a:pt x="277" y="687"/>
                  </a:lnTo>
                  <a:lnTo>
                    <a:pt x="276" y="687"/>
                  </a:lnTo>
                  <a:lnTo>
                    <a:pt x="274" y="687"/>
                  </a:lnTo>
                  <a:lnTo>
                    <a:pt x="276" y="689"/>
                  </a:lnTo>
                  <a:lnTo>
                    <a:pt x="277" y="689"/>
                  </a:lnTo>
                  <a:lnTo>
                    <a:pt x="277" y="691"/>
                  </a:lnTo>
                  <a:lnTo>
                    <a:pt x="279" y="691"/>
                  </a:lnTo>
                  <a:lnTo>
                    <a:pt x="279" y="692"/>
                  </a:lnTo>
                  <a:lnTo>
                    <a:pt x="277" y="692"/>
                  </a:lnTo>
                  <a:lnTo>
                    <a:pt x="279" y="692"/>
                  </a:lnTo>
                  <a:lnTo>
                    <a:pt x="279" y="694"/>
                  </a:lnTo>
                  <a:lnTo>
                    <a:pt x="281" y="694"/>
                  </a:lnTo>
                  <a:lnTo>
                    <a:pt x="281" y="696"/>
                  </a:lnTo>
                  <a:lnTo>
                    <a:pt x="282" y="696"/>
                  </a:lnTo>
                  <a:lnTo>
                    <a:pt x="282" y="697"/>
                  </a:lnTo>
                  <a:lnTo>
                    <a:pt x="279" y="699"/>
                  </a:lnTo>
                  <a:lnTo>
                    <a:pt x="279" y="697"/>
                  </a:lnTo>
                  <a:lnTo>
                    <a:pt x="277" y="696"/>
                  </a:lnTo>
                  <a:lnTo>
                    <a:pt x="277" y="694"/>
                  </a:lnTo>
                  <a:lnTo>
                    <a:pt x="277" y="696"/>
                  </a:lnTo>
                  <a:lnTo>
                    <a:pt x="274" y="694"/>
                  </a:lnTo>
                  <a:lnTo>
                    <a:pt x="272" y="692"/>
                  </a:lnTo>
                  <a:lnTo>
                    <a:pt x="274" y="696"/>
                  </a:lnTo>
                  <a:lnTo>
                    <a:pt x="276" y="696"/>
                  </a:lnTo>
                  <a:lnTo>
                    <a:pt x="276" y="697"/>
                  </a:lnTo>
                  <a:lnTo>
                    <a:pt x="274" y="697"/>
                  </a:lnTo>
                  <a:lnTo>
                    <a:pt x="274" y="699"/>
                  </a:lnTo>
                  <a:lnTo>
                    <a:pt x="276" y="699"/>
                  </a:lnTo>
                  <a:lnTo>
                    <a:pt x="276" y="701"/>
                  </a:lnTo>
                  <a:lnTo>
                    <a:pt x="277" y="702"/>
                  </a:lnTo>
                  <a:lnTo>
                    <a:pt x="276" y="704"/>
                  </a:lnTo>
                  <a:lnTo>
                    <a:pt x="276" y="702"/>
                  </a:lnTo>
                  <a:lnTo>
                    <a:pt x="274" y="701"/>
                  </a:lnTo>
                  <a:lnTo>
                    <a:pt x="272" y="702"/>
                  </a:lnTo>
                  <a:lnTo>
                    <a:pt x="272" y="701"/>
                  </a:lnTo>
                  <a:lnTo>
                    <a:pt x="271" y="699"/>
                  </a:lnTo>
                  <a:lnTo>
                    <a:pt x="271" y="701"/>
                  </a:lnTo>
                  <a:lnTo>
                    <a:pt x="272" y="702"/>
                  </a:lnTo>
                  <a:lnTo>
                    <a:pt x="274" y="701"/>
                  </a:lnTo>
                  <a:lnTo>
                    <a:pt x="274" y="702"/>
                  </a:lnTo>
                  <a:lnTo>
                    <a:pt x="272" y="702"/>
                  </a:lnTo>
                  <a:lnTo>
                    <a:pt x="272" y="706"/>
                  </a:lnTo>
                  <a:lnTo>
                    <a:pt x="272" y="704"/>
                  </a:lnTo>
                  <a:lnTo>
                    <a:pt x="271" y="704"/>
                  </a:lnTo>
                  <a:lnTo>
                    <a:pt x="269" y="702"/>
                  </a:lnTo>
                  <a:lnTo>
                    <a:pt x="267" y="702"/>
                  </a:lnTo>
                  <a:lnTo>
                    <a:pt x="265" y="701"/>
                  </a:lnTo>
                  <a:lnTo>
                    <a:pt x="269" y="699"/>
                  </a:lnTo>
                  <a:lnTo>
                    <a:pt x="267" y="699"/>
                  </a:lnTo>
                  <a:lnTo>
                    <a:pt x="265" y="699"/>
                  </a:lnTo>
                  <a:lnTo>
                    <a:pt x="267" y="697"/>
                  </a:lnTo>
                  <a:lnTo>
                    <a:pt x="269" y="699"/>
                  </a:lnTo>
                  <a:lnTo>
                    <a:pt x="267" y="696"/>
                  </a:lnTo>
                  <a:lnTo>
                    <a:pt x="267" y="697"/>
                  </a:lnTo>
                  <a:lnTo>
                    <a:pt x="267" y="696"/>
                  </a:lnTo>
                  <a:lnTo>
                    <a:pt x="265" y="697"/>
                  </a:lnTo>
                  <a:lnTo>
                    <a:pt x="265" y="701"/>
                  </a:lnTo>
                  <a:lnTo>
                    <a:pt x="265" y="699"/>
                  </a:lnTo>
                  <a:lnTo>
                    <a:pt x="265" y="701"/>
                  </a:lnTo>
                  <a:lnTo>
                    <a:pt x="264" y="699"/>
                  </a:lnTo>
                  <a:lnTo>
                    <a:pt x="262" y="701"/>
                  </a:lnTo>
                  <a:lnTo>
                    <a:pt x="264" y="702"/>
                  </a:lnTo>
                  <a:lnTo>
                    <a:pt x="264" y="704"/>
                  </a:lnTo>
                  <a:lnTo>
                    <a:pt x="262" y="704"/>
                  </a:lnTo>
                  <a:lnTo>
                    <a:pt x="264" y="704"/>
                  </a:lnTo>
                  <a:lnTo>
                    <a:pt x="262" y="706"/>
                  </a:lnTo>
                  <a:lnTo>
                    <a:pt x="262" y="708"/>
                  </a:lnTo>
                  <a:lnTo>
                    <a:pt x="262" y="709"/>
                  </a:lnTo>
                  <a:lnTo>
                    <a:pt x="260" y="708"/>
                  </a:lnTo>
                  <a:lnTo>
                    <a:pt x="260" y="709"/>
                  </a:lnTo>
                  <a:lnTo>
                    <a:pt x="260" y="708"/>
                  </a:lnTo>
                  <a:lnTo>
                    <a:pt x="259" y="708"/>
                  </a:lnTo>
                  <a:lnTo>
                    <a:pt x="260" y="708"/>
                  </a:lnTo>
                  <a:lnTo>
                    <a:pt x="262" y="706"/>
                  </a:lnTo>
                  <a:lnTo>
                    <a:pt x="260" y="706"/>
                  </a:lnTo>
                  <a:lnTo>
                    <a:pt x="259" y="708"/>
                  </a:lnTo>
                  <a:lnTo>
                    <a:pt x="259" y="706"/>
                  </a:lnTo>
                  <a:lnTo>
                    <a:pt x="257" y="706"/>
                  </a:lnTo>
                  <a:lnTo>
                    <a:pt x="257" y="708"/>
                  </a:lnTo>
                  <a:lnTo>
                    <a:pt x="254" y="708"/>
                  </a:lnTo>
                  <a:lnTo>
                    <a:pt x="252" y="709"/>
                  </a:lnTo>
                  <a:lnTo>
                    <a:pt x="254" y="711"/>
                  </a:lnTo>
                  <a:lnTo>
                    <a:pt x="252" y="713"/>
                  </a:lnTo>
                  <a:lnTo>
                    <a:pt x="250" y="713"/>
                  </a:lnTo>
                  <a:lnTo>
                    <a:pt x="252" y="713"/>
                  </a:lnTo>
                  <a:lnTo>
                    <a:pt x="250" y="713"/>
                  </a:lnTo>
                  <a:lnTo>
                    <a:pt x="250" y="714"/>
                  </a:lnTo>
                  <a:lnTo>
                    <a:pt x="250" y="711"/>
                  </a:lnTo>
                  <a:lnTo>
                    <a:pt x="248" y="713"/>
                  </a:lnTo>
                  <a:lnTo>
                    <a:pt x="248" y="716"/>
                  </a:lnTo>
                  <a:lnTo>
                    <a:pt x="250" y="714"/>
                  </a:lnTo>
                  <a:lnTo>
                    <a:pt x="250" y="716"/>
                  </a:lnTo>
                  <a:lnTo>
                    <a:pt x="248" y="716"/>
                  </a:lnTo>
                  <a:lnTo>
                    <a:pt x="247" y="716"/>
                  </a:lnTo>
                  <a:lnTo>
                    <a:pt x="248" y="714"/>
                  </a:lnTo>
                  <a:lnTo>
                    <a:pt x="247" y="714"/>
                  </a:lnTo>
                  <a:lnTo>
                    <a:pt x="247" y="713"/>
                  </a:lnTo>
                  <a:lnTo>
                    <a:pt x="245" y="713"/>
                  </a:lnTo>
                  <a:lnTo>
                    <a:pt x="247" y="716"/>
                  </a:lnTo>
                  <a:lnTo>
                    <a:pt x="245" y="716"/>
                  </a:lnTo>
                  <a:lnTo>
                    <a:pt x="245" y="718"/>
                  </a:lnTo>
                  <a:lnTo>
                    <a:pt x="245" y="716"/>
                  </a:lnTo>
                  <a:lnTo>
                    <a:pt x="243" y="718"/>
                  </a:lnTo>
                  <a:lnTo>
                    <a:pt x="243" y="716"/>
                  </a:lnTo>
                  <a:lnTo>
                    <a:pt x="243" y="714"/>
                  </a:lnTo>
                  <a:lnTo>
                    <a:pt x="242" y="716"/>
                  </a:lnTo>
                  <a:lnTo>
                    <a:pt x="240" y="714"/>
                  </a:lnTo>
                  <a:lnTo>
                    <a:pt x="242" y="716"/>
                  </a:lnTo>
                  <a:lnTo>
                    <a:pt x="242" y="718"/>
                  </a:lnTo>
                  <a:lnTo>
                    <a:pt x="242" y="716"/>
                  </a:lnTo>
                  <a:lnTo>
                    <a:pt x="243" y="716"/>
                  </a:lnTo>
                  <a:lnTo>
                    <a:pt x="243" y="718"/>
                  </a:lnTo>
                  <a:lnTo>
                    <a:pt x="240" y="716"/>
                  </a:lnTo>
                  <a:lnTo>
                    <a:pt x="240" y="718"/>
                  </a:lnTo>
                  <a:lnTo>
                    <a:pt x="238" y="719"/>
                  </a:lnTo>
                  <a:lnTo>
                    <a:pt x="237" y="719"/>
                  </a:lnTo>
                  <a:lnTo>
                    <a:pt x="238" y="719"/>
                  </a:lnTo>
                  <a:lnTo>
                    <a:pt x="238" y="721"/>
                  </a:lnTo>
                  <a:lnTo>
                    <a:pt x="238" y="723"/>
                  </a:lnTo>
                  <a:lnTo>
                    <a:pt x="237" y="723"/>
                  </a:lnTo>
                  <a:lnTo>
                    <a:pt x="237" y="721"/>
                  </a:lnTo>
                  <a:lnTo>
                    <a:pt x="238" y="721"/>
                  </a:lnTo>
                  <a:lnTo>
                    <a:pt x="237" y="721"/>
                  </a:lnTo>
                  <a:lnTo>
                    <a:pt x="235" y="721"/>
                  </a:lnTo>
                  <a:lnTo>
                    <a:pt x="235" y="719"/>
                  </a:lnTo>
                  <a:lnTo>
                    <a:pt x="231" y="718"/>
                  </a:lnTo>
                  <a:lnTo>
                    <a:pt x="231" y="719"/>
                  </a:lnTo>
                  <a:lnTo>
                    <a:pt x="233" y="719"/>
                  </a:lnTo>
                  <a:lnTo>
                    <a:pt x="235" y="721"/>
                  </a:lnTo>
                  <a:lnTo>
                    <a:pt x="233" y="723"/>
                  </a:lnTo>
                  <a:lnTo>
                    <a:pt x="235" y="721"/>
                  </a:lnTo>
                  <a:lnTo>
                    <a:pt x="237" y="723"/>
                  </a:lnTo>
                  <a:lnTo>
                    <a:pt x="235" y="725"/>
                  </a:lnTo>
                  <a:lnTo>
                    <a:pt x="233" y="726"/>
                  </a:lnTo>
                  <a:lnTo>
                    <a:pt x="233" y="728"/>
                  </a:lnTo>
                  <a:lnTo>
                    <a:pt x="233" y="730"/>
                  </a:lnTo>
                  <a:lnTo>
                    <a:pt x="231" y="730"/>
                  </a:lnTo>
                  <a:lnTo>
                    <a:pt x="233" y="731"/>
                  </a:lnTo>
                  <a:lnTo>
                    <a:pt x="231" y="730"/>
                  </a:lnTo>
                  <a:lnTo>
                    <a:pt x="231" y="731"/>
                  </a:lnTo>
                  <a:lnTo>
                    <a:pt x="230" y="731"/>
                  </a:lnTo>
                  <a:lnTo>
                    <a:pt x="230" y="733"/>
                  </a:lnTo>
                  <a:lnTo>
                    <a:pt x="230" y="735"/>
                  </a:lnTo>
                  <a:lnTo>
                    <a:pt x="228" y="733"/>
                  </a:lnTo>
                  <a:lnTo>
                    <a:pt x="230" y="731"/>
                  </a:lnTo>
                  <a:lnTo>
                    <a:pt x="230" y="728"/>
                  </a:lnTo>
                  <a:lnTo>
                    <a:pt x="230" y="730"/>
                  </a:lnTo>
                  <a:lnTo>
                    <a:pt x="230" y="726"/>
                  </a:lnTo>
                  <a:lnTo>
                    <a:pt x="230" y="728"/>
                  </a:lnTo>
                  <a:lnTo>
                    <a:pt x="230" y="730"/>
                  </a:lnTo>
                  <a:lnTo>
                    <a:pt x="228" y="730"/>
                  </a:lnTo>
                  <a:lnTo>
                    <a:pt x="228" y="731"/>
                  </a:lnTo>
                  <a:lnTo>
                    <a:pt x="226" y="730"/>
                  </a:lnTo>
                  <a:lnTo>
                    <a:pt x="226" y="731"/>
                  </a:lnTo>
                  <a:lnTo>
                    <a:pt x="226" y="730"/>
                  </a:lnTo>
                  <a:lnTo>
                    <a:pt x="226" y="728"/>
                  </a:lnTo>
                  <a:lnTo>
                    <a:pt x="226" y="726"/>
                  </a:lnTo>
                  <a:lnTo>
                    <a:pt x="225" y="726"/>
                  </a:lnTo>
                  <a:lnTo>
                    <a:pt x="225" y="728"/>
                  </a:lnTo>
                  <a:lnTo>
                    <a:pt x="223" y="730"/>
                  </a:lnTo>
                  <a:lnTo>
                    <a:pt x="221" y="730"/>
                  </a:lnTo>
                  <a:lnTo>
                    <a:pt x="220" y="730"/>
                  </a:lnTo>
                  <a:lnTo>
                    <a:pt x="221" y="730"/>
                  </a:lnTo>
                  <a:lnTo>
                    <a:pt x="221" y="731"/>
                  </a:lnTo>
                  <a:lnTo>
                    <a:pt x="220" y="731"/>
                  </a:lnTo>
                  <a:lnTo>
                    <a:pt x="220" y="730"/>
                  </a:lnTo>
                  <a:lnTo>
                    <a:pt x="218" y="731"/>
                  </a:lnTo>
                  <a:lnTo>
                    <a:pt x="216" y="731"/>
                  </a:lnTo>
                  <a:lnTo>
                    <a:pt x="218" y="731"/>
                  </a:lnTo>
                  <a:lnTo>
                    <a:pt x="216" y="733"/>
                  </a:lnTo>
                  <a:lnTo>
                    <a:pt x="214" y="731"/>
                  </a:lnTo>
                  <a:lnTo>
                    <a:pt x="213" y="733"/>
                  </a:lnTo>
                  <a:lnTo>
                    <a:pt x="211" y="733"/>
                  </a:lnTo>
                  <a:lnTo>
                    <a:pt x="209" y="735"/>
                  </a:lnTo>
                  <a:lnTo>
                    <a:pt x="211" y="735"/>
                  </a:lnTo>
                  <a:lnTo>
                    <a:pt x="209" y="735"/>
                  </a:lnTo>
                  <a:lnTo>
                    <a:pt x="209" y="738"/>
                  </a:lnTo>
                  <a:lnTo>
                    <a:pt x="206" y="738"/>
                  </a:lnTo>
                  <a:lnTo>
                    <a:pt x="208" y="740"/>
                  </a:lnTo>
                  <a:lnTo>
                    <a:pt x="206" y="738"/>
                  </a:lnTo>
                  <a:lnTo>
                    <a:pt x="204" y="738"/>
                  </a:lnTo>
                  <a:lnTo>
                    <a:pt x="203" y="738"/>
                  </a:lnTo>
                  <a:lnTo>
                    <a:pt x="203" y="740"/>
                  </a:lnTo>
                  <a:lnTo>
                    <a:pt x="204" y="740"/>
                  </a:lnTo>
                  <a:lnTo>
                    <a:pt x="204" y="738"/>
                  </a:lnTo>
                  <a:lnTo>
                    <a:pt x="204" y="740"/>
                  </a:lnTo>
                  <a:lnTo>
                    <a:pt x="208" y="740"/>
                  </a:lnTo>
                  <a:lnTo>
                    <a:pt x="206" y="740"/>
                  </a:lnTo>
                  <a:lnTo>
                    <a:pt x="204" y="740"/>
                  </a:lnTo>
                  <a:lnTo>
                    <a:pt x="206" y="742"/>
                  </a:lnTo>
                  <a:lnTo>
                    <a:pt x="204" y="742"/>
                  </a:lnTo>
                  <a:lnTo>
                    <a:pt x="203" y="742"/>
                  </a:lnTo>
                  <a:lnTo>
                    <a:pt x="204" y="742"/>
                  </a:lnTo>
                  <a:lnTo>
                    <a:pt x="203" y="742"/>
                  </a:lnTo>
                  <a:lnTo>
                    <a:pt x="201" y="742"/>
                  </a:lnTo>
                  <a:lnTo>
                    <a:pt x="199" y="742"/>
                  </a:lnTo>
                  <a:lnTo>
                    <a:pt x="197" y="743"/>
                  </a:lnTo>
                  <a:lnTo>
                    <a:pt x="194" y="745"/>
                  </a:lnTo>
                  <a:lnTo>
                    <a:pt x="194" y="743"/>
                  </a:lnTo>
                  <a:lnTo>
                    <a:pt x="196" y="742"/>
                  </a:lnTo>
                  <a:lnTo>
                    <a:pt x="197" y="742"/>
                  </a:lnTo>
                  <a:lnTo>
                    <a:pt x="196" y="740"/>
                  </a:lnTo>
                  <a:lnTo>
                    <a:pt x="197" y="738"/>
                  </a:lnTo>
                  <a:lnTo>
                    <a:pt x="199" y="738"/>
                  </a:lnTo>
                  <a:lnTo>
                    <a:pt x="197" y="738"/>
                  </a:lnTo>
                  <a:lnTo>
                    <a:pt x="197" y="740"/>
                  </a:lnTo>
                  <a:lnTo>
                    <a:pt x="196" y="740"/>
                  </a:lnTo>
                  <a:lnTo>
                    <a:pt x="196" y="742"/>
                  </a:lnTo>
                  <a:lnTo>
                    <a:pt x="196" y="740"/>
                  </a:lnTo>
                  <a:lnTo>
                    <a:pt x="196" y="738"/>
                  </a:lnTo>
                  <a:lnTo>
                    <a:pt x="197" y="738"/>
                  </a:lnTo>
                  <a:lnTo>
                    <a:pt x="197" y="735"/>
                  </a:lnTo>
                  <a:lnTo>
                    <a:pt x="199" y="735"/>
                  </a:lnTo>
                  <a:lnTo>
                    <a:pt x="197" y="733"/>
                  </a:lnTo>
                  <a:lnTo>
                    <a:pt x="197" y="731"/>
                  </a:lnTo>
                  <a:lnTo>
                    <a:pt x="196" y="735"/>
                  </a:lnTo>
                  <a:lnTo>
                    <a:pt x="196" y="736"/>
                  </a:lnTo>
                  <a:lnTo>
                    <a:pt x="196" y="738"/>
                  </a:lnTo>
                  <a:lnTo>
                    <a:pt x="194" y="740"/>
                  </a:lnTo>
                  <a:lnTo>
                    <a:pt x="194" y="743"/>
                  </a:lnTo>
                  <a:lnTo>
                    <a:pt x="192" y="745"/>
                  </a:lnTo>
                  <a:lnTo>
                    <a:pt x="189" y="747"/>
                  </a:lnTo>
                  <a:lnTo>
                    <a:pt x="191" y="750"/>
                  </a:lnTo>
                  <a:lnTo>
                    <a:pt x="189" y="750"/>
                  </a:lnTo>
                  <a:lnTo>
                    <a:pt x="191" y="750"/>
                  </a:lnTo>
                  <a:lnTo>
                    <a:pt x="189" y="750"/>
                  </a:lnTo>
                  <a:lnTo>
                    <a:pt x="189" y="752"/>
                  </a:lnTo>
                  <a:lnTo>
                    <a:pt x="187" y="752"/>
                  </a:lnTo>
                  <a:lnTo>
                    <a:pt x="186" y="752"/>
                  </a:lnTo>
                  <a:lnTo>
                    <a:pt x="184" y="754"/>
                  </a:lnTo>
                  <a:lnTo>
                    <a:pt x="182" y="754"/>
                  </a:lnTo>
                  <a:lnTo>
                    <a:pt x="180" y="754"/>
                  </a:lnTo>
                  <a:lnTo>
                    <a:pt x="179" y="755"/>
                  </a:lnTo>
                  <a:lnTo>
                    <a:pt x="179" y="754"/>
                  </a:lnTo>
                  <a:lnTo>
                    <a:pt x="180" y="754"/>
                  </a:lnTo>
                  <a:lnTo>
                    <a:pt x="180" y="752"/>
                  </a:lnTo>
                  <a:lnTo>
                    <a:pt x="182" y="752"/>
                  </a:lnTo>
                  <a:lnTo>
                    <a:pt x="182" y="750"/>
                  </a:lnTo>
                  <a:lnTo>
                    <a:pt x="184" y="750"/>
                  </a:lnTo>
                  <a:lnTo>
                    <a:pt x="184" y="748"/>
                  </a:lnTo>
                  <a:lnTo>
                    <a:pt x="186" y="748"/>
                  </a:lnTo>
                  <a:lnTo>
                    <a:pt x="187" y="748"/>
                  </a:lnTo>
                  <a:lnTo>
                    <a:pt x="187" y="747"/>
                  </a:lnTo>
                  <a:lnTo>
                    <a:pt x="189" y="745"/>
                  </a:lnTo>
                  <a:lnTo>
                    <a:pt x="187" y="745"/>
                  </a:lnTo>
                  <a:lnTo>
                    <a:pt x="189" y="745"/>
                  </a:lnTo>
                  <a:lnTo>
                    <a:pt x="191" y="743"/>
                  </a:lnTo>
                  <a:lnTo>
                    <a:pt x="191" y="742"/>
                  </a:lnTo>
                  <a:lnTo>
                    <a:pt x="191" y="740"/>
                  </a:lnTo>
                  <a:lnTo>
                    <a:pt x="191" y="738"/>
                  </a:lnTo>
                  <a:lnTo>
                    <a:pt x="191" y="736"/>
                  </a:lnTo>
                  <a:lnTo>
                    <a:pt x="191" y="740"/>
                  </a:lnTo>
                  <a:lnTo>
                    <a:pt x="191" y="742"/>
                  </a:lnTo>
                  <a:lnTo>
                    <a:pt x="189" y="743"/>
                  </a:lnTo>
                  <a:lnTo>
                    <a:pt x="187" y="743"/>
                  </a:lnTo>
                  <a:lnTo>
                    <a:pt x="189" y="743"/>
                  </a:lnTo>
                  <a:lnTo>
                    <a:pt x="187" y="745"/>
                  </a:lnTo>
                  <a:lnTo>
                    <a:pt x="189" y="745"/>
                  </a:lnTo>
                  <a:lnTo>
                    <a:pt x="187" y="747"/>
                  </a:lnTo>
                  <a:lnTo>
                    <a:pt x="187" y="745"/>
                  </a:lnTo>
                  <a:lnTo>
                    <a:pt x="186" y="745"/>
                  </a:lnTo>
                  <a:lnTo>
                    <a:pt x="187" y="743"/>
                  </a:lnTo>
                  <a:lnTo>
                    <a:pt x="189" y="742"/>
                  </a:lnTo>
                  <a:lnTo>
                    <a:pt x="187" y="742"/>
                  </a:lnTo>
                  <a:lnTo>
                    <a:pt x="187" y="743"/>
                  </a:lnTo>
                  <a:lnTo>
                    <a:pt x="186" y="743"/>
                  </a:lnTo>
                  <a:lnTo>
                    <a:pt x="186" y="742"/>
                  </a:lnTo>
                  <a:lnTo>
                    <a:pt x="186" y="745"/>
                  </a:lnTo>
                  <a:lnTo>
                    <a:pt x="184" y="745"/>
                  </a:lnTo>
                  <a:lnTo>
                    <a:pt x="186" y="743"/>
                  </a:lnTo>
                  <a:lnTo>
                    <a:pt x="184" y="743"/>
                  </a:lnTo>
                  <a:lnTo>
                    <a:pt x="184" y="742"/>
                  </a:lnTo>
                  <a:lnTo>
                    <a:pt x="184" y="740"/>
                  </a:lnTo>
                  <a:lnTo>
                    <a:pt x="186" y="740"/>
                  </a:lnTo>
                  <a:lnTo>
                    <a:pt x="187" y="738"/>
                  </a:lnTo>
                  <a:lnTo>
                    <a:pt x="187" y="736"/>
                  </a:lnTo>
                  <a:lnTo>
                    <a:pt x="187" y="738"/>
                  </a:lnTo>
                  <a:lnTo>
                    <a:pt x="186" y="740"/>
                  </a:lnTo>
                  <a:lnTo>
                    <a:pt x="184" y="740"/>
                  </a:lnTo>
                  <a:lnTo>
                    <a:pt x="182" y="742"/>
                  </a:lnTo>
                  <a:lnTo>
                    <a:pt x="184" y="742"/>
                  </a:lnTo>
                  <a:lnTo>
                    <a:pt x="184" y="743"/>
                  </a:lnTo>
                  <a:lnTo>
                    <a:pt x="184" y="745"/>
                  </a:lnTo>
                  <a:lnTo>
                    <a:pt x="184" y="747"/>
                  </a:lnTo>
                  <a:lnTo>
                    <a:pt x="182" y="747"/>
                  </a:lnTo>
                  <a:lnTo>
                    <a:pt x="182" y="748"/>
                  </a:lnTo>
                  <a:lnTo>
                    <a:pt x="182" y="745"/>
                  </a:lnTo>
                  <a:lnTo>
                    <a:pt x="180" y="745"/>
                  </a:lnTo>
                  <a:lnTo>
                    <a:pt x="182" y="747"/>
                  </a:lnTo>
                  <a:lnTo>
                    <a:pt x="180" y="747"/>
                  </a:lnTo>
                  <a:lnTo>
                    <a:pt x="179" y="747"/>
                  </a:lnTo>
                  <a:lnTo>
                    <a:pt x="182" y="747"/>
                  </a:lnTo>
                  <a:lnTo>
                    <a:pt x="179" y="748"/>
                  </a:lnTo>
                  <a:lnTo>
                    <a:pt x="177" y="747"/>
                  </a:lnTo>
                  <a:lnTo>
                    <a:pt x="175" y="745"/>
                  </a:lnTo>
                  <a:lnTo>
                    <a:pt x="177" y="745"/>
                  </a:lnTo>
                  <a:lnTo>
                    <a:pt x="174" y="743"/>
                  </a:lnTo>
                  <a:lnTo>
                    <a:pt x="174" y="742"/>
                  </a:lnTo>
                  <a:lnTo>
                    <a:pt x="174" y="740"/>
                  </a:lnTo>
                  <a:lnTo>
                    <a:pt x="174" y="742"/>
                  </a:lnTo>
                  <a:lnTo>
                    <a:pt x="175" y="743"/>
                  </a:lnTo>
                  <a:lnTo>
                    <a:pt x="177" y="743"/>
                  </a:lnTo>
                  <a:lnTo>
                    <a:pt x="177" y="742"/>
                  </a:lnTo>
                  <a:lnTo>
                    <a:pt x="179" y="742"/>
                  </a:lnTo>
                  <a:lnTo>
                    <a:pt x="179" y="743"/>
                  </a:lnTo>
                  <a:lnTo>
                    <a:pt x="180" y="743"/>
                  </a:lnTo>
                  <a:lnTo>
                    <a:pt x="182" y="742"/>
                  </a:lnTo>
                  <a:lnTo>
                    <a:pt x="180" y="740"/>
                  </a:lnTo>
                  <a:lnTo>
                    <a:pt x="179" y="738"/>
                  </a:lnTo>
                  <a:lnTo>
                    <a:pt x="180" y="736"/>
                  </a:lnTo>
                  <a:lnTo>
                    <a:pt x="180" y="738"/>
                  </a:lnTo>
                  <a:lnTo>
                    <a:pt x="184" y="738"/>
                  </a:lnTo>
                  <a:lnTo>
                    <a:pt x="184" y="740"/>
                  </a:lnTo>
                  <a:lnTo>
                    <a:pt x="184" y="738"/>
                  </a:lnTo>
                  <a:lnTo>
                    <a:pt x="184" y="740"/>
                  </a:lnTo>
                  <a:lnTo>
                    <a:pt x="184" y="736"/>
                  </a:lnTo>
                  <a:lnTo>
                    <a:pt x="186" y="735"/>
                  </a:lnTo>
                  <a:lnTo>
                    <a:pt x="187" y="735"/>
                  </a:lnTo>
                  <a:lnTo>
                    <a:pt x="187" y="736"/>
                  </a:lnTo>
                  <a:lnTo>
                    <a:pt x="189" y="735"/>
                  </a:lnTo>
                  <a:lnTo>
                    <a:pt x="187" y="735"/>
                  </a:lnTo>
                  <a:lnTo>
                    <a:pt x="186" y="735"/>
                  </a:lnTo>
                  <a:lnTo>
                    <a:pt x="184" y="736"/>
                  </a:lnTo>
                  <a:lnTo>
                    <a:pt x="184" y="735"/>
                  </a:lnTo>
                  <a:lnTo>
                    <a:pt x="184" y="736"/>
                  </a:lnTo>
                  <a:lnTo>
                    <a:pt x="184" y="738"/>
                  </a:lnTo>
                  <a:lnTo>
                    <a:pt x="182" y="738"/>
                  </a:lnTo>
                  <a:lnTo>
                    <a:pt x="182" y="736"/>
                  </a:lnTo>
                  <a:lnTo>
                    <a:pt x="182" y="738"/>
                  </a:lnTo>
                  <a:lnTo>
                    <a:pt x="182" y="736"/>
                  </a:lnTo>
                  <a:lnTo>
                    <a:pt x="180" y="736"/>
                  </a:lnTo>
                  <a:lnTo>
                    <a:pt x="179" y="736"/>
                  </a:lnTo>
                  <a:lnTo>
                    <a:pt x="179" y="735"/>
                  </a:lnTo>
                  <a:lnTo>
                    <a:pt x="180" y="735"/>
                  </a:lnTo>
                  <a:lnTo>
                    <a:pt x="179" y="735"/>
                  </a:lnTo>
                  <a:lnTo>
                    <a:pt x="180" y="733"/>
                  </a:lnTo>
                  <a:lnTo>
                    <a:pt x="180" y="731"/>
                  </a:lnTo>
                  <a:lnTo>
                    <a:pt x="179" y="733"/>
                  </a:lnTo>
                  <a:lnTo>
                    <a:pt x="179" y="731"/>
                  </a:lnTo>
                  <a:lnTo>
                    <a:pt x="177" y="733"/>
                  </a:lnTo>
                  <a:lnTo>
                    <a:pt x="177" y="731"/>
                  </a:lnTo>
                  <a:lnTo>
                    <a:pt x="175" y="731"/>
                  </a:lnTo>
                  <a:lnTo>
                    <a:pt x="174" y="730"/>
                  </a:lnTo>
                  <a:lnTo>
                    <a:pt x="174" y="728"/>
                  </a:lnTo>
                  <a:lnTo>
                    <a:pt x="174" y="725"/>
                  </a:lnTo>
                  <a:lnTo>
                    <a:pt x="175" y="725"/>
                  </a:lnTo>
                  <a:lnTo>
                    <a:pt x="175" y="721"/>
                  </a:lnTo>
                  <a:lnTo>
                    <a:pt x="177" y="721"/>
                  </a:lnTo>
                  <a:lnTo>
                    <a:pt x="177" y="718"/>
                  </a:lnTo>
                  <a:lnTo>
                    <a:pt x="177" y="716"/>
                  </a:lnTo>
                  <a:lnTo>
                    <a:pt x="179" y="714"/>
                  </a:lnTo>
                  <a:lnTo>
                    <a:pt x="177" y="714"/>
                  </a:lnTo>
                  <a:lnTo>
                    <a:pt x="177" y="718"/>
                  </a:lnTo>
                  <a:lnTo>
                    <a:pt x="175" y="718"/>
                  </a:lnTo>
                  <a:lnTo>
                    <a:pt x="175" y="719"/>
                  </a:lnTo>
                  <a:lnTo>
                    <a:pt x="172" y="719"/>
                  </a:lnTo>
                  <a:lnTo>
                    <a:pt x="172" y="721"/>
                  </a:lnTo>
                  <a:lnTo>
                    <a:pt x="170" y="725"/>
                  </a:lnTo>
                  <a:lnTo>
                    <a:pt x="169" y="725"/>
                  </a:lnTo>
                  <a:lnTo>
                    <a:pt x="167" y="726"/>
                  </a:lnTo>
                  <a:lnTo>
                    <a:pt x="163" y="726"/>
                  </a:lnTo>
                  <a:lnTo>
                    <a:pt x="163" y="728"/>
                  </a:lnTo>
                  <a:lnTo>
                    <a:pt x="162" y="730"/>
                  </a:lnTo>
                  <a:lnTo>
                    <a:pt x="162" y="728"/>
                  </a:lnTo>
                  <a:lnTo>
                    <a:pt x="163" y="726"/>
                  </a:lnTo>
                  <a:lnTo>
                    <a:pt x="162" y="726"/>
                  </a:lnTo>
                  <a:lnTo>
                    <a:pt x="162" y="725"/>
                  </a:lnTo>
                  <a:lnTo>
                    <a:pt x="160" y="726"/>
                  </a:lnTo>
                  <a:lnTo>
                    <a:pt x="158" y="726"/>
                  </a:lnTo>
                  <a:lnTo>
                    <a:pt x="158" y="725"/>
                  </a:lnTo>
                  <a:lnTo>
                    <a:pt x="160" y="723"/>
                  </a:lnTo>
                  <a:lnTo>
                    <a:pt x="162" y="719"/>
                  </a:lnTo>
                  <a:lnTo>
                    <a:pt x="160" y="719"/>
                  </a:lnTo>
                  <a:lnTo>
                    <a:pt x="162" y="719"/>
                  </a:lnTo>
                  <a:lnTo>
                    <a:pt x="162" y="718"/>
                  </a:lnTo>
                  <a:lnTo>
                    <a:pt x="163" y="714"/>
                  </a:lnTo>
                  <a:lnTo>
                    <a:pt x="162" y="718"/>
                  </a:lnTo>
                  <a:lnTo>
                    <a:pt x="160" y="718"/>
                  </a:lnTo>
                  <a:lnTo>
                    <a:pt x="158" y="718"/>
                  </a:lnTo>
                  <a:lnTo>
                    <a:pt x="157" y="718"/>
                  </a:lnTo>
                  <a:lnTo>
                    <a:pt x="158" y="714"/>
                  </a:lnTo>
                  <a:lnTo>
                    <a:pt x="157" y="716"/>
                  </a:lnTo>
                  <a:lnTo>
                    <a:pt x="155" y="716"/>
                  </a:lnTo>
                  <a:lnTo>
                    <a:pt x="155" y="718"/>
                  </a:lnTo>
                  <a:lnTo>
                    <a:pt x="157" y="716"/>
                  </a:lnTo>
                  <a:lnTo>
                    <a:pt x="157" y="718"/>
                  </a:lnTo>
                  <a:lnTo>
                    <a:pt x="155" y="719"/>
                  </a:lnTo>
                  <a:lnTo>
                    <a:pt x="153" y="719"/>
                  </a:lnTo>
                  <a:lnTo>
                    <a:pt x="152" y="719"/>
                  </a:lnTo>
                  <a:lnTo>
                    <a:pt x="152" y="718"/>
                  </a:lnTo>
                  <a:lnTo>
                    <a:pt x="155" y="718"/>
                  </a:lnTo>
                  <a:lnTo>
                    <a:pt x="153" y="718"/>
                  </a:lnTo>
                  <a:lnTo>
                    <a:pt x="152" y="718"/>
                  </a:lnTo>
                  <a:lnTo>
                    <a:pt x="150" y="718"/>
                  </a:lnTo>
                  <a:lnTo>
                    <a:pt x="148" y="716"/>
                  </a:lnTo>
                  <a:lnTo>
                    <a:pt x="148" y="714"/>
                  </a:lnTo>
                  <a:lnTo>
                    <a:pt x="148" y="716"/>
                  </a:lnTo>
                  <a:lnTo>
                    <a:pt x="146" y="714"/>
                  </a:lnTo>
                  <a:lnTo>
                    <a:pt x="145" y="716"/>
                  </a:lnTo>
                  <a:lnTo>
                    <a:pt x="145" y="714"/>
                  </a:lnTo>
                  <a:lnTo>
                    <a:pt x="143" y="716"/>
                  </a:lnTo>
                  <a:lnTo>
                    <a:pt x="141" y="714"/>
                  </a:lnTo>
                  <a:lnTo>
                    <a:pt x="141" y="713"/>
                  </a:lnTo>
                  <a:lnTo>
                    <a:pt x="140" y="713"/>
                  </a:lnTo>
                  <a:lnTo>
                    <a:pt x="140" y="711"/>
                  </a:lnTo>
                  <a:lnTo>
                    <a:pt x="138" y="713"/>
                  </a:lnTo>
                  <a:lnTo>
                    <a:pt x="138" y="711"/>
                  </a:lnTo>
                  <a:lnTo>
                    <a:pt x="138" y="709"/>
                  </a:lnTo>
                  <a:lnTo>
                    <a:pt x="136" y="711"/>
                  </a:lnTo>
                  <a:lnTo>
                    <a:pt x="136" y="709"/>
                  </a:lnTo>
                  <a:lnTo>
                    <a:pt x="135" y="711"/>
                  </a:lnTo>
                  <a:lnTo>
                    <a:pt x="135" y="709"/>
                  </a:lnTo>
                  <a:lnTo>
                    <a:pt x="135" y="713"/>
                  </a:lnTo>
                  <a:lnTo>
                    <a:pt x="136" y="714"/>
                  </a:lnTo>
                  <a:lnTo>
                    <a:pt x="133" y="713"/>
                  </a:lnTo>
                  <a:lnTo>
                    <a:pt x="133" y="714"/>
                  </a:lnTo>
                  <a:lnTo>
                    <a:pt x="131" y="716"/>
                  </a:lnTo>
                  <a:lnTo>
                    <a:pt x="131" y="714"/>
                  </a:lnTo>
                  <a:lnTo>
                    <a:pt x="133" y="713"/>
                  </a:lnTo>
                  <a:lnTo>
                    <a:pt x="133" y="709"/>
                  </a:lnTo>
                  <a:lnTo>
                    <a:pt x="133" y="708"/>
                  </a:lnTo>
                  <a:lnTo>
                    <a:pt x="133" y="706"/>
                  </a:lnTo>
                  <a:lnTo>
                    <a:pt x="133" y="704"/>
                  </a:lnTo>
                  <a:lnTo>
                    <a:pt x="131" y="704"/>
                  </a:lnTo>
                  <a:lnTo>
                    <a:pt x="131" y="708"/>
                  </a:lnTo>
                  <a:lnTo>
                    <a:pt x="128" y="708"/>
                  </a:lnTo>
                  <a:lnTo>
                    <a:pt x="128" y="711"/>
                  </a:lnTo>
                  <a:lnTo>
                    <a:pt x="128" y="713"/>
                  </a:lnTo>
                  <a:lnTo>
                    <a:pt x="126" y="714"/>
                  </a:lnTo>
                  <a:lnTo>
                    <a:pt x="124" y="714"/>
                  </a:lnTo>
                  <a:lnTo>
                    <a:pt x="126" y="713"/>
                  </a:lnTo>
                  <a:lnTo>
                    <a:pt x="124" y="711"/>
                  </a:lnTo>
                  <a:lnTo>
                    <a:pt x="124" y="709"/>
                  </a:lnTo>
                  <a:lnTo>
                    <a:pt x="123" y="709"/>
                  </a:lnTo>
                  <a:lnTo>
                    <a:pt x="123" y="708"/>
                  </a:lnTo>
                  <a:lnTo>
                    <a:pt x="121" y="709"/>
                  </a:lnTo>
                  <a:lnTo>
                    <a:pt x="123" y="709"/>
                  </a:lnTo>
                  <a:lnTo>
                    <a:pt x="121" y="709"/>
                  </a:lnTo>
                  <a:lnTo>
                    <a:pt x="119" y="708"/>
                  </a:lnTo>
                  <a:lnTo>
                    <a:pt x="119" y="706"/>
                  </a:lnTo>
                  <a:lnTo>
                    <a:pt x="118" y="704"/>
                  </a:lnTo>
                  <a:lnTo>
                    <a:pt x="116" y="706"/>
                  </a:lnTo>
                  <a:lnTo>
                    <a:pt x="118" y="704"/>
                  </a:lnTo>
                  <a:lnTo>
                    <a:pt x="116" y="704"/>
                  </a:lnTo>
                  <a:lnTo>
                    <a:pt x="114" y="702"/>
                  </a:lnTo>
                  <a:lnTo>
                    <a:pt x="116" y="702"/>
                  </a:lnTo>
                  <a:lnTo>
                    <a:pt x="114" y="702"/>
                  </a:lnTo>
                  <a:lnTo>
                    <a:pt x="116" y="702"/>
                  </a:lnTo>
                  <a:lnTo>
                    <a:pt x="114" y="702"/>
                  </a:lnTo>
                  <a:lnTo>
                    <a:pt x="116" y="701"/>
                  </a:lnTo>
                  <a:lnTo>
                    <a:pt x="118" y="701"/>
                  </a:lnTo>
                  <a:lnTo>
                    <a:pt x="119" y="701"/>
                  </a:lnTo>
                  <a:lnTo>
                    <a:pt x="119" y="699"/>
                  </a:lnTo>
                  <a:lnTo>
                    <a:pt x="118" y="699"/>
                  </a:lnTo>
                  <a:lnTo>
                    <a:pt x="118" y="697"/>
                  </a:lnTo>
                  <a:lnTo>
                    <a:pt x="116" y="697"/>
                  </a:lnTo>
                  <a:lnTo>
                    <a:pt x="116" y="696"/>
                  </a:lnTo>
                  <a:lnTo>
                    <a:pt x="116" y="694"/>
                  </a:lnTo>
                  <a:lnTo>
                    <a:pt x="114" y="696"/>
                  </a:lnTo>
                  <a:lnTo>
                    <a:pt x="116" y="694"/>
                  </a:lnTo>
                  <a:lnTo>
                    <a:pt x="114" y="692"/>
                  </a:lnTo>
                  <a:lnTo>
                    <a:pt x="114" y="694"/>
                  </a:lnTo>
                  <a:lnTo>
                    <a:pt x="114" y="692"/>
                  </a:lnTo>
                  <a:lnTo>
                    <a:pt x="112" y="692"/>
                  </a:lnTo>
                  <a:lnTo>
                    <a:pt x="114" y="691"/>
                  </a:lnTo>
                  <a:lnTo>
                    <a:pt x="111" y="691"/>
                  </a:lnTo>
                  <a:lnTo>
                    <a:pt x="112" y="691"/>
                  </a:lnTo>
                  <a:lnTo>
                    <a:pt x="112" y="689"/>
                  </a:lnTo>
                  <a:lnTo>
                    <a:pt x="116" y="689"/>
                  </a:lnTo>
                  <a:lnTo>
                    <a:pt x="114" y="687"/>
                  </a:lnTo>
                  <a:lnTo>
                    <a:pt x="112" y="689"/>
                  </a:lnTo>
                  <a:lnTo>
                    <a:pt x="111" y="689"/>
                  </a:lnTo>
                  <a:lnTo>
                    <a:pt x="112" y="689"/>
                  </a:lnTo>
                  <a:lnTo>
                    <a:pt x="111" y="689"/>
                  </a:lnTo>
                  <a:lnTo>
                    <a:pt x="109" y="689"/>
                  </a:lnTo>
                  <a:lnTo>
                    <a:pt x="107" y="689"/>
                  </a:lnTo>
                  <a:lnTo>
                    <a:pt x="109" y="687"/>
                  </a:lnTo>
                  <a:lnTo>
                    <a:pt x="112" y="687"/>
                  </a:lnTo>
                  <a:lnTo>
                    <a:pt x="111" y="687"/>
                  </a:lnTo>
                  <a:lnTo>
                    <a:pt x="112" y="685"/>
                  </a:lnTo>
                  <a:lnTo>
                    <a:pt x="111" y="685"/>
                  </a:lnTo>
                  <a:lnTo>
                    <a:pt x="112" y="685"/>
                  </a:lnTo>
                  <a:lnTo>
                    <a:pt x="111" y="684"/>
                  </a:lnTo>
                  <a:lnTo>
                    <a:pt x="109" y="684"/>
                  </a:lnTo>
                  <a:lnTo>
                    <a:pt x="109" y="682"/>
                  </a:lnTo>
                  <a:lnTo>
                    <a:pt x="109" y="680"/>
                  </a:lnTo>
                  <a:lnTo>
                    <a:pt x="111" y="680"/>
                  </a:lnTo>
                  <a:lnTo>
                    <a:pt x="111" y="682"/>
                  </a:lnTo>
                  <a:lnTo>
                    <a:pt x="112" y="682"/>
                  </a:lnTo>
                  <a:lnTo>
                    <a:pt x="112" y="684"/>
                  </a:lnTo>
                  <a:lnTo>
                    <a:pt x="114" y="685"/>
                  </a:lnTo>
                  <a:lnTo>
                    <a:pt x="112" y="685"/>
                  </a:lnTo>
                  <a:lnTo>
                    <a:pt x="114" y="685"/>
                  </a:lnTo>
                  <a:lnTo>
                    <a:pt x="116" y="687"/>
                  </a:lnTo>
                  <a:lnTo>
                    <a:pt x="116" y="684"/>
                  </a:lnTo>
                  <a:lnTo>
                    <a:pt x="114" y="684"/>
                  </a:lnTo>
                  <a:lnTo>
                    <a:pt x="114" y="682"/>
                  </a:lnTo>
                  <a:lnTo>
                    <a:pt x="112" y="682"/>
                  </a:lnTo>
                  <a:lnTo>
                    <a:pt x="112" y="680"/>
                  </a:lnTo>
                  <a:lnTo>
                    <a:pt x="111" y="680"/>
                  </a:lnTo>
                  <a:lnTo>
                    <a:pt x="112" y="679"/>
                  </a:lnTo>
                  <a:lnTo>
                    <a:pt x="111" y="679"/>
                  </a:lnTo>
                  <a:lnTo>
                    <a:pt x="111" y="677"/>
                  </a:lnTo>
                  <a:lnTo>
                    <a:pt x="109" y="677"/>
                  </a:lnTo>
                  <a:lnTo>
                    <a:pt x="109" y="675"/>
                  </a:lnTo>
                  <a:lnTo>
                    <a:pt x="111" y="675"/>
                  </a:lnTo>
                  <a:lnTo>
                    <a:pt x="112" y="677"/>
                  </a:lnTo>
                  <a:lnTo>
                    <a:pt x="114" y="677"/>
                  </a:lnTo>
                  <a:lnTo>
                    <a:pt x="114" y="675"/>
                  </a:lnTo>
                  <a:lnTo>
                    <a:pt x="112" y="675"/>
                  </a:lnTo>
                  <a:lnTo>
                    <a:pt x="111" y="675"/>
                  </a:lnTo>
                  <a:lnTo>
                    <a:pt x="112" y="675"/>
                  </a:lnTo>
                  <a:lnTo>
                    <a:pt x="114" y="674"/>
                  </a:lnTo>
                  <a:lnTo>
                    <a:pt x="114" y="675"/>
                  </a:lnTo>
                  <a:lnTo>
                    <a:pt x="116" y="675"/>
                  </a:lnTo>
                  <a:lnTo>
                    <a:pt x="114" y="675"/>
                  </a:lnTo>
                  <a:lnTo>
                    <a:pt x="116" y="674"/>
                  </a:lnTo>
                  <a:lnTo>
                    <a:pt x="114" y="674"/>
                  </a:lnTo>
                  <a:lnTo>
                    <a:pt x="114" y="672"/>
                  </a:lnTo>
                  <a:lnTo>
                    <a:pt x="112" y="672"/>
                  </a:lnTo>
                  <a:lnTo>
                    <a:pt x="114" y="670"/>
                  </a:lnTo>
                  <a:lnTo>
                    <a:pt x="112" y="668"/>
                  </a:lnTo>
                  <a:lnTo>
                    <a:pt x="114" y="668"/>
                  </a:lnTo>
                  <a:lnTo>
                    <a:pt x="112" y="667"/>
                  </a:lnTo>
                  <a:lnTo>
                    <a:pt x="114" y="667"/>
                  </a:lnTo>
                  <a:lnTo>
                    <a:pt x="116" y="667"/>
                  </a:lnTo>
                  <a:lnTo>
                    <a:pt x="114" y="665"/>
                  </a:lnTo>
                  <a:lnTo>
                    <a:pt x="111" y="663"/>
                  </a:lnTo>
                  <a:lnTo>
                    <a:pt x="112" y="663"/>
                  </a:lnTo>
                  <a:lnTo>
                    <a:pt x="114" y="663"/>
                  </a:lnTo>
                  <a:lnTo>
                    <a:pt x="116" y="663"/>
                  </a:lnTo>
                  <a:lnTo>
                    <a:pt x="118" y="665"/>
                  </a:lnTo>
                  <a:lnTo>
                    <a:pt x="118" y="663"/>
                  </a:lnTo>
                  <a:lnTo>
                    <a:pt x="114" y="663"/>
                  </a:lnTo>
                  <a:lnTo>
                    <a:pt x="114" y="662"/>
                  </a:lnTo>
                  <a:lnTo>
                    <a:pt x="112" y="662"/>
                  </a:lnTo>
                  <a:lnTo>
                    <a:pt x="114" y="660"/>
                  </a:lnTo>
                  <a:lnTo>
                    <a:pt x="112" y="658"/>
                  </a:lnTo>
                  <a:lnTo>
                    <a:pt x="114" y="658"/>
                  </a:lnTo>
                  <a:lnTo>
                    <a:pt x="114" y="657"/>
                  </a:lnTo>
                  <a:lnTo>
                    <a:pt x="116" y="657"/>
                  </a:lnTo>
                  <a:lnTo>
                    <a:pt x="116" y="655"/>
                  </a:lnTo>
                  <a:lnTo>
                    <a:pt x="114" y="655"/>
                  </a:lnTo>
                  <a:lnTo>
                    <a:pt x="112" y="655"/>
                  </a:lnTo>
                  <a:lnTo>
                    <a:pt x="114" y="655"/>
                  </a:lnTo>
                  <a:lnTo>
                    <a:pt x="112" y="655"/>
                  </a:lnTo>
                  <a:lnTo>
                    <a:pt x="114" y="655"/>
                  </a:lnTo>
                  <a:lnTo>
                    <a:pt x="114" y="653"/>
                  </a:lnTo>
                  <a:lnTo>
                    <a:pt x="112" y="653"/>
                  </a:lnTo>
                  <a:lnTo>
                    <a:pt x="114" y="653"/>
                  </a:lnTo>
                  <a:lnTo>
                    <a:pt x="112" y="651"/>
                  </a:lnTo>
                  <a:lnTo>
                    <a:pt x="111" y="650"/>
                  </a:lnTo>
                  <a:lnTo>
                    <a:pt x="114" y="650"/>
                  </a:lnTo>
                  <a:lnTo>
                    <a:pt x="116" y="648"/>
                  </a:lnTo>
                  <a:lnTo>
                    <a:pt x="114" y="648"/>
                  </a:lnTo>
                  <a:lnTo>
                    <a:pt x="112" y="646"/>
                  </a:lnTo>
                  <a:lnTo>
                    <a:pt x="111" y="646"/>
                  </a:lnTo>
                  <a:lnTo>
                    <a:pt x="111" y="645"/>
                  </a:lnTo>
                  <a:lnTo>
                    <a:pt x="109" y="645"/>
                  </a:lnTo>
                  <a:lnTo>
                    <a:pt x="111" y="645"/>
                  </a:lnTo>
                  <a:lnTo>
                    <a:pt x="114" y="645"/>
                  </a:lnTo>
                  <a:lnTo>
                    <a:pt x="116" y="645"/>
                  </a:lnTo>
                  <a:lnTo>
                    <a:pt x="116" y="643"/>
                  </a:lnTo>
                  <a:lnTo>
                    <a:pt x="114" y="643"/>
                  </a:lnTo>
                  <a:lnTo>
                    <a:pt x="112" y="643"/>
                  </a:lnTo>
                  <a:lnTo>
                    <a:pt x="111" y="640"/>
                  </a:lnTo>
                  <a:lnTo>
                    <a:pt x="109" y="641"/>
                  </a:lnTo>
                  <a:lnTo>
                    <a:pt x="111" y="640"/>
                  </a:lnTo>
                  <a:lnTo>
                    <a:pt x="109" y="638"/>
                  </a:lnTo>
                  <a:lnTo>
                    <a:pt x="111" y="638"/>
                  </a:lnTo>
                  <a:lnTo>
                    <a:pt x="112" y="640"/>
                  </a:lnTo>
                  <a:lnTo>
                    <a:pt x="114" y="640"/>
                  </a:lnTo>
                  <a:lnTo>
                    <a:pt x="116" y="640"/>
                  </a:lnTo>
                  <a:lnTo>
                    <a:pt x="118" y="641"/>
                  </a:lnTo>
                  <a:lnTo>
                    <a:pt x="119" y="641"/>
                  </a:lnTo>
                  <a:lnTo>
                    <a:pt x="118" y="640"/>
                  </a:lnTo>
                  <a:lnTo>
                    <a:pt x="116" y="640"/>
                  </a:lnTo>
                  <a:lnTo>
                    <a:pt x="116" y="638"/>
                  </a:lnTo>
                  <a:lnTo>
                    <a:pt x="114" y="638"/>
                  </a:lnTo>
                  <a:lnTo>
                    <a:pt x="114" y="636"/>
                  </a:lnTo>
                  <a:lnTo>
                    <a:pt x="112" y="636"/>
                  </a:lnTo>
                  <a:lnTo>
                    <a:pt x="114" y="636"/>
                  </a:lnTo>
                  <a:lnTo>
                    <a:pt x="112" y="636"/>
                  </a:lnTo>
                  <a:lnTo>
                    <a:pt x="112" y="634"/>
                  </a:lnTo>
                  <a:lnTo>
                    <a:pt x="111" y="634"/>
                  </a:lnTo>
                  <a:lnTo>
                    <a:pt x="111" y="633"/>
                  </a:lnTo>
                  <a:lnTo>
                    <a:pt x="111" y="631"/>
                  </a:lnTo>
                  <a:lnTo>
                    <a:pt x="109" y="629"/>
                  </a:lnTo>
                  <a:lnTo>
                    <a:pt x="111" y="631"/>
                  </a:lnTo>
                  <a:lnTo>
                    <a:pt x="111" y="629"/>
                  </a:lnTo>
                  <a:lnTo>
                    <a:pt x="111" y="628"/>
                  </a:lnTo>
                  <a:lnTo>
                    <a:pt x="111" y="629"/>
                  </a:lnTo>
                  <a:lnTo>
                    <a:pt x="112" y="629"/>
                  </a:lnTo>
                  <a:lnTo>
                    <a:pt x="111" y="629"/>
                  </a:lnTo>
                  <a:lnTo>
                    <a:pt x="111" y="628"/>
                  </a:lnTo>
                  <a:lnTo>
                    <a:pt x="109" y="626"/>
                  </a:lnTo>
                  <a:lnTo>
                    <a:pt x="107" y="626"/>
                  </a:lnTo>
                  <a:lnTo>
                    <a:pt x="109" y="626"/>
                  </a:lnTo>
                  <a:lnTo>
                    <a:pt x="109" y="628"/>
                  </a:lnTo>
                  <a:lnTo>
                    <a:pt x="107" y="626"/>
                  </a:lnTo>
                  <a:lnTo>
                    <a:pt x="106" y="626"/>
                  </a:lnTo>
                  <a:lnTo>
                    <a:pt x="107" y="626"/>
                  </a:lnTo>
                  <a:lnTo>
                    <a:pt x="106" y="624"/>
                  </a:lnTo>
                  <a:lnTo>
                    <a:pt x="107" y="624"/>
                  </a:lnTo>
                  <a:lnTo>
                    <a:pt x="107" y="626"/>
                  </a:lnTo>
                  <a:lnTo>
                    <a:pt x="109" y="624"/>
                  </a:lnTo>
                  <a:lnTo>
                    <a:pt x="107" y="624"/>
                  </a:lnTo>
                  <a:lnTo>
                    <a:pt x="109" y="624"/>
                  </a:lnTo>
                  <a:lnTo>
                    <a:pt x="109" y="623"/>
                  </a:lnTo>
                  <a:lnTo>
                    <a:pt x="106" y="621"/>
                  </a:lnTo>
                  <a:lnTo>
                    <a:pt x="107" y="623"/>
                  </a:lnTo>
                  <a:lnTo>
                    <a:pt x="107" y="621"/>
                  </a:lnTo>
                  <a:lnTo>
                    <a:pt x="106" y="621"/>
                  </a:lnTo>
                  <a:lnTo>
                    <a:pt x="106" y="619"/>
                  </a:lnTo>
                  <a:lnTo>
                    <a:pt x="106" y="617"/>
                  </a:lnTo>
                  <a:lnTo>
                    <a:pt x="104" y="617"/>
                  </a:lnTo>
                  <a:lnTo>
                    <a:pt x="104" y="616"/>
                  </a:lnTo>
                  <a:lnTo>
                    <a:pt x="102" y="616"/>
                  </a:lnTo>
                  <a:lnTo>
                    <a:pt x="104" y="614"/>
                  </a:lnTo>
                  <a:lnTo>
                    <a:pt x="102" y="614"/>
                  </a:lnTo>
                  <a:lnTo>
                    <a:pt x="102" y="616"/>
                  </a:lnTo>
                  <a:lnTo>
                    <a:pt x="102" y="617"/>
                  </a:lnTo>
                  <a:lnTo>
                    <a:pt x="102" y="616"/>
                  </a:lnTo>
                  <a:lnTo>
                    <a:pt x="102" y="617"/>
                  </a:lnTo>
                  <a:lnTo>
                    <a:pt x="102" y="616"/>
                  </a:lnTo>
                  <a:lnTo>
                    <a:pt x="101" y="616"/>
                  </a:lnTo>
                  <a:lnTo>
                    <a:pt x="101" y="614"/>
                  </a:lnTo>
                  <a:lnTo>
                    <a:pt x="99" y="612"/>
                  </a:lnTo>
                  <a:lnTo>
                    <a:pt x="101" y="612"/>
                  </a:lnTo>
                  <a:lnTo>
                    <a:pt x="101" y="611"/>
                  </a:lnTo>
                  <a:lnTo>
                    <a:pt x="99" y="612"/>
                  </a:lnTo>
                  <a:lnTo>
                    <a:pt x="99" y="611"/>
                  </a:lnTo>
                  <a:lnTo>
                    <a:pt x="99" y="609"/>
                  </a:lnTo>
                  <a:lnTo>
                    <a:pt x="99" y="606"/>
                  </a:lnTo>
                  <a:lnTo>
                    <a:pt x="99" y="607"/>
                  </a:lnTo>
                  <a:lnTo>
                    <a:pt x="99" y="604"/>
                  </a:lnTo>
                  <a:lnTo>
                    <a:pt x="99" y="602"/>
                  </a:lnTo>
                  <a:lnTo>
                    <a:pt x="97" y="600"/>
                  </a:lnTo>
                  <a:lnTo>
                    <a:pt x="99" y="600"/>
                  </a:lnTo>
                  <a:lnTo>
                    <a:pt x="99" y="602"/>
                  </a:lnTo>
                  <a:lnTo>
                    <a:pt x="101" y="602"/>
                  </a:lnTo>
                  <a:lnTo>
                    <a:pt x="99" y="599"/>
                  </a:lnTo>
                  <a:lnTo>
                    <a:pt x="99" y="597"/>
                  </a:lnTo>
                  <a:lnTo>
                    <a:pt x="99" y="599"/>
                  </a:lnTo>
                  <a:lnTo>
                    <a:pt x="99" y="597"/>
                  </a:lnTo>
                  <a:lnTo>
                    <a:pt x="101" y="597"/>
                  </a:lnTo>
                  <a:lnTo>
                    <a:pt x="101" y="595"/>
                  </a:lnTo>
                  <a:lnTo>
                    <a:pt x="101" y="597"/>
                  </a:lnTo>
                  <a:lnTo>
                    <a:pt x="101" y="595"/>
                  </a:lnTo>
                  <a:lnTo>
                    <a:pt x="99" y="595"/>
                  </a:lnTo>
                  <a:lnTo>
                    <a:pt x="99" y="594"/>
                  </a:lnTo>
                  <a:lnTo>
                    <a:pt x="99" y="592"/>
                  </a:lnTo>
                  <a:lnTo>
                    <a:pt x="99" y="594"/>
                  </a:lnTo>
                  <a:lnTo>
                    <a:pt x="97" y="594"/>
                  </a:lnTo>
                  <a:lnTo>
                    <a:pt x="97" y="592"/>
                  </a:lnTo>
                  <a:lnTo>
                    <a:pt x="97" y="588"/>
                  </a:lnTo>
                  <a:lnTo>
                    <a:pt x="97" y="590"/>
                  </a:lnTo>
                  <a:lnTo>
                    <a:pt x="95" y="588"/>
                  </a:lnTo>
                  <a:lnTo>
                    <a:pt x="95" y="590"/>
                  </a:lnTo>
                  <a:lnTo>
                    <a:pt x="95" y="588"/>
                  </a:lnTo>
                  <a:lnTo>
                    <a:pt x="97" y="588"/>
                  </a:lnTo>
                  <a:lnTo>
                    <a:pt x="97" y="585"/>
                  </a:lnTo>
                  <a:lnTo>
                    <a:pt x="95" y="585"/>
                  </a:lnTo>
                  <a:lnTo>
                    <a:pt x="95" y="587"/>
                  </a:lnTo>
                  <a:lnTo>
                    <a:pt x="95" y="585"/>
                  </a:lnTo>
                  <a:lnTo>
                    <a:pt x="94" y="585"/>
                  </a:lnTo>
                  <a:lnTo>
                    <a:pt x="95" y="585"/>
                  </a:lnTo>
                  <a:lnTo>
                    <a:pt x="94" y="583"/>
                  </a:lnTo>
                  <a:lnTo>
                    <a:pt x="94" y="585"/>
                  </a:lnTo>
                  <a:lnTo>
                    <a:pt x="92" y="583"/>
                  </a:lnTo>
                  <a:lnTo>
                    <a:pt x="92" y="580"/>
                  </a:lnTo>
                  <a:lnTo>
                    <a:pt x="90" y="582"/>
                  </a:lnTo>
                  <a:lnTo>
                    <a:pt x="90" y="580"/>
                  </a:lnTo>
                  <a:lnTo>
                    <a:pt x="90" y="578"/>
                  </a:lnTo>
                  <a:lnTo>
                    <a:pt x="90" y="577"/>
                  </a:lnTo>
                  <a:lnTo>
                    <a:pt x="90" y="580"/>
                  </a:lnTo>
                  <a:lnTo>
                    <a:pt x="90" y="578"/>
                  </a:lnTo>
                  <a:lnTo>
                    <a:pt x="89" y="578"/>
                  </a:lnTo>
                  <a:lnTo>
                    <a:pt x="87" y="578"/>
                  </a:lnTo>
                  <a:lnTo>
                    <a:pt x="89" y="578"/>
                  </a:lnTo>
                  <a:lnTo>
                    <a:pt x="89" y="575"/>
                  </a:lnTo>
                  <a:lnTo>
                    <a:pt x="87" y="575"/>
                  </a:lnTo>
                  <a:lnTo>
                    <a:pt x="87" y="573"/>
                  </a:lnTo>
                  <a:lnTo>
                    <a:pt x="89" y="575"/>
                  </a:lnTo>
                  <a:lnTo>
                    <a:pt x="89" y="571"/>
                  </a:lnTo>
                  <a:lnTo>
                    <a:pt x="89" y="570"/>
                  </a:lnTo>
                  <a:lnTo>
                    <a:pt x="90" y="570"/>
                  </a:lnTo>
                  <a:lnTo>
                    <a:pt x="89" y="568"/>
                  </a:lnTo>
                  <a:lnTo>
                    <a:pt x="89" y="570"/>
                  </a:lnTo>
                  <a:lnTo>
                    <a:pt x="89" y="568"/>
                  </a:lnTo>
                  <a:lnTo>
                    <a:pt x="87" y="568"/>
                  </a:lnTo>
                  <a:lnTo>
                    <a:pt x="87" y="566"/>
                  </a:lnTo>
                  <a:lnTo>
                    <a:pt x="85" y="570"/>
                  </a:lnTo>
                  <a:lnTo>
                    <a:pt x="84" y="568"/>
                  </a:lnTo>
                  <a:lnTo>
                    <a:pt x="85" y="568"/>
                  </a:lnTo>
                  <a:lnTo>
                    <a:pt x="85" y="566"/>
                  </a:lnTo>
                  <a:lnTo>
                    <a:pt x="85" y="565"/>
                  </a:lnTo>
                  <a:lnTo>
                    <a:pt x="84" y="565"/>
                  </a:lnTo>
                  <a:lnTo>
                    <a:pt x="85" y="565"/>
                  </a:lnTo>
                  <a:lnTo>
                    <a:pt x="85" y="563"/>
                  </a:lnTo>
                  <a:lnTo>
                    <a:pt x="87" y="563"/>
                  </a:lnTo>
                  <a:lnTo>
                    <a:pt x="87" y="560"/>
                  </a:lnTo>
                  <a:lnTo>
                    <a:pt x="85" y="560"/>
                  </a:lnTo>
                  <a:lnTo>
                    <a:pt x="85" y="558"/>
                  </a:lnTo>
                  <a:lnTo>
                    <a:pt x="85" y="556"/>
                  </a:lnTo>
                  <a:lnTo>
                    <a:pt x="84" y="556"/>
                  </a:lnTo>
                  <a:lnTo>
                    <a:pt x="85" y="554"/>
                  </a:lnTo>
                  <a:lnTo>
                    <a:pt x="87" y="556"/>
                  </a:lnTo>
                  <a:lnTo>
                    <a:pt x="89" y="553"/>
                  </a:lnTo>
                  <a:lnTo>
                    <a:pt x="87" y="551"/>
                  </a:lnTo>
                  <a:lnTo>
                    <a:pt x="89" y="551"/>
                  </a:lnTo>
                  <a:lnTo>
                    <a:pt x="87" y="549"/>
                  </a:lnTo>
                  <a:lnTo>
                    <a:pt x="89" y="549"/>
                  </a:lnTo>
                  <a:lnTo>
                    <a:pt x="90" y="549"/>
                  </a:lnTo>
                  <a:lnTo>
                    <a:pt x="92" y="549"/>
                  </a:lnTo>
                  <a:lnTo>
                    <a:pt x="92" y="548"/>
                  </a:lnTo>
                  <a:lnTo>
                    <a:pt x="92" y="549"/>
                  </a:lnTo>
                  <a:lnTo>
                    <a:pt x="92" y="548"/>
                  </a:lnTo>
                  <a:lnTo>
                    <a:pt x="94" y="546"/>
                  </a:lnTo>
                  <a:lnTo>
                    <a:pt x="92" y="544"/>
                  </a:lnTo>
                  <a:lnTo>
                    <a:pt x="94" y="543"/>
                  </a:lnTo>
                  <a:lnTo>
                    <a:pt x="94" y="539"/>
                  </a:lnTo>
                  <a:lnTo>
                    <a:pt x="92" y="539"/>
                  </a:lnTo>
                  <a:lnTo>
                    <a:pt x="92" y="541"/>
                  </a:lnTo>
                  <a:lnTo>
                    <a:pt x="92" y="539"/>
                  </a:lnTo>
                  <a:lnTo>
                    <a:pt x="89" y="539"/>
                  </a:lnTo>
                  <a:lnTo>
                    <a:pt x="90" y="537"/>
                  </a:lnTo>
                  <a:lnTo>
                    <a:pt x="90" y="536"/>
                  </a:lnTo>
                  <a:lnTo>
                    <a:pt x="90" y="534"/>
                  </a:lnTo>
                  <a:lnTo>
                    <a:pt x="92" y="536"/>
                  </a:lnTo>
                  <a:lnTo>
                    <a:pt x="92" y="537"/>
                  </a:lnTo>
                  <a:lnTo>
                    <a:pt x="92" y="539"/>
                  </a:lnTo>
                  <a:lnTo>
                    <a:pt x="92" y="537"/>
                  </a:lnTo>
                  <a:lnTo>
                    <a:pt x="92" y="539"/>
                  </a:lnTo>
                  <a:lnTo>
                    <a:pt x="94" y="539"/>
                  </a:lnTo>
                  <a:lnTo>
                    <a:pt x="94" y="537"/>
                  </a:lnTo>
                  <a:lnTo>
                    <a:pt x="92" y="537"/>
                  </a:lnTo>
                  <a:lnTo>
                    <a:pt x="94" y="537"/>
                  </a:lnTo>
                  <a:lnTo>
                    <a:pt x="92" y="536"/>
                  </a:lnTo>
                  <a:lnTo>
                    <a:pt x="94" y="536"/>
                  </a:lnTo>
                  <a:lnTo>
                    <a:pt x="92" y="534"/>
                  </a:lnTo>
                  <a:lnTo>
                    <a:pt x="94" y="536"/>
                  </a:lnTo>
                  <a:lnTo>
                    <a:pt x="94" y="534"/>
                  </a:lnTo>
                  <a:lnTo>
                    <a:pt x="95" y="534"/>
                  </a:lnTo>
                  <a:lnTo>
                    <a:pt x="97" y="536"/>
                  </a:lnTo>
                  <a:lnTo>
                    <a:pt x="99" y="536"/>
                  </a:lnTo>
                  <a:lnTo>
                    <a:pt x="99" y="534"/>
                  </a:lnTo>
                  <a:lnTo>
                    <a:pt x="99" y="536"/>
                  </a:lnTo>
                  <a:lnTo>
                    <a:pt x="97" y="534"/>
                  </a:lnTo>
                  <a:lnTo>
                    <a:pt x="97" y="532"/>
                  </a:lnTo>
                  <a:lnTo>
                    <a:pt x="95" y="532"/>
                  </a:lnTo>
                  <a:lnTo>
                    <a:pt x="95" y="531"/>
                  </a:lnTo>
                  <a:lnTo>
                    <a:pt x="94" y="529"/>
                  </a:lnTo>
                  <a:lnTo>
                    <a:pt x="94" y="527"/>
                  </a:lnTo>
                  <a:lnTo>
                    <a:pt x="94" y="529"/>
                  </a:lnTo>
                  <a:lnTo>
                    <a:pt x="92" y="527"/>
                  </a:lnTo>
                  <a:lnTo>
                    <a:pt x="94" y="527"/>
                  </a:lnTo>
                  <a:lnTo>
                    <a:pt x="92" y="527"/>
                  </a:lnTo>
                  <a:lnTo>
                    <a:pt x="94" y="526"/>
                  </a:lnTo>
                  <a:lnTo>
                    <a:pt x="92" y="524"/>
                  </a:lnTo>
                  <a:lnTo>
                    <a:pt x="94" y="522"/>
                  </a:lnTo>
                  <a:lnTo>
                    <a:pt x="92" y="522"/>
                  </a:lnTo>
                  <a:lnTo>
                    <a:pt x="94" y="522"/>
                  </a:lnTo>
                  <a:lnTo>
                    <a:pt x="92" y="520"/>
                  </a:lnTo>
                  <a:lnTo>
                    <a:pt x="94" y="520"/>
                  </a:lnTo>
                  <a:lnTo>
                    <a:pt x="94" y="519"/>
                  </a:lnTo>
                  <a:lnTo>
                    <a:pt x="94" y="520"/>
                  </a:lnTo>
                  <a:lnTo>
                    <a:pt x="94" y="522"/>
                  </a:lnTo>
                  <a:lnTo>
                    <a:pt x="95" y="524"/>
                  </a:lnTo>
                  <a:lnTo>
                    <a:pt x="97" y="524"/>
                  </a:lnTo>
                  <a:lnTo>
                    <a:pt x="97" y="522"/>
                  </a:lnTo>
                  <a:lnTo>
                    <a:pt x="101" y="524"/>
                  </a:lnTo>
                  <a:lnTo>
                    <a:pt x="99" y="522"/>
                  </a:lnTo>
                  <a:lnTo>
                    <a:pt x="99" y="520"/>
                  </a:lnTo>
                  <a:lnTo>
                    <a:pt x="101" y="522"/>
                  </a:lnTo>
                  <a:lnTo>
                    <a:pt x="101" y="520"/>
                  </a:lnTo>
                  <a:lnTo>
                    <a:pt x="101" y="519"/>
                  </a:lnTo>
                  <a:lnTo>
                    <a:pt x="101" y="520"/>
                  </a:lnTo>
                  <a:lnTo>
                    <a:pt x="102" y="520"/>
                  </a:lnTo>
                  <a:lnTo>
                    <a:pt x="102" y="519"/>
                  </a:lnTo>
                  <a:lnTo>
                    <a:pt x="102" y="520"/>
                  </a:lnTo>
                  <a:lnTo>
                    <a:pt x="104" y="520"/>
                  </a:lnTo>
                  <a:lnTo>
                    <a:pt x="104" y="519"/>
                  </a:lnTo>
                  <a:lnTo>
                    <a:pt x="104" y="520"/>
                  </a:lnTo>
                  <a:lnTo>
                    <a:pt x="104" y="519"/>
                  </a:lnTo>
                  <a:lnTo>
                    <a:pt x="106" y="519"/>
                  </a:lnTo>
                  <a:lnTo>
                    <a:pt x="106" y="520"/>
                  </a:lnTo>
                  <a:lnTo>
                    <a:pt x="106" y="519"/>
                  </a:lnTo>
                  <a:lnTo>
                    <a:pt x="106" y="520"/>
                  </a:lnTo>
                  <a:lnTo>
                    <a:pt x="107" y="519"/>
                  </a:lnTo>
                  <a:lnTo>
                    <a:pt x="107" y="520"/>
                  </a:lnTo>
                  <a:lnTo>
                    <a:pt x="107" y="522"/>
                  </a:lnTo>
                  <a:lnTo>
                    <a:pt x="109" y="522"/>
                  </a:lnTo>
                  <a:lnTo>
                    <a:pt x="106" y="522"/>
                  </a:lnTo>
                  <a:lnTo>
                    <a:pt x="107" y="524"/>
                  </a:lnTo>
                  <a:lnTo>
                    <a:pt x="106" y="524"/>
                  </a:lnTo>
                  <a:lnTo>
                    <a:pt x="104" y="526"/>
                  </a:lnTo>
                  <a:lnTo>
                    <a:pt x="106" y="524"/>
                  </a:lnTo>
                  <a:lnTo>
                    <a:pt x="107" y="524"/>
                  </a:lnTo>
                  <a:lnTo>
                    <a:pt x="107" y="526"/>
                  </a:lnTo>
                  <a:lnTo>
                    <a:pt x="109" y="526"/>
                  </a:lnTo>
                  <a:lnTo>
                    <a:pt x="107" y="524"/>
                  </a:lnTo>
                  <a:lnTo>
                    <a:pt x="109" y="524"/>
                  </a:lnTo>
                  <a:lnTo>
                    <a:pt x="109" y="522"/>
                  </a:lnTo>
                  <a:lnTo>
                    <a:pt x="107" y="520"/>
                  </a:lnTo>
                  <a:lnTo>
                    <a:pt x="109" y="520"/>
                  </a:lnTo>
                  <a:lnTo>
                    <a:pt x="107" y="519"/>
                  </a:lnTo>
                  <a:lnTo>
                    <a:pt x="109" y="520"/>
                  </a:lnTo>
                  <a:lnTo>
                    <a:pt x="111" y="519"/>
                  </a:lnTo>
                  <a:lnTo>
                    <a:pt x="111" y="522"/>
                  </a:lnTo>
                  <a:lnTo>
                    <a:pt x="111" y="520"/>
                  </a:lnTo>
                  <a:lnTo>
                    <a:pt x="112" y="519"/>
                  </a:lnTo>
                  <a:lnTo>
                    <a:pt x="114" y="520"/>
                  </a:lnTo>
                  <a:lnTo>
                    <a:pt x="114" y="519"/>
                  </a:lnTo>
                  <a:lnTo>
                    <a:pt x="114" y="517"/>
                  </a:lnTo>
                  <a:lnTo>
                    <a:pt x="114" y="519"/>
                  </a:lnTo>
                  <a:lnTo>
                    <a:pt x="114" y="517"/>
                  </a:lnTo>
                  <a:lnTo>
                    <a:pt x="116" y="515"/>
                  </a:lnTo>
                  <a:lnTo>
                    <a:pt x="116" y="514"/>
                  </a:lnTo>
                  <a:lnTo>
                    <a:pt x="119" y="515"/>
                  </a:lnTo>
                  <a:lnTo>
                    <a:pt x="118" y="514"/>
                  </a:lnTo>
                  <a:lnTo>
                    <a:pt x="119" y="512"/>
                  </a:lnTo>
                  <a:lnTo>
                    <a:pt x="118" y="510"/>
                  </a:lnTo>
                  <a:lnTo>
                    <a:pt x="116" y="509"/>
                  </a:lnTo>
                  <a:lnTo>
                    <a:pt x="114" y="509"/>
                  </a:lnTo>
                  <a:lnTo>
                    <a:pt x="114" y="507"/>
                  </a:lnTo>
                  <a:lnTo>
                    <a:pt x="112" y="505"/>
                  </a:lnTo>
                  <a:lnTo>
                    <a:pt x="111" y="505"/>
                  </a:lnTo>
                  <a:lnTo>
                    <a:pt x="111" y="503"/>
                  </a:lnTo>
                  <a:lnTo>
                    <a:pt x="114" y="502"/>
                  </a:lnTo>
                  <a:lnTo>
                    <a:pt x="116" y="503"/>
                  </a:lnTo>
                  <a:lnTo>
                    <a:pt x="118" y="505"/>
                  </a:lnTo>
                  <a:lnTo>
                    <a:pt x="118" y="503"/>
                  </a:lnTo>
                  <a:lnTo>
                    <a:pt x="114" y="502"/>
                  </a:lnTo>
                  <a:lnTo>
                    <a:pt x="114" y="500"/>
                  </a:lnTo>
                  <a:lnTo>
                    <a:pt x="112" y="500"/>
                  </a:lnTo>
                  <a:lnTo>
                    <a:pt x="114" y="497"/>
                  </a:lnTo>
                  <a:lnTo>
                    <a:pt x="114" y="495"/>
                  </a:lnTo>
                  <a:lnTo>
                    <a:pt x="116" y="495"/>
                  </a:lnTo>
                  <a:lnTo>
                    <a:pt x="116" y="497"/>
                  </a:lnTo>
                  <a:lnTo>
                    <a:pt x="114" y="497"/>
                  </a:lnTo>
                  <a:lnTo>
                    <a:pt x="116" y="498"/>
                  </a:lnTo>
                  <a:lnTo>
                    <a:pt x="116" y="500"/>
                  </a:lnTo>
                  <a:lnTo>
                    <a:pt x="118" y="502"/>
                  </a:lnTo>
                  <a:lnTo>
                    <a:pt x="118" y="500"/>
                  </a:lnTo>
                  <a:lnTo>
                    <a:pt x="119" y="502"/>
                  </a:lnTo>
                  <a:lnTo>
                    <a:pt x="118" y="498"/>
                  </a:lnTo>
                  <a:lnTo>
                    <a:pt x="119" y="497"/>
                  </a:lnTo>
                  <a:lnTo>
                    <a:pt x="118" y="495"/>
                  </a:lnTo>
                  <a:lnTo>
                    <a:pt x="119" y="495"/>
                  </a:lnTo>
                  <a:lnTo>
                    <a:pt x="119" y="493"/>
                  </a:lnTo>
                  <a:lnTo>
                    <a:pt x="118" y="495"/>
                  </a:lnTo>
                  <a:lnTo>
                    <a:pt x="116" y="493"/>
                  </a:lnTo>
                  <a:lnTo>
                    <a:pt x="118" y="492"/>
                  </a:lnTo>
                  <a:lnTo>
                    <a:pt x="119" y="492"/>
                  </a:lnTo>
                  <a:lnTo>
                    <a:pt x="119" y="490"/>
                  </a:lnTo>
                  <a:lnTo>
                    <a:pt x="119" y="488"/>
                  </a:lnTo>
                  <a:lnTo>
                    <a:pt x="119" y="486"/>
                  </a:lnTo>
                  <a:lnTo>
                    <a:pt x="121" y="488"/>
                  </a:lnTo>
                  <a:lnTo>
                    <a:pt x="121" y="486"/>
                  </a:lnTo>
                  <a:lnTo>
                    <a:pt x="121" y="483"/>
                  </a:lnTo>
                  <a:lnTo>
                    <a:pt x="123" y="483"/>
                  </a:lnTo>
                  <a:lnTo>
                    <a:pt x="123" y="485"/>
                  </a:lnTo>
                  <a:lnTo>
                    <a:pt x="124" y="486"/>
                  </a:lnTo>
                  <a:lnTo>
                    <a:pt x="124" y="485"/>
                  </a:lnTo>
                  <a:lnTo>
                    <a:pt x="123" y="483"/>
                  </a:lnTo>
                  <a:lnTo>
                    <a:pt x="124" y="483"/>
                  </a:lnTo>
                  <a:lnTo>
                    <a:pt x="126" y="485"/>
                  </a:lnTo>
                  <a:lnTo>
                    <a:pt x="126" y="486"/>
                  </a:lnTo>
                  <a:lnTo>
                    <a:pt x="126" y="485"/>
                  </a:lnTo>
                  <a:lnTo>
                    <a:pt x="128" y="486"/>
                  </a:lnTo>
                  <a:lnTo>
                    <a:pt x="129" y="486"/>
                  </a:lnTo>
                  <a:lnTo>
                    <a:pt x="129" y="488"/>
                  </a:lnTo>
                  <a:lnTo>
                    <a:pt x="129" y="486"/>
                  </a:lnTo>
                  <a:lnTo>
                    <a:pt x="128" y="483"/>
                  </a:lnTo>
                  <a:lnTo>
                    <a:pt x="129" y="483"/>
                  </a:lnTo>
                  <a:lnTo>
                    <a:pt x="128" y="485"/>
                  </a:lnTo>
                  <a:lnTo>
                    <a:pt x="129" y="485"/>
                  </a:lnTo>
                  <a:lnTo>
                    <a:pt x="129" y="483"/>
                  </a:lnTo>
                  <a:lnTo>
                    <a:pt x="129" y="481"/>
                  </a:lnTo>
                  <a:lnTo>
                    <a:pt x="131" y="481"/>
                  </a:lnTo>
                  <a:lnTo>
                    <a:pt x="128" y="481"/>
                  </a:lnTo>
                  <a:lnTo>
                    <a:pt x="129" y="480"/>
                  </a:lnTo>
                  <a:lnTo>
                    <a:pt x="131" y="480"/>
                  </a:lnTo>
                  <a:lnTo>
                    <a:pt x="129" y="478"/>
                  </a:lnTo>
                  <a:lnTo>
                    <a:pt x="128" y="476"/>
                  </a:lnTo>
                  <a:lnTo>
                    <a:pt x="126" y="476"/>
                  </a:lnTo>
                  <a:lnTo>
                    <a:pt x="128" y="478"/>
                  </a:lnTo>
                  <a:lnTo>
                    <a:pt x="126" y="476"/>
                  </a:lnTo>
                  <a:lnTo>
                    <a:pt x="123" y="478"/>
                  </a:lnTo>
                  <a:lnTo>
                    <a:pt x="121" y="476"/>
                  </a:lnTo>
                  <a:lnTo>
                    <a:pt x="123" y="475"/>
                  </a:lnTo>
                  <a:lnTo>
                    <a:pt x="123" y="476"/>
                  </a:lnTo>
                  <a:lnTo>
                    <a:pt x="123" y="475"/>
                  </a:lnTo>
                  <a:lnTo>
                    <a:pt x="121" y="475"/>
                  </a:lnTo>
                  <a:lnTo>
                    <a:pt x="123" y="475"/>
                  </a:lnTo>
                  <a:lnTo>
                    <a:pt x="124" y="475"/>
                  </a:lnTo>
                  <a:lnTo>
                    <a:pt x="126" y="475"/>
                  </a:lnTo>
                  <a:lnTo>
                    <a:pt x="126" y="473"/>
                  </a:lnTo>
                  <a:lnTo>
                    <a:pt x="124" y="473"/>
                  </a:lnTo>
                  <a:lnTo>
                    <a:pt x="126" y="473"/>
                  </a:lnTo>
                  <a:lnTo>
                    <a:pt x="128" y="475"/>
                  </a:lnTo>
                  <a:lnTo>
                    <a:pt x="128" y="473"/>
                  </a:lnTo>
                  <a:lnTo>
                    <a:pt x="126" y="471"/>
                  </a:lnTo>
                  <a:lnTo>
                    <a:pt x="124" y="471"/>
                  </a:lnTo>
                  <a:lnTo>
                    <a:pt x="126" y="469"/>
                  </a:lnTo>
                  <a:lnTo>
                    <a:pt x="128" y="469"/>
                  </a:lnTo>
                  <a:lnTo>
                    <a:pt x="129" y="469"/>
                  </a:lnTo>
                  <a:lnTo>
                    <a:pt x="129" y="471"/>
                  </a:lnTo>
                  <a:lnTo>
                    <a:pt x="131" y="473"/>
                  </a:lnTo>
                  <a:lnTo>
                    <a:pt x="129" y="473"/>
                  </a:lnTo>
                  <a:lnTo>
                    <a:pt x="131" y="475"/>
                  </a:lnTo>
                  <a:lnTo>
                    <a:pt x="129" y="475"/>
                  </a:lnTo>
                  <a:lnTo>
                    <a:pt x="131" y="475"/>
                  </a:lnTo>
                  <a:lnTo>
                    <a:pt x="131" y="476"/>
                  </a:lnTo>
                  <a:lnTo>
                    <a:pt x="133" y="478"/>
                  </a:lnTo>
                  <a:lnTo>
                    <a:pt x="133" y="476"/>
                  </a:lnTo>
                  <a:lnTo>
                    <a:pt x="133" y="475"/>
                  </a:lnTo>
                  <a:lnTo>
                    <a:pt x="131" y="475"/>
                  </a:lnTo>
                  <a:lnTo>
                    <a:pt x="133" y="475"/>
                  </a:lnTo>
                  <a:lnTo>
                    <a:pt x="133" y="473"/>
                  </a:lnTo>
                  <a:lnTo>
                    <a:pt x="131" y="473"/>
                  </a:lnTo>
                  <a:lnTo>
                    <a:pt x="133" y="471"/>
                  </a:lnTo>
                  <a:lnTo>
                    <a:pt x="131" y="471"/>
                  </a:lnTo>
                  <a:lnTo>
                    <a:pt x="133" y="469"/>
                  </a:lnTo>
                  <a:lnTo>
                    <a:pt x="135" y="471"/>
                  </a:lnTo>
                  <a:lnTo>
                    <a:pt x="135" y="469"/>
                  </a:lnTo>
                  <a:lnTo>
                    <a:pt x="133" y="468"/>
                  </a:lnTo>
                  <a:lnTo>
                    <a:pt x="135" y="469"/>
                  </a:lnTo>
                  <a:lnTo>
                    <a:pt x="135" y="466"/>
                  </a:lnTo>
                  <a:lnTo>
                    <a:pt x="136" y="468"/>
                  </a:lnTo>
                  <a:lnTo>
                    <a:pt x="138" y="468"/>
                  </a:lnTo>
                  <a:lnTo>
                    <a:pt x="136" y="466"/>
                  </a:lnTo>
                  <a:lnTo>
                    <a:pt x="138" y="466"/>
                  </a:lnTo>
                  <a:lnTo>
                    <a:pt x="138" y="468"/>
                  </a:lnTo>
                  <a:lnTo>
                    <a:pt x="138" y="466"/>
                  </a:lnTo>
                  <a:lnTo>
                    <a:pt x="140" y="466"/>
                  </a:lnTo>
                  <a:lnTo>
                    <a:pt x="140" y="464"/>
                  </a:lnTo>
                  <a:lnTo>
                    <a:pt x="141" y="466"/>
                  </a:lnTo>
                  <a:lnTo>
                    <a:pt x="141" y="464"/>
                  </a:lnTo>
                  <a:lnTo>
                    <a:pt x="143" y="464"/>
                  </a:lnTo>
                  <a:lnTo>
                    <a:pt x="141" y="463"/>
                  </a:lnTo>
                  <a:lnTo>
                    <a:pt x="141" y="461"/>
                  </a:lnTo>
                  <a:lnTo>
                    <a:pt x="141" y="459"/>
                  </a:lnTo>
                  <a:lnTo>
                    <a:pt x="140" y="456"/>
                  </a:lnTo>
                  <a:lnTo>
                    <a:pt x="140" y="454"/>
                  </a:lnTo>
                  <a:lnTo>
                    <a:pt x="141" y="454"/>
                  </a:lnTo>
                  <a:lnTo>
                    <a:pt x="143" y="456"/>
                  </a:lnTo>
                  <a:lnTo>
                    <a:pt x="146" y="456"/>
                  </a:lnTo>
                  <a:lnTo>
                    <a:pt x="146" y="454"/>
                  </a:lnTo>
                  <a:lnTo>
                    <a:pt x="148" y="456"/>
                  </a:lnTo>
                  <a:lnTo>
                    <a:pt x="148" y="452"/>
                  </a:lnTo>
                  <a:lnTo>
                    <a:pt x="146" y="452"/>
                  </a:lnTo>
                  <a:lnTo>
                    <a:pt x="146" y="451"/>
                  </a:lnTo>
                  <a:lnTo>
                    <a:pt x="146" y="449"/>
                  </a:lnTo>
                  <a:lnTo>
                    <a:pt x="148" y="451"/>
                  </a:lnTo>
                  <a:lnTo>
                    <a:pt x="146" y="449"/>
                  </a:lnTo>
                  <a:lnTo>
                    <a:pt x="148" y="449"/>
                  </a:lnTo>
                  <a:lnTo>
                    <a:pt x="148" y="447"/>
                  </a:lnTo>
                  <a:lnTo>
                    <a:pt x="146" y="447"/>
                  </a:lnTo>
                  <a:lnTo>
                    <a:pt x="148" y="447"/>
                  </a:lnTo>
                  <a:lnTo>
                    <a:pt x="148" y="446"/>
                  </a:lnTo>
                  <a:lnTo>
                    <a:pt x="148" y="444"/>
                  </a:lnTo>
                  <a:lnTo>
                    <a:pt x="148" y="442"/>
                  </a:lnTo>
                  <a:lnTo>
                    <a:pt x="152" y="441"/>
                  </a:lnTo>
                  <a:lnTo>
                    <a:pt x="152" y="439"/>
                  </a:lnTo>
                  <a:lnTo>
                    <a:pt x="152" y="437"/>
                  </a:lnTo>
                  <a:lnTo>
                    <a:pt x="152" y="439"/>
                  </a:lnTo>
                  <a:lnTo>
                    <a:pt x="152" y="437"/>
                  </a:lnTo>
                  <a:lnTo>
                    <a:pt x="153" y="435"/>
                  </a:lnTo>
                  <a:lnTo>
                    <a:pt x="153" y="434"/>
                  </a:lnTo>
                  <a:lnTo>
                    <a:pt x="155" y="432"/>
                  </a:lnTo>
                  <a:lnTo>
                    <a:pt x="155" y="430"/>
                  </a:lnTo>
                  <a:lnTo>
                    <a:pt x="155" y="427"/>
                  </a:lnTo>
                  <a:lnTo>
                    <a:pt x="157" y="427"/>
                  </a:lnTo>
                  <a:lnTo>
                    <a:pt x="157" y="425"/>
                  </a:lnTo>
                  <a:lnTo>
                    <a:pt x="158" y="423"/>
                  </a:lnTo>
                  <a:lnTo>
                    <a:pt x="160" y="420"/>
                  </a:lnTo>
                  <a:lnTo>
                    <a:pt x="160" y="422"/>
                  </a:lnTo>
                  <a:lnTo>
                    <a:pt x="160" y="420"/>
                  </a:lnTo>
                  <a:lnTo>
                    <a:pt x="160" y="418"/>
                  </a:lnTo>
                  <a:lnTo>
                    <a:pt x="162" y="418"/>
                  </a:lnTo>
                  <a:lnTo>
                    <a:pt x="160" y="417"/>
                  </a:lnTo>
                  <a:lnTo>
                    <a:pt x="162" y="417"/>
                  </a:lnTo>
                  <a:lnTo>
                    <a:pt x="163" y="415"/>
                  </a:lnTo>
                  <a:lnTo>
                    <a:pt x="163" y="413"/>
                  </a:lnTo>
                  <a:lnTo>
                    <a:pt x="163" y="412"/>
                  </a:lnTo>
                  <a:lnTo>
                    <a:pt x="162" y="412"/>
                  </a:lnTo>
                  <a:lnTo>
                    <a:pt x="163" y="412"/>
                  </a:lnTo>
                  <a:lnTo>
                    <a:pt x="163" y="408"/>
                  </a:lnTo>
                  <a:lnTo>
                    <a:pt x="163" y="410"/>
                  </a:lnTo>
                  <a:lnTo>
                    <a:pt x="163" y="408"/>
                  </a:lnTo>
                  <a:lnTo>
                    <a:pt x="163" y="406"/>
                  </a:lnTo>
                  <a:lnTo>
                    <a:pt x="165" y="405"/>
                  </a:lnTo>
                  <a:lnTo>
                    <a:pt x="163" y="405"/>
                  </a:lnTo>
                  <a:lnTo>
                    <a:pt x="165" y="403"/>
                  </a:lnTo>
                  <a:lnTo>
                    <a:pt x="167" y="403"/>
                  </a:lnTo>
                  <a:lnTo>
                    <a:pt x="167" y="401"/>
                  </a:lnTo>
                  <a:lnTo>
                    <a:pt x="165" y="398"/>
                  </a:lnTo>
                  <a:lnTo>
                    <a:pt x="167" y="398"/>
                  </a:lnTo>
                  <a:lnTo>
                    <a:pt x="165" y="395"/>
                  </a:lnTo>
                  <a:lnTo>
                    <a:pt x="167" y="395"/>
                  </a:lnTo>
                  <a:lnTo>
                    <a:pt x="169" y="393"/>
                  </a:lnTo>
                  <a:lnTo>
                    <a:pt x="169" y="395"/>
                  </a:lnTo>
                  <a:lnTo>
                    <a:pt x="169" y="396"/>
                  </a:lnTo>
                  <a:lnTo>
                    <a:pt x="169" y="393"/>
                  </a:lnTo>
                  <a:lnTo>
                    <a:pt x="169" y="391"/>
                  </a:lnTo>
                  <a:lnTo>
                    <a:pt x="170" y="391"/>
                  </a:lnTo>
                  <a:lnTo>
                    <a:pt x="172" y="389"/>
                  </a:lnTo>
                  <a:lnTo>
                    <a:pt x="172" y="388"/>
                  </a:lnTo>
                  <a:lnTo>
                    <a:pt x="174" y="389"/>
                  </a:lnTo>
                  <a:lnTo>
                    <a:pt x="175" y="388"/>
                  </a:lnTo>
                  <a:lnTo>
                    <a:pt x="175" y="386"/>
                  </a:lnTo>
                  <a:lnTo>
                    <a:pt x="179" y="386"/>
                  </a:lnTo>
                  <a:lnTo>
                    <a:pt x="180" y="384"/>
                  </a:lnTo>
                  <a:lnTo>
                    <a:pt x="182" y="386"/>
                  </a:lnTo>
                  <a:lnTo>
                    <a:pt x="182" y="384"/>
                  </a:lnTo>
                  <a:lnTo>
                    <a:pt x="184" y="388"/>
                  </a:lnTo>
                  <a:lnTo>
                    <a:pt x="187" y="388"/>
                  </a:lnTo>
                  <a:lnTo>
                    <a:pt x="187" y="389"/>
                  </a:lnTo>
                  <a:lnTo>
                    <a:pt x="189" y="388"/>
                  </a:lnTo>
                  <a:lnTo>
                    <a:pt x="189" y="386"/>
                  </a:lnTo>
                  <a:lnTo>
                    <a:pt x="189" y="384"/>
                  </a:lnTo>
                  <a:lnTo>
                    <a:pt x="187" y="384"/>
                  </a:lnTo>
                  <a:lnTo>
                    <a:pt x="186" y="383"/>
                  </a:lnTo>
                  <a:lnTo>
                    <a:pt x="184" y="383"/>
                  </a:lnTo>
                  <a:lnTo>
                    <a:pt x="182" y="379"/>
                  </a:lnTo>
                  <a:lnTo>
                    <a:pt x="182" y="378"/>
                  </a:lnTo>
                  <a:lnTo>
                    <a:pt x="184" y="378"/>
                  </a:lnTo>
                  <a:lnTo>
                    <a:pt x="186" y="379"/>
                  </a:lnTo>
                  <a:lnTo>
                    <a:pt x="186" y="378"/>
                  </a:lnTo>
                  <a:lnTo>
                    <a:pt x="187" y="379"/>
                  </a:lnTo>
                  <a:lnTo>
                    <a:pt x="189" y="381"/>
                  </a:lnTo>
                  <a:lnTo>
                    <a:pt x="191" y="379"/>
                  </a:lnTo>
                  <a:lnTo>
                    <a:pt x="191" y="378"/>
                  </a:lnTo>
                  <a:lnTo>
                    <a:pt x="187" y="378"/>
                  </a:lnTo>
                  <a:lnTo>
                    <a:pt x="189" y="378"/>
                  </a:lnTo>
                  <a:lnTo>
                    <a:pt x="191" y="376"/>
                  </a:lnTo>
                  <a:lnTo>
                    <a:pt x="189" y="374"/>
                  </a:lnTo>
                  <a:lnTo>
                    <a:pt x="187" y="372"/>
                  </a:lnTo>
                  <a:lnTo>
                    <a:pt x="186" y="371"/>
                  </a:lnTo>
                  <a:lnTo>
                    <a:pt x="184" y="371"/>
                  </a:lnTo>
                  <a:lnTo>
                    <a:pt x="182" y="369"/>
                  </a:lnTo>
                  <a:lnTo>
                    <a:pt x="180" y="369"/>
                  </a:lnTo>
                  <a:lnTo>
                    <a:pt x="180" y="366"/>
                  </a:lnTo>
                  <a:lnTo>
                    <a:pt x="182" y="366"/>
                  </a:lnTo>
                  <a:lnTo>
                    <a:pt x="180" y="364"/>
                  </a:lnTo>
                  <a:lnTo>
                    <a:pt x="182" y="364"/>
                  </a:lnTo>
                  <a:lnTo>
                    <a:pt x="184" y="366"/>
                  </a:lnTo>
                  <a:lnTo>
                    <a:pt x="184" y="364"/>
                  </a:lnTo>
                  <a:lnTo>
                    <a:pt x="180" y="364"/>
                  </a:lnTo>
                  <a:lnTo>
                    <a:pt x="180" y="362"/>
                  </a:lnTo>
                  <a:lnTo>
                    <a:pt x="182" y="361"/>
                  </a:lnTo>
                  <a:lnTo>
                    <a:pt x="180" y="361"/>
                  </a:lnTo>
                  <a:lnTo>
                    <a:pt x="182" y="359"/>
                  </a:lnTo>
                  <a:lnTo>
                    <a:pt x="180" y="359"/>
                  </a:lnTo>
                  <a:lnTo>
                    <a:pt x="180" y="357"/>
                  </a:lnTo>
                  <a:lnTo>
                    <a:pt x="179" y="355"/>
                  </a:lnTo>
                  <a:lnTo>
                    <a:pt x="177" y="355"/>
                  </a:lnTo>
                  <a:lnTo>
                    <a:pt x="179" y="354"/>
                  </a:lnTo>
                  <a:lnTo>
                    <a:pt x="180" y="355"/>
                  </a:lnTo>
                  <a:lnTo>
                    <a:pt x="184" y="354"/>
                  </a:lnTo>
                  <a:lnTo>
                    <a:pt x="182" y="354"/>
                  </a:lnTo>
                  <a:lnTo>
                    <a:pt x="180" y="355"/>
                  </a:lnTo>
                  <a:lnTo>
                    <a:pt x="180" y="354"/>
                  </a:lnTo>
                  <a:lnTo>
                    <a:pt x="179" y="354"/>
                  </a:lnTo>
                  <a:lnTo>
                    <a:pt x="179" y="352"/>
                  </a:lnTo>
                  <a:lnTo>
                    <a:pt x="180" y="352"/>
                  </a:lnTo>
                  <a:lnTo>
                    <a:pt x="179" y="352"/>
                  </a:lnTo>
                  <a:lnTo>
                    <a:pt x="179" y="350"/>
                  </a:lnTo>
                  <a:lnTo>
                    <a:pt x="177" y="350"/>
                  </a:lnTo>
                  <a:lnTo>
                    <a:pt x="177" y="349"/>
                  </a:lnTo>
                  <a:lnTo>
                    <a:pt x="179" y="350"/>
                  </a:lnTo>
                  <a:lnTo>
                    <a:pt x="179" y="349"/>
                  </a:lnTo>
                  <a:lnTo>
                    <a:pt x="180" y="349"/>
                  </a:lnTo>
                  <a:lnTo>
                    <a:pt x="179" y="347"/>
                  </a:lnTo>
                  <a:lnTo>
                    <a:pt x="180" y="345"/>
                  </a:lnTo>
                  <a:lnTo>
                    <a:pt x="179" y="344"/>
                  </a:lnTo>
                  <a:lnTo>
                    <a:pt x="177" y="344"/>
                  </a:lnTo>
                  <a:lnTo>
                    <a:pt x="177" y="342"/>
                  </a:lnTo>
                  <a:lnTo>
                    <a:pt x="175" y="340"/>
                  </a:lnTo>
                  <a:lnTo>
                    <a:pt x="174" y="338"/>
                  </a:lnTo>
                  <a:lnTo>
                    <a:pt x="172" y="338"/>
                  </a:lnTo>
                  <a:lnTo>
                    <a:pt x="172" y="337"/>
                  </a:lnTo>
                  <a:lnTo>
                    <a:pt x="172" y="338"/>
                  </a:lnTo>
                  <a:lnTo>
                    <a:pt x="170" y="340"/>
                  </a:lnTo>
                  <a:lnTo>
                    <a:pt x="170" y="338"/>
                  </a:lnTo>
                  <a:lnTo>
                    <a:pt x="169" y="338"/>
                  </a:lnTo>
                  <a:lnTo>
                    <a:pt x="170" y="337"/>
                  </a:lnTo>
                  <a:lnTo>
                    <a:pt x="169" y="335"/>
                  </a:lnTo>
                  <a:lnTo>
                    <a:pt x="167" y="335"/>
                  </a:lnTo>
                  <a:lnTo>
                    <a:pt x="165" y="335"/>
                  </a:lnTo>
                  <a:lnTo>
                    <a:pt x="162" y="333"/>
                  </a:lnTo>
                  <a:lnTo>
                    <a:pt x="162" y="335"/>
                  </a:lnTo>
                  <a:lnTo>
                    <a:pt x="160" y="333"/>
                  </a:lnTo>
                  <a:lnTo>
                    <a:pt x="160" y="335"/>
                  </a:lnTo>
                  <a:lnTo>
                    <a:pt x="158" y="335"/>
                  </a:lnTo>
                  <a:lnTo>
                    <a:pt x="158" y="337"/>
                  </a:lnTo>
                  <a:lnTo>
                    <a:pt x="157" y="337"/>
                  </a:lnTo>
                  <a:lnTo>
                    <a:pt x="157" y="335"/>
                  </a:lnTo>
                  <a:lnTo>
                    <a:pt x="155" y="333"/>
                  </a:lnTo>
                  <a:lnTo>
                    <a:pt x="155" y="332"/>
                  </a:lnTo>
                  <a:lnTo>
                    <a:pt x="153" y="332"/>
                  </a:lnTo>
                  <a:lnTo>
                    <a:pt x="152" y="332"/>
                  </a:lnTo>
                  <a:lnTo>
                    <a:pt x="152" y="330"/>
                  </a:lnTo>
                  <a:lnTo>
                    <a:pt x="150" y="328"/>
                  </a:lnTo>
                  <a:lnTo>
                    <a:pt x="150" y="330"/>
                  </a:lnTo>
                  <a:lnTo>
                    <a:pt x="148" y="330"/>
                  </a:lnTo>
                  <a:lnTo>
                    <a:pt x="150" y="328"/>
                  </a:lnTo>
                  <a:lnTo>
                    <a:pt x="152" y="327"/>
                  </a:lnTo>
                  <a:lnTo>
                    <a:pt x="152" y="325"/>
                  </a:lnTo>
                  <a:lnTo>
                    <a:pt x="152" y="323"/>
                  </a:lnTo>
                  <a:lnTo>
                    <a:pt x="152" y="321"/>
                  </a:lnTo>
                  <a:lnTo>
                    <a:pt x="152" y="323"/>
                  </a:lnTo>
                  <a:lnTo>
                    <a:pt x="152" y="327"/>
                  </a:lnTo>
                  <a:lnTo>
                    <a:pt x="148" y="328"/>
                  </a:lnTo>
                  <a:lnTo>
                    <a:pt x="146" y="328"/>
                  </a:lnTo>
                  <a:lnTo>
                    <a:pt x="145" y="328"/>
                  </a:lnTo>
                  <a:lnTo>
                    <a:pt x="143" y="328"/>
                  </a:lnTo>
                  <a:lnTo>
                    <a:pt x="143" y="327"/>
                  </a:lnTo>
                  <a:lnTo>
                    <a:pt x="141" y="327"/>
                  </a:lnTo>
                  <a:lnTo>
                    <a:pt x="143" y="327"/>
                  </a:lnTo>
                  <a:lnTo>
                    <a:pt x="141" y="327"/>
                  </a:lnTo>
                  <a:lnTo>
                    <a:pt x="138" y="327"/>
                  </a:lnTo>
                  <a:lnTo>
                    <a:pt x="138" y="325"/>
                  </a:lnTo>
                  <a:lnTo>
                    <a:pt x="138" y="323"/>
                  </a:lnTo>
                  <a:lnTo>
                    <a:pt x="136" y="321"/>
                  </a:lnTo>
                  <a:lnTo>
                    <a:pt x="136" y="320"/>
                  </a:lnTo>
                  <a:lnTo>
                    <a:pt x="135" y="318"/>
                  </a:lnTo>
                  <a:lnTo>
                    <a:pt x="135" y="316"/>
                  </a:lnTo>
                  <a:lnTo>
                    <a:pt x="133" y="315"/>
                  </a:lnTo>
                  <a:lnTo>
                    <a:pt x="133" y="313"/>
                  </a:lnTo>
                  <a:lnTo>
                    <a:pt x="131" y="311"/>
                  </a:lnTo>
                  <a:lnTo>
                    <a:pt x="129" y="310"/>
                  </a:lnTo>
                  <a:lnTo>
                    <a:pt x="129" y="308"/>
                  </a:lnTo>
                  <a:lnTo>
                    <a:pt x="128" y="306"/>
                  </a:lnTo>
                  <a:lnTo>
                    <a:pt x="128" y="304"/>
                  </a:lnTo>
                  <a:lnTo>
                    <a:pt x="124" y="304"/>
                  </a:lnTo>
                  <a:lnTo>
                    <a:pt x="124" y="303"/>
                  </a:lnTo>
                  <a:lnTo>
                    <a:pt x="123" y="303"/>
                  </a:lnTo>
                  <a:lnTo>
                    <a:pt x="121" y="301"/>
                  </a:lnTo>
                  <a:lnTo>
                    <a:pt x="121" y="299"/>
                  </a:lnTo>
                  <a:lnTo>
                    <a:pt x="119" y="299"/>
                  </a:lnTo>
                  <a:lnTo>
                    <a:pt x="118" y="296"/>
                  </a:lnTo>
                  <a:lnTo>
                    <a:pt x="118" y="294"/>
                  </a:lnTo>
                  <a:lnTo>
                    <a:pt x="118" y="293"/>
                  </a:lnTo>
                  <a:lnTo>
                    <a:pt x="118" y="289"/>
                  </a:lnTo>
                  <a:lnTo>
                    <a:pt x="116" y="287"/>
                  </a:lnTo>
                  <a:lnTo>
                    <a:pt x="116" y="284"/>
                  </a:lnTo>
                  <a:lnTo>
                    <a:pt x="118" y="282"/>
                  </a:lnTo>
                  <a:lnTo>
                    <a:pt x="118" y="281"/>
                  </a:lnTo>
                  <a:lnTo>
                    <a:pt x="119" y="279"/>
                  </a:lnTo>
                  <a:lnTo>
                    <a:pt x="121" y="276"/>
                  </a:lnTo>
                  <a:lnTo>
                    <a:pt x="121" y="272"/>
                  </a:lnTo>
                  <a:lnTo>
                    <a:pt x="119" y="269"/>
                  </a:lnTo>
                  <a:lnTo>
                    <a:pt x="119" y="267"/>
                  </a:lnTo>
                  <a:lnTo>
                    <a:pt x="119" y="265"/>
                  </a:lnTo>
                  <a:lnTo>
                    <a:pt x="118" y="262"/>
                  </a:lnTo>
                  <a:lnTo>
                    <a:pt x="119" y="258"/>
                  </a:lnTo>
                  <a:lnTo>
                    <a:pt x="121" y="260"/>
                  </a:lnTo>
                  <a:lnTo>
                    <a:pt x="121" y="257"/>
                  </a:lnTo>
                  <a:lnTo>
                    <a:pt x="119" y="255"/>
                  </a:lnTo>
                  <a:lnTo>
                    <a:pt x="119" y="253"/>
                  </a:lnTo>
                  <a:lnTo>
                    <a:pt x="118" y="253"/>
                  </a:lnTo>
                  <a:lnTo>
                    <a:pt x="116" y="250"/>
                  </a:lnTo>
                  <a:lnTo>
                    <a:pt x="116" y="248"/>
                  </a:lnTo>
                  <a:lnTo>
                    <a:pt x="114" y="248"/>
                  </a:lnTo>
                  <a:lnTo>
                    <a:pt x="112" y="247"/>
                  </a:lnTo>
                  <a:lnTo>
                    <a:pt x="111" y="245"/>
                  </a:lnTo>
                  <a:lnTo>
                    <a:pt x="109" y="241"/>
                  </a:lnTo>
                  <a:lnTo>
                    <a:pt x="107" y="238"/>
                  </a:lnTo>
                  <a:lnTo>
                    <a:pt x="104" y="236"/>
                  </a:lnTo>
                  <a:lnTo>
                    <a:pt x="104" y="235"/>
                  </a:lnTo>
                  <a:lnTo>
                    <a:pt x="104" y="231"/>
                  </a:lnTo>
                  <a:lnTo>
                    <a:pt x="102" y="231"/>
                  </a:lnTo>
                  <a:lnTo>
                    <a:pt x="102" y="228"/>
                  </a:lnTo>
                  <a:lnTo>
                    <a:pt x="104" y="226"/>
                  </a:lnTo>
                  <a:lnTo>
                    <a:pt x="107" y="226"/>
                  </a:lnTo>
                  <a:lnTo>
                    <a:pt x="107" y="223"/>
                  </a:lnTo>
                  <a:lnTo>
                    <a:pt x="107" y="221"/>
                  </a:lnTo>
                  <a:lnTo>
                    <a:pt x="106" y="221"/>
                  </a:lnTo>
                  <a:lnTo>
                    <a:pt x="106" y="218"/>
                  </a:lnTo>
                  <a:lnTo>
                    <a:pt x="106" y="216"/>
                  </a:lnTo>
                  <a:lnTo>
                    <a:pt x="106" y="214"/>
                  </a:lnTo>
                  <a:lnTo>
                    <a:pt x="104" y="214"/>
                  </a:lnTo>
                  <a:lnTo>
                    <a:pt x="101" y="214"/>
                  </a:lnTo>
                  <a:lnTo>
                    <a:pt x="99" y="214"/>
                  </a:lnTo>
                  <a:lnTo>
                    <a:pt x="99" y="216"/>
                  </a:lnTo>
                  <a:lnTo>
                    <a:pt x="95" y="214"/>
                  </a:lnTo>
                  <a:lnTo>
                    <a:pt x="95" y="213"/>
                  </a:lnTo>
                  <a:lnTo>
                    <a:pt x="95" y="211"/>
                  </a:lnTo>
                  <a:lnTo>
                    <a:pt x="97" y="209"/>
                  </a:lnTo>
                  <a:lnTo>
                    <a:pt x="95" y="207"/>
                  </a:lnTo>
                  <a:lnTo>
                    <a:pt x="97" y="206"/>
                  </a:lnTo>
                  <a:lnTo>
                    <a:pt x="97" y="202"/>
                  </a:lnTo>
                  <a:lnTo>
                    <a:pt x="95" y="199"/>
                  </a:lnTo>
                  <a:lnTo>
                    <a:pt x="94" y="197"/>
                  </a:lnTo>
                  <a:lnTo>
                    <a:pt x="94" y="194"/>
                  </a:lnTo>
                  <a:lnTo>
                    <a:pt x="94" y="190"/>
                  </a:lnTo>
                  <a:lnTo>
                    <a:pt x="92" y="189"/>
                  </a:lnTo>
                  <a:lnTo>
                    <a:pt x="92" y="187"/>
                  </a:lnTo>
                  <a:lnTo>
                    <a:pt x="94" y="184"/>
                  </a:lnTo>
                  <a:lnTo>
                    <a:pt x="95" y="180"/>
                  </a:lnTo>
                  <a:lnTo>
                    <a:pt x="95" y="177"/>
                  </a:lnTo>
                  <a:lnTo>
                    <a:pt x="94" y="177"/>
                  </a:lnTo>
                  <a:lnTo>
                    <a:pt x="92" y="175"/>
                  </a:lnTo>
                  <a:lnTo>
                    <a:pt x="89" y="173"/>
                  </a:lnTo>
                  <a:lnTo>
                    <a:pt x="87" y="173"/>
                  </a:lnTo>
                  <a:lnTo>
                    <a:pt x="85" y="170"/>
                  </a:lnTo>
                  <a:lnTo>
                    <a:pt x="85" y="168"/>
                  </a:lnTo>
                  <a:lnTo>
                    <a:pt x="84" y="167"/>
                  </a:lnTo>
                  <a:lnTo>
                    <a:pt x="82" y="165"/>
                  </a:lnTo>
                  <a:lnTo>
                    <a:pt x="80" y="167"/>
                  </a:lnTo>
                  <a:lnTo>
                    <a:pt x="78" y="167"/>
                  </a:lnTo>
                  <a:lnTo>
                    <a:pt x="78" y="163"/>
                  </a:lnTo>
                  <a:lnTo>
                    <a:pt x="78" y="160"/>
                  </a:lnTo>
                  <a:lnTo>
                    <a:pt x="77" y="158"/>
                  </a:lnTo>
                  <a:lnTo>
                    <a:pt x="75" y="156"/>
                  </a:lnTo>
                  <a:lnTo>
                    <a:pt x="72" y="155"/>
                  </a:lnTo>
                  <a:lnTo>
                    <a:pt x="68" y="153"/>
                  </a:lnTo>
                  <a:lnTo>
                    <a:pt x="68" y="151"/>
                  </a:lnTo>
                  <a:lnTo>
                    <a:pt x="65" y="151"/>
                  </a:lnTo>
                  <a:lnTo>
                    <a:pt x="63" y="150"/>
                  </a:lnTo>
                  <a:lnTo>
                    <a:pt x="61" y="148"/>
                  </a:lnTo>
                  <a:lnTo>
                    <a:pt x="61" y="150"/>
                  </a:lnTo>
                  <a:lnTo>
                    <a:pt x="58" y="150"/>
                  </a:lnTo>
                  <a:lnTo>
                    <a:pt x="56" y="148"/>
                  </a:lnTo>
                  <a:lnTo>
                    <a:pt x="55" y="150"/>
                  </a:lnTo>
                  <a:lnTo>
                    <a:pt x="55" y="146"/>
                  </a:lnTo>
                  <a:lnTo>
                    <a:pt x="51" y="146"/>
                  </a:lnTo>
                  <a:lnTo>
                    <a:pt x="51" y="148"/>
                  </a:lnTo>
                  <a:lnTo>
                    <a:pt x="50" y="148"/>
                  </a:lnTo>
                  <a:lnTo>
                    <a:pt x="46" y="148"/>
                  </a:lnTo>
                  <a:lnTo>
                    <a:pt x="44" y="146"/>
                  </a:lnTo>
                  <a:lnTo>
                    <a:pt x="44" y="145"/>
                  </a:lnTo>
                  <a:lnTo>
                    <a:pt x="43" y="143"/>
                  </a:lnTo>
                  <a:lnTo>
                    <a:pt x="41" y="141"/>
                  </a:lnTo>
                  <a:lnTo>
                    <a:pt x="39" y="141"/>
                  </a:lnTo>
                  <a:lnTo>
                    <a:pt x="38" y="141"/>
                  </a:lnTo>
                  <a:lnTo>
                    <a:pt x="36" y="141"/>
                  </a:lnTo>
                  <a:lnTo>
                    <a:pt x="36" y="139"/>
                  </a:lnTo>
                  <a:lnTo>
                    <a:pt x="33" y="138"/>
                  </a:lnTo>
                  <a:lnTo>
                    <a:pt x="33" y="136"/>
                  </a:lnTo>
                  <a:lnTo>
                    <a:pt x="31" y="136"/>
                  </a:lnTo>
                  <a:lnTo>
                    <a:pt x="29" y="136"/>
                  </a:lnTo>
                  <a:lnTo>
                    <a:pt x="27" y="136"/>
                  </a:lnTo>
                  <a:lnTo>
                    <a:pt x="26" y="133"/>
                  </a:lnTo>
                  <a:lnTo>
                    <a:pt x="26" y="131"/>
                  </a:lnTo>
                  <a:lnTo>
                    <a:pt x="22" y="131"/>
                  </a:lnTo>
                  <a:lnTo>
                    <a:pt x="22" y="129"/>
                  </a:lnTo>
                  <a:lnTo>
                    <a:pt x="21" y="128"/>
                  </a:lnTo>
                  <a:lnTo>
                    <a:pt x="19" y="128"/>
                  </a:lnTo>
                  <a:lnTo>
                    <a:pt x="17" y="124"/>
                  </a:lnTo>
                  <a:lnTo>
                    <a:pt x="16" y="124"/>
                  </a:lnTo>
                  <a:lnTo>
                    <a:pt x="14" y="122"/>
                  </a:lnTo>
                  <a:lnTo>
                    <a:pt x="10" y="122"/>
                  </a:lnTo>
                  <a:lnTo>
                    <a:pt x="9" y="121"/>
                  </a:lnTo>
                  <a:lnTo>
                    <a:pt x="10" y="119"/>
                  </a:lnTo>
                  <a:lnTo>
                    <a:pt x="10" y="117"/>
                  </a:lnTo>
                  <a:lnTo>
                    <a:pt x="9" y="116"/>
                  </a:lnTo>
                  <a:lnTo>
                    <a:pt x="7" y="114"/>
                  </a:lnTo>
                  <a:lnTo>
                    <a:pt x="4" y="112"/>
                  </a:lnTo>
                  <a:lnTo>
                    <a:pt x="2" y="112"/>
                  </a:lnTo>
                  <a:lnTo>
                    <a:pt x="0" y="112"/>
                  </a:lnTo>
                  <a:lnTo>
                    <a:pt x="4" y="109"/>
                  </a:lnTo>
                  <a:lnTo>
                    <a:pt x="4" y="107"/>
                  </a:lnTo>
                  <a:lnTo>
                    <a:pt x="9" y="109"/>
                  </a:lnTo>
                  <a:lnTo>
                    <a:pt x="9" y="110"/>
                  </a:lnTo>
                  <a:lnTo>
                    <a:pt x="12" y="110"/>
                  </a:lnTo>
                  <a:lnTo>
                    <a:pt x="14" y="112"/>
                  </a:lnTo>
                  <a:lnTo>
                    <a:pt x="14" y="110"/>
                  </a:lnTo>
                  <a:lnTo>
                    <a:pt x="14" y="107"/>
                  </a:lnTo>
                  <a:lnTo>
                    <a:pt x="12" y="105"/>
                  </a:lnTo>
                  <a:lnTo>
                    <a:pt x="12" y="104"/>
                  </a:lnTo>
                  <a:lnTo>
                    <a:pt x="10" y="100"/>
                  </a:lnTo>
                  <a:lnTo>
                    <a:pt x="10" y="99"/>
                  </a:lnTo>
                  <a:lnTo>
                    <a:pt x="10" y="97"/>
                  </a:lnTo>
                  <a:lnTo>
                    <a:pt x="12" y="95"/>
                  </a:lnTo>
                  <a:lnTo>
                    <a:pt x="14" y="93"/>
                  </a:lnTo>
                  <a:lnTo>
                    <a:pt x="16" y="92"/>
                  </a:lnTo>
                  <a:lnTo>
                    <a:pt x="19" y="92"/>
                  </a:lnTo>
                  <a:lnTo>
                    <a:pt x="21" y="92"/>
                  </a:lnTo>
                  <a:lnTo>
                    <a:pt x="24" y="92"/>
                  </a:lnTo>
                  <a:lnTo>
                    <a:pt x="26" y="92"/>
                  </a:lnTo>
                  <a:lnTo>
                    <a:pt x="26" y="93"/>
                  </a:lnTo>
                  <a:lnTo>
                    <a:pt x="29" y="97"/>
                  </a:lnTo>
                  <a:lnTo>
                    <a:pt x="31" y="99"/>
                  </a:lnTo>
                  <a:lnTo>
                    <a:pt x="33" y="100"/>
                  </a:lnTo>
                  <a:lnTo>
                    <a:pt x="34" y="104"/>
                  </a:lnTo>
                  <a:lnTo>
                    <a:pt x="36" y="104"/>
                  </a:lnTo>
                  <a:lnTo>
                    <a:pt x="38" y="105"/>
                  </a:lnTo>
                  <a:lnTo>
                    <a:pt x="39" y="107"/>
                  </a:lnTo>
                  <a:lnTo>
                    <a:pt x="39" y="109"/>
                  </a:lnTo>
                  <a:lnTo>
                    <a:pt x="43" y="112"/>
                  </a:lnTo>
                  <a:lnTo>
                    <a:pt x="44" y="112"/>
                  </a:lnTo>
                  <a:lnTo>
                    <a:pt x="44" y="116"/>
                  </a:lnTo>
                  <a:lnTo>
                    <a:pt x="46" y="117"/>
                  </a:lnTo>
                  <a:lnTo>
                    <a:pt x="46" y="119"/>
                  </a:lnTo>
                  <a:lnTo>
                    <a:pt x="50" y="122"/>
                  </a:lnTo>
                  <a:lnTo>
                    <a:pt x="50" y="124"/>
                  </a:lnTo>
                  <a:lnTo>
                    <a:pt x="51" y="128"/>
                  </a:lnTo>
                  <a:lnTo>
                    <a:pt x="51" y="129"/>
                  </a:lnTo>
                  <a:lnTo>
                    <a:pt x="56" y="128"/>
                  </a:lnTo>
                  <a:lnTo>
                    <a:pt x="58" y="128"/>
                  </a:lnTo>
                  <a:lnTo>
                    <a:pt x="60" y="129"/>
                  </a:lnTo>
                  <a:lnTo>
                    <a:pt x="63" y="129"/>
                  </a:lnTo>
                  <a:lnTo>
                    <a:pt x="65" y="129"/>
                  </a:lnTo>
                  <a:lnTo>
                    <a:pt x="67" y="129"/>
                  </a:lnTo>
                  <a:lnTo>
                    <a:pt x="70" y="128"/>
                  </a:lnTo>
                  <a:lnTo>
                    <a:pt x="72" y="129"/>
                  </a:lnTo>
                  <a:lnTo>
                    <a:pt x="73" y="133"/>
                  </a:lnTo>
                  <a:lnTo>
                    <a:pt x="78" y="128"/>
                  </a:lnTo>
                  <a:lnTo>
                    <a:pt x="80" y="126"/>
                  </a:lnTo>
                  <a:lnTo>
                    <a:pt x="82" y="126"/>
                  </a:lnTo>
                  <a:lnTo>
                    <a:pt x="85" y="124"/>
                  </a:lnTo>
                  <a:lnTo>
                    <a:pt x="87" y="122"/>
                  </a:lnTo>
                  <a:lnTo>
                    <a:pt x="87" y="121"/>
                  </a:lnTo>
                  <a:lnTo>
                    <a:pt x="87" y="116"/>
                  </a:lnTo>
                  <a:lnTo>
                    <a:pt x="89" y="114"/>
                  </a:lnTo>
                  <a:lnTo>
                    <a:pt x="92" y="114"/>
                  </a:lnTo>
                  <a:lnTo>
                    <a:pt x="94" y="114"/>
                  </a:lnTo>
                  <a:lnTo>
                    <a:pt x="95" y="117"/>
                  </a:lnTo>
                  <a:lnTo>
                    <a:pt x="97" y="116"/>
                  </a:lnTo>
                  <a:lnTo>
                    <a:pt x="97" y="117"/>
                  </a:lnTo>
                  <a:lnTo>
                    <a:pt x="101" y="119"/>
                  </a:lnTo>
                  <a:lnTo>
                    <a:pt x="102" y="121"/>
                  </a:lnTo>
                  <a:lnTo>
                    <a:pt x="106" y="121"/>
                  </a:lnTo>
                  <a:lnTo>
                    <a:pt x="107" y="121"/>
                  </a:lnTo>
                  <a:lnTo>
                    <a:pt x="109" y="121"/>
                  </a:lnTo>
                  <a:lnTo>
                    <a:pt x="111" y="121"/>
                  </a:lnTo>
                  <a:lnTo>
                    <a:pt x="114" y="122"/>
                  </a:lnTo>
                  <a:lnTo>
                    <a:pt x="116" y="122"/>
                  </a:lnTo>
                  <a:lnTo>
                    <a:pt x="118" y="126"/>
                  </a:lnTo>
                  <a:lnTo>
                    <a:pt x="119" y="128"/>
                  </a:lnTo>
                  <a:lnTo>
                    <a:pt x="121" y="129"/>
                  </a:lnTo>
                  <a:lnTo>
                    <a:pt x="119" y="126"/>
                  </a:lnTo>
                  <a:lnTo>
                    <a:pt x="119" y="124"/>
                  </a:lnTo>
                  <a:lnTo>
                    <a:pt x="123" y="124"/>
                  </a:lnTo>
                  <a:lnTo>
                    <a:pt x="123" y="122"/>
                  </a:lnTo>
                  <a:lnTo>
                    <a:pt x="124" y="122"/>
                  </a:lnTo>
                  <a:lnTo>
                    <a:pt x="124" y="121"/>
                  </a:lnTo>
                  <a:lnTo>
                    <a:pt x="124" y="119"/>
                  </a:lnTo>
                  <a:lnTo>
                    <a:pt x="124" y="116"/>
                  </a:lnTo>
                  <a:lnTo>
                    <a:pt x="123" y="114"/>
                  </a:lnTo>
                  <a:lnTo>
                    <a:pt x="123" y="110"/>
                  </a:lnTo>
                  <a:lnTo>
                    <a:pt x="123" y="109"/>
                  </a:lnTo>
                  <a:lnTo>
                    <a:pt x="124" y="107"/>
                  </a:lnTo>
                  <a:lnTo>
                    <a:pt x="124" y="105"/>
                  </a:lnTo>
                  <a:lnTo>
                    <a:pt x="126" y="104"/>
                  </a:lnTo>
                  <a:lnTo>
                    <a:pt x="128" y="102"/>
                  </a:lnTo>
                  <a:lnTo>
                    <a:pt x="129" y="100"/>
                  </a:lnTo>
                  <a:lnTo>
                    <a:pt x="131" y="100"/>
                  </a:lnTo>
                  <a:lnTo>
                    <a:pt x="135" y="100"/>
                  </a:lnTo>
                  <a:lnTo>
                    <a:pt x="135" y="99"/>
                  </a:lnTo>
                  <a:lnTo>
                    <a:pt x="135" y="95"/>
                  </a:lnTo>
                  <a:lnTo>
                    <a:pt x="135" y="93"/>
                  </a:lnTo>
                  <a:lnTo>
                    <a:pt x="136" y="90"/>
                  </a:lnTo>
                  <a:lnTo>
                    <a:pt x="135" y="88"/>
                  </a:lnTo>
                  <a:lnTo>
                    <a:pt x="133" y="87"/>
                  </a:lnTo>
                  <a:lnTo>
                    <a:pt x="133" y="83"/>
                  </a:lnTo>
                  <a:lnTo>
                    <a:pt x="133" y="82"/>
                  </a:lnTo>
                  <a:lnTo>
                    <a:pt x="131" y="80"/>
                  </a:lnTo>
                  <a:lnTo>
                    <a:pt x="131" y="78"/>
                  </a:lnTo>
                  <a:lnTo>
                    <a:pt x="131" y="76"/>
                  </a:lnTo>
                  <a:lnTo>
                    <a:pt x="129" y="73"/>
                  </a:lnTo>
                  <a:lnTo>
                    <a:pt x="131" y="71"/>
                  </a:lnTo>
                  <a:lnTo>
                    <a:pt x="129" y="70"/>
                  </a:lnTo>
                  <a:lnTo>
                    <a:pt x="129" y="68"/>
                  </a:lnTo>
                  <a:lnTo>
                    <a:pt x="131" y="66"/>
                  </a:lnTo>
                  <a:lnTo>
                    <a:pt x="131" y="63"/>
                  </a:lnTo>
                  <a:lnTo>
                    <a:pt x="129" y="61"/>
                  </a:lnTo>
                  <a:lnTo>
                    <a:pt x="129" y="58"/>
                  </a:lnTo>
                  <a:lnTo>
                    <a:pt x="131" y="58"/>
                  </a:lnTo>
                  <a:lnTo>
                    <a:pt x="129" y="56"/>
                  </a:lnTo>
                  <a:lnTo>
                    <a:pt x="129" y="53"/>
                  </a:lnTo>
                  <a:lnTo>
                    <a:pt x="129" y="51"/>
                  </a:lnTo>
                  <a:lnTo>
                    <a:pt x="131" y="49"/>
                  </a:lnTo>
                  <a:lnTo>
                    <a:pt x="131" y="48"/>
                  </a:lnTo>
                  <a:lnTo>
                    <a:pt x="129" y="44"/>
                  </a:lnTo>
                  <a:lnTo>
                    <a:pt x="128" y="44"/>
                  </a:lnTo>
                  <a:lnTo>
                    <a:pt x="129" y="41"/>
                  </a:lnTo>
                  <a:lnTo>
                    <a:pt x="129" y="39"/>
                  </a:lnTo>
                  <a:lnTo>
                    <a:pt x="133" y="37"/>
                  </a:lnTo>
                  <a:lnTo>
                    <a:pt x="135" y="34"/>
                  </a:lnTo>
                  <a:lnTo>
                    <a:pt x="135" y="32"/>
                  </a:lnTo>
                  <a:lnTo>
                    <a:pt x="135" y="31"/>
                  </a:lnTo>
                  <a:lnTo>
                    <a:pt x="136" y="29"/>
                  </a:lnTo>
                  <a:lnTo>
                    <a:pt x="138" y="27"/>
                  </a:lnTo>
                  <a:lnTo>
                    <a:pt x="138" y="24"/>
                  </a:lnTo>
                  <a:lnTo>
                    <a:pt x="136" y="24"/>
                  </a:lnTo>
                  <a:lnTo>
                    <a:pt x="138" y="22"/>
                  </a:lnTo>
                  <a:lnTo>
                    <a:pt x="138" y="20"/>
                  </a:lnTo>
                  <a:lnTo>
                    <a:pt x="140" y="19"/>
                  </a:lnTo>
                  <a:lnTo>
                    <a:pt x="141" y="19"/>
                  </a:lnTo>
                  <a:lnTo>
                    <a:pt x="143" y="17"/>
                  </a:lnTo>
                  <a:lnTo>
                    <a:pt x="145" y="19"/>
                  </a:lnTo>
                  <a:lnTo>
                    <a:pt x="145" y="17"/>
                  </a:lnTo>
                  <a:lnTo>
                    <a:pt x="146" y="17"/>
                  </a:lnTo>
                  <a:lnTo>
                    <a:pt x="148" y="19"/>
                  </a:lnTo>
                  <a:lnTo>
                    <a:pt x="150" y="17"/>
                  </a:lnTo>
                  <a:lnTo>
                    <a:pt x="153" y="19"/>
                  </a:lnTo>
                  <a:lnTo>
                    <a:pt x="155" y="17"/>
                  </a:lnTo>
                  <a:lnTo>
                    <a:pt x="157" y="15"/>
                  </a:lnTo>
                  <a:lnTo>
                    <a:pt x="158" y="15"/>
                  </a:lnTo>
                  <a:lnTo>
                    <a:pt x="157" y="12"/>
                  </a:lnTo>
                  <a:lnTo>
                    <a:pt x="158" y="12"/>
                  </a:lnTo>
                  <a:lnTo>
                    <a:pt x="160" y="8"/>
                  </a:lnTo>
                  <a:lnTo>
                    <a:pt x="162" y="8"/>
                  </a:lnTo>
                  <a:lnTo>
                    <a:pt x="162" y="5"/>
                  </a:lnTo>
                  <a:lnTo>
                    <a:pt x="163" y="3"/>
                  </a:lnTo>
                  <a:lnTo>
                    <a:pt x="165" y="3"/>
                  </a:lnTo>
                  <a:lnTo>
                    <a:pt x="167" y="3"/>
                  </a:lnTo>
                  <a:lnTo>
                    <a:pt x="169" y="2"/>
                  </a:lnTo>
                  <a:lnTo>
                    <a:pt x="172" y="0"/>
                  </a:lnTo>
                  <a:lnTo>
                    <a:pt x="174" y="3"/>
                  </a:lnTo>
                  <a:lnTo>
                    <a:pt x="174" y="5"/>
                  </a:lnTo>
                  <a:lnTo>
                    <a:pt x="175" y="7"/>
                  </a:lnTo>
                  <a:lnTo>
                    <a:pt x="180" y="12"/>
                  </a:lnTo>
                  <a:lnTo>
                    <a:pt x="184" y="12"/>
                  </a:lnTo>
                  <a:lnTo>
                    <a:pt x="186" y="14"/>
                  </a:lnTo>
                  <a:lnTo>
                    <a:pt x="186" y="15"/>
                  </a:lnTo>
                  <a:lnTo>
                    <a:pt x="187" y="17"/>
                  </a:lnTo>
                  <a:lnTo>
                    <a:pt x="191" y="17"/>
                  </a:lnTo>
                  <a:lnTo>
                    <a:pt x="194" y="19"/>
                  </a:lnTo>
                  <a:lnTo>
                    <a:pt x="196" y="19"/>
                  </a:lnTo>
                  <a:lnTo>
                    <a:pt x="199" y="19"/>
                  </a:lnTo>
                  <a:lnTo>
                    <a:pt x="201" y="20"/>
                  </a:lnTo>
                  <a:lnTo>
                    <a:pt x="203" y="20"/>
                  </a:lnTo>
                  <a:lnTo>
                    <a:pt x="206" y="20"/>
                  </a:lnTo>
                  <a:lnTo>
                    <a:pt x="208" y="20"/>
                  </a:lnTo>
                  <a:lnTo>
                    <a:pt x="209" y="25"/>
                  </a:lnTo>
                  <a:lnTo>
                    <a:pt x="211" y="27"/>
                  </a:lnTo>
                  <a:lnTo>
                    <a:pt x="214" y="31"/>
                  </a:lnTo>
                  <a:lnTo>
                    <a:pt x="214" y="32"/>
                  </a:lnTo>
                  <a:lnTo>
                    <a:pt x="216" y="34"/>
                  </a:lnTo>
                  <a:lnTo>
                    <a:pt x="218" y="36"/>
                  </a:lnTo>
                  <a:lnTo>
                    <a:pt x="216" y="37"/>
                  </a:lnTo>
                  <a:lnTo>
                    <a:pt x="216" y="42"/>
                  </a:lnTo>
                  <a:lnTo>
                    <a:pt x="214" y="44"/>
                  </a:lnTo>
                  <a:lnTo>
                    <a:pt x="214" y="46"/>
                  </a:lnTo>
                  <a:lnTo>
                    <a:pt x="213" y="48"/>
                  </a:lnTo>
                  <a:lnTo>
                    <a:pt x="211" y="53"/>
                  </a:lnTo>
                  <a:lnTo>
                    <a:pt x="211" y="54"/>
                  </a:lnTo>
                  <a:lnTo>
                    <a:pt x="209" y="56"/>
                  </a:lnTo>
                  <a:lnTo>
                    <a:pt x="211" y="59"/>
                  </a:lnTo>
                  <a:lnTo>
                    <a:pt x="211" y="61"/>
                  </a:lnTo>
                  <a:lnTo>
                    <a:pt x="211" y="65"/>
                  </a:lnTo>
                  <a:lnTo>
                    <a:pt x="213" y="66"/>
                  </a:lnTo>
                  <a:lnTo>
                    <a:pt x="216" y="68"/>
                  </a:lnTo>
                  <a:close/>
                  <a:moveTo>
                    <a:pt x="68" y="728"/>
                  </a:moveTo>
                  <a:lnTo>
                    <a:pt x="70" y="730"/>
                  </a:lnTo>
                  <a:lnTo>
                    <a:pt x="70" y="731"/>
                  </a:lnTo>
                  <a:lnTo>
                    <a:pt x="70" y="733"/>
                  </a:lnTo>
                  <a:lnTo>
                    <a:pt x="72" y="731"/>
                  </a:lnTo>
                  <a:lnTo>
                    <a:pt x="70" y="731"/>
                  </a:lnTo>
                  <a:lnTo>
                    <a:pt x="72" y="731"/>
                  </a:lnTo>
                  <a:lnTo>
                    <a:pt x="73" y="731"/>
                  </a:lnTo>
                  <a:lnTo>
                    <a:pt x="73" y="733"/>
                  </a:lnTo>
                  <a:lnTo>
                    <a:pt x="73" y="731"/>
                  </a:lnTo>
                  <a:lnTo>
                    <a:pt x="75" y="731"/>
                  </a:lnTo>
                  <a:lnTo>
                    <a:pt x="75" y="733"/>
                  </a:lnTo>
                  <a:lnTo>
                    <a:pt x="75" y="731"/>
                  </a:lnTo>
                  <a:lnTo>
                    <a:pt x="77" y="731"/>
                  </a:lnTo>
                  <a:lnTo>
                    <a:pt x="75" y="733"/>
                  </a:lnTo>
                  <a:lnTo>
                    <a:pt x="77" y="731"/>
                  </a:lnTo>
                  <a:lnTo>
                    <a:pt x="77" y="733"/>
                  </a:lnTo>
                  <a:lnTo>
                    <a:pt x="78" y="735"/>
                  </a:lnTo>
                  <a:lnTo>
                    <a:pt x="77" y="733"/>
                  </a:lnTo>
                  <a:lnTo>
                    <a:pt x="80" y="733"/>
                  </a:lnTo>
                  <a:lnTo>
                    <a:pt x="78" y="736"/>
                  </a:lnTo>
                  <a:lnTo>
                    <a:pt x="80" y="736"/>
                  </a:lnTo>
                  <a:lnTo>
                    <a:pt x="80" y="735"/>
                  </a:lnTo>
                  <a:lnTo>
                    <a:pt x="80" y="736"/>
                  </a:lnTo>
                  <a:lnTo>
                    <a:pt x="82" y="736"/>
                  </a:lnTo>
                  <a:lnTo>
                    <a:pt x="82" y="738"/>
                  </a:lnTo>
                  <a:lnTo>
                    <a:pt x="82" y="740"/>
                  </a:lnTo>
                  <a:lnTo>
                    <a:pt x="80" y="740"/>
                  </a:lnTo>
                  <a:lnTo>
                    <a:pt x="82" y="742"/>
                  </a:lnTo>
                  <a:lnTo>
                    <a:pt x="80" y="743"/>
                  </a:lnTo>
                  <a:lnTo>
                    <a:pt x="80" y="745"/>
                  </a:lnTo>
                  <a:lnTo>
                    <a:pt x="78" y="743"/>
                  </a:lnTo>
                  <a:lnTo>
                    <a:pt x="77" y="745"/>
                  </a:lnTo>
                  <a:lnTo>
                    <a:pt x="77" y="743"/>
                  </a:lnTo>
                  <a:lnTo>
                    <a:pt x="77" y="742"/>
                  </a:lnTo>
                  <a:lnTo>
                    <a:pt x="77" y="743"/>
                  </a:lnTo>
                  <a:lnTo>
                    <a:pt x="75" y="743"/>
                  </a:lnTo>
                  <a:lnTo>
                    <a:pt x="75" y="742"/>
                  </a:lnTo>
                  <a:lnTo>
                    <a:pt x="73" y="740"/>
                  </a:lnTo>
                  <a:lnTo>
                    <a:pt x="75" y="738"/>
                  </a:lnTo>
                  <a:lnTo>
                    <a:pt x="75" y="735"/>
                  </a:lnTo>
                  <a:lnTo>
                    <a:pt x="73" y="735"/>
                  </a:lnTo>
                  <a:lnTo>
                    <a:pt x="75" y="736"/>
                  </a:lnTo>
                  <a:lnTo>
                    <a:pt x="73" y="738"/>
                  </a:lnTo>
                  <a:lnTo>
                    <a:pt x="73" y="740"/>
                  </a:lnTo>
                  <a:lnTo>
                    <a:pt x="72" y="738"/>
                  </a:lnTo>
                  <a:lnTo>
                    <a:pt x="72" y="736"/>
                  </a:lnTo>
                  <a:lnTo>
                    <a:pt x="72" y="738"/>
                  </a:lnTo>
                  <a:lnTo>
                    <a:pt x="72" y="740"/>
                  </a:lnTo>
                  <a:lnTo>
                    <a:pt x="75" y="742"/>
                  </a:lnTo>
                  <a:lnTo>
                    <a:pt x="73" y="743"/>
                  </a:lnTo>
                  <a:lnTo>
                    <a:pt x="75" y="745"/>
                  </a:lnTo>
                  <a:lnTo>
                    <a:pt x="75" y="747"/>
                  </a:lnTo>
                  <a:lnTo>
                    <a:pt x="75" y="748"/>
                  </a:lnTo>
                  <a:lnTo>
                    <a:pt x="77" y="748"/>
                  </a:lnTo>
                  <a:lnTo>
                    <a:pt x="77" y="750"/>
                  </a:lnTo>
                  <a:lnTo>
                    <a:pt x="75" y="750"/>
                  </a:lnTo>
                  <a:lnTo>
                    <a:pt x="77" y="752"/>
                  </a:lnTo>
                  <a:lnTo>
                    <a:pt x="77" y="750"/>
                  </a:lnTo>
                  <a:lnTo>
                    <a:pt x="80" y="750"/>
                  </a:lnTo>
                  <a:lnTo>
                    <a:pt x="82" y="752"/>
                  </a:lnTo>
                  <a:lnTo>
                    <a:pt x="82" y="750"/>
                  </a:lnTo>
                  <a:lnTo>
                    <a:pt x="84" y="752"/>
                  </a:lnTo>
                  <a:lnTo>
                    <a:pt x="82" y="752"/>
                  </a:lnTo>
                  <a:lnTo>
                    <a:pt x="84" y="755"/>
                  </a:lnTo>
                  <a:lnTo>
                    <a:pt x="84" y="757"/>
                  </a:lnTo>
                  <a:lnTo>
                    <a:pt x="82" y="759"/>
                  </a:lnTo>
                  <a:lnTo>
                    <a:pt x="82" y="755"/>
                  </a:lnTo>
                  <a:lnTo>
                    <a:pt x="80" y="757"/>
                  </a:lnTo>
                  <a:lnTo>
                    <a:pt x="78" y="754"/>
                  </a:lnTo>
                  <a:lnTo>
                    <a:pt x="78" y="755"/>
                  </a:lnTo>
                  <a:lnTo>
                    <a:pt x="77" y="754"/>
                  </a:lnTo>
                  <a:lnTo>
                    <a:pt x="77" y="755"/>
                  </a:lnTo>
                  <a:lnTo>
                    <a:pt x="77" y="754"/>
                  </a:lnTo>
                  <a:lnTo>
                    <a:pt x="75" y="754"/>
                  </a:lnTo>
                  <a:lnTo>
                    <a:pt x="75" y="752"/>
                  </a:lnTo>
                  <a:lnTo>
                    <a:pt x="75" y="750"/>
                  </a:lnTo>
                  <a:lnTo>
                    <a:pt x="75" y="752"/>
                  </a:lnTo>
                  <a:lnTo>
                    <a:pt x="73" y="750"/>
                  </a:lnTo>
                  <a:lnTo>
                    <a:pt x="73" y="754"/>
                  </a:lnTo>
                  <a:lnTo>
                    <a:pt x="72" y="750"/>
                  </a:lnTo>
                  <a:lnTo>
                    <a:pt x="72" y="754"/>
                  </a:lnTo>
                  <a:lnTo>
                    <a:pt x="70" y="750"/>
                  </a:lnTo>
                  <a:lnTo>
                    <a:pt x="70" y="752"/>
                  </a:lnTo>
                  <a:lnTo>
                    <a:pt x="68" y="752"/>
                  </a:lnTo>
                  <a:lnTo>
                    <a:pt x="68" y="750"/>
                  </a:lnTo>
                  <a:lnTo>
                    <a:pt x="68" y="752"/>
                  </a:lnTo>
                  <a:lnTo>
                    <a:pt x="67" y="752"/>
                  </a:lnTo>
                  <a:lnTo>
                    <a:pt x="65" y="750"/>
                  </a:lnTo>
                  <a:lnTo>
                    <a:pt x="65" y="748"/>
                  </a:lnTo>
                  <a:lnTo>
                    <a:pt x="63" y="745"/>
                  </a:lnTo>
                  <a:lnTo>
                    <a:pt x="63" y="743"/>
                  </a:lnTo>
                  <a:lnTo>
                    <a:pt x="61" y="742"/>
                  </a:lnTo>
                  <a:lnTo>
                    <a:pt x="61" y="740"/>
                  </a:lnTo>
                  <a:lnTo>
                    <a:pt x="60" y="740"/>
                  </a:lnTo>
                  <a:lnTo>
                    <a:pt x="61" y="740"/>
                  </a:lnTo>
                  <a:lnTo>
                    <a:pt x="60" y="740"/>
                  </a:lnTo>
                  <a:lnTo>
                    <a:pt x="61" y="738"/>
                  </a:lnTo>
                  <a:lnTo>
                    <a:pt x="61" y="740"/>
                  </a:lnTo>
                  <a:lnTo>
                    <a:pt x="63" y="738"/>
                  </a:lnTo>
                  <a:lnTo>
                    <a:pt x="61" y="742"/>
                  </a:lnTo>
                  <a:lnTo>
                    <a:pt x="63" y="742"/>
                  </a:lnTo>
                  <a:lnTo>
                    <a:pt x="63" y="738"/>
                  </a:lnTo>
                  <a:lnTo>
                    <a:pt x="65" y="740"/>
                  </a:lnTo>
                  <a:lnTo>
                    <a:pt x="65" y="738"/>
                  </a:lnTo>
                  <a:lnTo>
                    <a:pt x="65" y="736"/>
                  </a:lnTo>
                  <a:lnTo>
                    <a:pt x="65" y="738"/>
                  </a:lnTo>
                  <a:lnTo>
                    <a:pt x="63" y="736"/>
                  </a:lnTo>
                  <a:lnTo>
                    <a:pt x="67" y="736"/>
                  </a:lnTo>
                  <a:lnTo>
                    <a:pt x="67" y="738"/>
                  </a:lnTo>
                  <a:lnTo>
                    <a:pt x="65" y="740"/>
                  </a:lnTo>
                  <a:lnTo>
                    <a:pt x="67" y="742"/>
                  </a:lnTo>
                  <a:lnTo>
                    <a:pt x="67" y="743"/>
                  </a:lnTo>
                  <a:lnTo>
                    <a:pt x="67" y="745"/>
                  </a:lnTo>
                  <a:lnTo>
                    <a:pt x="68" y="745"/>
                  </a:lnTo>
                  <a:lnTo>
                    <a:pt x="68" y="742"/>
                  </a:lnTo>
                  <a:lnTo>
                    <a:pt x="67" y="743"/>
                  </a:lnTo>
                  <a:lnTo>
                    <a:pt x="67" y="742"/>
                  </a:lnTo>
                  <a:lnTo>
                    <a:pt x="67" y="740"/>
                  </a:lnTo>
                  <a:lnTo>
                    <a:pt x="67" y="742"/>
                  </a:lnTo>
                  <a:lnTo>
                    <a:pt x="68" y="742"/>
                  </a:lnTo>
                  <a:lnTo>
                    <a:pt x="68" y="740"/>
                  </a:lnTo>
                  <a:lnTo>
                    <a:pt x="70" y="738"/>
                  </a:lnTo>
                  <a:lnTo>
                    <a:pt x="70" y="736"/>
                  </a:lnTo>
                  <a:lnTo>
                    <a:pt x="68" y="738"/>
                  </a:lnTo>
                  <a:lnTo>
                    <a:pt x="68" y="736"/>
                  </a:lnTo>
                  <a:lnTo>
                    <a:pt x="68" y="738"/>
                  </a:lnTo>
                  <a:lnTo>
                    <a:pt x="67" y="736"/>
                  </a:lnTo>
                  <a:lnTo>
                    <a:pt x="68" y="735"/>
                  </a:lnTo>
                  <a:lnTo>
                    <a:pt x="68" y="736"/>
                  </a:lnTo>
                  <a:lnTo>
                    <a:pt x="70" y="736"/>
                  </a:lnTo>
                  <a:lnTo>
                    <a:pt x="68" y="736"/>
                  </a:lnTo>
                  <a:lnTo>
                    <a:pt x="70" y="736"/>
                  </a:lnTo>
                  <a:lnTo>
                    <a:pt x="70" y="735"/>
                  </a:lnTo>
                  <a:lnTo>
                    <a:pt x="68" y="735"/>
                  </a:lnTo>
                  <a:lnTo>
                    <a:pt x="68" y="733"/>
                  </a:lnTo>
                  <a:lnTo>
                    <a:pt x="68" y="735"/>
                  </a:lnTo>
                  <a:lnTo>
                    <a:pt x="68" y="736"/>
                  </a:lnTo>
                  <a:lnTo>
                    <a:pt x="67" y="735"/>
                  </a:lnTo>
                  <a:lnTo>
                    <a:pt x="67" y="733"/>
                  </a:lnTo>
                  <a:lnTo>
                    <a:pt x="65" y="733"/>
                  </a:lnTo>
                  <a:lnTo>
                    <a:pt x="67" y="736"/>
                  </a:lnTo>
                  <a:lnTo>
                    <a:pt x="65" y="733"/>
                  </a:lnTo>
                  <a:lnTo>
                    <a:pt x="67" y="733"/>
                  </a:lnTo>
                  <a:lnTo>
                    <a:pt x="65" y="731"/>
                  </a:lnTo>
                  <a:lnTo>
                    <a:pt x="65" y="730"/>
                  </a:lnTo>
                  <a:lnTo>
                    <a:pt x="67" y="730"/>
                  </a:lnTo>
                  <a:lnTo>
                    <a:pt x="68" y="728"/>
                  </a:lnTo>
                  <a:close/>
                  <a:moveTo>
                    <a:pt x="175" y="719"/>
                  </a:moveTo>
                  <a:lnTo>
                    <a:pt x="175" y="723"/>
                  </a:lnTo>
                  <a:lnTo>
                    <a:pt x="174" y="725"/>
                  </a:lnTo>
                  <a:lnTo>
                    <a:pt x="174" y="726"/>
                  </a:lnTo>
                  <a:lnTo>
                    <a:pt x="172" y="728"/>
                  </a:lnTo>
                  <a:lnTo>
                    <a:pt x="172" y="726"/>
                  </a:lnTo>
                  <a:lnTo>
                    <a:pt x="174" y="728"/>
                  </a:lnTo>
                  <a:lnTo>
                    <a:pt x="172" y="730"/>
                  </a:lnTo>
                  <a:lnTo>
                    <a:pt x="174" y="731"/>
                  </a:lnTo>
                  <a:lnTo>
                    <a:pt x="174" y="733"/>
                  </a:lnTo>
                  <a:lnTo>
                    <a:pt x="174" y="735"/>
                  </a:lnTo>
                  <a:lnTo>
                    <a:pt x="172" y="736"/>
                  </a:lnTo>
                  <a:lnTo>
                    <a:pt x="170" y="738"/>
                  </a:lnTo>
                  <a:lnTo>
                    <a:pt x="172" y="738"/>
                  </a:lnTo>
                  <a:lnTo>
                    <a:pt x="172" y="740"/>
                  </a:lnTo>
                  <a:lnTo>
                    <a:pt x="172" y="742"/>
                  </a:lnTo>
                  <a:lnTo>
                    <a:pt x="172" y="740"/>
                  </a:lnTo>
                  <a:lnTo>
                    <a:pt x="170" y="740"/>
                  </a:lnTo>
                  <a:lnTo>
                    <a:pt x="172" y="742"/>
                  </a:lnTo>
                  <a:lnTo>
                    <a:pt x="170" y="742"/>
                  </a:lnTo>
                  <a:lnTo>
                    <a:pt x="169" y="740"/>
                  </a:lnTo>
                  <a:lnTo>
                    <a:pt x="167" y="742"/>
                  </a:lnTo>
                  <a:lnTo>
                    <a:pt x="169" y="742"/>
                  </a:lnTo>
                  <a:lnTo>
                    <a:pt x="167" y="742"/>
                  </a:lnTo>
                  <a:lnTo>
                    <a:pt x="169" y="743"/>
                  </a:lnTo>
                  <a:lnTo>
                    <a:pt x="167" y="743"/>
                  </a:lnTo>
                  <a:lnTo>
                    <a:pt x="167" y="742"/>
                  </a:lnTo>
                  <a:lnTo>
                    <a:pt x="165" y="742"/>
                  </a:lnTo>
                  <a:lnTo>
                    <a:pt x="165" y="740"/>
                  </a:lnTo>
                  <a:lnTo>
                    <a:pt x="165" y="742"/>
                  </a:lnTo>
                  <a:lnTo>
                    <a:pt x="163" y="743"/>
                  </a:lnTo>
                  <a:lnTo>
                    <a:pt x="162" y="743"/>
                  </a:lnTo>
                  <a:lnTo>
                    <a:pt x="162" y="745"/>
                  </a:lnTo>
                  <a:lnTo>
                    <a:pt x="160" y="743"/>
                  </a:lnTo>
                  <a:lnTo>
                    <a:pt x="160" y="742"/>
                  </a:lnTo>
                  <a:lnTo>
                    <a:pt x="160" y="743"/>
                  </a:lnTo>
                  <a:lnTo>
                    <a:pt x="158" y="742"/>
                  </a:lnTo>
                  <a:lnTo>
                    <a:pt x="158" y="745"/>
                  </a:lnTo>
                  <a:lnTo>
                    <a:pt x="158" y="742"/>
                  </a:lnTo>
                  <a:lnTo>
                    <a:pt x="157" y="740"/>
                  </a:lnTo>
                  <a:lnTo>
                    <a:pt x="157" y="738"/>
                  </a:lnTo>
                  <a:lnTo>
                    <a:pt x="158" y="738"/>
                  </a:lnTo>
                  <a:lnTo>
                    <a:pt x="158" y="736"/>
                  </a:lnTo>
                  <a:lnTo>
                    <a:pt x="160" y="738"/>
                  </a:lnTo>
                  <a:lnTo>
                    <a:pt x="160" y="740"/>
                  </a:lnTo>
                  <a:lnTo>
                    <a:pt x="162" y="738"/>
                  </a:lnTo>
                  <a:lnTo>
                    <a:pt x="160" y="736"/>
                  </a:lnTo>
                  <a:lnTo>
                    <a:pt x="162" y="736"/>
                  </a:lnTo>
                  <a:lnTo>
                    <a:pt x="160" y="736"/>
                  </a:lnTo>
                  <a:lnTo>
                    <a:pt x="158" y="736"/>
                  </a:lnTo>
                  <a:lnTo>
                    <a:pt x="158" y="735"/>
                  </a:lnTo>
                  <a:lnTo>
                    <a:pt x="162" y="733"/>
                  </a:lnTo>
                  <a:lnTo>
                    <a:pt x="163" y="733"/>
                  </a:lnTo>
                  <a:lnTo>
                    <a:pt x="165" y="733"/>
                  </a:lnTo>
                  <a:lnTo>
                    <a:pt x="162" y="733"/>
                  </a:lnTo>
                  <a:lnTo>
                    <a:pt x="160" y="733"/>
                  </a:lnTo>
                  <a:lnTo>
                    <a:pt x="158" y="733"/>
                  </a:lnTo>
                  <a:lnTo>
                    <a:pt x="158" y="731"/>
                  </a:lnTo>
                  <a:lnTo>
                    <a:pt x="158" y="730"/>
                  </a:lnTo>
                  <a:lnTo>
                    <a:pt x="158" y="728"/>
                  </a:lnTo>
                  <a:lnTo>
                    <a:pt x="160" y="728"/>
                  </a:lnTo>
                  <a:lnTo>
                    <a:pt x="160" y="730"/>
                  </a:lnTo>
                  <a:lnTo>
                    <a:pt x="162" y="730"/>
                  </a:lnTo>
                  <a:lnTo>
                    <a:pt x="163" y="730"/>
                  </a:lnTo>
                  <a:lnTo>
                    <a:pt x="163" y="728"/>
                  </a:lnTo>
                  <a:lnTo>
                    <a:pt x="165" y="728"/>
                  </a:lnTo>
                  <a:lnTo>
                    <a:pt x="167" y="726"/>
                  </a:lnTo>
                  <a:lnTo>
                    <a:pt x="169" y="726"/>
                  </a:lnTo>
                  <a:lnTo>
                    <a:pt x="170" y="726"/>
                  </a:lnTo>
                  <a:lnTo>
                    <a:pt x="170" y="725"/>
                  </a:lnTo>
                  <a:lnTo>
                    <a:pt x="172" y="725"/>
                  </a:lnTo>
                  <a:lnTo>
                    <a:pt x="172" y="723"/>
                  </a:lnTo>
                  <a:lnTo>
                    <a:pt x="174" y="721"/>
                  </a:lnTo>
                  <a:lnTo>
                    <a:pt x="174" y="719"/>
                  </a:lnTo>
                  <a:lnTo>
                    <a:pt x="175" y="719"/>
                  </a:lnTo>
                  <a:close/>
                  <a:moveTo>
                    <a:pt x="82" y="514"/>
                  </a:moveTo>
                  <a:lnTo>
                    <a:pt x="82" y="515"/>
                  </a:lnTo>
                  <a:lnTo>
                    <a:pt x="82" y="517"/>
                  </a:lnTo>
                  <a:lnTo>
                    <a:pt x="80" y="519"/>
                  </a:lnTo>
                  <a:lnTo>
                    <a:pt x="82" y="519"/>
                  </a:lnTo>
                  <a:lnTo>
                    <a:pt x="80" y="519"/>
                  </a:lnTo>
                  <a:lnTo>
                    <a:pt x="80" y="522"/>
                  </a:lnTo>
                  <a:lnTo>
                    <a:pt x="80" y="520"/>
                  </a:lnTo>
                  <a:lnTo>
                    <a:pt x="78" y="522"/>
                  </a:lnTo>
                  <a:lnTo>
                    <a:pt x="80" y="522"/>
                  </a:lnTo>
                  <a:lnTo>
                    <a:pt x="82" y="522"/>
                  </a:lnTo>
                  <a:lnTo>
                    <a:pt x="82" y="520"/>
                  </a:lnTo>
                  <a:lnTo>
                    <a:pt x="80" y="520"/>
                  </a:lnTo>
                  <a:lnTo>
                    <a:pt x="82" y="520"/>
                  </a:lnTo>
                  <a:lnTo>
                    <a:pt x="80" y="520"/>
                  </a:lnTo>
                  <a:lnTo>
                    <a:pt x="82" y="520"/>
                  </a:lnTo>
                  <a:lnTo>
                    <a:pt x="82" y="519"/>
                  </a:lnTo>
                  <a:lnTo>
                    <a:pt x="84" y="519"/>
                  </a:lnTo>
                  <a:lnTo>
                    <a:pt x="84" y="520"/>
                  </a:lnTo>
                  <a:lnTo>
                    <a:pt x="84" y="519"/>
                  </a:lnTo>
                  <a:lnTo>
                    <a:pt x="84" y="520"/>
                  </a:lnTo>
                  <a:lnTo>
                    <a:pt x="82" y="522"/>
                  </a:lnTo>
                  <a:lnTo>
                    <a:pt x="84" y="524"/>
                  </a:lnTo>
                  <a:lnTo>
                    <a:pt x="82" y="524"/>
                  </a:lnTo>
                  <a:lnTo>
                    <a:pt x="84" y="526"/>
                  </a:lnTo>
                  <a:lnTo>
                    <a:pt x="85" y="524"/>
                  </a:lnTo>
                  <a:lnTo>
                    <a:pt x="84" y="524"/>
                  </a:lnTo>
                  <a:lnTo>
                    <a:pt x="85" y="524"/>
                  </a:lnTo>
                  <a:lnTo>
                    <a:pt x="87" y="522"/>
                  </a:lnTo>
                  <a:lnTo>
                    <a:pt x="87" y="520"/>
                  </a:lnTo>
                  <a:lnTo>
                    <a:pt x="89" y="522"/>
                  </a:lnTo>
                  <a:lnTo>
                    <a:pt x="89" y="520"/>
                  </a:lnTo>
                  <a:lnTo>
                    <a:pt x="87" y="520"/>
                  </a:lnTo>
                  <a:lnTo>
                    <a:pt x="89" y="520"/>
                  </a:lnTo>
                  <a:lnTo>
                    <a:pt x="89" y="519"/>
                  </a:lnTo>
                  <a:lnTo>
                    <a:pt x="89" y="520"/>
                  </a:lnTo>
                  <a:lnTo>
                    <a:pt x="89" y="522"/>
                  </a:lnTo>
                  <a:lnTo>
                    <a:pt x="90" y="522"/>
                  </a:lnTo>
                  <a:lnTo>
                    <a:pt x="90" y="526"/>
                  </a:lnTo>
                  <a:lnTo>
                    <a:pt x="90" y="527"/>
                  </a:lnTo>
                  <a:lnTo>
                    <a:pt x="89" y="526"/>
                  </a:lnTo>
                  <a:lnTo>
                    <a:pt x="90" y="527"/>
                  </a:lnTo>
                  <a:lnTo>
                    <a:pt x="89" y="527"/>
                  </a:lnTo>
                  <a:lnTo>
                    <a:pt x="89" y="526"/>
                  </a:lnTo>
                  <a:lnTo>
                    <a:pt x="87" y="526"/>
                  </a:lnTo>
                  <a:lnTo>
                    <a:pt x="87" y="529"/>
                  </a:lnTo>
                  <a:lnTo>
                    <a:pt x="87" y="531"/>
                  </a:lnTo>
                  <a:lnTo>
                    <a:pt x="87" y="529"/>
                  </a:lnTo>
                  <a:lnTo>
                    <a:pt x="87" y="531"/>
                  </a:lnTo>
                  <a:lnTo>
                    <a:pt x="84" y="529"/>
                  </a:lnTo>
                  <a:lnTo>
                    <a:pt x="84" y="527"/>
                  </a:lnTo>
                  <a:lnTo>
                    <a:pt x="82" y="527"/>
                  </a:lnTo>
                  <a:lnTo>
                    <a:pt x="84" y="529"/>
                  </a:lnTo>
                  <a:lnTo>
                    <a:pt x="82" y="529"/>
                  </a:lnTo>
                  <a:lnTo>
                    <a:pt x="82" y="527"/>
                  </a:lnTo>
                  <a:lnTo>
                    <a:pt x="80" y="527"/>
                  </a:lnTo>
                  <a:lnTo>
                    <a:pt x="80" y="526"/>
                  </a:lnTo>
                  <a:lnTo>
                    <a:pt x="78" y="524"/>
                  </a:lnTo>
                  <a:lnTo>
                    <a:pt x="80" y="524"/>
                  </a:lnTo>
                  <a:lnTo>
                    <a:pt x="78" y="524"/>
                  </a:lnTo>
                  <a:lnTo>
                    <a:pt x="78" y="520"/>
                  </a:lnTo>
                  <a:lnTo>
                    <a:pt x="78" y="522"/>
                  </a:lnTo>
                  <a:lnTo>
                    <a:pt x="78" y="520"/>
                  </a:lnTo>
                  <a:lnTo>
                    <a:pt x="80" y="519"/>
                  </a:lnTo>
                  <a:lnTo>
                    <a:pt x="80" y="517"/>
                  </a:lnTo>
                  <a:lnTo>
                    <a:pt x="82" y="515"/>
                  </a:lnTo>
                  <a:lnTo>
                    <a:pt x="80" y="517"/>
                  </a:lnTo>
                  <a:lnTo>
                    <a:pt x="80" y="515"/>
                  </a:lnTo>
                  <a:lnTo>
                    <a:pt x="82" y="514"/>
                  </a:lnTo>
                  <a:close/>
                  <a:moveTo>
                    <a:pt x="170" y="374"/>
                  </a:moveTo>
                  <a:lnTo>
                    <a:pt x="172" y="374"/>
                  </a:lnTo>
                  <a:lnTo>
                    <a:pt x="172" y="376"/>
                  </a:lnTo>
                  <a:lnTo>
                    <a:pt x="175" y="376"/>
                  </a:lnTo>
                  <a:lnTo>
                    <a:pt x="177" y="376"/>
                  </a:lnTo>
                  <a:lnTo>
                    <a:pt x="175" y="378"/>
                  </a:lnTo>
                  <a:lnTo>
                    <a:pt x="174" y="378"/>
                  </a:lnTo>
                  <a:lnTo>
                    <a:pt x="172" y="378"/>
                  </a:lnTo>
                  <a:lnTo>
                    <a:pt x="170" y="378"/>
                  </a:lnTo>
                  <a:lnTo>
                    <a:pt x="169" y="378"/>
                  </a:lnTo>
                  <a:lnTo>
                    <a:pt x="170" y="378"/>
                  </a:lnTo>
                  <a:lnTo>
                    <a:pt x="170" y="379"/>
                  </a:lnTo>
                  <a:lnTo>
                    <a:pt x="170" y="381"/>
                  </a:lnTo>
                  <a:lnTo>
                    <a:pt x="169" y="379"/>
                  </a:lnTo>
                  <a:lnTo>
                    <a:pt x="167" y="383"/>
                  </a:lnTo>
                  <a:lnTo>
                    <a:pt x="169" y="383"/>
                  </a:lnTo>
                  <a:lnTo>
                    <a:pt x="170" y="381"/>
                  </a:lnTo>
                  <a:lnTo>
                    <a:pt x="172" y="383"/>
                  </a:lnTo>
                  <a:lnTo>
                    <a:pt x="170" y="384"/>
                  </a:lnTo>
                  <a:lnTo>
                    <a:pt x="169" y="384"/>
                  </a:lnTo>
                  <a:lnTo>
                    <a:pt x="169" y="383"/>
                  </a:lnTo>
                  <a:lnTo>
                    <a:pt x="167" y="383"/>
                  </a:lnTo>
                  <a:lnTo>
                    <a:pt x="169" y="383"/>
                  </a:lnTo>
                  <a:lnTo>
                    <a:pt x="167" y="384"/>
                  </a:lnTo>
                  <a:lnTo>
                    <a:pt x="165" y="383"/>
                  </a:lnTo>
                  <a:lnTo>
                    <a:pt x="163" y="383"/>
                  </a:lnTo>
                  <a:lnTo>
                    <a:pt x="162" y="379"/>
                  </a:lnTo>
                  <a:lnTo>
                    <a:pt x="163" y="379"/>
                  </a:lnTo>
                  <a:lnTo>
                    <a:pt x="163" y="378"/>
                  </a:lnTo>
                  <a:lnTo>
                    <a:pt x="163" y="376"/>
                  </a:lnTo>
                  <a:lnTo>
                    <a:pt x="167" y="376"/>
                  </a:lnTo>
                  <a:lnTo>
                    <a:pt x="170" y="374"/>
                  </a:lnTo>
                  <a:close/>
                  <a:moveTo>
                    <a:pt x="135" y="714"/>
                  </a:moveTo>
                  <a:lnTo>
                    <a:pt x="136" y="714"/>
                  </a:lnTo>
                  <a:lnTo>
                    <a:pt x="138" y="716"/>
                  </a:lnTo>
                  <a:lnTo>
                    <a:pt x="138" y="718"/>
                  </a:lnTo>
                  <a:lnTo>
                    <a:pt x="140" y="718"/>
                  </a:lnTo>
                  <a:lnTo>
                    <a:pt x="140" y="719"/>
                  </a:lnTo>
                  <a:lnTo>
                    <a:pt x="138" y="719"/>
                  </a:lnTo>
                  <a:lnTo>
                    <a:pt x="141" y="719"/>
                  </a:lnTo>
                  <a:lnTo>
                    <a:pt x="140" y="721"/>
                  </a:lnTo>
                  <a:lnTo>
                    <a:pt x="143" y="721"/>
                  </a:lnTo>
                  <a:lnTo>
                    <a:pt x="143" y="723"/>
                  </a:lnTo>
                  <a:lnTo>
                    <a:pt x="141" y="723"/>
                  </a:lnTo>
                  <a:lnTo>
                    <a:pt x="138" y="723"/>
                  </a:lnTo>
                  <a:lnTo>
                    <a:pt x="136" y="723"/>
                  </a:lnTo>
                  <a:lnTo>
                    <a:pt x="138" y="723"/>
                  </a:lnTo>
                  <a:lnTo>
                    <a:pt x="140" y="723"/>
                  </a:lnTo>
                  <a:lnTo>
                    <a:pt x="138" y="723"/>
                  </a:lnTo>
                  <a:lnTo>
                    <a:pt x="135" y="721"/>
                  </a:lnTo>
                  <a:lnTo>
                    <a:pt x="133" y="721"/>
                  </a:lnTo>
                  <a:lnTo>
                    <a:pt x="135" y="719"/>
                  </a:lnTo>
                  <a:lnTo>
                    <a:pt x="133" y="719"/>
                  </a:lnTo>
                  <a:lnTo>
                    <a:pt x="135" y="719"/>
                  </a:lnTo>
                  <a:lnTo>
                    <a:pt x="135" y="718"/>
                  </a:lnTo>
                  <a:lnTo>
                    <a:pt x="136" y="718"/>
                  </a:lnTo>
                  <a:lnTo>
                    <a:pt x="135" y="718"/>
                  </a:lnTo>
                  <a:lnTo>
                    <a:pt x="135" y="719"/>
                  </a:lnTo>
                  <a:lnTo>
                    <a:pt x="133" y="718"/>
                  </a:lnTo>
                  <a:lnTo>
                    <a:pt x="135" y="718"/>
                  </a:lnTo>
                  <a:lnTo>
                    <a:pt x="133" y="718"/>
                  </a:lnTo>
                  <a:lnTo>
                    <a:pt x="135" y="718"/>
                  </a:lnTo>
                  <a:lnTo>
                    <a:pt x="135" y="716"/>
                  </a:lnTo>
                  <a:lnTo>
                    <a:pt x="133" y="716"/>
                  </a:lnTo>
                  <a:lnTo>
                    <a:pt x="135" y="714"/>
                  </a:lnTo>
                  <a:close/>
                  <a:moveTo>
                    <a:pt x="112" y="704"/>
                  </a:moveTo>
                  <a:lnTo>
                    <a:pt x="114" y="704"/>
                  </a:lnTo>
                  <a:lnTo>
                    <a:pt x="114" y="706"/>
                  </a:lnTo>
                  <a:lnTo>
                    <a:pt x="116" y="708"/>
                  </a:lnTo>
                  <a:lnTo>
                    <a:pt x="114" y="706"/>
                  </a:lnTo>
                  <a:lnTo>
                    <a:pt x="116" y="706"/>
                  </a:lnTo>
                  <a:lnTo>
                    <a:pt x="116" y="708"/>
                  </a:lnTo>
                  <a:lnTo>
                    <a:pt x="118" y="709"/>
                  </a:lnTo>
                  <a:lnTo>
                    <a:pt x="119" y="711"/>
                  </a:lnTo>
                  <a:lnTo>
                    <a:pt x="119" y="709"/>
                  </a:lnTo>
                  <a:lnTo>
                    <a:pt x="119" y="711"/>
                  </a:lnTo>
                  <a:lnTo>
                    <a:pt x="121" y="711"/>
                  </a:lnTo>
                  <a:lnTo>
                    <a:pt x="121" y="713"/>
                  </a:lnTo>
                  <a:lnTo>
                    <a:pt x="121" y="711"/>
                  </a:lnTo>
                  <a:lnTo>
                    <a:pt x="124" y="713"/>
                  </a:lnTo>
                  <a:lnTo>
                    <a:pt x="121" y="713"/>
                  </a:lnTo>
                  <a:lnTo>
                    <a:pt x="123" y="714"/>
                  </a:lnTo>
                  <a:lnTo>
                    <a:pt x="121" y="713"/>
                  </a:lnTo>
                  <a:lnTo>
                    <a:pt x="123" y="714"/>
                  </a:lnTo>
                  <a:lnTo>
                    <a:pt x="123" y="716"/>
                  </a:lnTo>
                  <a:lnTo>
                    <a:pt x="121" y="716"/>
                  </a:lnTo>
                  <a:lnTo>
                    <a:pt x="119" y="714"/>
                  </a:lnTo>
                  <a:lnTo>
                    <a:pt x="118" y="713"/>
                  </a:lnTo>
                  <a:lnTo>
                    <a:pt x="116" y="713"/>
                  </a:lnTo>
                  <a:lnTo>
                    <a:pt x="114" y="711"/>
                  </a:lnTo>
                  <a:lnTo>
                    <a:pt x="116" y="711"/>
                  </a:lnTo>
                  <a:lnTo>
                    <a:pt x="116" y="713"/>
                  </a:lnTo>
                  <a:lnTo>
                    <a:pt x="116" y="711"/>
                  </a:lnTo>
                  <a:lnTo>
                    <a:pt x="118" y="711"/>
                  </a:lnTo>
                  <a:lnTo>
                    <a:pt x="116" y="709"/>
                  </a:lnTo>
                  <a:lnTo>
                    <a:pt x="114" y="708"/>
                  </a:lnTo>
                  <a:lnTo>
                    <a:pt x="114" y="709"/>
                  </a:lnTo>
                  <a:lnTo>
                    <a:pt x="116" y="709"/>
                  </a:lnTo>
                  <a:lnTo>
                    <a:pt x="116" y="711"/>
                  </a:lnTo>
                  <a:lnTo>
                    <a:pt x="114" y="711"/>
                  </a:lnTo>
                  <a:lnTo>
                    <a:pt x="114" y="709"/>
                  </a:lnTo>
                  <a:lnTo>
                    <a:pt x="112" y="708"/>
                  </a:lnTo>
                  <a:lnTo>
                    <a:pt x="112" y="709"/>
                  </a:lnTo>
                  <a:lnTo>
                    <a:pt x="114" y="709"/>
                  </a:lnTo>
                  <a:lnTo>
                    <a:pt x="112" y="709"/>
                  </a:lnTo>
                  <a:lnTo>
                    <a:pt x="112" y="708"/>
                  </a:lnTo>
                  <a:lnTo>
                    <a:pt x="111" y="708"/>
                  </a:lnTo>
                  <a:lnTo>
                    <a:pt x="112" y="708"/>
                  </a:lnTo>
                  <a:lnTo>
                    <a:pt x="111" y="708"/>
                  </a:lnTo>
                  <a:lnTo>
                    <a:pt x="111" y="706"/>
                  </a:lnTo>
                  <a:lnTo>
                    <a:pt x="112" y="708"/>
                  </a:lnTo>
                  <a:lnTo>
                    <a:pt x="112" y="706"/>
                  </a:lnTo>
                  <a:lnTo>
                    <a:pt x="114" y="704"/>
                  </a:lnTo>
                  <a:lnTo>
                    <a:pt x="112" y="704"/>
                  </a:lnTo>
                  <a:close/>
                  <a:moveTo>
                    <a:pt x="106" y="510"/>
                  </a:moveTo>
                  <a:lnTo>
                    <a:pt x="109" y="510"/>
                  </a:lnTo>
                  <a:lnTo>
                    <a:pt x="109" y="512"/>
                  </a:lnTo>
                  <a:lnTo>
                    <a:pt x="107" y="512"/>
                  </a:lnTo>
                  <a:lnTo>
                    <a:pt x="107" y="514"/>
                  </a:lnTo>
                  <a:lnTo>
                    <a:pt x="106" y="514"/>
                  </a:lnTo>
                  <a:lnTo>
                    <a:pt x="107" y="514"/>
                  </a:lnTo>
                  <a:lnTo>
                    <a:pt x="106" y="514"/>
                  </a:lnTo>
                  <a:lnTo>
                    <a:pt x="107" y="514"/>
                  </a:lnTo>
                  <a:lnTo>
                    <a:pt x="107" y="515"/>
                  </a:lnTo>
                  <a:lnTo>
                    <a:pt x="107" y="514"/>
                  </a:lnTo>
                  <a:lnTo>
                    <a:pt x="109" y="517"/>
                  </a:lnTo>
                  <a:lnTo>
                    <a:pt x="109" y="514"/>
                  </a:lnTo>
                  <a:lnTo>
                    <a:pt x="109" y="515"/>
                  </a:lnTo>
                  <a:lnTo>
                    <a:pt x="111" y="514"/>
                  </a:lnTo>
                  <a:lnTo>
                    <a:pt x="112" y="515"/>
                  </a:lnTo>
                  <a:lnTo>
                    <a:pt x="112" y="514"/>
                  </a:lnTo>
                  <a:lnTo>
                    <a:pt x="112" y="515"/>
                  </a:lnTo>
                  <a:lnTo>
                    <a:pt x="114" y="512"/>
                  </a:lnTo>
                  <a:lnTo>
                    <a:pt x="114" y="514"/>
                  </a:lnTo>
                  <a:lnTo>
                    <a:pt x="114" y="517"/>
                  </a:lnTo>
                  <a:lnTo>
                    <a:pt x="112" y="515"/>
                  </a:lnTo>
                  <a:lnTo>
                    <a:pt x="111" y="517"/>
                  </a:lnTo>
                  <a:lnTo>
                    <a:pt x="112" y="517"/>
                  </a:lnTo>
                  <a:lnTo>
                    <a:pt x="112" y="519"/>
                  </a:lnTo>
                  <a:lnTo>
                    <a:pt x="109" y="519"/>
                  </a:lnTo>
                  <a:lnTo>
                    <a:pt x="109" y="517"/>
                  </a:lnTo>
                  <a:lnTo>
                    <a:pt x="106" y="519"/>
                  </a:lnTo>
                  <a:lnTo>
                    <a:pt x="106" y="515"/>
                  </a:lnTo>
                  <a:lnTo>
                    <a:pt x="107" y="515"/>
                  </a:lnTo>
                  <a:lnTo>
                    <a:pt x="106" y="515"/>
                  </a:lnTo>
                  <a:lnTo>
                    <a:pt x="106" y="514"/>
                  </a:lnTo>
                  <a:lnTo>
                    <a:pt x="106" y="515"/>
                  </a:lnTo>
                  <a:lnTo>
                    <a:pt x="106" y="514"/>
                  </a:lnTo>
                  <a:lnTo>
                    <a:pt x="104" y="514"/>
                  </a:lnTo>
                  <a:lnTo>
                    <a:pt x="106" y="510"/>
                  </a:lnTo>
                  <a:close/>
                  <a:moveTo>
                    <a:pt x="60" y="738"/>
                  </a:moveTo>
                  <a:lnTo>
                    <a:pt x="60" y="740"/>
                  </a:lnTo>
                  <a:lnTo>
                    <a:pt x="60" y="742"/>
                  </a:lnTo>
                  <a:lnTo>
                    <a:pt x="61" y="742"/>
                  </a:lnTo>
                  <a:lnTo>
                    <a:pt x="61" y="743"/>
                  </a:lnTo>
                  <a:lnTo>
                    <a:pt x="63" y="743"/>
                  </a:lnTo>
                  <a:lnTo>
                    <a:pt x="63" y="745"/>
                  </a:lnTo>
                  <a:lnTo>
                    <a:pt x="63" y="747"/>
                  </a:lnTo>
                  <a:lnTo>
                    <a:pt x="61" y="748"/>
                  </a:lnTo>
                  <a:lnTo>
                    <a:pt x="61" y="747"/>
                  </a:lnTo>
                  <a:lnTo>
                    <a:pt x="61" y="748"/>
                  </a:lnTo>
                  <a:lnTo>
                    <a:pt x="61" y="747"/>
                  </a:lnTo>
                  <a:lnTo>
                    <a:pt x="61" y="745"/>
                  </a:lnTo>
                  <a:lnTo>
                    <a:pt x="60" y="743"/>
                  </a:lnTo>
                  <a:lnTo>
                    <a:pt x="60" y="747"/>
                  </a:lnTo>
                  <a:lnTo>
                    <a:pt x="60" y="748"/>
                  </a:lnTo>
                  <a:lnTo>
                    <a:pt x="61" y="748"/>
                  </a:lnTo>
                  <a:lnTo>
                    <a:pt x="60" y="750"/>
                  </a:lnTo>
                  <a:lnTo>
                    <a:pt x="58" y="748"/>
                  </a:lnTo>
                  <a:lnTo>
                    <a:pt x="58" y="747"/>
                  </a:lnTo>
                  <a:lnTo>
                    <a:pt x="56" y="745"/>
                  </a:lnTo>
                  <a:lnTo>
                    <a:pt x="58" y="745"/>
                  </a:lnTo>
                  <a:lnTo>
                    <a:pt x="58" y="743"/>
                  </a:lnTo>
                  <a:lnTo>
                    <a:pt x="56" y="743"/>
                  </a:lnTo>
                  <a:lnTo>
                    <a:pt x="56" y="742"/>
                  </a:lnTo>
                  <a:lnTo>
                    <a:pt x="56" y="743"/>
                  </a:lnTo>
                  <a:lnTo>
                    <a:pt x="55" y="743"/>
                  </a:lnTo>
                  <a:lnTo>
                    <a:pt x="56" y="742"/>
                  </a:lnTo>
                  <a:lnTo>
                    <a:pt x="56" y="743"/>
                  </a:lnTo>
                  <a:lnTo>
                    <a:pt x="58" y="742"/>
                  </a:lnTo>
                  <a:lnTo>
                    <a:pt x="56" y="742"/>
                  </a:lnTo>
                  <a:lnTo>
                    <a:pt x="58" y="743"/>
                  </a:lnTo>
                  <a:lnTo>
                    <a:pt x="58" y="742"/>
                  </a:lnTo>
                  <a:lnTo>
                    <a:pt x="58" y="740"/>
                  </a:lnTo>
                  <a:lnTo>
                    <a:pt x="58" y="742"/>
                  </a:lnTo>
                  <a:lnTo>
                    <a:pt x="60" y="738"/>
                  </a:lnTo>
                  <a:close/>
                  <a:moveTo>
                    <a:pt x="150" y="721"/>
                  </a:moveTo>
                  <a:lnTo>
                    <a:pt x="150" y="723"/>
                  </a:lnTo>
                  <a:lnTo>
                    <a:pt x="152" y="723"/>
                  </a:lnTo>
                  <a:lnTo>
                    <a:pt x="153" y="723"/>
                  </a:lnTo>
                  <a:lnTo>
                    <a:pt x="155" y="723"/>
                  </a:lnTo>
                  <a:lnTo>
                    <a:pt x="153" y="725"/>
                  </a:lnTo>
                  <a:lnTo>
                    <a:pt x="155" y="725"/>
                  </a:lnTo>
                  <a:lnTo>
                    <a:pt x="153" y="726"/>
                  </a:lnTo>
                  <a:lnTo>
                    <a:pt x="153" y="725"/>
                  </a:lnTo>
                  <a:lnTo>
                    <a:pt x="152" y="725"/>
                  </a:lnTo>
                  <a:lnTo>
                    <a:pt x="152" y="726"/>
                  </a:lnTo>
                  <a:lnTo>
                    <a:pt x="150" y="726"/>
                  </a:lnTo>
                  <a:lnTo>
                    <a:pt x="152" y="728"/>
                  </a:lnTo>
                  <a:lnTo>
                    <a:pt x="148" y="728"/>
                  </a:lnTo>
                  <a:lnTo>
                    <a:pt x="146" y="730"/>
                  </a:lnTo>
                  <a:lnTo>
                    <a:pt x="146" y="728"/>
                  </a:lnTo>
                  <a:lnTo>
                    <a:pt x="150" y="728"/>
                  </a:lnTo>
                  <a:lnTo>
                    <a:pt x="150" y="726"/>
                  </a:lnTo>
                  <a:lnTo>
                    <a:pt x="148" y="726"/>
                  </a:lnTo>
                  <a:lnTo>
                    <a:pt x="148" y="728"/>
                  </a:lnTo>
                  <a:lnTo>
                    <a:pt x="146" y="726"/>
                  </a:lnTo>
                  <a:lnTo>
                    <a:pt x="146" y="728"/>
                  </a:lnTo>
                  <a:lnTo>
                    <a:pt x="145" y="726"/>
                  </a:lnTo>
                  <a:lnTo>
                    <a:pt x="145" y="725"/>
                  </a:lnTo>
                  <a:lnTo>
                    <a:pt x="148" y="723"/>
                  </a:lnTo>
                  <a:lnTo>
                    <a:pt x="150" y="723"/>
                  </a:lnTo>
                  <a:lnTo>
                    <a:pt x="150" y="721"/>
                  </a:lnTo>
                  <a:close/>
                  <a:moveTo>
                    <a:pt x="138" y="733"/>
                  </a:moveTo>
                  <a:lnTo>
                    <a:pt x="140" y="735"/>
                  </a:lnTo>
                  <a:lnTo>
                    <a:pt x="141" y="733"/>
                  </a:lnTo>
                  <a:lnTo>
                    <a:pt x="141" y="735"/>
                  </a:lnTo>
                  <a:lnTo>
                    <a:pt x="138" y="735"/>
                  </a:lnTo>
                  <a:lnTo>
                    <a:pt x="140" y="735"/>
                  </a:lnTo>
                  <a:lnTo>
                    <a:pt x="138" y="736"/>
                  </a:lnTo>
                  <a:lnTo>
                    <a:pt x="140" y="736"/>
                  </a:lnTo>
                  <a:lnTo>
                    <a:pt x="138" y="738"/>
                  </a:lnTo>
                  <a:lnTo>
                    <a:pt x="138" y="740"/>
                  </a:lnTo>
                  <a:lnTo>
                    <a:pt x="136" y="740"/>
                  </a:lnTo>
                  <a:lnTo>
                    <a:pt x="133" y="740"/>
                  </a:lnTo>
                  <a:lnTo>
                    <a:pt x="135" y="738"/>
                  </a:lnTo>
                  <a:lnTo>
                    <a:pt x="133" y="736"/>
                  </a:lnTo>
                  <a:lnTo>
                    <a:pt x="135" y="736"/>
                  </a:lnTo>
                  <a:lnTo>
                    <a:pt x="133" y="736"/>
                  </a:lnTo>
                  <a:lnTo>
                    <a:pt x="135" y="736"/>
                  </a:lnTo>
                  <a:lnTo>
                    <a:pt x="135" y="735"/>
                  </a:lnTo>
                  <a:lnTo>
                    <a:pt x="135" y="733"/>
                  </a:lnTo>
                  <a:lnTo>
                    <a:pt x="135" y="735"/>
                  </a:lnTo>
                  <a:lnTo>
                    <a:pt x="136" y="733"/>
                  </a:lnTo>
                  <a:lnTo>
                    <a:pt x="138" y="733"/>
                  </a:lnTo>
                  <a:close/>
                  <a:moveTo>
                    <a:pt x="129" y="736"/>
                  </a:moveTo>
                  <a:lnTo>
                    <a:pt x="131" y="736"/>
                  </a:lnTo>
                  <a:lnTo>
                    <a:pt x="133" y="736"/>
                  </a:lnTo>
                  <a:lnTo>
                    <a:pt x="133" y="738"/>
                  </a:lnTo>
                  <a:lnTo>
                    <a:pt x="131" y="738"/>
                  </a:lnTo>
                  <a:lnTo>
                    <a:pt x="133" y="740"/>
                  </a:lnTo>
                  <a:lnTo>
                    <a:pt x="129" y="742"/>
                  </a:lnTo>
                  <a:lnTo>
                    <a:pt x="128" y="742"/>
                  </a:lnTo>
                  <a:lnTo>
                    <a:pt x="128" y="743"/>
                  </a:lnTo>
                  <a:lnTo>
                    <a:pt x="126" y="743"/>
                  </a:lnTo>
                  <a:lnTo>
                    <a:pt x="126" y="742"/>
                  </a:lnTo>
                  <a:lnTo>
                    <a:pt x="128" y="742"/>
                  </a:lnTo>
                  <a:lnTo>
                    <a:pt x="126" y="742"/>
                  </a:lnTo>
                  <a:lnTo>
                    <a:pt x="128" y="740"/>
                  </a:lnTo>
                  <a:lnTo>
                    <a:pt x="126" y="740"/>
                  </a:lnTo>
                  <a:lnTo>
                    <a:pt x="126" y="738"/>
                  </a:lnTo>
                  <a:lnTo>
                    <a:pt x="128" y="738"/>
                  </a:lnTo>
                  <a:lnTo>
                    <a:pt x="128" y="736"/>
                  </a:lnTo>
                  <a:lnTo>
                    <a:pt x="129" y="736"/>
                  </a:lnTo>
                  <a:close/>
                  <a:moveTo>
                    <a:pt x="85" y="515"/>
                  </a:moveTo>
                  <a:lnTo>
                    <a:pt x="87" y="515"/>
                  </a:lnTo>
                  <a:lnTo>
                    <a:pt x="89" y="515"/>
                  </a:lnTo>
                  <a:lnTo>
                    <a:pt x="87" y="517"/>
                  </a:lnTo>
                  <a:lnTo>
                    <a:pt x="87" y="519"/>
                  </a:lnTo>
                  <a:lnTo>
                    <a:pt x="87" y="520"/>
                  </a:lnTo>
                  <a:lnTo>
                    <a:pt x="85" y="520"/>
                  </a:lnTo>
                  <a:lnTo>
                    <a:pt x="85" y="519"/>
                  </a:lnTo>
                  <a:lnTo>
                    <a:pt x="87" y="519"/>
                  </a:lnTo>
                  <a:lnTo>
                    <a:pt x="85" y="519"/>
                  </a:lnTo>
                  <a:lnTo>
                    <a:pt x="84" y="519"/>
                  </a:lnTo>
                  <a:lnTo>
                    <a:pt x="82" y="519"/>
                  </a:lnTo>
                  <a:lnTo>
                    <a:pt x="84" y="517"/>
                  </a:lnTo>
                  <a:lnTo>
                    <a:pt x="82" y="517"/>
                  </a:lnTo>
                  <a:lnTo>
                    <a:pt x="82" y="515"/>
                  </a:lnTo>
                  <a:lnTo>
                    <a:pt x="84" y="517"/>
                  </a:lnTo>
                  <a:lnTo>
                    <a:pt x="84" y="515"/>
                  </a:lnTo>
                  <a:lnTo>
                    <a:pt x="85" y="515"/>
                  </a:lnTo>
                  <a:close/>
                  <a:moveTo>
                    <a:pt x="155" y="718"/>
                  </a:moveTo>
                  <a:lnTo>
                    <a:pt x="155" y="719"/>
                  </a:lnTo>
                  <a:lnTo>
                    <a:pt x="157" y="721"/>
                  </a:lnTo>
                  <a:lnTo>
                    <a:pt x="158" y="719"/>
                  </a:lnTo>
                  <a:lnTo>
                    <a:pt x="160" y="719"/>
                  </a:lnTo>
                  <a:lnTo>
                    <a:pt x="158" y="723"/>
                  </a:lnTo>
                  <a:lnTo>
                    <a:pt x="158" y="721"/>
                  </a:lnTo>
                  <a:lnTo>
                    <a:pt x="157" y="723"/>
                  </a:lnTo>
                  <a:lnTo>
                    <a:pt x="155" y="725"/>
                  </a:lnTo>
                  <a:lnTo>
                    <a:pt x="155" y="721"/>
                  </a:lnTo>
                  <a:lnTo>
                    <a:pt x="155" y="723"/>
                  </a:lnTo>
                  <a:lnTo>
                    <a:pt x="152" y="723"/>
                  </a:lnTo>
                  <a:lnTo>
                    <a:pt x="152" y="721"/>
                  </a:lnTo>
                  <a:lnTo>
                    <a:pt x="153" y="721"/>
                  </a:lnTo>
                  <a:lnTo>
                    <a:pt x="153" y="719"/>
                  </a:lnTo>
                  <a:lnTo>
                    <a:pt x="155" y="718"/>
                  </a:lnTo>
                  <a:close/>
                  <a:moveTo>
                    <a:pt x="153" y="726"/>
                  </a:moveTo>
                  <a:lnTo>
                    <a:pt x="153" y="728"/>
                  </a:lnTo>
                  <a:lnTo>
                    <a:pt x="153" y="730"/>
                  </a:lnTo>
                  <a:lnTo>
                    <a:pt x="153" y="731"/>
                  </a:lnTo>
                  <a:lnTo>
                    <a:pt x="150" y="733"/>
                  </a:lnTo>
                  <a:lnTo>
                    <a:pt x="150" y="731"/>
                  </a:lnTo>
                  <a:lnTo>
                    <a:pt x="150" y="730"/>
                  </a:lnTo>
                  <a:lnTo>
                    <a:pt x="148" y="731"/>
                  </a:lnTo>
                  <a:lnTo>
                    <a:pt x="150" y="730"/>
                  </a:lnTo>
                  <a:lnTo>
                    <a:pt x="148" y="730"/>
                  </a:lnTo>
                  <a:lnTo>
                    <a:pt x="146" y="730"/>
                  </a:lnTo>
                  <a:lnTo>
                    <a:pt x="150" y="728"/>
                  </a:lnTo>
                  <a:lnTo>
                    <a:pt x="153" y="726"/>
                  </a:lnTo>
                  <a:close/>
                  <a:moveTo>
                    <a:pt x="124" y="478"/>
                  </a:moveTo>
                  <a:lnTo>
                    <a:pt x="126" y="480"/>
                  </a:lnTo>
                  <a:lnTo>
                    <a:pt x="126" y="478"/>
                  </a:lnTo>
                  <a:lnTo>
                    <a:pt x="128" y="480"/>
                  </a:lnTo>
                  <a:lnTo>
                    <a:pt x="126" y="480"/>
                  </a:lnTo>
                  <a:lnTo>
                    <a:pt x="126" y="481"/>
                  </a:lnTo>
                  <a:lnTo>
                    <a:pt x="124" y="481"/>
                  </a:lnTo>
                  <a:lnTo>
                    <a:pt x="126" y="483"/>
                  </a:lnTo>
                  <a:lnTo>
                    <a:pt x="124" y="483"/>
                  </a:lnTo>
                  <a:lnTo>
                    <a:pt x="124" y="481"/>
                  </a:lnTo>
                  <a:lnTo>
                    <a:pt x="123" y="483"/>
                  </a:lnTo>
                  <a:lnTo>
                    <a:pt x="123" y="481"/>
                  </a:lnTo>
                  <a:lnTo>
                    <a:pt x="123" y="480"/>
                  </a:lnTo>
                  <a:lnTo>
                    <a:pt x="124" y="478"/>
                  </a:lnTo>
                  <a:close/>
                  <a:moveTo>
                    <a:pt x="146" y="731"/>
                  </a:moveTo>
                  <a:lnTo>
                    <a:pt x="146" y="733"/>
                  </a:lnTo>
                  <a:lnTo>
                    <a:pt x="145" y="733"/>
                  </a:lnTo>
                  <a:lnTo>
                    <a:pt x="146" y="735"/>
                  </a:lnTo>
                  <a:lnTo>
                    <a:pt x="146" y="736"/>
                  </a:lnTo>
                  <a:lnTo>
                    <a:pt x="143" y="736"/>
                  </a:lnTo>
                  <a:lnTo>
                    <a:pt x="143" y="735"/>
                  </a:lnTo>
                  <a:lnTo>
                    <a:pt x="143" y="736"/>
                  </a:lnTo>
                  <a:lnTo>
                    <a:pt x="141" y="736"/>
                  </a:lnTo>
                  <a:lnTo>
                    <a:pt x="141" y="735"/>
                  </a:lnTo>
                  <a:lnTo>
                    <a:pt x="143" y="733"/>
                  </a:lnTo>
                  <a:lnTo>
                    <a:pt x="141" y="733"/>
                  </a:lnTo>
                  <a:lnTo>
                    <a:pt x="143" y="733"/>
                  </a:lnTo>
                  <a:lnTo>
                    <a:pt x="146" y="731"/>
                  </a:lnTo>
                  <a:close/>
                  <a:moveTo>
                    <a:pt x="121" y="735"/>
                  </a:moveTo>
                  <a:lnTo>
                    <a:pt x="119" y="735"/>
                  </a:lnTo>
                  <a:lnTo>
                    <a:pt x="121" y="735"/>
                  </a:lnTo>
                  <a:lnTo>
                    <a:pt x="123" y="735"/>
                  </a:lnTo>
                  <a:lnTo>
                    <a:pt x="121" y="736"/>
                  </a:lnTo>
                  <a:lnTo>
                    <a:pt x="123" y="736"/>
                  </a:lnTo>
                  <a:lnTo>
                    <a:pt x="124" y="735"/>
                  </a:lnTo>
                  <a:lnTo>
                    <a:pt x="124" y="736"/>
                  </a:lnTo>
                  <a:lnTo>
                    <a:pt x="123" y="736"/>
                  </a:lnTo>
                  <a:lnTo>
                    <a:pt x="123" y="738"/>
                  </a:lnTo>
                  <a:lnTo>
                    <a:pt x="121" y="738"/>
                  </a:lnTo>
                  <a:lnTo>
                    <a:pt x="119" y="738"/>
                  </a:lnTo>
                  <a:lnTo>
                    <a:pt x="121" y="736"/>
                  </a:lnTo>
                  <a:lnTo>
                    <a:pt x="119" y="736"/>
                  </a:lnTo>
                  <a:lnTo>
                    <a:pt x="118" y="736"/>
                  </a:lnTo>
                  <a:lnTo>
                    <a:pt x="118" y="735"/>
                  </a:lnTo>
                  <a:lnTo>
                    <a:pt x="119" y="735"/>
                  </a:lnTo>
                  <a:lnTo>
                    <a:pt x="119" y="736"/>
                  </a:lnTo>
                  <a:lnTo>
                    <a:pt x="119" y="735"/>
                  </a:lnTo>
                  <a:lnTo>
                    <a:pt x="121" y="735"/>
                  </a:lnTo>
                  <a:close/>
                  <a:moveTo>
                    <a:pt x="82" y="745"/>
                  </a:moveTo>
                  <a:lnTo>
                    <a:pt x="84" y="747"/>
                  </a:lnTo>
                  <a:lnTo>
                    <a:pt x="84" y="745"/>
                  </a:lnTo>
                  <a:lnTo>
                    <a:pt x="85" y="747"/>
                  </a:lnTo>
                  <a:lnTo>
                    <a:pt x="85" y="748"/>
                  </a:lnTo>
                  <a:lnTo>
                    <a:pt x="84" y="748"/>
                  </a:lnTo>
                  <a:lnTo>
                    <a:pt x="85" y="750"/>
                  </a:lnTo>
                  <a:lnTo>
                    <a:pt x="84" y="752"/>
                  </a:lnTo>
                  <a:lnTo>
                    <a:pt x="84" y="750"/>
                  </a:lnTo>
                  <a:lnTo>
                    <a:pt x="84" y="752"/>
                  </a:lnTo>
                  <a:lnTo>
                    <a:pt x="84" y="750"/>
                  </a:lnTo>
                  <a:lnTo>
                    <a:pt x="82" y="750"/>
                  </a:lnTo>
                  <a:lnTo>
                    <a:pt x="82" y="748"/>
                  </a:lnTo>
                  <a:lnTo>
                    <a:pt x="82" y="747"/>
                  </a:lnTo>
                  <a:lnTo>
                    <a:pt x="84" y="747"/>
                  </a:lnTo>
                  <a:lnTo>
                    <a:pt x="82" y="747"/>
                  </a:lnTo>
                  <a:lnTo>
                    <a:pt x="82" y="745"/>
                  </a:lnTo>
                  <a:close/>
                  <a:moveTo>
                    <a:pt x="97" y="515"/>
                  </a:moveTo>
                  <a:lnTo>
                    <a:pt x="97" y="517"/>
                  </a:lnTo>
                  <a:lnTo>
                    <a:pt x="99" y="517"/>
                  </a:lnTo>
                  <a:lnTo>
                    <a:pt x="99" y="519"/>
                  </a:lnTo>
                  <a:lnTo>
                    <a:pt x="101" y="519"/>
                  </a:lnTo>
                  <a:lnTo>
                    <a:pt x="99" y="519"/>
                  </a:lnTo>
                  <a:lnTo>
                    <a:pt x="97" y="517"/>
                  </a:lnTo>
                  <a:lnTo>
                    <a:pt x="97" y="519"/>
                  </a:lnTo>
                  <a:lnTo>
                    <a:pt x="97" y="520"/>
                  </a:lnTo>
                  <a:lnTo>
                    <a:pt x="97" y="522"/>
                  </a:lnTo>
                  <a:lnTo>
                    <a:pt x="95" y="520"/>
                  </a:lnTo>
                  <a:lnTo>
                    <a:pt x="94" y="520"/>
                  </a:lnTo>
                  <a:lnTo>
                    <a:pt x="94" y="522"/>
                  </a:lnTo>
                  <a:lnTo>
                    <a:pt x="94" y="520"/>
                  </a:lnTo>
                  <a:lnTo>
                    <a:pt x="95" y="520"/>
                  </a:lnTo>
                  <a:lnTo>
                    <a:pt x="95" y="519"/>
                  </a:lnTo>
                  <a:lnTo>
                    <a:pt x="95" y="517"/>
                  </a:lnTo>
                  <a:lnTo>
                    <a:pt x="97" y="517"/>
                  </a:lnTo>
                  <a:lnTo>
                    <a:pt x="97" y="515"/>
                  </a:lnTo>
                  <a:close/>
                  <a:moveTo>
                    <a:pt x="158" y="723"/>
                  </a:moveTo>
                  <a:lnTo>
                    <a:pt x="158" y="725"/>
                  </a:lnTo>
                  <a:lnTo>
                    <a:pt x="157" y="726"/>
                  </a:lnTo>
                  <a:lnTo>
                    <a:pt x="157" y="728"/>
                  </a:lnTo>
                  <a:lnTo>
                    <a:pt x="153" y="728"/>
                  </a:lnTo>
                  <a:lnTo>
                    <a:pt x="153" y="726"/>
                  </a:lnTo>
                  <a:lnTo>
                    <a:pt x="155" y="726"/>
                  </a:lnTo>
                  <a:lnTo>
                    <a:pt x="155" y="725"/>
                  </a:lnTo>
                  <a:lnTo>
                    <a:pt x="157" y="723"/>
                  </a:lnTo>
                  <a:lnTo>
                    <a:pt x="158" y="723"/>
                  </a:lnTo>
                  <a:close/>
                  <a:moveTo>
                    <a:pt x="265" y="701"/>
                  </a:moveTo>
                  <a:lnTo>
                    <a:pt x="267" y="702"/>
                  </a:lnTo>
                  <a:lnTo>
                    <a:pt x="269" y="704"/>
                  </a:lnTo>
                  <a:lnTo>
                    <a:pt x="269" y="706"/>
                  </a:lnTo>
                  <a:lnTo>
                    <a:pt x="267" y="708"/>
                  </a:lnTo>
                  <a:lnTo>
                    <a:pt x="267" y="709"/>
                  </a:lnTo>
                  <a:lnTo>
                    <a:pt x="265" y="708"/>
                  </a:lnTo>
                  <a:lnTo>
                    <a:pt x="267" y="706"/>
                  </a:lnTo>
                  <a:lnTo>
                    <a:pt x="265" y="706"/>
                  </a:lnTo>
                  <a:lnTo>
                    <a:pt x="265" y="704"/>
                  </a:lnTo>
                  <a:lnTo>
                    <a:pt x="264" y="702"/>
                  </a:lnTo>
                  <a:lnTo>
                    <a:pt x="265" y="701"/>
                  </a:lnTo>
                  <a:close/>
                  <a:moveTo>
                    <a:pt x="112" y="711"/>
                  </a:moveTo>
                  <a:lnTo>
                    <a:pt x="114" y="711"/>
                  </a:lnTo>
                  <a:lnTo>
                    <a:pt x="116" y="713"/>
                  </a:lnTo>
                  <a:lnTo>
                    <a:pt x="116" y="714"/>
                  </a:lnTo>
                  <a:lnTo>
                    <a:pt x="118" y="716"/>
                  </a:lnTo>
                  <a:lnTo>
                    <a:pt x="116" y="716"/>
                  </a:lnTo>
                  <a:lnTo>
                    <a:pt x="116" y="718"/>
                  </a:lnTo>
                  <a:lnTo>
                    <a:pt x="116" y="716"/>
                  </a:lnTo>
                  <a:lnTo>
                    <a:pt x="114" y="714"/>
                  </a:lnTo>
                  <a:lnTo>
                    <a:pt x="114" y="716"/>
                  </a:lnTo>
                  <a:lnTo>
                    <a:pt x="114" y="714"/>
                  </a:lnTo>
                  <a:lnTo>
                    <a:pt x="114" y="713"/>
                  </a:lnTo>
                  <a:lnTo>
                    <a:pt x="112" y="711"/>
                  </a:lnTo>
                  <a:close/>
                  <a:moveTo>
                    <a:pt x="107" y="689"/>
                  </a:moveTo>
                  <a:lnTo>
                    <a:pt x="109" y="691"/>
                  </a:lnTo>
                  <a:lnTo>
                    <a:pt x="111" y="689"/>
                  </a:lnTo>
                  <a:lnTo>
                    <a:pt x="111" y="691"/>
                  </a:lnTo>
                  <a:lnTo>
                    <a:pt x="109" y="691"/>
                  </a:lnTo>
                  <a:lnTo>
                    <a:pt x="109" y="692"/>
                  </a:lnTo>
                  <a:lnTo>
                    <a:pt x="111" y="692"/>
                  </a:lnTo>
                  <a:lnTo>
                    <a:pt x="111" y="691"/>
                  </a:lnTo>
                  <a:lnTo>
                    <a:pt x="112" y="694"/>
                  </a:lnTo>
                  <a:lnTo>
                    <a:pt x="112" y="692"/>
                  </a:lnTo>
                  <a:lnTo>
                    <a:pt x="112" y="694"/>
                  </a:lnTo>
                  <a:lnTo>
                    <a:pt x="112" y="692"/>
                  </a:lnTo>
                  <a:lnTo>
                    <a:pt x="114" y="694"/>
                  </a:lnTo>
                  <a:lnTo>
                    <a:pt x="112" y="694"/>
                  </a:lnTo>
                  <a:lnTo>
                    <a:pt x="111" y="694"/>
                  </a:lnTo>
                  <a:lnTo>
                    <a:pt x="111" y="692"/>
                  </a:lnTo>
                  <a:lnTo>
                    <a:pt x="111" y="694"/>
                  </a:lnTo>
                  <a:lnTo>
                    <a:pt x="112" y="694"/>
                  </a:lnTo>
                  <a:lnTo>
                    <a:pt x="111" y="696"/>
                  </a:lnTo>
                  <a:lnTo>
                    <a:pt x="111" y="694"/>
                  </a:lnTo>
                  <a:lnTo>
                    <a:pt x="111" y="692"/>
                  </a:lnTo>
                  <a:lnTo>
                    <a:pt x="109" y="692"/>
                  </a:lnTo>
                  <a:lnTo>
                    <a:pt x="107" y="692"/>
                  </a:lnTo>
                  <a:lnTo>
                    <a:pt x="109" y="691"/>
                  </a:lnTo>
                  <a:lnTo>
                    <a:pt x="107" y="691"/>
                  </a:lnTo>
                  <a:lnTo>
                    <a:pt x="107" y="689"/>
                  </a:lnTo>
                  <a:close/>
                  <a:moveTo>
                    <a:pt x="209" y="736"/>
                  </a:moveTo>
                  <a:lnTo>
                    <a:pt x="211" y="736"/>
                  </a:lnTo>
                  <a:lnTo>
                    <a:pt x="213" y="735"/>
                  </a:lnTo>
                  <a:lnTo>
                    <a:pt x="214" y="736"/>
                  </a:lnTo>
                  <a:lnTo>
                    <a:pt x="213" y="736"/>
                  </a:lnTo>
                  <a:lnTo>
                    <a:pt x="213" y="738"/>
                  </a:lnTo>
                  <a:lnTo>
                    <a:pt x="214" y="738"/>
                  </a:lnTo>
                  <a:lnTo>
                    <a:pt x="213" y="738"/>
                  </a:lnTo>
                  <a:lnTo>
                    <a:pt x="214" y="740"/>
                  </a:lnTo>
                  <a:lnTo>
                    <a:pt x="211" y="738"/>
                  </a:lnTo>
                  <a:lnTo>
                    <a:pt x="213" y="738"/>
                  </a:lnTo>
                  <a:lnTo>
                    <a:pt x="211" y="738"/>
                  </a:lnTo>
                  <a:lnTo>
                    <a:pt x="209" y="740"/>
                  </a:lnTo>
                  <a:lnTo>
                    <a:pt x="211" y="738"/>
                  </a:lnTo>
                  <a:lnTo>
                    <a:pt x="211" y="736"/>
                  </a:lnTo>
                  <a:lnTo>
                    <a:pt x="209" y="738"/>
                  </a:lnTo>
                  <a:lnTo>
                    <a:pt x="209" y="736"/>
                  </a:lnTo>
                  <a:close/>
                  <a:moveTo>
                    <a:pt x="148" y="719"/>
                  </a:moveTo>
                  <a:lnTo>
                    <a:pt x="148" y="721"/>
                  </a:lnTo>
                  <a:lnTo>
                    <a:pt x="148" y="719"/>
                  </a:lnTo>
                  <a:lnTo>
                    <a:pt x="150" y="719"/>
                  </a:lnTo>
                  <a:lnTo>
                    <a:pt x="152" y="719"/>
                  </a:lnTo>
                  <a:lnTo>
                    <a:pt x="152" y="721"/>
                  </a:lnTo>
                  <a:lnTo>
                    <a:pt x="150" y="721"/>
                  </a:lnTo>
                  <a:lnTo>
                    <a:pt x="148" y="723"/>
                  </a:lnTo>
                  <a:lnTo>
                    <a:pt x="146" y="721"/>
                  </a:lnTo>
                  <a:lnTo>
                    <a:pt x="145" y="723"/>
                  </a:lnTo>
                  <a:lnTo>
                    <a:pt x="145" y="719"/>
                  </a:lnTo>
                  <a:lnTo>
                    <a:pt x="146" y="719"/>
                  </a:lnTo>
                  <a:lnTo>
                    <a:pt x="148" y="719"/>
                  </a:lnTo>
                  <a:close/>
                  <a:moveTo>
                    <a:pt x="140" y="327"/>
                  </a:moveTo>
                  <a:lnTo>
                    <a:pt x="143" y="328"/>
                  </a:lnTo>
                  <a:lnTo>
                    <a:pt x="141" y="328"/>
                  </a:lnTo>
                  <a:lnTo>
                    <a:pt x="143" y="330"/>
                  </a:lnTo>
                  <a:lnTo>
                    <a:pt x="141" y="330"/>
                  </a:lnTo>
                  <a:lnTo>
                    <a:pt x="140" y="332"/>
                  </a:lnTo>
                  <a:lnTo>
                    <a:pt x="140" y="330"/>
                  </a:lnTo>
                  <a:lnTo>
                    <a:pt x="140" y="328"/>
                  </a:lnTo>
                  <a:lnTo>
                    <a:pt x="140" y="327"/>
                  </a:lnTo>
                  <a:close/>
                  <a:moveTo>
                    <a:pt x="277" y="696"/>
                  </a:moveTo>
                  <a:lnTo>
                    <a:pt x="279" y="697"/>
                  </a:lnTo>
                  <a:lnTo>
                    <a:pt x="279" y="699"/>
                  </a:lnTo>
                  <a:lnTo>
                    <a:pt x="281" y="699"/>
                  </a:lnTo>
                  <a:lnTo>
                    <a:pt x="281" y="701"/>
                  </a:lnTo>
                  <a:lnTo>
                    <a:pt x="279" y="701"/>
                  </a:lnTo>
                  <a:lnTo>
                    <a:pt x="277" y="702"/>
                  </a:lnTo>
                  <a:lnTo>
                    <a:pt x="277" y="699"/>
                  </a:lnTo>
                  <a:lnTo>
                    <a:pt x="277" y="697"/>
                  </a:lnTo>
                  <a:lnTo>
                    <a:pt x="276" y="697"/>
                  </a:lnTo>
                  <a:lnTo>
                    <a:pt x="277" y="696"/>
                  </a:lnTo>
                  <a:close/>
                  <a:moveTo>
                    <a:pt x="85" y="735"/>
                  </a:moveTo>
                  <a:lnTo>
                    <a:pt x="85" y="736"/>
                  </a:lnTo>
                  <a:lnTo>
                    <a:pt x="87" y="736"/>
                  </a:lnTo>
                  <a:lnTo>
                    <a:pt x="87" y="738"/>
                  </a:lnTo>
                  <a:lnTo>
                    <a:pt x="87" y="736"/>
                  </a:lnTo>
                  <a:lnTo>
                    <a:pt x="87" y="738"/>
                  </a:lnTo>
                  <a:lnTo>
                    <a:pt x="89" y="738"/>
                  </a:lnTo>
                  <a:lnTo>
                    <a:pt x="87" y="740"/>
                  </a:lnTo>
                  <a:lnTo>
                    <a:pt x="87" y="742"/>
                  </a:lnTo>
                  <a:lnTo>
                    <a:pt x="87" y="740"/>
                  </a:lnTo>
                  <a:lnTo>
                    <a:pt x="85" y="740"/>
                  </a:lnTo>
                  <a:lnTo>
                    <a:pt x="87" y="740"/>
                  </a:lnTo>
                  <a:lnTo>
                    <a:pt x="85" y="740"/>
                  </a:lnTo>
                  <a:lnTo>
                    <a:pt x="85" y="736"/>
                  </a:lnTo>
                  <a:lnTo>
                    <a:pt x="84" y="736"/>
                  </a:lnTo>
                  <a:lnTo>
                    <a:pt x="85" y="735"/>
                  </a:lnTo>
                  <a:close/>
                  <a:moveTo>
                    <a:pt x="138" y="714"/>
                  </a:moveTo>
                  <a:lnTo>
                    <a:pt x="141" y="714"/>
                  </a:lnTo>
                  <a:lnTo>
                    <a:pt x="141" y="716"/>
                  </a:lnTo>
                  <a:lnTo>
                    <a:pt x="143" y="716"/>
                  </a:lnTo>
                  <a:lnTo>
                    <a:pt x="143" y="718"/>
                  </a:lnTo>
                  <a:lnTo>
                    <a:pt x="140" y="718"/>
                  </a:lnTo>
                  <a:lnTo>
                    <a:pt x="138" y="716"/>
                  </a:lnTo>
                  <a:lnTo>
                    <a:pt x="138" y="714"/>
                  </a:lnTo>
                  <a:close/>
                  <a:moveTo>
                    <a:pt x="131" y="709"/>
                  </a:moveTo>
                  <a:lnTo>
                    <a:pt x="133" y="709"/>
                  </a:lnTo>
                  <a:lnTo>
                    <a:pt x="133" y="711"/>
                  </a:lnTo>
                  <a:lnTo>
                    <a:pt x="131" y="713"/>
                  </a:lnTo>
                  <a:lnTo>
                    <a:pt x="131" y="714"/>
                  </a:lnTo>
                  <a:lnTo>
                    <a:pt x="131" y="716"/>
                  </a:lnTo>
                  <a:lnTo>
                    <a:pt x="129" y="716"/>
                  </a:lnTo>
                  <a:lnTo>
                    <a:pt x="129" y="713"/>
                  </a:lnTo>
                  <a:lnTo>
                    <a:pt x="129" y="711"/>
                  </a:lnTo>
                  <a:lnTo>
                    <a:pt x="131" y="709"/>
                  </a:lnTo>
                  <a:close/>
                  <a:moveTo>
                    <a:pt x="95" y="750"/>
                  </a:moveTo>
                  <a:lnTo>
                    <a:pt x="97" y="752"/>
                  </a:lnTo>
                  <a:lnTo>
                    <a:pt x="97" y="754"/>
                  </a:lnTo>
                  <a:lnTo>
                    <a:pt x="95" y="754"/>
                  </a:lnTo>
                  <a:lnTo>
                    <a:pt x="94" y="754"/>
                  </a:lnTo>
                  <a:lnTo>
                    <a:pt x="95" y="755"/>
                  </a:lnTo>
                  <a:lnTo>
                    <a:pt x="94" y="755"/>
                  </a:lnTo>
                  <a:lnTo>
                    <a:pt x="94" y="752"/>
                  </a:lnTo>
                  <a:lnTo>
                    <a:pt x="94" y="750"/>
                  </a:lnTo>
                  <a:lnTo>
                    <a:pt x="95" y="752"/>
                  </a:lnTo>
                  <a:lnTo>
                    <a:pt x="95" y="750"/>
                  </a:lnTo>
                  <a:close/>
                  <a:moveTo>
                    <a:pt x="89" y="755"/>
                  </a:moveTo>
                  <a:lnTo>
                    <a:pt x="90" y="755"/>
                  </a:lnTo>
                  <a:lnTo>
                    <a:pt x="92" y="757"/>
                  </a:lnTo>
                  <a:lnTo>
                    <a:pt x="90" y="755"/>
                  </a:lnTo>
                  <a:lnTo>
                    <a:pt x="90" y="757"/>
                  </a:lnTo>
                  <a:lnTo>
                    <a:pt x="89" y="757"/>
                  </a:lnTo>
                  <a:lnTo>
                    <a:pt x="89" y="755"/>
                  </a:lnTo>
                  <a:lnTo>
                    <a:pt x="89" y="757"/>
                  </a:lnTo>
                  <a:lnTo>
                    <a:pt x="87" y="757"/>
                  </a:lnTo>
                  <a:lnTo>
                    <a:pt x="87" y="759"/>
                  </a:lnTo>
                  <a:lnTo>
                    <a:pt x="87" y="757"/>
                  </a:lnTo>
                  <a:lnTo>
                    <a:pt x="87" y="759"/>
                  </a:lnTo>
                  <a:lnTo>
                    <a:pt x="87" y="757"/>
                  </a:lnTo>
                  <a:lnTo>
                    <a:pt x="89" y="755"/>
                  </a:lnTo>
                  <a:lnTo>
                    <a:pt x="87" y="755"/>
                  </a:lnTo>
                  <a:lnTo>
                    <a:pt x="89" y="755"/>
                  </a:lnTo>
                  <a:close/>
                  <a:moveTo>
                    <a:pt x="84" y="541"/>
                  </a:moveTo>
                  <a:lnTo>
                    <a:pt x="85" y="543"/>
                  </a:lnTo>
                  <a:lnTo>
                    <a:pt x="85" y="546"/>
                  </a:lnTo>
                  <a:lnTo>
                    <a:pt x="85" y="544"/>
                  </a:lnTo>
                  <a:lnTo>
                    <a:pt x="84" y="546"/>
                  </a:lnTo>
                  <a:lnTo>
                    <a:pt x="82" y="544"/>
                  </a:lnTo>
                  <a:lnTo>
                    <a:pt x="84" y="544"/>
                  </a:lnTo>
                  <a:lnTo>
                    <a:pt x="82" y="543"/>
                  </a:lnTo>
                  <a:lnTo>
                    <a:pt x="84" y="541"/>
                  </a:lnTo>
                  <a:close/>
                  <a:moveTo>
                    <a:pt x="85" y="551"/>
                  </a:moveTo>
                  <a:lnTo>
                    <a:pt x="87" y="551"/>
                  </a:lnTo>
                  <a:lnTo>
                    <a:pt x="87" y="553"/>
                  </a:lnTo>
                  <a:lnTo>
                    <a:pt x="85" y="554"/>
                  </a:lnTo>
                  <a:lnTo>
                    <a:pt x="84" y="553"/>
                  </a:lnTo>
                  <a:lnTo>
                    <a:pt x="84" y="554"/>
                  </a:lnTo>
                  <a:lnTo>
                    <a:pt x="84" y="551"/>
                  </a:lnTo>
                  <a:lnTo>
                    <a:pt x="85" y="551"/>
                  </a:lnTo>
                  <a:close/>
                  <a:moveTo>
                    <a:pt x="101" y="733"/>
                  </a:moveTo>
                  <a:lnTo>
                    <a:pt x="102" y="735"/>
                  </a:lnTo>
                  <a:lnTo>
                    <a:pt x="102" y="736"/>
                  </a:lnTo>
                  <a:lnTo>
                    <a:pt x="101" y="736"/>
                  </a:lnTo>
                  <a:lnTo>
                    <a:pt x="102" y="738"/>
                  </a:lnTo>
                  <a:lnTo>
                    <a:pt x="101" y="738"/>
                  </a:lnTo>
                  <a:lnTo>
                    <a:pt x="99" y="736"/>
                  </a:lnTo>
                  <a:lnTo>
                    <a:pt x="99" y="735"/>
                  </a:lnTo>
                  <a:lnTo>
                    <a:pt x="101" y="733"/>
                  </a:lnTo>
                  <a:close/>
                  <a:moveTo>
                    <a:pt x="148" y="716"/>
                  </a:moveTo>
                  <a:lnTo>
                    <a:pt x="150" y="716"/>
                  </a:lnTo>
                  <a:lnTo>
                    <a:pt x="150" y="718"/>
                  </a:lnTo>
                  <a:lnTo>
                    <a:pt x="148" y="719"/>
                  </a:lnTo>
                  <a:lnTo>
                    <a:pt x="146" y="719"/>
                  </a:lnTo>
                  <a:lnTo>
                    <a:pt x="146" y="718"/>
                  </a:lnTo>
                  <a:lnTo>
                    <a:pt x="148" y="716"/>
                  </a:lnTo>
                  <a:close/>
                  <a:moveTo>
                    <a:pt x="296" y="684"/>
                  </a:moveTo>
                  <a:lnTo>
                    <a:pt x="299" y="685"/>
                  </a:lnTo>
                  <a:lnTo>
                    <a:pt x="298" y="685"/>
                  </a:lnTo>
                  <a:lnTo>
                    <a:pt x="296" y="687"/>
                  </a:lnTo>
                  <a:lnTo>
                    <a:pt x="296" y="691"/>
                  </a:lnTo>
                  <a:lnTo>
                    <a:pt x="294" y="689"/>
                  </a:lnTo>
                  <a:lnTo>
                    <a:pt x="296" y="689"/>
                  </a:lnTo>
                  <a:lnTo>
                    <a:pt x="294" y="687"/>
                  </a:lnTo>
                  <a:lnTo>
                    <a:pt x="296" y="687"/>
                  </a:lnTo>
                  <a:lnTo>
                    <a:pt x="298" y="685"/>
                  </a:lnTo>
                  <a:lnTo>
                    <a:pt x="296" y="684"/>
                  </a:lnTo>
                  <a:close/>
                  <a:moveTo>
                    <a:pt x="177" y="733"/>
                  </a:moveTo>
                  <a:lnTo>
                    <a:pt x="177" y="735"/>
                  </a:lnTo>
                  <a:lnTo>
                    <a:pt x="175" y="736"/>
                  </a:lnTo>
                  <a:lnTo>
                    <a:pt x="174" y="736"/>
                  </a:lnTo>
                  <a:lnTo>
                    <a:pt x="175" y="736"/>
                  </a:lnTo>
                  <a:lnTo>
                    <a:pt x="174" y="735"/>
                  </a:lnTo>
                  <a:lnTo>
                    <a:pt x="175" y="733"/>
                  </a:lnTo>
                  <a:lnTo>
                    <a:pt x="177" y="733"/>
                  </a:lnTo>
                  <a:close/>
                  <a:moveTo>
                    <a:pt x="121" y="476"/>
                  </a:moveTo>
                  <a:lnTo>
                    <a:pt x="121" y="478"/>
                  </a:lnTo>
                  <a:lnTo>
                    <a:pt x="123" y="480"/>
                  </a:lnTo>
                  <a:lnTo>
                    <a:pt x="121" y="478"/>
                  </a:lnTo>
                  <a:lnTo>
                    <a:pt x="121" y="476"/>
                  </a:lnTo>
                  <a:lnTo>
                    <a:pt x="121" y="478"/>
                  </a:lnTo>
                  <a:lnTo>
                    <a:pt x="123" y="480"/>
                  </a:lnTo>
                  <a:lnTo>
                    <a:pt x="121" y="480"/>
                  </a:lnTo>
                  <a:lnTo>
                    <a:pt x="121" y="478"/>
                  </a:lnTo>
                  <a:lnTo>
                    <a:pt x="119" y="478"/>
                  </a:lnTo>
                  <a:lnTo>
                    <a:pt x="119" y="480"/>
                  </a:lnTo>
                  <a:lnTo>
                    <a:pt x="121" y="480"/>
                  </a:lnTo>
                  <a:lnTo>
                    <a:pt x="121" y="478"/>
                  </a:lnTo>
                  <a:lnTo>
                    <a:pt x="121" y="480"/>
                  </a:lnTo>
                  <a:lnTo>
                    <a:pt x="121" y="481"/>
                  </a:lnTo>
                  <a:lnTo>
                    <a:pt x="119" y="481"/>
                  </a:lnTo>
                  <a:lnTo>
                    <a:pt x="119" y="478"/>
                  </a:lnTo>
                  <a:lnTo>
                    <a:pt x="119" y="476"/>
                  </a:lnTo>
                  <a:lnTo>
                    <a:pt x="121" y="478"/>
                  </a:lnTo>
                  <a:lnTo>
                    <a:pt x="121" y="476"/>
                  </a:lnTo>
                  <a:close/>
                  <a:moveTo>
                    <a:pt x="157" y="730"/>
                  </a:moveTo>
                  <a:lnTo>
                    <a:pt x="157" y="733"/>
                  </a:lnTo>
                  <a:lnTo>
                    <a:pt x="155" y="733"/>
                  </a:lnTo>
                  <a:lnTo>
                    <a:pt x="157" y="733"/>
                  </a:lnTo>
                  <a:lnTo>
                    <a:pt x="155" y="735"/>
                  </a:lnTo>
                  <a:lnTo>
                    <a:pt x="153" y="735"/>
                  </a:lnTo>
                  <a:lnTo>
                    <a:pt x="155" y="735"/>
                  </a:lnTo>
                  <a:lnTo>
                    <a:pt x="153" y="733"/>
                  </a:lnTo>
                  <a:lnTo>
                    <a:pt x="153" y="731"/>
                  </a:lnTo>
                  <a:lnTo>
                    <a:pt x="157" y="730"/>
                  </a:lnTo>
                  <a:close/>
                  <a:moveTo>
                    <a:pt x="199" y="743"/>
                  </a:moveTo>
                  <a:lnTo>
                    <a:pt x="201" y="743"/>
                  </a:lnTo>
                  <a:lnTo>
                    <a:pt x="199" y="743"/>
                  </a:lnTo>
                  <a:lnTo>
                    <a:pt x="201" y="743"/>
                  </a:lnTo>
                  <a:lnTo>
                    <a:pt x="201" y="745"/>
                  </a:lnTo>
                  <a:lnTo>
                    <a:pt x="199" y="745"/>
                  </a:lnTo>
                  <a:lnTo>
                    <a:pt x="197" y="745"/>
                  </a:lnTo>
                  <a:lnTo>
                    <a:pt x="196" y="745"/>
                  </a:lnTo>
                  <a:lnTo>
                    <a:pt x="194" y="745"/>
                  </a:lnTo>
                  <a:lnTo>
                    <a:pt x="197" y="743"/>
                  </a:lnTo>
                  <a:lnTo>
                    <a:pt x="199" y="743"/>
                  </a:lnTo>
                  <a:close/>
                  <a:moveTo>
                    <a:pt x="140" y="726"/>
                  </a:moveTo>
                  <a:lnTo>
                    <a:pt x="141" y="726"/>
                  </a:lnTo>
                  <a:lnTo>
                    <a:pt x="141" y="728"/>
                  </a:lnTo>
                  <a:lnTo>
                    <a:pt x="138" y="728"/>
                  </a:lnTo>
                  <a:lnTo>
                    <a:pt x="138" y="726"/>
                  </a:lnTo>
                  <a:lnTo>
                    <a:pt x="140" y="726"/>
                  </a:lnTo>
                  <a:close/>
                  <a:moveTo>
                    <a:pt x="177" y="736"/>
                  </a:moveTo>
                  <a:lnTo>
                    <a:pt x="177" y="738"/>
                  </a:lnTo>
                  <a:lnTo>
                    <a:pt x="175" y="740"/>
                  </a:lnTo>
                  <a:lnTo>
                    <a:pt x="175" y="742"/>
                  </a:lnTo>
                  <a:lnTo>
                    <a:pt x="175" y="740"/>
                  </a:lnTo>
                  <a:lnTo>
                    <a:pt x="175" y="738"/>
                  </a:lnTo>
                  <a:lnTo>
                    <a:pt x="175" y="740"/>
                  </a:lnTo>
                  <a:lnTo>
                    <a:pt x="175" y="738"/>
                  </a:lnTo>
                  <a:lnTo>
                    <a:pt x="174" y="738"/>
                  </a:lnTo>
                  <a:lnTo>
                    <a:pt x="177" y="736"/>
                  </a:lnTo>
                  <a:close/>
                  <a:moveTo>
                    <a:pt x="128" y="730"/>
                  </a:moveTo>
                  <a:lnTo>
                    <a:pt x="129" y="731"/>
                  </a:lnTo>
                  <a:lnTo>
                    <a:pt x="128" y="731"/>
                  </a:lnTo>
                  <a:lnTo>
                    <a:pt x="129" y="731"/>
                  </a:lnTo>
                  <a:lnTo>
                    <a:pt x="129" y="733"/>
                  </a:lnTo>
                  <a:lnTo>
                    <a:pt x="128" y="735"/>
                  </a:lnTo>
                  <a:lnTo>
                    <a:pt x="128" y="733"/>
                  </a:lnTo>
                  <a:lnTo>
                    <a:pt x="128" y="730"/>
                  </a:lnTo>
                  <a:close/>
                  <a:moveTo>
                    <a:pt x="85" y="546"/>
                  </a:moveTo>
                  <a:lnTo>
                    <a:pt x="87" y="549"/>
                  </a:lnTo>
                  <a:lnTo>
                    <a:pt x="87" y="548"/>
                  </a:lnTo>
                  <a:lnTo>
                    <a:pt x="87" y="551"/>
                  </a:lnTo>
                  <a:lnTo>
                    <a:pt x="87" y="549"/>
                  </a:lnTo>
                  <a:lnTo>
                    <a:pt x="85" y="548"/>
                  </a:lnTo>
                  <a:lnTo>
                    <a:pt x="85" y="546"/>
                  </a:lnTo>
                  <a:close/>
                  <a:moveTo>
                    <a:pt x="90" y="750"/>
                  </a:moveTo>
                  <a:lnTo>
                    <a:pt x="92" y="750"/>
                  </a:lnTo>
                  <a:lnTo>
                    <a:pt x="92" y="752"/>
                  </a:lnTo>
                  <a:lnTo>
                    <a:pt x="90" y="754"/>
                  </a:lnTo>
                  <a:lnTo>
                    <a:pt x="89" y="755"/>
                  </a:lnTo>
                  <a:lnTo>
                    <a:pt x="89" y="754"/>
                  </a:lnTo>
                  <a:lnTo>
                    <a:pt x="90" y="754"/>
                  </a:lnTo>
                  <a:lnTo>
                    <a:pt x="90" y="752"/>
                  </a:lnTo>
                  <a:lnTo>
                    <a:pt x="90" y="750"/>
                  </a:lnTo>
                  <a:close/>
                  <a:moveTo>
                    <a:pt x="306" y="680"/>
                  </a:moveTo>
                  <a:lnTo>
                    <a:pt x="308" y="680"/>
                  </a:lnTo>
                  <a:lnTo>
                    <a:pt x="308" y="682"/>
                  </a:lnTo>
                  <a:lnTo>
                    <a:pt x="308" y="684"/>
                  </a:lnTo>
                  <a:lnTo>
                    <a:pt x="306" y="682"/>
                  </a:lnTo>
                  <a:lnTo>
                    <a:pt x="306" y="684"/>
                  </a:lnTo>
                  <a:lnTo>
                    <a:pt x="306" y="680"/>
                  </a:lnTo>
                  <a:close/>
                  <a:moveTo>
                    <a:pt x="276" y="706"/>
                  </a:moveTo>
                  <a:lnTo>
                    <a:pt x="277" y="706"/>
                  </a:lnTo>
                  <a:lnTo>
                    <a:pt x="276" y="706"/>
                  </a:lnTo>
                  <a:lnTo>
                    <a:pt x="274" y="708"/>
                  </a:lnTo>
                  <a:lnTo>
                    <a:pt x="274" y="706"/>
                  </a:lnTo>
                  <a:lnTo>
                    <a:pt x="276" y="706"/>
                  </a:lnTo>
                  <a:close/>
                  <a:moveTo>
                    <a:pt x="94" y="750"/>
                  </a:moveTo>
                  <a:lnTo>
                    <a:pt x="94" y="752"/>
                  </a:lnTo>
                  <a:lnTo>
                    <a:pt x="92" y="754"/>
                  </a:lnTo>
                  <a:lnTo>
                    <a:pt x="92" y="755"/>
                  </a:lnTo>
                  <a:lnTo>
                    <a:pt x="92" y="754"/>
                  </a:lnTo>
                  <a:lnTo>
                    <a:pt x="92" y="752"/>
                  </a:lnTo>
                  <a:lnTo>
                    <a:pt x="92" y="750"/>
                  </a:lnTo>
                  <a:lnTo>
                    <a:pt x="92" y="752"/>
                  </a:lnTo>
                  <a:lnTo>
                    <a:pt x="94" y="750"/>
                  </a:lnTo>
                  <a:close/>
                  <a:moveTo>
                    <a:pt x="109" y="755"/>
                  </a:moveTo>
                  <a:lnTo>
                    <a:pt x="111" y="755"/>
                  </a:lnTo>
                  <a:lnTo>
                    <a:pt x="111" y="757"/>
                  </a:lnTo>
                  <a:lnTo>
                    <a:pt x="109" y="757"/>
                  </a:lnTo>
                  <a:lnTo>
                    <a:pt x="111" y="757"/>
                  </a:lnTo>
                  <a:lnTo>
                    <a:pt x="111" y="759"/>
                  </a:lnTo>
                  <a:lnTo>
                    <a:pt x="107" y="757"/>
                  </a:lnTo>
                  <a:lnTo>
                    <a:pt x="109" y="755"/>
                  </a:lnTo>
                  <a:close/>
                  <a:moveTo>
                    <a:pt x="123" y="731"/>
                  </a:moveTo>
                  <a:lnTo>
                    <a:pt x="123" y="733"/>
                  </a:lnTo>
                  <a:lnTo>
                    <a:pt x="119" y="735"/>
                  </a:lnTo>
                  <a:lnTo>
                    <a:pt x="119" y="733"/>
                  </a:lnTo>
                  <a:lnTo>
                    <a:pt x="121" y="733"/>
                  </a:lnTo>
                  <a:lnTo>
                    <a:pt x="123" y="733"/>
                  </a:lnTo>
                  <a:lnTo>
                    <a:pt x="121" y="733"/>
                  </a:lnTo>
                  <a:lnTo>
                    <a:pt x="119" y="733"/>
                  </a:lnTo>
                  <a:lnTo>
                    <a:pt x="123" y="731"/>
                  </a:lnTo>
                  <a:close/>
                  <a:moveTo>
                    <a:pt x="165" y="750"/>
                  </a:moveTo>
                  <a:lnTo>
                    <a:pt x="163" y="752"/>
                  </a:lnTo>
                  <a:lnTo>
                    <a:pt x="165" y="752"/>
                  </a:lnTo>
                  <a:lnTo>
                    <a:pt x="165" y="754"/>
                  </a:lnTo>
                  <a:lnTo>
                    <a:pt x="163" y="754"/>
                  </a:lnTo>
                  <a:lnTo>
                    <a:pt x="162" y="755"/>
                  </a:lnTo>
                  <a:lnTo>
                    <a:pt x="162" y="754"/>
                  </a:lnTo>
                  <a:lnTo>
                    <a:pt x="162" y="755"/>
                  </a:lnTo>
                  <a:lnTo>
                    <a:pt x="163" y="754"/>
                  </a:lnTo>
                  <a:lnTo>
                    <a:pt x="163" y="752"/>
                  </a:lnTo>
                  <a:lnTo>
                    <a:pt x="165" y="750"/>
                  </a:lnTo>
                  <a:close/>
                  <a:moveTo>
                    <a:pt x="141" y="723"/>
                  </a:moveTo>
                  <a:lnTo>
                    <a:pt x="143" y="725"/>
                  </a:lnTo>
                  <a:lnTo>
                    <a:pt x="143" y="726"/>
                  </a:lnTo>
                  <a:lnTo>
                    <a:pt x="140" y="725"/>
                  </a:lnTo>
                  <a:lnTo>
                    <a:pt x="141" y="723"/>
                  </a:lnTo>
                  <a:close/>
                  <a:moveTo>
                    <a:pt x="107" y="633"/>
                  </a:moveTo>
                  <a:lnTo>
                    <a:pt x="109" y="636"/>
                  </a:lnTo>
                  <a:lnTo>
                    <a:pt x="111" y="636"/>
                  </a:lnTo>
                  <a:lnTo>
                    <a:pt x="107" y="636"/>
                  </a:lnTo>
                  <a:lnTo>
                    <a:pt x="109" y="636"/>
                  </a:lnTo>
                  <a:lnTo>
                    <a:pt x="107" y="634"/>
                  </a:lnTo>
                  <a:lnTo>
                    <a:pt x="106" y="633"/>
                  </a:lnTo>
                  <a:lnTo>
                    <a:pt x="107" y="633"/>
                  </a:lnTo>
                  <a:close/>
                  <a:moveTo>
                    <a:pt x="99" y="728"/>
                  </a:moveTo>
                  <a:lnTo>
                    <a:pt x="101" y="730"/>
                  </a:lnTo>
                  <a:lnTo>
                    <a:pt x="99" y="730"/>
                  </a:lnTo>
                  <a:lnTo>
                    <a:pt x="101" y="730"/>
                  </a:lnTo>
                  <a:lnTo>
                    <a:pt x="99" y="733"/>
                  </a:lnTo>
                  <a:lnTo>
                    <a:pt x="99" y="731"/>
                  </a:lnTo>
                  <a:lnTo>
                    <a:pt x="97" y="731"/>
                  </a:lnTo>
                  <a:lnTo>
                    <a:pt x="99" y="728"/>
                  </a:lnTo>
                  <a:close/>
                  <a:moveTo>
                    <a:pt x="92" y="543"/>
                  </a:moveTo>
                  <a:lnTo>
                    <a:pt x="92" y="544"/>
                  </a:lnTo>
                  <a:lnTo>
                    <a:pt x="92" y="543"/>
                  </a:lnTo>
                  <a:lnTo>
                    <a:pt x="92" y="544"/>
                  </a:lnTo>
                  <a:lnTo>
                    <a:pt x="92" y="546"/>
                  </a:lnTo>
                  <a:lnTo>
                    <a:pt x="92" y="548"/>
                  </a:lnTo>
                  <a:lnTo>
                    <a:pt x="92" y="546"/>
                  </a:lnTo>
                  <a:lnTo>
                    <a:pt x="90" y="544"/>
                  </a:lnTo>
                  <a:lnTo>
                    <a:pt x="92" y="543"/>
                  </a:lnTo>
                  <a:close/>
                  <a:moveTo>
                    <a:pt x="162" y="745"/>
                  </a:moveTo>
                  <a:lnTo>
                    <a:pt x="162" y="747"/>
                  </a:lnTo>
                  <a:lnTo>
                    <a:pt x="160" y="750"/>
                  </a:lnTo>
                  <a:lnTo>
                    <a:pt x="160" y="747"/>
                  </a:lnTo>
                  <a:lnTo>
                    <a:pt x="160" y="745"/>
                  </a:lnTo>
                  <a:lnTo>
                    <a:pt x="162" y="747"/>
                  </a:lnTo>
                  <a:lnTo>
                    <a:pt x="162" y="745"/>
                  </a:lnTo>
                  <a:close/>
                  <a:moveTo>
                    <a:pt x="153" y="332"/>
                  </a:moveTo>
                  <a:lnTo>
                    <a:pt x="155" y="335"/>
                  </a:lnTo>
                  <a:lnTo>
                    <a:pt x="152" y="337"/>
                  </a:lnTo>
                  <a:lnTo>
                    <a:pt x="152" y="335"/>
                  </a:lnTo>
                  <a:lnTo>
                    <a:pt x="153" y="335"/>
                  </a:lnTo>
                  <a:lnTo>
                    <a:pt x="153" y="332"/>
                  </a:lnTo>
                  <a:close/>
                  <a:moveTo>
                    <a:pt x="107" y="718"/>
                  </a:moveTo>
                  <a:lnTo>
                    <a:pt x="109" y="719"/>
                  </a:lnTo>
                  <a:lnTo>
                    <a:pt x="109" y="721"/>
                  </a:lnTo>
                  <a:lnTo>
                    <a:pt x="107" y="719"/>
                  </a:lnTo>
                  <a:lnTo>
                    <a:pt x="107" y="718"/>
                  </a:lnTo>
                  <a:close/>
                  <a:moveTo>
                    <a:pt x="94" y="747"/>
                  </a:moveTo>
                  <a:lnTo>
                    <a:pt x="95" y="748"/>
                  </a:lnTo>
                  <a:lnTo>
                    <a:pt x="94" y="748"/>
                  </a:lnTo>
                  <a:lnTo>
                    <a:pt x="95" y="750"/>
                  </a:lnTo>
                  <a:lnTo>
                    <a:pt x="95" y="748"/>
                  </a:lnTo>
                  <a:lnTo>
                    <a:pt x="94" y="750"/>
                  </a:lnTo>
                  <a:lnTo>
                    <a:pt x="94" y="748"/>
                  </a:lnTo>
                  <a:lnTo>
                    <a:pt x="92" y="748"/>
                  </a:lnTo>
                  <a:lnTo>
                    <a:pt x="94" y="748"/>
                  </a:lnTo>
                  <a:lnTo>
                    <a:pt x="92" y="748"/>
                  </a:lnTo>
                  <a:lnTo>
                    <a:pt x="94" y="747"/>
                  </a:lnTo>
                  <a:close/>
                  <a:moveTo>
                    <a:pt x="203" y="742"/>
                  </a:moveTo>
                  <a:lnTo>
                    <a:pt x="204" y="742"/>
                  </a:lnTo>
                  <a:lnTo>
                    <a:pt x="203" y="742"/>
                  </a:lnTo>
                  <a:lnTo>
                    <a:pt x="203" y="743"/>
                  </a:lnTo>
                  <a:lnTo>
                    <a:pt x="201" y="743"/>
                  </a:lnTo>
                  <a:lnTo>
                    <a:pt x="199" y="743"/>
                  </a:lnTo>
                  <a:lnTo>
                    <a:pt x="199" y="742"/>
                  </a:lnTo>
                  <a:lnTo>
                    <a:pt x="203" y="742"/>
                  </a:lnTo>
                  <a:close/>
                  <a:moveTo>
                    <a:pt x="163" y="745"/>
                  </a:moveTo>
                  <a:lnTo>
                    <a:pt x="165" y="745"/>
                  </a:lnTo>
                  <a:lnTo>
                    <a:pt x="165" y="747"/>
                  </a:lnTo>
                  <a:lnTo>
                    <a:pt x="165" y="748"/>
                  </a:lnTo>
                  <a:lnTo>
                    <a:pt x="163" y="747"/>
                  </a:lnTo>
                  <a:lnTo>
                    <a:pt x="165" y="747"/>
                  </a:lnTo>
                  <a:lnTo>
                    <a:pt x="163" y="747"/>
                  </a:lnTo>
                  <a:lnTo>
                    <a:pt x="163" y="745"/>
                  </a:lnTo>
                  <a:close/>
                  <a:moveTo>
                    <a:pt x="167" y="743"/>
                  </a:moveTo>
                  <a:lnTo>
                    <a:pt x="169" y="745"/>
                  </a:lnTo>
                  <a:lnTo>
                    <a:pt x="167" y="745"/>
                  </a:lnTo>
                  <a:lnTo>
                    <a:pt x="167" y="747"/>
                  </a:lnTo>
                  <a:lnTo>
                    <a:pt x="169" y="747"/>
                  </a:lnTo>
                  <a:lnTo>
                    <a:pt x="169" y="748"/>
                  </a:lnTo>
                  <a:lnTo>
                    <a:pt x="167" y="747"/>
                  </a:lnTo>
                  <a:lnTo>
                    <a:pt x="167" y="745"/>
                  </a:lnTo>
                  <a:lnTo>
                    <a:pt x="167" y="743"/>
                  </a:lnTo>
                  <a:close/>
                  <a:moveTo>
                    <a:pt x="107" y="757"/>
                  </a:moveTo>
                  <a:lnTo>
                    <a:pt x="109" y="760"/>
                  </a:lnTo>
                  <a:lnTo>
                    <a:pt x="106" y="759"/>
                  </a:lnTo>
                  <a:lnTo>
                    <a:pt x="107" y="757"/>
                  </a:lnTo>
                  <a:close/>
                  <a:moveTo>
                    <a:pt x="84" y="731"/>
                  </a:moveTo>
                  <a:lnTo>
                    <a:pt x="85" y="731"/>
                  </a:lnTo>
                  <a:lnTo>
                    <a:pt x="85" y="733"/>
                  </a:lnTo>
                  <a:lnTo>
                    <a:pt x="84" y="731"/>
                  </a:lnTo>
                  <a:lnTo>
                    <a:pt x="84" y="733"/>
                  </a:lnTo>
                  <a:lnTo>
                    <a:pt x="82" y="731"/>
                  </a:lnTo>
                  <a:lnTo>
                    <a:pt x="84" y="731"/>
                  </a:lnTo>
                  <a:close/>
                  <a:moveTo>
                    <a:pt x="143" y="738"/>
                  </a:moveTo>
                  <a:lnTo>
                    <a:pt x="145" y="738"/>
                  </a:lnTo>
                  <a:lnTo>
                    <a:pt x="143" y="740"/>
                  </a:lnTo>
                  <a:lnTo>
                    <a:pt x="141" y="738"/>
                  </a:lnTo>
                  <a:lnTo>
                    <a:pt x="141" y="740"/>
                  </a:lnTo>
                  <a:lnTo>
                    <a:pt x="143" y="738"/>
                  </a:lnTo>
                  <a:close/>
                  <a:moveTo>
                    <a:pt x="111" y="665"/>
                  </a:moveTo>
                  <a:lnTo>
                    <a:pt x="111" y="667"/>
                  </a:lnTo>
                  <a:lnTo>
                    <a:pt x="112" y="668"/>
                  </a:lnTo>
                  <a:lnTo>
                    <a:pt x="111" y="668"/>
                  </a:lnTo>
                  <a:lnTo>
                    <a:pt x="109" y="667"/>
                  </a:lnTo>
                  <a:lnTo>
                    <a:pt x="111" y="665"/>
                  </a:lnTo>
                  <a:close/>
                  <a:moveTo>
                    <a:pt x="118" y="723"/>
                  </a:moveTo>
                  <a:lnTo>
                    <a:pt x="119" y="725"/>
                  </a:lnTo>
                  <a:lnTo>
                    <a:pt x="119" y="726"/>
                  </a:lnTo>
                  <a:lnTo>
                    <a:pt x="119" y="725"/>
                  </a:lnTo>
                  <a:lnTo>
                    <a:pt x="118" y="725"/>
                  </a:lnTo>
                  <a:lnTo>
                    <a:pt x="118" y="726"/>
                  </a:lnTo>
                  <a:lnTo>
                    <a:pt x="116" y="725"/>
                  </a:lnTo>
                  <a:lnTo>
                    <a:pt x="118" y="723"/>
                  </a:lnTo>
                  <a:close/>
                  <a:moveTo>
                    <a:pt x="85" y="571"/>
                  </a:moveTo>
                  <a:lnTo>
                    <a:pt x="87" y="573"/>
                  </a:lnTo>
                  <a:lnTo>
                    <a:pt x="85" y="575"/>
                  </a:lnTo>
                  <a:lnTo>
                    <a:pt x="87" y="575"/>
                  </a:lnTo>
                  <a:lnTo>
                    <a:pt x="87" y="573"/>
                  </a:lnTo>
                  <a:lnTo>
                    <a:pt x="87" y="575"/>
                  </a:lnTo>
                  <a:lnTo>
                    <a:pt x="85" y="575"/>
                  </a:lnTo>
                  <a:lnTo>
                    <a:pt x="85" y="571"/>
                  </a:lnTo>
                  <a:close/>
                  <a:moveTo>
                    <a:pt x="97" y="738"/>
                  </a:moveTo>
                  <a:lnTo>
                    <a:pt x="99" y="740"/>
                  </a:lnTo>
                  <a:lnTo>
                    <a:pt x="99" y="742"/>
                  </a:lnTo>
                  <a:lnTo>
                    <a:pt x="97" y="740"/>
                  </a:lnTo>
                  <a:lnTo>
                    <a:pt x="97" y="738"/>
                  </a:lnTo>
                  <a:close/>
                  <a:moveTo>
                    <a:pt x="90" y="539"/>
                  </a:moveTo>
                  <a:lnTo>
                    <a:pt x="92" y="541"/>
                  </a:lnTo>
                  <a:lnTo>
                    <a:pt x="90" y="541"/>
                  </a:lnTo>
                  <a:lnTo>
                    <a:pt x="89" y="541"/>
                  </a:lnTo>
                  <a:lnTo>
                    <a:pt x="90" y="541"/>
                  </a:lnTo>
                  <a:lnTo>
                    <a:pt x="90" y="539"/>
                  </a:lnTo>
                  <a:close/>
                  <a:moveTo>
                    <a:pt x="116" y="697"/>
                  </a:moveTo>
                  <a:lnTo>
                    <a:pt x="118" y="699"/>
                  </a:lnTo>
                  <a:lnTo>
                    <a:pt x="116" y="701"/>
                  </a:lnTo>
                  <a:lnTo>
                    <a:pt x="116" y="699"/>
                  </a:lnTo>
                  <a:lnTo>
                    <a:pt x="116" y="697"/>
                  </a:lnTo>
                  <a:close/>
                  <a:moveTo>
                    <a:pt x="140" y="736"/>
                  </a:moveTo>
                  <a:lnTo>
                    <a:pt x="141" y="736"/>
                  </a:lnTo>
                  <a:lnTo>
                    <a:pt x="140" y="736"/>
                  </a:lnTo>
                  <a:lnTo>
                    <a:pt x="140" y="738"/>
                  </a:lnTo>
                  <a:lnTo>
                    <a:pt x="141" y="738"/>
                  </a:lnTo>
                  <a:lnTo>
                    <a:pt x="138" y="738"/>
                  </a:lnTo>
                  <a:lnTo>
                    <a:pt x="138" y="736"/>
                  </a:lnTo>
                  <a:lnTo>
                    <a:pt x="140" y="736"/>
                  </a:lnTo>
                  <a:close/>
                  <a:moveTo>
                    <a:pt x="160" y="718"/>
                  </a:moveTo>
                  <a:lnTo>
                    <a:pt x="158" y="719"/>
                  </a:lnTo>
                  <a:lnTo>
                    <a:pt x="157" y="719"/>
                  </a:lnTo>
                  <a:lnTo>
                    <a:pt x="157" y="718"/>
                  </a:lnTo>
                  <a:lnTo>
                    <a:pt x="160" y="718"/>
                  </a:lnTo>
                  <a:close/>
                  <a:moveTo>
                    <a:pt x="282" y="697"/>
                  </a:moveTo>
                  <a:lnTo>
                    <a:pt x="284" y="699"/>
                  </a:lnTo>
                  <a:lnTo>
                    <a:pt x="282" y="699"/>
                  </a:lnTo>
                  <a:lnTo>
                    <a:pt x="284" y="699"/>
                  </a:lnTo>
                  <a:lnTo>
                    <a:pt x="282" y="701"/>
                  </a:lnTo>
                  <a:lnTo>
                    <a:pt x="284" y="699"/>
                  </a:lnTo>
                  <a:lnTo>
                    <a:pt x="282" y="699"/>
                  </a:lnTo>
                  <a:lnTo>
                    <a:pt x="282" y="701"/>
                  </a:lnTo>
                  <a:lnTo>
                    <a:pt x="282" y="699"/>
                  </a:lnTo>
                  <a:lnTo>
                    <a:pt x="281" y="699"/>
                  </a:lnTo>
                  <a:lnTo>
                    <a:pt x="282" y="699"/>
                  </a:lnTo>
                  <a:lnTo>
                    <a:pt x="282" y="697"/>
                  </a:lnTo>
                  <a:close/>
                  <a:moveTo>
                    <a:pt x="179" y="738"/>
                  </a:moveTo>
                  <a:lnTo>
                    <a:pt x="177" y="740"/>
                  </a:lnTo>
                  <a:lnTo>
                    <a:pt x="177" y="742"/>
                  </a:lnTo>
                  <a:lnTo>
                    <a:pt x="177" y="740"/>
                  </a:lnTo>
                  <a:lnTo>
                    <a:pt x="177" y="738"/>
                  </a:lnTo>
                  <a:lnTo>
                    <a:pt x="179" y="738"/>
                  </a:lnTo>
                  <a:close/>
                  <a:moveTo>
                    <a:pt x="148" y="716"/>
                  </a:moveTo>
                  <a:lnTo>
                    <a:pt x="146" y="716"/>
                  </a:lnTo>
                  <a:lnTo>
                    <a:pt x="145" y="716"/>
                  </a:lnTo>
                  <a:lnTo>
                    <a:pt x="145" y="718"/>
                  </a:lnTo>
                  <a:lnTo>
                    <a:pt x="145" y="716"/>
                  </a:lnTo>
                  <a:lnTo>
                    <a:pt x="145" y="718"/>
                  </a:lnTo>
                  <a:lnTo>
                    <a:pt x="145" y="716"/>
                  </a:lnTo>
                  <a:lnTo>
                    <a:pt x="143" y="718"/>
                  </a:lnTo>
                  <a:lnTo>
                    <a:pt x="145" y="716"/>
                  </a:lnTo>
                  <a:lnTo>
                    <a:pt x="148" y="716"/>
                  </a:lnTo>
                  <a:close/>
                  <a:moveTo>
                    <a:pt x="84" y="539"/>
                  </a:moveTo>
                  <a:lnTo>
                    <a:pt x="85" y="541"/>
                  </a:lnTo>
                  <a:lnTo>
                    <a:pt x="87" y="543"/>
                  </a:lnTo>
                  <a:lnTo>
                    <a:pt x="85" y="541"/>
                  </a:lnTo>
                  <a:lnTo>
                    <a:pt x="85" y="543"/>
                  </a:lnTo>
                  <a:lnTo>
                    <a:pt x="84" y="541"/>
                  </a:lnTo>
                  <a:lnTo>
                    <a:pt x="84" y="539"/>
                  </a:lnTo>
                  <a:close/>
                  <a:moveTo>
                    <a:pt x="97" y="743"/>
                  </a:moveTo>
                  <a:lnTo>
                    <a:pt x="99" y="743"/>
                  </a:lnTo>
                  <a:lnTo>
                    <a:pt x="99" y="747"/>
                  </a:lnTo>
                  <a:lnTo>
                    <a:pt x="97" y="747"/>
                  </a:lnTo>
                  <a:lnTo>
                    <a:pt x="97" y="743"/>
                  </a:lnTo>
                  <a:close/>
                  <a:moveTo>
                    <a:pt x="92" y="583"/>
                  </a:moveTo>
                  <a:lnTo>
                    <a:pt x="94" y="585"/>
                  </a:lnTo>
                  <a:lnTo>
                    <a:pt x="94" y="587"/>
                  </a:lnTo>
                  <a:lnTo>
                    <a:pt x="94" y="588"/>
                  </a:lnTo>
                  <a:lnTo>
                    <a:pt x="94" y="587"/>
                  </a:lnTo>
                  <a:lnTo>
                    <a:pt x="92" y="588"/>
                  </a:lnTo>
                  <a:lnTo>
                    <a:pt x="92" y="585"/>
                  </a:lnTo>
                  <a:lnTo>
                    <a:pt x="92" y="583"/>
                  </a:lnTo>
                  <a:close/>
                  <a:moveTo>
                    <a:pt x="124" y="733"/>
                  </a:moveTo>
                  <a:lnTo>
                    <a:pt x="123" y="735"/>
                  </a:lnTo>
                  <a:lnTo>
                    <a:pt x="124" y="733"/>
                  </a:lnTo>
                  <a:lnTo>
                    <a:pt x="124" y="735"/>
                  </a:lnTo>
                  <a:lnTo>
                    <a:pt x="123" y="736"/>
                  </a:lnTo>
                  <a:lnTo>
                    <a:pt x="123" y="733"/>
                  </a:lnTo>
                  <a:lnTo>
                    <a:pt x="124" y="733"/>
                  </a:lnTo>
                  <a:close/>
                  <a:moveTo>
                    <a:pt x="284" y="694"/>
                  </a:moveTo>
                  <a:lnTo>
                    <a:pt x="286" y="696"/>
                  </a:lnTo>
                  <a:lnTo>
                    <a:pt x="288" y="696"/>
                  </a:lnTo>
                  <a:lnTo>
                    <a:pt x="286" y="696"/>
                  </a:lnTo>
                  <a:lnTo>
                    <a:pt x="284" y="694"/>
                  </a:lnTo>
                  <a:close/>
                  <a:moveTo>
                    <a:pt x="196" y="747"/>
                  </a:moveTo>
                  <a:lnTo>
                    <a:pt x="197" y="747"/>
                  </a:lnTo>
                  <a:lnTo>
                    <a:pt x="196" y="747"/>
                  </a:lnTo>
                  <a:lnTo>
                    <a:pt x="197" y="747"/>
                  </a:lnTo>
                  <a:lnTo>
                    <a:pt x="194" y="748"/>
                  </a:lnTo>
                  <a:lnTo>
                    <a:pt x="196" y="747"/>
                  </a:lnTo>
                  <a:lnTo>
                    <a:pt x="194" y="747"/>
                  </a:lnTo>
                  <a:lnTo>
                    <a:pt x="194" y="748"/>
                  </a:lnTo>
                  <a:lnTo>
                    <a:pt x="196" y="747"/>
                  </a:lnTo>
                  <a:close/>
                  <a:moveTo>
                    <a:pt x="84" y="561"/>
                  </a:moveTo>
                  <a:lnTo>
                    <a:pt x="84" y="560"/>
                  </a:lnTo>
                  <a:lnTo>
                    <a:pt x="85" y="563"/>
                  </a:lnTo>
                  <a:lnTo>
                    <a:pt x="84" y="563"/>
                  </a:lnTo>
                  <a:lnTo>
                    <a:pt x="84" y="561"/>
                  </a:lnTo>
                  <a:close/>
                  <a:moveTo>
                    <a:pt x="311" y="680"/>
                  </a:moveTo>
                  <a:lnTo>
                    <a:pt x="311" y="682"/>
                  </a:lnTo>
                  <a:lnTo>
                    <a:pt x="313" y="684"/>
                  </a:lnTo>
                  <a:lnTo>
                    <a:pt x="311" y="682"/>
                  </a:lnTo>
                  <a:lnTo>
                    <a:pt x="311" y="680"/>
                  </a:lnTo>
                  <a:close/>
                  <a:moveTo>
                    <a:pt x="85" y="740"/>
                  </a:moveTo>
                  <a:lnTo>
                    <a:pt x="85" y="742"/>
                  </a:lnTo>
                  <a:lnTo>
                    <a:pt x="84" y="742"/>
                  </a:lnTo>
                  <a:lnTo>
                    <a:pt x="84" y="745"/>
                  </a:lnTo>
                  <a:lnTo>
                    <a:pt x="84" y="743"/>
                  </a:lnTo>
                  <a:lnTo>
                    <a:pt x="84" y="740"/>
                  </a:lnTo>
                  <a:lnTo>
                    <a:pt x="85" y="740"/>
                  </a:lnTo>
                  <a:close/>
                  <a:moveTo>
                    <a:pt x="311" y="684"/>
                  </a:moveTo>
                  <a:lnTo>
                    <a:pt x="313" y="684"/>
                  </a:lnTo>
                  <a:lnTo>
                    <a:pt x="315" y="685"/>
                  </a:lnTo>
                  <a:lnTo>
                    <a:pt x="313" y="685"/>
                  </a:lnTo>
                  <a:lnTo>
                    <a:pt x="311" y="684"/>
                  </a:lnTo>
                  <a:close/>
                  <a:moveTo>
                    <a:pt x="179" y="371"/>
                  </a:moveTo>
                  <a:lnTo>
                    <a:pt x="182" y="371"/>
                  </a:lnTo>
                  <a:lnTo>
                    <a:pt x="182" y="372"/>
                  </a:lnTo>
                  <a:lnTo>
                    <a:pt x="180" y="372"/>
                  </a:lnTo>
                  <a:lnTo>
                    <a:pt x="180" y="371"/>
                  </a:lnTo>
                  <a:lnTo>
                    <a:pt x="179" y="372"/>
                  </a:lnTo>
                  <a:lnTo>
                    <a:pt x="179" y="371"/>
                  </a:lnTo>
                  <a:close/>
                  <a:moveTo>
                    <a:pt x="107" y="721"/>
                  </a:moveTo>
                  <a:lnTo>
                    <a:pt x="107" y="723"/>
                  </a:lnTo>
                  <a:lnTo>
                    <a:pt x="109" y="725"/>
                  </a:lnTo>
                  <a:lnTo>
                    <a:pt x="107" y="725"/>
                  </a:lnTo>
                  <a:lnTo>
                    <a:pt x="107" y="723"/>
                  </a:lnTo>
                  <a:lnTo>
                    <a:pt x="106" y="721"/>
                  </a:lnTo>
                  <a:lnTo>
                    <a:pt x="107" y="721"/>
                  </a:lnTo>
                  <a:close/>
                  <a:moveTo>
                    <a:pt x="67" y="736"/>
                  </a:moveTo>
                  <a:lnTo>
                    <a:pt x="68" y="736"/>
                  </a:lnTo>
                  <a:lnTo>
                    <a:pt x="68" y="740"/>
                  </a:lnTo>
                  <a:lnTo>
                    <a:pt x="67" y="740"/>
                  </a:lnTo>
                  <a:lnTo>
                    <a:pt x="67" y="736"/>
                  </a:lnTo>
                  <a:close/>
                  <a:moveTo>
                    <a:pt x="119" y="723"/>
                  </a:moveTo>
                  <a:lnTo>
                    <a:pt x="121" y="723"/>
                  </a:lnTo>
                  <a:lnTo>
                    <a:pt x="121" y="725"/>
                  </a:lnTo>
                  <a:lnTo>
                    <a:pt x="119" y="723"/>
                  </a:lnTo>
                  <a:close/>
                  <a:moveTo>
                    <a:pt x="128" y="718"/>
                  </a:moveTo>
                  <a:lnTo>
                    <a:pt x="128" y="719"/>
                  </a:lnTo>
                  <a:lnTo>
                    <a:pt x="128" y="721"/>
                  </a:lnTo>
                  <a:lnTo>
                    <a:pt x="128" y="719"/>
                  </a:lnTo>
                  <a:lnTo>
                    <a:pt x="126" y="719"/>
                  </a:lnTo>
                  <a:lnTo>
                    <a:pt x="128" y="718"/>
                  </a:lnTo>
                  <a:close/>
                  <a:moveTo>
                    <a:pt x="123" y="730"/>
                  </a:moveTo>
                  <a:lnTo>
                    <a:pt x="123" y="731"/>
                  </a:lnTo>
                  <a:lnTo>
                    <a:pt x="121" y="731"/>
                  </a:lnTo>
                  <a:lnTo>
                    <a:pt x="123" y="730"/>
                  </a:lnTo>
                  <a:close/>
                  <a:moveTo>
                    <a:pt x="124" y="713"/>
                  </a:moveTo>
                  <a:lnTo>
                    <a:pt x="124" y="714"/>
                  </a:lnTo>
                  <a:lnTo>
                    <a:pt x="124" y="716"/>
                  </a:lnTo>
                  <a:lnTo>
                    <a:pt x="123" y="714"/>
                  </a:lnTo>
                  <a:lnTo>
                    <a:pt x="124" y="714"/>
                  </a:lnTo>
                  <a:lnTo>
                    <a:pt x="124" y="713"/>
                  </a:lnTo>
                  <a:close/>
                  <a:moveTo>
                    <a:pt x="146" y="442"/>
                  </a:moveTo>
                  <a:lnTo>
                    <a:pt x="146" y="444"/>
                  </a:lnTo>
                  <a:lnTo>
                    <a:pt x="148" y="446"/>
                  </a:lnTo>
                  <a:lnTo>
                    <a:pt x="146" y="444"/>
                  </a:lnTo>
                  <a:lnTo>
                    <a:pt x="145" y="446"/>
                  </a:lnTo>
                  <a:lnTo>
                    <a:pt x="146" y="444"/>
                  </a:lnTo>
                  <a:lnTo>
                    <a:pt x="146" y="442"/>
                  </a:lnTo>
                  <a:close/>
                  <a:moveTo>
                    <a:pt x="104" y="718"/>
                  </a:moveTo>
                  <a:lnTo>
                    <a:pt x="104" y="719"/>
                  </a:lnTo>
                  <a:lnTo>
                    <a:pt x="104" y="721"/>
                  </a:lnTo>
                  <a:lnTo>
                    <a:pt x="104" y="723"/>
                  </a:lnTo>
                  <a:lnTo>
                    <a:pt x="104" y="721"/>
                  </a:lnTo>
                  <a:lnTo>
                    <a:pt x="104" y="719"/>
                  </a:lnTo>
                  <a:lnTo>
                    <a:pt x="102" y="719"/>
                  </a:lnTo>
                  <a:lnTo>
                    <a:pt x="104" y="719"/>
                  </a:lnTo>
                  <a:lnTo>
                    <a:pt x="104" y="718"/>
                  </a:lnTo>
                  <a:close/>
                  <a:moveTo>
                    <a:pt x="153" y="735"/>
                  </a:moveTo>
                  <a:lnTo>
                    <a:pt x="153" y="736"/>
                  </a:lnTo>
                  <a:lnTo>
                    <a:pt x="152" y="736"/>
                  </a:lnTo>
                  <a:lnTo>
                    <a:pt x="153" y="735"/>
                  </a:lnTo>
                  <a:close/>
                  <a:moveTo>
                    <a:pt x="63" y="730"/>
                  </a:moveTo>
                  <a:lnTo>
                    <a:pt x="63" y="731"/>
                  </a:lnTo>
                  <a:lnTo>
                    <a:pt x="65" y="730"/>
                  </a:lnTo>
                  <a:lnTo>
                    <a:pt x="65" y="731"/>
                  </a:lnTo>
                  <a:lnTo>
                    <a:pt x="63" y="730"/>
                  </a:lnTo>
                  <a:close/>
                  <a:moveTo>
                    <a:pt x="155" y="730"/>
                  </a:moveTo>
                  <a:lnTo>
                    <a:pt x="153" y="731"/>
                  </a:lnTo>
                  <a:lnTo>
                    <a:pt x="153" y="730"/>
                  </a:lnTo>
                  <a:lnTo>
                    <a:pt x="155" y="730"/>
                  </a:lnTo>
                  <a:close/>
                  <a:moveTo>
                    <a:pt x="167" y="740"/>
                  </a:moveTo>
                  <a:lnTo>
                    <a:pt x="169" y="740"/>
                  </a:lnTo>
                  <a:lnTo>
                    <a:pt x="170" y="743"/>
                  </a:lnTo>
                  <a:lnTo>
                    <a:pt x="169" y="743"/>
                  </a:lnTo>
                  <a:lnTo>
                    <a:pt x="167" y="740"/>
                  </a:lnTo>
                  <a:close/>
                  <a:moveTo>
                    <a:pt x="129" y="718"/>
                  </a:moveTo>
                  <a:lnTo>
                    <a:pt x="131" y="718"/>
                  </a:lnTo>
                  <a:lnTo>
                    <a:pt x="131" y="721"/>
                  </a:lnTo>
                  <a:lnTo>
                    <a:pt x="129" y="721"/>
                  </a:lnTo>
                  <a:lnTo>
                    <a:pt x="129" y="718"/>
                  </a:lnTo>
                  <a:close/>
                  <a:moveTo>
                    <a:pt x="129" y="723"/>
                  </a:moveTo>
                  <a:lnTo>
                    <a:pt x="131" y="725"/>
                  </a:lnTo>
                  <a:lnTo>
                    <a:pt x="129" y="725"/>
                  </a:lnTo>
                  <a:lnTo>
                    <a:pt x="129" y="723"/>
                  </a:lnTo>
                  <a:close/>
                  <a:moveTo>
                    <a:pt x="126" y="728"/>
                  </a:moveTo>
                  <a:lnTo>
                    <a:pt x="128" y="730"/>
                  </a:lnTo>
                  <a:lnTo>
                    <a:pt x="126" y="730"/>
                  </a:lnTo>
                  <a:lnTo>
                    <a:pt x="128" y="730"/>
                  </a:lnTo>
                  <a:lnTo>
                    <a:pt x="126" y="730"/>
                  </a:lnTo>
                  <a:lnTo>
                    <a:pt x="126" y="728"/>
                  </a:lnTo>
                  <a:close/>
                  <a:moveTo>
                    <a:pt x="114" y="492"/>
                  </a:moveTo>
                  <a:lnTo>
                    <a:pt x="116" y="492"/>
                  </a:lnTo>
                  <a:lnTo>
                    <a:pt x="116" y="493"/>
                  </a:lnTo>
                  <a:lnTo>
                    <a:pt x="114" y="493"/>
                  </a:lnTo>
                  <a:lnTo>
                    <a:pt x="114" y="492"/>
                  </a:lnTo>
                  <a:close/>
                  <a:moveTo>
                    <a:pt x="73" y="544"/>
                  </a:moveTo>
                  <a:lnTo>
                    <a:pt x="73" y="546"/>
                  </a:lnTo>
                  <a:lnTo>
                    <a:pt x="75" y="544"/>
                  </a:lnTo>
                  <a:lnTo>
                    <a:pt x="73" y="546"/>
                  </a:lnTo>
                  <a:lnTo>
                    <a:pt x="72" y="544"/>
                  </a:lnTo>
                  <a:lnTo>
                    <a:pt x="73" y="544"/>
                  </a:lnTo>
                  <a:close/>
                  <a:moveTo>
                    <a:pt x="107" y="730"/>
                  </a:moveTo>
                  <a:lnTo>
                    <a:pt x="107" y="731"/>
                  </a:lnTo>
                  <a:lnTo>
                    <a:pt x="106" y="731"/>
                  </a:lnTo>
                  <a:lnTo>
                    <a:pt x="107" y="730"/>
                  </a:lnTo>
                  <a:close/>
                  <a:moveTo>
                    <a:pt x="104" y="728"/>
                  </a:moveTo>
                  <a:lnTo>
                    <a:pt x="106" y="730"/>
                  </a:lnTo>
                  <a:lnTo>
                    <a:pt x="106" y="731"/>
                  </a:lnTo>
                  <a:lnTo>
                    <a:pt x="104" y="730"/>
                  </a:lnTo>
                  <a:lnTo>
                    <a:pt x="104" y="728"/>
                  </a:lnTo>
                  <a:close/>
                  <a:moveTo>
                    <a:pt x="90" y="582"/>
                  </a:moveTo>
                  <a:lnTo>
                    <a:pt x="92" y="583"/>
                  </a:lnTo>
                  <a:lnTo>
                    <a:pt x="90" y="587"/>
                  </a:lnTo>
                  <a:lnTo>
                    <a:pt x="92" y="583"/>
                  </a:lnTo>
                  <a:lnTo>
                    <a:pt x="90" y="583"/>
                  </a:lnTo>
                  <a:lnTo>
                    <a:pt x="90" y="582"/>
                  </a:lnTo>
                  <a:close/>
                  <a:moveTo>
                    <a:pt x="99" y="507"/>
                  </a:moveTo>
                  <a:lnTo>
                    <a:pt x="101" y="507"/>
                  </a:lnTo>
                  <a:lnTo>
                    <a:pt x="99" y="509"/>
                  </a:lnTo>
                  <a:lnTo>
                    <a:pt x="99" y="507"/>
                  </a:lnTo>
                  <a:lnTo>
                    <a:pt x="97" y="507"/>
                  </a:lnTo>
                  <a:lnTo>
                    <a:pt x="99" y="507"/>
                  </a:lnTo>
                  <a:close/>
                  <a:moveTo>
                    <a:pt x="152" y="733"/>
                  </a:moveTo>
                  <a:lnTo>
                    <a:pt x="152" y="735"/>
                  </a:lnTo>
                  <a:lnTo>
                    <a:pt x="150" y="735"/>
                  </a:lnTo>
                  <a:lnTo>
                    <a:pt x="150" y="733"/>
                  </a:lnTo>
                  <a:lnTo>
                    <a:pt x="152" y="733"/>
                  </a:lnTo>
                  <a:close/>
                  <a:moveTo>
                    <a:pt x="133" y="742"/>
                  </a:moveTo>
                  <a:lnTo>
                    <a:pt x="131" y="742"/>
                  </a:lnTo>
                  <a:lnTo>
                    <a:pt x="133" y="742"/>
                  </a:lnTo>
                  <a:lnTo>
                    <a:pt x="131" y="742"/>
                  </a:lnTo>
                  <a:lnTo>
                    <a:pt x="131" y="743"/>
                  </a:lnTo>
                  <a:lnTo>
                    <a:pt x="131" y="742"/>
                  </a:lnTo>
                  <a:lnTo>
                    <a:pt x="129" y="742"/>
                  </a:lnTo>
                  <a:lnTo>
                    <a:pt x="133" y="742"/>
                  </a:lnTo>
                  <a:close/>
                  <a:moveTo>
                    <a:pt x="60" y="733"/>
                  </a:moveTo>
                  <a:lnTo>
                    <a:pt x="58" y="735"/>
                  </a:lnTo>
                  <a:lnTo>
                    <a:pt x="58" y="736"/>
                  </a:lnTo>
                  <a:lnTo>
                    <a:pt x="56" y="735"/>
                  </a:lnTo>
                  <a:lnTo>
                    <a:pt x="60" y="733"/>
                  </a:lnTo>
                  <a:close/>
                  <a:moveTo>
                    <a:pt x="111" y="709"/>
                  </a:moveTo>
                  <a:lnTo>
                    <a:pt x="112" y="709"/>
                  </a:lnTo>
                  <a:lnTo>
                    <a:pt x="112" y="711"/>
                  </a:lnTo>
                  <a:lnTo>
                    <a:pt x="111" y="709"/>
                  </a:lnTo>
                  <a:lnTo>
                    <a:pt x="109" y="709"/>
                  </a:lnTo>
                  <a:lnTo>
                    <a:pt x="111" y="709"/>
                  </a:lnTo>
                  <a:close/>
                  <a:moveTo>
                    <a:pt x="131" y="735"/>
                  </a:moveTo>
                  <a:lnTo>
                    <a:pt x="131" y="736"/>
                  </a:lnTo>
                  <a:lnTo>
                    <a:pt x="129" y="736"/>
                  </a:lnTo>
                  <a:lnTo>
                    <a:pt x="131" y="735"/>
                  </a:lnTo>
                  <a:close/>
                  <a:moveTo>
                    <a:pt x="121" y="719"/>
                  </a:moveTo>
                  <a:lnTo>
                    <a:pt x="121" y="721"/>
                  </a:lnTo>
                  <a:lnTo>
                    <a:pt x="119" y="721"/>
                  </a:lnTo>
                  <a:lnTo>
                    <a:pt x="119" y="719"/>
                  </a:lnTo>
                  <a:lnTo>
                    <a:pt x="119" y="721"/>
                  </a:lnTo>
                  <a:lnTo>
                    <a:pt x="121" y="719"/>
                  </a:lnTo>
                  <a:close/>
                  <a:moveTo>
                    <a:pt x="189" y="376"/>
                  </a:moveTo>
                  <a:lnTo>
                    <a:pt x="187" y="378"/>
                  </a:lnTo>
                  <a:lnTo>
                    <a:pt x="187" y="374"/>
                  </a:lnTo>
                  <a:lnTo>
                    <a:pt x="189" y="374"/>
                  </a:lnTo>
                  <a:lnTo>
                    <a:pt x="189" y="376"/>
                  </a:lnTo>
                  <a:close/>
                  <a:moveTo>
                    <a:pt x="158" y="747"/>
                  </a:moveTo>
                  <a:lnTo>
                    <a:pt x="158" y="750"/>
                  </a:lnTo>
                  <a:lnTo>
                    <a:pt x="158" y="747"/>
                  </a:lnTo>
                  <a:close/>
                  <a:moveTo>
                    <a:pt x="107" y="714"/>
                  </a:moveTo>
                  <a:lnTo>
                    <a:pt x="109" y="716"/>
                  </a:lnTo>
                  <a:lnTo>
                    <a:pt x="107" y="716"/>
                  </a:lnTo>
                  <a:lnTo>
                    <a:pt x="107" y="714"/>
                  </a:lnTo>
                  <a:close/>
                  <a:moveTo>
                    <a:pt x="211" y="735"/>
                  </a:moveTo>
                  <a:lnTo>
                    <a:pt x="213" y="735"/>
                  </a:lnTo>
                  <a:lnTo>
                    <a:pt x="211" y="735"/>
                  </a:lnTo>
                  <a:close/>
                  <a:moveTo>
                    <a:pt x="107" y="636"/>
                  </a:moveTo>
                  <a:lnTo>
                    <a:pt x="107" y="638"/>
                  </a:lnTo>
                  <a:lnTo>
                    <a:pt x="109" y="638"/>
                  </a:lnTo>
                  <a:lnTo>
                    <a:pt x="107" y="636"/>
                  </a:lnTo>
                  <a:lnTo>
                    <a:pt x="106" y="636"/>
                  </a:lnTo>
                  <a:lnTo>
                    <a:pt x="107" y="636"/>
                  </a:lnTo>
                  <a:close/>
                  <a:moveTo>
                    <a:pt x="186" y="371"/>
                  </a:moveTo>
                  <a:lnTo>
                    <a:pt x="184" y="372"/>
                  </a:lnTo>
                  <a:lnTo>
                    <a:pt x="184" y="371"/>
                  </a:lnTo>
                  <a:lnTo>
                    <a:pt x="186" y="371"/>
                  </a:lnTo>
                  <a:close/>
                  <a:moveTo>
                    <a:pt x="118" y="493"/>
                  </a:moveTo>
                  <a:lnTo>
                    <a:pt x="118" y="495"/>
                  </a:lnTo>
                  <a:lnTo>
                    <a:pt x="119" y="498"/>
                  </a:lnTo>
                  <a:lnTo>
                    <a:pt x="118" y="497"/>
                  </a:lnTo>
                  <a:lnTo>
                    <a:pt x="116" y="495"/>
                  </a:lnTo>
                  <a:lnTo>
                    <a:pt x="118" y="493"/>
                  </a:lnTo>
                  <a:close/>
                  <a:moveTo>
                    <a:pt x="138" y="738"/>
                  </a:moveTo>
                  <a:lnTo>
                    <a:pt x="141" y="740"/>
                  </a:lnTo>
                  <a:lnTo>
                    <a:pt x="140" y="740"/>
                  </a:lnTo>
                  <a:lnTo>
                    <a:pt x="138" y="740"/>
                  </a:lnTo>
                  <a:lnTo>
                    <a:pt x="138" y="738"/>
                  </a:lnTo>
                  <a:close/>
                  <a:moveTo>
                    <a:pt x="138" y="750"/>
                  </a:moveTo>
                  <a:lnTo>
                    <a:pt x="138" y="752"/>
                  </a:lnTo>
                  <a:lnTo>
                    <a:pt x="138" y="754"/>
                  </a:lnTo>
                  <a:lnTo>
                    <a:pt x="136" y="754"/>
                  </a:lnTo>
                  <a:lnTo>
                    <a:pt x="138" y="752"/>
                  </a:lnTo>
                  <a:lnTo>
                    <a:pt x="136" y="750"/>
                  </a:lnTo>
                  <a:lnTo>
                    <a:pt x="138" y="750"/>
                  </a:lnTo>
                  <a:close/>
                  <a:moveTo>
                    <a:pt x="184" y="745"/>
                  </a:moveTo>
                  <a:lnTo>
                    <a:pt x="186" y="745"/>
                  </a:lnTo>
                  <a:lnTo>
                    <a:pt x="186" y="747"/>
                  </a:lnTo>
                  <a:lnTo>
                    <a:pt x="184" y="748"/>
                  </a:lnTo>
                  <a:lnTo>
                    <a:pt x="184" y="745"/>
                  </a:lnTo>
                  <a:close/>
                  <a:moveTo>
                    <a:pt x="123" y="711"/>
                  </a:moveTo>
                  <a:lnTo>
                    <a:pt x="124" y="711"/>
                  </a:lnTo>
                  <a:lnTo>
                    <a:pt x="124" y="713"/>
                  </a:lnTo>
                  <a:lnTo>
                    <a:pt x="123" y="713"/>
                  </a:lnTo>
                  <a:lnTo>
                    <a:pt x="123" y="711"/>
                  </a:lnTo>
                  <a:close/>
                  <a:moveTo>
                    <a:pt x="85" y="735"/>
                  </a:moveTo>
                  <a:lnTo>
                    <a:pt x="87" y="735"/>
                  </a:lnTo>
                  <a:lnTo>
                    <a:pt x="87" y="736"/>
                  </a:lnTo>
                  <a:lnTo>
                    <a:pt x="85" y="735"/>
                  </a:lnTo>
                  <a:close/>
                  <a:moveTo>
                    <a:pt x="109" y="726"/>
                  </a:moveTo>
                  <a:lnTo>
                    <a:pt x="109" y="728"/>
                  </a:lnTo>
                  <a:lnTo>
                    <a:pt x="111" y="728"/>
                  </a:lnTo>
                  <a:lnTo>
                    <a:pt x="111" y="730"/>
                  </a:lnTo>
                  <a:lnTo>
                    <a:pt x="109" y="728"/>
                  </a:lnTo>
                  <a:lnTo>
                    <a:pt x="109" y="726"/>
                  </a:lnTo>
                  <a:close/>
                  <a:moveTo>
                    <a:pt x="114" y="697"/>
                  </a:moveTo>
                  <a:lnTo>
                    <a:pt x="116" y="697"/>
                  </a:lnTo>
                  <a:lnTo>
                    <a:pt x="116" y="699"/>
                  </a:lnTo>
                  <a:lnTo>
                    <a:pt x="114" y="699"/>
                  </a:lnTo>
                  <a:lnTo>
                    <a:pt x="114" y="697"/>
                  </a:lnTo>
                  <a:close/>
                  <a:moveTo>
                    <a:pt x="152" y="332"/>
                  </a:moveTo>
                  <a:lnTo>
                    <a:pt x="152" y="333"/>
                  </a:lnTo>
                  <a:lnTo>
                    <a:pt x="152" y="335"/>
                  </a:lnTo>
                  <a:lnTo>
                    <a:pt x="152" y="333"/>
                  </a:lnTo>
                  <a:lnTo>
                    <a:pt x="152" y="332"/>
                  </a:lnTo>
                  <a:close/>
                  <a:moveTo>
                    <a:pt x="92" y="529"/>
                  </a:moveTo>
                  <a:lnTo>
                    <a:pt x="94" y="529"/>
                  </a:lnTo>
                  <a:lnTo>
                    <a:pt x="94" y="531"/>
                  </a:lnTo>
                  <a:lnTo>
                    <a:pt x="94" y="529"/>
                  </a:lnTo>
                  <a:lnTo>
                    <a:pt x="92" y="531"/>
                  </a:lnTo>
                  <a:lnTo>
                    <a:pt x="92" y="529"/>
                  </a:lnTo>
                  <a:close/>
                  <a:moveTo>
                    <a:pt x="323" y="677"/>
                  </a:moveTo>
                  <a:lnTo>
                    <a:pt x="325" y="677"/>
                  </a:lnTo>
                  <a:lnTo>
                    <a:pt x="323" y="679"/>
                  </a:lnTo>
                  <a:lnTo>
                    <a:pt x="323" y="677"/>
                  </a:lnTo>
                  <a:close/>
                  <a:moveTo>
                    <a:pt x="97" y="507"/>
                  </a:moveTo>
                  <a:lnTo>
                    <a:pt x="97" y="509"/>
                  </a:lnTo>
                  <a:lnTo>
                    <a:pt x="95" y="509"/>
                  </a:lnTo>
                  <a:lnTo>
                    <a:pt x="97" y="509"/>
                  </a:lnTo>
                  <a:lnTo>
                    <a:pt x="97" y="507"/>
                  </a:lnTo>
                  <a:lnTo>
                    <a:pt x="95" y="507"/>
                  </a:lnTo>
                  <a:lnTo>
                    <a:pt x="97" y="507"/>
                  </a:lnTo>
                  <a:close/>
                  <a:moveTo>
                    <a:pt x="145" y="730"/>
                  </a:moveTo>
                  <a:lnTo>
                    <a:pt x="146" y="730"/>
                  </a:lnTo>
                  <a:lnTo>
                    <a:pt x="145" y="731"/>
                  </a:lnTo>
                  <a:lnTo>
                    <a:pt x="145" y="730"/>
                  </a:lnTo>
                  <a:close/>
                  <a:moveTo>
                    <a:pt x="75" y="512"/>
                  </a:moveTo>
                  <a:lnTo>
                    <a:pt x="77" y="512"/>
                  </a:lnTo>
                  <a:lnTo>
                    <a:pt x="77" y="514"/>
                  </a:lnTo>
                  <a:lnTo>
                    <a:pt x="75" y="514"/>
                  </a:lnTo>
                  <a:lnTo>
                    <a:pt x="75" y="512"/>
                  </a:lnTo>
                  <a:close/>
                  <a:moveTo>
                    <a:pt x="112" y="721"/>
                  </a:moveTo>
                  <a:lnTo>
                    <a:pt x="114" y="721"/>
                  </a:lnTo>
                  <a:lnTo>
                    <a:pt x="114" y="723"/>
                  </a:lnTo>
                  <a:lnTo>
                    <a:pt x="114" y="725"/>
                  </a:lnTo>
                  <a:lnTo>
                    <a:pt x="112" y="721"/>
                  </a:lnTo>
                  <a:close/>
                  <a:moveTo>
                    <a:pt x="106" y="725"/>
                  </a:moveTo>
                  <a:lnTo>
                    <a:pt x="107" y="725"/>
                  </a:lnTo>
                  <a:lnTo>
                    <a:pt x="107" y="726"/>
                  </a:lnTo>
                  <a:lnTo>
                    <a:pt x="106" y="725"/>
                  </a:lnTo>
                  <a:close/>
                  <a:moveTo>
                    <a:pt x="194" y="745"/>
                  </a:moveTo>
                  <a:lnTo>
                    <a:pt x="196" y="745"/>
                  </a:lnTo>
                  <a:lnTo>
                    <a:pt x="196" y="747"/>
                  </a:lnTo>
                  <a:lnTo>
                    <a:pt x="194" y="745"/>
                  </a:lnTo>
                  <a:lnTo>
                    <a:pt x="194" y="747"/>
                  </a:lnTo>
                  <a:lnTo>
                    <a:pt x="192" y="745"/>
                  </a:lnTo>
                  <a:lnTo>
                    <a:pt x="194" y="745"/>
                  </a:lnTo>
                  <a:close/>
                  <a:moveTo>
                    <a:pt x="129" y="728"/>
                  </a:moveTo>
                  <a:lnTo>
                    <a:pt x="131" y="730"/>
                  </a:lnTo>
                  <a:lnTo>
                    <a:pt x="129" y="730"/>
                  </a:lnTo>
                  <a:lnTo>
                    <a:pt x="129" y="728"/>
                  </a:lnTo>
                  <a:close/>
                  <a:moveTo>
                    <a:pt x="308" y="680"/>
                  </a:moveTo>
                  <a:lnTo>
                    <a:pt x="310" y="680"/>
                  </a:lnTo>
                  <a:lnTo>
                    <a:pt x="308" y="682"/>
                  </a:lnTo>
                  <a:lnTo>
                    <a:pt x="308" y="680"/>
                  </a:lnTo>
                  <a:close/>
                  <a:moveTo>
                    <a:pt x="248" y="716"/>
                  </a:moveTo>
                  <a:lnTo>
                    <a:pt x="250" y="716"/>
                  </a:lnTo>
                  <a:lnTo>
                    <a:pt x="248" y="718"/>
                  </a:lnTo>
                  <a:lnTo>
                    <a:pt x="250" y="718"/>
                  </a:lnTo>
                  <a:lnTo>
                    <a:pt x="248" y="718"/>
                  </a:lnTo>
                  <a:lnTo>
                    <a:pt x="248" y="716"/>
                  </a:lnTo>
                  <a:close/>
                  <a:moveTo>
                    <a:pt x="87" y="743"/>
                  </a:moveTo>
                  <a:lnTo>
                    <a:pt x="89" y="743"/>
                  </a:lnTo>
                  <a:lnTo>
                    <a:pt x="89" y="745"/>
                  </a:lnTo>
                  <a:lnTo>
                    <a:pt x="87" y="743"/>
                  </a:lnTo>
                  <a:close/>
                  <a:moveTo>
                    <a:pt x="235" y="725"/>
                  </a:moveTo>
                  <a:lnTo>
                    <a:pt x="235" y="726"/>
                  </a:lnTo>
                  <a:lnTo>
                    <a:pt x="233" y="728"/>
                  </a:lnTo>
                  <a:lnTo>
                    <a:pt x="235" y="725"/>
                  </a:lnTo>
                  <a:close/>
                  <a:moveTo>
                    <a:pt x="109" y="757"/>
                  </a:moveTo>
                  <a:lnTo>
                    <a:pt x="111" y="759"/>
                  </a:lnTo>
                  <a:lnTo>
                    <a:pt x="109" y="759"/>
                  </a:lnTo>
                  <a:lnTo>
                    <a:pt x="109" y="757"/>
                  </a:lnTo>
                  <a:close/>
                  <a:moveTo>
                    <a:pt x="90" y="585"/>
                  </a:moveTo>
                  <a:lnTo>
                    <a:pt x="92" y="583"/>
                  </a:lnTo>
                  <a:lnTo>
                    <a:pt x="92" y="587"/>
                  </a:lnTo>
                  <a:lnTo>
                    <a:pt x="90" y="585"/>
                  </a:lnTo>
                  <a:close/>
                  <a:moveTo>
                    <a:pt x="75" y="755"/>
                  </a:moveTo>
                  <a:lnTo>
                    <a:pt x="77" y="755"/>
                  </a:lnTo>
                  <a:lnTo>
                    <a:pt x="77" y="757"/>
                  </a:lnTo>
                  <a:lnTo>
                    <a:pt x="75" y="757"/>
                  </a:lnTo>
                  <a:lnTo>
                    <a:pt x="75" y="755"/>
                  </a:lnTo>
                  <a:close/>
                  <a:moveTo>
                    <a:pt x="303" y="689"/>
                  </a:moveTo>
                  <a:lnTo>
                    <a:pt x="305" y="689"/>
                  </a:lnTo>
                  <a:lnTo>
                    <a:pt x="305" y="691"/>
                  </a:lnTo>
                  <a:lnTo>
                    <a:pt x="303" y="689"/>
                  </a:lnTo>
                  <a:close/>
                  <a:moveTo>
                    <a:pt x="87" y="743"/>
                  </a:moveTo>
                  <a:lnTo>
                    <a:pt x="85" y="747"/>
                  </a:lnTo>
                  <a:lnTo>
                    <a:pt x="84" y="745"/>
                  </a:lnTo>
                  <a:lnTo>
                    <a:pt x="87" y="743"/>
                  </a:lnTo>
                  <a:close/>
                  <a:moveTo>
                    <a:pt x="61" y="731"/>
                  </a:moveTo>
                  <a:lnTo>
                    <a:pt x="63" y="731"/>
                  </a:lnTo>
                  <a:lnTo>
                    <a:pt x="63" y="733"/>
                  </a:lnTo>
                  <a:lnTo>
                    <a:pt x="61" y="731"/>
                  </a:lnTo>
                  <a:close/>
                  <a:moveTo>
                    <a:pt x="148" y="733"/>
                  </a:moveTo>
                  <a:lnTo>
                    <a:pt x="148" y="735"/>
                  </a:lnTo>
                  <a:lnTo>
                    <a:pt x="146" y="735"/>
                  </a:lnTo>
                  <a:lnTo>
                    <a:pt x="148" y="733"/>
                  </a:lnTo>
                  <a:close/>
                  <a:moveTo>
                    <a:pt x="124" y="736"/>
                  </a:moveTo>
                  <a:lnTo>
                    <a:pt x="126" y="736"/>
                  </a:lnTo>
                  <a:lnTo>
                    <a:pt x="126" y="740"/>
                  </a:lnTo>
                  <a:lnTo>
                    <a:pt x="124" y="736"/>
                  </a:lnTo>
                  <a:close/>
                  <a:moveTo>
                    <a:pt x="262" y="711"/>
                  </a:moveTo>
                  <a:lnTo>
                    <a:pt x="262" y="713"/>
                  </a:lnTo>
                  <a:lnTo>
                    <a:pt x="260" y="713"/>
                  </a:lnTo>
                  <a:lnTo>
                    <a:pt x="262" y="711"/>
                  </a:lnTo>
                  <a:close/>
                  <a:moveTo>
                    <a:pt x="257" y="708"/>
                  </a:moveTo>
                  <a:lnTo>
                    <a:pt x="259" y="709"/>
                  </a:lnTo>
                  <a:lnTo>
                    <a:pt x="257" y="709"/>
                  </a:lnTo>
                  <a:lnTo>
                    <a:pt x="255" y="708"/>
                  </a:lnTo>
                  <a:lnTo>
                    <a:pt x="257" y="708"/>
                  </a:lnTo>
                  <a:close/>
                  <a:moveTo>
                    <a:pt x="135" y="740"/>
                  </a:moveTo>
                  <a:lnTo>
                    <a:pt x="136" y="740"/>
                  </a:lnTo>
                  <a:lnTo>
                    <a:pt x="135" y="742"/>
                  </a:lnTo>
                  <a:lnTo>
                    <a:pt x="135" y="740"/>
                  </a:lnTo>
                  <a:close/>
                  <a:moveTo>
                    <a:pt x="175" y="719"/>
                  </a:moveTo>
                  <a:lnTo>
                    <a:pt x="177" y="718"/>
                  </a:lnTo>
                  <a:lnTo>
                    <a:pt x="177" y="719"/>
                  </a:lnTo>
                  <a:lnTo>
                    <a:pt x="175" y="719"/>
                  </a:lnTo>
                  <a:close/>
                  <a:moveTo>
                    <a:pt x="209" y="740"/>
                  </a:moveTo>
                  <a:lnTo>
                    <a:pt x="208" y="742"/>
                  </a:lnTo>
                  <a:lnTo>
                    <a:pt x="206" y="740"/>
                  </a:lnTo>
                  <a:lnTo>
                    <a:pt x="208" y="740"/>
                  </a:lnTo>
                  <a:lnTo>
                    <a:pt x="209" y="740"/>
                  </a:lnTo>
                  <a:close/>
                  <a:moveTo>
                    <a:pt x="107" y="696"/>
                  </a:moveTo>
                  <a:lnTo>
                    <a:pt x="109" y="697"/>
                  </a:lnTo>
                  <a:lnTo>
                    <a:pt x="107" y="697"/>
                  </a:lnTo>
                  <a:lnTo>
                    <a:pt x="107" y="696"/>
                  </a:lnTo>
                  <a:close/>
                  <a:moveTo>
                    <a:pt x="206" y="740"/>
                  </a:moveTo>
                  <a:lnTo>
                    <a:pt x="206" y="742"/>
                  </a:lnTo>
                  <a:lnTo>
                    <a:pt x="204" y="742"/>
                  </a:lnTo>
                  <a:lnTo>
                    <a:pt x="206" y="740"/>
                  </a:lnTo>
                  <a:close/>
                  <a:moveTo>
                    <a:pt x="92" y="748"/>
                  </a:moveTo>
                  <a:lnTo>
                    <a:pt x="94" y="748"/>
                  </a:lnTo>
                  <a:lnTo>
                    <a:pt x="90" y="750"/>
                  </a:lnTo>
                  <a:lnTo>
                    <a:pt x="92" y="748"/>
                  </a:lnTo>
                  <a:close/>
                  <a:moveTo>
                    <a:pt x="75" y="730"/>
                  </a:moveTo>
                  <a:lnTo>
                    <a:pt x="77" y="730"/>
                  </a:lnTo>
                  <a:lnTo>
                    <a:pt x="75" y="731"/>
                  </a:lnTo>
                  <a:lnTo>
                    <a:pt x="75" y="730"/>
                  </a:lnTo>
                  <a:close/>
                  <a:moveTo>
                    <a:pt x="119" y="721"/>
                  </a:moveTo>
                  <a:lnTo>
                    <a:pt x="121" y="721"/>
                  </a:lnTo>
                  <a:lnTo>
                    <a:pt x="121" y="723"/>
                  </a:lnTo>
                  <a:lnTo>
                    <a:pt x="119" y="721"/>
                  </a:lnTo>
                  <a:close/>
                  <a:moveTo>
                    <a:pt x="119" y="740"/>
                  </a:moveTo>
                  <a:lnTo>
                    <a:pt x="121" y="740"/>
                  </a:lnTo>
                  <a:lnTo>
                    <a:pt x="121" y="742"/>
                  </a:lnTo>
                  <a:lnTo>
                    <a:pt x="119" y="742"/>
                  </a:lnTo>
                  <a:lnTo>
                    <a:pt x="119" y="740"/>
                  </a:lnTo>
                  <a:close/>
                  <a:moveTo>
                    <a:pt x="145" y="736"/>
                  </a:moveTo>
                  <a:lnTo>
                    <a:pt x="145" y="738"/>
                  </a:lnTo>
                  <a:lnTo>
                    <a:pt x="143" y="738"/>
                  </a:lnTo>
                  <a:lnTo>
                    <a:pt x="145" y="736"/>
                  </a:lnTo>
                  <a:close/>
                  <a:moveTo>
                    <a:pt x="104" y="517"/>
                  </a:moveTo>
                  <a:lnTo>
                    <a:pt x="106" y="517"/>
                  </a:lnTo>
                  <a:lnTo>
                    <a:pt x="106" y="519"/>
                  </a:lnTo>
                  <a:lnTo>
                    <a:pt x="104" y="519"/>
                  </a:lnTo>
                  <a:lnTo>
                    <a:pt x="104" y="517"/>
                  </a:lnTo>
                  <a:close/>
                  <a:moveTo>
                    <a:pt x="118" y="714"/>
                  </a:moveTo>
                  <a:lnTo>
                    <a:pt x="119" y="716"/>
                  </a:lnTo>
                  <a:lnTo>
                    <a:pt x="118" y="716"/>
                  </a:lnTo>
                  <a:lnTo>
                    <a:pt x="118" y="714"/>
                  </a:lnTo>
                  <a:close/>
                  <a:moveTo>
                    <a:pt x="157" y="745"/>
                  </a:moveTo>
                  <a:lnTo>
                    <a:pt x="158" y="745"/>
                  </a:lnTo>
                  <a:lnTo>
                    <a:pt x="158" y="747"/>
                  </a:lnTo>
                  <a:lnTo>
                    <a:pt x="157" y="745"/>
                  </a:lnTo>
                  <a:close/>
                  <a:moveTo>
                    <a:pt x="141" y="718"/>
                  </a:moveTo>
                  <a:lnTo>
                    <a:pt x="143" y="718"/>
                  </a:lnTo>
                  <a:lnTo>
                    <a:pt x="143" y="719"/>
                  </a:lnTo>
                  <a:lnTo>
                    <a:pt x="141" y="719"/>
                  </a:lnTo>
                  <a:lnTo>
                    <a:pt x="141" y="718"/>
                  </a:lnTo>
                  <a:close/>
                  <a:moveTo>
                    <a:pt x="135" y="721"/>
                  </a:moveTo>
                  <a:lnTo>
                    <a:pt x="131" y="723"/>
                  </a:lnTo>
                  <a:lnTo>
                    <a:pt x="133" y="721"/>
                  </a:lnTo>
                  <a:lnTo>
                    <a:pt x="135" y="721"/>
                  </a:lnTo>
                  <a:close/>
                  <a:moveTo>
                    <a:pt x="111" y="665"/>
                  </a:moveTo>
                  <a:lnTo>
                    <a:pt x="114" y="667"/>
                  </a:lnTo>
                  <a:lnTo>
                    <a:pt x="112" y="667"/>
                  </a:lnTo>
                  <a:lnTo>
                    <a:pt x="111" y="665"/>
                  </a:lnTo>
                  <a:close/>
                  <a:moveTo>
                    <a:pt x="94" y="512"/>
                  </a:moveTo>
                  <a:lnTo>
                    <a:pt x="95" y="512"/>
                  </a:lnTo>
                  <a:lnTo>
                    <a:pt x="94" y="512"/>
                  </a:lnTo>
                  <a:close/>
                  <a:moveTo>
                    <a:pt x="106" y="723"/>
                  </a:moveTo>
                  <a:lnTo>
                    <a:pt x="107" y="723"/>
                  </a:lnTo>
                  <a:lnTo>
                    <a:pt x="106" y="723"/>
                  </a:lnTo>
                  <a:lnTo>
                    <a:pt x="106" y="725"/>
                  </a:lnTo>
                  <a:lnTo>
                    <a:pt x="106" y="723"/>
                  </a:lnTo>
                  <a:close/>
                  <a:moveTo>
                    <a:pt x="124" y="711"/>
                  </a:moveTo>
                  <a:lnTo>
                    <a:pt x="126" y="713"/>
                  </a:lnTo>
                  <a:lnTo>
                    <a:pt x="124" y="713"/>
                  </a:lnTo>
                  <a:lnTo>
                    <a:pt x="124" y="711"/>
                  </a:lnTo>
                  <a:close/>
                  <a:moveTo>
                    <a:pt x="163" y="747"/>
                  </a:moveTo>
                  <a:lnTo>
                    <a:pt x="165" y="750"/>
                  </a:lnTo>
                  <a:lnTo>
                    <a:pt x="163" y="750"/>
                  </a:lnTo>
                  <a:lnTo>
                    <a:pt x="163" y="747"/>
                  </a:lnTo>
                  <a:close/>
                  <a:moveTo>
                    <a:pt x="128" y="716"/>
                  </a:moveTo>
                  <a:lnTo>
                    <a:pt x="129" y="716"/>
                  </a:lnTo>
                  <a:lnTo>
                    <a:pt x="129" y="718"/>
                  </a:lnTo>
                  <a:lnTo>
                    <a:pt x="128" y="718"/>
                  </a:lnTo>
                  <a:lnTo>
                    <a:pt x="128" y="716"/>
                  </a:lnTo>
                  <a:close/>
                  <a:moveTo>
                    <a:pt x="107" y="725"/>
                  </a:moveTo>
                  <a:lnTo>
                    <a:pt x="109" y="725"/>
                  </a:lnTo>
                  <a:lnTo>
                    <a:pt x="111" y="728"/>
                  </a:lnTo>
                  <a:lnTo>
                    <a:pt x="109" y="728"/>
                  </a:lnTo>
                  <a:lnTo>
                    <a:pt x="107" y="725"/>
                  </a:lnTo>
                  <a:close/>
                  <a:moveTo>
                    <a:pt x="165" y="337"/>
                  </a:moveTo>
                  <a:lnTo>
                    <a:pt x="167" y="338"/>
                  </a:lnTo>
                  <a:lnTo>
                    <a:pt x="165" y="338"/>
                  </a:lnTo>
                  <a:lnTo>
                    <a:pt x="165" y="337"/>
                  </a:lnTo>
                  <a:close/>
                  <a:moveTo>
                    <a:pt x="148" y="735"/>
                  </a:moveTo>
                  <a:lnTo>
                    <a:pt x="148" y="736"/>
                  </a:lnTo>
                  <a:lnTo>
                    <a:pt x="148" y="735"/>
                  </a:lnTo>
                  <a:close/>
                  <a:moveTo>
                    <a:pt x="131" y="725"/>
                  </a:moveTo>
                  <a:lnTo>
                    <a:pt x="133" y="726"/>
                  </a:lnTo>
                  <a:lnTo>
                    <a:pt x="129" y="726"/>
                  </a:lnTo>
                  <a:lnTo>
                    <a:pt x="131" y="725"/>
                  </a:lnTo>
                  <a:close/>
                  <a:moveTo>
                    <a:pt x="277" y="704"/>
                  </a:moveTo>
                  <a:lnTo>
                    <a:pt x="279" y="706"/>
                  </a:lnTo>
                  <a:lnTo>
                    <a:pt x="277" y="706"/>
                  </a:lnTo>
                  <a:lnTo>
                    <a:pt x="277" y="704"/>
                  </a:lnTo>
                  <a:close/>
                  <a:moveTo>
                    <a:pt x="82" y="742"/>
                  </a:moveTo>
                  <a:lnTo>
                    <a:pt x="84" y="740"/>
                  </a:lnTo>
                  <a:lnTo>
                    <a:pt x="84" y="742"/>
                  </a:lnTo>
                  <a:lnTo>
                    <a:pt x="82" y="742"/>
                  </a:lnTo>
                  <a:close/>
                  <a:moveTo>
                    <a:pt x="99" y="736"/>
                  </a:moveTo>
                  <a:lnTo>
                    <a:pt x="99" y="738"/>
                  </a:lnTo>
                  <a:lnTo>
                    <a:pt x="99" y="736"/>
                  </a:lnTo>
                  <a:close/>
                  <a:moveTo>
                    <a:pt x="160" y="757"/>
                  </a:moveTo>
                  <a:lnTo>
                    <a:pt x="162" y="757"/>
                  </a:lnTo>
                  <a:lnTo>
                    <a:pt x="162" y="759"/>
                  </a:lnTo>
                  <a:lnTo>
                    <a:pt x="160" y="759"/>
                  </a:lnTo>
                  <a:lnTo>
                    <a:pt x="160" y="757"/>
                  </a:lnTo>
                  <a:close/>
                  <a:moveTo>
                    <a:pt x="84" y="738"/>
                  </a:moveTo>
                  <a:lnTo>
                    <a:pt x="85" y="740"/>
                  </a:lnTo>
                  <a:lnTo>
                    <a:pt x="84" y="740"/>
                  </a:lnTo>
                  <a:lnTo>
                    <a:pt x="84" y="738"/>
                  </a:lnTo>
                  <a:close/>
                  <a:moveTo>
                    <a:pt x="92" y="726"/>
                  </a:moveTo>
                  <a:lnTo>
                    <a:pt x="94" y="725"/>
                  </a:lnTo>
                  <a:lnTo>
                    <a:pt x="94" y="728"/>
                  </a:lnTo>
                  <a:lnTo>
                    <a:pt x="92" y="726"/>
                  </a:lnTo>
                  <a:close/>
                  <a:moveTo>
                    <a:pt x="165" y="354"/>
                  </a:moveTo>
                  <a:lnTo>
                    <a:pt x="165" y="355"/>
                  </a:lnTo>
                  <a:lnTo>
                    <a:pt x="165" y="354"/>
                  </a:lnTo>
                  <a:close/>
                  <a:moveTo>
                    <a:pt x="106" y="714"/>
                  </a:moveTo>
                  <a:lnTo>
                    <a:pt x="107" y="713"/>
                  </a:lnTo>
                  <a:lnTo>
                    <a:pt x="107" y="714"/>
                  </a:lnTo>
                  <a:lnTo>
                    <a:pt x="106" y="714"/>
                  </a:lnTo>
                  <a:close/>
                  <a:moveTo>
                    <a:pt x="97" y="602"/>
                  </a:moveTo>
                  <a:lnTo>
                    <a:pt x="99" y="602"/>
                  </a:lnTo>
                  <a:lnTo>
                    <a:pt x="99" y="606"/>
                  </a:lnTo>
                  <a:lnTo>
                    <a:pt x="97" y="606"/>
                  </a:lnTo>
                  <a:lnTo>
                    <a:pt x="97" y="602"/>
                  </a:lnTo>
                  <a:close/>
                  <a:moveTo>
                    <a:pt x="129" y="709"/>
                  </a:moveTo>
                  <a:lnTo>
                    <a:pt x="131" y="709"/>
                  </a:lnTo>
                  <a:lnTo>
                    <a:pt x="129" y="709"/>
                  </a:lnTo>
                  <a:close/>
                  <a:moveTo>
                    <a:pt x="95" y="532"/>
                  </a:moveTo>
                  <a:lnTo>
                    <a:pt x="95" y="534"/>
                  </a:lnTo>
                  <a:lnTo>
                    <a:pt x="95" y="532"/>
                  </a:lnTo>
                  <a:close/>
                  <a:moveTo>
                    <a:pt x="89" y="527"/>
                  </a:moveTo>
                  <a:lnTo>
                    <a:pt x="90" y="527"/>
                  </a:lnTo>
                  <a:lnTo>
                    <a:pt x="90" y="529"/>
                  </a:lnTo>
                  <a:lnTo>
                    <a:pt x="89" y="531"/>
                  </a:lnTo>
                  <a:lnTo>
                    <a:pt x="89" y="527"/>
                  </a:lnTo>
                  <a:close/>
                  <a:moveTo>
                    <a:pt x="135" y="730"/>
                  </a:moveTo>
                  <a:lnTo>
                    <a:pt x="135" y="731"/>
                  </a:lnTo>
                  <a:lnTo>
                    <a:pt x="135" y="730"/>
                  </a:lnTo>
                  <a:close/>
                  <a:moveTo>
                    <a:pt x="112" y="655"/>
                  </a:moveTo>
                  <a:lnTo>
                    <a:pt x="114" y="657"/>
                  </a:lnTo>
                  <a:lnTo>
                    <a:pt x="112" y="657"/>
                  </a:lnTo>
                  <a:lnTo>
                    <a:pt x="112" y="655"/>
                  </a:lnTo>
                  <a:close/>
                  <a:moveTo>
                    <a:pt x="135" y="760"/>
                  </a:moveTo>
                  <a:lnTo>
                    <a:pt x="133" y="762"/>
                  </a:lnTo>
                  <a:lnTo>
                    <a:pt x="135" y="760"/>
                  </a:lnTo>
                  <a:close/>
                  <a:moveTo>
                    <a:pt x="136" y="464"/>
                  </a:moveTo>
                  <a:lnTo>
                    <a:pt x="136" y="466"/>
                  </a:lnTo>
                  <a:lnTo>
                    <a:pt x="136" y="464"/>
                  </a:lnTo>
                  <a:close/>
                  <a:moveTo>
                    <a:pt x="94" y="748"/>
                  </a:moveTo>
                  <a:lnTo>
                    <a:pt x="95" y="747"/>
                  </a:lnTo>
                  <a:lnTo>
                    <a:pt x="95" y="748"/>
                  </a:lnTo>
                  <a:lnTo>
                    <a:pt x="94" y="748"/>
                  </a:lnTo>
                  <a:close/>
                  <a:moveTo>
                    <a:pt x="140" y="735"/>
                  </a:moveTo>
                  <a:lnTo>
                    <a:pt x="141" y="735"/>
                  </a:lnTo>
                  <a:lnTo>
                    <a:pt x="141" y="736"/>
                  </a:lnTo>
                  <a:lnTo>
                    <a:pt x="140" y="735"/>
                  </a:lnTo>
                  <a:close/>
                  <a:moveTo>
                    <a:pt x="89" y="536"/>
                  </a:moveTo>
                  <a:lnTo>
                    <a:pt x="90" y="536"/>
                  </a:lnTo>
                  <a:lnTo>
                    <a:pt x="90" y="537"/>
                  </a:lnTo>
                  <a:lnTo>
                    <a:pt x="89" y="537"/>
                  </a:lnTo>
                  <a:lnTo>
                    <a:pt x="89" y="536"/>
                  </a:lnTo>
                  <a:close/>
                  <a:moveTo>
                    <a:pt x="89" y="752"/>
                  </a:moveTo>
                  <a:lnTo>
                    <a:pt x="89" y="754"/>
                  </a:lnTo>
                  <a:lnTo>
                    <a:pt x="89" y="752"/>
                  </a:lnTo>
                  <a:close/>
                  <a:moveTo>
                    <a:pt x="264" y="709"/>
                  </a:moveTo>
                  <a:lnTo>
                    <a:pt x="265" y="709"/>
                  </a:lnTo>
                  <a:lnTo>
                    <a:pt x="265" y="711"/>
                  </a:lnTo>
                  <a:lnTo>
                    <a:pt x="264" y="711"/>
                  </a:lnTo>
                  <a:lnTo>
                    <a:pt x="264" y="709"/>
                  </a:lnTo>
                  <a:close/>
                  <a:moveTo>
                    <a:pt x="169" y="350"/>
                  </a:moveTo>
                  <a:lnTo>
                    <a:pt x="170" y="350"/>
                  </a:lnTo>
                  <a:lnTo>
                    <a:pt x="170" y="352"/>
                  </a:lnTo>
                  <a:lnTo>
                    <a:pt x="169" y="350"/>
                  </a:lnTo>
                  <a:close/>
                  <a:moveTo>
                    <a:pt x="123" y="471"/>
                  </a:moveTo>
                  <a:lnTo>
                    <a:pt x="124" y="471"/>
                  </a:lnTo>
                  <a:lnTo>
                    <a:pt x="124" y="473"/>
                  </a:lnTo>
                  <a:lnTo>
                    <a:pt x="123" y="473"/>
                  </a:lnTo>
                  <a:lnTo>
                    <a:pt x="123" y="471"/>
                  </a:lnTo>
                  <a:close/>
                  <a:moveTo>
                    <a:pt x="124" y="731"/>
                  </a:moveTo>
                  <a:lnTo>
                    <a:pt x="126" y="731"/>
                  </a:lnTo>
                  <a:lnTo>
                    <a:pt x="126" y="733"/>
                  </a:lnTo>
                  <a:lnTo>
                    <a:pt x="124" y="731"/>
                  </a:lnTo>
                  <a:close/>
                  <a:moveTo>
                    <a:pt x="269" y="706"/>
                  </a:moveTo>
                  <a:lnTo>
                    <a:pt x="271" y="708"/>
                  </a:lnTo>
                  <a:lnTo>
                    <a:pt x="269" y="708"/>
                  </a:lnTo>
                  <a:lnTo>
                    <a:pt x="269" y="706"/>
                  </a:lnTo>
                  <a:close/>
                  <a:moveTo>
                    <a:pt x="102" y="735"/>
                  </a:moveTo>
                  <a:lnTo>
                    <a:pt x="104" y="735"/>
                  </a:lnTo>
                  <a:lnTo>
                    <a:pt x="104" y="736"/>
                  </a:lnTo>
                  <a:lnTo>
                    <a:pt x="102" y="736"/>
                  </a:lnTo>
                  <a:lnTo>
                    <a:pt x="102" y="735"/>
                  </a:lnTo>
                  <a:close/>
                  <a:moveTo>
                    <a:pt x="63" y="733"/>
                  </a:moveTo>
                  <a:lnTo>
                    <a:pt x="65" y="733"/>
                  </a:lnTo>
                  <a:lnTo>
                    <a:pt x="65" y="735"/>
                  </a:lnTo>
                  <a:lnTo>
                    <a:pt x="63" y="735"/>
                  </a:lnTo>
                  <a:lnTo>
                    <a:pt x="63" y="733"/>
                  </a:lnTo>
                  <a:close/>
                  <a:moveTo>
                    <a:pt x="140" y="733"/>
                  </a:moveTo>
                  <a:lnTo>
                    <a:pt x="141" y="733"/>
                  </a:lnTo>
                  <a:lnTo>
                    <a:pt x="140" y="733"/>
                  </a:lnTo>
                  <a:close/>
                  <a:moveTo>
                    <a:pt x="281" y="692"/>
                  </a:moveTo>
                  <a:lnTo>
                    <a:pt x="282" y="692"/>
                  </a:lnTo>
                  <a:lnTo>
                    <a:pt x="282" y="694"/>
                  </a:lnTo>
                  <a:lnTo>
                    <a:pt x="281" y="694"/>
                  </a:lnTo>
                  <a:lnTo>
                    <a:pt x="281" y="692"/>
                  </a:lnTo>
                  <a:close/>
                  <a:moveTo>
                    <a:pt x="128" y="713"/>
                  </a:moveTo>
                  <a:lnTo>
                    <a:pt x="129" y="713"/>
                  </a:lnTo>
                  <a:lnTo>
                    <a:pt x="129" y="714"/>
                  </a:lnTo>
                  <a:lnTo>
                    <a:pt x="128" y="714"/>
                  </a:lnTo>
                  <a:lnTo>
                    <a:pt x="128" y="713"/>
                  </a:lnTo>
                  <a:close/>
                  <a:moveTo>
                    <a:pt x="123" y="723"/>
                  </a:moveTo>
                  <a:lnTo>
                    <a:pt x="124" y="725"/>
                  </a:lnTo>
                  <a:lnTo>
                    <a:pt x="123" y="725"/>
                  </a:lnTo>
                  <a:lnTo>
                    <a:pt x="123" y="723"/>
                  </a:lnTo>
                  <a:close/>
                  <a:moveTo>
                    <a:pt x="264" y="706"/>
                  </a:moveTo>
                  <a:lnTo>
                    <a:pt x="264" y="708"/>
                  </a:lnTo>
                  <a:lnTo>
                    <a:pt x="264" y="706"/>
                  </a:lnTo>
                  <a:close/>
                  <a:moveTo>
                    <a:pt x="101" y="517"/>
                  </a:moveTo>
                  <a:lnTo>
                    <a:pt x="102" y="519"/>
                  </a:lnTo>
                  <a:lnTo>
                    <a:pt x="101" y="517"/>
                  </a:lnTo>
                  <a:lnTo>
                    <a:pt x="101" y="519"/>
                  </a:lnTo>
                  <a:lnTo>
                    <a:pt x="101" y="517"/>
                  </a:lnTo>
                  <a:lnTo>
                    <a:pt x="101" y="519"/>
                  </a:lnTo>
                  <a:lnTo>
                    <a:pt x="101" y="517"/>
                  </a:lnTo>
                  <a:close/>
                  <a:moveTo>
                    <a:pt x="155" y="735"/>
                  </a:moveTo>
                  <a:lnTo>
                    <a:pt x="155" y="736"/>
                  </a:lnTo>
                  <a:lnTo>
                    <a:pt x="155" y="735"/>
                  </a:lnTo>
                  <a:close/>
                  <a:moveTo>
                    <a:pt x="141" y="726"/>
                  </a:moveTo>
                  <a:lnTo>
                    <a:pt x="143" y="726"/>
                  </a:lnTo>
                  <a:lnTo>
                    <a:pt x="143" y="728"/>
                  </a:lnTo>
                  <a:lnTo>
                    <a:pt x="141" y="728"/>
                  </a:lnTo>
                  <a:lnTo>
                    <a:pt x="141" y="726"/>
                  </a:lnTo>
                  <a:close/>
                  <a:moveTo>
                    <a:pt x="75" y="730"/>
                  </a:moveTo>
                  <a:lnTo>
                    <a:pt x="77" y="730"/>
                  </a:lnTo>
                  <a:lnTo>
                    <a:pt x="77" y="731"/>
                  </a:lnTo>
                  <a:lnTo>
                    <a:pt x="75" y="731"/>
                  </a:lnTo>
                  <a:lnTo>
                    <a:pt x="75" y="730"/>
                  </a:lnTo>
                  <a:close/>
                  <a:moveTo>
                    <a:pt x="129" y="708"/>
                  </a:moveTo>
                  <a:lnTo>
                    <a:pt x="131" y="708"/>
                  </a:lnTo>
                  <a:lnTo>
                    <a:pt x="131" y="709"/>
                  </a:lnTo>
                  <a:lnTo>
                    <a:pt x="129" y="709"/>
                  </a:lnTo>
                  <a:lnTo>
                    <a:pt x="129" y="708"/>
                  </a:lnTo>
                  <a:close/>
                  <a:moveTo>
                    <a:pt x="87" y="750"/>
                  </a:moveTo>
                  <a:lnTo>
                    <a:pt x="87" y="752"/>
                  </a:lnTo>
                  <a:lnTo>
                    <a:pt x="87" y="750"/>
                  </a:lnTo>
                  <a:close/>
                  <a:moveTo>
                    <a:pt x="301" y="684"/>
                  </a:moveTo>
                  <a:lnTo>
                    <a:pt x="303" y="684"/>
                  </a:lnTo>
                  <a:lnTo>
                    <a:pt x="303" y="685"/>
                  </a:lnTo>
                  <a:lnTo>
                    <a:pt x="301" y="685"/>
                  </a:lnTo>
                  <a:lnTo>
                    <a:pt x="301" y="684"/>
                  </a:lnTo>
                  <a:close/>
                  <a:moveTo>
                    <a:pt x="141" y="733"/>
                  </a:moveTo>
                  <a:lnTo>
                    <a:pt x="143" y="731"/>
                  </a:lnTo>
                  <a:lnTo>
                    <a:pt x="143" y="733"/>
                  </a:lnTo>
                  <a:lnTo>
                    <a:pt x="141" y="733"/>
                  </a:lnTo>
                  <a:close/>
                  <a:moveTo>
                    <a:pt x="73" y="726"/>
                  </a:moveTo>
                  <a:lnTo>
                    <a:pt x="73" y="728"/>
                  </a:lnTo>
                  <a:lnTo>
                    <a:pt x="73" y="726"/>
                  </a:lnTo>
                  <a:close/>
                  <a:moveTo>
                    <a:pt x="124" y="740"/>
                  </a:moveTo>
                  <a:lnTo>
                    <a:pt x="126" y="740"/>
                  </a:lnTo>
                  <a:lnTo>
                    <a:pt x="126" y="742"/>
                  </a:lnTo>
                  <a:lnTo>
                    <a:pt x="124" y="742"/>
                  </a:lnTo>
                  <a:lnTo>
                    <a:pt x="124" y="740"/>
                  </a:lnTo>
                  <a:close/>
                  <a:moveTo>
                    <a:pt x="138" y="725"/>
                  </a:moveTo>
                  <a:lnTo>
                    <a:pt x="140" y="725"/>
                  </a:lnTo>
                  <a:lnTo>
                    <a:pt x="138" y="725"/>
                  </a:lnTo>
                  <a:close/>
                  <a:moveTo>
                    <a:pt x="61" y="733"/>
                  </a:moveTo>
                  <a:lnTo>
                    <a:pt x="61" y="735"/>
                  </a:lnTo>
                  <a:lnTo>
                    <a:pt x="61" y="733"/>
                  </a:lnTo>
                  <a:close/>
                  <a:moveTo>
                    <a:pt x="92" y="531"/>
                  </a:moveTo>
                  <a:lnTo>
                    <a:pt x="92" y="532"/>
                  </a:lnTo>
                  <a:lnTo>
                    <a:pt x="92" y="531"/>
                  </a:lnTo>
                  <a:close/>
                  <a:moveTo>
                    <a:pt x="288" y="692"/>
                  </a:moveTo>
                  <a:lnTo>
                    <a:pt x="289" y="692"/>
                  </a:lnTo>
                  <a:lnTo>
                    <a:pt x="289" y="696"/>
                  </a:lnTo>
                  <a:lnTo>
                    <a:pt x="288" y="696"/>
                  </a:lnTo>
                  <a:lnTo>
                    <a:pt x="288" y="692"/>
                  </a:lnTo>
                  <a:close/>
                  <a:moveTo>
                    <a:pt x="118" y="497"/>
                  </a:moveTo>
                  <a:lnTo>
                    <a:pt x="118" y="498"/>
                  </a:lnTo>
                  <a:lnTo>
                    <a:pt x="118" y="497"/>
                  </a:lnTo>
                  <a:close/>
                  <a:moveTo>
                    <a:pt x="99" y="725"/>
                  </a:moveTo>
                  <a:lnTo>
                    <a:pt x="99" y="728"/>
                  </a:lnTo>
                  <a:lnTo>
                    <a:pt x="99" y="725"/>
                  </a:lnTo>
                  <a:close/>
                  <a:moveTo>
                    <a:pt x="99" y="733"/>
                  </a:moveTo>
                  <a:lnTo>
                    <a:pt x="99" y="735"/>
                  </a:lnTo>
                  <a:lnTo>
                    <a:pt x="99" y="733"/>
                  </a:lnTo>
                  <a:close/>
                  <a:moveTo>
                    <a:pt x="160" y="755"/>
                  </a:moveTo>
                  <a:lnTo>
                    <a:pt x="162" y="754"/>
                  </a:lnTo>
                  <a:lnTo>
                    <a:pt x="162" y="755"/>
                  </a:lnTo>
                  <a:lnTo>
                    <a:pt x="160" y="755"/>
                  </a:lnTo>
                  <a:close/>
                  <a:moveTo>
                    <a:pt x="72" y="539"/>
                  </a:moveTo>
                  <a:lnTo>
                    <a:pt x="73" y="539"/>
                  </a:lnTo>
                  <a:lnTo>
                    <a:pt x="72" y="541"/>
                  </a:lnTo>
                  <a:lnTo>
                    <a:pt x="72" y="539"/>
                  </a:lnTo>
                  <a:lnTo>
                    <a:pt x="73" y="539"/>
                  </a:lnTo>
                  <a:lnTo>
                    <a:pt x="72" y="539"/>
                  </a:lnTo>
                  <a:close/>
                  <a:moveTo>
                    <a:pt x="112" y="726"/>
                  </a:moveTo>
                  <a:lnTo>
                    <a:pt x="112" y="728"/>
                  </a:lnTo>
                  <a:lnTo>
                    <a:pt x="112" y="726"/>
                  </a:lnTo>
                  <a:close/>
                  <a:moveTo>
                    <a:pt x="118" y="706"/>
                  </a:moveTo>
                  <a:lnTo>
                    <a:pt x="118" y="708"/>
                  </a:lnTo>
                  <a:lnTo>
                    <a:pt x="118" y="706"/>
                  </a:lnTo>
                  <a:close/>
                  <a:moveTo>
                    <a:pt x="143" y="452"/>
                  </a:moveTo>
                  <a:lnTo>
                    <a:pt x="145" y="452"/>
                  </a:lnTo>
                  <a:lnTo>
                    <a:pt x="145" y="454"/>
                  </a:lnTo>
                  <a:lnTo>
                    <a:pt x="143" y="452"/>
                  </a:lnTo>
                  <a:close/>
                  <a:moveTo>
                    <a:pt x="118" y="480"/>
                  </a:moveTo>
                  <a:lnTo>
                    <a:pt x="119" y="480"/>
                  </a:lnTo>
                  <a:lnTo>
                    <a:pt x="119" y="481"/>
                  </a:lnTo>
                  <a:lnTo>
                    <a:pt x="118" y="480"/>
                  </a:lnTo>
                  <a:close/>
                  <a:moveTo>
                    <a:pt x="158" y="757"/>
                  </a:moveTo>
                  <a:lnTo>
                    <a:pt x="160" y="757"/>
                  </a:lnTo>
                  <a:lnTo>
                    <a:pt x="160" y="759"/>
                  </a:lnTo>
                  <a:lnTo>
                    <a:pt x="158" y="759"/>
                  </a:lnTo>
                  <a:lnTo>
                    <a:pt x="158" y="757"/>
                  </a:lnTo>
                  <a:close/>
                  <a:moveTo>
                    <a:pt x="160" y="745"/>
                  </a:moveTo>
                  <a:lnTo>
                    <a:pt x="160" y="747"/>
                  </a:lnTo>
                  <a:lnTo>
                    <a:pt x="160" y="745"/>
                  </a:lnTo>
                  <a:close/>
                  <a:moveTo>
                    <a:pt x="158" y="750"/>
                  </a:moveTo>
                  <a:lnTo>
                    <a:pt x="160" y="750"/>
                  </a:lnTo>
                  <a:lnTo>
                    <a:pt x="160" y="752"/>
                  </a:lnTo>
                  <a:lnTo>
                    <a:pt x="158" y="752"/>
                  </a:lnTo>
                  <a:lnTo>
                    <a:pt x="158" y="750"/>
                  </a:lnTo>
                  <a:close/>
                  <a:moveTo>
                    <a:pt x="150" y="719"/>
                  </a:moveTo>
                  <a:lnTo>
                    <a:pt x="150" y="718"/>
                  </a:lnTo>
                  <a:lnTo>
                    <a:pt x="150" y="719"/>
                  </a:lnTo>
                  <a:close/>
                  <a:moveTo>
                    <a:pt x="61" y="735"/>
                  </a:moveTo>
                  <a:lnTo>
                    <a:pt x="61" y="736"/>
                  </a:lnTo>
                  <a:lnTo>
                    <a:pt x="61" y="735"/>
                  </a:lnTo>
                  <a:close/>
                  <a:moveTo>
                    <a:pt x="126" y="740"/>
                  </a:moveTo>
                  <a:lnTo>
                    <a:pt x="126" y="742"/>
                  </a:lnTo>
                  <a:lnTo>
                    <a:pt x="126" y="740"/>
                  </a:lnTo>
                  <a:close/>
                  <a:moveTo>
                    <a:pt x="102" y="726"/>
                  </a:moveTo>
                  <a:lnTo>
                    <a:pt x="102" y="730"/>
                  </a:lnTo>
                  <a:lnTo>
                    <a:pt x="102" y="726"/>
                  </a:lnTo>
                  <a:close/>
                  <a:moveTo>
                    <a:pt x="111" y="651"/>
                  </a:moveTo>
                  <a:lnTo>
                    <a:pt x="112" y="653"/>
                  </a:lnTo>
                  <a:lnTo>
                    <a:pt x="111" y="651"/>
                  </a:lnTo>
                  <a:close/>
                  <a:moveTo>
                    <a:pt x="87" y="733"/>
                  </a:moveTo>
                  <a:lnTo>
                    <a:pt x="89" y="733"/>
                  </a:lnTo>
                  <a:lnTo>
                    <a:pt x="89" y="735"/>
                  </a:lnTo>
                  <a:lnTo>
                    <a:pt x="87" y="735"/>
                  </a:lnTo>
                  <a:lnTo>
                    <a:pt x="87" y="733"/>
                  </a:lnTo>
                  <a:close/>
                  <a:moveTo>
                    <a:pt x="112" y="665"/>
                  </a:moveTo>
                  <a:lnTo>
                    <a:pt x="114" y="667"/>
                  </a:lnTo>
                  <a:lnTo>
                    <a:pt x="112" y="667"/>
                  </a:lnTo>
                  <a:lnTo>
                    <a:pt x="112" y="665"/>
                  </a:lnTo>
                  <a:close/>
                  <a:moveTo>
                    <a:pt x="129" y="719"/>
                  </a:moveTo>
                  <a:lnTo>
                    <a:pt x="131" y="719"/>
                  </a:lnTo>
                  <a:lnTo>
                    <a:pt x="131" y="721"/>
                  </a:lnTo>
                  <a:lnTo>
                    <a:pt x="129" y="721"/>
                  </a:lnTo>
                  <a:lnTo>
                    <a:pt x="129" y="719"/>
                  </a:lnTo>
                  <a:close/>
                  <a:moveTo>
                    <a:pt x="112" y="728"/>
                  </a:moveTo>
                  <a:lnTo>
                    <a:pt x="112" y="730"/>
                  </a:lnTo>
                  <a:lnTo>
                    <a:pt x="112" y="728"/>
                  </a:lnTo>
                  <a:close/>
                  <a:moveTo>
                    <a:pt x="162" y="748"/>
                  </a:moveTo>
                  <a:lnTo>
                    <a:pt x="163" y="748"/>
                  </a:lnTo>
                  <a:lnTo>
                    <a:pt x="163" y="750"/>
                  </a:lnTo>
                  <a:lnTo>
                    <a:pt x="162" y="750"/>
                  </a:lnTo>
                  <a:lnTo>
                    <a:pt x="162" y="748"/>
                  </a:lnTo>
                  <a:close/>
                  <a:moveTo>
                    <a:pt x="136" y="728"/>
                  </a:moveTo>
                  <a:lnTo>
                    <a:pt x="138" y="726"/>
                  </a:lnTo>
                  <a:lnTo>
                    <a:pt x="138" y="728"/>
                  </a:lnTo>
                  <a:lnTo>
                    <a:pt x="136" y="728"/>
                  </a:lnTo>
                  <a:close/>
                  <a:moveTo>
                    <a:pt x="63" y="747"/>
                  </a:moveTo>
                  <a:lnTo>
                    <a:pt x="63" y="748"/>
                  </a:lnTo>
                  <a:lnTo>
                    <a:pt x="63" y="747"/>
                  </a:lnTo>
                  <a:close/>
                  <a:moveTo>
                    <a:pt x="94" y="743"/>
                  </a:moveTo>
                  <a:lnTo>
                    <a:pt x="95" y="743"/>
                  </a:lnTo>
                  <a:lnTo>
                    <a:pt x="94" y="743"/>
                  </a:lnTo>
                  <a:close/>
                  <a:moveTo>
                    <a:pt x="94" y="750"/>
                  </a:moveTo>
                  <a:lnTo>
                    <a:pt x="92" y="750"/>
                  </a:lnTo>
                  <a:lnTo>
                    <a:pt x="94" y="750"/>
                  </a:lnTo>
                  <a:close/>
                  <a:moveTo>
                    <a:pt x="72" y="730"/>
                  </a:moveTo>
                  <a:lnTo>
                    <a:pt x="72" y="731"/>
                  </a:lnTo>
                  <a:lnTo>
                    <a:pt x="72" y="730"/>
                  </a:lnTo>
                  <a:close/>
                  <a:moveTo>
                    <a:pt x="158" y="750"/>
                  </a:moveTo>
                  <a:lnTo>
                    <a:pt x="158" y="748"/>
                  </a:lnTo>
                  <a:lnTo>
                    <a:pt x="160" y="750"/>
                  </a:lnTo>
                  <a:lnTo>
                    <a:pt x="158" y="750"/>
                  </a:lnTo>
                  <a:close/>
                  <a:moveTo>
                    <a:pt x="72" y="726"/>
                  </a:moveTo>
                  <a:lnTo>
                    <a:pt x="73" y="726"/>
                  </a:lnTo>
                  <a:lnTo>
                    <a:pt x="73" y="728"/>
                  </a:lnTo>
                  <a:lnTo>
                    <a:pt x="72" y="728"/>
                  </a:lnTo>
                  <a:lnTo>
                    <a:pt x="72" y="726"/>
                  </a:lnTo>
                  <a:close/>
                  <a:moveTo>
                    <a:pt x="61" y="736"/>
                  </a:moveTo>
                  <a:lnTo>
                    <a:pt x="63" y="736"/>
                  </a:lnTo>
                  <a:lnTo>
                    <a:pt x="61" y="736"/>
                  </a:lnTo>
                  <a:close/>
                  <a:moveTo>
                    <a:pt x="138" y="754"/>
                  </a:moveTo>
                  <a:lnTo>
                    <a:pt x="140" y="755"/>
                  </a:lnTo>
                  <a:lnTo>
                    <a:pt x="138" y="755"/>
                  </a:lnTo>
                  <a:lnTo>
                    <a:pt x="138" y="754"/>
                  </a:lnTo>
                  <a:close/>
                  <a:moveTo>
                    <a:pt x="172" y="738"/>
                  </a:moveTo>
                  <a:lnTo>
                    <a:pt x="174" y="738"/>
                  </a:lnTo>
                  <a:lnTo>
                    <a:pt x="174" y="740"/>
                  </a:lnTo>
                  <a:lnTo>
                    <a:pt x="172" y="738"/>
                  </a:lnTo>
                  <a:close/>
                  <a:moveTo>
                    <a:pt x="138" y="723"/>
                  </a:moveTo>
                  <a:lnTo>
                    <a:pt x="141" y="723"/>
                  </a:lnTo>
                  <a:lnTo>
                    <a:pt x="140" y="725"/>
                  </a:lnTo>
                  <a:lnTo>
                    <a:pt x="138" y="723"/>
                  </a:lnTo>
                  <a:close/>
                  <a:moveTo>
                    <a:pt x="102" y="702"/>
                  </a:moveTo>
                  <a:lnTo>
                    <a:pt x="104" y="701"/>
                  </a:lnTo>
                  <a:lnTo>
                    <a:pt x="104" y="702"/>
                  </a:lnTo>
                  <a:lnTo>
                    <a:pt x="102" y="702"/>
                  </a:lnTo>
                  <a:close/>
                  <a:moveTo>
                    <a:pt x="92" y="587"/>
                  </a:moveTo>
                  <a:lnTo>
                    <a:pt x="92" y="588"/>
                  </a:lnTo>
                  <a:lnTo>
                    <a:pt x="92" y="587"/>
                  </a:lnTo>
                  <a:close/>
                  <a:moveTo>
                    <a:pt x="111" y="711"/>
                  </a:moveTo>
                  <a:lnTo>
                    <a:pt x="111" y="713"/>
                  </a:lnTo>
                  <a:lnTo>
                    <a:pt x="111" y="711"/>
                  </a:lnTo>
                  <a:close/>
                  <a:moveTo>
                    <a:pt x="70" y="536"/>
                  </a:moveTo>
                  <a:lnTo>
                    <a:pt x="72" y="536"/>
                  </a:lnTo>
                  <a:lnTo>
                    <a:pt x="70" y="536"/>
                  </a:lnTo>
                  <a:close/>
                  <a:moveTo>
                    <a:pt x="141" y="730"/>
                  </a:moveTo>
                  <a:lnTo>
                    <a:pt x="141" y="731"/>
                  </a:lnTo>
                  <a:lnTo>
                    <a:pt x="141" y="730"/>
                  </a:lnTo>
                  <a:close/>
                  <a:moveTo>
                    <a:pt x="87" y="534"/>
                  </a:moveTo>
                  <a:lnTo>
                    <a:pt x="89" y="534"/>
                  </a:lnTo>
                  <a:lnTo>
                    <a:pt x="87" y="534"/>
                  </a:lnTo>
                  <a:close/>
                  <a:moveTo>
                    <a:pt x="221" y="731"/>
                  </a:moveTo>
                  <a:lnTo>
                    <a:pt x="223" y="731"/>
                  </a:lnTo>
                  <a:lnTo>
                    <a:pt x="223" y="733"/>
                  </a:lnTo>
                  <a:lnTo>
                    <a:pt x="221" y="733"/>
                  </a:lnTo>
                  <a:lnTo>
                    <a:pt x="221" y="731"/>
                  </a:lnTo>
                  <a:close/>
                  <a:moveTo>
                    <a:pt x="282" y="694"/>
                  </a:moveTo>
                  <a:lnTo>
                    <a:pt x="282" y="696"/>
                  </a:lnTo>
                  <a:lnTo>
                    <a:pt x="282" y="694"/>
                  </a:lnTo>
                  <a:close/>
                  <a:moveTo>
                    <a:pt x="177" y="369"/>
                  </a:moveTo>
                  <a:lnTo>
                    <a:pt x="179" y="369"/>
                  </a:lnTo>
                  <a:lnTo>
                    <a:pt x="177" y="371"/>
                  </a:lnTo>
                  <a:lnTo>
                    <a:pt x="177" y="369"/>
                  </a:lnTo>
                  <a:close/>
                  <a:moveTo>
                    <a:pt x="141" y="736"/>
                  </a:moveTo>
                  <a:lnTo>
                    <a:pt x="143" y="736"/>
                  </a:lnTo>
                  <a:lnTo>
                    <a:pt x="143" y="738"/>
                  </a:lnTo>
                  <a:lnTo>
                    <a:pt x="141" y="738"/>
                  </a:lnTo>
                  <a:lnTo>
                    <a:pt x="141" y="736"/>
                  </a:lnTo>
                  <a:close/>
                  <a:moveTo>
                    <a:pt x="141" y="731"/>
                  </a:moveTo>
                  <a:lnTo>
                    <a:pt x="143" y="731"/>
                  </a:lnTo>
                  <a:lnTo>
                    <a:pt x="141" y="731"/>
                  </a:lnTo>
                  <a:close/>
                  <a:moveTo>
                    <a:pt x="160" y="726"/>
                  </a:moveTo>
                  <a:lnTo>
                    <a:pt x="162" y="726"/>
                  </a:lnTo>
                  <a:lnTo>
                    <a:pt x="162" y="728"/>
                  </a:lnTo>
                  <a:lnTo>
                    <a:pt x="160" y="728"/>
                  </a:lnTo>
                  <a:lnTo>
                    <a:pt x="160" y="726"/>
                  </a:lnTo>
                  <a:close/>
                  <a:moveTo>
                    <a:pt x="162" y="743"/>
                  </a:moveTo>
                  <a:lnTo>
                    <a:pt x="163" y="743"/>
                  </a:lnTo>
                  <a:lnTo>
                    <a:pt x="162" y="743"/>
                  </a:lnTo>
                  <a:close/>
                  <a:moveTo>
                    <a:pt x="61" y="728"/>
                  </a:moveTo>
                  <a:lnTo>
                    <a:pt x="63" y="728"/>
                  </a:lnTo>
                  <a:lnTo>
                    <a:pt x="63" y="731"/>
                  </a:lnTo>
                  <a:lnTo>
                    <a:pt x="61" y="731"/>
                  </a:lnTo>
                  <a:lnTo>
                    <a:pt x="61" y="728"/>
                  </a:lnTo>
                  <a:close/>
                  <a:moveTo>
                    <a:pt x="325" y="680"/>
                  </a:moveTo>
                  <a:lnTo>
                    <a:pt x="327" y="680"/>
                  </a:lnTo>
                  <a:lnTo>
                    <a:pt x="325" y="682"/>
                  </a:lnTo>
                  <a:lnTo>
                    <a:pt x="325" y="680"/>
                  </a:lnTo>
                  <a:close/>
                  <a:moveTo>
                    <a:pt x="82" y="726"/>
                  </a:moveTo>
                  <a:lnTo>
                    <a:pt x="84" y="726"/>
                  </a:lnTo>
                  <a:lnTo>
                    <a:pt x="84" y="728"/>
                  </a:lnTo>
                  <a:lnTo>
                    <a:pt x="82" y="728"/>
                  </a:lnTo>
                  <a:lnTo>
                    <a:pt x="82" y="726"/>
                  </a:lnTo>
                  <a:close/>
                  <a:moveTo>
                    <a:pt x="136" y="754"/>
                  </a:moveTo>
                  <a:lnTo>
                    <a:pt x="138" y="754"/>
                  </a:lnTo>
                  <a:lnTo>
                    <a:pt x="138" y="755"/>
                  </a:lnTo>
                  <a:lnTo>
                    <a:pt x="136" y="755"/>
                  </a:lnTo>
                  <a:lnTo>
                    <a:pt x="136" y="754"/>
                  </a:lnTo>
                  <a:close/>
                  <a:moveTo>
                    <a:pt x="254" y="711"/>
                  </a:moveTo>
                  <a:lnTo>
                    <a:pt x="255" y="711"/>
                  </a:lnTo>
                  <a:lnTo>
                    <a:pt x="254" y="711"/>
                  </a:lnTo>
                  <a:close/>
                  <a:moveTo>
                    <a:pt x="162" y="335"/>
                  </a:moveTo>
                  <a:lnTo>
                    <a:pt x="163" y="335"/>
                  </a:lnTo>
                  <a:lnTo>
                    <a:pt x="163" y="337"/>
                  </a:lnTo>
                  <a:lnTo>
                    <a:pt x="162" y="337"/>
                  </a:lnTo>
                  <a:lnTo>
                    <a:pt x="162" y="335"/>
                  </a:lnTo>
                  <a:close/>
                  <a:moveTo>
                    <a:pt x="131" y="731"/>
                  </a:moveTo>
                  <a:lnTo>
                    <a:pt x="133" y="730"/>
                  </a:lnTo>
                  <a:lnTo>
                    <a:pt x="133" y="731"/>
                  </a:lnTo>
                  <a:lnTo>
                    <a:pt x="131" y="731"/>
                  </a:lnTo>
                  <a:close/>
                  <a:moveTo>
                    <a:pt x="184" y="747"/>
                  </a:moveTo>
                  <a:lnTo>
                    <a:pt x="186" y="747"/>
                  </a:lnTo>
                  <a:lnTo>
                    <a:pt x="186" y="748"/>
                  </a:lnTo>
                  <a:lnTo>
                    <a:pt x="184" y="748"/>
                  </a:lnTo>
                  <a:lnTo>
                    <a:pt x="184" y="747"/>
                  </a:lnTo>
                  <a:close/>
                  <a:moveTo>
                    <a:pt x="102" y="694"/>
                  </a:moveTo>
                  <a:lnTo>
                    <a:pt x="104" y="694"/>
                  </a:lnTo>
                  <a:lnTo>
                    <a:pt x="102" y="694"/>
                  </a:lnTo>
                  <a:close/>
                  <a:moveTo>
                    <a:pt x="123" y="730"/>
                  </a:moveTo>
                  <a:lnTo>
                    <a:pt x="124" y="730"/>
                  </a:lnTo>
                  <a:lnTo>
                    <a:pt x="123" y="730"/>
                  </a:lnTo>
                  <a:close/>
                  <a:moveTo>
                    <a:pt x="109" y="731"/>
                  </a:moveTo>
                  <a:lnTo>
                    <a:pt x="111" y="731"/>
                  </a:lnTo>
                  <a:lnTo>
                    <a:pt x="111" y="733"/>
                  </a:lnTo>
                  <a:lnTo>
                    <a:pt x="109" y="733"/>
                  </a:lnTo>
                  <a:lnTo>
                    <a:pt x="109" y="731"/>
                  </a:lnTo>
                  <a:close/>
                  <a:moveTo>
                    <a:pt x="235" y="723"/>
                  </a:moveTo>
                  <a:lnTo>
                    <a:pt x="237" y="723"/>
                  </a:lnTo>
                  <a:lnTo>
                    <a:pt x="235" y="723"/>
                  </a:lnTo>
                  <a:close/>
                  <a:moveTo>
                    <a:pt x="310" y="682"/>
                  </a:moveTo>
                  <a:lnTo>
                    <a:pt x="311" y="682"/>
                  </a:lnTo>
                  <a:lnTo>
                    <a:pt x="311" y="684"/>
                  </a:lnTo>
                  <a:lnTo>
                    <a:pt x="310" y="682"/>
                  </a:lnTo>
                  <a:close/>
                  <a:moveTo>
                    <a:pt x="99" y="509"/>
                  </a:moveTo>
                  <a:lnTo>
                    <a:pt x="99" y="510"/>
                  </a:lnTo>
                  <a:lnTo>
                    <a:pt x="99" y="509"/>
                  </a:lnTo>
                  <a:close/>
                  <a:moveTo>
                    <a:pt x="213" y="735"/>
                  </a:moveTo>
                  <a:lnTo>
                    <a:pt x="214" y="735"/>
                  </a:lnTo>
                  <a:lnTo>
                    <a:pt x="213" y="735"/>
                  </a:lnTo>
                  <a:close/>
                  <a:moveTo>
                    <a:pt x="118" y="736"/>
                  </a:moveTo>
                  <a:lnTo>
                    <a:pt x="119" y="736"/>
                  </a:lnTo>
                  <a:lnTo>
                    <a:pt x="119" y="738"/>
                  </a:lnTo>
                  <a:lnTo>
                    <a:pt x="118" y="738"/>
                  </a:lnTo>
                  <a:lnTo>
                    <a:pt x="118" y="736"/>
                  </a:lnTo>
                  <a:close/>
                  <a:moveTo>
                    <a:pt x="148" y="735"/>
                  </a:moveTo>
                  <a:lnTo>
                    <a:pt x="150" y="735"/>
                  </a:lnTo>
                  <a:lnTo>
                    <a:pt x="150" y="736"/>
                  </a:lnTo>
                  <a:lnTo>
                    <a:pt x="148" y="736"/>
                  </a:lnTo>
                  <a:lnTo>
                    <a:pt x="148" y="735"/>
                  </a:lnTo>
                  <a:close/>
                  <a:moveTo>
                    <a:pt x="167" y="750"/>
                  </a:moveTo>
                  <a:lnTo>
                    <a:pt x="169" y="750"/>
                  </a:lnTo>
                  <a:lnTo>
                    <a:pt x="167" y="750"/>
                  </a:lnTo>
                  <a:close/>
                  <a:moveTo>
                    <a:pt x="138" y="725"/>
                  </a:moveTo>
                  <a:lnTo>
                    <a:pt x="140" y="725"/>
                  </a:lnTo>
                  <a:lnTo>
                    <a:pt x="138" y="725"/>
                  </a:lnTo>
                  <a:close/>
                  <a:moveTo>
                    <a:pt x="90" y="743"/>
                  </a:moveTo>
                  <a:lnTo>
                    <a:pt x="92" y="743"/>
                  </a:lnTo>
                  <a:lnTo>
                    <a:pt x="92" y="745"/>
                  </a:lnTo>
                  <a:lnTo>
                    <a:pt x="90" y="745"/>
                  </a:lnTo>
                  <a:lnTo>
                    <a:pt x="90" y="743"/>
                  </a:lnTo>
                  <a:close/>
                  <a:moveTo>
                    <a:pt x="104" y="728"/>
                  </a:moveTo>
                  <a:lnTo>
                    <a:pt x="106" y="728"/>
                  </a:lnTo>
                  <a:lnTo>
                    <a:pt x="106" y="730"/>
                  </a:lnTo>
                  <a:lnTo>
                    <a:pt x="104" y="730"/>
                  </a:lnTo>
                  <a:lnTo>
                    <a:pt x="104" y="728"/>
                  </a:lnTo>
                  <a:close/>
                  <a:moveTo>
                    <a:pt x="301" y="680"/>
                  </a:moveTo>
                  <a:lnTo>
                    <a:pt x="303" y="680"/>
                  </a:lnTo>
                  <a:lnTo>
                    <a:pt x="303" y="682"/>
                  </a:lnTo>
                  <a:lnTo>
                    <a:pt x="301" y="680"/>
                  </a:lnTo>
                  <a:close/>
                  <a:moveTo>
                    <a:pt x="97" y="599"/>
                  </a:moveTo>
                  <a:lnTo>
                    <a:pt x="97" y="600"/>
                  </a:lnTo>
                  <a:lnTo>
                    <a:pt x="97" y="599"/>
                  </a:lnTo>
                  <a:close/>
                  <a:moveTo>
                    <a:pt x="112" y="653"/>
                  </a:moveTo>
                  <a:lnTo>
                    <a:pt x="114" y="651"/>
                  </a:lnTo>
                  <a:lnTo>
                    <a:pt x="114" y="653"/>
                  </a:lnTo>
                  <a:lnTo>
                    <a:pt x="112" y="653"/>
                  </a:lnTo>
                  <a:close/>
                  <a:moveTo>
                    <a:pt x="67" y="738"/>
                  </a:moveTo>
                  <a:lnTo>
                    <a:pt x="68" y="738"/>
                  </a:lnTo>
                  <a:lnTo>
                    <a:pt x="68" y="740"/>
                  </a:lnTo>
                  <a:lnTo>
                    <a:pt x="67" y="738"/>
                  </a:lnTo>
                  <a:close/>
                  <a:moveTo>
                    <a:pt x="211" y="740"/>
                  </a:moveTo>
                  <a:lnTo>
                    <a:pt x="213" y="740"/>
                  </a:lnTo>
                  <a:lnTo>
                    <a:pt x="211" y="742"/>
                  </a:lnTo>
                  <a:lnTo>
                    <a:pt x="211" y="740"/>
                  </a:lnTo>
                  <a:close/>
                  <a:moveTo>
                    <a:pt x="228" y="731"/>
                  </a:moveTo>
                  <a:lnTo>
                    <a:pt x="228" y="730"/>
                  </a:lnTo>
                  <a:lnTo>
                    <a:pt x="230" y="731"/>
                  </a:lnTo>
                  <a:lnTo>
                    <a:pt x="228" y="731"/>
                  </a:lnTo>
                  <a:close/>
                  <a:moveTo>
                    <a:pt x="82" y="728"/>
                  </a:moveTo>
                  <a:lnTo>
                    <a:pt x="82" y="730"/>
                  </a:lnTo>
                  <a:lnTo>
                    <a:pt x="82" y="728"/>
                  </a:lnTo>
                  <a:close/>
                  <a:moveTo>
                    <a:pt x="310" y="679"/>
                  </a:moveTo>
                  <a:lnTo>
                    <a:pt x="310" y="680"/>
                  </a:lnTo>
                  <a:lnTo>
                    <a:pt x="310" y="679"/>
                  </a:lnTo>
                  <a:close/>
                  <a:moveTo>
                    <a:pt x="135" y="742"/>
                  </a:moveTo>
                  <a:lnTo>
                    <a:pt x="136" y="742"/>
                  </a:lnTo>
                  <a:lnTo>
                    <a:pt x="135" y="742"/>
                  </a:lnTo>
                  <a:close/>
                  <a:moveTo>
                    <a:pt x="135" y="721"/>
                  </a:moveTo>
                  <a:lnTo>
                    <a:pt x="136" y="721"/>
                  </a:lnTo>
                  <a:lnTo>
                    <a:pt x="136" y="723"/>
                  </a:lnTo>
                  <a:lnTo>
                    <a:pt x="135" y="723"/>
                  </a:lnTo>
                  <a:lnTo>
                    <a:pt x="135" y="721"/>
                  </a:lnTo>
                  <a:close/>
                  <a:moveTo>
                    <a:pt x="138" y="750"/>
                  </a:moveTo>
                  <a:lnTo>
                    <a:pt x="138" y="752"/>
                  </a:lnTo>
                  <a:lnTo>
                    <a:pt x="138" y="750"/>
                  </a:lnTo>
                  <a:close/>
                  <a:moveTo>
                    <a:pt x="114" y="514"/>
                  </a:moveTo>
                  <a:lnTo>
                    <a:pt x="114" y="515"/>
                  </a:lnTo>
                  <a:lnTo>
                    <a:pt x="114" y="514"/>
                  </a:lnTo>
                  <a:close/>
                  <a:moveTo>
                    <a:pt x="84" y="736"/>
                  </a:moveTo>
                  <a:lnTo>
                    <a:pt x="85" y="738"/>
                  </a:lnTo>
                  <a:lnTo>
                    <a:pt x="84" y="738"/>
                  </a:lnTo>
                  <a:lnTo>
                    <a:pt x="84" y="736"/>
                  </a:lnTo>
                  <a:close/>
                  <a:moveTo>
                    <a:pt x="128" y="485"/>
                  </a:moveTo>
                  <a:lnTo>
                    <a:pt x="128" y="486"/>
                  </a:lnTo>
                  <a:lnTo>
                    <a:pt x="128" y="485"/>
                  </a:lnTo>
                  <a:close/>
                  <a:moveTo>
                    <a:pt x="107" y="736"/>
                  </a:moveTo>
                  <a:lnTo>
                    <a:pt x="109" y="736"/>
                  </a:lnTo>
                  <a:lnTo>
                    <a:pt x="109" y="738"/>
                  </a:lnTo>
                  <a:lnTo>
                    <a:pt x="107" y="736"/>
                  </a:lnTo>
                  <a:close/>
                  <a:moveTo>
                    <a:pt x="204" y="743"/>
                  </a:moveTo>
                  <a:lnTo>
                    <a:pt x="206" y="743"/>
                  </a:lnTo>
                  <a:lnTo>
                    <a:pt x="206" y="745"/>
                  </a:lnTo>
                  <a:lnTo>
                    <a:pt x="204" y="743"/>
                  </a:lnTo>
                  <a:close/>
                  <a:moveTo>
                    <a:pt x="150" y="755"/>
                  </a:moveTo>
                  <a:lnTo>
                    <a:pt x="152" y="755"/>
                  </a:lnTo>
                  <a:lnTo>
                    <a:pt x="152" y="757"/>
                  </a:lnTo>
                  <a:lnTo>
                    <a:pt x="150" y="757"/>
                  </a:lnTo>
                  <a:lnTo>
                    <a:pt x="150" y="755"/>
                  </a:lnTo>
                  <a:close/>
                  <a:moveTo>
                    <a:pt x="136" y="714"/>
                  </a:moveTo>
                  <a:lnTo>
                    <a:pt x="138" y="714"/>
                  </a:lnTo>
                  <a:lnTo>
                    <a:pt x="136" y="714"/>
                  </a:lnTo>
                  <a:close/>
                  <a:moveTo>
                    <a:pt x="225" y="728"/>
                  </a:moveTo>
                  <a:lnTo>
                    <a:pt x="226" y="728"/>
                  </a:lnTo>
                  <a:lnTo>
                    <a:pt x="225" y="728"/>
                  </a:lnTo>
                  <a:close/>
                  <a:moveTo>
                    <a:pt x="116" y="497"/>
                  </a:moveTo>
                  <a:lnTo>
                    <a:pt x="116" y="498"/>
                  </a:lnTo>
                  <a:lnTo>
                    <a:pt x="116" y="497"/>
                  </a:lnTo>
                  <a:close/>
                  <a:moveTo>
                    <a:pt x="153" y="726"/>
                  </a:moveTo>
                  <a:lnTo>
                    <a:pt x="155" y="725"/>
                  </a:lnTo>
                  <a:lnTo>
                    <a:pt x="155" y="726"/>
                  </a:lnTo>
                  <a:lnTo>
                    <a:pt x="153" y="726"/>
                  </a:lnTo>
                  <a:close/>
                  <a:moveTo>
                    <a:pt x="145" y="723"/>
                  </a:moveTo>
                  <a:lnTo>
                    <a:pt x="146" y="723"/>
                  </a:lnTo>
                  <a:lnTo>
                    <a:pt x="145" y="723"/>
                  </a:lnTo>
                  <a:close/>
                  <a:moveTo>
                    <a:pt x="94" y="588"/>
                  </a:moveTo>
                  <a:lnTo>
                    <a:pt x="95" y="588"/>
                  </a:lnTo>
                  <a:lnTo>
                    <a:pt x="95" y="590"/>
                  </a:lnTo>
                  <a:lnTo>
                    <a:pt x="94" y="590"/>
                  </a:lnTo>
                  <a:lnTo>
                    <a:pt x="94" y="588"/>
                  </a:lnTo>
                  <a:close/>
                  <a:moveTo>
                    <a:pt x="90" y="747"/>
                  </a:moveTo>
                  <a:lnTo>
                    <a:pt x="92" y="747"/>
                  </a:lnTo>
                  <a:lnTo>
                    <a:pt x="90" y="747"/>
                  </a:lnTo>
                  <a:close/>
                  <a:moveTo>
                    <a:pt x="204" y="743"/>
                  </a:moveTo>
                  <a:lnTo>
                    <a:pt x="206" y="743"/>
                  </a:lnTo>
                  <a:lnTo>
                    <a:pt x="204" y="743"/>
                  </a:lnTo>
                  <a:close/>
                  <a:moveTo>
                    <a:pt x="56" y="740"/>
                  </a:moveTo>
                  <a:lnTo>
                    <a:pt x="56" y="742"/>
                  </a:lnTo>
                  <a:lnTo>
                    <a:pt x="56" y="74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10" name="Freeform 40">
              <a:extLst>
                <a:ext uri="{FF2B5EF4-FFF2-40B4-BE49-F238E27FC236}">
                  <a16:creationId xmlns:a16="http://schemas.microsoft.com/office/drawing/2014/main" id="{F3E0496F-8FC7-4C59-B0C4-27F4A6B57EA4}"/>
                </a:ext>
              </a:extLst>
            </p:cNvPr>
            <p:cNvSpPr>
              <a:spLocks noEditPoints="1"/>
            </p:cNvSpPr>
            <p:nvPr/>
          </p:nvSpPr>
          <p:spPr bwMode="gray">
            <a:xfrm>
              <a:off x="8482018" y="230370"/>
              <a:ext cx="1125842" cy="2944964"/>
            </a:xfrm>
            <a:custGeom>
              <a:avLst/>
              <a:gdLst>
                <a:gd name="T0" fmla="*/ 346 w 380"/>
                <a:gd name="T1" fmla="*/ 225 h 994"/>
                <a:gd name="T2" fmla="*/ 319 w 380"/>
                <a:gd name="T3" fmla="*/ 242 h 994"/>
                <a:gd name="T4" fmla="*/ 312 w 380"/>
                <a:gd name="T5" fmla="*/ 264 h 994"/>
                <a:gd name="T6" fmla="*/ 306 w 380"/>
                <a:gd name="T7" fmla="*/ 306 h 994"/>
                <a:gd name="T8" fmla="*/ 304 w 380"/>
                <a:gd name="T9" fmla="*/ 359 h 994"/>
                <a:gd name="T10" fmla="*/ 277 w 380"/>
                <a:gd name="T11" fmla="*/ 391 h 994"/>
                <a:gd name="T12" fmla="*/ 246 w 380"/>
                <a:gd name="T13" fmla="*/ 422 h 994"/>
                <a:gd name="T14" fmla="*/ 232 w 380"/>
                <a:gd name="T15" fmla="*/ 453 h 994"/>
                <a:gd name="T16" fmla="*/ 222 w 380"/>
                <a:gd name="T17" fmla="*/ 471 h 994"/>
                <a:gd name="T18" fmla="*/ 207 w 380"/>
                <a:gd name="T19" fmla="*/ 519 h 994"/>
                <a:gd name="T20" fmla="*/ 204 w 380"/>
                <a:gd name="T21" fmla="*/ 550 h 994"/>
                <a:gd name="T22" fmla="*/ 215 w 380"/>
                <a:gd name="T23" fmla="*/ 601 h 994"/>
                <a:gd name="T24" fmla="*/ 248 w 380"/>
                <a:gd name="T25" fmla="*/ 623 h 994"/>
                <a:gd name="T26" fmla="*/ 278 w 380"/>
                <a:gd name="T27" fmla="*/ 655 h 994"/>
                <a:gd name="T28" fmla="*/ 261 w 380"/>
                <a:gd name="T29" fmla="*/ 693 h 994"/>
                <a:gd name="T30" fmla="*/ 261 w 380"/>
                <a:gd name="T31" fmla="*/ 718 h 994"/>
                <a:gd name="T32" fmla="*/ 239 w 380"/>
                <a:gd name="T33" fmla="*/ 730 h 994"/>
                <a:gd name="T34" fmla="*/ 200 w 380"/>
                <a:gd name="T35" fmla="*/ 754 h 994"/>
                <a:gd name="T36" fmla="*/ 214 w 380"/>
                <a:gd name="T37" fmla="*/ 776 h 994"/>
                <a:gd name="T38" fmla="*/ 215 w 380"/>
                <a:gd name="T39" fmla="*/ 803 h 994"/>
                <a:gd name="T40" fmla="*/ 212 w 380"/>
                <a:gd name="T41" fmla="*/ 822 h 994"/>
                <a:gd name="T42" fmla="*/ 212 w 380"/>
                <a:gd name="T43" fmla="*/ 864 h 994"/>
                <a:gd name="T44" fmla="*/ 195 w 380"/>
                <a:gd name="T45" fmla="*/ 929 h 994"/>
                <a:gd name="T46" fmla="*/ 153 w 380"/>
                <a:gd name="T47" fmla="*/ 934 h 994"/>
                <a:gd name="T48" fmla="*/ 105 w 380"/>
                <a:gd name="T49" fmla="*/ 990 h 994"/>
                <a:gd name="T50" fmla="*/ 69 w 380"/>
                <a:gd name="T51" fmla="*/ 924 h 994"/>
                <a:gd name="T52" fmla="*/ 40 w 380"/>
                <a:gd name="T53" fmla="*/ 851 h 994"/>
                <a:gd name="T54" fmla="*/ 30 w 380"/>
                <a:gd name="T55" fmla="*/ 808 h 994"/>
                <a:gd name="T56" fmla="*/ 13 w 380"/>
                <a:gd name="T57" fmla="*/ 786 h 994"/>
                <a:gd name="T58" fmla="*/ 5 w 380"/>
                <a:gd name="T59" fmla="*/ 740 h 994"/>
                <a:gd name="T60" fmla="*/ 52 w 380"/>
                <a:gd name="T61" fmla="*/ 655 h 994"/>
                <a:gd name="T62" fmla="*/ 39 w 380"/>
                <a:gd name="T63" fmla="*/ 505 h 994"/>
                <a:gd name="T64" fmla="*/ 88 w 380"/>
                <a:gd name="T65" fmla="*/ 383 h 994"/>
                <a:gd name="T66" fmla="*/ 119 w 380"/>
                <a:gd name="T67" fmla="*/ 221 h 994"/>
                <a:gd name="T68" fmla="*/ 173 w 380"/>
                <a:gd name="T69" fmla="*/ 84 h 994"/>
                <a:gd name="T70" fmla="*/ 260 w 380"/>
                <a:gd name="T71" fmla="*/ 16 h 994"/>
                <a:gd name="T72" fmla="*/ 346 w 380"/>
                <a:gd name="T73" fmla="*/ 111 h 994"/>
                <a:gd name="T74" fmla="*/ 297 w 380"/>
                <a:gd name="T75" fmla="*/ 807 h 994"/>
                <a:gd name="T76" fmla="*/ 275 w 380"/>
                <a:gd name="T77" fmla="*/ 858 h 994"/>
                <a:gd name="T78" fmla="*/ 226 w 380"/>
                <a:gd name="T79" fmla="*/ 881 h 994"/>
                <a:gd name="T80" fmla="*/ 32 w 380"/>
                <a:gd name="T81" fmla="*/ 795 h 994"/>
                <a:gd name="T82" fmla="*/ 265 w 380"/>
                <a:gd name="T83" fmla="*/ 704 h 994"/>
                <a:gd name="T84" fmla="*/ 300 w 380"/>
                <a:gd name="T85" fmla="*/ 793 h 994"/>
                <a:gd name="T86" fmla="*/ 229 w 380"/>
                <a:gd name="T87" fmla="*/ 461 h 994"/>
                <a:gd name="T88" fmla="*/ 278 w 380"/>
                <a:gd name="T89" fmla="*/ 667 h 994"/>
                <a:gd name="T90" fmla="*/ 219 w 380"/>
                <a:gd name="T91" fmla="*/ 774 h 994"/>
                <a:gd name="T92" fmla="*/ 76 w 380"/>
                <a:gd name="T93" fmla="*/ 990 h 994"/>
                <a:gd name="T94" fmla="*/ 183 w 380"/>
                <a:gd name="T95" fmla="*/ 936 h 994"/>
                <a:gd name="T96" fmla="*/ 278 w 380"/>
                <a:gd name="T97" fmla="*/ 708 h 994"/>
                <a:gd name="T98" fmla="*/ 333 w 380"/>
                <a:gd name="T99" fmla="*/ 255 h 994"/>
                <a:gd name="T100" fmla="*/ 277 w 380"/>
                <a:gd name="T101" fmla="*/ 676 h 994"/>
                <a:gd name="T102" fmla="*/ 212 w 380"/>
                <a:gd name="T103" fmla="*/ 585 h 994"/>
                <a:gd name="T104" fmla="*/ 263 w 380"/>
                <a:gd name="T105" fmla="*/ 696 h 994"/>
                <a:gd name="T106" fmla="*/ 30 w 380"/>
                <a:gd name="T107" fmla="*/ 835 h 994"/>
                <a:gd name="T108" fmla="*/ 272 w 380"/>
                <a:gd name="T109" fmla="*/ 720 h 994"/>
                <a:gd name="T110" fmla="*/ 280 w 380"/>
                <a:gd name="T111" fmla="*/ 693 h 994"/>
                <a:gd name="T112" fmla="*/ 260 w 380"/>
                <a:gd name="T113" fmla="*/ 721 h 994"/>
                <a:gd name="T114" fmla="*/ 32 w 380"/>
                <a:gd name="T115" fmla="*/ 839 h 994"/>
                <a:gd name="T116" fmla="*/ 333 w 380"/>
                <a:gd name="T117" fmla="*/ 240 h 994"/>
                <a:gd name="T118" fmla="*/ 251 w 380"/>
                <a:gd name="T119" fmla="*/ 732 h 994"/>
                <a:gd name="T120" fmla="*/ 217 w 380"/>
                <a:gd name="T121" fmla="*/ 803 h 994"/>
                <a:gd name="T122" fmla="*/ 283 w 380"/>
                <a:gd name="T123" fmla="*/ 674 h 994"/>
                <a:gd name="T124" fmla="*/ 219 w 380"/>
                <a:gd name="T125" fmla="*/ 767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0" h="994">
                  <a:moveTo>
                    <a:pt x="377" y="215"/>
                  </a:moveTo>
                  <a:lnTo>
                    <a:pt x="379" y="216"/>
                  </a:lnTo>
                  <a:lnTo>
                    <a:pt x="375" y="216"/>
                  </a:lnTo>
                  <a:lnTo>
                    <a:pt x="375" y="218"/>
                  </a:lnTo>
                  <a:lnTo>
                    <a:pt x="374" y="216"/>
                  </a:lnTo>
                  <a:lnTo>
                    <a:pt x="374" y="218"/>
                  </a:lnTo>
                  <a:lnTo>
                    <a:pt x="374" y="216"/>
                  </a:lnTo>
                  <a:lnTo>
                    <a:pt x="374" y="218"/>
                  </a:lnTo>
                  <a:lnTo>
                    <a:pt x="372" y="218"/>
                  </a:lnTo>
                  <a:lnTo>
                    <a:pt x="372" y="220"/>
                  </a:lnTo>
                  <a:lnTo>
                    <a:pt x="370" y="218"/>
                  </a:lnTo>
                  <a:lnTo>
                    <a:pt x="370" y="221"/>
                  </a:lnTo>
                  <a:lnTo>
                    <a:pt x="368" y="223"/>
                  </a:lnTo>
                  <a:lnTo>
                    <a:pt x="368" y="225"/>
                  </a:lnTo>
                  <a:lnTo>
                    <a:pt x="368" y="226"/>
                  </a:lnTo>
                  <a:lnTo>
                    <a:pt x="367" y="226"/>
                  </a:lnTo>
                  <a:lnTo>
                    <a:pt x="365" y="223"/>
                  </a:lnTo>
                  <a:lnTo>
                    <a:pt x="367" y="223"/>
                  </a:lnTo>
                  <a:lnTo>
                    <a:pt x="367" y="221"/>
                  </a:lnTo>
                  <a:lnTo>
                    <a:pt x="368" y="223"/>
                  </a:lnTo>
                  <a:lnTo>
                    <a:pt x="368" y="221"/>
                  </a:lnTo>
                  <a:lnTo>
                    <a:pt x="368" y="223"/>
                  </a:lnTo>
                  <a:lnTo>
                    <a:pt x="368" y="221"/>
                  </a:lnTo>
                  <a:lnTo>
                    <a:pt x="370" y="221"/>
                  </a:lnTo>
                  <a:lnTo>
                    <a:pt x="370" y="220"/>
                  </a:lnTo>
                  <a:lnTo>
                    <a:pt x="367" y="220"/>
                  </a:lnTo>
                  <a:lnTo>
                    <a:pt x="368" y="220"/>
                  </a:lnTo>
                  <a:lnTo>
                    <a:pt x="367" y="216"/>
                  </a:lnTo>
                  <a:lnTo>
                    <a:pt x="365" y="216"/>
                  </a:lnTo>
                  <a:lnTo>
                    <a:pt x="365" y="220"/>
                  </a:lnTo>
                  <a:lnTo>
                    <a:pt x="363" y="220"/>
                  </a:lnTo>
                  <a:lnTo>
                    <a:pt x="362" y="220"/>
                  </a:lnTo>
                  <a:lnTo>
                    <a:pt x="363" y="221"/>
                  </a:lnTo>
                  <a:lnTo>
                    <a:pt x="362" y="220"/>
                  </a:lnTo>
                  <a:lnTo>
                    <a:pt x="362" y="221"/>
                  </a:lnTo>
                  <a:lnTo>
                    <a:pt x="362" y="218"/>
                  </a:lnTo>
                  <a:lnTo>
                    <a:pt x="360" y="220"/>
                  </a:lnTo>
                  <a:lnTo>
                    <a:pt x="358" y="220"/>
                  </a:lnTo>
                  <a:lnTo>
                    <a:pt x="358" y="221"/>
                  </a:lnTo>
                  <a:lnTo>
                    <a:pt x="358" y="218"/>
                  </a:lnTo>
                  <a:lnTo>
                    <a:pt x="358" y="220"/>
                  </a:lnTo>
                  <a:lnTo>
                    <a:pt x="357" y="220"/>
                  </a:lnTo>
                  <a:lnTo>
                    <a:pt x="358" y="221"/>
                  </a:lnTo>
                  <a:lnTo>
                    <a:pt x="357" y="223"/>
                  </a:lnTo>
                  <a:lnTo>
                    <a:pt x="358" y="223"/>
                  </a:lnTo>
                  <a:lnTo>
                    <a:pt x="357" y="225"/>
                  </a:lnTo>
                  <a:lnTo>
                    <a:pt x="357" y="223"/>
                  </a:lnTo>
                  <a:lnTo>
                    <a:pt x="358" y="223"/>
                  </a:lnTo>
                  <a:lnTo>
                    <a:pt x="357" y="223"/>
                  </a:lnTo>
                  <a:lnTo>
                    <a:pt x="357" y="221"/>
                  </a:lnTo>
                  <a:lnTo>
                    <a:pt x="355" y="223"/>
                  </a:lnTo>
                  <a:lnTo>
                    <a:pt x="355" y="220"/>
                  </a:lnTo>
                  <a:lnTo>
                    <a:pt x="355" y="221"/>
                  </a:lnTo>
                  <a:lnTo>
                    <a:pt x="353" y="221"/>
                  </a:lnTo>
                  <a:lnTo>
                    <a:pt x="350" y="220"/>
                  </a:lnTo>
                  <a:lnTo>
                    <a:pt x="348" y="218"/>
                  </a:lnTo>
                  <a:lnTo>
                    <a:pt x="346" y="216"/>
                  </a:lnTo>
                  <a:lnTo>
                    <a:pt x="345" y="216"/>
                  </a:lnTo>
                  <a:lnTo>
                    <a:pt x="346" y="218"/>
                  </a:lnTo>
                  <a:lnTo>
                    <a:pt x="348" y="218"/>
                  </a:lnTo>
                  <a:lnTo>
                    <a:pt x="350" y="220"/>
                  </a:lnTo>
                  <a:lnTo>
                    <a:pt x="351" y="223"/>
                  </a:lnTo>
                  <a:lnTo>
                    <a:pt x="353" y="223"/>
                  </a:lnTo>
                  <a:lnTo>
                    <a:pt x="350" y="225"/>
                  </a:lnTo>
                  <a:lnTo>
                    <a:pt x="351" y="226"/>
                  </a:lnTo>
                  <a:lnTo>
                    <a:pt x="350" y="226"/>
                  </a:lnTo>
                  <a:lnTo>
                    <a:pt x="351" y="228"/>
                  </a:lnTo>
                  <a:lnTo>
                    <a:pt x="350" y="228"/>
                  </a:lnTo>
                  <a:lnTo>
                    <a:pt x="350" y="230"/>
                  </a:lnTo>
                  <a:lnTo>
                    <a:pt x="348" y="228"/>
                  </a:lnTo>
                  <a:lnTo>
                    <a:pt x="348" y="226"/>
                  </a:lnTo>
                  <a:lnTo>
                    <a:pt x="346" y="225"/>
                  </a:lnTo>
                  <a:lnTo>
                    <a:pt x="346" y="226"/>
                  </a:lnTo>
                  <a:lnTo>
                    <a:pt x="345" y="225"/>
                  </a:lnTo>
                  <a:lnTo>
                    <a:pt x="343" y="225"/>
                  </a:lnTo>
                  <a:lnTo>
                    <a:pt x="343" y="223"/>
                  </a:lnTo>
                  <a:lnTo>
                    <a:pt x="341" y="223"/>
                  </a:lnTo>
                  <a:lnTo>
                    <a:pt x="343" y="225"/>
                  </a:lnTo>
                  <a:lnTo>
                    <a:pt x="341" y="225"/>
                  </a:lnTo>
                  <a:lnTo>
                    <a:pt x="340" y="221"/>
                  </a:lnTo>
                  <a:lnTo>
                    <a:pt x="338" y="221"/>
                  </a:lnTo>
                  <a:lnTo>
                    <a:pt x="338" y="220"/>
                  </a:lnTo>
                  <a:lnTo>
                    <a:pt x="336" y="218"/>
                  </a:lnTo>
                  <a:lnTo>
                    <a:pt x="334" y="218"/>
                  </a:lnTo>
                  <a:lnTo>
                    <a:pt x="333" y="218"/>
                  </a:lnTo>
                  <a:lnTo>
                    <a:pt x="334" y="218"/>
                  </a:lnTo>
                  <a:lnTo>
                    <a:pt x="336" y="221"/>
                  </a:lnTo>
                  <a:lnTo>
                    <a:pt x="336" y="223"/>
                  </a:lnTo>
                  <a:lnTo>
                    <a:pt x="338" y="225"/>
                  </a:lnTo>
                  <a:lnTo>
                    <a:pt x="336" y="226"/>
                  </a:lnTo>
                  <a:lnTo>
                    <a:pt x="336" y="228"/>
                  </a:lnTo>
                  <a:lnTo>
                    <a:pt x="336" y="226"/>
                  </a:lnTo>
                  <a:lnTo>
                    <a:pt x="334" y="225"/>
                  </a:lnTo>
                  <a:lnTo>
                    <a:pt x="333" y="225"/>
                  </a:lnTo>
                  <a:lnTo>
                    <a:pt x="334" y="225"/>
                  </a:lnTo>
                  <a:lnTo>
                    <a:pt x="333" y="225"/>
                  </a:lnTo>
                  <a:lnTo>
                    <a:pt x="333" y="226"/>
                  </a:lnTo>
                  <a:lnTo>
                    <a:pt x="331" y="226"/>
                  </a:lnTo>
                  <a:lnTo>
                    <a:pt x="331" y="225"/>
                  </a:lnTo>
                  <a:lnTo>
                    <a:pt x="328" y="221"/>
                  </a:lnTo>
                  <a:lnTo>
                    <a:pt x="329" y="221"/>
                  </a:lnTo>
                  <a:lnTo>
                    <a:pt x="328" y="221"/>
                  </a:lnTo>
                  <a:lnTo>
                    <a:pt x="326" y="221"/>
                  </a:lnTo>
                  <a:lnTo>
                    <a:pt x="326" y="225"/>
                  </a:lnTo>
                  <a:lnTo>
                    <a:pt x="324" y="223"/>
                  </a:lnTo>
                  <a:lnTo>
                    <a:pt x="326" y="225"/>
                  </a:lnTo>
                  <a:lnTo>
                    <a:pt x="328" y="226"/>
                  </a:lnTo>
                  <a:lnTo>
                    <a:pt x="326" y="226"/>
                  </a:lnTo>
                  <a:lnTo>
                    <a:pt x="326" y="228"/>
                  </a:lnTo>
                  <a:lnTo>
                    <a:pt x="324" y="228"/>
                  </a:lnTo>
                  <a:lnTo>
                    <a:pt x="328" y="230"/>
                  </a:lnTo>
                  <a:lnTo>
                    <a:pt x="326" y="232"/>
                  </a:lnTo>
                  <a:lnTo>
                    <a:pt x="328" y="233"/>
                  </a:lnTo>
                  <a:lnTo>
                    <a:pt x="329" y="235"/>
                  </a:lnTo>
                  <a:lnTo>
                    <a:pt x="328" y="237"/>
                  </a:lnTo>
                  <a:lnTo>
                    <a:pt x="328" y="235"/>
                  </a:lnTo>
                  <a:lnTo>
                    <a:pt x="324" y="233"/>
                  </a:lnTo>
                  <a:lnTo>
                    <a:pt x="326" y="235"/>
                  </a:lnTo>
                  <a:lnTo>
                    <a:pt x="324" y="235"/>
                  </a:lnTo>
                  <a:lnTo>
                    <a:pt x="324" y="237"/>
                  </a:lnTo>
                  <a:lnTo>
                    <a:pt x="326" y="238"/>
                  </a:lnTo>
                  <a:lnTo>
                    <a:pt x="326" y="235"/>
                  </a:lnTo>
                  <a:lnTo>
                    <a:pt x="328" y="237"/>
                  </a:lnTo>
                  <a:lnTo>
                    <a:pt x="328" y="238"/>
                  </a:lnTo>
                  <a:lnTo>
                    <a:pt x="328" y="237"/>
                  </a:lnTo>
                  <a:lnTo>
                    <a:pt x="329" y="238"/>
                  </a:lnTo>
                  <a:lnTo>
                    <a:pt x="328" y="238"/>
                  </a:lnTo>
                  <a:lnTo>
                    <a:pt x="328" y="240"/>
                  </a:lnTo>
                  <a:lnTo>
                    <a:pt x="329" y="242"/>
                  </a:lnTo>
                  <a:lnTo>
                    <a:pt x="331" y="243"/>
                  </a:lnTo>
                  <a:lnTo>
                    <a:pt x="331" y="245"/>
                  </a:lnTo>
                  <a:lnTo>
                    <a:pt x="329" y="245"/>
                  </a:lnTo>
                  <a:lnTo>
                    <a:pt x="328" y="243"/>
                  </a:lnTo>
                  <a:lnTo>
                    <a:pt x="326" y="243"/>
                  </a:lnTo>
                  <a:lnTo>
                    <a:pt x="326" y="242"/>
                  </a:lnTo>
                  <a:lnTo>
                    <a:pt x="326" y="243"/>
                  </a:lnTo>
                  <a:lnTo>
                    <a:pt x="328" y="245"/>
                  </a:lnTo>
                  <a:lnTo>
                    <a:pt x="324" y="245"/>
                  </a:lnTo>
                  <a:lnTo>
                    <a:pt x="324" y="243"/>
                  </a:lnTo>
                  <a:lnTo>
                    <a:pt x="323" y="243"/>
                  </a:lnTo>
                  <a:lnTo>
                    <a:pt x="323" y="242"/>
                  </a:lnTo>
                  <a:lnTo>
                    <a:pt x="321" y="240"/>
                  </a:lnTo>
                  <a:lnTo>
                    <a:pt x="321" y="242"/>
                  </a:lnTo>
                  <a:lnTo>
                    <a:pt x="319" y="242"/>
                  </a:lnTo>
                  <a:lnTo>
                    <a:pt x="319" y="240"/>
                  </a:lnTo>
                  <a:lnTo>
                    <a:pt x="316" y="240"/>
                  </a:lnTo>
                  <a:lnTo>
                    <a:pt x="314" y="238"/>
                  </a:lnTo>
                  <a:lnTo>
                    <a:pt x="312" y="238"/>
                  </a:lnTo>
                  <a:lnTo>
                    <a:pt x="312" y="237"/>
                  </a:lnTo>
                  <a:lnTo>
                    <a:pt x="311" y="235"/>
                  </a:lnTo>
                  <a:lnTo>
                    <a:pt x="311" y="233"/>
                  </a:lnTo>
                  <a:lnTo>
                    <a:pt x="307" y="232"/>
                  </a:lnTo>
                  <a:lnTo>
                    <a:pt x="307" y="230"/>
                  </a:lnTo>
                  <a:lnTo>
                    <a:pt x="307" y="232"/>
                  </a:lnTo>
                  <a:lnTo>
                    <a:pt x="309" y="233"/>
                  </a:lnTo>
                  <a:lnTo>
                    <a:pt x="311" y="235"/>
                  </a:lnTo>
                  <a:lnTo>
                    <a:pt x="311" y="237"/>
                  </a:lnTo>
                  <a:lnTo>
                    <a:pt x="312" y="237"/>
                  </a:lnTo>
                  <a:lnTo>
                    <a:pt x="312" y="238"/>
                  </a:lnTo>
                  <a:lnTo>
                    <a:pt x="314" y="238"/>
                  </a:lnTo>
                  <a:lnTo>
                    <a:pt x="316" y="240"/>
                  </a:lnTo>
                  <a:lnTo>
                    <a:pt x="317" y="242"/>
                  </a:lnTo>
                  <a:lnTo>
                    <a:pt x="319" y="243"/>
                  </a:lnTo>
                  <a:lnTo>
                    <a:pt x="323" y="243"/>
                  </a:lnTo>
                  <a:lnTo>
                    <a:pt x="323" y="245"/>
                  </a:lnTo>
                  <a:lnTo>
                    <a:pt x="324" y="245"/>
                  </a:lnTo>
                  <a:lnTo>
                    <a:pt x="324" y="247"/>
                  </a:lnTo>
                  <a:lnTo>
                    <a:pt x="321" y="247"/>
                  </a:lnTo>
                  <a:lnTo>
                    <a:pt x="321" y="249"/>
                  </a:lnTo>
                  <a:lnTo>
                    <a:pt x="321" y="247"/>
                  </a:lnTo>
                  <a:lnTo>
                    <a:pt x="319" y="249"/>
                  </a:lnTo>
                  <a:lnTo>
                    <a:pt x="316" y="249"/>
                  </a:lnTo>
                  <a:lnTo>
                    <a:pt x="316" y="247"/>
                  </a:lnTo>
                  <a:lnTo>
                    <a:pt x="316" y="249"/>
                  </a:lnTo>
                  <a:lnTo>
                    <a:pt x="314" y="249"/>
                  </a:lnTo>
                  <a:lnTo>
                    <a:pt x="317" y="250"/>
                  </a:lnTo>
                  <a:lnTo>
                    <a:pt x="316" y="249"/>
                  </a:lnTo>
                  <a:lnTo>
                    <a:pt x="319" y="250"/>
                  </a:lnTo>
                  <a:lnTo>
                    <a:pt x="319" y="252"/>
                  </a:lnTo>
                  <a:lnTo>
                    <a:pt x="321" y="250"/>
                  </a:lnTo>
                  <a:lnTo>
                    <a:pt x="321" y="254"/>
                  </a:lnTo>
                  <a:lnTo>
                    <a:pt x="321" y="255"/>
                  </a:lnTo>
                  <a:lnTo>
                    <a:pt x="319" y="255"/>
                  </a:lnTo>
                  <a:lnTo>
                    <a:pt x="321" y="255"/>
                  </a:lnTo>
                  <a:lnTo>
                    <a:pt x="317" y="254"/>
                  </a:lnTo>
                  <a:lnTo>
                    <a:pt x="319" y="257"/>
                  </a:lnTo>
                  <a:lnTo>
                    <a:pt x="317" y="257"/>
                  </a:lnTo>
                  <a:lnTo>
                    <a:pt x="316" y="255"/>
                  </a:lnTo>
                  <a:lnTo>
                    <a:pt x="316" y="257"/>
                  </a:lnTo>
                  <a:lnTo>
                    <a:pt x="314" y="257"/>
                  </a:lnTo>
                  <a:lnTo>
                    <a:pt x="311" y="257"/>
                  </a:lnTo>
                  <a:lnTo>
                    <a:pt x="312" y="257"/>
                  </a:lnTo>
                  <a:lnTo>
                    <a:pt x="309" y="257"/>
                  </a:lnTo>
                  <a:lnTo>
                    <a:pt x="309" y="259"/>
                  </a:lnTo>
                  <a:lnTo>
                    <a:pt x="307" y="257"/>
                  </a:lnTo>
                  <a:lnTo>
                    <a:pt x="309" y="259"/>
                  </a:lnTo>
                  <a:lnTo>
                    <a:pt x="311" y="260"/>
                  </a:lnTo>
                  <a:lnTo>
                    <a:pt x="312" y="262"/>
                  </a:lnTo>
                  <a:lnTo>
                    <a:pt x="311" y="262"/>
                  </a:lnTo>
                  <a:lnTo>
                    <a:pt x="309" y="262"/>
                  </a:lnTo>
                  <a:lnTo>
                    <a:pt x="309" y="260"/>
                  </a:lnTo>
                  <a:lnTo>
                    <a:pt x="307" y="259"/>
                  </a:lnTo>
                  <a:lnTo>
                    <a:pt x="306" y="259"/>
                  </a:lnTo>
                  <a:lnTo>
                    <a:pt x="307" y="260"/>
                  </a:lnTo>
                  <a:lnTo>
                    <a:pt x="306" y="260"/>
                  </a:lnTo>
                  <a:lnTo>
                    <a:pt x="307" y="262"/>
                  </a:lnTo>
                  <a:lnTo>
                    <a:pt x="306" y="262"/>
                  </a:lnTo>
                  <a:lnTo>
                    <a:pt x="307" y="264"/>
                  </a:lnTo>
                  <a:lnTo>
                    <a:pt x="309" y="262"/>
                  </a:lnTo>
                  <a:lnTo>
                    <a:pt x="309" y="264"/>
                  </a:lnTo>
                  <a:lnTo>
                    <a:pt x="311" y="262"/>
                  </a:lnTo>
                  <a:lnTo>
                    <a:pt x="311" y="264"/>
                  </a:lnTo>
                  <a:lnTo>
                    <a:pt x="309" y="264"/>
                  </a:lnTo>
                  <a:lnTo>
                    <a:pt x="311" y="264"/>
                  </a:lnTo>
                  <a:lnTo>
                    <a:pt x="312" y="266"/>
                  </a:lnTo>
                  <a:lnTo>
                    <a:pt x="312" y="264"/>
                  </a:lnTo>
                  <a:lnTo>
                    <a:pt x="314" y="264"/>
                  </a:lnTo>
                  <a:lnTo>
                    <a:pt x="314" y="266"/>
                  </a:lnTo>
                  <a:lnTo>
                    <a:pt x="312" y="266"/>
                  </a:lnTo>
                  <a:lnTo>
                    <a:pt x="312" y="267"/>
                  </a:lnTo>
                  <a:lnTo>
                    <a:pt x="312" y="269"/>
                  </a:lnTo>
                  <a:lnTo>
                    <a:pt x="312" y="271"/>
                  </a:lnTo>
                  <a:lnTo>
                    <a:pt x="314" y="269"/>
                  </a:lnTo>
                  <a:lnTo>
                    <a:pt x="316" y="271"/>
                  </a:lnTo>
                  <a:lnTo>
                    <a:pt x="316" y="272"/>
                  </a:lnTo>
                  <a:lnTo>
                    <a:pt x="314" y="271"/>
                  </a:lnTo>
                  <a:lnTo>
                    <a:pt x="311" y="269"/>
                  </a:lnTo>
                  <a:lnTo>
                    <a:pt x="309" y="271"/>
                  </a:lnTo>
                  <a:lnTo>
                    <a:pt x="309" y="269"/>
                  </a:lnTo>
                  <a:lnTo>
                    <a:pt x="307" y="267"/>
                  </a:lnTo>
                  <a:lnTo>
                    <a:pt x="307" y="266"/>
                  </a:lnTo>
                  <a:lnTo>
                    <a:pt x="304" y="266"/>
                  </a:lnTo>
                  <a:lnTo>
                    <a:pt x="304" y="264"/>
                  </a:lnTo>
                  <a:lnTo>
                    <a:pt x="302" y="262"/>
                  </a:lnTo>
                  <a:lnTo>
                    <a:pt x="300" y="262"/>
                  </a:lnTo>
                  <a:lnTo>
                    <a:pt x="300" y="264"/>
                  </a:lnTo>
                  <a:lnTo>
                    <a:pt x="299" y="264"/>
                  </a:lnTo>
                  <a:lnTo>
                    <a:pt x="300" y="266"/>
                  </a:lnTo>
                  <a:lnTo>
                    <a:pt x="302" y="266"/>
                  </a:lnTo>
                  <a:lnTo>
                    <a:pt x="304" y="266"/>
                  </a:lnTo>
                  <a:lnTo>
                    <a:pt x="302" y="264"/>
                  </a:lnTo>
                  <a:lnTo>
                    <a:pt x="304" y="266"/>
                  </a:lnTo>
                  <a:lnTo>
                    <a:pt x="306" y="266"/>
                  </a:lnTo>
                  <a:lnTo>
                    <a:pt x="306" y="267"/>
                  </a:lnTo>
                  <a:lnTo>
                    <a:pt x="307" y="267"/>
                  </a:lnTo>
                  <a:lnTo>
                    <a:pt x="307" y="269"/>
                  </a:lnTo>
                  <a:lnTo>
                    <a:pt x="309" y="269"/>
                  </a:lnTo>
                  <a:lnTo>
                    <a:pt x="309" y="271"/>
                  </a:lnTo>
                  <a:lnTo>
                    <a:pt x="309" y="272"/>
                  </a:lnTo>
                  <a:lnTo>
                    <a:pt x="311" y="272"/>
                  </a:lnTo>
                  <a:lnTo>
                    <a:pt x="311" y="274"/>
                  </a:lnTo>
                  <a:lnTo>
                    <a:pt x="312" y="277"/>
                  </a:lnTo>
                  <a:lnTo>
                    <a:pt x="309" y="277"/>
                  </a:lnTo>
                  <a:lnTo>
                    <a:pt x="311" y="277"/>
                  </a:lnTo>
                  <a:lnTo>
                    <a:pt x="311" y="281"/>
                  </a:lnTo>
                  <a:lnTo>
                    <a:pt x="311" y="283"/>
                  </a:lnTo>
                  <a:lnTo>
                    <a:pt x="309" y="283"/>
                  </a:lnTo>
                  <a:lnTo>
                    <a:pt x="309" y="284"/>
                  </a:lnTo>
                  <a:lnTo>
                    <a:pt x="309" y="286"/>
                  </a:lnTo>
                  <a:lnTo>
                    <a:pt x="307" y="286"/>
                  </a:lnTo>
                  <a:lnTo>
                    <a:pt x="306" y="286"/>
                  </a:lnTo>
                  <a:lnTo>
                    <a:pt x="307" y="288"/>
                  </a:lnTo>
                  <a:lnTo>
                    <a:pt x="307" y="289"/>
                  </a:lnTo>
                  <a:lnTo>
                    <a:pt x="307" y="288"/>
                  </a:lnTo>
                  <a:lnTo>
                    <a:pt x="306" y="289"/>
                  </a:lnTo>
                  <a:lnTo>
                    <a:pt x="307" y="291"/>
                  </a:lnTo>
                  <a:lnTo>
                    <a:pt x="306" y="291"/>
                  </a:lnTo>
                  <a:lnTo>
                    <a:pt x="302" y="293"/>
                  </a:lnTo>
                  <a:lnTo>
                    <a:pt x="304" y="294"/>
                  </a:lnTo>
                  <a:lnTo>
                    <a:pt x="304" y="296"/>
                  </a:lnTo>
                  <a:lnTo>
                    <a:pt x="302" y="296"/>
                  </a:lnTo>
                  <a:lnTo>
                    <a:pt x="304" y="298"/>
                  </a:lnTo>
                  <a:lnTo>
                    <a:pt x="302" y="298"/>
                  </a:lnTo>
                  <a:lnTo>
                    <a:pt x="304" y="300"/>
                  </a:lnTo>
                  <a:lnTo>
                    <a:pt x="302" y="301"/>
                  </a:lnTo>
                  <a:lnTo>
                    <a:pt x="300" y="301"/>
                  </a:lnTo>
                  <a:lnTo>
                    <a:pt x="299" y="298"/>
                  </a:lnTo>
                  <a:lnTo>
                    <a:pt x="297" y="301"/>
                  </a:lnTo>
                  <a:lnTo>
                    <a:pt x="299" y="301"/>
                  </a:lnTo>
                  <a:lnTo>
                    <a:pt x="302" y="303"/>
                  </a:lnTo>
                  <a:lnTo>
                    <a:pt x="300" y="303"/>
                  </a:lnTo>
                  <a:lnTo>
                    <a:pt x="300" y="305"/>
                  </a:lnTo>
                  <a:lnTo>
                    <a:pt x="302" y="305"/>
                  </a:lnTo>
                  <a:lnTo>
                    <a:pt x="304" y="305"/>
                  </a:lnTo>
                  <a:lnTo>
                    <a:pt x="306" y="305"/>
                  </a:lnTo>
                  <a:lnTo>
                    <a:pt x="307" y="305"/>
                  </a:lnTo>
                  <a:lnTo>
                    <a:pt x="307" y="306"/>
                  </a:lnTo>
                  <a:lnTo>
                    <a:pt x="306" y="306"/>
                  </a:lnTo>
                  <a:lnTo>
                    <a:pt x="306" y="308"/>
                  </a:lnTo>
                  <a:lnTo>
                    <a:pt x="307" y="310"/>
                  </a:lnTo>
                  <a:lnTo>
                    <a:pt x="307" y="311"/>
                  </a:lnTo>
                  <a:lnTo>
                    <a:pt x="306" y="311"/>
                  </a:lnTo>
                  <a:lnTo>
                    <a:pt x="307" y="311"/>
                  </a:lnTo>
                  <a:lnTo>
                    <a:pt x="306" y="311"/>
                  </a:lnTo>
                  <a:lnTo>
                    <a:pt x="304" y="310"/>
                  </a:lnTo>
                  <a:lnTo>
                    <a:pt x="304" y="311"/>
                  </a:lnTo>
                  <a:lnTo>
                    <a:pt x="304" y="310"/>
                  </a:lnTo>
                  <a:lnTo>
                    <a:pt x="306" y="310"/>
                  </a:lnTo>
                  <a:lnTo>
                    <a:pt x="306" y="311"/>
                  </a:lnTo>
                  <a:lnTo>
                    <a:pt x="304" y="311"/>
                  </a:lnTo>
                  <a:lnTo>
                    <a:pt x="307" y="313"/>
                  </a:lnTo>
                  <a:lnTo>
                    <a:pt x="307" y="315"/>
                  </a:lnTo>
                  <a:lnTo>
                    <a:pt x="307" y="317"/>
                  </a:lnTo>
                  <a:lnTo>
                    <a:pt x="309" y="317"/>
                  </a:lnTo>
                  <a:lnTo>
                    <a:pt x="311" y="318"/>
                  </a:lnTo>
                  <a:lnTo>
                    <a:pt x="311" y="317"/>
                  </a:lnTo>
                  <a:lnTo>
                    <a:pt x="311" y="315"/>
                  </a:lnTo>
                  <a:lnTo>
                    <a:pt x="312" y="317"/>
                  </a:lnTo>
                  <a:lnTo>
                    <a:pt x="311" y="317"/>
                  </a:lnTo>
                  <a:lnTo>
                    <a:pt x="312" y="317"/>
                  </a:lnTo>
                  <a:lnTo>
                    <a:pt x="314" y="318"/>
                  </a:lnTo>
                  <a:lnTo>
                    <a:pt x="314" y="317"/>
                  </a:lnTo>
                  <a:lnTo>
                    <a:pt x="316" y="318"/>
                  </a:lnTo>
                  <a:lnTo>
                    <a:pt x="314" y="318"/>
                  </a:lnTo>
                  <a:lnTo>
                    <a:pt x="316" y="320"/>
                  </a:lnTo>
                  <a:lnTo>
                    <a:pt x="317" y="320"/>
                  </a:lnTo>
                  <a:lnTo>
                    <a:pt x="317" y="322"/>
                  </a:lnTo>
                  <a:lnTo>
                    <a:pt x="317" y="320"/>
                  </a:lnTo>
                  <a:lnTo>
                    <a:pt x="317" y="322"/>
                  </a:lnTo>
                  <a:lnTo>
                    <a:pt x="316" y="322"/>
                  </a:lnTo>
                  <a:lnTo>
                    <a:pt x="314" y="320"/>
                  </a:lnTo>
                  <a:lnTo>
                    <a:pt x="314" y="322"/>
                  </a:lnTo>
                  <a:lnTo>
                    <a:pt x="316" y="322"/>
                  </a:lnTo>
                  <a:lnTo>
                    <a:pt x="316" y="325"/>
                  </a:lnTo>
                  <a:lnTo>
                    <a:pt x="317" y="327"/>
                  </a:lnTo>
                  <a:lnTo>
                    <a:pt x="317" y="323"/>
                  </a:lnTo>
                  <a:lnTo>
                    <a:pt x="319" y="325"/>
                  </a:lnTo>
                  <a:lnTo>
                    <a:pt x="319" y="323"/>
                  </a:lnTo>
                  <a:lnTo>
                    <a:pt x="321" y="325"/>
                  </a:lnTo>
                  <a:lnTo>
                    <a:pt x="321" y="327"/>
                  </a:lnTo>
                  <a:lnTo>
                    <a:pt x="319" y="327"/>
                  </a:lnTo>
                  <a:lnTo>
                    <a:pt x="319" y="329"/>
                  </a:lnTo>
                  <a:lnTo>
                    <a:pt x="317" y="329"/>
                  </a:lnTo>
                  <a:lnTo>
                    <a:pt x="317" y="332"/>
                  </a:lnTo>
                  <a:lnTo>
                    <a:pt x="317" y="330"/>
                  </a:lnTo>
                  <a:lnTo>
                    <a:pt x="317" y="334"/>
                  </a:lnTo>
                  <a:lnTo>
                    <a:pt x="316" y="334"/>
                  </a:lnTo>
                  <a:lnTo>
                    <a:pt x="316" y="335"/>
                  </a:lnTo>
                  <a:lnTo>
                    <a:pt x="314" y="335"/>
                  </a:lnTo>
                  <a:lnTo>
                    <a:pt x="314" y="337"/>
                  </a:lnTo>
                  <a:lnTo>
                    <a:pt x="312" y="337"/>
                  </a:lnTo>
                  <a:lnTo>
                    <a:pt x="312" y="339"/>
                  </a:lnTo>
                  <a:lnTo>
                    <a:pt x="311" y="337"/>
                  </a:lnTo>
                  <a:lnTo>
                    <a:pt x="311" y="339"/>
                  </a:lnTo>
                  <a:lnTo>
                    <a:pt x="309" y="340"/>
                  </a:lnTo>
                  <a:lnTo>
                    <a:pt x="311" y="340"/>
                  </a:lnTo>
                  <a:lnTo>
                    <a:pt x="309" y="342"/>
                  </a:lnTo>
                  <a:lnTo>
                    <a:pt x="309" y="344"/>
                  </a:lnTo>
                  <a:lnTo>
                    <a:pt x="309" y="346"/>
                  </a:lnTo>
                  <a:lnTo>
                    <a:pt x="306" y="344"/>
                  </a:lnTo>
                  <a:lnTo>
                    <a:pt x="307" y="346"/>
                  </a:lnTo>
                  <a:lnTo>
                    <a:pt x="306" y="346"/>
                  </a:lnTo>
                  <a:lnTo>
                    <a:pt x="306" y="347"/>
                  </a:lnTo>
                  <a:lnTo>
                    <a:pt x="306" y="349"/>
                  </a:lnTo>
                  <a:lnTo>
                    <a:pt x="304" y="349"/>
                  </a:lnTo>
                  <a:lnTo>
                    <a:pt x="304" y="352"/>
                  </a:lnTo>
                  <a:lnTo>
                    <a:pt x="304" y="354"/>
                  </a:lnTo>
                  <a:lnTo>
                    <a:pt x="304" y="357"/>
                  </a:lnTo>
                  <a:lnTo>
                    <a:pt x="302" y="357"/>
                  </a:lnTo>
                  <a:lnTo>
                    <a:pt x="304" y="359"/>
                  </a:lnTo>
                  <a:lnTo>
                    <a:pt x="304" y="361"/>
                  </a:lnTo>
                  <a:lnTo>
                    <a:pt x="304" y="363"/>
                  </a:lnTo>
                  <a:lnTo>
                    <a:pt x="302" y="363"/>
                  </a:lnTo>
                  <a:lnTo>
                    <a:pt x="302" y="364"/>
                  </a:lnTo>
                  <a:lnTo>
                    <a:pt x="300" y="366"/>
                  </a:lnTo>
                  <a:lnTo>
                    <a:pt x="302" y="368"/>
                  </a:lnTo>
                  <a:lnTo>
                    <a:pt x="300" y="368"/>
                  </a:lnTo>
                  <a:lnTo>
                    <a:pt x="300" y="371"/>
                  </a:lnTo>
                  <a:lnTo>
                    <a:pt x="300" y="373"/>
                  </a:lnTo>
                  <a:lnTo>
                    <a:pt x="299" y="371"/>
                  </a:lnTo>
                  <a:lnTo>
                    <a:pt x="300" y="373"/>
                  </a:lnTo>
                  <a:lnTo>
                    <a:pt x="299" y="373"/>
                  </a:lnTo>
                  <a:lnTo>
                    <a:pt x="299" y="371"/>
                  </a:lnTo>
                  <a:lnTo>
                    <a:pt x="297" y="373"/>
                  </a:lnTo>
                  <a:lnTo>
                    <a:pt x="299" y="374"/>
                  </a:lnTo>
                  <a:lnTo>
                    <a:pt x="299" y="373"/>
                  </a:lnTo>
                  <a:lnTo>
                    <a:pt x="299" y="374"/>
                  </a:lnTo>
                  <a:lnTo>
                    <a:pt x="299" y="376"/>
                  </a:lnTo>
                  <a:lnTo>
                    <a:pt x="299" y="374"/>
                  </a:lnTo>
                  <a:lnTo>
                    <a:pt x="299" y="376"/>
                  </a:lnTo>
                  <a:lnTo>
                    <a:pt x="297" y="374"/>
                  </a:lnTo>
                  <a:lnTo>
                    <a:pt x="295" y="376"/>
                  </a:lnTo>
                  <a:lnTo>
                    <a:pt x="295" y="378"/>
                  </a:lnTo>
                  <a:lnTo>
                    <a:pt x="295" y="376"/>
                  </a:lnTo>
                  <a:lnTo>
                    <a:pt x="294" y="376"/>
                  </a:lnTo>
                  <a:lnTo>
                    <a:pt x="295" y="376"/>
                  </a:lnTo>
                  <a:lnTo>
                    <a:pt x="295" y="380"/>
                  </a:lnTo>
                  <a:lnTo>
                    <a:pt x="297" y="381"/>
                  </a:lnTo>
                  <a:lnTo>
                    <a:pt x="295" y="381"/>
                  </a:lnTo>
                  <a:lnTo>
                    <a:pt x="295" y="380"/>
                  </a:lnTo>
                  <a:lnTo>
                    <a:pt x="294" y="378"/>
                  </a:lnTo>
                  <a:lnTo>
                    <a:pt x="294" y="376"/>
                  </a:lnTo>
                  <a:lnTo>
                    <a:pt x="292" y="374"/>
                  </a:lnTo>
                  <a:lnTo>
                    <a:pt x="294" y="374"/>
                  </a:lnTo>
                  <a:lnTo>
                    <a:pt x="294" y="378"/>
                  </a:lnTo>
                  <a:lnTo>
                    <a:pt x="292" y="381"/>
                  </a:lnTo>
                  <a:lnTo>
                    <a:pt x="292" y="383"/>
                  </a:lnTo>
                  <a:lnTo>
                    <a:pt x="292" y="385"/>
                  </a:lnTo>
                  <a:lnTo>
                    <a:pt x="292" y="383"/>
                  </a:lnTo>
                  <a:lnTo>
                    <a:pt x="290" y="386"/>
                  </a:lnTo>
                  <a:lnTo>
                    <a:pt x="290" y="385"/>
                  </a:lnTo>
                  <a:lnTo>
                    <a:pt x="289" y="386"/>
                  </a:lnTo>
                  <a:lnTo>
                    <a:pt x="290" y="383"/>
                  </a:lnTo>
                  <a:lnTo>
                    <a:pt x="289" y="381"/>
                  </a:lnTo>
                  <a:lnTo>
                    <a:pt x="289" y="380"/>
                  </a:lnTo>
                  <a:lnTo>
                    <a:pt x="287" y="376"/>
                  </a:lnTo>
                  <a:lnTo>
                    <a:pt x="285" y="376"/>
                  </a:lnTo>
                  <a:lnTo>
                    <a:pt x="287" y="378"/>
                  </a:lnTo>
                  <a:lnTo>
                    <a:pt x="289" y="381"/>
                  </a:lnTo>
                  <a:lnTo>
                    <a:pt x="287" y="383"/>
                  </a:lnTo>
                  <a:lnTo>
                    <a:pt x="289" y="385"/>
                  </a:lnTo>
                  <a:lnTo>
                    <a:pt x="289" y="388"/>
                  </a:lnTo>
                  <a:lnTo>
                    <a:pt x="287" y="386"/>
                  </a:lnTo>
                  <a:lnTo>
                    <a:pt x="287" y="388"/>
                  </a:lnTo>
                  <a:lnTo>
                    <a:pt x="287" y="386"/>
                  </a:lnTo>
                  <a:lnTo>
                    <a:pt x="287" y="385"/>
                  </a:lnTo>
                  <a:lnTo>
                    <a:pt x="287" y="383"/>
                  </a:lnTo>
                  <a:lnTo>
                    <a:pt x="287" y="381"/>
                  </a:lnTo>
                  <a:lnTo>
                    <a:pt x="287" y="383"/>
                  </a:lnTo>
                  <a:lnTo>
                    <a:pt x="287" y="385"/>
                  </a:lnTo>
                  <a:lnTo>
                    <a:pt x="287" y="383"/>
                  </a:lnTo>
                  <a:lnTo>
                    <a:pt x="287" y="385"/>
                  </a:lnTo>
                  <a:lnTo>
                    <a:pt x="285" y="386"/>
                  </a:lnTo>
                  <a:lnTo>
                    <a:pt x="287" y="386"/>
                  </a:lnTo>
                  <a:lnTo>
                    <a:pt x="287" y="388"/>
                  </a:lnTo>
                  <a:lnTo>
                    <a:pt x="283" y="388"/>
                  </a:lnTo>
                  <a:lnTo>
                    <a:pt x="282" y="390"/>
                  </a:lnTo>
                  <a:lnTo>
                    <a:pt x="280" y="388"/>
                  </a:lnTo>
                  <a:lnTo>
                    <a:pt x="278" y="388"/>
                  </a:lnTo>
                  <a:lnTo>
                    <a:pt x="278" y="391"/>
                  </a:lnTo>
                  <a:lnTo>
                    <a:pt x="280" y="393"/>
                  </a:lnTo>
                  <a:lnTo>
                    <a:pt x="277" y="391"/>
                  </a:lnTo>
                  <a:lnTo>
                    <a:pt x="277" y="393"/>
                  </a:lnTo>
                  <a:lnTo>
                    <a:pt x="277" y="391"/>
                  </a:lnTo>
                  <a:lnTo>
                    <a:pt x="277" y="395"/>
                  </a:lnTo>
                  <a:lnTo>
                    <a:pt x="275" y="393"/>
                  </a:lnTo>
                  <a:lnTo>
                    <a:pt x="275" y="395"/>
                  </a:lnTo>
                  <a:lnTo>
                    <a:pt x="275" y="397"/>
                  </a:lnTo>
                  <a:lnTo>
                    <a:pt x="273" y="397"/>
                  </a:lnTo>
                  <a:lnTo>
                    <a:pt x="272" y="400"/>
                  </a:lnTo>
                  <a:lnTo>
                    <a:pt x="272" y="398"/>
                  </a:lnTo>
                  <a:lnTo>
                    <a:pt x="272" y="400"/>
                  </a:lnTo>
                  <a:lnTo>
                    <a:pt x="273" y="403"/>
                  </a:lnTo>
                  <a:lnTo>
                    <a:pt x="273" y="405"/>
                  </a:lnTo>
                  <a:lnTo>
                    <a:pt x="272" y="403"/>
                  </a:lnTo>
                  <a:lnTo>
                    <a:pt x="273" y="405"/>
                  </a:lnTo>
                  <a:lnTo>
                    <a:pt x="272" y="405"/>
                  </a:lnTo>
                  <a:lnTo>
                    <a:pt x="270" y="407"/>
                  </a:lnTo>
                  <a:lnTo>
                    <a:pt x="270" y="405"/>
                  </a:lnTo>
                  <a:lnTo>
                    <a:pt x="268" y="403"/>
                  </a:lnTo>
                  <a:lnTo>
                    <a:pt x="268" y="402"/>
                  </a:lnTo>
                  <a:lnTo>
                    <a:pt x="266" y="400"/>
                  </a:lnTo>
                  <a:lnTo>
                    <a:pt x="265" y="400"/>
                  </a:lnTo>
                  <a:lnTo>
                    <a:pt x="265" y="398"/>
                  </a:lnTo>
                  <a:lnTo>
                    <a:pt x="263" y="397"/>
                  </a:lnTo>
                  <a:lnTo>
                    <a:pt x="263" y="398"/>
                  </a:lnTo>
                  <a:lnTo>
                    <a:pt x="261" y="398"/>
                  </a:lnTo>
                  <a:lnTo>
                    <a:pt x="263" y="400"/>
                  </a:lnTo>
                  <a:lnTo>
                    <a:pt x="263" y="402"/>
                  </a:lnTo>
                  <a:lnTo>
                    <a:pt x="265" y="403"/>
                  </a:lnTo>
                  <a:lnTo>
                    <a:pt x="265" y="405"/>
                  </a:lnTo>
                  <a:lnTo>
                    <a:pt x="265" y="407"/>
                  </a:lnTo>
                  <a:lnTo>
                    <a:pt x="266" y="407"/>
                  </a:lnTo>
                  <a:lnTo>
                    <a:pt x="265" y="407"/>
                  </a:lnTo>
                  <a:lnTo>
                    <a:pt x="266" y="408"/>
                  </a:lnTo>
                  <a:lnTo>
                    <a:pt x="265" y="408"/>
                  </a:lnTo>
                  <a:lnTo>
                    <a:pt x="265" y="407"/>
                  </a:lnTo>
                  <a:lnTo>
                    <a:pt x="263" y="407"/>
                  </a:lnTo>
                  <a:lnTo>
                    <a:pt x="263" y="405"/>
                  </a:lnTo>
                  <a:lnTo>
                    <a:pt x="261" y="405"/>
                  </a:lnTo>
                  <a:lnTo>
                    <a:pt x="260" y="403"/>
                  </a:lnTo>
                  <a:lnTo>
                    <a:pt x="260" y="405"/>
                  </a:lnTo>
                  <a:lnTo>
                    <a:pt x="260" y="403"/>
                  </a:lnTo>
                  <a:lnTo>
                    <a:pt x="261" y="407"/>
                  </a:lnTo>
                  <a:lnTo>
                    <a:pt x="260" y="405"/>
                  </a:lnTo>
                  <a:lnTo>
                    <a:pt x="258" y="405"/>
                  </a:lnTo>
                  <a:lnTo>
                    <a:pt x="258" y="407"/>
                  </a:lnTo>
                  <a:lnTo>
                    <a:pt x="258" y="408"/>
                  </a:lnTo>
                  <a:lnTo>
                    <a:pt x="258" y="410"/>
                  </a:lnTo>
                  <a:lnTo>
                    <a:pt x="258" y="412"/>
                  </a:lnTo>
                  <a:lnTo>
                    <a:pt x="258" y="415"/>
                  </a:lnTo>
                  <a:lnTo>
                    <a:pt x="258" y="414"/>
                  </a:lnTo>
                  <a:lnTo>
                    <a:pt x="256" y="415"/>
                  </a:lnTo>
                  <a:lnTo>
                    <a:pt x="256" y="417"/>
                  </a:lnTo>
                  <a:lnTo>
                    <a:pt x="255" y="415"/>
                  </a:lnTo>
                  <a:lnTo>
                    <a:pt x="255" y="419"/>
                  </a:lnTo>
                  <a:lnTo>
                    <a:pt x="255" y="420"/>
                  </a:lnTo>
                  <a:lnTo>
                    <a:pt x="255" y="422"/>
                  </a:lnTo>
                  <a:lnTo>
                    <a:pt x="253" y="420"/>
                  </a:lnTo>
                  <a:lnTo>
                    <a:pt x="251" y="422"/>
                  </a:lnTo>
                  <a:lnTo>
                    <a:pt x="253" y="424"/>
                  </a:lnTo>
                  <a:lnTo>
                    <a:pt x="253" y="422"/>
                  </a:lnTo>
                  <a:lnTo>
                    <a:pt x="253" y="424"/>
                  </a:lnTo>
                  <a:lnTo>
                    <a:pt x="255" y="422"/>
                  </a:lnTo>
                  <a:lnTo>
                    <a:pt x="255" y="424"/>
                  </a:lnTo>
                  <a:lnTo>
                    <a:pt x="253" y="425"/>
                  </a:lnTo>
                  <a:lnTo>
                    <a:pt x="251" y="424"/>
                  </a:lnTo>
                  <a:lnTo>
                    <a:pt x="249" y="424"/>
                  </a:lnTo>
                  <a:lnTo>
                    <a:pt x="249" y="422"/>
                  </a:lnTo>
                  <a:lnTo>
                    <a:pt x="249" y="424"/>
                  </a:lnTo>
                  <a:lnTo>
                    <a:pt x="248" y="422"/>
                  </a:lnTo>
                  <a:lnTo>
                    <a:pt x="248" y="420"/>
                  </a:lnTo>
                  <a:lnTo>
                    <a:pt x="246" y="419"/>
                  </a:lnTo>
                  <a:lnTo>
                    <a:pt x="246" y="422"/>
                  </a:lnTo>
                  <a:lnTo>
                    <a:pt x="246" y="420"/>
                  </a:lnTo>
                  <a:lnTo>
                    <a:pt x="244" y="422"/>
                  </a:lnTo>
                  <a:lnTo>
                    <a:pt x="241" y="420"/>
                  </a:lnTo>
                  <a:lnTo>
                    <a:pt x="241" y="422"/>
                  </a:lnTo>
                  <a:lnTo>
                    <a:pt x="243" y="422"/>
                  </a:lnTo>
                  <a:lnTo>
                    <a:pt x="244" y="424"/>
                  </a:lnTo>
                  <a:lnTo>
                    <a:pt x="248" y="424"/>
                  </a:lnTo>
                  <a:lnTo>
                    <a:pt x="248" y="425"/>
                  </a:lnTo>
                  <a:lnTo>
                    <a:pt x="246" y="425"/>
                  </a:lnTo>
                  <a:lnTo>
                    <a:pt x="244" y="427"/>
                  </a:lnTo>
                  <a:lnTo>
                    <a:pt x="244" y="425"/>
                  </a:lnTo>
                  <a:lnTo>
                    <a:pt x="244" y="427"/>
                  </a:lnTo>
                  <a:lnTo>
                    <a:pt x="244" y="429"/>
                  </a:lnTo>
                  <a:lnTo>
                    <a:pt x="243" y="427"/>
                  </a:lnTo>
                  <a:lnTo>
                    <a:pt x="243" y="425"/>
                  </a:lnTo>
                  <a:lnTo>
                    <a:pt x="244" y="425"/>
                  </a:lnTo>
                  <a:lnTo>
                    <a:pt x="243" y="424"/>
                  </a:lnTo>
                  <a:lnTo>
                    <a:pt x="241" y="424"/>
                  </a:lnTo>
                  <a:lnTo>
                    <a:pt x="243" y="425"/>
                  </a:lnTo>
                  <a:lnTo>
                    <a:pt x="243" y="427"/>
                  </a:lnTo>
                  <a:lnTo>
                    <a:pt x="243" y="429"/>
                  </a:lnTo>
                  <a:lnTo>
                    <a:pt x="241" y="429"/>
                  </a:lnTo>
                  <a:lnTo>
                    <a:pt x="241" y="427"/>
                  </a:lnTo>
                  <a:lnTo>
                    <a:pt x="239" y="429"/>
                  </a:lnTo>
                  <a:lnTo>
                    <a:pt x="239" y="431"/>
                  </a:lnTo>
                  <a:lnTo>
                    <a:pt x="239" y="432"/>
                  </a:lnTo>
                  <a:lnTo>
                    <a:pt x="238" y="432"/>
                  </a:lnTo>
                  <a:lnTo>
                    <a:pt x="238" y="431"/>
                  </a:lnTo>
                  <a:lnTo>
                    <a:pt x="238" y="434"/>
                  </a:lnTo>
                  <a:lnTo>
                    <a:pt x="236" y="436"/>
                  </a:lnTo>
                  <a:lnTo>
                    <a:pt x="238" y="436"/>
                  </a:lnTo>
                  <a:lnTo>
                    <a:pt x="236" y="437"/>
                  </a:lnTo>
                  <a:lnTo>
                    <a:pt x="236" y="441"/>
                  </a:lnTo>
                  <a:lnTo>
                    <a:pt x="236" y="439"/>
                  </a:lnTo>
                  <a:lnTo>
                    <a:pt x="234" y="437"/>
                  </a:lnTo>
                  <a:lnTo>
                    <a:pt x="232" y="437"/>
                  </a:lnTo>
                  <a:lnTo>
                    <a:pt x="232" y="439"/>
                  </a:lnTo>
                  <a:lnTo>
                    <a:pt x="234" y="439"/>
                  </a:lnTo>
                  <a:lnTo>
                    <a:pt x="236" y="441"/>
                  </a:lnTo>
                  <a:lnTo>
                    <a:pt x="232" y="441"/>
                  </a:lnTo>
                  <a:lnTo>
                    <a:pt x="231" y="439"/>
                  </a:lnTo>
                  <a:lnTo>
                    <a:pt x="232" y="441"/>
                  </a:lnTo>
                  <a:lnTo>
                    <a:pt x="229" y="442"/>
                  </a:lnTo>
                  <a:lnTo>
                    <a:pt x="227" y="442"/>
                  </a:lnTo>
                  <a:lnTo>
                    <a:pt x="231" y="442"/>
                  </a:lnTo>
                  <a:lnTo>
                    <a:pt x="232" y="444"/>
                  </a:lnTo>
                  <a:lnTo>
                    <a:pt x="232" y="442"/>
                  </a:lnTo>
                  <a:lnTo>
                    <a:pt x="234" y="441"/>
                  </a:lnTo>
                  <a:lnTo>
                    <a:pt x="238" y="442"/>
                  </a:lnTo>
                  <a:lnTo>
                    <a:pt x="239" y="444"/>
                  </a:lnTo>
                  <a:lnTo>
                    <a:pt x="238" y="442"/>
                  </a:lnTo>
                  <a:lnTo>
                    <a:pt x="238" y="444"/>
                  </a:lnTo>
                  <a:lnTo>
                    <a:pt x="236" y="444"/>
                  </a:lnTo>
                  <a:lnTo>
                    <a:pt x="234" y="442"/>
                  </a:lnTo>
                  <a:lnTo>
                    <a:pt x="234" y="446"/>
                  </a:lnTo>
                  <a:lnTo>
                    <a:pt x="234" y="444"/>
                  </a:lnTo>
                  <a:lnTo>
                    <a:pt x="236" y="446"/>
                  </a:lnTo>
                  <a:lnTo>
                    <a:pt x="236" y="448"/>
                  </a:lnTo>
                  <a:lnTo>
                    <a:pt x="238" y="446"/>
                  </a:lnTo>
                  <a:lnTo>
                    <a:pt x="239" y="448"/>
                  </a:lnTo>
                  <a:lnTo>
                    <a:pt x="238" y="449"/>
                  </a:lnTo>
                  <a:lnTo>
                    <a:pt x="238" y="448"/>
                  </a:lnTo>
                  <a:lnTo>
                    <a:pt x="238" y="449"/>
                  </a:lnTo>
                  <a:lnTo>
                    <a:pt x="234" y="448"/>
                  </a:lnTo>
                  <a:lnTo>
                    <a:pt x="238" y="449"/>
                  </a:lnTo>
                  <a:lnTo>
                    <a:pt x="238" y="451"/>
                  </a:lnTo>
                  <a:lnTo>
                    <a:pt x="236" y="451"/>
                  </a:lnTo>
                  <a:lnTo>
                    <a:pt x="236" y="453"/>
                  </a:lnTo>
                  <a:lnTo>
                    <a:pt x="234" y="454"/>
                  </a:lnTo>
                  <a:lnTo>
                    <a:pt x="232" y="453"/>
                  </a:lnTo>
                  <a:lnTo>
                    <a:pt x="232" y="451"/>
                  </a:lnTo>
                  <a:lnTo>
                    <a:pt x="232" y="453"/>
                  </a:lnTo>
                  <a:lnTo>
                    <a:pt x="231" y="449"/>
                  </a:lnTo>
                  <a:lnTo>
                    <a:pt x="229" y="449"/>
                  </a:lnTo>
                  <a:lnTo>
                    <a:pt x="231" y="451"/>
                  </a:lnTo>
                  <a:lnTo>
                    <a:pt x="229" y="451"/>
                  </a:lnTo>
                  <a:lnTo>
                    <a:pt x="229" y="454"/>
                  </a:lnTo>
                  <a:lnTo>
                    <a:pt x="231" y="453"/>
                  </a:lnTo>
                  <a:lnTo>
                    <a:pt x="232" y="453"/>
                  </a:lnTo>
                  <a:lnTo>
                    <a:pt x="232" y="454"/>
                  </a:lnTo>
                  <a:lnTo>
                    <a:pt x="231" y="456"/>
                  </a:lnTo>
                  <a:lnTo>
                    <a:pt x="229" y="458"/>
                  </a:lnTo>
                  <a:lnTo>
                    <a:pt x="229" y="454"/>
                  </a:lnTo>
                  <a:lnTo>
                    <a:pt x="227" y="458"/>
                  </a:lnTo>
                  <a:lnTo>
                    <a:pt x="227" y="459"/>
                  </a:lnTo>
                  <a:lnTo>
                    <a:pt x="226" y="458"/>
                  </a:lnTo>
                  <a:lnTo>
                    <a:pt x="222" y="458"/>
                  </a:lnTo>
                  <a:lnTo>
                    <a:pt x="222" y="456"/>
                  </a:lnTo>
                  <a:lnTo>
                    <a:pt x="224" y="456"/>
                  </a:lnTo>
                  <a:lnTo>
                    <a:pt x="226" y="456"/>
                  </a:lnTo>
                  <a:lnTo>
                    <a:pt x="227" y="456"/>
                  </a:lnTo>
                  <a:lnTo>
                    <a:pt x="227" y="454"/>
                  </a:lnTo>
                  <a:lnTo>
                    <a:pt x="227" y="456"/>
                  </a:lnTo>
                  <a:lnTo>
                    <a:pt x="226" y="454"/>
                  </a:lnTo>
                  <a:lnTo>
                    <a:pt x="224" y="454"/>
                  </a:lnTo>
                  <a:lnTo>
                    <a:pt x="224" y="453"/>
                  </a:lnTo>
                  <a:lnTo>
                    <a:pt x="222" y="456"/>
                  </a:lnTo>
                  <a:lnTo>
                    <a:pt x="221" y="458"/>
                  </a:lnTo>
                  <a:lnTo>
                    <a:pt x="221" y="456"/>
                  </a:lnTo>
                  <a:lnTo>
                    <a:pt x="221" y="454"/>
                  </a:lnTo>
                  <a:lnTo>
                    <a:pt x="219" y="453"/>
                  </a:lnTo>
                  <a:lnTo>
                    <a:pt x="219" y="449"/>
                  </a:lnTo>
                  <a:lnTo>
                    <a:pt x="217" y="448"/>
                  </a:lnTo>
                  <a:lnTo>
                    <a:pt x="215" y="446"/>
                  </a:lnTo>
                  <a:lnTo>
                    <a:pt x="219" y="446"/>
                  </a:lnTo>
                  <a:lnTo>
                    <a:pt x="217" y="446"/>
                  </a:lnTo>
                  <a:lnTo>
                    <a:pt x="215" y="446"/>
                  </a:lnTo>
                  <a:lnTo>
                    <a:pt x="215" y="444"/>
                  </a:lnTo>
                  <a:lnTo>
                    <a:pt x="214" y="442"/>
                  </a:lnTo>
                  <a:lnTo>
                    <a:pt x="214" y="444"/>
                  </a:lnTo>
                  <a:lnTo>
                    <a:pt x="214" y="446"/>
                  </a:lnTo>
                  <a:lnTo>
                    <a:pt x="210" y="444"/>
                  </a:lnTo>
                  <a:lnTo>
                    <a:pt x="212" y="446"/>
                  </a:lnTo>
                  <a:lnTo>
                    <a:pt x="214" y="446"/>
                  </a:lnTo>
                  <a:lnTo>
                    <a:pt x="215" y="449"/>
                  </a:lnTo>
                  <a:lnTo>
                    <a:pt x="217" y="449"/>
                  </a:lnTo>
                  <a:lnTo>
                    <a:pt x="215" y="449"/>
                  </a:lnTo>
                  <a:lnTo>
                    <a:pt x="217" y="451"/>
                  </a:lnTo>
                  <a:lnTo>
                    <a:pt x="217" y="453"/>
                  </a:lnTo>
                  <a:lnTo>
                    <a:pt x="219" y="453"/>
                  </a:lnTo>
                  <a:lnTo>
                    <a:pt x="219" y="454"/>
                  </a:lnTo>
                  <a:lnTo>
                    <a:pt x="219" y="453"/>
                  </a:lnTo>
                  <a:lnTo>
                    <a:pt x="219" y="456"/>
                  </a:lnTo>
                  <a:lnTo>
                    <a:pt x="221" y="458"/>
                  </a:lnTo>
                  <a:lnTo>
                    <a:pt x="221" y="459"/>
                  </a:lnTo>
                  <a:lnTo>
                    <a:pt x="222" y="461"/>
                  </a:lnTo>
                  <a:lnTo>
                    <a:pt x="222" y="463"/>
                  </a:lnTo>
                  <a:lnTo>
                    <a:pt x="224" y="465"/>
                  </a:lnTo>
                  <a:lnTo>
                    <a:pt x="222" y="466"/>
                  </a:lnTo>
                  <a:lnTo>
                    <a:pt x="224" y="468"/>
                  </a:lnTo>
                  <a:lnTo>
                    <a:pt x="222" y="466"/>
                  </a:lnTo>
                  <a:lnTo>
                    <a:pt x="219" y="468"/>
                  </a:lnTo>
                  <a:lnTo>
                    <a:pt x="222" y="468"/>
                  </a:lnTo>
                  <a:lnTo>
                    <a:pt x="222" y="470"/>
                  </a:lnTo>
                  <a:lnTo>
                    <a:pt x="222" y="468"/>
                  </a:lnTo>
                  <a:lnTo>
                    <a:pt x="224" y="470"/>
                  </a:lnTo>
                  <a:lnTo>
                    <a:pt x="227" y="471"/>
                  </a:lnTo>
                  <a:lnTo>
                    <a:pt x="226" y="471"/>
                  </a:lnTo>
                  <a:lnTo>
                    <a:pt x="226" y="473"/>
                  </a:lnTo>
                  <a:lnTo>
                    <a:pt x="222" y="475"/>
                  </a:lnTo>
                  <a:lnTo>
                    <a:pt x="224" y="475"/>
                  </a:lnTo>
                  <a:lnTo>
                    <a:pt x="222" y="475"/>
                  </a:lnTo>
                  <a:lnTo>
                    <a:pt x="222" y="473"/>
                  </a:lnTo>
                  <a:lnTo>
                    <a:pt x="222" y="471"/>
                  </a:lnTo>
                  <a:lnTo>
                    <a:pt x="222" y="470"/>
                  </a:lnTo>
                  <a:lnTo>
                    <a:pt x="221" y="471"/>
                  </a:lnTo>
                  <a:lnTo>
                    <a:pt x="222" y="471"/>
                  </a:lnTo>
                  <a:lnTo>
                    <a:pt x="222" y="473"/>
                  </a:lnTo>
                  <a:lnTo>
                    <a:pt x="222" y="475"/>
                  </a:lnTo>
                  <a:lnTo>
                    <a:pt x="222" y="476"/>
                  </a:lnTo>
                  <a:lnTo>
                    <a:pt x="221" y="475"/>
                  </a:lnTo>
                  <a:lnTo>
                    <a:pt x="222" y="478"/>
                  </a:lnTo>
                  <a:lnTo>
                    <a:pt x="221" y="480"/>
                  </a:lnTo>
                  <a:lnTo>
                    <a:pt x="219" y="480"/>
                  </a:lnTo>
                  <a:lnTo>
                    <a:pt x="219" y="482"/>
                  </a:lnTo>
                  <a:lnTo>
                    <a:pt x="219" y="480"/>
                  </a:lnTo>
                  <a:lnTo>
                    <a:pt x="215" y="478"/>
                  </a:lnTo>
                  <a:lnTo>
                    <a:pt x="215" y="480"/>
                  </a:lnTo>
                  <a:lnTo>
                    <a:pt x="214" y="482"/>
                  </a:lnTo>
                  <a:lnTo>
                    <a:pt x="215" y="483"/>
                  </a:lnTo>
                  <a:lnTo>
                    <a:pt x="217" y="483"/>
                  </a:lnTo>
                  <a:lnTo>
                    <a:pt x="215" y="485"/>
                  </a:lnTo>
                  <a:lnTo>
                    <a:pt x="217" y="485"/>
                  </a:lnTo>
                  <a:lnTo>
                    <a:pt x="217" y="488"/>
                  </a:lnTo>
                  <a:lnTo>
                    <a:pt x="217" y="487"/>
                  </a:lnTo>
                  <a:lnTo>
                    <a:pt x="215" y="487"/>
                  </a:lnTo>
                  <a:lnTo>
                    <a:pt x="214" y="487"/>
                  </a:lnTo>
                  <a:lnTo>
                    <a:pt x="214" y="485"/>
                  </a:lnTo>
                  <a:lnTo>
                    <a:pt x="210" y="483"/>
                  </a:lnTo>
                  <a:lnTo>
                    <a:pt x="210" y="482"/>
                  </a:lnTo>
                  <a:lnTo>
                    <a:pt x="209" y="480"/>
                  </a:lnTo>
                  <a:lnTo>
                    <a:pt x="207" y="478"/>
                  </a:lnTo>
                  <a:lnTo>
                    <a:pt x="207" y="476"/>
                  </a:lnTo>
                  <a:lnTo>
                    <a:pt x="205" y="480"/>
                  </a:lnTo>
                  <a:lnTo>
                    <a:pt x="205" y="478"/>
                  </a:lnTo>
                  <a:lnTo>
                    <a:pt x="207" y="476"/>
                  </a:lnTo>
                  <a:lnTo>
                    <a:pt x="207" y="478"/>
                  </a:lnTo>
                  <a:lnTo>
                    <a:pt x="207" y="480"/>
                  </a:lnTo>
                  <a:lnTo>
                    <a:pt x="204" y="482"/>
                  </a:lnTo>
                  <a:lnTo>
                    <a:pt x="204" y="483"/>
                  </a:lnTo>
                  <a:lnTo>
                    <a:pt x="205" y="483"/>
                  </a:lnTo>
                  <a:lnTo>
                    <a:pt x="207" y="485"/>
                  </a:lnTo>
                  <a:lnTo>
                    <a:pt x="207" y="488"/>
                  </a:lnTo>
                  <a:lnTo>
                    <a:pt x="204" y="488"/>
                  </a:lnTo>
                  <a:lnTo>
                    <a:pt x="205" y="490"/>
                  </a:lnTo>
                  <a:lnTo>
                    <a:pt x="205" y="494"/>
                  </a:lnTo>
                  <a:lnTo>
                    <a:pt x="207" y="495"/>
                  </a:lnTo>
                  <a:lnTo>
                    <a:pt x="207" y="497"/>
                  </a:lnTo>
                  <a:lnTo>
                    <a:pt x="207" y="495"/>
                  </a:lnTo>
                  <a:lnTo>
                    <a:pt x="207" y="492"/>
                  </a:lnTo>
                  <a:lnTo>
                    <a:pt x="209" y="495"/>
                  </a:lnTo>
                  <a:lnTo>
                    <a:pt x="210" y="497"/>
                  </a:lnTo>
                  <a:lnTo>
                    <a:pt x="209" y="497"/>
                  </a:lnTo>
                  <a:lnTo>
                    <a:pt x="212" y="499"/>
                  </a:lnTo>
                  <a:lnTo>
                    <a:pt x="212" y="497"/>
                  </a:lnTo>
                  <a:lnTo>
                    <a:pt x="215" y="499"/>
                  </a:lnTo>
                  <a:lnTo>
                    <a:pt x="217" y="499"/>
                  </a:lnTo>
                  <a:lnTo>
                    <a:pt x="215" y="500"/>
                  </a:lnTo>
                  <a:lnTo>
                    <a:pt x="214" y="502"/>
                  </a:lnTo>
                  <a:lnTo>
                    <a:pt x="212" y="502"/>
                  </a:lnTo>
                  <a:lnTo>
                    <a:pt x="214" y="500"/>
                  </a:lnTo>
                  <a:lnTo>
                    <a:pt x="210" y="500"/>
                  </a:lnTo>
                  <a:lnTo>
                    <a:pt x="212" y="502"/>
                  </a:lnTo>
                  <a:lnTo>
                    <a:pt x="214" y="504"/>
                  </a:lnTo>
                  <a:lnTo>
                    <a:pt x="212" y="504"/>
                  </a:lnTo>
                  <a:lnTo>
                    <a:pt x="212" y="505"/>
                  </a:lnTo>
                  <a:lnTo>
                    <a:pt x="210" y="507"/>
                  </a:lnTo>
                  <a:lnTo>
                    <a:pt x="210" y="511"/>
                  </a:lnTo>
                  <a:lnTo>
                    <a:pt x="210" y="512"/>
                  </a:lnTo>
                  <a:lnTo>
                    <a:pt x="212" y="514"/>
                  </a:lnTo>
                  <a:lnTo>
                    <a:pt x="210" y="516"/>
                  </a:lnTo>
                  <a:lnTo>
                    <a:pt x="212" y="516"/>
                  </a:lnTo>
                  <a:lnTo>
                    <a:pt x="210" y="517"/>
                  </a:lnTo>
                  <a:lnTo>
                    <a:pt x="209" y="517"/>
                  </a:lnTo>
                  <a:lnTo>
                    <a:pt x="209" y="519"/>
                  </a:lnTo>
                  <a:lnTo>
                    <a:pt x="207" y="519"/>
                  </a:lnTo>
                  <a:lnTo>
                    <a:pt x="209" y="521"/>
                  </a:lnTo>
                  <a:lnTo>
                    <a:pt x="207" y="521"/>
                  </a:lnTo>
                  <a:lnTo>
                    <a:pt x="209" y="524"/>
                  </a:lnTo>
                  <a:lnTo>
                    <a:pt x="209" y="526"/>
                  </a:lnTo>
                  <a:lnTo>
                    <a:pt x="207" y="528"/>
                  </a:lnTo>
                  <a:lnTo>
                    <a:pt x="209" y="528"/>
                  </a:lnTo>
                  <a:lnTo>
                    <a:pt x="209" y="529"/>
                  </a:lnTo>
                  <a:lnTo>
                    <a:pt x="212" y="529"/>
                  </a:lnTo>
                  <a:lnTo>
                    <a:pt x="210" y="529"/>
                  </a:lnTo>
                  <a:lnTo>
                    <a:pt x="210" y="531"/>
                  </a:lnTo>
                  <a:lnTo>
                    <a:pt x="209" y="531"/>
                  </a:lnTo>
                  <a:lnTo>
                    <a:pt x="210" y="533"/>
                  </a:lnTo>
                  <a:lnTo>
                    <a:pt x="210" y="534"/>
                  </a:lnTo>
                  <a:lnTo>
                    <a:pt x="212" y="536"/>
                  </a:lnTo>
                  <a:lnTo>
                    <a:pt x="210" y="538"/>
                  </a:lnTo>
                  <a:lnTo>
                    <a:pt x="214" y="534"/>
                  </a:lnTo>
                  <a:lnTo>
                    <a:pt x="215" y="536"/>
                  </a:lnTo>
                  <a:lnTo>
                    <a:pt x="215" y="538"/>
                  </a:lnTo>
                  <a:lnTo>
                    <a:pt x="215" y="539"/>
                  </a:lnTo>
                  <a:lnTo>
                    <a:pt x="215" y="541"/>
                  </a:lnTo>
                  <a:lnTo>
                    <a:pt x="215" y="543"/>
                  </a:lnTo>
                  <a:lnTo>
                    <a:pt x="214" y="543"/>
                  </a:lnTo>
                  <a:lnTo>
                    <a:pt x="212" y="541"/>
                  </a:lnTo>
                  <a:lnTo>
                    <a:pt x="210" y="538"/>
                  </a:lnTo>
                  <a:lnTo>
                    <a:pt x="209" y="536"/>
                  </a:lnTo>
                  <a:lnTo>
                    <a:pt x="209" y="538"/>
                  </a:lnTo>
                  <a:lnTo>
                    <a:pt x="210" y="539"/>
                  </a:lnTo>
                  <a:lnTo>
                    <a:pt x="209" y="539"/>
                  </a:lnTo>
                  <a:lnTo>
                    <a:pt x="207" y="539"/>
                  </a:lnTo>
                  <a:lnTo>
                    <a:pt x="209" y="538"/>
                  </a:lnTo>
                  <a:lnTo>
                    <a:pt x="207" y="538"/>
                  </a:lnTo>
                  <a:lnTo>
                    <a:pt x="207" y="536"/>
                  </a:lnTo>
                  <a:lnTo>
                    <a:pt x="204" y="538"/>
                  </a:lnTo>
                  <a:lnTo>
                    <a:pt x="202" y="536"/>
                  </a:lnTo>
                  <a:lnTo>
                    <a:pt x="202" y="538"/>
                  </a:lnTo>
                  <a:lnTo>
                    <a:pt x="204" y="538"/>
                  </a:lnTo>
                  <a:lnTo>
                    <a:pt x="205" y="538"/>
                  </a:lnTo>
                  <a:lnTo>
                    <a:pt x="207" y="539"/>
                  </a:lnTo>
                  <a:lnTo>
                    <a:pt x="207" y="541"/>
                  </a:lnTo>
                  <a:lnTo>
                    <a:pt x="205" y="541"/>
                  </a:lnTo>
                  <a:lnTo>
                    <a:pt x="207" y="541"/>
                  </a:lnTo>
                  <a:lnTo>
                    <a:pt x="205" y="543"/>
                  </a:lnTo>
                  <a:lnTo>
                    <a:pt x="205" y="541"/>
                  </a:lnTo>
                  <a:lnTo>
                    <a:pt x="207" y="541"/>
                  </a:lnTo>
                  <a:lnTo>
                    <a:pt x="204" y="541"/>
                  </a:lnTo>
                  <a:lnTo>
                    <a:pt x="205" y="543"/>
                  </a:lnTo>
                  <a:lnTo>
                    <a:pt x="204" y="543"/>
                  </a:lnTo>
                  <a:lnTo>
                    <a:pt x="202" y="543"/>
                  </a:lnTo>
                  <a:lnTo>
                    <a:pt x="202" y="541"/>
                  </a:lnTo>
                  <a:lnTo>
                    <a:pt x="202" y="543"/>
                  </a:lnTo>
                  <a:lnTo>
                    <a:pt x="204" y="543"/>
                  </a:lnTo>
                  <a:lnTo>
                    <a:pt x="202" y="545"/>
                  </a:lnTo>
                  <a:lnTo>
                    <a:pt x="205" y="543"/>
                  </a:lnTo>
                  <a:lnTo>
                    <a:pt x="207" y="545"/>
                  </a:lnTo>
                  <a:lnTo>
                    <a:pt x="207" y="546"/>
                  </a:lnTo>
                  <a:lnTo>
                    <a:pt x="205" y="545"/>
                  </a:lnTo>
                  <a:lnTo>
                    <a:pt x="204" y="545"/>
                  </a:lnTo>
                  <a:lnTo>
                    <a:pt x="200" y="545"/>
                  </a:lnTo>
                  <a:lnTo>
                    <a:pt x="204" y="545"/>
                  </a:lnTo>
                  <a:lnTo>
                    <a:pt x="204" y="546"/>
                  </a:lnTo>
                  <a:lnTo>
                    <a:pt x="202" y="546"/>
                  </a:lnTo>
                  <a:lnTo>
                    <a:pt x="200" y="548"/>
                  </a:lnTo>
                  <a:lnTo>
                    <a:pt x="204" y="548"/>
                  </a:lnTo>
                  <a:lnTo>
                    <a:pt x="202" y="548"/>
                  </a:lnTo>
                  <a:lnTo>
                    <a:pt x="204" y="548"/>
                  </a:lnTo>
                  <a:lnTo>
                    <a:pt x="205" y="548"/>
                  </a:lnTo>
                  <a:lnTo>
                    <a:pt x="207" y="548"/>
                  </a:lnTo>
                  <a:lnTo>
                    <a:pt x="205" y="548"/>
                  </a:lnTo>
                  <a:lnTo>
                    <a:pt x="204" y="550"/>
                  </a:lnTo>
                  <a:lnTo>
                    <a:pt x="202" y="548"/>
                  </a:lnTo>
                  <a:lnTo>
                    <a:pt x="200" y="550"/>
                  </a:lnTo>
                  <a:lnTo>
                    <a:pt x="204" y="550"/>
                  </a:lnTo>
                  <a:lnTo>
                    <a:pt x="205" y="551"/>
                  </a:lnTo>
                  <a:lnTo>
                    <a:pt x="204" y="551"/>
                  </a:lnTo>
                  <a:lnTo>
                    <a:pt x="205" y="553"/>
                  </a:lnTo>
                  <a:lnTo>
                    <a:pt x="204" y="555"/>
                  </a:lnTo>
                  <a:lnTo>
                    <a:pt x="205" y="556"/>
                  </a:lnTo>
                  <a:lnTo>
                    <a:pt x="207" y="556"/>
                  </a:lnTo>
                  <a:lnTo>
                    <a:pt x="205" y="556"/>
                  </a:lnTo>
                  <a:lnTo>
                    <a:pt x="207" y="556"/>
                  </a:lnTo>
                  <a:lnTo>
                    <a:pt x="207" y="558"/>
                  </a:lnTo>
                  <a:lnTo>
                    <a:pt x="205" y="558"/>
                  </a:lnTo>
                  <a:lnTo>
                    <a:pt x="204" y="558"/>
                  </a:lnTo>
                  <a:lnTo>
                    <a:pt x="205" y="558"/>
                  </a:lnTo>
                  <a:lnTo>
                    <a:pt x="204" y="558"/>
                  </a:lnTo>
                  <a:lnTo>
                    <a:pt x="204" y="560"/>
                  </a:lnTo>
                  <a:lnTo>
                    <a:pt x="204" y="562"/>
                  </a:lnTo>
                  <a:lnTo>
                    <a:pt x="205" y="562"/>
                  </a:lnTo>
                  <a:lnTo>
                    <a:pt x="205" y="563"/>
                  </a:lnTo>
                  <a:lnTo>
                    <a:pt x="207" y="563"/>
                  </a:lnTo>
                  <a:lnTo>
                    <a:pt x="207" y="565"/>
                  </a:lnTo>
                  <a:lnTo>
                    <a:pt x="210" y="565"/>
                  </a:lnTo>
                  <a:lnTo>
                    <a:pt x="209" y="567"/>
                  </a:lnTo>
                  <a:lnTo>
                    <a:pt x="209" y="565"/>
                  </a:lnTo>
                  <a:lnTo>
                    <a:pt x="207" y="567"/>
                  </a:lnTo>
                  <a:lnTo>
                    <a:pt x="207" y="565"/>
                  </a:lnTo>
                  <a:lnTo>
                    <a:pt x="205" y="565"/>
                  </a:lnTo>
                  <a:lnTo>
                    <a:pt x="207" y="567"/>
                  </a:lnTo>
                  <a:lnTo>
                    <a:pt x="207" y="565"/>
                  </a:lnTo>
                  <a:lnTo>
                    <a:pt x="207" y="567"/>
                  </a:lnTo>
                  <a:lnTo>
                    <a:pt x="209" y="567"/>
                  </a:lnTo>
                  <a:lnTo>
                    <a:pt x="210" y="568"/>
                  </a:lnTo>
                  <a:lnTo>
                    <a:pt x="209" y="567"/>
                  </a:lnTo>
                  <a:lnTo>
                    <a:pt x="207" y="568"/>
                  </a:lnTo>
                  <a:lnTo>
                    <a:pt x="205" y="567"/>
                  </a:lnTo>
                  <a:lnTo>
                    <a:pt x="204" y="567"/>
                  </a:lnTo>
                  <a:lnTo>
                    <a:pt x="205" y="567"/>
                  </a:lnTo>
                  <a:lnTo>
                    <a:pt x="207" y="568"/>
                  </a:lnTo>
                  <a:lnTo>
                    <a:pt x="209" y="570"/>
                  </a:lnTo>
                  <a:lnTo>
                    <a:pt x="207" y="570"/>
                  </a:lnTo>
                  <a:lnTo>
                    <a:pt x="209" y="572"/>
                  </a:lnTo>
                  <a:lnTo>
                    <a:pt x="207" y="572"/>
                  </a:lnTo>
                  <a:lnTo>
                    <a:pt x="205" y="573"/>
                  </a:lnTo>
                  <a:lnTo>
                    <a:pt x="209" y="573"/>
                  </a:lnTo>
                  <a:lnTo>
                    <a:pt x="207" y="575"/>
                  </a:lnTo>
                  <a:lnTo>
                    <a:pt x="209" y="577"/>
                  </a:lnTo>
                  <a:lnTo>
                    <a:pt x="207" y="577"/>
                  </a:lnTo>
                  <a:lnTo>
                    <a:pt x="209" y="579"/>
                  </a:lnTo>
                  <a:lnTo>
                    <a:pt x="207" y="580"/>
                  </a:lnTo>
                  <a:lnTo>
                    <a:pt x="209" y="582"/>
                  </a:lnTo>
                  <a:lnTo>
                    <a:pt x="209" y="584"/>
                  </a:lnTo>
                  <a:lnTo>
                    <a:pt x="209" y="585"/>
                  </a:lnTo>
                  <a:lnTo>
                    <a:pt x="207" y="587"/>
                  </a:lnTo>
                  <a:lnTo>
                    <a:pt x="209" y="587"/>
                  </a:lnTo>
                  <a:lnTo>
                    <a:pt x="212" y="587"/>
                  </a:lnTo>
                  <a:lnTo>
                    <a:pt x="210" y="587"/>
                  </a:lnTo>
                  <a:lnTo>
                    <a:pt x="209" y="589"/>
                  </a:lnTo>
                  <a:lnTo>
                    <a:pt x="210" y="589"/>
                  </a:lnTo>
                  <a:lnTo>
                    <a:pt x="209" y="590"/>
                  </a:lnTo>
                  <a:lnTo>
                    <a:pt x="209" y="592"/>
                  </a:lnTo>
                  <a:lnTo>
                    <a:pt x="209" y="590"/>
                  </a:lnTo>
                  <a:lnTo>
                    <a:pt x="209" y="592"/>
                  </a:lnTo>
                  <a:lnTo>
                    <a:pt x="210" y="592"/>
                  </a:lnTo>
                  <a:lnTo>
                    <a:pt x="209" y="592"/>
                  </a:lnTo>
                  <a:lnTo>
                    <a:pt x="210" y="592"/>
                  </a:lnTo>
                  <a:lnTo>
                    <a:pt x="210" y="594"/>
                  </a:lnTo>
                  <a:lnTo>
                    <a:pt x="212" y="596"/>
                  </a:lnTo>
                  <a:lnTo>
                    <a:pt x="214" y="596"/>
                  </a:lnTo>
                  <a:lnTo>
                    <a:pt x="215" y="596"/>
                  </a:lnTo>
                  <a:lnTo>
                    <a:pt x="214" y="596"/>
                  </a:lnTo>
                  <a:lnTo>
                    <a:pt x="214" y="599"/>
                  </a:lnTo>
                  <a:lnTo>
                    <a:pt x="212" y="601"/>
                  </a:lnTo>
                  <a:lnTo>
                    <a:pt x="214" y="601"/>
                  </a:lnTo>
                  <a:lnTo>
                    <a:pt x="215" y="601"/>
                  </a:lnTo>
                  <a:lnTo>
                    <a:pt x="217" y="601"/>
                  </a:lnTo>
                  <a:lnTo>
                    <a:pt x="214" y="602"/>
                  </a:lnTo>
                  <a:lnTo>
                    <a:pt x="215" y="602"/>
                  </a:lnTo>
                  <a:lnTo>
                    <a:pt x="215" y="604"/>
                  </a:lnTo>
                  <a:lnTo>
                    <a:pt x="217" y="602"/>
                  </a:lnTo>
                  <a:lnTo>
                    <a:pt x="217" y="604"/>
                  </a:lnTo>
                  <a:lnTo>
                    <a:pt x="215" y="606"/>
                  </a:lnTo>
                  <a:lnTo>
                    <a:pt x="214" y="607"/>
                  </a:lnTo>
                  <a:lnTo>
                    <a:pt x="212" y="609"/>
                  </a:lnTo>
                  <a:lnTo>
                    <a:pt x="214" y="609"/>
                  </a:lnTo>
                  <a:lnTo>
                    <a:pt x="210" y="609"/>
                  </a:lnTo>
                  <a:lnTo>
                    <a:pt x="214" y="609"/>
                  </a:lnTo>
                  <a:lnTo>
                    <a:pt x="215" y="609"/>
                  </a:lnTo>
                  <a:lnTo>
                    <a:pt x="215" y="607"/>
                  </a:lnTo>
                  <a:lnTo>
                    <a:pt x="217" y="609"/>
                  </a:lnTo>
                  <a:lnTo>
                    <a:pt x="215" y="611"/>
                  </a:lnTo>
                  <a:lnTo>
                    <a:pt x="217" y="611"/>
                  </a:lnTo>
                  <a:lnTo>
                    <a:pt x="219" y="611"/>
                  </a:lnTo>
                  <a:lnTo>
                    <a:pt x="221" y="611"/>
                  </a:lnTo>
                  <a:lnTo>
                    <a:pt x="221" y="613"/>
                  </a:lnTo>
                  <a:lnTo>
                    <a:pt x="221" y="611"/>
                  </a:lnTo>
                  <a:lnTo>
                    <a:pt x="221" y="613"/>
                  </a:lnTo>
                  <a:lnTo>
                    <a:pt x="222" y="616"/>
                  </a:lnTo>
                  <a:lnTo>
                    <a:pt x="221" y="618"/>
                  </a:lnTo>
                  <a:lnTo>
                    <a:pt x="222" y="616"/>
                  </a:lnTo>
                  <a:lnTo>
                    <a:pt x="221" y="613"/>
                  </a:lnTo>
                  <a:lnTo>
                    <a:pt x="221" y="611"/>
                  </a:lnTo>
                  <a:lnTo>
                    <a:pt x="222" y="609"/>
                  </a:lnTo>
                  <a:lnTo>
                    <a:pt x="222" y="611"/>
                  </a:lnTo>
                  <a:lnTo>
                    <a:pt x="224" y="609"/>
                  </a:lnTo>
                  <a:lnTo>
                    <a:pt x="224" y="611"/>
                  </a:lnTo>
                  <a:lnTo>
                    <a:pt x="227" y="611"/>
                  </a:lnTo>
                  <a:lnTo>
                    <a:pt x="229" y="613"/>
                  </a:lnTo>
                  <a:lnTo>
                    <a:pt x="227" y="613"/>
                  </a:lnTo>
                  <a:lnTo>
                    <a:pt x="226" y="614"/>
                  </a:lnTo>
                  <a:lnTo>
                    <a:pt x="227" y="616"/>
                  </a:lnTo>
                  <a:lnTo>
                    <a:pt x="229" y="618"/>
                  </a:lnTo>
                  <a:lnTo>
                    <a:pt x="227" y="618"/>
                  </a:lnTo>
                  <a:lnTo>
                    <a:pt x="229" y="618"/>
                  </a:lnTo>
                  <a:lnTo>
                    <a:pt x="229" y="619"/>
                  </a:lnTo>
                  <a:lnTo>
                    <a:pt x="231" y="619"/>
                  </a:lnTo>
                  <a:lnTo>
                    <a:pt x="229" y="619"/>
                  </a:lnTo>
                  <a:lnTo>
                    <a:pt x="229" y="618"/>
                  </a:lnTo>
                  <a:lnTo>
                    <a:pt x="231" y="618"/>
                  </a:lnTo>
                  <a:lnTo>
                    <a:pt x="229" y="618"/>
                  </a:lnTo>
                  <a:lnTo>
                    <a:pt x="231" y="618"/>
                  </a:lnTo>
                  <a:lnTo>
                    <a:pt x="231" y="619"/>
                  </a:lnTo>
                  <a:lnTo>
                    <a:pt x="232" y="621"/>
                  </a:lnTo>
                  <a:lnTo>
                    <a:pt x="231" y="618"/>
                  </a:lnTo>
                  <a:lnTo>
                    <a:pt x="231" y="616"/>
                  </a:lnTo>
                  <a:lnTo>
                    <a:pt x="232" y="618"/>
                  </a:lnTo>
                  <a:lnTo>
                    <a:pt x="232" y="616"/>
                  </a:lnTo>
                  <a:lnTo>
                    <a:pt x="234" y="616"/>
                  </a:lnTo>
                  <a:lnTo>
                    <a:pt x="234" y="614"/>
                  </a:lnTo>
                  <a:lnTo>
                    <a:pt x="236" y="613"/>
                  </a:lnTo>
                  <a:lnTo>
                    <a:pt x="238" y="613"/>
                  </a:lnTo>
                  <a:lnTo>
                    <a:pt x="239" y="613"/>
                  </a:lnTo>
                  <a:lnTo>
                    <a:pt x="241" y="614"/>
                  </a:lnTo>
                  <a:lnTo>
                    <a:pt x="241" y="616"/>
                  </a:lnTo>
                  <a:lnTo>
                    <a:pt x="243" y="618"/>
                  </a:lnTo>
                  <a:lnTo>
                    <a:pt x="241" y="619"/>
                  </a:lnTo>
                  <a:lnTo>
                    <a:pt x="241" y="618"/>
                  </a:lnTo>
                  <a:lnTo>
                    <a:pt x="243" y="619"/>
                  </a:lnTo>
                  <a:lnTo>
                    <a:pt x="243" y="621"/>
                  </a:lnTo>
                  <a:lnTo>
                    <a:pt x="244" y="619"/>
                  </a:lnTo>
                  <a:lnTo>
                    <a:pt x="244" y="621"/>
                  </a:lnTo>
                  <a:lnTo>
                    <a:pt x="244" y="623"/>
                  </a:lnTo>
                  <a:lnTo>
                    <a:pt x="246" y="624"/>
                  </a:lnTo>
                  <a:lnTo>
                    <a:pt x="248" y="626"/>
                  </a:lnTo>
                  <a:lnTo>
                    <a:pt x="249" y="624"/>
                  </a:lnTo>
                  <a:lnTo>
                    <a:pt x="248" y="624"/>
                  </a:lnTo>
                  <a:lnTo>
                    <a:pt x="248" y="623"/>
                  </a:lnTo>
                  <a:lnTo>
                    <a:pt x="248" y="624"/>
                  </a:lnTo>
                  <a:lnTo>
                    <a:pt x="248" y="623"/>
                  </a:lnTo>
                  <a:lnTo>
                    <a:pt x="248" y="624"/>
                  </a:lnTo>
                  <a:lnTo>
                    <a:pt x="249" y="624"/>
                  </a:lnTo>
                  <a:lnTo>
                    <a:pt x="248" y="626"/>
                  </a:lnTo>
                  <a:lnTo>
                    <a:pt x="251" y="626"/>
                  </a:lnTo>
                  <a:lnTo>
                    <a:pt x="251" y="628"/>
                  </a:lnTo>
                  <a:lnTo>
                    <a:pt x="251" y="630"/>
                  </a:lnTo>
                  <a:lnTo>
                    <a:pt x="251" y="631"/>
                  </a:lnTo>
                  <a:lnTo>
                    <a:pt x="251" y="628"/>
                  </a:lnTo>
                  <a:lnTo>
                    <a:pt x="253" y="628"/>
                  </a:lnTo>
                  <a:lnTo>
                    <a:pt x="255" y="630"/>
                  </a:lnTo>
                  <a:lnTo>
                    <a:pt x="255" y="628"/>
                  </a:lnTo>
                  <a:lnTo>
                    <a:pt x="256" y="630"/>
                  </a:lnTo>
                  <a:lnTo>
                    <a:pt x="258" y="630"/>
                  </a:lnTo>
                  <a:lnTo>
                    <a:pt x="260" y="631"/>
                  </a:lnTo>
                  <a:lnTo>
                    <a:pt x="258" y="630"/>
                  </a:lnTo>
                  <a:lnTo>
                    <a:pt x="260" y="631"/>
                  </a:lnTo>
                  <a:lnTo>
                    <a:pt x="260" y="633"/>
                  </a:lnTo>
                  <a:lnTo>
                    <a:pt x="261" y="633"/>
                  </a:lnTo>
                  <a:lnTo>
                    <a:pt x="263" y="633"/>
                  </a:lnTo>
                  <a:lnTo>
                    <a:pt x="261" y="633"/>
                  </a:lnTo>
                  <a:lnTo>
                    <a:pt x="263" y="635"/>
                  </a:lnTo>
                  <a:lnTo>
                    <a:pt x="265" y="635"/>
                  </a:lnTo>
                  <a:lnTo>
                    <a:pt x="265" y="636"/>
                  </a:lnTo>
                  <a:lnTo>
                    <a:pt x="261" y="636"/>
                  </a:lnTo>
                  <a:lnTo>
                    <a:pt x="260" y="636"/>
                  </a:lnTo>
                  <a:lnTo>
                    <a:pt x="263" y="638"/>
                  </a:lnTo>
                  <a:lnTo>
                    <a:pt x="263" y="640"/>
                  </a:lnTo>
                  <a:lnTo>
                    <a:pt x="261" y="640"/>
                  </a:lnTo>
                  <a:lnTo>
                    <a:pt x="261" y="638"/>
                  </a:lnTo>
                  <a:lnTo>
                    <a:pt x="260" y="636"/>
                  </a:lnTo>
                  <a:lnTo>
                    <a:pt x="258" y="636"/>
                  </a:lnTo>
                  <a:lnTo>
                    <a:pt x="256" y="633"/>
                  </a:lnTo>
                  <a:lnTo>
                    <a:pt x="255" y="633"/>
                  </a:lnTo>
                  <a:lnTo>
                    <a:pt x="255" y="631"/>
                  </a:lnTo>
                  <a:lnTo>
                    <a:pt x="253" y="631"/>
                  </a:lnTo>
                  <a:lnTo>
                    <a:pt x="255" y="633"/>
                  </a:lnTo>
                  <a:lnTo>
                    <a:pt x="256" y="635"/>
                  </a:lnTo>
                  <a:lnTo>
                    <a:pt x="258" y="636"/>
                  </a:lnTo>
                  <a:lnTo>
                    <a:pt x="260" y="638"/>
                  </a:lnTo>
                  <a:lnTo>
                    <a:pt x="258" y="638"/>
                  </a:lnTo>
                  <a:lnTo>
                    <a:pt x="260" y="640"/>
                  </a:lnTo>
                  <a:lnTo>
                    <a:pt x="258" y="640"/>
                  </a:lnTo>
                  <a:lnTo>
                    <a:pt x="261" y="642"/>
                  </a:lnTo>
                  <a:lnTo>
                    <a:pt x="263" y="643"/>
                  </a:lnTo>
                  <a:lnTo>
                    <a:pt x="265" y="645"/>
                  </a:lnTo>
                  <a:lnTo>
                    <a:pt x="265" y="648"/>
                  </a:lnTo>
                  <a:lnTo>
                    <a:pt x="265" y="645"/>
                  </a:lnTo>
                  <a:lnTo>
                    <a:pt x="265" y="643"/>
                  </a:lnTo>
                  <a:lnTo>
                    <a:pt x="265" y="642"/>
                  </a:lnTo>
                  <a:lnTo>
                    <a:pt x="268" y="642"/>
                  </a:lnTo>
                  <a:lnTo>
                    <a:pt x="268" y="643"/>
                  </a:lnTo>
                  <a:lnTo>
                    <a:pt x="270" y="643"/>
                  </a:lnTo>
                  <a:lnTo>
                    <a:pt x="272" y="645"/>
                  </a:lnTo>
                  <a:lnTo>
                    <a:pt x="272" y="647"/>
                  </a:lnTo>
                  <a:lnTo>
                    <a:pt x="272" y="650"/>
                  </a:lnTo>
                  <a:lnTo>
                    <a:pt x="273" y="652"/>
                  </a:lnTo>
                  <a:lnTo>
                    <a:pt x="273" y="650"/>
                  </a:lnTo>
                  <a:lnTo>
                    <a:pt x="272" y="648"/>
                  </a:lnTo>
                  <a:lnTo>
                    <a:pt x="272" y="647"/>
                  </a:lnTo>
                  <a:lnTo>
                    <a:pt x="272" y="645"/>
                  </a:lnTo>
                  <a:lnTo>
                    <a:pt x="272" y="643"/>
                  </a:lnTo>
                  <a:lnTo>
                    <a:pt x="273" y="643"/>
                  </a:lnTo>
                  <a:lnTo>
                    <a:pt x="273" y="645"/>
                  </a:lnTo>
                  <a:lnTo>
                    <a:pt x="273" y="647"/>
                  </a:lnTo>
                  <a:lnTo>
                    <a:pt x="273" y="648"/>
                  </a:lnTo>
                  <a:lnTo>
                    <a:pt x="275" y="650"/>
                  </a:lnTo>
                  <a:lnTo>
                    <a:pt x="277" y="652"/>
                  </a:lnTo>
                  <a:lnTo>
                    <a:pt x="278" y="655"/>
                  </a:lnTo>
                  <a:lnTo>
                    <a:pt x="277" y="655"/>
                  </a:lnTo>
                  <a:lnTo>
                    <a:pt x="278" y="655"/>
                  </a:lnTo>
                  <a:lnTo>
                    <a:pt x="278" y="657"/>
                  </a:lnTo>
                  <a:lnTo>
                    <a:pt x="280" y="657"/>
                  </a:lnTo>
                  <a:lnTo>
                    <a:pt x="282" y="657"/>
                  </a:lnTo>
                  <a:lnTo>
                    <a:pt x="282" y="660"/>
                  </a:lnTo>
                  <a:lnTo>
                    <a:pt x="282" y="657"/>
                  </a:lnTo>
                  <a:lnTo>
                    <a:pt x="283" y="659"/>
                  </a:lnTo>
                  <a:lnTo>
                    <a:pt x="283" y="660"/>
                  </a:lnTo>
                  <a:lnTo>
                    <a:pt x="283" y="662"/>
                  </a:lnTo>
                  <a:lnTo>
                    <a:pt x="283" y="664"/>
                  </a:lnTo>
                  <a:lnTo>
                    <a:pt x="282" y="660"/>
                  </a:lnTo>
                  <a:lnTo>
                    <a:pt x="282" y="662"/>
                  </a:lnTo>
                  <a:lnTo>
                    <a:pt x="280" y="660"/>
                  </a:lnTo>
                  <a:lnTo>
                    <a:pt x="280" y="659"/>
                  </a:lnTo>
                  <a:lnTo>
                    <a:pt x="278" y="659"/>
                  </a:lnTo>
                  <a:lnTo>
                    <a:pt x="278" y="657"/>
                  </a:lnTo>
                  <a:lnTo>
                    <a:pt x="277" y="655"/>
                  </a:lnTo>
                  <a:lnTo>
                    <a:pt x="278" y="659"/>
                  </a:lnTo>
                  <a:lnTo>
                    <a:pt x="277" y="659"/>
                  </a:lnTo>
                  <a:lnTo>
                    <a:pt x="278" y="659"/>
                  </a:lnTo>
                  <a:lnTo>
                    <a:pt x="278" y="662"/>
                  </a:lnTo>
                  <a:lnTo>
                    <a:pt x="278" y="664"/>
                  </a:lnTo>
                  <a:lnTo>
                    <a:pt x="277" y="665"/>
                  </a:lnTo>
                  <a:lnTo>
                    <a:pt x="277" y="667"/>
                  </a:lnTo>
                  <a:lnTo>
                    <a:pt x="275" y="667"/>
                  </a:lnTo>
                  <a:lnTo>
                    <a:pt x="273" y="669"/>
                  </a:lnTo>
                  <a:lnTo>
                    <a:pt x="272" y="669"/>
                  </a:lnTo>
                  <a:lnTo>
                    <a:pt x="273" y="669"/>
                  </a:lnTo>
                  <a:lnTo>
                    <a:pt x="277" y="667"/>
                  </a:lnTo>
                  <a:lnTo>
                    <a:pt x="278" y="667"/>
                  </a:lnTo>
                  <a:lnTo>
                    <a:pt x="278" y="669"/>
                  </a:lnTo>
                  <a:lnTo>
                    <a:pt x="277" y="669"/>
                  </a:lnTo>
                  <a:lnTo>
                    <a:pt x="278" y="669"/>
                  </a:lnTo>
                  <a:lnTo>
                    <a:pt x="278" y="667"/>
                  </a:lnTo>
                  <a:lnTo>
                    <a:pt x="280" y="667"/>
                  </a:lnTo>
                  <a:lnTo>
                    <a:pt x="283" y="667"/>
                  </a:lnTo>
                  <a:lnTo>
                    <a:pt x="285" y="667"/>
                  </a:lnTo>
                  <a:lnTo>
                    <a:pt x="285" y="670"/>
                  </a:lnTo>
                  <a:lnTo>
                    <a:pt x="283" y="670"/>
                  </a:lnTo>
                  <a:lnTo>
                    <a:pt x="282" y="670"/>
                  </a:lnTo>
                  <a:lnTo>
                    <a:pt x="280" y="670"/>
                  </a:lnTo>
                  <a:lnTo>
                    <a:pt x="278" y="670"/>
                  </a:lnTo>
                  <a:lnTo>
                    <a:pt x="280" y="672"/>
                  </a:lnTo>
                  <a:lnTo>
                    <a:pt x="278" y="672"/>
                  </a:lnTo>
                  <a:lnTo>
                    <a:pt x="277" y="672"/>
                  </a:lnTo>
                  <a:lnTo>
                    <a:pt x="275" y="674"/>
                  </a:lnTo>
                  <a:lnTo>
                    <a:pt x="277" y="674"/>
                  </a:lnTo>
                  <a:lnTo>
                    <a:pt x="275" y="674"/>
                  </a:lnTo>
                  <a:lnTo>
                    <a:pt x="273" y="674"/>
                  </a:lnTo>
                  <a:lnTo>
                    <a:pt x="273" y="676"/>
                  </a:lnTo>
                  <a:lnTo>
                    <a:pt x="272" y="677"/>
                  </a:lnTo>
                  <a:lnTo>
                    <a:pt x="275" y="677"/>
                  </a:lnTo>
                  <a:lnTo>
                    <a:pt x="275" y="679"/>
                  </a:lnTo>
                  <a:lnTo>
                    <a:pt x="273" y="677"/>
                  </a:lnTo>
                  <a:lnTo>
                    <a:pt x="273" y="679"/>
                  </a:lnTo>
                  <a:lnTo>
                    <a:pt x="272" y="677"/>
                  </a:lnTo>
                  <a:lnTo>
                    <a:pt x="270" y="677"/>
                  </a:lnTo>
                  <a:lnTo>
                    <a:pt x="272" y="679"/>
                  </a:lnTo>
                  <a:lnTo>
                    <a:pt x="272" y="681"/>
                  </a:lnTo>
                  <a:lnTo>
                    <a:pt x="270" y="682"/>
                  </a:lnTo>
                  <a:lnTo>
                    <a:pt x="268" y="684"/>
                  </a:lnTo>
                  <a:lnTo>
                    <a:pt x="266" y="686"/>
                  </a:lnTo>
                  <a:lnTo>
                    <a:pt x="265" y="687"/>
                  </a:lnTo>
                  <a:lnTo>
                    <a:pt x="265" y="689"/>
                  </a:lnTo>
                  <a:lnTo>
                    <a:pt x="263" y="689"/>
                  </a:lnTo>
                  <a:lnTo>
                    <a:pt x="263" y="691"/>
                  </a:lnTo>
                  <a:lnTo>
                    <a:pt x="260" y="691"/>
                  </a:lnTo>
                  <a:lnTo>
                    <a:pt x="258" y="691"/>
                  </a:lnTo>
                  <a:lnTo>
                    <a:pt x="260" y="693"/>
                  </a:lnTo>
                  <a:lnTo>
                    <a:pt x="258" y="693"/>
                  </a:lnTo>
                  <a:lnTo>
                    <a:pt x="258" y="694"/>
                  </a:lnTo>
                  <a:lnTo>
                    <a:pt x="260" y="694"/>
                  </a:lnTo>
                  <a:lnTo>
                    <a:pt x="261" y="693"/>
                  </a:lnTo>
                  <a:lnTo>
                    <a:pt x="261" y="694"/>
                  </a:lnTo>
                  <a:lnTo>
                    <a:pt x="258" y="694"/>
                  </a:lnTo>
                  <a:lnTo>
                    <a:pt x="260" y="694"/>
                  </a:lnTo>
                  <a:lnTo>
                    <a:pt x="260" y="696"/>
                  </a:lnTo>
                  <a:lnTo>
                    <a:pt x="261" y="696"/>
                  </a:lnTo>
                  <a:lnTo>
                    <a:pt x="260" y="696"/>
                  </a:lnTo>
                  <a:lnTo>
                    <a:pt x="261" y="696"/>
                  </a:lnTo>
                  <a:lnTo>
                    <a:pt x="260" y="696"/>
                  </a:lnTo>
                  <a:lnTo>
                    <a:pt x="258" y="696"/>
                  </a:lnTo>
                  <a:lnTo>
                    <a:pt x="256" y="696"/>
                  </a:lnTo>
                  <a:lnTo>
                    <a:pt x="255" y="694"/>
                  </a:lnTo>
                  <a:lnTo>
                    <a:pt x="256" y="694"/>
                  </a:lnTo>
                  <a:lnTo>
                    <a:pt x="256" y="693"/>
                  </a:lnTo>
                  <a:lnTo>
                    <a:pt x="255" y="694"/>
                  </a:lnTo>
                  <a:lnTo>
                    <a:pt x="255" y="693"/>
                  </a:lnTo>
                  <a:lnTo>
                    <a:pt x="253" y="694"/>
                  </a:lnTo>
                  <a:lnTo>
                    <a:pt x="253" y="696"/>
                  </a:lnTo>
                  <a:lnTo>
                    <a:pt x="253" y="698"/>
                  </a:lnTo>
                  <a:lnTo>
                    <a:pt x="251" y="698"/>
                  </a:lnTo>
                  <a:lnTo>
                    <a:pt x="249" y="696"/>
                  </a:lnTo>
                  <a:lnTo>
                    <a:pt x="249" y="694"/>
                  </a:lnTo>
                  <a:lnTo>
                    <a:pt x="248" y="694"/>
                  </a:lnTo>
                  <a:lnTo>
                    <a:pt x="249" y="694"/>
                  </a:lnTo>
                  <a:lnTo>
                    <a:pt x="251" y="698"/>
                  </a:lnTo>
                  <a:lnTo>
                    <a:pt x="253" y="699"/>
                  </a:lnTo>
                  <a:lnTo>
                    <a:pt x="255" y="699"/>
                  </a:lnTo>
                  <a:lnTo>
                    <a:pt x="256" y="701"/>
                  </a:lnTo>
                  <a:lnTo>
                    <a:pt x="255" y="701"/>
                  </a:lnTo>
                  <a:lnTo>
                    <a:pt x="253" y="701"/>
                  </a:lnTo>
                  <a:lnTo>
                    <a:pt x="255" y="703"/>
                  </a:lnTo>
                  <a:lnTo>
                    <a:pt x="253" y="703"/>
                  </a:lnTo>
                  <a:lnTo>
                    <a:pt x="255" y="703"/>
                  </a:lnTo>
                  <a:lnTo>
                    <a:pt x="256" y="701"/>
                  </a:lnTo>
                  <a:lnTo>
                    <a:pt x="255" y="703"/>
                  </a:lnTo>
                  <a:lnTo>
                    <a:pt x="258" y="701"/>
                  </a:lnTo>
                  <a:lnTo>
                    <a:pt x="258" y="703"/>
                  </a:lnTo>
                  <a:lnTo>
                    <a:pt x="260" y="703"/>
                  </a:lnTo>
                  <a:lnTo>
                    <a:pt x="261" y="701"/>
                  </a:lnTo>
                  <a:lnTo>
                    <a:pt x="261" y="704"/>
                  </a:lnTo>
                  <a:lnTo>
                    <a:pt x="263" y="704"/>
                  </a:lnTo>
                  <a:lnTo>
                    <a:pt x="261" y="704"/>
                  </a:lnTo>
                  <a:lnTo>
                    <a:pt x="260" y="704"/>
                  </a:lnTo>
                  <a:lnTo>
                    <a:pt x="261" y="706"/>
                  </a:lnTo>
                  <a:lnTo>
                    <a:pt x="263" y="706"/>
                  </a:lnTo>
                  <a:lnTo>
                    <a:pt x="263" y="708"/>
                  </a:lnTo>
                  <a:lnTo>
                    <a:pt x="265" y="706"/>
                  </a:lnTo>
                  <a:lnTo>
                    <a:pt x="266" y="710"/>
                  </a:lnTo>
                  <a:lnTo>
                    <a:pt x="265" y="710"/>
                  </a:lnTo>
                  <a:lnTo>
                    <a:pt x="263" y="708"/>
                  </a:lnTo>
                  <a:lnTo>
                    <a:pt x="261" y="706"/>
                  </a:lnTo>
                  <a:lnTo>
                    <a:pt x="263" y="708"/>
                  </a:lnTo>
                  <a:lnTo>
                    <a:pt x="265" y="710"/>
                  </a:lnTo>
                  <a:lnTo>
                    <a:pt x="265" y="711"/>
                  </a:lnTo>
                  <a:lnTo>
                    <a:pt x="266" y="711"/>
                  </a:lnTo>
                  <a:lnTo>
                    <a:pt x="265" y="711"/>
                  </a:lnTo>
                  <a:lnTo>
                    <a:pt x="266" y="711"/>
                  </a:lnTo>
                  <a:lnTo>
                    <a:pt x="266" y="713"/>
                  </a:lnTo>
                  <a:lnTo>
                    <a:pt x="266" y="711"/>
                  </a:lnTo>
                  <a:lnTo>
                    <a:pt x="268" y="711"/>
                  </a:lnTo>
                  <a:lnTo>
                    <a:pt x="268" y="713"/>
                  </a:lnTo>
                  <a:lnTo>
                    <a:pt x="266" y="713"/>
                  </a:lnTo>
                  <a:lnTo>
                    <a:pt x="265" y="715"/>
                  </a:lnTo>
                  <a:lnTo>
                    <a:pt x="261" y="715"/>
                  </a:lnTo>
                  <a:lnTo>
                    <a:pt x="263" y="715"/>
                  </a:lnTo>
                  <a:lnTo>
                    <a:pt x="261" y="716"/>
                  </a:lnTo>
                  <a:lnTo>
                    <a:pt x="263" y="716"/>
                  </a:lnTo>
                  <a:lnTo>
                    <a:pt x="265" y="716"/>
                  </a:lnTo>
                  <a:lnTo>
                    <a:pt x="263" y="718"/>
                  </a:lnTo>
                  <a:lnTo>
                    <a:pt x="261" y="718"/>
                  </a:lnTo>
                  <a:lnTo>
                    <a:pt x="261" y="720"/>
                  </a:lnTo>
                  <a:lnTo>
                    <a:pt x="260" y="720"/>
                  </a:lnTo>
                  <a:lnTo>
                    <a:pt x="261" y="718"/>
                  </a:lnTo>
                  <a:lnTo>
                    <a:pt x="260" y="718"/>
                  </a:lnTo>
                  <a:lnTo>
                    <a:pt x="260" y="715"/>
                  </a:lnTo>
                  <a:lnTo>
                    <a:pt x="260" y="718"/>
                  </a:lnTo>
                  <a:lnTo>
                    <a:pt x="256" y="720"/>
                  </a:lnTo>
                  <a:lnTo>
                    <a:pt x="255" y="721"/>
                  </a:lnTo>
                  <a:lnTo>
                    <a:pt x="255" y="723"/>
                  </a:lnTo>
                  <a:lnTo>
                    <a:pt x="253" y="721"/>
                  </a:lnTo>
                  <a:lnTo>
                    <a:pt x="253" y="725"/>
                  </a:lnTo>
                  <a:lnTo>
                    <a:pt x="253" y="723"/>
                  </a:lnTo>
                  <a:lnTo>
                    <a:pt x="253" y="727"/>
                  </a:lnTo>
                  <a:lnTo>
                    <a:pt x="251" y="728"/>
                  </a:lnTo>
                  <a:lnTo>
                    <a:pt x="253" y="730"/>
                  </a:lnTo>
                  <a:lnTo>
                    <a:pt x="251" y="732"/>
                  </a:lnTo>
                  <a:lnTo>
                    <a:pt x="251" y="735"/>
                  </a:lnTo>
                  <a:lnTo>
                    <a:pt x="251" y="737"/>
                  </a:lnTo>
                  <a:lnTo>
                    <a:pt x="251" y="738"/>
                  </a:lnTo>
                  <a:lnTo>
                    <a:pt x="251" y="737"/>
                  </a:lnTo>
                  <a:lnTo>
                    <a:pt x="249" y="737"/>
                  </a:lnTo>
                  <a:lnTo>
                    <a:pt x="249" y="735"/>
                  </a:lnTo>
                  <a:lnTo>
                    <a:pt x="249" y="737"/>
                  </a:lnTo>
                  <a:lnTo>
                    <a:pt x="248" y="733"/>
                  </a:lnTo>
                  <a:lnTo>
                    <a:pt x="249" y="733"/>
                  </a:lnTo>
                  <a:lnTo>
                    <a:pt x="248" y="732"/>
                  </a:lnTo>
                  <a:lnTo>
                    <a:pt x="249" y="733"/>
                  </a:lnTo>
                  <a:lnTo>
                    <a:pt x="248" y="733"/>
                  </a:lnTo>
                  <a:lnTo>
                    <a:pt x="248" y="735"/>
                  </a:lnTo>
                  <a:lnTo>
                    <a:pt x="249" y="735"/>
                  </a:lnTo>
                  <a:lnTo>
                    <a:pt x="249" y="738"/>
                  </a:lnTo>
                  <a:lnTo>
                    <a:pt x="249" y="740"/>
                  </a:lnTo>
                  <a:lnTo>
                    <a:pt x="246" y="740"/>
                  </a:lnTo>
                  <a:lnTo>
                    <a:pt x="248" y="738"/>
                  </a:lnTo>
                  <a:lnTo>
                    <a:pt x="248" y="737"/>
                  </a:lnTo>
                  <a:lnTo>
                    <a:pt x="248" y="735"/>
                  </a:lnTo>
                  <a:lnTo>
                    <a:pt x="248" y="733"/>
                  </a:lnTo>
                  <a:lnTo>
                    <a:pt x="248" y="732"/>
                  </a:lnTo>
                  <a:lnTo>
                    <a:pt x="246" y="732"/>
                  </a:lnTo>
                  <a:lnTo>
                    <a:pt x="246" y="730"/>
                  </a:lnTo>
                  <a:lnTo>
                    <a:pt x="244" y="728"/>
                  </a:lnTo>
                  <a:lnTo>
                    <a:pt x="244" y="730"/>
                  </a:lnTo>
                  <a:lnTo>
                    <a:pt x="246" y="730"/>
                  </a:lnTo>
                  <a:lnTo>
                    <a:pt x="248" y="733"/>
                  </a:lnTo>
                  <a:lnTo>
                    <a:pt x="246" y="735"/>
                  </a:lnTo>
                  <a:lnTo>
                    <a:pt x="246" y="733"/>
                  </a:lnTo>
                  <a:lnTo>
                    <a:pt x="244" y="732"/>
                  </a:lnTo>
                  <a:lnTo>
                    <a:pt x="244" y="733"/>
                  </a:lnTo>
                  <a:lnTo>
                    <a:pt x="244" y="730"/>
                  </a:lnTo>
                  <a:lnTo>
                    <a:pt x="244" y="728"/>
                  </a:lnTo>
                  <a:lnTo>
                    <a:pt x="244" y="727"/>
                  </a:lnTo>
                  <a:lnTo>
                    <a:pt x="243" y="723"/>
                  </a:lnTo>
                  <a:lnTo>
                    <a:pt x="243" y="721"/>
                  </a:lnTo>
                  <a:lnTo>
                    <a:pt x="244" y="721"/>
                  </a:lnTo>
                  <a:lnTo>
                    <a:pt x="243" y="720"/>
                  </a:lnTo>
                  <a:lnTo>
                    <a:pt x="244" y="718"/>
                  </a:lnTo>
                  <a:lnTo>
                    <a:pt x="243" y="718"/>
                  </a:lnTo>
                  <a:lnTo>
                    <a:pt x="243" y="721"/>
                  </a:lnTo>
                  <a:lnTo>
                    <a:pt x="241" y="721"/>
                  </a:lnTo>
                  <a:lnTo>
                    <a:pt x="241" y="720"/>
                  </a:lnTo>
                  <a:lnTo>
                    <a:pt x="241" y="718"/>
                  </a:lnTo>
                  <a:lnTo>
                    <a:pt x="239" y="715"/>
                  </a:lnTo>
                  <a:lnTo>
                    <a:pt x="239" y="713"/>
                  </a:lnTo>
                  <a:lnTo>
                    <a:pt x="239" y="715"/>
                  </a:lnTo>
                  <a:lnTo>
                    <a:pt x="239" y="716"/>
                  </a:lnTo>
                  <a:lnTo>
                    <a:pt x="241" y="718"/>
                  </a:lnTo>
                  <a:lnTo>
                    <a:pt x="239" y="718"/>
                  </a:lnTo>
                  <a:lnTo>
                    <a:pt x="239" y="720"/>
                  </a:lnTo>
                  <a:lnTo>
                    <a:pt x="238" y="720"/>
                  </a:lnTo>
                  <a:lnTo>
                    <a:pt x="239" y="721"/>
                  </a:lnTo>
                  <a:lnTo>
                    <a:pt x="239" y="723"/>
                  </a:lnTo>
                  <a:lnTo>
                    <a:pt x="239" y="725"/>
                  </a:lnTo>
                  <a:lnTo>
                    <a:pt x="239" y="727"/>
                  </a:lnTo>
                  <a:lnTo>
                    <a:pt x="239" y="728"/>
                  </a:lnTo>
                  <a:lnTo>
                    <a:pt x="239" y="730"/>
                  </a:lnTo>
                  <a:lnTo>
                    <a:pt x="239" y="728"/>
                  </a:lnTo>
                  <a:lnTo>
                    <a:pt x="238" y="730"/>
                  </a:lnTo>
                  <a:lnTo>
                    <a:pt x="239" y="730"/>
                  </a:lnTo>
                  <a:lnTo>
                    <a:pt x="238" y="732"/>
                  </a:lnTo>
                  <a:lnTo>
                    <a:pt x="239" y="732"/>
                  </a:lnTo>
                  <a:lnTo>
                    <a:pt x="241" y="733"/>
                  </a:lnTo>
                  <a:lnTo>
                    <a:pt x="238" y="733"/>
                  </a:lnTo>
                  <a:lnTo>
                    <a:pt x="239" y="733"/>
                  </a:lnTo>
                  <a:lnTo>
                    <a:pt x="236" y="733"/>
                  </a:lnTo>
                  <a:lnTo>
                    <a:pt x="238" y="735"/>
                  </a:lnTo>
                  <a:lnTo>
                    <a:pt x="239" y="735"/>
                  </a:lnTo>
                  <a:lnTo>
                    <a:pt x="239" y="737"/>
                  </a:lnTo>
                  <a:lnTo>
                    <a:pt x="238" y="737"/>
                  </a:lnTo>
                  <a:lnTo>
                    <a:pt x="239" y="738"/>
                  </a:lnTo>
                  <a:lnTo>
                    <a:pt x="238" y="737"/>
                  </a:lnTo>
                  <a:lnTo>
                    <a:pt x="236" y="735"/>
                  </a:lnTo>
                  <a:lnTo>
                    <a:pt x="234" y="735"/>
                  </a:lnTo>
                  <a:lnTo>
                    <a:pt x="236" y="737"/>
                  </a:lnTo>
                  <a:lnTo>
                    <a:pt x="236" y="738"/>
                  </a:lnTo>
                  <a:lnTo>
                    <a:pt x="234" y="738"/>
                  </a:lnTo>
                  <a:lnTo>
                    <a:pt x="236" y="740"/>
                  </a:lnTo>
                  <a:lnTo>
                    <a:pt x="234" y="738"/>
                  </a:lnTo>
                  <a:lnTo>
                    <a:pt x="234" y="740"/>
                  </a:lnTo>
                  <a:lnTo>
                    <a:pt x="236" y="740"/>
                  </a:lnTo>
                  <a:lnTo>
                    <a:pt x="238" y="742"/>
                  </a:lnTo>
                  <a:lnTo>
                    <a:pt x="236" y="742"/>
                  </a:lnTo>
                  <a:lnTo>
                    <a:pt x="234" y="740"/>
                  </a:lnTo>
                  <a:lnTo>
                    <a:pt x="234" y="742"/>
                  </a:lnTo>
                  <a:lnTo>
                    <a:pt x="232" y="742"/>
                  </a:lnTo>
                  <a:lnTo>
                    <a:pt x="232" y="745"/>
                  </a:lnTo>
                  <a:lnTo>
                    <a:pt x="231" y="744"/>
                  </a:lnTo>
                  <a:lnTo>
                    <a:pt x="231" y="745"/>
                  </a:lnTo>
                  <a:lnTo>
                    <a:pt x="229" y="744"/>
                  </a:lnTo>
                  <a:lnTo>
                    <a:pt x="229" y="745"/>
                  </a:lnTo>
                  <a:lnTo>
                    <a:pt x="229" y="747"/>
                  </a:lnTo>
                  <a:lnTo>
                    <a:pt x="226" y="745"/>
                  </a:lnTo>
                  <a:lnTo>
                    <a:pt x="226" y="747"/>
                  </a:lnTo>
                  <a:lnTo>
                    <a:pt x="224" y="747"/>
                  </a:lnTo>
                  <a:lnTo>
                    <a:pt x="222" y="747"/>
                  </a:lnTo>
                  <a:lnTo>
                    <a:pt x="222" y="744"/>
                  </a:lnTo>
                  <a:lnTo>
                    <a:pt x="222" y="745"/>
                  </a:lnTo>
                  <a:lnTo>
                    <a:pt x="219" y="747"/>
                  </a:lnTo>
                  <a:lnTo>
                    <a:pt x="221" y="747"/>
                  </a:lnTo>
                  <a:lnTo>
                    <a:pt x="222" y="747"/>
                  </a:lnTo>
                  <a:lnTo>
                    <a:pt x="222" y="749"/>
                  </a:lnTo>
                  <a:lnTo>
                    <a:pt x="224" y="749"/>
                  </a:lnTo>
                  <a:lnTo>
                    <a:pt x="222" y="749"/>
                  </a:lnTo>
                  <a:lnTo>
                    <a:pt x="221" y="749"/>
                  </a:lnTo>
                  <a:lnTo>
                    <a:pt x="222" y="750"/>
                  </a:lnTo>
                  <a:lnTo>
                    <a:pt x="224" y="749"/>
                  </a:lnTo>
                  <a:lnTo>
                    <a:pt x="226" y="749"/>
                  </a:lnTo>
                  <a:lnTo>
                    <a:pt x="224" y="750"/>
                  </a:lnTo>
                  <a:lnTo>
                    <a:pt x="224" y="752"/>
                  </a:lnTo>
                  <a:lnTo>
                    <a:pt x="222" y="752"/>
                  </a:lnTo>
                  <a:lnTo>
                    <a:pt x="222" y="750"/>
                  </a:lnTo>
                  <a:lnTo>
                    <a:pt x="221" y="752"/>
                  </a:lnTo>
                  <a:lnTo>
                    <a:pt x="221" y="750"/>
                  </a:lnTo>
                  <a:lnTo>
                    <a:pt x="219" y="750"/>
                  </a:lnTo>
                  <a:lnTo>
                    <a:pt x="217" y="750"/>
                  </a:lnTo>
                  <a:lnTo>
                    <a:pt x="217" y="752"/>
                  </a:lnTo>
                  <a:lnTo>
                    <a:pt x="219" y="752"/>
                  </a:lnTo>
                  <a:lnTo>
                    <a:pt x="221" y="752"/>
                  </a:lnTo>
                  <a:lnTo>
                    <a:pt x="221" y="754"/>
                  </a:lnTo>
                  <a:lnTo>
                    <a:pt x="219" y="754"/>
                  </a:lnTo>
                  <a:lnTo>
                    <a:pt x="217" y="755"/>
                  </a:lnTo>
                  <a:lnTo>
                    <a:pt x="215" y="755"/>
                  </a:lnTo>
                  <a:lnTo>
                    <a:pt x="212" y="755"/>
                  </a:lnTo>
                  <a:lnTo>
                    <a:pt x="209" y="755"/>
                  </a:lnTo>
                  <a:lnTo>
                    <a:pt x="205" y="755"/>
                  </a:lnTo>
                  <a:lnTo>
                    <a:pt x="204" y="755"/>
                  </a:lnTo>
                  <a:lnTo>
                    <a:pt x="202" y="754"/>
                  </a:lnTo>
                  <a:lnTo>
                    <a:pt x="200" y="754"/>
                  </a:lnTo>
                  <a:lnTo>
                    <a:pt x="197" y="754"/>
                  </a:lnTo>
                  <a:lnTo>
                    <a:pt x="195" y="754"/>
                  </a:lnTo>
                  <a:lnTo>
                    <a:pt x="193" y="754"/>
                  </a:lnTo>
                  <a:lnTo>
                    <a:pt x="192" y="754"/>
                  </a:lnTo>
                  <a:lnTo>
                    <a:pt x="193" y="755"/>
                  </a:lnTo>
                  <a:lnTo>
                    <a:pt x="192" y="757"/>
                  </a:lnTo>
                  <a:lnTo>
                    <a:pt x="190" y="755"/>
                  </a:lnTo>
                  <a:lnTo>
                    <a:pt x="190" y="759"/>
                  </a:lnTo>
                  <a:lnTo>
                    <a:pt x="190" y="757"/>
                  </a:lnTo>
                  <a:lnTo>
                    <a:pt x="192" y="757"/>
                  </a:lnTo>
                  <a:lnTo>
                    <a:pt x="190" y="759"/>
                  </a:lnTo>
                  <a:lnTo>
                    <a:pt x="192" y="759"/>
                  </a:lnTo>
                  <a:lnTo>
                    <a:pt x="192" y="757"/>
                  </a:lnTo>
                  <a:lnTo>
                    <a:pt x="195" y="759"/>
                  </a:lnTo>
                  <a:lnTo>
                    <a:pt x="195" y="755"/>
                  </a:lnTo>
                  <a:lnTo>
                    <a:pt x="197" y="757"/>
                  </a:lnTo>
                  <a:lnTo>
                    <a:pt x="198" y="759"/>
                  </a:lnTo>
                  <a:lnTo>
                    <a:pt x="198" y="757"/>
                  </a:lnTo>
                  <a:lnTo>
                    <a:pt x="198" y="755"/>
                  </a:lnTo>
                  <a:lnTo>
                    <a:pt x="202" y="755"/>
                  </a:lnTo>
                  <a:lnTo>
                    <a:pt x="202" y="757"/>
                  </a:lnTo>
                  <a:lnTo>
                    <a:pt x="204" y="755"/>
                  </a:lnTo>
                  <a:lnTo>
                    <a:pt x="205" y="755"/>
                  </a:lnTo>
                  <a:lnTo>
                    <a:pt x="207" y="757"/>
                  </a:lnTo>
                  <a:lnTo>
                    <a:pt x="209" y="757"/>
                  </a:lnTo>
                  <a:lnTo>
                    <a:pt x="210" y="759"/>
                  </a:lnTo>
                  <a:lnTo>
                    <a:pt x="209" y="757"/>
                  </a:lnTo>
                  <a:lnTo>
                    <a:pt x="212" y="757"/>
                  </a:lnTo>
                  <a:lnTo>
                    <a:pt x="212" y="759"/>
                  </a:lnTo>
                  <a:lnTo>
                    <a:pt x="212" y="761"/>
                  </a:lnTo>
                  <a:lnTo>
                    <a:pt x="214" y="761"/>
                  </a:lnTo>
                  <a:lnTo>
                    <a:pt x="215" y="762"/>
                  </a:lnTo>
                  <a:lnTo>
                    <a:pt x="214" y="762"/>
                  </a:lnTo>
                  <a:lnTo>
                    <a:pt x="215" y="762"/>
                  </a:lnTo>
                  <a:lnTo>
                    <a:pt x="217" y="764"/>
                  </a:lnTo>
                  <a:lnTo>
                    <a:pt x="219" y="764"/>
                  </a:lnTo>
                  <a:lnTo>
                    <a:pt x="217" y="766"/>
                  </a:lnTo>
                  <a:lnTo>
                    <a:pt x="215" y="766"/>
                  </a:lnTo>
                  <a:lnTo>
                    <a:pt x="215" y="767"/>
                  </a:lnTo>
                  <a:lnTo>
                    <a:pt x="212" y="767"/>
                  </a:lnTo>
                  <a:lnTo>
                    <a:pt x="210" y="769"/>
                  </a:lnTo>
                  <a:lnTo>
                    <a:pt x="209" y="769"/>
                  </a:lnTo>
                  <a:lnTo>
                    <a:pt x="207" y="769"/>
                  </a:lnTo>
                  <a:lnTo>
                    <a:pt x="205" y="769"/>
                  </a:lnTo>
                  <a:lnTo>
                    <a:pt x="205" y="767"/>
                  </a:lnTo>
                  <a:lnTo>
                    <a:pt x="204" y="767"/>
                  </a:lnTo>
                  <a:lnTo>
                    <a:pt x="202" y="766"/>
                  </a:lnTo>
                  <a:lnTo>
                    <a:pt x="202" y="767"/>
                  </a:lnTo>
                  <a:lnTo>
                    <a:pt x="198" y="766"/>
                  </a:lnTo>
                  <a:lnTo>
                    <a:pt x="198" y="767"/>
                  </a:lnTo>
                  <a:lnTo>
                    <a:pt x="200" y="767"/>
                  </a:lnTo>
                  <a:lnTo>
                    <a:pt x="202" y="767"/>
                  </a:lnTo>
                  <a:lnTo>
                    <a:pt x="204" y="769"/>
                  </a:lnTo>
                  <a:lnTo>
                    <a:pt x="205" y="769"/>
                  </a:lnTo>
                  <a:lnTo>
                    <a:pt x="207" y="769"/>
                  </a:lnTo>
                  <a:lnTo>
                    <a:pt x="207" y="771"/>
                  </a:lnTo>
                  <a:lnTo>
                    <a:pt x="209" y="771"/>
                  </a:lnTo>
                  <a:lnTo>
                    <a:pt x="210" y="772"/>
                  </a:lnTo>
                  <a:lnTo>
                    <a:pt x="210" y="774"/>
                  </a:lnTo>
                  <a:lnTo>
                    <a:pt x="212" y="774"/>
                  </a:lnTo>
                  <a:lnTo>
                    <a:pt x="212" y="772"/>
                  </a:lnTo>
                  <a:lnTo>
                    <a:pt x="214" y="774"/>
                  </a:lnTo>
                  <a:lnTo>
                    <a:pt x="214" y="776"/>
                  </a:lnTo>
                  <a:lnTo>
                    <a:pt x="212" y="776"/>
                  </a:lnTo>
                  <a:lnTo>
                    <a:pt x="212" y="774"/>
                  </a:lnTo>
                  <a:lnTo>
                    <a:pt x="212" y="776"/>
                  </a:lnTo>
                  <a:lnTo>
                    <a:pt x="209" y="776"/>
                  </a:lnTo>
                  <a:lnTo>
                    <a:pt x="207" y="774"/>
                  </a:lnTo>
                  <a:lnTo>
                    <a:pt x="207" y="776"/>
                  </a:lnTo>
                  <a:lnTo>
                    <a:pt x="209" y="776"/>
                  </a:lnTo>
                  <a:lnTo>
                    <a:pt x="212" y="778"/>
                  </a:lnTo>
                  <a:lnTo>
                    <a:pt x="214" y="776"/>
                  </a:lnTo>
                  <a:lnTo>
                    <a:pt x="215" y="778"/>
                  </a:lnTo>
                  <a:lnTo>
                    <a:pt x="217" y="779"/>
                  </a:lnTo>
                  <a:lnTo>
                    <a:pt x="215" y="779"/>
                  </a:lnTo>
                  <a:lnTo>
                    <a:pt x="215" y="778"/>
                  </a:lnTo>
                  <a:lnTo>
                    <a:pt x="214" y="778"/>
                  </a:lnTo>
                  <a:lnTo>
                    <a:pt x="214" y="779"/>
                  </a:lnTo>
                  <a:lnTo>
                    <a:pt x="215" y="779"/>
                  </a:lnTo>
                  <a:lnTo>
                    <a:pt x="214" y="779"/>
                  </a:lnTo>
                  <a:lnTo>
                    <a:pt x="214" y="781"/>
                  </a:lnTo>
                  <a:lnTo>
                    <a:pt x="212" y="779"/>
                  </a:lnTo>
                  <a:lnTo>
                    <a:pt x="212" y="781"/>
                  </a:lnTo>
                  <a:lnTo>
                    <a:pt x="210" y="781"/>
                  </a:lnTo>
                  <a:lnTo>
                    <a:pt x="214" y="783"/>
                  </a:lnTo>
                  <a:lnTo>
                    <a:pt x="212" y="783"/>
                  </a:lnTo>
                  <a:lnTo>
                    <a:pt x="214" y="781"/>
                  </a:lnTo>
                  <a:lnTo>
                    <a:pt x="215" y="783"/>
                  </a:lnTo>
                  <a:lnTo>
                    <a:pt x="214" y="783"/>
                  </a:lnTo>
                  <a:lnTo>
                    <a:pt x="215" y="784"/>
                  </a:lnTo>
                  <a:lnTo>
                    <a:pt x="215" y="786"/>
                  </a:lnTo>
                  <a:lnTo>
                    <a:pt x="217" y="784"/>
                  </a:lnTo>
                  <a:lnTo>
                    <a:pt x="215" y="788"/>
                  </a:lnTo>
                  <a:lnTo>
                    <a:pt x="215" y="786"/>
                  </a:lnTo>
                  <a:lnTo>
                    <a:pt x="215" y="788"/>
                  </a:lnTo>
                  <a:lnTo>
                    <a:pt x="217" y="789"/>
                  </a:lnTo>
                  <a:lnTo>
                    <a:pt x="215" y="789"/>
                  </a:lnTo>
                  <a:lnTo>
                    <a:pt x="215" y="791"/>
                  </a:lnTo>
                  <a:lnTo>
                    <a:pt x="214" y="789"/>
                  </a:lnTo>
                  <a:lnTo>
                    <a:pt x="214" y="791"/>
                  </a:lnTo>
                  <a:lnTo>
                    <a:pt x="212" y="789"/>
                  </a:lnTo>
                  <a:lnTo>
                    <a:pt x="210" y="788"/>
                  </a:lnTo>
                  <a:lnTo>
                    <a:pt x="209" y="786"/>
                  </a:lnTo>
                  <a:lnTo>
                    <a:pt x="207" y="786"/>
                  </a:lnTo>
                  <a:lnTo>
                    <a:pt x="209" y="786"/>
                  </a:lnTo>
                  <a:lnTo>
                    <a:pt x="209" y="788"/>
                  </a:lnTo>
                  <a:lnTo>
                    <a:pt x="210" y="788"/>
                  </a:lnTo>
                  <a:lnTo>
                    <a:pt x="212" y="789"/>
                  </a:lnTo>
                  <a:lnTo>
                    <a:pt x="212" y="791"/>
                  </a:lnTo>
                  <a:lnTo>
                    <a:pt x="212" y="789"/>
                  </a:lnTo>
                  <a:lnTo>
                    <a:pt x="210" y="789"/>
                  </a:lnTo>
                  <a:lnTo>
                    <a:pt x="212" y="791"/>
                  </a:lnTo>
                  <a:lnTo>
                    <a:pt x="214" y="793"/>
                  </a:lnTo>
                  <a:lnTo>
                    <a:pt x="215" y="795"/>
                  </a:lnTo>
                  <a:lnTo>
                    <a:pt x="215" y="796"/>
                  </a:lnTo>
                  <a:lnTo>
                    <a:pt x="214" y="795"/>
                  </a:lnTo>
                  <a:lnTo>
                    <a:pt x="215" y="795"/>
                  </a:lnTo>
                  <a:lnTo>
                    <a:pt x="214" y="795"/>
                  </a:lnTo>
                  <a:lnTo>
                    <a:pt x="212" y="796"/>
                  </a:lnTo>
                  <a:lnTo>
                    <a:pt x="214" y="796"/>
                  </a:lnTo>
                  <a:lnTo>
                    <a:pt x="215" y="798"/>
                  </a:lnTo>
                  <a:lnTo>
                    <a:pt x="217" y="798"/>
                  </a:lnTo>
                  <a:lnTo>
                    <a:pt x="215" y="798"/>
                  </a:lnTo>
                  <a:lnTo>
                    <a:pt x="214" y="798"/>
                  </a:lnTo>
                  <a:lnTo>
                    <a:pt x="212" y="798"/>
                  </a:lnTo>
                  <a:lnTo>
                    <a:pt x="212" y="800"/>
                  </a:lnTo>
                  <a:lnTo>
                    <a:pt x="212" y="798"/>
                  </a:lnTo>
                  <a:lnTo>
                    <a:pt x="214" y="800"/>
                  </a:lnTo>
                  <a:lnTo>
                    <a:pt x="212" y="800"/>
                  </a:lnTo>
                  <a:lnTo>
                    <a:pt x="212" y="798"/>
                  </a:lnTo>
                  <a:lnTo>
                    <a:pt x="210" y="798"/>
                  </a:lnTo>
                  <a:lnTo>
                    <a:pt x="210" y="796"/>
                  </a:lnTo>
                  <a:lnTo>
                    <a:pt x="210" y="798"/>
                  </a:lnTo>
                  <a:lnTo>
                    <a:pt x="212" y="800"/>
                  </a:lnTo>
                  <a:lnTo>
                    <a:pt x="210" y="800"/>
                  </a:lnTo>
                  <a:lnTo>
                    <a:pt x="212" y="801"/>
                  </a:lnTo>
                  <a:lnTo>
                    <a:pt x="212" y="800"/>
                  </a:lnTo>
                  <a:lnTo>
                    <a:pt x="212" y="801"/>
                  </a:lnTo>
                  <a:lnTo>
                    <a:pt x="214" y="803"/>
                  </a:lnTo>
                  <a:lnTo>
                    <a:pt x="214" y="801"/>
                  </a:lnTo>
                  <a:lnTo>
                    <a:pt x="215" y="800"/>
                  </a:lnTo>
                  <a:lnTo>
                    <a:pt x="217" y="800"/>
                  </a:lnTo>
                  <a:lnTo>
                    <a:pt x="215" y="801"/>
                  </a:lnTo>
                  <a:lnTo>
                    <a:pt x="215" y="803"/>
                  </a:lnTo>
                  <a:lnTo>
                    <a:pt x="217" y="805"/>
                  </a:lnTo>
                  <a:lnTo>
                    <a:pt x="215" y="805"/>
                  </a:lnTo>
                  <a:lnTo>
                    <a:pt x="215" y="803"/>
                  </a:lnTo>
                  <a:lnTo>
                    <a:pt x="214" y="805"/>
                  </a:lnTo>
                  <a:lnTo>
                    <a:pt x="215" y="805"/>
                  </a:lnTo>
                  <a:lnTo>
                    <a:pt x="215" y="807"/>
                  </a:lnTo>
                  <a:lnTo>
                    <a:pt x="217" y="808"/>
                  </a:lnTo>
                  <a:lnTo>
                    <a:pt x="215" y="808"/>
                  </a:lnTo>
                  <a:lnTo>
                    <a:pt x="217" y="808"/>
                  </a:lnTo>
                  <a:lnTo>
                    <a:pt x="215" y="808"/>
                  </a:lnTo>
                  <a:lnTo>
                    <a:pt x="214" y="807"/>
                  </a:lnTo>
                  <a:lnTo>
                    <a:pt x="212" y="807"/>
                  </a:lnTo>
                  <a:lnTo>
                    <a:pt x="214" y="807"/>
                  </a:lnTo>
                  <a:lnTo>
                    <a:pt x="212" y="808"/>
                  </a:lnTo>
                  <a:lnTo>
                    <a:pt x="212" y="807"/>
                  </a:lnTo>
                  <a:lnTo>
                    <a:pt x="210" y="808"/>
                  </a:lnTo>
                  <a:lnTo>
                    <a:pt x="209" y="805"/>
                  </a:lnTo>
                  <a:lnTo>
                    <a:pt x="210" y="805"/>
                  </a:lnTo>
                  <a:lnTo>
                    <a:pt x="212" y="805"/>
                  </a:lnTo>
                  <a:lnTo>
                    <a:pt x="210" y="805"/>
                  </a:lnTo>
                  <a:lnTo>
                    <a:pt x="209" y="803"/>
                  </a:lnTo>
                  <a:lnTo>
                    <a:pt x="207" y="801"/>
                  </a:lnTo>
                  <a:lnTo>
                    <a:pt x="205" y="800"/>
                  </a:lnTo>
                  <a:lnTo>
                    <a:pt x="207" y="803"/>
                  </a:lnTo>
                  <a:lnTo>
                    <a:pt x="209" y="805"/>
                  </a:lnTo>
                  <a:lnTo>
                    <a:pt x="207" y="805"/>
                  </a:lnTo>
                  <a:lnTo>
                    <a:pt x="210" y="808"/>
                  </a:lnTo>
                  <a:lnTo>
                    <a:pt x="209" y="808"/>
                  </a:lnTo>
                  <a:lnTo>
                    <a:pt x="207" y="807"/>
                  </a:lnTo>
                  <a:lnTo>
                    <a:pt x="205" y="807"/>
                  </a:lnTo>
                  <a:lnTo>
                    <a:pt x="205" y="808"/>
                  </a:lnTo>
                  <a:lnTo>
                    <a:pt x="207" y="810"/>
                  </a:lnTo>
                  <a:lnTo>
                    <a:pt x="207" y="812"/>
                  </a:lnTo>
                  <a:lnTo>
                    <a:pt x="209" y="812"/>
                  </a:lnTo>
                  <a:lnTo>
                    <a:pt x="210" y="813"/>
                  </a:lnTo>
                  <a:lnTo>
                    <a:pt x="212" y="813"/>
                  </a:lnTo>
                  <a:lnTo>
                    <a:pt x="212" y="815"/>
                  </a:lnTo>
                  <a:lnTo>
                    <a:pt x="214" y="817"/>
                  </a:lnTo>
                  <a:lnTo>
                    <a:pt x="215" y="818"/>
                  </a:lnTo>
                  <a:lnTo>
                    <a:pt x="214" y="815"/>
                  </a:lnTo>
                  <a:lnTo>
                    <a:pt x="212" y="817"/>
                  </a:lnTo>
                  <a:lnTo>
                    <a:pt x="210" y="815"/>
                  </a:lnTo>
                  <a:lnTo>
                    <a:pt x="209" y="813"/>
                  </a:lnTo>
                  <a:lnTo>
                    <a:pt x="207" y="812"/>
                  </a:lnTo>
                  <a:lnTo>
                    <a:pt x="207" y="810"/>
                  </a:lnTo>
                  <a:lnTo>
                    <a:pt x="205" y="812"/>
                  </a:lnTo>
                  <a:lnTo>
                    <a:pt x="204" y="810"/>
                  </a:lnTo>
                  <a:lnTo>
                    <a:pt x="202" y="807"/>
                  </a:lnTo>
                  <a:lnTo>
                    <a:pt x="202" y="808"/>
                  </a:lnTo>
                  <a:lnTo>
                    <a:pt x="204" y="810"/>
                  </a:lnTo>
                  <a:lnTo>
                    <a:pt x="204" y="812"/>
                  </a:lnTo>
                  <a:lnTo>
                    <a:pt x="205" y="812"/>
                  </a:lnTo>
                  <a:lnTo>
                    <a:pt x="205" y="810"/>
                  </a:lnTo>
                  <a:lnTo>
                    <a:pt x="205" y="812"/>
                  </a:lnTo>
                  <a:lnTo>
                    <a:pt x="209" y="813"/>
                  </a:lnTo>
                  <a:lnTo>
                    <a:pt x="209" y="815"/>
                  </a:lnTo>
                  <a:lnTo>
                    <a:pt x="210" y="815"/>
                  </a:lnTo>
                  <a:lnTo>
                    <a:pt x="212" y="817"/>
                  </a:lnTo>
                  <a:lnTo>
                    <a:pt x="214" y="817"/>
                  </a:lnTo>
                  <a:lnTo>
                    <a:pt x="214" y="818"/>
                  </a:lnTo>
                  <a:lnTo>
                    <a:pt x="212" y="818"/>
                  </a:lnTo>
                  <a:lnTo>
                    <a:pt x="214" y="818"/>
                  </a:lnTo>
                  <a:lnTo>
                    <a:pt x="215" y="818"/>
                  </a:lnTo>
                  <a:lnTo>
                    <a:pt x="214" y="818"/>
                  </a:lnTo>
                  <a:lnTo>
                    <a:pt x="215" y="820"/>
                  </a:lnTo>
                  <a:lnTo>
                    <a:pt x="215" y="818"/>
                  </a:lnTo>
                  <a:lnTo>
                    <a:pt x="217" y="820"/>
                  </a:lnTo>
                  <a:lnTo>
                    <a:pt x="215" y="820"/>
                  </a:lnTo>
                  <a:lnTo>
                    <a:pt x="214" y="820"/>
                  </a:lnTo>
                  <a:lnTo>
                    <a:pt x="215" y="822"/>
                  </a:lnTo>
                  <a:lnTo>
                    <a:pt x="214" y="822"/>
                  </a:lnTo>
                  <a:lnTo>
                    <a:pt x="212" y="822"/>
                  </a:lnTo>
                  <a:lnTo>
                    <a:pt x="210" y="820"/>
                  </a:lnTo>
                  <a:lnTo>
                    <a:pt x="209" y="818"/>
                  </a:lnTo>
                  <a:lnTo>
                    <a:pt x="207" y="818"/>
                  </a:lnTo>
                  <a:lnTo>
                    <a:pt x="209" y="820"/>
                  </a:lnTo>
                  <a:lnTo>
                    <a:pt x="210" y="822"/>
                  </a:lnTo>
                  <a:lnTo>
                    <a:pt x="212" y="822"/>
                  </a:lnTo>
                  <a:lnTo>
                    <a:pt x="212" y="824"/>
                  </a:lnTo>
                  <a:lnTo>
                    <a:pt x="210" y="824"/>
                  </a:lnTo>
                  <a:lnTo>
                    <a:pt x="210" y="825"/>
                  </a:lnTo>
                  <a:lnTo>
                    <a:pt x="212" y="825"/>
                  </a:lnTo>
                  <a:lnTo>
                    <a:pt x="214" y="827"/>
                  </a:lnTo>
                  <a:lnTo>
                    <a:pt x="212" y="827"/>
                  </a:lnTo>
                  <a:lnTo>
                    <a:pt x="212" y="829"/>
                  </a:lnTo>
                  <a:lnTo>
                    <a:pt x="214" y="830"/>
                  </a:lnTo>
                  <a:lnTo>
                    <a:pt x="212" y="829"/>
                  </a:lnTo>
                  <a:lnTo>
                    <a:pt x="210" y="827"/>
                  </a:lnTo>
                  <a:lnTo>
                    <a:pt x="210" y="829"/>
                  </a:lnTo>
                  <a:lnTo>
                    <a:pt x="210" y="827"/>
                  </a:lnTo>
                  <a:lnTo>
                    <a:pt x="209" y="827"/>
                  </a:lnTo>
                  <a:lnTo>
                    <a:pt x="207" y="825"/>
                  </a:lnTo>
                  <a:lnTo>
                    <a:pt x="209" y="827"/>
                  </a:lnTo>
                  <a:lnTo>
                    <a:pt x="209" y="829"/>
                  </a:lnTo>
                  <a:lnTo>
                    <a:pt x="210" y="830"/>
                  </a:lnTo>
                  <a:lnTo>
                    <a:pt x="209" y="830"/>
                  </a:lnTo>
                  <a:lnTo>
                    <a:pt x="210" y="830"/>
                  </a:lnTo>
                  <a:lnTo>
                    <a:pt x="210" y="832"/>
                  </a:lnTo>
                  <a:lnTo>
                    <a:pt x="212" y="830"/>
                  </a:lnTo>
                  <a:lnTo>
                    <a:pt x="214" y="830"/>
                  </a:lnTo>
                  <a:lnTo>
                    <a:pt x="214" y="832"/>
                  </a:lnTo>
                  <a:lnTo>
                    <a:pt x="212" y="832"/>
                  </a:lnTo>
                  <a:lnTo>
                    <a:pt x="214" y="834"/>
                  </a:lnTo>
                  <a:lnTo>
                    <a:pt x="215" y="834"/>
                  </a:lnTo>
                  <a:lnTo>
                    <a:pt x="214" y="834"/>
                  </a:lnTo>
                  <a:lnTo>
                    <a:pt x="215" y="835"/>
                  </a:lnTo>
                  <a:lnTo>
                    <a:pt x="215" y="837"/>
                  </a:lnTo>
                  <a:lnTo>
                    <a:pt x="214" y="837"/>
                  </a:lnTo>
                  <a:lnTo>
                    <a:pt x="215" y="837"/>
                  </a:lnTo>
                  <a:lnTo>
                    <a:pt x="214" y="839"/>
                  </a:lnTo>
                  <a:lnTo>
                    <a:pt x="215" y="837"/>
                  </a:lnTo>
                  <a:lnTo>
                    <a:pt x="217" y="839"/>
                  </a:lnTo>
                  <a:lnTo>
                    <a:pt x="215" y="839"/>
                  </a:lnTo>
                  <a:lnTo>
                    <a:pt x="217" y="839"/>
                  </a:lnTo>
                  <a:lnTo>
                    <a:pt x="215" y="841"/>
                  </a:lnTo>
                  <a:lnTo>
                    <a:pt x="214" y="841"/>
                  </a:lnTo>
                  <a:lnTo>
                    <a:pt x="214" y="842"/>
                  </a:lnTo>
                  <a:lnTo>
                    <a:pt x="215" y="844"/>
                  </a:lnTo>
                  <a:lnTo>
                    <a:pt x="214" y="842"/>
                  </a:lnTo>
                  <a:lnTo>
                    <a:pt x="214" y="844"/>
                  </a:lnTo>
                  <a:lnTo>
                    <a:pt x="214" y="842"/>
                  </a:lnTo>
                  <a:lnTo>
                    <a:pt x="214" y="844"/>
                  </a:lnTo>
                  <a:lnTo>
                    <a:pt x="212" y="844"/>
                  </a:lnTo>
                  <a:lnTo>
                    <a:pt x="210" y="844"/>
                  </a:lnTo>
                  <a:lnTo>
                    <a:pt x="210" y="846"/>
                  </a:lnTo>
                  <a:lnTo>
                    <a:pt x="212" y="846"/>
                  </a:lnTo>
                  <a:lnTo>
                    <a:pt x="210" y="846"/>
                  </a:lnTo>
                  <a:lnTo>
                    <a:pt x="212" y="847"/>
                  </a:lnTo>
                  <a:lnTo>
                    <a:pt x="212" y="846"/>
                  </a:lnTo>
                  <a:lnTo>
                    <a:pt x="212" y="847"/>
                  </a:lnTo>
                  <a:lnTo>
                    <a:pt x="212" y="849"/>
                  </a:lnTo>
                  <a:lnTo>
                    <a:pt x="209" y="849"/>
                  </a:lnTo>
                  <a:lnTo>
                    <a:pt x="209" y="851"/>
                  </a:lnTo>
                  <a:lnTo>
                    <a:pt x="210" y="852"/>
                  </a:lnTo>
                  <a:lnTo>
                    <a:pt x="210" y="854"/>
                  </a:lnTo>
                  <a:lnTo>
                    <a:pt x="209" y="854"/>
                  </a:lnTo>
                  <a:lnTo>
                    <a:pt x="209" y="856"/>
                  </a:lnTo>
                  <a:lnTo>
                    <a:pt x="209" y="859"/>
                  </a:lnTo>
                  <a:lnTo>
                    <a:pt x="210" y="859"/>
                  </a:lnTo>
                  <a:lnTo>
                    <a:pt x="210" y="863"/>
                  </a:lnTo>
                  <a:lnTo>
                    <a:pt x="212" y="861"/>
                  </a:lnTo>
                  <a:lnTo>
                    <a:pt x="212" y="863"/>
                  </a:lnTo>
                  <a:lnTo>
                    <a:pt x="214" y="863"/>
                  </a:lnTo>
                  <a:lnTo>
                    <a:pt x="212" y="864"/>
                  </a:lnTo>
                  <a:lnTo>
                    <a:pt x="214" y="866"/>
                  </a:lnTo>
                  <a:lnTo>
                    <a:pt x="214" y="868"/>
                  </a:lnTo>
                  <a:lnTo>
                    <a:pt x="212" y="866"/>
                  </a:lnTo>
                  <a:lnTo>
                    <a:pt x="214" y="868"/>
                  </a:lnTo>
                  <a:lnTo>
                    <a:pt x="212" y="868"/>
                  </a:lnTo>
                  <a:lnTo>
                    <a:pt x="209" y="868"/>
                  </a:lnTo>
                  <a:lnTo>
                    <a:pt x="210" y="868"/>
                  </a:lnTo>
                  <a:lnTo>
                    <a:pt x="214" y="869"/>
                  </a:lnTo>
                  <a:lnTo>
                    <a:pt x="212" y="869"/>
                  </a:lnTo>
                  <a:lnTo>
                    <a:pt x="212" y="871"/>
                  </a:lnTo>
                  <a:lnTo>
                    <a:pt x="210" y="869"/>
                  </a:lnTo>
                  <a:lnTo>
                    <a:pt x="210" y="871"/>
                  </a:lnTo>
                  <a:lnTo>
                    <a:pt x="210" y="873"/>
                  </a:lnTo>
                  <a:lnTo>
                    <a:pt x="209" y="871"/>
                  </a:lnTo>
                  <a:lnTo>
                    <a:pt x="210" y="869"/>
                  </a:lnTo>
                  <a:lnTo>
                    <a:pt x="210" y="868"/>
                  </a:lnTo>
                  <a:lnTo>
                    <a:pt x="209" y="871"/>
                  </a:lnTo>
                  <a:lnTo>
                    <a:pt x="210" y="873"/>
                  </a:lnTo>
                  <a:lnTo>
                    <a:pt x="210" y="875"/>
                  </a:lnTo>
                  <a:lnTo>
                    <a:pt x="209" y="876"/>
                  </a:lnTo>
                  <a:lnTo>
                    <a:pt x="210" y="876"/>
                  </a:lnTo>
                  <a:lnTo>
                    <a:pt x="210" y="878"/>
                  </a:lnTo>
                  <a:lnTo>
                    <a:pt x="209" y="881"/>
                  </a:lnTo>
                  <a:lnTo>
                    <a:pt x="210" y="883"/>
                  </a:lnTo>
                  <a:lnTo>
                    <a:pt x="209" y="883"/>
                  </a:lnTo>
                  <a:lnTo>
                    <a:pt x="209" y="885"/>
                  </a:lnTo>
                  <a:lnTo>
                    <a:pt x="210" y="885"/>
                  </a:lnTo>
                  <a:lnTo>
                    <a:pt x="212" y="883"/>
                  </a:lnTo>
                  <a:lnTo>
                    <a:pt x="212" y="886"/>
                  </a:lnTo>
                  <a:lnTo>
                    <a:pt x="210" y="886"/>
                  </a:lnTo>
                  <a:lnTo>
                    <a:pt x="210" y="885"/>
                  </a:lnTo>
                  <a:lnTo>
                    <a:pt x="209" y="886"/>
                  </a:lnTo>
                  <a:lnTo>
                    <a:pt x="207" y="886"/>
                  </a:lnTo>
                  <a:lnTo>
                    <a:pt x="209" y="886"/>
                  </a:lnTo>
                  <a:lnTo>
                    <a:pt x="207" y="886"/>
                  </a:lnTo>
                  <a:lnTo>
                    <a:pt x="209" y="890"/>
                  </a:lnTo>
                  <a:lnTo>
                    <a:pt x="207" y="890"/>
                  </a:lnTo>
                  <a:lnTo>
                    <a:pt x="209" y="890"/>
                  </a:lnTo>
                  <a:lnTo>
                    <a:pt x="209" y="892"/>
                  </a:lnTo>
                  <a:lnTo>
                    <a:pt x="209" y="893"/>
                  </a:lnTo>
                  <a:lnTo>
                    <a:pt x="209" y="895"/>
                  </a:lnTo>
                  <a:lnTo>
                    <a:pt x="209" y="893"/>
                  </a:lnTo>
                  <a:lnTo>
                    <a:pt x="207" y="895"/>
                  </a:lnTo>
                  <a:lnTo>
                    <a:pt x="207" y="897"/>
                  </a:lnTo>
                  <a:lnTo>
                    <a:pt x="207" y="895"/>
                  </a:lnTo>
                  <a:lnTo>
                    <a:pt x="205" y="895"/>
                  </a:lnTo>
                  <a:lnTo>
                    <a:pt x="205" y="897"/>
                  </a:lnTo>
                  <a:lnTo>
                    <a:pt x="204" y="897"/>
                  </a:lnTo>
                  <a:lnTo>
                    <a:pt x="204" y="898"/>
                  </a:lnTo>
                  <a:lnTo>
                    <a:pt x="204" y="900"/>
                  </a:lnTo>
                  <a:lnTo>
                    <a:pt x="204" y="902"/>
                  </a:lnTo>
                  <a:lnTo>
                    <a:pt x="204" y="903"/>
                  </a:lnTo>
                  <a:lnTo>
                    <a:pt x="202" y="903"/>
                  </a:lnTo>
                  <a:lnTo>
                    <a:pt x="202" y="907"/>
                  </a:lnTo>
                  <a:lnTo>
                    <a:pt x="200" y="907"/>
                  </a:lnTo>
                  <a:lnTo>
                    <a:pt x="200" y="909"/>
                  </a:lnTo>
                  <a:lnTo>
                    <a:pt x="200" y="910"/>
                  </a:lnTo>
                  <a:lnTo>
                    <a:pt x="200" y="909"/>
                  </a:lnTo>
                  <a:lnTo>
                    <a:pt x="200" y="910"/>
                  </a:lnTo>
                  <a:lnTo>
                    <a:pt x="200" y="912"/>
                  </a:lnTo>
                  <a:lnTo>
                    <a:pt x="200" y="914"/>
                  </a:lnTo>
                  <a:lnTo>
                    <a:pt x="198" y="915"/>
                  </a:lnTo>
                  <a:lnTo>
                    <a:pt x="200" y="915"/>
                  </a:lnTo>
                  <a:lnTo>
                    <a:pt x="198" y="919"/>
                  </a:lnTo>
                  <a:lnTo>
                    <a:pt x="198" y="922"/>
                  </a:lnTo>
                  <a:lnTo>
                    <a:pt x="198" y="926"/>
                  </a:lnTo>
                  <a:lnTo>
                    <a:pt x="198" y="924"/>
                  </a:lnTo>
                  <a:lnTo>
                    <a:pt x="197" y="924"/>
                  </a:lnTo>
                  <a:lnTo>
                    <a:pt x="197" y="926"/>
                  </a:lnTo>
                  <a:lnTo>
                    <a:pt x="197" y="927"/>
                  </a:lnTo>
                  <a:lnTo>
                    <a:pt x="195" y="927"/>
                  </a:lnTo>
                  <a:lnTo>
                    <a:pt x="195" y="929"/>
                  </a:lnTo>
                  <a:lnTo>
                    <a:pt x="193" y="931"/>
                  </a:lnTo>
                  <a:lnTo>
                    <a:pt x="193" y="932"/>
                  </a:lnTo>
                  <a:lnTo>
                    <a:pt x="192" y="936"/>
                  </a:lnTo>
                  <a:lnTo>
                    <a:pt x="192" y="937"/>
                  </a:lnTo>
                  <a:lnTo>
                    <a:pt x="190" y="934"/>
                  </a:lnTo>
                  <a:lnTo>
                    <a:pt x="190" y="936"/>
                  </a:lnTo>
                  <a:lnTo>
                    <a:pt x="188" y="934"/>
                  </a:lnTo>
                  <a:lnTo>
                    <a:pt x="190" y="932"/>
                  </a:lnTo>
                  <a:lnTo>
                    <a:pt x="190" y="931"/>
                  </a:lnTo>
                  <a:lnTo>
                    <a:pt x="188" y="931"/>
                  </a:lnTo>
                  <a:lnTo>
                    <a:pt x="188" y="932"/>
                  </a:lnTo>
                  <a:lnTo>
                    <a:pt x="188" y="934"/>
                  </a:lnTo>
                  <a:lnTo>
                    <a:pt x="187" y="934"/>
                  </a:lnTo>
                  <a:lnTo>
                    <a:pt x="188" y="934"/>
                  </a:lnTo>
                  <a:lnTo>
                    <a:pt x="187" y="932"/>
                  </a:lnTo>
                  <a:lnTo>
                    <a:pt x="188" y="932"/>
                  </a:lnTo>
                  <a:lnTo>
                    <a:pt x="188" y="931"/>
                  </a:lnTo>
                  <a:lnTo>
                    <a:pt x="187" y="932"/>
                  </a:lnTo>
                  <a:lnTo>
                    <a:pt x="187" y="931"/>
                  </a:lnTo>
                  <a:lnTo>
                    <a:pt x="185" y="931"/>
                  </a:lnTo>
                  <a:lnTo>
                    <a:pt x="185" y="929"/>
                  </a:lnTo>
                  <a:lnTo>
                    <a:pt x="185" y="931"/>
                  </a:lnTo>
                  <a:lnTo>
                    <a:pt x="183" y="929"/>
                  </a:lnTo>
                  <a:lnTo>
                    <a:pt x="181" y="931"/>
                  </a:lnTo>
                  <a:lnTo>
                    <a:pt x="181" y="932"/>
                  </a:lnTo>
                  <a:lnTo>
                    <a:pt x="181" y="931"/>
                  </a:lnTo>
                  <a:lnTo>
                    <a:pt x="181" y="929"/>
                  </a:lnTo>
                  <a:lnTo>
                    <a:pt x="181" y="927"/>
                  </a:lnTo>
                  <a:lnTo>
                    <a:pt x="180" y="929"/>
                  </a:lnTo>
                  <a:lnTo>
                    <a:pt x="180" y="931"/>
                  </a:lnTo>
                  <a:lnTo>
                    <a:pt x="178" y="931"/>
                  </a:lnTo>
                  <a:lnTo>
                    <a:pt x="176" y="931"/>
                  </a:lnTo>
                  <a:lnTo>
                    <a:pt x="176" y="932"/>
                  </a:lnTo>
                  <a:lnTo>
                    <a:pt x="176" y="931"/>
                  </a:lnTo>
                  <a:lnTo>
                    <a:pt x="176" y="934"/>
                  </a:lnTo>
                  <a:lnTo>
                    <a:pt x="176" y="932"/>
                  </a:lnTo>
                  <a:lnTo>
                    <a:pt x="175" y="934"/>
                  </a:lnTo>
                  <a:lnTo>
                    <a:pt x="175" y="932"/>
                  </a:lnTo>
                  <a:lnTo>
                    <a:pt x="176" y="931"/>
                  </a:lnTo>
                  <a:lnTo>
                    <a:pt x="175" y="931"/>
                  </a:lnTo>
                  <a:lnTo>
                    <a:pt x="173" y="932"/>
                  </a:lnTo>
                  <a:lnTo>
                    <a:pt x="173" y="934"/>
                  </a:lnTo>
                  <a:lnTo>
                    <a:pt x="173" y="936"/>
                  </a:lnTo>
                  <a:lnTo>
                    <a:pt x="171" y="934"/>
                  </a:lnTo>
                  <a:lnTo>
                    <a:pt x="170" y="934"/>
                  </a:lnTo>
                  <a:lnTo>
                    <a:pt x="171" y="932"/>
                  </a:lnTo>
                  <a:lnTo>
                    <a:pt x="171" y="931"/>
                  </a:lnTo>
                  <a:lnTo>
                    <a:pt x="170" y="932"/>
                  </a:lnTo>
                  <a:lnTo>
                    <a:pt x="170" y="931"/>
                  </a:lnTo>
                  <a:lnTo>
                    <a:pt x="168" y="932"/>
                  </a:lnTo>
                  <a:lnTo>
                    <a:pt x="166" y="932"/>
                  </a:lnTo>
                  <a:lnTo>
                    <a:pt x="164" y="934"/>
                  </a:lnTo>
                  <a:lnTo>
                    <a:pt x="164" y="932"/>
                  </a:lnTo>
                  <a:lnTo>
                    <a:pt x="163" y="932"/>
                  </a:lnTo>
                  <a:lnTo>
                    <a:pt x="163" y="934"/>
                  </a:lnTo>
                  <a:lnTo>
                    <a:pt x="163" y="932"/>
                  </a:lnTo>
                  <a:lnTo>
                    <a:pt x="161" y="934"/>
                  </a:lnTo>
                  <a:lnTo>
                    <a:pt x="161" y="932"/>
                  </a:lnTo>
                  <a:lnTo>
                    <a:pt x="161" y="931"/>
                  </a:lnTo>
                  <a:lnTo>
                    <a:pt x="159" y="931"/>
                  </a:lnTo>
                  <a:lnTo>
                    <a:pt x="161" y="931"/>
                  </a:lnTo>
                  <a:lnTo>
                    <a:pt x="159" y="931"/>
                  </a:lnTo>
                  <a:lnTo>
                    <a:pt x="159" y="932"/>
                  </a:lnTo>
                  <a:lnTo>
                    <a:pt x="159" y="931"/>
                  </a:lnTo>
                  <a:lnTo>
                    <a:pt x="159" y="932"/>
                  </a:lnTo>
                  <a:lnTo>
                    <a:pt x="159" y="934"/>
                  </a:lnTo>
                  <a:lnTo>
                    <a:pt x="158" y="932"/>
                  </a:lnTo>
                  <a:lnTo>
                    <a:pt x="156" y="934"/>
                  </a:lnTo>
                  <a:lnTo>
                    <a:pt x="154" y="932"/>
                  </a:lnTo>
                  <a:lnTo>
                    <a:pt x="154" y="934"/>
                  </a:lnTo>
                  <a:lnTo>
                    <a:pt x="153" y="932"/>
                  </a:lnTo>
                  <a:lnTo>
                    <a:pt x="153" y="934"/>
                  </a:lnTo>
                  <a:lnTo>
                    <a:pt x="153" y="936"/>
                  </a:lnTo>
                  <a:lnTo>
                    <a:pt x="153" y="934"/>
                  </a:lnTo>
                  <a:lnTo>
                    <a:pt x="151" y="934"/>
                  </a:lnTo>
                  <a:lnTo>
                    <a:pt x="149" y="934"/>
                  </a:lnTo>
                  <a:lnTo>
                    <a:pt x="147" y="934"/>
                  </a:lnTo>
                  <a:lnTo>
                    <a:pt x="146" y="934"/>
                  </a:lnTo>
                  <a:lnTo>
                    <a:pt x="146" y="936"/>
                  </a:lnTo>
                  <a:lnTo>
                    <a:pt x="147" y="936"/>
                  </a:lnTo>
                  <a:lnTo>
                    <a:pt x="147" y="937"/>
                  </a:lnTo>
                  <a:lnTo>
                    <a:pt x="147" y="939"/>
                  </a:lnTo>
                  <a:lnTo>
                    <a:pt x="147" y="941"/>
                  </a:lnTo>
                  <a:lnTo>
                    <a:pt x="151" y="943"/>
                  </a:lnTo>
                  <a:lnTo>
                    <a:pt x="149" y="944"/>
                  </a:lnTo>
                  <a:lnTo>
                    <a:pt x="149" y="946"/>
                  </a:lnTo>
                  <a:lnTo>
                    <a:pt x="147" y="944"/>
                  </a:lnTo>
                  <a:lnTo>
                    <a:pt x="146" y="946"/>
                  </a:lnTo>
                  <a:lnTo>
                    <a:pt x="144" y="944"/>
                  </a:lnTo>
                  <a:lnTo>
                    <a:pt x="144" y="946"/>
                  </a:lnTo>
                  <a:lnTo>
                    <a:pt x="144" y="944"/>
                  </a:lnTo>
                  <a:lnTo>
                    <a:pt x="142" y="944"/>
                  </a:lnTo>
                  <a:lnTo>
                    <a:pt x="144" y="941"/>
                  </a:lnTo>
                  <a:lnTo>
                    <a:pt x="142" y="943"/>
                  </a:lnTo>
                  <a:lnTo>
                    <a:pt x="142" y="944"/>
                  </a:lnTo>
                  <a:lnTo>
                    <a:pt x="141" y="941"/>
                  </a:lnTo>
                  <a:lnTo>
                    <a:pt x="141" y="943"/>
                  </a:lnTo>
                  <a:lnTo>
                    <a:pt x="139" y="943"/>
                  </a:lnTo>
                  <a:lnTo>
                    <a:pt x="137" y="944"/>
                  </a:lnTo>
                  <a:lnTo>
                    <a:pt x="139" y="944"/>
                  </a:lnTo>
                  <a:lnTo>
                    <a:pt x="136" y="946"/>
                  </a:lnTo>
                  <a:lnTo>
                    <a:pt x="136" y="948"/>
                  </a:lnTo>
                  <a:lnTo>
                    <a:pt x="134" y="949"/>
                  </a:lnTo>
                  <a:lnTo>
                    <a:pt x="134" y="951"/>
                  </a:lnTo>
                  <a:lnTo>
                    <a:pt x="132" y="951"/>
                  </a:lnTo>
                  <a:lnTo>
                    <a:pt x="134" y="951"/>
                  </a:lnTo>
                  <a:lnTo>
                    <a:pt x="132" y="953"/>
                  </a:lnTo>
                  <a:lnTo>
                    <a:pt x="130" y="955"/>
                  </a:lnTo>
                  <a:lnTo>
                    <a:pt x="130" y="956"/>
                  </a:lnTo>
                  <a:lnTo>
                    <a:pt x="129" y="956"/>
                  </a:lnTo>
                  <a:lnTo>
                    <a:pt x="130" y="956"/>
                  </a:lnTo>
                  <a:lnTo>
                    <a:pt x="129" y="958"/>
                  </a:lnTo>
                  <a:lnTo>
                    <a:pt x="129" y="960"/>
                  </a:lnTo>
                  <a:lnTo>
                    <a:pt x="129" y="961"/>
                  </a:lnTo>
                  <a:lnTo>
                    <a:pt x="129" y="963"/>
                  </a:lnTo>
                  <a:lnTo>
                    <a:pt x="129" y="965"/>
                  </a:lnTo>
                  <a:lnTo>
                    <a:pt x="129" y="966"/>
                  </a:lnTo>
                  <a:lnTo>
                    <a:pt x="130" y="968"/>
                  </a:lnTo>
                  <a:lnTo>
                    <a:pt x="132" y="968"/>
                  </a:lnTo>
                  <a:lnTo>
                    <a:pt x="132" y="970"/>
                  </a:lnTo>
                  <a:lnTo>
                    <a:pt x="132" y="973"/>
                  </a:lnTo>
                  <a:lnTo>
                    <a:pt x="136" y="975"/>
                  </a:lnTo>
                  <a:lnTo>
                    <a:pt x="136" y="977"/>
                  </a:lnTo>
                  <a:lnTo>
                    <a:pt x="136" y="980"/>
                  </a:lnTo>
                  <a:lnTo>
                    <a:pt x="136" y="982"/>
                  </a:lnTo>
                  <a:lnTo>
                    <a:pt x="134" y="983"/>
                  </a:lnTo>
                  <a:lnTo>
                    <a:pt x="132" y="985"/>
                  </a:lnTo>
                  <a:lnTo>
                    <a:pt x="130" y="989"/>
                  </a:lnTo>
                  <a:lnTo>
                    <a:pt x="130" y="990"/>
                  </a:lnTo>
                  <a:lnTo>
                    <a:pt x="129" y="990"/>
                  </a:lnTo>
                  <a:lnTo>
                    <a:pt x="125" y="990"/>
                  </a:lnTo>
                  <a:lnTo>
                    <a:pt x="124" y="990"/>
                  </a:lnTo>
                  <a:lnTo>
                    <a:pt x="124" y="989"/>
                  </a:lnTo>
                  <a:lnTo>
                    <a:pt x="122" y="987"/>
                  </a:lnTo>
                  <a:lnTo>
                    <a:pt x="119" y="987"/>
                  </a:lnTo>
                  <a:lnTo>
                    <a:pt x="117" y="987"/>
                  </a:lnTo>
                  <a:lnTo>
                    <a:pt x="115" y="989"/>
                  </a:lnTo>
                  <a:lnTo>
                    <a:pt x="115" y="987"/>
                  </a:lnTo>
                  <a:lnTo>
                    <a:pt x="113" y="987"/>
                  </a:lnTo>
                  <a:lnTo>
                    <a:pt x="112" y="987"/>
                  </a:lnTo>
                  <a:lnTo>
                    <a:pt x="110" y="989"/>
                  </a:lnTo>
                  <a:lnTo>
                    <a:pt x="108" y="989"/>
                  </a:lnTo>
                  <a:lnTo>
                    <a:pt x="107" y="990"/>
                  </a:lnTo>
                  <a:lnTo>
                    <a:pt x="105" y="990"/>
                  </a:lnTo>
                  <a:lnTo>
                    <a:pt x="102" y="990"/>
                  </a:lnTo>
                  <a:lnTo>
                    <a:pt x="100" y="992"/>
                  </a:lnTo>
                  <a:lnTo>
                    <a:pt x="100" y="994"/>
                  </a:lnTo>
                  <a:lnTo>
                    <a:pt x="96" y="994"/>
                  </a:lnTo>
                  <a:lnTo>
                    <a:pt x="93" y="994"/>
                  </a:lnTo>
                  <a:lnTo>
                    <a:pt x="91" y="994"/>
                  </a:lnTo>
                  <a:lnTo>
                    <a:pt x="90" y="992"/>
                  </a:lnTo>
                  <a:lnTo>
                    <a:pt x="86" y="992"/>
                  </a:lnTo>
                  <a:lnTo>
                    <a:pt x="85" y="992"/>
                  </a:lnTo>
                  <a:lnTo>
                    <a:pt x="83" y="992"/>
                  </a:lnTo>
                  <a:lnTo>
                    <a:pt x="81" y="990"/>
                  </a:lnTo>
                  <a:lnTo>
                    <a:pt x="79" y="990"/>
                  </a:lnTo>
                  <a:lnTo>
                    <a:pt x="81" y="989"/>
                  </a:lnTo>
                  <a:lnTo>
                    <a:pt x="81" y="987"/>
                  </a:lnTo>
                  <a:lnTo>
                    <a:pt x="81" y="989"/>
                  </a:lnTo>
                  <a:lnTo>
                    <a:pt x="81" y="987"/>
                  </a:lnTo>
                  <a:lnTo>
                    <a:pt x="79" y="983"/>
                  </a:lnTo>
                  <a:lnTo>
                    <a:pt x="79" y="982"/>
                  </a:lnTo>
                  <a:lnTo>
                    <a:pt x="78" y="982"/>
                  </a:lnTo>
                  <a:lnTo>
                    <a:pt x="79" y="982"/>
                  </a:lnTo>
                  <a:lnTo>
                    <a:pt x="78" y="980"/>
                  </a:lnTo>
                  <a:lnTo>
                    <a:pt x="79" y="977"/>
                  </a:lnTo>
                  <a:lnTo>
                    <a:pt x="81" y="977"/>
                  </a:lnTo>
                  <a:lnTo>
                    <a:pt x="81" y="975"/>
                  </a:lnTo>
                  <a:lnTo>
                    <a:pt x="83" y="977"/>
                  </a:lnTo>
                  <a:lnTo>
                    <a:pt x="81" y="975"/>
                  </a:lnTo>
                  <a:lnTo>
                    <a:pt x="83" y="975"/>
                  </a:lnTo>
                  <a:lnTo>
                    <a:pt x="81" y="975"/>
                  </a:lnTo>
                  <a:lnTo>
                    <a:pt x="85" y="973"/>
                  </a:lnTo>
                  <a:lnTo>
                    <a:pt x="85" y="972"/>
                  </a:lnTo>
                  <a:lnTo>
                    <a:pt x="85" y="970"/>
                  </a:lnTo>
                  <a:lnTo>
                    <a:pt x="83" y="970"/>
                  </a:lnTo>
                  <a:lnTo>
                    <a:pt x="81" y="968"/>
                  </a:lnTo>
                  <a:lnTo>
                    <a:pt x="81" y="966"/>
                  </a:lnTo>
                  <a:lnTo>
                    <a:pt x="81" y="968"/>
                  </a:lnTo>
                  <a:lnTo>
                    <a:pt x="79" y="966"/>
                  </a:lnTo>
                  <a:lnTo>
                    <a:pt x="78" y="966"/>
                  </a:lnTo>
                  <a:lnTo>
                    <a:pt x="79" y="963"/>
                  </a:lnTo>
                  <a:lnTo>
                    <a:pt x="78" y="960"/>
                  </a:lnTo>
                  <a:lnTo>
                    <a:pt x="76" y="958"/>
                  </a:lnTo>
                  <a:lnTo>
                    <a:pt x="74" y="960"/>
                  </a:lnTo>
                  <a:lnTo>
                    <a:pt x="74" y="958"/>
                  </a:lnTo>
                  <a:lnTo>
                    <a:pt x="73" y="956"/>
                  </a:lnTo>
                  <a:lnTo>
                    <a:pt x="74" y="955"/>
                  </a:lnTo>
                  <a:lnTo>
                    <a:pt x="73" y="953"/>
                  </a:lnTo>
                  <a:lnTo>
                    <a:pt x="71" y="953"/>
                  </a:lnTo>
                  <a:lnTo>
                    <a:pt x="71" y="949"/>
                  </a:lnTo>
                  <a:lnTo>
                    <a:pt x="69" y="949"/>
                  </a:lnTo>
                  <a:lnTo>
                    <a:pt x="69" y="946"/>
                  </a:lnTo>
                  <a:lnTo>
                    <a:pt x="68" y="944"/>
                  </a:lnTo>
                  <a:lnTo>
                    <a:pt x="66" y="943"/>
                  </a:lnTo>
                  <a:lnTo>
                    <a:pt x="66" y="941"/>
                  </a:lnTo>
                  <a:lnTo>
                    <a:pt x="64" y="939"/>
                  </a:lnTo>
                  <a:lnTo>
                    <a:pt x="62" y="937"/>
                  </a:lnTo>
                  <a:lnTo>
                    <a:pt x="62" y="936"/>
                  </a:lnTo>
                  <a:lnTo>
                    <a:pt x="62" y="932"/>
                  </a:lnTo>
                  <a:lnTo>
                    <a:pt x="61" y="932"/>
                  </a:lnTo>
                  <a:lnTo>
                    <a:pt x="61" y="929"/>
                  </a:lnTo>
                  <a:lnTo>
                    <a:pt x="59" y="929"/>
                  </a:lnTo>
                  <a:lnTo>
                    <a:pt x="61" y="929"/>
                  </a:lnTo>
                  <a:lnTo>
                    <a:pt x="64" y="931"/>
                  </a:lnTo>
                  <a:lnTo>
                    <a:pt x="66" y="931"/>
                  </a:lnTo>
                  <a:lnTo>
                    <a:pt x="68" y="931"/>
                  </a:lnTo>
                  <a:lnTo>
                    <a:pt x="69" y="934"/>
                  </a:lnTo>
                  <a:lnTo>
                    <a:pt x="71" y="932"/>
                  </a:lnTo>
                  <a:lnTo>
                    <a:pt x="73" y="934"/>
                  </a:lnTo>
                  <a:lnTo>
                    <a:pt x="73" y="932"/>
                  </a:lnTo>
                  <a:lnTo>
                    <a:pt x="74" y="931"/>
                  </a:lnTo>
                  <a:lnTo>
                    <a:pt x="73" y="929"/>
                  </a:lnTo>
                  <a:lnTo>
                    <a:pt x="71" y="927"/>
                  </a:lnTo>
                  <a:lnTo>
                    <a:pt x="71" y="926"/>
                  </a:lnTo>
                  <a:lnTo>
                    <a:pt x="69" y="924"/>
                  </a:lnTo>
                  <a:lnTo>
                    <a:pt x="68" y="922"/>
                  </a:lnTo>
                  <a:lnTo>
                    <a:pt x="66" y="922"/>
                  </a:lnTo>
                  <a:lnTo>
                    <a:pt x="66" y="920"/>
                  </a:lnTo>
                  <a:lnTo>
                    <a:pt x="66" y="917"/>
                  </a:lnTo>
                  <a:lnTo>
                    <a:pt x="69" y="915"/>
                  </a:lnTo>
                  <a:lnTo>
                    <a:pt x="69" y="917"/>
                  </a:lnTo>
                  <a:lnTo>
                    <a:pt x="71" y="917"/>
                  </a:lnTo>
                  <a:lnTo>
                    <a:pt x="73" y="919"/>
                  </a:lnTo>
                  <a:lnTo>
                    <a:pt x="74" y="919"/>
                  </a:lnTo>
                  <a:lnTo>
                    <a:pt x="76" y="917"/>
                  </a:lnTo>
                  <a:lnTo>
                    <a:pt x="78" y="915"/>
                  </a:lnTo>
                  <a:lnTo>
                    <a:pt x="78" y="912"/>
                  </a:lnTo>
                  <a:lnTo>
                    <a:pt x="78" y="910"/>
                  </a:lnTo>
                  <a:lnTo>
                    <a:pt x="78" y="912"/>
                  </a:lnTo>
                  <a:lnTo>
                    <a:pt x="78" y="910"/>
                  </a:lnTo>
                  <a:lnTo>
                    <a:pt x="76" y="907"/>
                  </a:lnTo>
                  <a:lnTo>
                    <a:pt x="76" y="905"/>
                  </a:lnTo>
                  <a:lnTo>
                    <a:pt x="74" y="903"/>
                  </a:lnTo>
                  <a:lnTo>
                    <a:pt x="73" y="903"/>
                  </a:lnTo>
                  <a:lnTo>
                    <a:pt x="74" y="903"/>
                  </a:lnTo>
                  <a:lnTo>
                    <a:pt x="74" y="902"/>
                  </a:lnTo>
                  <a:lnTo>
                    <a:pt x="73" y="903"/>
                  </a:lnTo>
                  <a:lnTo>
                    <a:pt x="73" y="902"/>
                  </a:lnTo>
                  <a:lnTo>
                    <a:pt x="71" y="903"/>
                  </a:lnTo>
                  <a:lnTo>
                    <a:pt x="69" y="903"/>
                  </a:lnTo>
                  <a:lnTo>
                    <a:pt x="69" y="902"/>
                  </a:lnTo>
                  <a:lnTo>
                    <a:pt x="68" y="902"/>
                  </a:lnTo>
                  <a:lnTo>
                    <a:pt x="66" y="900"/>
                  </a:lnTo>
                  <a:lnTo>
                    <a:pt x="64" y="897"/>
                  </a:lnTo>
                  <a:lnTo>
                    <a:pt x="64" y="895"/>
                  </a:lnTo>
                  <a:lnTo>
                    <a:pt x="64" y="893"/>
                  </a:lnTo>
                  <a:lnTo>
                    <a:pt x="64" y="892"/>
                  </a:lnTo>
                  <a:lnTo>
                    <a:pt x="61" y="890"/>
                  </a:lnTo>
                  <a:lnTo>
                    <a:pt x="61" y="888"/>
                  </a:lnTo>
                  <a:lnTo>
                    <a:pt x="59" y="888"/>
                  </a:lnTo>
                  <a:lnTo>
                    <a:pt x="59" y="886"/>
                  </a:lnTo>
                  <a:lnTo>
                    <a:pt x="57" y="888"/>
                  </a:lnTo>
                  <a:lnTo>
                    <a:pt x="57" y="886"/>
                  </a:lnTo>
                  <a:lnTo>
                    <a:pt x="56" y="886"/>
                  </a:lnTo>
                  <a:lnTo>
                    <a:pt x="54" y="885"/>
                  </a:lnTo>
                  <a:lnTo>
                    <a:pt x="54" y="881"/>
                  </a:lnTo>
                  <a:lnTo>
                    <a:pt x="54" y="880"/>
                  </a:lnTo>
                  <a:lnTo>
                    <a:pt x="52" y="878"/>
                  </a:lnTo>
                  <a:lnTo>
                    <a:pt x="51" y="876"/>
                  </a:lnTo>
                  <a:lnTo>
                    <a:pt x="51" y="875"/>
                  </a:lnTo>
                  <a:lnTo>
                    <a:pt x="49" y="875"/>
                  </a:lnTo>
                  <a:lnTo>
                    <a:pt x="51" y="875"/>
                  </a:lnTo>
                  <a:lnTo>
                    <a:pt x="49" y="873"/>
                  </a:lnTo>
                  <a:lnTo>
                    <a:pt x="49" y="871"/>
                  </a:lnTo>
                  <a:lnTo>
                    <a:pt x="47" y="871"/>
                  </a:lnTo>
                  <a:lnTo>
                    <a:pt x="49" y="871"/>
                  </a:lnTo>
                  <a:lnTo>
                    <a:pt x="47" y="869"/>
                  </a:lnTo>
                  <a:lnTo>
                    <a:pt x="49" y="869"/>
                  </a:lnTo>
                  <a:lnTo>
                    <a:pt x="47" y="866"/>
                  </a:lnTo>
                  <a:lnTo>
                    <a:pt x="45" y="866"/>
                  </a:lnTo>
                  <a:lnTo>
                    <a:pt x="47" y="864"/>
                  </a:lnTo>
                  <a:lnTo>
                    <a:pt x="45" y="864"/>
                  </a:lnTo>
                  <a:lnTo>
                    <a:pt x="44" y="863"/>
                  </a:lnTo>
                  <a:lnTo>
                    <a:pt x="42" y="863"/>
                  </a:lnTo>
                  <a:lnTo>
                    <a:pt x="44" y="861"/>
                  </a:lnTo>
                  <a:lnTo>
                    <a:pt x="45" y="859"/>
                  </a:lnTo>
                  <a:lnTo>
                    <a:pt x="45" y="858"/>
                  </a:lnTo>
                  <a:lnTo>
                    <a:pt x="44" y="856"/>
                  </a:lnTo>
                  <a:lnTo>
                    <a:pt x="42" y="856"/>
                  </a:lnTo>
                  <a:lnTo>
                    <a:pt x="42" y="854"/>
                  </a:lnTo>
                  <a:lnTo>
                    <a:pt x="44" y="854"/>
                  </a:lnTo>
                  <a:lnTo>
                    <a:pt x="44" y="852"/>
                  </a:lnTo>
                  <a:lnTo>
                    <a:pt x="42" y="852"/>
                  </a:lnTo>
                  <a:lnTo>
                    <a:pt x="44" y="851"/>
                  </a:lnTo>
                  <a:lnTo>
                    <a:pt x="44" y="849"/>
                  </a:lnTo>
                  <a:lnTo>
                    <a:pt x="40" y="847"/>
                  </a:lnTo>
                  <a:lnTo>
                    <a:pt x="40" y="851"/>
                  </a:lnTo>
                  <a:lnTo>
                    <a:pt x="40" y="852"/>
                  </a:lnTo>
                  <a:lnTo>
                    <a:pt x="40" y="854"/>
                  </a:lnTo>
                  <a:lnTo>
                    <a:pt x="39" y="856"/>
                  </a:lnTo>
                  <a:lnTo>
                    <a:pt x="39" y="854"/>
                  </a:lnTo>
                  <a:lnTo>
                    <a:pt x="37" y="856"/>
                  </a:lnTo>
                  <a:lnTo>
                    <a:pt x="37" y="854"/>
                  </a:lnTo>
                  <a:lnTo>
                    <a:pt x="39" y="852"/>
                  </a:lnTo>
                  <a:lnTo>
                    <a:pt x="37" y="852"/>
                  </a:lnTo>
                  <a:lnTo>
                    <a:pt x="35" y="852"/>
                  </a:lnTo>
                  <a:lnTo>
                    <a:pt x="37" y="851"/>
                  </a:lnTo>
                  <a:lnTo>
                    <a:pt x="35" y="849"/>
                  </a:lnTo>
                  <a:lnTo>
                    <a:pt x="35" y="847"/>
                  </a:lnTo>
                  <a:lnTo>
                    <a:pt x="37" y="847"/>
                  </a:lnTo>
                  <a:lnTo>
                    <a:pt x="35" y="846"/>
                  </a:lnTo>
                  <a:lnTo>
                    <a:pt x="37" y="846"/>
                  </a:lnTo>
                  <a:lnTo>
                    <a:pt x="35" y="846"/>
                  </a:lnTo>
                  <a:lnTo>
                    <a:pt x="37" y="844"/>
                  </a:lnTo>
                  <a:lnTo>
                    <a:pt x="35" y="844"/>
                  </a:lnTo>
                  <a:lnTo>
                    <a:pt x="37" y="842"/>
                  </a:lnTo>
                  <a:lnTo>
                    <a:pt x="35" y="842"/>
                  </a:lnTo>
                  <a:lnTo>
                    <a:pt x="37" y="842"/>
                  </a:lnTo>
                  <a:lnTo>
                    <a:pt x="35" y="841"/>
                  </a:lnTo>
                  <a:lnTo>
                    <a:pt x="37" y="839"/>
                  </a:lnTo>
                  <a:lnTo>
                    <a:pt x="35" y="839"/>
                  </a:lnTo>
                  <a:lnTo>
                    <a:pt x="37" y="837"/>
                  </a:lnTo>
                  <a:lnTo>
                    <a:pt x="35" y="835"/>
                  </a:lnTo>
                  <a:lnTo>
                    <a:pt x="35" y="837"/>
                  </a:lnTo>
                  <a:lnTo>
                    <a:pt x="34" y="837"/>
                  </a:lnTo>
                  <a:lnTo>
                    <a:pt x="34" y="835"/>
                  </a:lnTo>
                  <a:lnTo>
                    <a:pt x="34" y="834"/>
                  </a:lnTo>
                  <a:lnTo>
                    <a:pt x="32" y="834"/>
                  </a:lnTo>
                  <a:lnTo>
                    <a:pt x="34" y="834"/>
                  </a:lnTo>
                  <a:lnTo>
                    <a:pt x="34" y="832"/>
                  </a:lnTo>
                  <a:lnTo>
                    <a:pt x="35" y="830"/>
                  </a:lnTo>
                  <a:lnTo>
                    <a:pt x="37" y="830"/>
                  </a:lnTo>
                  <a:lnTo>
                    <a:pt x="39" y="829"/>
                  </a:lnTo>
                  <a:lnTo>
                    <a:pt x="37" y="830"/>
                  </a:lnTo>
                  <a:lnTo>
                    <a:pt x="35" y="830"/>
                  </a:lnTo>
                  <a:lnTo>
                    <a:pt x="35" y="832"/>
                  </a:lnTo>
                  <a:lnTo>
                    <a:pt x="32" y="832"/>
                  </a:lnTo>
                  <a:lnTo>
                    <a:pt x="30" y="830"/>
                  </a:lnTo>
                  <a:lnTo>
                    <a:pt x="30" y="832"/>
                  </a:lnTo>
                  <a:lnTo>
                    <a:pt x="27" y="830"/>
                  </a:lnTo>
                  <a:lnTo>
                    <a:pt x="28" y="829"/>
                  </a:lnTo>
                  <a:lnTo>
                    <a:pt x="32" y="827"/>
                  </a:lnTo>
                  <a:lnTo>
                    <a:pt x="30" y="827"/>
                  </a:lnTo>
                  <a:lnTo>
                    <a:pt x="32" y="825"/>
                  </a:lnTo>
                  <a:lnTo>
                    <a:pt x="34" y="824"/>
                  </a:lnTo>
                  <a:lnTo>
                    <a:pt x="35" y="822"/>
                  </a:lnTo>
                  <a:lnTo>
                    <a:pt x="35" y="820"/>
                  </a:lnTo>
                  <a:lnTo>
                    <a:pt x="37" y="820"/>
                  </a:lnTo>
                  <a:lnTo>
                    <a:pt x="39" y="820"/>
                  </a:lnTo>
                  <a:lnTo>
                    <a:pt x="37" y="820"/>
                  </a:lnTo>
                  <a:lnTo>
                    <a:pt x="35" y="820"/>
                  </a:lnTo>
                  <a:lnTo>
                    <a:pt x="35" y="822"/>
                  </a:lnTo>
                  <a:lnTo>
                    <a:pt x="34" y="822"/>
                  </a:lnTo>
                  <a:lnTo>
                    <a:pt x="32" y="824"/>
                  </a:lnTo>
                  <a:lnTo>
                    <a:pt x="30" y="824"/>
                  </a:lnTo>
                  <a:lnTo>
                    <a:pt x="28" y="825"/>
                  </a:lnTo>
                  <a:lnTo>
                    <a:pt x="28" y="824"/>
                  </a:lnTo>
                  <a:lnTo>
                    <a:pt x="27" y="822"/>
                  </a:lnTo>
                  <a:lnTo>
                    <a:pt x="27" y="820"/>
                  </a:lnTo>
                  <a:lnTo>
                    <a:pt x="27" y="818"/>
                  </a:lnTo>
                  <a:lnTo>
                    <a:pt x="27" y="817"/>
                  </a:lnTo>
                  <a:lnTo>
                    <a:pt x="30" y="817"/>
                  </a:lnTo>
                  <a:lnTo>
                    <a:pt x="28" y="815"/>
                  </a:lnTo>
                  <a:lnTo>
                    <a:pt x="30" y="815"/>
                  </a:lnTo>
                  <a:lnTo>
                    <a:pt x="28" y="815"/>
                  </a:lnTo>
                  <a:lnTo>
                    <a:pt x="30" y="813"/>
                  </a:lnTo>
                  <a:lnTo>
                    <a:pt x="28" y="813"/>
                  </a:lnTo>
                  <a:lnTo>
                    <a:pt x="32" y="810"/>
                  </a:lnTo>
                  <a:lnTo>
                    <a:pt x="30" y="808"/>
                  </a:lnTo>
                  <a:lnTo>
                    <a:pt x="32" y="807"/>
                  </a:lnTo>
                  <a:lnTo>
                    <a:pt x="30" y="805"/>
                  </a:lnTo>
                  <a:lnTo>
                    <a:pt x="32" y="803"/>
                  </a:lnTo>
                  <a:lnTo>
                    <a:pt x="30" y="803"/>
                  </a:lnTo>
                  <a:lnTo>
                    <a:pt x="32" y="801"/>
                  </a:lnTo>
                  <a:lnTo>
                    <a:pt x="32" y="800"/>
                  </a:lnTo>
                  <a:lnTo>
                    <a:pt x="34" y="798"/>
                  </a:lnTo>
                  <a:lnTo>
                    <a:pt x="32" y="796"/>
                  </a:lnTo>
                  <a:lnTo>
                    <a:pt x="34" y="796"/>
                  </a:lnTo>
                  <a:lnTo>
                    <a:pt x="35" y="795"/>
                  </a:lnTo>
                  <a:lnTo>
                    <a:pt x="34" y="795"/>
                  </a:lnTo>
                  <a:lnTo>
                    <a:pt x="32" y="791"/>
                  </a:lnTo>
                  <a:lnTo>
                    <a:pt x="30" y="789"/>
                  </a:lnTo>
                  <a:lnTo>
                    <a:pt x="30" y="788"/>
                  </a:lnTo>
                  <a:lnTo>
                    <a:pt x="32" y="788"/>
                  </a:lnTo>
                  <a:lnTo>
                    <a:pt x="34" y="786"/>
                  </a:lnTo>
                  <a:lnTo>
                    <a:pt x="35" y="786"/>
                  </a:lnTo>
                  <a:lnTo>
                    <a:pt x="34" y="784"/>
                  </a:lnTo>
                  <a:lnTo>
                    <a:pt x="34" y="786"/>
                  </a:lnTo>
                  <a:lnTo>
                    <a:pt x="32" y="788"/>
                  </a:lnTo>
                  <a:lnTo>
                    <a:pt x="30" y="788"/>
                  </a:lnTo>
                  <a:lnTo>
                    <a:pt x="28" y="786"/>
                  </a:lnTo>
                  <a:lnTo>
                    <a:pt x="27" y="786"/>
                  </a:lnTo>
                  <a:lnTo>
                    <a:pt x="28" y="788"/>
                  </a:lnTo>
                  <a:lnTo>
                    <a:pt x="27" y="788"/>
                  </a:lnTo>
                  <a:lnTo>
                    <a:pt x="25" y="788"/>
                  </a:lnTo>
                  <a:lnTo>
                    <a:pt x="25" y="791"/>
                  </a:lnTo>
                  <a:lnTo>
                    <a:pt x="23" y="791"/>
                  </a:lnTo>
                  <a:lnTo>
                    <a:pt x="22" y="793"/>
                  </a:lnTo>
                  <a:lnTo>
                    <a:pt x="20" y="791"/>
                  </a:lnTo>
                  <a:lnTo>
                    <a:pt x="22" y="793"/>
                  </a:lnTo>
                  <a:lnTo>
                    <a:pt x="22" y="795"/>
                  </a:lnTo>
                  <a:lnTo>
                    <a:pt x="18" y="793"/>
                  </a:lnTo>
                  <a:lnTo>
                    <a:pt x="20" y="791"/>
                  </a:lnTo>
                  <a:lnTo>
                    <a:pt x="18" y="791"/>
                  </a:lnTo>
                  <a:lnTo>
                    <a:pt x="20" y="791"/>
                  </a:lnTo>
                  <a:lnTo>
                    <a:pt x="20" y="788"/>
                  </a:lnTo>
                  <a:lnTo>
                    <a:pt x="22" y="788"/>
                  </a:lnTo>
                  <a:lnTo>
                    <a:pt x="22" y="784"/>
                  </a:lnTo>
                  <a:lnTo>
                    <a:pt x="23" y="783"/>
                  </a:lnTo>
                  <a:lnTo>
                    <a:pt x="25" y="783"/>
                  </a:lnTo>
                  <a:lnTo>
                    <a:pt x="23" y="783"/>
                  </a:lnTo>
                  <a:lnTo>
                    <a:pt x="25" y="781"/>
                  </a:lnTo>
                  <a:lnTo>
                    <a:pt x="27" y="779"/>
                  </a:lnTo>
                  <a:lnTo>
                    <a:pt x="25" y="779"/>
                  </a:lnTo>
                  <a:lnTo>
                    <a:pt x="25" y="781"/>
                  </a:lnTo>
                  <a:lnTo>
                    <a:pt x="23" y="783"/>
                  </a:lnTo>
                  <a:lnTo>
                    <a:pt x="23" y="781"/>
                  </a:lnTo>
                  <a:lnTo>
                    <a:pt x="22" y="781"/>
                  </a:lnTo>
                  <a:lnTo>
                    <a:pt x="22" y="778"/>
                  </a:lnTo>
                  <a:lnTo>
                    <a:pt x="22" y="776"/>
                  </a:lnTo>
                  <a:lnTo>
                    <a:pt x="22" y="778"/>
                  </a:lnTo>
                  <a:lnTo>
                    <a:pt x="22" y="781"/>
                  </a:lnTo>
                  <a:lnTo>
                    <a:pt x="22" y="783"/>
                  </a:lnTo>
                  <a:lnTo>
                    <a:pt x="22" y="784"/>
                  </a:lnTo>
                  <a:lnTo>
                    <a:pt x="20" y="786"/>
                  </a:lnTo>
                  <a:lnTo>
                    <a:pt x="20" y="789"/>
                  </a:lnTo>
                  <a:lnTo>
                    <a:pt x="18" y="789"/>
                  </a:lnTo>
                  <a:lnTo>
                    <a:pt x="17" y="791"/>
                  </a:lnTo>
                  <a:lnTo>
                    <a:pt x="17" y="789"/>
                  </a:lnTo>
                  <a:lnTo>
                    <a:pt x="18" y="788"/>
                  </a:lnTo>
                  <a:lnTo>
                    <a:pt x="17" y="789"/>
                  </a:lnTo>
                  <a:lnTo>
                    <a:pt x="15" y="788"/>
                  </a:lnTo>
                  <a:lnTo>
                    <a:pt x="17" y="786"/>
                  </a:lnTo>
                  <a:lnTo>
                    <a:pt x="18" y="786"/>
                  </a:lnTo>
                  <a:lnTo>
                    <a:pt x="17" y="784"/>
                  </a:lnTo>
                  <a:lnTo>
                    <a:pt x="18" y="783"/>
                  </a:lnTo>
                  <a:lnTo>
                    <a:pt x="17" y="783"/>
                  </a:lnTo>
                  <a:lnTo>
                    <a:pt x="15" y="786"/>
                  </a:lnTo>
                  <a:lnTo>
                    <a:pt x="15" y="784"/>
                  </a:lnTo>
                  <a:lnTo>
                    <a:pt x="15" y="786"/>
                  </a:lnTo>
                  <a:lnTo>
                    <a:pt x="13" y="786"/>
                  </a:lnTo>
                  <a:lnTo>
                    <a:pt x="15" y="784"/>
                  </a:lnTo>
                  <a:lnTo>
                    <a:pt x="17" y="781"/>
                  </a:lnTo>
                  <a:lnTo>
                    <a:pt x="17" y="778"/>
                  </a:lnTo>
                  <a:lnTo>
                    <a:pt x="17" y="781"/>
                  </a:lnTo>
                  <a:lnTo>
                    <a:pt x="15" y="781"/>
                  </a:lnTo>
                  <a:lnTo>
                    <a:pt x="15" y="783"/>
                  </a:lnTo>
                  <a:lnTo>
                    <a:pt x="15" y="784"/>
                  </a:lnTo>
                  <a:lnTo>
                    <a:pt x="13" y="784"/>
                  </a:lnTo>
                  <a:lnTo>
                    <a:pt x="11" y="784"/>
                  </a:lnTo>
                  <a:lnTo>
                    <a:pt x="11" y="783"/>
                  </a:lnTo>
                  <a:lnTo>
                    <a:pt x="11" y="784"/>
                  </a:lnTo>
                  <a:lnTo>
                    <a:pt x="10" y="786"/>
                  </a:lnTo>
                  <a:lnTo>
                    <a:pt x="10" y="783"/>
                  </a:lnTo>
                  <a:lnTo>
                    <a:pt x="8" y="783"/>
                  </a:lnTo>
                  <a:lnTo>
                    <a:pt x="10" y="783"/>
                  </a:lnTo>
                  <a:lnTo>
                    <a:pt x="8" y="781"/>
                  </a:lnTo>
                  <a:lnTo>
                    <a:pt x="10" y="781"/>
                  </a:lnTo>
                  <a:lnTo>
                    <a:pt x="10" y="779"/>
                  </a:lnTo>
                  <a:lnTo>
                    <a:pt x="10" y="781"/>
                  </a:lnTo>
                  <a:lnTo>
                    <a:pt x="11" y="779"/>
                  </a:lnTo>
                  <a:lnTo>
                    <a:pt x="11" y="781"/>
                  </a:lnTo>
                  <a:lnTo>
                    <a:pt x="11" y="778"/>
                  </a:lnTo>
                  <a:lnTo>
                    <a:pt x="13" y="778"/>
                  </a:lnTo>
                  <a:lnTo>
                    <a:pt x="11" y="778"/>
                  </a:lnTo>
                  <a:lnTo>
                    <a:pt x="13" y="776"/>
                  </a:lnTo>
                  <a:lnTo>
                    <a:pt x="11" y="778"/>
                  </a:lnTo>
                  <a:lnTo>
                    <a:pt x="11" y="776"/>
                  </a:lnTo>
                  <a:lnTo>
                    <a:pt x="11" y="774"/>
                  </a:lnTo>
                  <a:lnTo>
                    <a:pt x="10" y="774"/>
                  </a:lnTo>
                  <a:lnTo>
                    <a:pt x="10" y="772"/>
                  </a:lnTo>
                  <a:lnTo>
                    <a:pt x="10" y="771"/>
                  </a:lnTo>
                  <a:lnTo>
                    <a:pt x="10" y="774"/>
                  </a:lnTo>
                  <a:lnTo>
                    <a:pt x="8" y="772"/>
                  </a:lnTo>
                  <a:lnTo>
                    <a:pt x="10" y="771"/>
                  </a:lnTo>
                  <a:lnTo>
                    <a:pt x="11" y="771"/>
                  </a:lnTo>
                  <a:lnTo>
                    <a:pt x="11" y="769"/>
                  </a:lnTo>
                  <a:lnTo>
                    <a:pt x="10" y="769"/>
                  </a:lnTo>
                  <a:lnTo>
                    <a:pt x="11" y="767"/>
                  </a:lnTo>
                  <a:lnTo>
                    <a:pt x="10" y="767"/>
                  </a:lnTo>
                  <a:lnTo>
                    <a:pt x="11" y="766"/>
                  </a:lnTo>
                  <a:lnTo>
                    <a:pt x="10" y="764"/>
                  </a:lnTo>
                  <a:lnTo>
                    <a:pt x="10" y="762"/>
                  </a:lnTo>
                  <a:lnTo>
                    <a:pt x="8" y="762"/>
                  </a:lnTo>
                  <a:lnTo>
                    <a:pt x="8" y="761"/>
                  </a:lnTo>
                  <a:lnTo>
                    <a:pt x="6" y="761"/>
                  </a:lnTo>
                  <a:lnTo>
                    <a:pt x="6" y="759"/>
                  </a:lnTo>
                  <a:lnTo>
                    <a:pt x="6" y="757"/>
                  </a:lnTo>
                  <a:lnTo>
                    <a:pt x="8" y="757"/>
                  </a:lnTo>
                  <a:lnTo>
                    <a:pt x="10" y="761"/>
                  </a:lnTo>
                  <a:lnTo>
                    <a:pt x="10" y="759"/>
                  </a:lnTo>
                  <a:lnTo>
                    <a:pt x="8" y="757"/>
                  </a:lnTo>
                  <a:lnTo>
                    <a:pt x="6" y="755"/>
                  </a:lnTo>
                  <a:lnTo>
                    <a:pt x="8" y="755"/>
                  </a:lnTo>
                  <a:lnTo>
                    <a:pt x="8" y="757"/>
                  </a:lnTo>
                  <a:lnTo>
                    <a:pt x="10" y="757"/>
                  </a:lnTo>
                  <a:lnTo>
                    <a:pt x="8" y="755"/>
                  </a:lnTo>
                  <a:lnTo>
                    <a:pt x="8" y="754"/>
                  </a:lnTo>
                  <a:lnTo>
                    <a:pt x="8" y="752"/>
                  </a:lnTo>
                  <a:lnTo>
                    <a:pt x="8" y="754"/>
                  </a:lnTo>
                  <a:lnTo>
                    <a:pt x="10" y="754"/>
                  </a:lnTo>
                  <a:lnTo>
                    <a:pt x="8" y="750"/>
                  </a:lnTo>
                  <a:lnTo>
                    <a:pt x="6" y="749"/>
                  </a:lnTo>
                  <a:lnTo>
                    <a:pt x="8" y="745"/>
                  </a:lnTo>
                  <a:lnTo>
                    <a:pt x="6" y="745"/>
                  </a:lnTo>
                  <a:lnTo>
                    <a:pt x="6" y="744"/>
                  </a:lnTo>
                  <a:lnTo>
                    <a:pt x="5" y="745"/>
                  </a:lnTo>
                  <a:lnTo>
                    <a:pt x="5" y="742"/>
                  </a:lnTo>
                  <a:lnTo>
                    <a:pt x="6" y="740"/>
                  </a:lnTo>
                  <a:lnTo>
                    <a:pt x="8" y="740"/>
                  </a:lnTo>
                  <a:lnTo>
                    <a:pt x="8" y="738"/>
                  </a:lnTo>
                  <a:lnTo>
                    <a:pt x="6" y="740"/>
                  </a:lnTo>
                  <a:lnTo>
                    <a:pt x="5" y="740"/>
                  </a:lnTo>
                  <a:lnTo>
                    <a:pt x="5" y="738"/>
                  </a:lnTo>
                  <a:lnTo>
                    <a:pt x="6" y="737"/>
                  </a:lnTo>
                  <a:lnTo>
                    <a:pt x="6" y="735"/>
                  </a:lnTo>
                  <a:lnTo>
                    <a:pt x="8" y="733"/>
                  </a:lnTo>
                  <a:lnTo>
                    <a:pt x="10" y="733"/>
                  </a:lnTo>
                  <a:lnTo>
                    <a:pt x="11" y="732"/>
                  </a:lnTo>
                  <a:lnTo>
                    <a:pt x="13" y="733"/>
                  </a:lnTo>
                  <a:lnTo>
                    <a:pt x="13" y="735"/>
                  </a:lnTo>
                  <a:lnTo>
                    <a:pt x="15" y="738"/>
                  </a:lnTo>
                  <a:lnTo>
                    <a:pt x="17" y="740"/>
                  </a:lnTo>
                  <a:lnTo>
                    <a:pt x="17" y="742"/>
                  </a:lnTo>
                  <a:lnTo>
                    <a:pt x="17" y="745"/>
                  </a:lnTo>
                  <a:lnTo>
                    <a:pt x="17" y="749"/>
                  </a:lnTo>
                  <a:lnTo>
                    <a:pt x="20" y="749"/>
                  </a:lnTo>
                  <a:lnTo>
                    <a:pt x="20" y="747"/>
                  </a:lnTo>
                  <a:lnTo>
                    <a:pt x="20" y="749"/>
                  </a:lnTo>
                  <a:lnTo>
                    <a:pt x="22" y="747"/>
                  </a:lnTo>
                  <a:lnTo>
                    <a:pt x="23" y="747"/>
                  </a:lnTo>
                  <a:lnTo>
                    <a:pt x="23" y="745"/>
                  </a:lnTo>
                  <a:lnTo>
                    <a:pt x="25" y="744"/>
                  </a:lnTo>
                  <a:lnTo>
                    <a:pt x="25" y="740"/>
                  </a:lnTo>
                  <a:lnTo>
                    <a:pt x="25" y="737"/>
                  </a:lnTo>
                  <a:lnTo>
                    <a:pt x="27" y="737"/>
                  </a:lnTo>
                  <a:lnTo>
                    <a:pt x="27" y="735"/>
                  </a:lnTo>
                  <a:lnTo>
                    <a:pt x="28" y="733"/>
                  </a:lnTo>
                  <a:lnTo>
                    <a:pt x="27" y="732"/>
                  </a:lnTo>
                  <a:lnTo>
                    <a:pt x="28" y="730"/>
                  </a:lnTo>
                  <a:lnTo>
                    <a:pt x="28" y="728"/>
                  </a:lnTo>
                  <a:lnTo>
                    <a:pt x="28" y="725"/>
                  </a:lnTo>
                  <a:lnTo>
                    <a:pt x="30" y="723"/>
                  </a:lnTo>
                  <a:lnTo>
                    <a:pt x="28" y="721"/>
                  </a:lnTo>
                  <a:lnTo>
                    <a:pt x="28" y="718"/>
                  </a:lnTo>
                  <a:lnTo>
                    <a:pt x="28" y="716"/>
                  </a:lnTo>
                  <a:lnTo>
                    <a:pt x="28" y="713"/>
                  </a:lnTo>
                  <a:lnTo>
                    <a:pt x="27" y="713"/>
                  </a:lnTo>
                  <a:lnTo>
                    <a:pt x="27" y="710"/>
                  </a:lnTo>
                  <a:lnTo>
                    <a:pt x="27" y="708"/>
                  </a:lnTo>
                  <a:lnTo>
                    <a:pt x="27" y="706"/>
                  </a:lnTo>
                  <a:lnTo>
                    <a:pt x="25" y="704"/>
                  </a:lnTo>
                  <a:lnTo>
                    <a:pt x="25" y="703"/>
                  </a:lnTo>
                  <a:lnTo>
                    <a:pt x="25" y="701"/>
                  </a:lnTo>
                  <a:lnTo>
                    <a:pt x="23" y="698"/>
                  </a:lnTo>
                  <a:lnTo>
                    <a:pt x="25" y="696"/>
                  </a:lnTo>
                  <a:lnTo>
                    <a:pt x="27" y="694"/>
                  </a:lnTo>
                  <a:lnTo>
                    <a:pt x="30" y="694"/>
                  </a:lnTo>
                  <a:lnTo>
                    <a:pt x="30" y="693"/>
                  </a:lnTo>
                  <a:lnTo>
                    <a:pt x="30" y="691"/>
                  </a:lnTo>
                  <a:lnTo>
                    <a:pt x="34" y="691"/>
                  </a:lnTo>
                  <a:lnTo>
                    <a:pt x="32" y="691"/>
                  </a:lnTo>
                  <a:lnTo>
                    <a:pt x="32" y="689"/>
                  </a:lnTo>
                  <a:lnTo>
                    <a:pt x="32" y="687"/>
                  </a:lnTo>
                  <a:lnTo>
                    <a:pt x="32" y="684"/>
                  </a:lnTo>
                  <a:lnTo>
                    <a:pt x="30" y="682"/>
                  </a:lnTo>
                  <a:lnTo>
                    <a:pt x="28" y="681"/>
                  </a:lnTo>
                  <a:lnTo>
                    <a:pt x="30" y="679"/>
                  </a:lnTo>
                  <a:lnTo>
                    <a:pt x="32" y="679"/>
                  </a:lnTo>
                  <a:lnTo>
                    <a:pt x="34" y="676"/>
                  </a:lnTo>
                  <a:lnTo>
                    <a:pt x="37" y="677"/>
                  </a:lnTo>
                  <a:lnTo>
                    <a:pt x="39" y="677"/>
                  </a:lnTo>
                  <a:lnTo>
                    <a:pt x="40" y="677"/>
                  </a:lnTo>
                  <a:lnTo>
                    <a:pt x="40" y="676"/>
                  </a:lnTo>
                  <a:lnTo>
                    <a:pt x="42" y="674"/>
                  </a:lnTo>
                  <a:lnTo>
                    <a:pt x="44" y="674"/>
                  </a:lnTo>
                  <a:lnTo>
                    <a:pt x="45" y="670"/>
                  </a:lnTo>
                  <a:lnTo>
                    <a:pt x="47" y="670"/>
                  </a:lnTo>
                  <a:lnTo>
                    <a:pt x="49" y="667"/>
                  </a:lnTo>
                  <a:lnTo>
                    <a:pt x="51" y="665"/>
                  </a:lnTo>
                  <a:lnTo>
                    <a:pt x="51" y="664"/>
                  </a:lnTo>
                  <a:lnTo>
                    <a:pt x="52" y="662"/>
                  </a:lnTo>
                  <a:lnTo>
                    <a:pt x="52" y="659"/>
                  </a:lnTo>
                  <a:lnTo>
                    <a:pt x="52" y="657"/>
                  </a:lnTo>
                  <a:lnTo>
                    <a:pt x="52" y="655"/>
                  </a:lnTo>
                  <a:lnTo>
                    <a:pt x="52" y="653"/>
                  </a:lnTo>
                  <a:lnTo>
                    <a:pt x="52" y="650"/>
                  </a:lnTo>
                  <a:lnTo>
                    <a:pt x="51" y="648"/>
                  </a:lnTo>
                  <a:lnTo>
                    <a:pt x="51" y="647"/>
                  </a:lnTo>
                  <a:lnTo>
                    <a:pt x="52" y="645"/>
                  </a:lnTo>
                  <a:lnTo>
                    <a:pt x="54" y="643"/>
                  </a:lnTo>
                  <a:lnTo>
                    <a:pt x="54" y="640"/>
                  </a:lnTo>
                  <a:lnTo>
                    <a:pt x="54" y="638"/>
                  </a:lnTo>
                  <a:lnTo>
                    <a:pt x="54" y="635"/>
                  </a:lnTo>
                  <a:lnTo>
                    <a:pt x="54" y="633"/>
                  </a:lnTo>
                  <a:lnTo>
                    <a:pt x="54" y="630"/>
                  </a:lnTo>
                  <a:lnTo>
                    <a:pt x="52" y="628"/>
                  </a:lnTo>
                  <a:lnTo>
                    <a:pt x="51" y="626"/>
                  </a:lnTo>
                  <a:lnTo>
                    <a:pt x="51" y="623"/>
                  </a:lnTo>
                  <a:lnTo>
                    <a:pt x="49" y="621"/>
                  </a:lnTo>
                  <a:lnTo>
                    <a:pt x="47" y="619"/>
                  </a:lnTo>
                  <a:lnTo>
                    <a:pt x="47" y="618"/>
                  </a:lnTo>
                  <a:lnTo>
                    <a:pt x="45" y="614"/>
                  </a:lnTo>
                  <a:lnTo>
                    <a:pt x="45" y="613"/>
                  </a:lnTo>
                  <a:lnTo>
                    <a:pt x="44" y="611"/>
                  </a:lnTo>
                  <a:lnTo>
                    <a:pt x="44" y="609"/>
                  </a:lnTo>
                  <a:lnTo>
                    <a:pt x="44" y="606"/>
                  </a:lnTo>
                  <a:lnTo>
                    <a:pt x="42" y="604"/>
                  </a:lnTo>
                  <a:lnTo>
                    <a:pt x="42" y="602"/>
                  </a:lnTo>
                  <a:lnTo>
                    <a:pt x="40" y="601"/>
                  </a:lnTo>
                  <a:lnTo>
                    <a:pt x="40" y="599"/>
                  </a:lnTo>
                  <a:lnTo>
                    <a:pt x="40" y="597"/>
                  </a:lnTo>
                  <a:lnTo>
                    <a:pt x="42" y="596"/>
                  </a:lnTo>
                  <a:lnTo>
                    <a:pt x="45" y="596"/>
                  </a:lnTo>
                  <a:lnTo>
                    <a:pt x="47" y="594"/>
                  </a:lnTo>
                  <a:lnTo>
                    <a:pt x="49" y="594"/>
                  </a:lnTo>
                  <a:lnTo>
                    <a:pt x="51" y="594"/>
                  </a:lnTo>
                  <a:lnTo>
                    <a:pt x="52" y="594"/>
                  </a:lnTo>
                  <a:lnTo>
                    <a:pt x="56" y="594"/>
                  </a:lnTo>
                  <a:lnTo>
                    <a:pt x="56" y="590"/>
                  </a:lnTo>
                  <a:lnTo>
                    <a:pt x="56" y="587"/>
                  </a:lnTo>
                  <a:lnTo>
                    <a:pt x="59" y="584"/>
                  </a:lnTo>
                  <a:lnTo>
                    <a:pt x="59" y="582"/>
                  </a:lnTo>
                  <a:lnTo>
                    <a:pt x="61" y="579"/>
                  </a:lnTo>
                  <a:lnTo>
                    <a:pt x="61" y="577"/>
                  </a:lnTo>
                  <a:lnTo>
                    <a:pt x="61" y="575"/>
                  </a:lnTo>
                  <a:lnTo>
                    <a:pt x="61" y="572"/>
                  </a:lnTo>
                  <a:lnTo>
                    <a:pt x="59" y="568"/>
                  </a:lnTo>
                  <a:lnTo>
                    <a:pt x="57" y="568"/>
                  </a:lnTo>
                  <a:lnTo>
                    <a:pt x="56" y="567"/>
                  </a:lnTo>
                  <a:lnTo>
                    <a:pt x="56" y="565"/>
                  </a:lnTo>
                  <a:lnTo>
                    <a:pt x="54" y="563"/>
                  </a:lnTo>
                  <a:lnTo>
                    <a:pt x="54" y="562"/>
                  </a:lnTo>
                  <a:lnTo>
                    <a:pt x="51" y="558"/>
                  </a:lnTo>
                  <a:lnTo>
                    <a:pt x="47" y="558"/>
                  </a:lnTo>
                  <a:lnTo>
                    <a:pt x="45" y="558"/>
                  </a:lnTo>
                  <a:lnTo>
                    <a:pt x="44" y="556"/>
                  </a:lnTo>
                  <a:lnTo>
                    <a:pt x="42" y="555"/>
                  </a:lnTo>
                  <a:lnTo>
                    <a:pt x="40" y="553"/>
                  </a:lnTo>
                  <a:lnTo>
                    <a:pt x="39" y="551"/>
                  </a:lnTo>
                  <a:lnTo>
                    <a:pt x="37" y="550"/>
                  </a:lnTo>
                  <a:lnTo>
                    <a:pt x="35" y="548"/>
                  </a:lnTo>
                  <a:lnTo>
                    <a:pt x="35" y="541"/>
                  </a:lnTo>
                  <a:lnTo>
                    <a:pt x="37" y="539"/>
                  </a:lnTo>
                  <a:lnTo>
                    <a:pt x="37" y="536"/>
                  </a:lnTo>
                  <a:lnTo>
                    <a:pt x="37" y="534"/>
                  </a:lnTo>
                  <a:lnTo>
                    <a:pt x="37" y="533"/>
                  </a:lnTo>
                  <a:lnTo>
                    <a:pt x="37" y="531"/>
                  </a:lnTo>
                  <a:lnTo>
                    <a:pt x="37" y="529"/>
                  </a:lnTo>
                  <a:lnTo>
                    <a:pt x="37" y="528"/>
                  </a:lnTo>
                  <a:lnTo>
                    <a:pt x="39" y="524"/>
                  </a:lnTo>
                  <a:lnTo>
                    <a:pt x="39" y="521"/>
                  </a:lnTo>
                  <a:lnTo>
                    <a:pt x="39" y="517"/>
                  </a:lnTo>
                  <a:lnTo>
                    <a:pt x="39" y="514"/>
                  </a:lnTo>
                  <a:lnTo>
                    <a:pt x="39" y="511"/>
                  </a:lnTo>
                  <a:lnTo>
                    <a:pt x="40" y="509"/>
                  </a:lnTo>
                  <a:lnTo>
                    <a:pt x="39" y="505"/>
                  </a:lnTo>
                  <a:lnTo>
                    <a:pt x="39" y="504"/>
                  </a:lnTo>
                  <a:lnTo>
                    <a:pt x="37" y="502"/>
                  </a:lnTo>
                  <a:lnTo>
                    <a:pt x="35" y="499"/>
                  </a:lnTo>
                  <a:lnTo>
                    <a:pt x="35" y="497"/>
                  </a:lnTo>
                  <a:lnTo>
                    <a:pt x="35" y="495"/>
                  </a:lnTo>
                  <a:lnTo>
                    <a:pt x="34" y="494"/>
                  </a:lnTo>
                  <a:lnTo>
                    <a:pt x="34" y="492"/>
                  </a:lnTo>
                  <a:lnTo>
                    <a:pt x="32" y="490"/>
                  </a:lnTo>
                  <a:lnTo>
                    <a:pt x="32" y="488"/>
                  </a:lnTo>
                  <a:lnTo>
                    <a:pt x="32" y="485"/>
                  </a:lnTo>
                  <a:lnTo>
                    <a:pt x="30" y="485"/>
                  </a:lnTo>
                  <a:lnTo>
                    <a:pt x="32" y="483"/>
                  </a:lnTo>
                  <a:lnTo>
                    <a:pt x="32" y="482"/>
                  </a:lnTo>
                  <a:lnTo>
                    <a:pt x="32" y="480"/>
                  </a:lnTo>
                  <a:lnTo>
                    <a:pt x="32" y="478"/>
                  </a:lnTo>
                  <a:lnTo>
                    <a:pt x="34" y="475"/>
                  </a:lnTo>
                  <a:lnTo>
                    <a:pt x="30" y="463"/>
                  </a:lnTo>
                  <a:lnTo>
                    <a:pt x="32" y="463"/>
                  </a:lnTo>
                  <a:lnTo>
                    <a:pt x="34" y="459"/>
                  </a:lnTo>
                  <a:lnTo>
                    <a:pt x="35" y="456"/>
                  </a:lnTo>
                  <a:lnTo>
                    <a:pt x="35" y="454"/>
                  </a:lnTo>
                  <a:lnTo>
                    <a:pt x="32" y="451"/>
                  </a:lnTo>
                  <a:lnTo>
                    <a:pt x="32" y="448"/>
                  </a:lnTo>
                  <a:lnTo>
                    <a:pt x="30" y="446"/>
                  </a:lnTo>
                  <a:lnTo>
                    <a:pt x="30" y="444"/>
                  </a:lnTo>
                  <a:lnTo>
                    <a:pt x="28" y="441"/>
                  </a:lnTo>
                  <a:lnTo>
                    <a:pt x="28" y="439"/>
                  </a:lnTo>
                  <a:lnTo>
                    <a:pt x="27" y="437"/>
                  </a:lnTo>
                  <a:lnTo>
                    <a:pt x="28" y="436"/>
                  </a:lnTo>
                  <a:lnTo>
                    <a:pt x="28" y="434"/>
                  </a:lnTo>
                  <a:lnTo>
                    <a:pt x="30" y="432"/>
                  </a:lnTo>
                  <a:lnTo>
                    <a:pt x="30" y="431"/>
                  </a:lnTo>
                  <a:lnTo>
                    <a:pt x="32" y="427"/>
                  </a:lnTo>
                  <a:lnTo>
                    <a:pt x="34" y="424"/>
                  </a:lnTo>
                  <a:lnTo>
                    <a:pt x="34" y="422"/>
                  </a:lnTo>
                  <a:lnTo>
                    <a:pt x="34" y="420"/>
                  </a:lnTo>
                  <a:lnTo>
                    <a:pt x="34" y="419"/>
                  </a:lnTo>
                  <a:lnTo>
                    <a:pt x="32" y="415"/>
                  </a:lnTo>
                  <a:lnTo>
                    <a:pt x="32" y="414"/>
                  </a:lnTo>
                  <a:lnTo>
                    <a:pt x="34" y="412"/>
                  </a:lnTo>
                  <a:lnTo>
                    <a:pt x="35" y="408"/>
                  </a:lnTo>
                  <a:lnTo>
                    <a:pt x="37" y="408"/>
                  </a:lnTo>
                  <a:lnTo>
                    <a:pt x="37" y="407"/>
                  </a:lnTo>
                  <a:lnTo>
                    <a:pt x="37" y="405"/>
                  </a:lnTo>
                  <a:lnTo>
                    <a:pt x="39" y="405"/>
                  </a:lnTo>
                  <a:lnTo>
                    <a:pt x="40" y="402"/>
                  </a:lnTo>
                  <a:lnTo>
                    <a:pt x="40" y="400"/>
                  </a:lnTo>
                  <a:lnTo>
                    <a:pt x="42" y="398"/>
                  </a:lnTo>
                  <a:lnTo>
                    <a:pt x="44" y="395"/>
                  </a:lnTo>
                  <a:lnTo>
                    <a:pt x="44" y="393"/>
                  </a:lnTo>
                  <a:lnTo>
                    <a:pt x="45" y="391"/>
                  </a:lnTo>
                  <a:lnTo>
                    <a:pt x="45" y="390"/>
                  </a:lnTo>
                  <a:lnTo>
                    <a:pt x="47" y="388"/>
                  </a:lnTo>
                  <a:lnTo>
                    <a:pt x="47" y="386"/>
                  </a:lnTo>
                  <a:lnTo>
                    <a:pt x="51" y="385"/>
                  </a:lnTo>
                  <a:lnTo>
                    <a:pt x="52" y="383"/>
                  </a:lnTo>
                  <a:lnTo>
                    <a:pt x="56" y="381"/>
                  </a:lnTo>
                  <a:lnTo>
                    <a:pt x="57" y="380"/>
                  </a:lnTo>
                  <a:lnTo>
                    <a:pt x="61" y="380"/>
                  </a:lnTo>
                  <a:lnTo>
                    <a:pt x="62" y="378"/>
                  </a:lnTo>
                  <a:lnTo>
                    <a:pt x="64" y="378"/>
                  </a:lnTo>
                  <a:lnTo>
                    <a:pt x="66" y="378"/>
                  </a:lnTo>
                  <a:lnTo>
                    <a:pt x="69" y="378"/>
                  </a:lnTo>
                  <a:lnTo>
                    <a:pt x="71" y="378"/>
                  </a:lnTo>
                  <a:lnTo>
                    <a:pt x="73" y="380"/>
                  </a:lnTo>
                  <a:lnTo>
                    <a:pt x="74" y="380"/>
                  </a:lnTo>
                  <a:lnTo>
                    <a:pt x="76" y="380"/>
                  </a:lnTo>
                  <a:lnTo>
                    <a:pt x="78" y="380"/>
                  </a:lnTo>
                  <a:lnTo>
                    <a:pt x="79" y="380"/>
                  </a:lnTo>
                  <a:lnTo>
                    <a:pt x="81" y="381"/>
                  </a:lnTo>
                  <a:lnTo>
                    <a:pt x="85" y="381"/>
                  </a:lnTo>
                  <a:lnTo>
                    <a:pt x="88" y="383"/>
                  </a:lnTo>
                  <a:lnTo>
                    <a:pt x="88" y="381"/>
                  </a:lnTo>
                  <a:lnTo>
                    <a:pt x="90" y="380"/>
                  </a:lnTo>
                  <a:lnTo>
                    <a:pt x="90" y="378"/>
                  </a:lnTo>
                  <a:lnTo>
                    <a:pt x="91" y="374"/>
                  </a:lnTo>
                  <a:lnTo>
                    <a:pt x="91" y="371"/>
                  </a:lnTo>
                  <a:lnTo>
                    <a:pt x="93" y="369"/>
                  </a:lnTo>
                  <a:lnTo>
                    <a:pt x="93" y="364"/>
                  </a:lnTo>
                  <a:lnTo>
                    <a:pt x="91" y="363"/>
                  </a:lnTo>
                  <a:lnTo>
                    <a:pt x="91" y="361"/>
                  </a:lnTo>
                  <a:lnTo>
                    <a:pt x="91" y="356"/>
                  </a:lnTo>
                  <a:lnTo>
                    <a:pt x="91" y="354"/>
                  </a:lnTo>
                  <a:lnTo>
                    <a:pt x="91" y="352"/>
                  </a:lnTo>
                  <a:lnTo>
                    <a:pt x="90" y="349"/>
                  </a:lnTo>
                  <a:lnTo>
                    <a:pt x="88" y="349"/>
                  </a:lnTo>
                  <a:lnTo>
                    <a:pt x="86" y="347"/>
                  </a:lnTo>
                  <a:lnTo>
                    <a:pt x="83" y="347"/>
                  </a:lnTo>
                  <a:lnTo>
                    <a:pt x="79" y="344"/>
                  </a:lnTo>
                  <a:lnTo>
                    <a:pt x="76" y="342"/>
                  </a:lnTo>
                  <a:lnTo>
                    <a:pt x="78" y="337"/>
                  </a:lnTo>
                  <a:lnTo>
                    <a:pt x="78" y="335"/>
                  </a:lnTo>
                  <a:lnTo>
                    <a:pt x="79" y="332"/>
                  </a:lnTo>
                  <a:lnTo>
                    <a:pt x="81" y="332"/>
                  </a:lnTo>
                  <a:lnTo>
                    <a:pt x="81" y="330"/>
                  </a:lnTo>
                  <a:lnTo>
                    <a:pt x="81" y="329"/>
                  </a:lnTo>
                  <a:lnTo>
                    <a:pt x="83" y="325"/>
                  </a:lnTo>
                  <a:lnTo>
                    <a:pt x="85" y="322"/>
                  </a:lnTo>
                  <a:lnTo>
                    <a:pt x="86" y="320"/>
                  </a:lnTo>
                  <a:lnTo>
                    <a:pt x="86" y="318"/>
                  </a:lnTo>
                  <a:lnTo>
                    <a:pt x="88" y="317"/>
                  </a:lnTo>
                  <a:lnTo>
                    <a:pt x="88" y="313"/>
                  </a:lnTo>
                  <a:lnTo>
                    <a:pt x="90" y="313"/>
                  </a:lnTo>
                  <a:lnTo>
                    <a:pt x="91" y="308"/>
                  </a:lnTo>
                  <a:lnTo>
                    <a:pt x="93" y="305"/>
                  </a:lnTo>
                  <a:lnTo>
                    <a:pt x="95" y="303"/>
                  </a:lnTo>
                  <a:lnTo>
                    <a:pt x="95" y="296"/>
                  </a:lnTo>
                  <a:lnTo>
                    <a:pt x="95" y="293"/>
                  </a:lnTo>
                  <a:lnTo>
                    <a:pt x="96" y="293"/>
                  </a:lnTo>
                  <a:lnTo>
                    <a:pt x="96" y="291"/>
                  </a:lnTo>
                  <a:lnTo>
                    <a:pt x="98" y="288"/>
                  </a:lnTo>
                  <a:lnTo>
                    <a:pt x="98" y="286"/>
                  </a:lnTo>
                  <a:lnTo>
                    <a:pt x="98" y="284"/>
                  </a:lnTo>
                  <a:lnTo>
                    <a:pt x="98" y="283"/>
                  </a:lnTo>
                  <a:lnTo>
                    <a:pt x="98" y="281"/>
                  </a:lnTo>
                  <a:lnTo>
                    <a:pt x="98" y="279"/>
                  </a:lnTo>
                  <a:lnTo>
                    <a:pt x="98" y="276"/>
                  </a:lnTo>
                  <a:lnTo>
                    <a:pt x="98" y="274"/>
                  </a:lnTo>
                  <a:lnTo>
                    <a:pt x="98" y="269"/>
                  </a:lnTo>
                  <a:lnTo>
                    <a:pt x="98" y="267"/>
                  </a:lnTo>
                  <a:lnTo>
                    <a:pt x="98" y="264"/>
                  </a:lnTo>
                  <a:lnTo>
                    <a:pt x="98" y="260"/>
                  </a:lnTo>
                  <a:lnTo>
                    <a:pt x="98" y="259"/>
                  </a:lnTo>
                  <a:lnTo>
                    <a:pt x="100" y="255"/>
                  </a:lnTo>
                  <a:lnTo>
                    <a:pt x="100" y="252"/>
                  </a:lnTo>
                  <a:lnTo>
                    <a:pt x="100" y="249"/>
                  </a:lnTo>
                  <a:lnTo>
                    <a:pt x="98" y="245"/>
                  </a:lnTo>
                  <a:lnTo>
                    <a:pt x="98" y="243"/>
                  </a:lnTo>
                  <a:lnTo>
                    <a:pt x="98" y="242"/>
                  </a:lnTo>
                  <a:lnTo>
                    <a:pt x="96" y="237"/>
                  </a:lnTo>
                  <a:lnTo>
                    <a:pt x="96" y="235"/>
                  </a:lnTo>
                  <a:lnTo>
                    <a:pt x="96" y="232"/>
                  </a:lnTo>
                  <a:lnTo>
                    <a:pt x="95" y="230"/>
                  </a:lnTo>
                  <a:lnTo>
                    <a:pt x="98" y="228"/>
                  </a:lnTo>
                  <a:lnTo>
                    <a:pt x="100" y="228"/>
                  </a:lnTo>
                  <a:lnTo>
                    <a:pt x="102" y="228"/>
                  </a:lnTo>
                  <a:lnTo>
                    <a:pt x="103" y="228"/>
                  </a:lnTo>
                  <a:lnTo>
                    <a:pt x="105" y="228"/>
                  </a:lnTo>
                  <a:lnTo>
                    <a:pt x="107" y="228"/>
                  </a:lnTo>
                  <a:lnTo>
                    <a:pt x="108" y="226"/>
                  </a:lnTo>
                  <a:lnTo>
                    <a:pt x="110" y="226"/>
                  </a:lnTo>
                  <a:lnTo>
                    <a:pt x="113" y="225"/>
                  </a:lnTo>
                  <a:lnTo>
                    <a:pt x="115" y="223"/>
                  </a:lnTo>
                  <a:lnTo>
                    <a:pt x="119" y="221"/>
                  </a:lnTo>
                  <a:lnTo>
                    <a:pt x="119" y="220"/>
                  </a:lnTo>
                  <a:lnTo>
                    <a:pt x="120" y="218"/>
                  </a:lnTo>
                  <a:lnTo>
                    <a:pt x="122" y="216"/>
                  </a:lnTo>
                  <a:lnTo>
                    <a:pt x="122" y="213"/>
                  </a:lnTo>
                  <a:lnTo>
                    <a:pt x="120" y="211"/>
                  </a:lnTo>
                  <a:lnTo>
                    <a:pt x="120" y="209"/>
                  </a:lnTo>
                  <a:lnTo>
                    <a:pt x="120" y="206"/>
                  </a:lnTo>
                  <a:lnTo>
                    <a:pt x="119" y="203"/>
                  </a:lnTo>
                  <a:lnTo>
                    <a:pt x="120" y="199"/>
                  </a:lnTo>
                  <a:lnTo>
                    <a:pt x="122" y="196"/>
                  </a:lnTo>
                  <a:lnTo>
                    <a:pt x="125" y="194"/>
                  </a:lnTo>
                  <a:lnTo>
                    <a:pt x="125" y="192"/>
                  </a:lnTo>
                  <a:lnTo>
                    <a:pt x="127" y="189"/>
                  </a:lnTo>
                  <a:lnTo>
                    <a:pt x="127" y="187"/>
                  </a:lnTo>
                  <a:lnTo>
                    <a:pt x="129" y="186"/>
                  </a:lnTo>
                  <a:lnTo>
                    <a:pt x="129" y="184"/>
                  </a:lnTo>
                  <a:lnTo>
                    <a:pt x="130" y="181"/>
                  </a:lnTo>
                  <a:lnTo>
                    <a:pt x="132" y="177"/>
                  </a:lnTo>
                  <a:lnTo>
                    <a:pt x="132" y="175"/>
                  </a:lnTo>
                  <a:lnTo>
                    <a:pt x="134" y="174"/>
                  </a:lnTo>
                  <a:lnTo>
                    <a:pt x="134" y="172"/>
                  </a:lnTo>
                  <a:lnTo>
                    <a:pt x="136" y="170"/>
                  </a:lnTo>
                  <a:lnTo>
                    <a:pt x="136" y="169"/>
                  </a:lnTo>
                  <a:lnTo>
                    <a:pt x="137" y="167"/>
                  </a:lnTo>
                  <a:lnTo>
                    <a:pt x="139" y="165"/>
                  </a:lnTo>
                  <a:lnTo>
                    <a:pt x="141" y="162"/>
                  </a:lnTo>
                  <a:lnTo>
                    <a:pt x="142" y="162"/>
                  </a:lnTo>
                  <a:lnTo>
                    <a:pt x="144" y="160"/>
                  </a:lnTo>
                  <a:lnTo>
                    <a:pt x="144" y="158"/>
                  </a:lnTo>
                  <a:lnTo>
                    <a:pt x="144" y="155"/>
                  </a:lnTo>
                  <a:lnTo>
                    <a:pt x="144" y="153"/>
                  </a:lnTo>
                  <a:lnTo>
                    <a:pt x="144" y="150"/>
                  </a:lnTo>
                  <a:lnTo>
                    <a:pt x="144" y="148"/>
                  </a:lnTo>
                  <a:lnTo>
                    <a:pt x="142" y="146"/>
                  </a:lnTo>
                  <a:lnTo>
                    <a:pt x="141" y="145"/>
                  </a:lnTo>
                  <a:lnTo>
                    <a:pt x="141" y="143"/>
                  </a:lnTo>
                  <a:lnTo>
                    <a:pt x="139" y="141"/>
                  </a:lnTo>
                  <a:lnTo>
                    <a:pt x="137" y="140"/>
                  </a:lnTo>
                  <a:lnTo>
                    <a:pt x="136" y="136"/>
                  </a:lnTo>
                  <a:lnTo>
                    <a:pt x="136" y="135"/>
                  </a:lnTo>
                  <a:lnTo>
                    <a:pt x="134" y="131"/>
                  </a:lnTo>
                  <a:lnTo>
                    <a:pt x="134" y="129"/>
                  </a:lnTo>
                  <a:lnTo>
                    <a:pt x="134" y="128"/>
                  </a:lnTo>
                  <a:lnTo>
                    <a:pt x="134" y="126"/>
                  </a:lnTo>
                  <a:lnTo>
                    <a:pt x="137" y="124"/>
                  </a:lnTo>
                  <a:lnTo>
                    <a:pt x="139" y="124"/>
                  </a:lnTo>
                  <a:lnTo>
                    <a:pt x="141" y="124"/>
                  </a:lnTo>
                  <a:lnTo>
                    <a:pt x="142" y="123"/>
                  </a:lnTo>
                  <a:lnTo>
                    <a:pt x="144" y="119"/>
                  </a:lnTo>
                  <a:lnTo>
                    <a:pt x="144" y="116"/>
                  </a:lnTo>
                  <a:lnTo>
                    <a:pt x="146" y="112"/>
                  </a:lnTo>
                  <a:lnTo>
                    <a:pt x="146" y="111"/>
                  </a:lnTo>
                  <a:lnTo>
                    <a:pt x="146" y="107"/>
                  </a:lnTo>
                  <a:lnTo>
                    <a:pt x="146" y="106"/>
                  </a:lnTo>
                  <a:lnTo>
                    <a:pt x="147" y="102"/>
                  </a:lnTo>
                  <a:lnTo>
                    <a:pt x="147" y="99"/>
                  </a:lnTo>
                  <a:lnTo>
                    <a:pt x="147" y="95"/>
                  </a:lnTo>
                  <a:lnTo>
                    <a:pt x="149" y="94"/>
                  </a:lnTo>
                  <a:lnTo>
                    <a:pt x="151" y="94"/>
                  </a:lnTo>
                  <a:lnTo>
                    <a:pt x="153" y="92"/>
                  </a:lnTo>
                  <a:lnTo>
                    <a:pt x="153" y="90"/>
                  </a:lnTo>
                  <a:lnTo>
                    <a:pt x="154" y="89"/>
                  </a:lnTo>
                  <a:lnTo>
                    <a:pt x="156" y="87"/>
                  </a:lnTo>
                  <a:lnTo>
                    <a:pt x="159" y="85"/>
                  </a:lnTo>
                  <a:lnTo>
                    <a:pt x="159" y="84"/>
                  </a:lnTo>
                  <a:lnTo>
                    <a:pt x="161" y="80"/>
                  </a:lnTo>
                  <a:lnTo>
                    <a:pt x="163" y="80"/>
                  </a:lnTo>
                  <a:lnTo>
                    <a:pt x="166" y="82"/>
                  </a:lnTo>
                  <a:lnTo>
                    <a:pt x="168" y="82"/>
                  </a:lnTo>
                  <a:lnTo>
                    <a:pt x="170" y="82"/>
                  </a:lnTo>
                  <a:lnTo>
                    <a:pt x="170" y="84"/>
                  </a:lnTo>
                  <a:lnTo>
                    <a:pt x="173" y="84"/>
                  </a:lnTo>
                  <a:lnTo>
                    <a:pt x="175" y="85"/>
                  </a:lnTo>
                  <a:lnTo>
                    <a:pt x="180" y="89"/>
                  </a:lnTo>
                  <a:lnTo>
                    <a:pt x="180" y="85"/>
                  </a:lnTo>
                  <a:lnTo>
                    <a:pt x="181" y="82"/>
                  </a:lnTo>
                  <a:lnTo>
                    <a:pt x="181" y="78"/>
                  </a:lnTo>
                  <a:lnTo>
                    <a:pt x="183" y="75"/>
                  </a:lnTo>
                  <a:lnTo>
                    <a:pt x="183" y="73"/>
                  </a:lnTo>
                  <a:lnTo>
                    <a:pt x="185" y="72"/>
                  </a:lnTo>
                  <a:lnTo>
                    <a:pt x="183" y="68"/>
                  </a:lnTo>
                  <a:lnTo>
                    <a:pt x="183" y="67"/>
                  </a:lnTo>
                  <a:lnTo>
                    <a:pt x="183" y="65"/>
                  </a:lnTo>
                  <a:lnTo>
                    <a:pt x="181" y="61"/>
                  </a:lnTo>
                  <a:lnTo>
                    <a:pt x="181" y="58"/>
                  </a:lnTo>
                  <a:lnTo>
                    <a:pt x="181" y="56"/>
                  </a:lnTo>
                  <a:lnTo>
                    <a:pt x="181" y="55"/>
                  </a:lnTo>
                  <a:lnTo>
                    <a:pt x="181" y="51"/>
                  </a:lnTo>
                  <a:lnTo>
                    <a:pt x="181" y="50"/>
                  </a:lnTo>
                  <a:lnTo>
                    <a:pt x="180" y="48"/>
                  </a:lnTo>
                  <a:lnTo>
                    <a:pt x="180" y="46"/>
                  </a:lnTo>
                  <a:lnTo>
                    <a:pt x="181" y="46"/>
                  </a:lnTo>
                  <a:lnTo>
                    <a:pt x="185" y="44"/>
                  </a:lnTo>
                  <a:lnTo>
                    <a:pt x="188" y="43"/>
                  </a:lnTo>
                  <a:lnTo>
                    <a:pt x="190" y="44"/>
                  </a:lnTo>
                  <a:lnTo>
                    <a:pt x="192" y="46"/>
                  </a:lnTo>
                  <a:lnTo>
                    <a:pt x="193" y="48"/>
                  </a:lnTo>
                  <a:lnTo>
                    <a:pt x="195" y="46"/>
                  </a:lnTo>
                  <a:lnTo>
                    <a:pt x="197" y="46"/>
                  </a:lnTo>
                  <a:lnTo>
                    <a:pt x="202" y="46"/>
                  </a:lnTo>
                  <a:lnTo>
                    <a:pt x="204" y="46"/>
                  </a:lnTo>
                  <a:lnTo>
                    <a:pt x="212" y="48"/>
                  </a:lnTo>
                  <a:lnTo>
                    <a:pt x="219" y="50"/>
                  </a:lnTo>
                  <a:lnTo>
                    <a:pt x="222" y="51"/>
                  </a:lnTo>
                  <a:lnTo>
                    <a:pt x="224" y="51"/>
                  </a:lnTo>
                  <a:lnTo>
                    <a:pt x="226" y="53"/>
                  </a:lnTo>
                  <a:lnTo>
                    <a:pt x="229" y="53"/>
                  </a:lnTo>
                  <a:lnTo>
                    <a:pt x="231" y="53"/>
                  </a:lnTo>
                  <a:lnTo>
                    <a:pt x="231" y="51"/>
                  </a:lnTo>
                  <a:lnTo>
                    <a:pt x="234" y="48"/>
                  </a:lnTo>
                  <a:lnTo>
                    <a:pt x="234" y="46"/>
                  </a:lnTo>
                  <a:lnTo>
                    <a:pt x="238" y="43"/>
                  </a:lnTo>
                  <a:lnTo>
                    <a:pt x="234" y="41"/>
                  </a:lnTo>
                  <a:lnTo>
                    <a:pt x="231" y="41"/>
                  </a:lnTo>
                  <a:lnTo>
                    <a:pt x="229" y="39"/>
                  </a:lnTo>
                  <a:lnTo>
                    <a:pt x="231" y="36"/>
                  </a:lnTo>
                  <a:lnTo>
                    <a:pt x="232" y="34"/>
                  </a:lnTo>
                  <a:lnTo>
                    <a:pt x="234" y="31"/>
                  </a:lnTo>
                  <a:lnTo>
                    <a:pt x="236" y="24"/>
                  </a:lnTo>
                  <a:lnTo>
                    <a:pt x="236" y="22"/>
                  </a:lnTo>
                  <a:lnTo>
                    <a:pt x="236" y="21"/>
                  </a:lnTo>
                  <a:lnTo>
                    <a:pt x="234" y="10"/>
                  </a:lnTo>
                  <a:lnTo>
                    <a:pt x="231" y="7"/>
                  </a:lnTo>
                  <a:lnTo>
                    <a:pt x="229" y="5"/>
                  </a:lnTo>
                  <a:lnTo>
                    <a:pt x="227" y="5"/>
                  </a:lnTo>
                  <a:lnTo>
                    <a:pt x="227" y="4"/>
                  </a:lnTo>
                  <a:lnTo>
                    <a:pt x="232" y="2"/>
                  </a:lnTo>
                  <a:lnTo>
                    <a:pt x="236" y="2"/>
                  </a:lnTo>
                  <a:lnTo>
                    <a:pt x="236" y="0"/>
                  </a:lnTo>
                  <a:lnTo>
                    <a:pt x="238" y="0"/>
                  </a:lnTo>
                  <a:lnTo>
                    <a:pt x="239" y="0"/>
                  </a:lnTo>
                  <a:lnTo>
                    <a:pt x="241" y="0"/>
                  </a:lnTo>
                  <a:lnTo>
                    <a:pt x="243" y="0"/>
                  </a:lnTo>
                  <a:lnTo>
                    <a:pt x="246" y="2"/>
                  </a:lnTo>
                  <a:lnTo>
                    <a:pt x="248" y="4"/>
                  </a:lnTo>
                  <a:lnTo>
                    <a:pt x="249" y="5"/>
                  </a:lnTo>
                  <a:lnTo>
                    <a:pt x="249" y="7"/>
                  </a:lnTo>
                  <a:lnTo>
                    <a:pt x="248" y="9"/>
                  </a:lnTo>
                  <a:lnTo>
                    <a:pt x="249" y="10"/>
                  </a:lnTo>
                  <a:lnTo>
                    <a:pt x="253" y="10"/>
                  </a:lnTo>
                  <a:lnTo>
                    <a:pt x="255" y="12"/>
                  </a:lnTo>
                  <a:lnTo>
                    <a:pt x="256" y="12"/>
                  </a:lnTo>
                  <a:lnTo>
                    <a:pt x="258" y="16"/>
                  </a:lnTo>
                  <a:lnTo>
                    <a:pt x="260" y="16"/>
                  </a:lnTo>
                  <a:lnTo>
                    <a:pt x="261" y="17"/>
                  </a:lnTo>
                  <a:lnTo>
                    <a:pt x="261" y="19"/>
                  </a:lnTo>
                  <a:lnTo>
                    <a:pt x="265" y="19"/>
                  </a:lnTo>
                  <a:lnTo>
                    <a:pt x="265" y="21"/>
                  </a:lnTo>
                  <a:lnTo>
                    <a:pt x="266" y="24"/>
                  </a:lnTo>
                  <a:lnTo>
                    <a:pt x="268" y="24"/>
                  </a:lnTo>
                  <a:lnTo>
                    <a:pt x="270" y="24"/>
                  </a:lnTo>
                  <a:lnTo>
                    <a:pt x="272" y="24"/>
                  </a:lnTo>
                  <a:lnTo>
                    <a:pt x="272" y="26"/>
                  </a:lnTo>
                  <a:lnTo>
                    <a:pt x="275" y="27"/>
                  </a:lnTo>
                  <a:lnTo>
                    <a:pt x="275" y="29"/>
                  </a:lnTo>
                  <a:lnTo>
                    <a:pt x="277" y="29"/>
                  </a:lnTo>
                  <a:lnTo>
                    <a:pt x="278" y="29"/>
                  </a:lnTo>
                  <a:lnTo>
                    <a:pt x="280" y="29"/>
                  </a:lnTo>
                  <a:lnTo>
                    <a:pt x="282" y="31"/>
                  </a:lnTo>
                  <a:lnTo>
                    <a:pt x="283" y="33"/>
                  </a:lnTo>
                  <a:lnTo>
                    <a:pt x="283" y="34"/>
                  </a:lnTo>
                  <a:lnTo>
                    <a:pt x="285" y="36"/>
                  </a:lnTo>
                  <a:lnTo>
                    <a:pt x="289" y="36"/>
                  </a:lnTo>
                  <a:lnTo>
                    <a:pt x="290" y="36"/>
                  </a:lnTo>
                  <a:lnTo>
                    <a:pt x="290" y="34"/>
                  </a:lnTo>
                  <a:lnTo>
                    <a:pt x="294" y="34"/>
                  </a:lnTo>
                  <a:lnTo>
                    <a:pt x="294" y="38"/>
                  </a:lnTo>
                  <a:lnTo>
                    <a:pt x="295" y="36"/>
                  </a:lnTo>
                  <a:lnTo>
                    <a:pt x="297" y="38"/>
                  </a:lnTo>
                  <a:lnTo>
                    <a:pt x="300" y="38"/>
                  </a:lnTo>
                  <a:lnTo>
                    <a:pt x="300" y="36"/>
                  </a:lnTo>
                  <a:lnTo>
                    <a:pt x="302" y="38"/>
                  </a:lnTo>
                  <a:lnTo>
                    <a:pt x="304" y="39"/>
                  </a:lnTo>
                  <a:lnTo>
                    <a:pt x="307" y="39"/>
                  </a:lnTo>
                  <a:lnTo>
                    <a:pt x="307" y="41"/>
                  </a:lnTo>
                  <a:lnTo>
                    <a:pt x="311" y="43"/>
                  </a:lnTo>
                  <a:lnTo>
                    <a:pt x="314" y="44"/>
                  </a:lnTo>
                  <a:lnTo>
                    <a:pt x="316" y="46"/>
                  </a:lnTo>
                  <a:lnTo>
                    <a:pt x="317" y="48"/>
                  </a:lnTo>
                  <a:lnTo>
                    <a:pt x="317" y="51"/>
                  </a:lnTo>
                  <a:lnTo>
                    <a:pt x="317" y="55"/>
                  </a:lnTo>
                  <a:lnTo>
                    <a:pt x="319" y="55"/>
                  </a:lnTo>
                  <a:lnTo>
                    <a:pt x="321" y="53"/>
                  </a:lnTo>
                  <a:lnTo>
                    <a:pt x="323" y="55"/>
                  </a:lnTo>
                  <a:lnTo>
                    <a:pt x="324" y="56"/>
                  </a:lnTo>
                  <a:lnTo>
                    <a:pt x="324" y="58"/>
                  </a:lnTo>
                  <a:lnTo>
                    <a:pt x="326" y="61"/>
                  </a:lnTo>
                  <a:lnTo>
                    <a:pt x="328" y="61"/>
                  </a:lnTo>
                  <a:lnTo>
                    <a:pt x="331" y="63"/>
                  </a:lnTo>
                  <a:lnTo>
                    <a:pt x="333" y="65"/>
                  </a:lnTo>
                  <a:lnTo>
                    <a:pt x="334" y="65"/>
                  </a:lnTo>
                  <a:lnTo>
                    <a:pt x="334" y="68"/>
                  </a:lnTo>
                  <a:lnTo>
                    <a:pt x="333" y="72"/>
                  </a:lnTo>
                  <a:lnTo>
                    <a:pt x="331" y="75"/>
                  </a:lnTo>
                  <a:lnTo>
                    <a:pt x="331" y="77"/>
                  </a:lnTo>
                  <a:lnTo>
                    <a:pt x="333" y="78"/>
                  </a:lnTo>
                  <a:lnTo>
                    <a:pt x="333" y="82"/>
                  </a:lnTo>
                  <a:lnTo>
                    <a:pt x="333" y="85"/>
                  </a:lnTo>
                  <a:lnTo>
                    <a:pt x="334" y="87"/>
                  </a:lnTo>
                  <a:lnTo>
                    <a:pt x="336" y="90"/>
                  </a:lnTo>
                  <a:lnTo>
                    <a:pt x="336" y="94"/>
                  </a:lnTo>
                  <a:lnTo>
                    <a:pt x="334" y="95"/>
                  </a:lnTo>
                  <a:lnTo>
                    <a:pt x="336" y="97"/>
                  </a:lnTo>
                  <a:lnTo>
                    <a:pt x="334" y="99"/>
                  </a:lnTo>
                  <a:lnTo>
                    <a:pt x="334" y="101"/>
                  </a:lnTo>
                  <a:lnTo>
                    <a:pt x="334" y="102"/>
                  </a:lnTo>
                  <a:lnTo>
                    <a:pt x="338" y="104"/>
                  </a:lnTo>
                  <a:lnTo>
                    <a:pt x="338" y="102"/>
                  </a:lnTo>
                  <a:lnTo>
                    <a:pt x="340" y="102"/>
                  </a:lnTo>
                  <a:lnTo>
                    <a:pt x="343" y="102"/>
                  </a:lnTo>
                  <a:lnTo>
                    <a:pt x="345" y="102"/>
                  </a:lnTo>
                  <a:lnTo>
                    <a:pt x="345" y="104"/>
                  </a:lnTo>
                  <a:lnTo>
                    <a:pt x="345" y="106"/>
                  </a:lnTo>
                  <a:lnTo>
                    <a:pt x="345" y="109"/>
                  </a:lnTo>
                  <a:lnTo>
                    <a:pt x="346" y="109"/>
                  </a:lnTo>
                  <a:lnTo>
                    <a:pt x="346" y="111"/>
                  </a:lnTo>
                  <a:lnTo>
                    <a:pt x="346" y="114"/>
                  </a:lnTo>
                  <a:lnTo>
                    <a:pt x="343" y="114"/>
                  </a:lnTo>
                  <a:lnTo>
                    <a:pt x="341" y="116"/>
                  </a:lnTo>
                  <a:lnTo>
                    <a:pt x="341" y="119"/>
                  </a:lnTo>
                  <a:lnTo>
                    <a:pt x="343" y="119"/>
                  </a:lnTo>
                  <a:lnTo>
                    <a:pt x="343" y="123"/>
                  </a:lnTo>
                  <a:lnTo>
                    <a:pt x="343" y="124"/>
                  </a:lnTo>
                  <a:lnTo>
                    <a:pt x="346" y="126"/>
                  </a:lnTo>
                  <a:lnTo>
                    <a:pt x="348" y="129"/>
                  </a:lnTo>
                  <a:lnTo>
                    <a:pt x="350" y="133"/>
                  </a:lnTo>
                  <a:lnTo>
                    <a:pt x="351" y="135"/>
                  </a:lnTo>
                  <a:lnTo>
                    <a:pt x="353" y="136"/>
                  </a:lnTo>
                  <a:lnTo>
                    <a:pt x="355" y="136"/>
                  </a:lnTo>
                  <a:lnTo>
                    <a:pt x="355" y="138"/>
                  </a:lnTo>
                  <a:lnTo>
                    <a:pt x="357" y="141"/>
                  </a:lnTo>
                  <a:lnTo>
                    <a:pt x="358" y="141"/>
                  </a:lnTo>
                  <a:lnTo>
                    <a:pt x="358" y="143"/>
                  </a:lnTo>
                  <a:lnTo>
                    <a:pt x="360" y="145"/>
                  </a:lnTo>
                  <a:lnTo>
                    <a:pt x="360" y="148"/>
                  </a:lnTo>
                  <a:lnTo>
                    <a:pt x="358" y="146"/>
                  </a:lnTo>
                  <a:lnTo>
                    <a:pt x="357" y="150"/>
                  </a:lnTo>
                  <a:lnTo>
                    <a:pt x="358" y="153"/>
                  </a:lnTo>
                  <a:lnTo>
                    <a:pt x="358" y="155"/>
                  </a:lnTo>
                  <a:lnTo>
                    <a:pt x="358" y="157"/>
                  </a:lnTo>
                  <a:lnTo>
                    <a:pt x="360" y="160"/>
                  </a:lnTo>
                  <a:lnTo>
                    <a:pt x="360" y="164"/>
                  </a:lnTo>
                  <a:lnTo>
                    <a:pt x="358" y="167"/>
                  </a:lnTo>
                  <a:lnTo>
                    <a:pt x="357" y="169"/>
                  </a:lnTo>
                  <a:lnTo>
                    <a:pt x="357" y="170"/>
                  </a:lnTo>
                  <a:lnTo>
                    <a:pt x="355" y="172"/>
                  </a:lnTo>
                  <a:lnTo>
                    <a:pt x="355" y="175"/>
                  </a:lnTo>
                  <a:lnTo>
                    <a:pt x="357" y="177"/>
                  </a:lnTo>
                  <a:lnTo>
                    <a:pt x="357" y="181"/>
                  </a:lnTo>
                  <a:lnTo>
                    <a:pt x="357" y="182"/>
                  </a:lnTo>
                  <a:lnTo>
                    <a:pt x="357" y="184"/>
                  </a:lnTo>
                  <a:lnTo>
                    <a:pt x="358" y="187"/>
                  </a:lnTo>
                  <a:lnTo>
                    <a:pt x="360" y="187"/>
                  </a:lnTo>
                  <a:lnTo>
                    <a:pt x="360" y="189"/>
                  </a:lnTo>
                  <a:lnTo>
                    <a:pt x="362" y="191"/>
                  </a:lnTo>
                  <a:lnTo>
                    <a:pt x="363" y="191"/>
                  </a:lnTo>
                  <a:lnTo>
                    <a:pt x="363" y="192"/>
                  </a:lnTo>
                  <a:lnTo>
                    <a:pt x="367" y="192"/>
                  </a:lnTo>
                  <a:lnTo>
                    <a:pt x="367" y="194"/>
                  </a:lnTo>
                  <a:lnTo>
                    <a:pt x="368" y="196"/>
                  </a:lnTo>
                  <a:lnTo>
                    <a:pt x="368" y="198"/>
                  </a:lnTo>
                  <a:lnTo>
                    <a:pt x="370" y="199"/>
                  </a:lnTo>
                  <a:lnTo>
                    <a:pt x="372" y="201"/>
                  </a:lnTo>
                  <a:lnTo>
                    <a:pt x="372" y="203"/>
                  </a:lnTo>
                  <a:lnTo>
                    <a:pt x="374" y="204"/>
                  </a:lnTo>
                  <a:lnTo>
                    <a:pt x="374" y="206"/>
                  </a:lnTo>
                  <a:lnTo>
                    <a:pt x="375" y="208"/>
                  </a:lnTo>
                  <a:lnTo>
                    <a:pt x="375" y="209"/>
                  </a:lnTo>
                  <a:lnTo>
                    <a:pt x="377" y="211"/>
                  </a:lnTo>
                  <a:lnTo>
                    <a:pt x="377" y="213"/>
                  </a:lnTo>
                  <a:lnTo>
                    <a:pt x="377" y="215"/>
                  </a:lnTo>
                  <a:close/>
                  <a:moveTo>
                    <a:pt x="294" y="795"/>
                  </a:moveTo>
                  <a:lnTo>
                    <a:pt x="297" y="796"/>
                  </a:lnTo>
                  <a:lnTo>
                    <a:pt x="299" y="795"/>
                  </a:lnTo>
                  <a:lnTo>
                    <a:pt x="299" y="796"/>
                  </a:lnTo>
                  <a:lnTo>
                    <a:pt x="300" y="798"/>
                  </a:lnTo>
                  <a:lnTo>
                    <a:pt x="300" y="800"/>
                  </a:lnTo>
                  <a:lnTo>
                    <a:pt x="302" y="800"/>
                  </a:lnTo>
                  <a:lnTo>
                    <a:pt x="302" y="801"/>
                  </a:lnTo>
                  <a:lnTo>
                    <a:pt x="300" y="801"/>
                  </a:lnTo>
                  <a:lnTo>
                    <a:pt x="299" y="805"/>
                  </a:lnTo>
                  <a:lnTo>
                    <a:pt x="300" y="805"/>
                  </a:lnTo>
                  <a:lnTo>
                    <a:pt x="300" y="807"/>
                  </a:lnTo>
                  <a:lnTo>
                    <a:pt x="300" y="808"/>
                  </a:lnTo>
                  <a:lnTo>
                    <a:pt x="299" y="805"/>
                  </a:lnTo>
                  <a:lnTo>
                    <a:pt x="299" y="807"/>
                  </a:lnTo>
                  <a:lnTo>
                    <a:pt x="297" y="805"/>
                  </a:lnTo>
                  <a:lnTo>
                    <a:pt x="297" y="807"/>
                  </a:lnTo>
                  <a:lnTo>
                    <a:pt x="299" y="808"/>
                  </a:lnTo>
                  <a:lnTo>
                    <a:pt x="299" y="810"/>
                  </a:lnTo>
                  <a:lnTo>
                    <a:pt x="297" y="808"/>
                  </a:lnTo>
                  <a:lnTo>
                    <a:pt x="297" y="810"/>
                  </a:lnTo>
                  <a:lnTo>
                    <a:pt x="295" y="808"/>
                  </a:lnTo>
                  <a:lnTo>
                    <a:pt x="294" y="810"/>
                  </a:lnTo>
                  <a:lnTo>
                    <a:pt x="294" y="808"/>
                  </a:lnTo>
                  <a:lnTo>
                    <a:pt x="292" y="808"/>
                  </a:lnTo>
                  <a:lnTo>
                    <a:pt x="294" y="810"/>
                  </a:lnTo>
                  <a:lnTo>
                    <a:pt x="292" y="810"/>
                  </a:lnTo>
                  <a:lnTo>
                    <a:pt x="294" y="812"/>
                  </a:lnTo>
                  <a:lnTo>
                    <a:pt x="294" y="813"/>
                  </a:lnTo>
                  <a:lnTo>
                    <a:pt x="292" y="815"/>
                  </a:lnTo>
                  <a:lnTo>
                    <a:pt x="292" y="818"/>
                  </a:lnTo>
                  <a:lnTo>
                    <a:pt x="294" y="818"/>
                  </a:lnTo>
                  <a:lnTo>
                    <a:pt x="294" y="820"/>
                  </a:lnTo>
                  <a:lnTo>
                    <a:pt x="294" y="822"/>
                  </a:lnTo>
                  <a:lnTo>
                    <a:pt x="294" y="824"/>
                  </a:lnTo>
                  <a:lnTo>
                    <a:pt x="292" y="825"/>
                  </a:lnTo>
                  <a:lnTo>
                    <a:pt x="294" y="827"/>
                  </a:lnTo>
                  <a:lnTo>
                    <a:pt x="294" y="829"/>
                  </a:lnTo>
                  <a:lnTo>
                    <a:pt x="295" y="827"/>
                  </a:lnTo>
                  <a:lnTo>
                    <a:pt x="294" y="829"/>
                  </a:lnTo>
                  <a:lnTo>
                    <a:pt x="295" y="830"/>
                  </a:lnTo>
                  <a:lnTo>
                    <a:pt x="299" y="829"/>
                  </a:lnTo>
                  <a:lnTo>
                    <a:pt x="300" y="830"/>
                  </a:lnTo>
                  <a:lnTo>
                    <a:pt x="300" y="832"/>
                  </a:lnTo>
                  <a:lnTo>
                    <a:pt x="299" y="834"/>
                  </a:lnTo>
                  <a:lnTo>
                    <a:pt x="297" y="832"/>
                  </a:lnTo>
                  <a:lnTo>
                    <a:pt x="295" y="835"/>
                  </a:lnTo>
                  <a:lnTo>
                    <a:pt x="294" y="835"/>
                  </a:lnTo>
                  <a:lnTo>
                    <a:pt x="292" y="837"/>
                  </a:lnTo>
                  <a:lnTo>
                    <a:pt x="292" y="839"/>
                  </a:lnTo>
                  <a:lnTo>
                    <a:pt x="292" y="841"/>
                  </a:lnTo>
                  <a:lnTo>
                    <a:pt x="294" y="842"/>
                  </a:lnTo>
                  <a:lnTo>
                    <a:pt x="294" y="844"/>
                  </a:lnTo>
                  <a:lnTo>
                    <a:pt x="292" y="844"/>
                  </a:lnTo>
                  <a:lnTo>
                    <a:pt x="294" y="844"/>
                  </a:lnTo>
                  <a:lnTo>
                    <a:pt x="294" y="846"/>
                  </a:lnTo>
                  <a:lnTo>
                    <a:pt x="292" y="846"/>
                  </a:lnTo>
                  <a:lnTo>
                    <a:pt x="290" y="846"/>
                  </a:lnTo>
                  <a:lnTo>
                    <a:pt x="287" y="847"/>
                  </a:lnTo>
                  <a:lnTo>
                    <a:pt x="289" y="847"/>
                  </a:lnTo>
                  <a:lnTo>
                    <a:pt x="287" y="849"/>
                  </a:lnTo>
                  <a:lnTo>
                    <a:pt x="285" y="849"/>
                  </a:lnTo>
                  <a:lnTo>
                    <a:pt x="285" y="851"/>
                  </a:lnTo>
                  <a:lnTo>
                    <a:pt x="283" y="851"/>
                  </a:lnTo>
                  <a:lnTo>
                    <a:pt x="282" y="852"/>
                  </a:lnTo>
                  <a:lnTo>
                    <a:pt x="282" y="854"/>
                  </a:lnTo>
                  <a:lnTo>
                    <a:pt x="285" y="854"/>
                  </a:lnTo>
                  <a:lnTo>
                    <a:pt x="283" y="854"/>
                  </a:lnTo>
                  <a:lnTo>
                    <a:pt x="282" y="856"/>
                  </a:lnTo>
                  <a:lnTo>
                    <a:pt x="280" y="858"/>
                  </a:lnTo>
                  <a:lnTo>
                    <a:pt x="282" y="859"/>
                  </a:lnTo>
                  <a:lnTo>
                    <a:pt x="282" y="861"/>
                  </a:lnTo>
                  <a:lnTo>
                    <a:pt x="283" y="863"/>
                  </a:lnTo>
                  <a:lnTo>
                    <a:pt x="282" y="863"/>
                  </a:lnTo>
                  <a:lnTo>
                    <a:pt x="280" y="864"/>
                  </a:lnTo>
                  <a:lnTo>
                    <a:pt x="280" y="868"/>
                  </a:lnTo>
                  <a:lnTo>
                    <a:pt x="278" y="868"/>
                  </a:lnTo>
                  <a:lnTo>
                    <a:pt x="277" y="869"/>
                  </a:lnTo>
                  <a:lnTo>
                    <a:pt x="273" y="869"/>
                  </a:lnTo>
                  <a:lnTo>
                    <a:pt x="275" y="866"/>
                  </a:lnTo>
                  <a:lnTo>
                    <a:pt x="277" y="864"/>
                  </a:lnTo>
                  <a:lnTo>
                    <a:pt x="275" y="863"/>
                  </a:lnTo>
                  <a:lnTo>
                    <a:pt x="277" y="861"/>
                  </a:lnTo>
                  <a:lnTo>
                    <a:pt x="278" y="861"/>
                  </a:lnTo>
                  <a:lnTo>
                    <a:pt x="278" y="859"/>
                  </a:lnTo>
                  <a:lnTo>
                    <a:pt x="278" y="856"/>
                  </a:lnTo>
                  <a:lnTo>
                    <a:pt x="278" y="858"/>
                  </a:lnTo>
                  <a:lnTo>
                    <a:pt x="277" y="859"/>
                  </a:lnTo>
                  <a:lnTo>
                    <a:pt x="275" y="858"/>
                  </a:lnTo>
                  <a:lnTo>
                    <a:pt x="275" y="854"/>
                  </a:lnTo>
                  <a:lnTo>
                    <a:pt x="273" y="852"/>
                  </a:lnTo>
                  <a:lnTo>
                    <a:pt x="273" y="851"/>
                  </a:lnTo>
                  <a:lnTo>
                    <a:pt x="273" y="849"/>
                  </a:lnTo>
                  <a:lnTo>
                    <a:pt x="272" y="847"/>
                  </a:lnTo>
                  <a:lnTo>
                    <a:pt x="270" y="846"/>
                  </a:lnTo>
                  <a:lnTo>
                    <a:pt x="270" y="844"/>
                  </a:lnTo>
                  <a:lnTo>
                    <a:pt x="272" y="842"/>
                  </a:lnTo>
                  <a:lnTo>
                    <a:pt x="272" y="841"/>
                  </a:lnTo>
                  <a:lnTo>
                    <a:pt x="273" y="839"/>
                  </a:lnTo>
                  <a:lnTo>
                    <a:pt x="272" y="837"/>
                  </a:lnTo>
                  <a:lnTo>
                    <a:pt x="273" y="835"/>
                  </a:lnTo>
                  <a:lnTo>
                    <a:pt x="272" y="835"/>
                  </a:lnTo>
                  <a:lnTo>
                    <a:pt x="270" y="834"/>
                  </a:lnTo>
                  <a:lnTo>
                    <a:pt x="270" y="832"/>
                  </a:lnTo>
                  <a:lnTo>
                    <a:pt x="270" y="829"/>
                  </a:lnTo>
                  <a:lnTo>
                    <a:pt x="268" y="829"/>
                  </a:lnTo>
                  <a:lnTo>
                    <a:pt x="268" y="827"/>
                  </a:lnTo>
                  <a:lnTo>
                    <a:pt x="270" y="824"/>
                  </a:lnTo>
                  <a:lnTo>
                    <a:pt x="270" y="822"/>
                  </a:lnTo>
                  <a:lnTo>
                    <a:pt x="272" y="822"/>
                  </a:lnTo>
                  <a:lnTo>
                    <a:pt x="273" y="820"/>
                  </a:lnTo>
                  <a:lnTo>
                    <a:pt x="273" y="818"/>
                  </a:lnTo>
                  <a:lnTo>
                    <a:pt x="275" y="817"/>
                  </a:lnTo>
                  <a:lnTo>
                    <a:pt x="275" y="815"/>
                  </a:lnTo>
                  <a:lnTo>
                    <a:pt x="277" y="815"/>
                  </a:lnTo>
                  <a:lnTo>
                    <a:pt x="277" y="812"/>
                  </a:lnTo>
                  <a:lnTo>
                    <a:pt x="278" y="810"/>
                  </a:lnTo>
                  <a:lnTo>
                    <a:pt x="278" y="808"/>
                  </a:lnTo>
                  <a:lnTo>
                    <a:pt x="278" y="805"/>
                  </a:lnTo>
                  <a:lnTo>
                    <a:pt x="282" y="805"/>
                  </a:lnTo>
                  <a:lnTo>
                    <a:pt x="282" y="803"/>
                  </a:lnTo>
                  <a:lnTo>
                    <a:pt x="283" y="803"/>
                  </a:lnTo>
                  <a:lnTo>
                    <a:pt x="285" y="800"/>
                  </a:lnTo>
                  <a:lnTo>
                    <a:pt x="285" y="798"/>
                  </a:lnTo>
                  <a:lnTo>
                    <a:pt x="287" y="796"/>
                  </a:lnTo>
                  <a:lnTo>
                    <a:pt x="289" y="796"/>
                  </a:lnTo>
                  <a:lnTo>
                    <a:pt x="290" y="798"/>
                  </a:lnTo>
                  <a:lnTo>
                    <a:pt x="290" y="800"/>
                  </a:lnTo>
                  <a:lnTo>
                    <a:pt x="290" y="801"/>
                  </a:lnTo>
                  <a:lnTo>
                    <a:pt x="292" y="803"/>
                  </a:lnTo>
                  <a:lnTo>
                    <a:pt x="292" y="800"/>
                  </a:lnTo>
                  <a:lnTo>
                    <a:pt x="294" y="800"/>
                  </a:lnTo>
                  <a:lnTo>
                    <a:pt x="292" y="796"/>
                  </a:lnTo>
                  <a:lnTo>
                    <a:pt x="294" y="795"/>
                  </a:lnTo>
                  <a:close/>
                  <a:moveTo>
                    <a:pt x="231" y="842"/>
                  </a:moveTo>
                  <a:lnTo>
                    <a:pt x="231" y="844"/>
                  </a:lnTo>
                  <a:lnTo>
                    <a:pt x="232" y="844"/>
                  </a:lnTo>
                  <a:lnTo>
                    <a:pt x="232" y="842"/>
                  </a:lnTo>
                  <a:lnTo>
                    <a:pt x="232" y="844"/>
                  </a:lnTo>
                  <a:lnTo>
                    <a:pt x="234" y="846"/>
                  </a:lnTo>
                  <a:lnTo>
                    <a:pt x="232" y="847"/>
                  </a:lnTo>
                  <a:lnTo>
                    <a:pt x="231" y="849"/>
                  </a:lnTo>
                  <a:lnTo>
                    <a:pt x="232" y="851"/>
                  </a:lnTo>
                  <a:lnTo>
                    <a:pt x="232" y="854"/>
                  </a:lnTo>
                  <a:lnTo>
                    <a:pt x="231" y="854"/>
                  </a:lnTo>
                  <a:lnTo>
                    <a:pt x="232" y="856"/>
                  </a:lnTo>
                  <a:lnTo>
                    <a:pt x="231" y="856"/>
                  </a:lnTo>
                  <a:lnTo>
                    <a:pt x="231" y="858"/>
                  </a:lnTo>
                  <a:lnTo>
                    <a:pt x="229" y="861"/>
                  </a:lnTo>
                  <a:lnTo>
                    <a:pt x="229" y="863"/>
                  </a:lnTo>
                  <a:lnTo>
                    <a:pt x="229" y="864"/>
                  </a:lnTo>
                  <a:lnTo>
                    <a:pt x="229" y="866"/>
                  </a:lnTo>
                  <a:lnTo>
                    <a:pt x="227" y="866"/>
                  </a:lnTo>
                  <a:lnTo>
                    <a:pt x="227" y="868"/>
                  </a:lnTo>
                  <a:lnTo>
                    <a:pt x="227" y="869"/>
                  </a:lnTo>
                  <a:lnTo>
                    <a:pt x="226" y="871"/>
                  </a:lnTo>
                  <a:lnTo>
                    <a:pt x="227" y="873"/>
                  </a:lnTo>
                  <a:lnTo>
                    <a:pt x="227" y="875"/>
                  </a:lnTo>
                  <a:lnTo>
                    <a:pt x="226" y="876"/>
                  </a:lnTo>
                  <a:lnTo>
                    <a:pt x="226" y="880"/>
                  </a:lnTo>
                  <a:lnTo>
                    <a:pt x="226" y="881"/>
                  </a:lnTo>
                  <a:lnTo>
                    <a:pt x="224" y="881"/>
                  </a:lnTo>
                  <a:lnTo>
                    <a:pt x="226" y="881"/>
                  </a:lnTo>
                  <a:lnTo>
                    <a:pt x="224" y="881"/>
                  </a:lnTo>
                  <a:lnTo>
                    <a:pt x="224" y="883"/>
                  </a:lnTo>
                  <a:lnTo>
                    <a:pt x="224" y="885"/>
                  </a:lnTo>
                  <a:lnTo>
                    <a:pt x="222" y="888"/>
                  </a:lnTo>
                  <a:lnTo>
                    <a:pt x="222" y="890"/>
                  </a:lnTo>
                  <a:lnTo>
                    <a:pt x="222" y="892"/>
                  </a:lnTo>
                  <a:lnTo>
                    <a:pt x="222" y="893"/>
                  </a:lnTo>
                  <a:lnTo>
                    <a:pt x="222" y="895"/>
                  </a:lnTo>
                  <a:lnTo>
                    <a:pt x="222" y="898"/>
                  </a:lnTo>
                  <a:lnTo>
                    <a:pt x="221" y="900"/>
                  </a:lnTo>
                  <a:lnTo>
                    <a:pt x="219" y="902"/>
                  </a:lnTo>
                  <a:lnTo>
                    <a:pt x="221" y="903"/>
                  </a:lnTo>
                  <a:lnTo>
                    <a:pt x="219" y="905"/>
                  </a:lnTo>
                  <a:lnTo>
                    <a:pt x="219" y="907"/>
                  </a:lnTo>
                  <a:lnTo>
                    <a:pt x="219" y="909"/>
                  </a:lnTo>
                  <a:lnTo>
                    <a:pt x="217" y="912"/>
                  </a:lnTo>
                  <a:lnTo>
                    <a:pt x="217" y="914"/>
                  </a:lnTo>
                  <a:lnTo>
                    <a:pt x="217" y="917"/>
                  </a:lnTo>
                  <a:lnTo>
                    <a:pt x="215" y="920"/>
                  </a:lnTo>
                  <a:lnTo>
                    <a:pt x="215" y="924"/>
                  </a:lnTo>
                  <a:lnTo>
                    <a:pt x="214" y="926"/>
                  </a:lnTo>
                  <a:lnTo>
                    <a:pt x="215" y="924"/>
                  </a:lnTo>
                  <a:lnTo>
                    <a:pt x="214" y="926"/>
                  </a:lnTo>
                  <a:lnTo>
                    <a:pt x="212" y="926"/>
                  </a:lnTo>
                  <a:lnTo>
                    <a:pt x="212" y="922"/>
                  </a:lnTo>
                  <a:lnTo>
                    <a:pt x="212" y="920"/>
                  </a:lnTo>
                  <a:lnTo>
                    <a:pt x="212" y="917"/>
                  </a:lnTo>
                  <a:lnTo>
                    <a:pt x="212" y="915"/>
                  </a:lnTo>
                  <a:lnTo>
                    <a:pt x="212" y="914"/>
                  </a:lnTo>
                  <a:lnTo>
                    <a:pt x="212" y="912"/>
                  </a:lnTo>
                  <a:lnTo>
                    <a:pt x="210" y="910"/>
                  </a:lnTo>
                  <a:lnTo>
                    <a:pt x="210" y="909"/>
                  </a:lnTo>
                  <a:lnTo>
                    <a:pt x="210" y="905"/>
                  </a:lnTo>
                  <a:lnTo>
                    <a:pt x="209" y="905"/>
                  </a:lnTo>
                  <a:lnTo>
                    <a:pt x="210" y="903"/>
                  </a:lnTo>
                  <a:lnTo>
                    <a:pt x="209" y="903"/>
                  </a:lnTo>
                  <a:lnTo>
                    <a:pt x="210" y="902"/>
                  </a:lnTo>
                  <a:lnTo>
                    <a:pt x="210" y="898"/>
                  </a:lnTo>
                  <a:lnTo>
                    <a:pt x="212" y="897"/>
                  </a:lnTo>
                  <a:lnTo>
                    <a:pt x="212" y="893"/>
                  </a:lnTo>
                  <a:lnTo>
                    <a:pt x="212" y="892"/>
                  </a:lnTo>
                  <a:lnTo>
                    <a:pt x="214" y="888"/>
                  </a:lnTo>
                  <a:lnTo>
                    <a:pt x="214" y="886"/>
                  </a:lnTo>
                  <a:lnTo>
                    <a:pt x="215" y="883"/>
                  </a:lnTo>
                  <a:lnTo>
                    <a:pt x="215" y="881"/>
                  </a:lnTo>
                  <a:lnTo>
                    <a:pt x="217" y="878"/>
                  </a:lnTo>
                  <a:lnTo>
                    <a:pt x="221" y="878"/>
                  </a:lnTo>
                  <a:lnTo>
                    <a:pt x="221" y="875"/>
                  </a:lnTo>
                  <a:lnTo>
                    <a:pt x="221" y="873"/>
                  </a:lnTo>
                  <a:lnTo>
                    <a:pt x="222" y="871"/>
                  </a:lnTo>
                  <a:lnTo>
                    <a:pt x="222" y="869"/>
                  </a:lnTo>
                  <a:lnTo>
                    <a:pt x="224" y="868"/>
                  </a:lnTo>
                  <a:lnTo>
                    <a:pt x="224" y="864"/>
                  </a:lnTo>
                  <a:lnTo>
                    <a:pt x="224" y="863"/>
                  </a:lnTo>
                  <a:lnTo>
                    <a:pt x="226" y="861"/>
                  </a:lnTo>
                  <a:lnTo>
                    <a:pt x="226" y="859"/>
                  </a:lnTo>
                  <a:lnTo>
                    <a:pt x="226" y="858"/>
                  </a:lnTo>
                  <a:lnTo>
                    <a:pt x="226" y="854"/>
                  </a:lnTo>
                  <a:lnTo>
                    <a:pt x="227" y="852"/>
                  </a:lnTo>
                  <a:lnTo>
                    <a:pt x="227" y="851"/>
                  </a:lnTo>
                  <a:lnTo>
                    <a:pt x="227" y="847"/>
                  </a:lnTo>
                  <a:lnTo>
                    <a:pt x="229" y="846"/>
                  </a:lnTo>
                  <a:lnTo>
                    <a:pt x="229" y="844"/>
                  </a:lnTo>
                  <a:lnTo>
                    <a:pt x="231" y="842"/>
                  </a:lnTo>
                  <a:close/>
                  <a:moveTo>
                    <a:pt x="27" y="789"/>
                  </a:moveTo>
                  <a:lnTo>
                    <a:pt x="28" y="789"/>
                  </a:lnTo>
                  <a:lnTo>
                    <a:pt x="28" y="791"/>
                  </a:lnTo>
                  <a:lnTo>
                    <a:pt x="30" y="791"/>
                  </a:lnTo>
                  <a:lnTo>
                    <a:pt x="32" y="793"/>
                  </a:lnTo>
                  <a:lnTo>
                    <a:pt x="32" y="795"/>
                  </a:lnTo>
                  <a:lnTo>
                    <a:pt x="32" y="798"/>
                  </a:lnTo>
                  <a:lnTo>
                    <a:pt x="32" y="800"/>
                  </a:lnTo>
                  <a:lnTo>
                    <a:pt x="32" y="801"/>
                  </a:lnTo>
                  <a:lnTo>
                    <a:pt x="30" y="801"/>
                  </a:lnTo>
                  <a:lnTo>
                    <a:pt x="28" y="801"/>
                  </a:lnTo>
                  <a:lnTo>
                    <a:pt x="27" y="805"/>
                  </a:lnTo>
                  <a:lnTo>
                    <a:pt x="27" y="801"/>
                  </a:lnTo>
                  <a:lnTo>
                    <a:pt x="25" y="803"/>
                  </a:lnTo>
                  <a:lnTo>
                    <a:pt x="25" y="801"/>
                  </a:lnTo>
                  <a:lnTo>
                    <a:pt x="25" y="803"/>
                  </a:lnTo>
                  <a:lnTo>
                    <a:pt x="25" y="801"/>
                  </a:lnTo>
                  <a:lnTo>
                    <a:pt x="23" y="801"/>
                  </a:lnTo>
                  <a:lnTo>
                    <a:pt x="22" y="801"/>
                  </a:lnTo>
                  <a:lnTo>
                    <a:pt x="22" y="805"/>
                  </a:lnTo>
                  <a:lnTo>
                    <a:pt x="20" y="803"/>
                  </a:lnTo>
                  <a:lnTo>
                    <a:pt x="18" y="801"/>
                  </a:lnTo>
                  <a:lnTo>
                    <a:pt x="20" y="803"/>
                  </a:lnTo>
                  <a:lnTo>
                    <a:pt x="18" y="805"/>
                  </a:lnTo>
                  <a:lnTo>
                    <a:pt x="18" y="803"/>
                  </a:lnTo>
                  <a:lnTo>
                    <a:pt x="17" y="801"/>
                  </a:lnTo>
                  <a:lnTo>
                    <a:pt x="15" y="800"/>
                  </a:lnTo>
                  <a:lnTo>
                    <a:pt x="17" y="800"/>
                  </a:lnTo>
                  <a:lnTo>
                    <a:pt x="17" y="798"/>
                  </a:lnTo>
                  <a:lnTo>
                    <a:pt x="18" y="798"/>
                  </a:lnTo>
                  <a:lnTo>
                    <a:pt x="18" y="796"/>
                  </a:lnTo>
                  <a:lnTo>
                    <a:pt x="20" y="796"/>
                  </a:lnTo>
                  <a:lnTo>
                    <a:pt x="22" y="795"/>
                  </a:lnTo>
                  <a:lnTo>
                    <a:pt x="23" y="793"/>
                  </a:lnTo>
                  <a:lnTo>
                    <a:pt x="25" y="793"/>
                  </a:lnTo>
                  <a:lnTo>
                    <a:pt x="25" y="791"/>
                  </a:lnTo>
                  <a:lnTo>
                    <a:pt x="27" y="789"/>
                  </a:lnTo>
                  <a:close/>
                  <a:moveTo>
                    <a:pt x="265" y="693"/>
                  </a:moveTo>
                  <a:lnTo>
                    <a:pt x="266" y="693"/>
                  </a:lnTo>
                  <a:lnTo>
                    <a:pt x="268" y="694"/>
                  </a:lnTo>
                  <a:lnTo>
                    <a:pt x="268" y="696"/>
                  </a:lnTo>
                  <a:lnTo>
                    <a:pt x="268" y="694"/>
                  </a:lnTo>
                  <a:lnTo>
                    <a:pt x="268" y="696"/>
                  </a:lnTo>
                  <a:lnTo>
                    <a:pt x="272" y="696"/>
                  </a:lnTo>
                  <a:lnTo>
                    <a:pt x="270" y="698"/>
                  </a:lnTo>
                  <a:lnTo>
                    <a:pt x="272" y="696"/>
                  </a:lnTo>
                  <a:lnTo>
                    <a:pt x="273" y="698"/>
                  </a:lnTo>
                  <a:lnTo>
                    <a:pt x="272" y="698"/>
                  </a:lnTo>
                  <a:lnTo>
                    <a:pt x="268" y="698"/>
                  </a:lnTo>
                  <a:lnTo>
                    <a:pt x="270" y="698"/>
                  </a:lnTo>
                  <a:lnTo>
                    <a:pt x="272" y="698"/>
                  </a:lnTo>
                  <a:lnTo>
                    <a:pt x="273" y="699"/>
                  </a:lnTo>
                  <a:lnTo>
                    <a:pt x="273" y="698"/>
                  </a:lnTo>
                  <a:lnTo>
                    <a:pt x="273" y="701"/>
                  </a:lnTo>
                  <a:lnTo>
                    <a:pt x="273" y="699"/>
                  </a:lnTo>
                  <a:lnTo>
                    <a:pt x="273" y="701"/>
                  </a:lnTo>
                  <a:lnTo>
                    <a:pt x="270" y="703"/>
                  </a:lnTo>
                  <a:lnTo>
                    <a:pt x="273" y="703"/>
                  </a:lnTo>
                  <a:lnTo>
                    <a:pt x="275" y="701"/>
                  </a:lnTo>
                  <a:lnTo>
                    <a:pt x="275" y="703"/>
                  </a:lnTo>
                  <a:lnTo>
                    <a:pt x="277" y="703"/>
                  </a:lnTo>
                  <a:lnTo>
                    <a:pt x="273" y="703"/>
                  </a:lnTo>
                  <a:lnTo>
                    <a:pt x="275" y="704"/>
                  </a:lnTo>
                  <a:lnTo>
                    <a:pt x="273" y="704"/>
                  </a:lnTo>
                  <a:lnTo>
                    <a:pt x="270" y="703"/>
                  </a:lnTo>
                  <a:lnTo>
                    <a:pt x="272" y="703"/>
                  </a:lnTo>
                  <a:lnTo>
                    <a:pt x="270" y="703"/>
                  </a:lnTo>
                  <a:lnTo>
                    <a:pt x="268" y="703"/>
                  </a:lnTo>
                  <a:lnTo>
                    <a:pt x="266" y="701"/>
                  </a:lnTo>
                  <a:lnTo>
                    <a:pt x="265" y="703"/>
                  </a:lnTo>
                  <a:lnTo>
                    <a:pt x="268" y="703"/>
                  </a:lnTo>
                  <a:lnTo>
                    <a:pt x="272" y="704"/>
                  </a:lnTo>
                  <a:lnTo>
                    <a:pt x="273" y="704"/>
                  </a:lnTo>
                  <a:lnTo>
                    <a:pt x="270" y="706"/>
                  </a:lnTo>
                  <a:lnTo>
                    <a:pt x="272" y="706"/>
                  </a:lnTo>
                  <a:lnTo>
                    <a:pt x="270" y="708"/>
                  </a:lnTo>
                  <a:lnTo>
                    <a:pt x="266" y="706"/>
                  </a:lnTo>
                  <a:lnTo>
                    <a:pt x="265" y="704"/>
                  </a:lnTo>
                  <a:lnTo>
                    <a:pt x="263" y="703"/>
                  </a:lnTo>
                  <a:lnTo>
                    <a:pt x="265" y="703"/>
                  </a:lnTo>
                  <a:lnTo>
                    <a:pt x="263" y="703"/>
                  </a:lnTo>
                  <a:lnTo>
                    <a:pt x="263" y="701"/>
                  </a:lnTo>
                  <a:lnTo>
                    <a:pt x="261" y="701"/>
                  </a:lnTo>
                  <a:lnTo>
                    <a:pt x="260" y="703"/>
                  </a:lnTo>
                  <a:lnTo>
                    <a:pt x="258" y="703"/>
                  </a:lnTo>
                  <a:lnTo>
                    <a:pt x="258" y="699"/>
                  </a:lnTo>
                  <a:lnTo>
                    <a:pt x="261" y="698"/>
                  </a:lnTo>
                  <a:lnTo>
                    <a:pt x="261" y="699"/>
                  </a:lnTo>
                  <a:lnTo>
                    <a:pt x="263" y="698"/>
                  </a:lnTo>
                  <a:lnTo>
                    <a:pt x="261" y="698"/>
                  </a:lnTo>
                  <a:lnTo>
                    <a:pt x="263" y="698"/>
                  </a:lnTo>
                  <a:lnTo>
                    <a:pt x="265" y="698"/>
                  </a:lnTo>
                  <a:lnTo>
                    <a:pt x="266" y="699"/>
                  </a:lnTo>
                  <a:lnTo>
                    <a:pt x="266" y="701"/>
                  </a:lnTo>
                  <a:lnTo>
                    <a:pt x="268" y="699"/>
                  </a:lnTo>
                  <a:lnTo>
                    <a:pt x="266" y="698"/>
                  </a:lnTo>
                  <a:lnTo>
                    <a:pt x="266" y="696"/>
                  </a:lnTo>
                  <a:lnTo>
                    <a:pt x="265" y="694"/>
                  </a:lnTo>
                  <a:lnTo>
                    <a:pt x="265" y="693"/>
                  </a:lnTo>
                  <a:close/>
                  <a:moveTo>
                    <a:pt x="27" y="803"/>
                  </a:moveTo>
                  <a:lnTo>
                    <a:pt x="27" y="805"/>
                  </a:lnTo>
                  <a:lnTo>
                    <a:pt x="28" y="805"/>
                  </a:lnTo>
                  <a:lnTo>
                    <a:pt x="30" y="805"/>
                  </a:lnTo>
                  <a:lnTo>
                    <a:pt x="28" y="807"/>
                  </a:lnTo>
                  <a:lnTo>
                    <a:pt x="28" y="810"/>
                  </a:lnTo>
                  <a:lnTo>
                    <a:pt x="27" y="808"/>
                  </a:lnTo>
                  <a:lnTo>
                    <a:pt x="27" y="810"/>
                  </a:lnTo>
                  <a:lnTo>
                    <a:pt x="25" y="812"/>
                  </a:lnTo>
                  <a:lnTo>
                    <a:pt x="27" y="812"/>
                  </a:lnTo>
                  <a:lnTo>
                    <a:pt x="25" y="813"/>
                  </a:lnTo>
                  <a:lnTo>
                    <a:pt x="23" y="815"/>
                  </a:lnTo>
                  <a:lnTo>
                    <a:pt x="22" y="815"/>
                  </a:lnTo>
                  <a:lnTo>
                    <a:pt x="22" y="813"/>
                  </a:lnTo>
                  <a:lnTo>
                    <a:pt x="20" y="813"/>
                  </a:lnTo>
                  <a:lnTo>
                    <a:pt x="22" y="812"/>
                  </a:lnTo>
                  <a:lnTo>
                    <a:pt x="20" y="812"/>
                  </a:lnTo>
                  <a:lnTo>
                    <a:pt x="22" y="812"/>
                  </a:lnTo>
                  <a:lnTo>
                    <a:pt x="20" y="810"/>
                  </a:lnTo>
                  <a:lnTo>
                    <a:pt x="23" y="810"/>
                  </a:lnTo>
                  <a:lnTo>
                    <a:pt x="22" y="810"/>
                  </a:lnTo>
                  <a:lnTo>
                    <a:pt x="23" y="808"/>
                  </a:lnTo>
                  <a:lnTo>
                    <a:pt x="20" y="810"/>
                  </a:lnTo>
                  <a:lnTo>
                    <a:pt x="20" y="808"/>
                  </a:lnTo>
                  <a:lnTo>
                    <a:pt x="20" y="807"/>
                  </a:lnTo>
                  <a:lnTo>
                    <a:pt x="22" y="807"/>
                  </a:lnTo>
                  <a:lnTo>
                    <a:pt x="23" y="807"/>
                  </a:lnTo>
                  <a:lnTo>
                    <a:pt x="25" y="807"/>
                  </a:lnTo>
                  <a:lnTo>
                    <a:pt x="27" y="807"/>
                  </a:lnTo>
                  <a:lnTo>
                    <a:pt x="25" y="807"/>
                  </a:lnTo>
                  <a:lnTo>
                    <a:pt x="25" y="805"/>
                  </a:lnTo>
                  <a:lnTo>
                    <a:pt x="27" y="803"/>
                  </a:lnTo>
                  <a:close/>
                  <a:moveTo>
                    <a:pt x="307" y="789"/>
                  </a:moveTo>
                  <a:lnTo>
                    <a:pt x="306" y="789"/>
                  </a:lnTo>
                  <a:lnTo>
                    <a:pt x="307" y="791"/>
                  </a:lnTo>
                  <a:lnTo>
                    <a:pt x="309" y="789"/>
                  </a:lnTo>
                  <a:lnTo>
                    <a:pt x="311" y="789"/>
                  </a:lnTo>
                  <a:lnTo>
                    <a:pt x="311" y="791"/>
                  </a:lnTo>
                  <a:lnTo>
                    <a:pt x="309" y="793"/>
                  </a:lnTo>
                  <a:lnTo>
                    <a:pt x="307" y="793"/>
                  </a:lnTo>
                  <a:lnTo>
                    <a:pt x="306" y="795"/>
                  </a:lnTo>
                  <a:lnTo>
                    <a:pt x="304" y="795"/>
                  </a:lnTo>
                  <a:lnTo>
                    <a:pt x="306" y="796"/>
                  </a:lnTo>
                  <a:lnTo>
                    <a:pt x="304" y="798"/>
                  </a:lnTo>
                  <a:lnTo>
                    <a:pt x="304" y="800"/>
                  </a:lnTo>
                  <a:lnTo>
                    <a:pt x="302" y="798"/>
                  </a:lnTo>
                  <a:lnTo>
                    <a:pt x="300" y="796"/>
                  </a:lnTo>
                  <a:lnTo>
                    <a:pt x="300" y="795"/>
                  </a:lnTo>
                  <a:lnTo>
                    <a:pt x="302" y="795"/>
                  </a:lnTo>
                  <a:lnTo>
                    <a:pt x="302" y="793"/>
                  </a:lnTo>
                  <a:lnTo>
                    <a:pt x="300" y="793"/>
                  </a:lnTo>
                  <a:lnTo>
                    <a:pt x="302" y="791"/>
                  </a:lnTo>
                  <a:lnTo>
                    <a:pt x="304" y="789"/>
                  </a:lnTo>
                  <a:lnTo>
                    <a:pt x="306" y="791"/>
                  </a:lnTo>
                  <a:lnTo>
                    <a:pt x="307" y="789"/>
                  </a:lnTo>
                  <a:close/>
                  <a:moveTo>
                    <a:pt x="255" y="618"/>
                  </a:moveTo>
                  <a:lnTo>
                    <a:pt x="256" y="619"/>
                  </a:lnTo>
                  <a:lnTo>
                    <a:pt x="256" y="618"/>
                  </a:lnTo>
                  <a:lnTo>
                    <a:pt x="258" y="619"/>
                  </a:lnTo>
                  <a:lnTo>
                    <a:pt x="256" y="619"/>
                  </a:lnTo>
                  <a:lnTo>
                    <a:pt x="258" y="621"/>
                  </a:lnTo>
                  <a:lnTo>
                    <a:pt x="258" y="623"/>
                  </a:lnTo>
                  <a:lnTo>
                    <a:pt x="258" y="624"/>
                  </a:lnTo>
                  <a:lnTo>
                    <a:pt x="260" y="626"/>
                  </a:lnTo>
                  <a:lnTo>
                    <a:pt x="258" y="628"/>
                  </a:lnTo>
                  <a:lnTo>
                    <a:pt x="260" y="626"/>
                  </a:lnTo>
                  <a:lnTo>
                    <a:pt x="260" y="628"/>
                  </a:lnTo>
                  <a:lnTo>
                    <a:pt x="261" y="626"/>
                  </a:lnTo>
                  <a:lnTo>
                    <a:pt x="261" y="628"/>
                  </a:lnTo>
                  <a:lnTo>
                    <a:pt x="263" y="628"/>
                  </a:lnTo>
                  <a:lnTo>
                    <a:pt x="261" y="630"/>
                  </a:lnTo>
                  <a:lnTo>
                    <a:pt x="263" y="631"/>
                  </a:lnTo>
                  <a:lnTo>
                    <a:pt x="261" y="631"/>
                  </a:lnTo>
                  <a:lnTo>
                    <a:pt x="258" y="630"/>
                  </a:lnTo>
                  <a:lnTo>
                    <a:pt x="260" y="630"/>
                  </a:lnTo>
                  <a:lnTo>
                    <a:pt x="256" y="628"/>
                  </a:lnTo>
                  <a:lnTo>
                    <a:pt x="256" y="626"/>
                  </a:lnTo>
                  <a:lnTo>
                    <a:pt x="256" y="624"/>
                  </a:lnTo>
                  <a:lnTo>
                    <a:pt x="255" y="624"/>
                  </a:lnTo>
                  <a:lnTo>
                    <a:pt x="255" y="623"/>
                  </a:lnTo>
                  <a:lnTo>
                    <a:pt x="255" y="621"/>
                  </a:lnTo>
                  <a:lnTo>
                    <a:pt x="255" y="619"/>
                  </a:lnTo>
                  <a:lnTo>
                    <a:pt x="253" y="618"/>
                  </a:lnTo>
                  <a:lnTo>
                    <a:pt x="255" y="618"/>
                  </a:lnTo>
                  <a:close/>
                  <a:moveTo>
                    <a:pt x="205" y="482"/>
                  </a:moveTo>
                  <a:lnTo>
                    <a:pt x="207" y="483"/>
                  </a:lnTo>
                  <a:lnTo>
                    <a:pt x="209" y="483"/>
                  </a:lnTo>
                  <a:lnTo>
                    <a:pt x="210" y="483"/>
                  </a:lnTo>
                  <a:lnTo>
                    <a:pt x="209" y="485"/>
                  </a:lnTo>
                  <a:lnTo>
                    <a:pt x="210" y="487"/>
                  </a:lnTo>
                  <a:lnTo>
                    <a:pt x="210" y="488"/>
                  </a:lnTo>
                  <a:lnTo>
                    <a:pt x="210" y="490"/>
                  </a:lnTo>
                  <a:lnTo>
                    <a:pt x="209" y="490"/>
                  </a:lnTo>
                  <a:lnTo>
                    <a:pt x="209" y="492"/>
                  </a:lnTo>
                  <a:lnTo>
                    <a:pt x="207" y="490"/>
                  </a:lnTo>
                  <a:lnTo>
                    <a:pt x="207" y="487"/>
                  </a:lnTo>
                  <a:lnTo>
                    <a:pt x="207" y="485"/>
                  </a:lnTo>
                  <a:lnTo>
                    <a:pt x="205" y="483"/>
                  </a:lnTo>
                  <a:lnTo>
                    <a:pt x="205" y="482"/>
                  </a:lnTo>
                  <a:close/>
                  <a:moveTo>
                    <a:pt x="272" y="682"/>
                  </a:moveTo>
                  <a:lnTo>
                    <a:pt x="273" y="684"/>
                  </a:lnTo>
                  <a:lnTo>
                    <a:pt x="275" y="684"/>
                  </a:lnTo>
                  <a:lnTo>
                    <a:pt x="277" y="682"/>
                  </a:lnTo>
                  <a:lnTo>
                    <a:pt x="278" y="682"/>
                  </a:lnTo>
                  <a:lnTo>
                    <a:pt x="277" y="684"/>
                  </a:lnTo>
                  <a:lnTo>
                    <a:pt x="275" y="684"/>
                  </a:lnTo>
                  <a:lnTo>
                    <a:pt x="272" y="686"/>
                  </a:lnTo>
                  <a:lnTo>
                    <a:pt x="273" y="686"/>
                  </a:lnTo>
                  <a:lnTo>
                    <a:pt x="272" y="687"/>
                  </a:lnTo>
                  <a:lnTo>
                    <a:pt x="270" y="687"/>
                  </a:lnTo>
                  <a:lnTo>
                    <a:pt x="272" y="689"/>
                  </a:lnTo>
                  <a:lnTo>
                    <a:pt x="270" y="691"/>
                  </a:lnTo>
                  <a:lnTo>
                    <a:pt x="270" y="689"/>
                  </a:lnTo>
                  <a:lnTo>
                    <a:pt x="270" y="693"/>
                  </a:lnTo>
                  <a:lnTo>
                    <a:pt x="268" y="691"/>
                  </a:lnTo>
                  <a:lnTo>
                    <a:pt x="266" y="687"/>
                  </a:lnTo>
                  <a:lnTo>
                    <a:pt x="268" y="687"/>
                  </a:lnTo>
                  <a:lnTo>
                    <a:pt x="270" y="686"/>
                  </a:lnTo>
                  <a:lnTo>
                    <a:pt x="270" y="684"/>
                  </a:lnTo>
                  <a:lnTo>
                    <a:pt x="272" y="682"/>
                  </a:lnTo>
                  <a:close/>
                  <a:moveTo>
                    <a:pt x="226" y="459"/>
                  </a:moveTo>
                  <a:lnTo>
                    <a:pt x="227" y="461"/>
                  </a:lnTo>
                  <a:lnTo>
                    <a:pt x="229" y="461"/>
                  </a:lnTo>
                  <a:lnTo>
                    <a:pt x="229" y="463"/>
                  </a:lnTo>
                  <a:lnTo>
                    <a:pt x="227" y="463"/>
                  </a:lnTo>
                  <a:lnTo>
                    <a:pt x="229" y="463"/>
                  </a:lnTo>
                  <a:lnTo>
                    <a:pt x="229" y="465"/>
                  </a:lnTo>
                  <a:lnTo>
                    <a:pt x="227" y="463"/>
                  </a:lnTo>
                  <a:lnTo>
                    <a:pt x="227" y="465"/>
                  </a:lnTo>
                  <a:lnTo>
                    <a:pt x="227" y="466"/>
                  </a:lnTo>
                  <a:lnTo>
                    <a:pt x="226" y="466"/>
                  </a:lnTo>
                  <a:lnTo>
                    <a:pt x="224" y="466"/>
                  </a:lnTo>
                  <a:lnTo>
                    <a:pt x="224" y="463"/>
                  </a:lnTo>
                  <a:lnTo>
                    <a:pt x="224" y="461"/>
                  </a:lnTo>
                  <a:lnTo>
                    <a:pt x="226" y="459"/>
                  </a:lnTo>
                  <a:close/>
                  <a:moveTo>
                    <a:pt x="241" y="720"/>
                  </a:moveTo>
                  <a:lnTo>
                    <a:pt x="241" y="723"/>
                  </a:lnTo>
                  <a:lnTo>
                    <a:pt x="241" y="721"/>
                  </a:lnTo>
                  <a:lnTo>
                    <a:pt x="243" y="725"/>
                  </a:lnTo>
                  <a:lnTo>
                    <a:pt x="243" y="727"/>
                  </a:lnTo>
                  <a:lnTo>
                    <a:pt x="243" y="728"/>
                  </a:lnTo>
                  <a:lnTo>
                    <a:pt x="243" y="732"/>
                  </a:lnTo>
                  <a:lnTo>
                    <a:pt x="241" y="732"/>
                  </a:lnTo>
                  <a:lnTo>
                    <a:pt x="243" y="733"/>
                  </a:lnTo>
                  <a:lnTo>
                    <a:pt x="241" y="730"/>
                  </a:lnTo>
                  <a:lnTo>
                    <a:pt x="241" y="732"/>
                  </a:lnTo>
                  <a:lnTo>
                    <a:pt x="241" y="728"/>
                  </a:lnTo>
                  <a:lnTo>
                    <a:pt x="239" y="728"/>
                  </a:lnTo>
                  <a:lnTo>
                    <a:pt x="241" y="725"/>
                  </a:lnTo>
                  <a:lnTo>
                    <a:pt x="239" y="723"/>
                  </a:lnTo>
                  <a:lnTo>
                    <a:pt x="239" y="725"/>
                  </a:lnTo>
                  <a:lnTo>
                    <a:pt x="239" y="721"/>
                  </a:lnTo>
                  <a:lnTo>
                    <a:pt x="241" y="720"/>
                  </a:lnTo>
                  <a:close/>
                  <a:moveTo>
                    <a:pt x="306" y="374"/>
                  </a:moveTo>
                  <a:lnTo>
                    <a:pt x="307" y="376"/>
                  </a:lnTo>
                  <a:lnTo>
                    <a:pt x="307" y="374"/>
                  </a:lnTo>
                  <a:lnTo>
                    <a:pt x="307" y="376"/>
                  </a:lnTo>
                  <a:lnTo>
                    <a:pt x="307" y="378"/>
                  </a:lnTo>
                  <a:lnTo>
                    <a:pt x="307" y="380"/>
                  </a:lnTo>
                  <a:lnTo>
                    <a:pt x="307" y="383"/>
                  </a:lnTo>
                  <a:lnTo>
                    <a:pt x="306" y="383"/>
                  </a:lnTo>
                  <a:lnTo>
                    <a:pt x="306" y="381"/>
                  </a:lnTo>
                  <a:lnTo>
                    <a:pt x="306" y="383"/>
                  </a:lnTo>
                  <a:lnTo>
                    <a:pt x="306" y="380"/>
                  </a:lnTo>
                  <a:lnTo>
                    <a:pt x="306" y="378"/>
                  </a:lnTo>
                  <a:lnTo>
                    <a:pt x="307" y="378"/>
                  </a:lnTo>
                  <a:lnTo>
                    <a:pt x="306" y="378"/>
                  </a:lnTo>
                  <a:lnTo>
                    <a:pt x="306" y="380"/>
                  </a:lnTo>
                  <a:lnTo>
                    <a:pt x="306" y="378"/>
                  </a:lnTo>
                  <a:lnTo>
                    <a:pt x="304" y="378"/>
                  </a:lnTo>
                  <a:lnTo>
                    <a:pt x="304" y="376"/>
                  </a:lnTo>
                  <a:lnTo>
                    <a:pt x="304" y="374"/>
                  </a:lnTo>
                  <a:lnTo>
                    <a:pt x="306" y="374"/>
                  </a:lnTo>
                  <a:close/>
                  <a:moveTo>
                    <a:pt x="270" y="715"/>
                  </a:moveTo>
                  <a:lnTo>
                    <a:pt x="268" y="715"/>
                  </a:lnTo>
                  <a:lnTo>
                    <a:pt x="270" y="716"/>
                  </a:lnTo>
                  <a:lnTo>
                    <a:pt x="268" y="718"/>
                  </a:lnTo>
                  <a:lnTo>
                    <a:pt x="268" y="720"/>
                  </a:lnTo>
                  <a:lnTo>
                    <a:pt x="268" y="718"/>
                  </a:lnTo>
                  <a:lnTo>
                    <a:pt x="268" y="721"/>
                  </a:lnTo>
                  <a:lnTo>
                    <a:pt x="266" y="723"/>
                  </a:lnTo>
                  <a:lnTo>
                    <a:pt x="265" y="721"/>
                  </a:lnTo>
                  <a:lnTo>
                    <a:pt x="266" y="720"/>
                  </a:lnTo>
                  <a:lnTo>
                    <a:pt x="265" y="720"/>
                  </a:lnTo>
                  <a:lnTo>
                    <a:pt x="266" y="718"/>
                  </a:lnTo>
                  <a:lnTo>
                    <a:pt x="265" y="718"/>
                  </a:lnTo>
                  <a:lnTo>
                    <a:pt x="266" y="718"/>
                  </a:lnTo>
                  <a:lnTo>
                    <a:pt x="268" y="715"/>
                  </a:lnTo>
                  <a:lnTo>
                    <a:pt x="270" y="715"/>
                  </a:lnTo>
                  <a:close/>
                  <a:moveTo>
                    <a:pt x="280" y="660"/>
                  </a:moveTo>
                  <a:lnTo>
                    <a:pt x="282" y="662"/>
                  </a:lnTo>
                  <a:lnTo>
                    <a:pt x="280" y="664"/>
                  </a:lnTo>
                  <a:lnTo>
                    <a:pt x="282" y="665"/>
                  </a:lnTo>
                  <a:lnTo>
                    <a:pt x="280" y="665"/>
                  </a:lnTo>
                  <a:lnTo>
                    <a:pt x="278" y="667"/>
                  </a:lnTo>
                  <a:lnTo>
                    <a:pt x="277" y="665"/>
                  </a:lnTo>
                  <a:lnTo>
                    <a:pt x="278" y="664"/>
                  </a:lnTo>
                  <a:lnTo>
                    <a:pt x="280" y="662"/>
                  </a:lnTo>
                  <a:lnTo>
                    <a:pt x="280" y="660"/>
                  </a:lnTo>
                  <a:close/>
                  <a:moveTo>
                    <a:pt x="300" y="761"/>
                  </a:moveTo>
                  <a:lnTo>
                    <a:pt x="304" y="762"/>
                  </a:lnTo>
                  <a:lnTo>
                    <a:pt x="306" y="762"/>
                  </a:lnTo>
                  <a:lnTo>
                    <a:pt x="306" y="766"/>
                  </a:lnTo>
                  <a:lnTo>
                    <a:pt x="302" y="766"/>
                  </a:lnTo>
                  <a:lnTo>
                    <a:pt x="302" y="764"/>
                  </a:lnTo>
                  <a:lnTo>
                    <a:pt x="300" y="762"/>
                  </a:lnTo>
                  <a:lnTo>
                    <a:pt x="300" y="761"/>
                  </a:lnTo>
                  <a:close/>
                  <a:moveTo>
                    <a:pt x="326" y="245"/>
                  </a:moveTo>
                  <a:lnTo>
                    <a:pt x="329" y="245"/>
                  </a:lnTo>
                  <a:lnTo>
                    <a:pt x="331" y="249"/>
                  </a:lnTo>
                  <a:lnTo>
                    <a:pt x="329" y="249"/>
                  </a:lnTo>
                  <a:lnTo>
                    <a:pt x="328" y="247"/>
                  </a:lnTo>
                  <a:lnTo>
                    <a:pt x="328" y="249"/>
                  </a:lnTo>
                  <a:lnTo>
                    <a:pt x="329" y="249"/>
                  </a:lnTo>
                  <a:lnTo>
                    <a:pt x="328" y="250"/>
                  </a:lnTo>
                  <a:lnTo>
                    <a:pt x="328" y="249"/>
                  </a:lnTo>
                  <a:lnTo>
                    <a:pt x="326" y="249"/>
                  </a:lnTo>
                  <a:lnTo>
                    <a:pt x="324" y="245"/>
                  </a:lnTo>
                  <a:lnTo>
                    <a:pt x="326" y="245"/>
                  </a:lnTo>
                  <a:close/>
                  <a:moveTo>
                    <a:pt x="258" y="721"/>
                  </a:moveTo>
                  <a:lnTo>
                    <a:pt x="260" y="721"/>
                  </a:lnTo>
                  <a:lnTo>
                    <a:pt x="261" y="721"/>
                  </a:lnTo>
                  <a:lnTo>
                    <a:pt x="258" y="723"/>
                  </a:lnTo>
                  <a:lnTo>
                    <a:pt x="260" y="723"/>
                  </a:lnTo>
                  <a:lnTo>
                    <a:pt x="260" y="725"/>
                  </a:lnTo>
                  <a:lnTo>
                    <a:pt x="260" y="723"/>
                  </a:lnTo>
                  <a:lnTo>
                    <a:pt x="258" y="725"/>
                  </a:lnTo>
                  <a:lnTo>
                    <a:pt x="258" y="723"/>
                  </a:lnTo>
                  <a:lnTo>
                    <a:pt x="258" y="727"/>
                  </a:lnTo>
                  <a:lnTo>
                    <a:pt x="256" y="725"/>
                  </a:lnTo>
                  <a:lnTo>
                    <a:pt x="255" y="727"/>
                  </a:lnTo>
                  <a:lnTo>
                    <a:pt x="255" y="725"/>
                  </a:lnTo>
                  <a:lnTo>
                    <a:pt x="256" y="725"/>
                  </a:lnTo>
                  <a:lnTo>
                    <a:pt x="256" y="723"/>
                  </a:lnTo>
                  <a:lnTo>
                    <a:pt x="258" y="723"/>
                  </a:lnTo>
                  <a:lnTo>
                    <a:pt x="258" y="721"/>
                  </a:lnTo>
                  <a:close/>
                  <a:moveTo>
                    <a:pt x="343" y="226"/>
                  </a:moveTo>
                  <a:lnTo>
                    <a:pt x="345" y="228"/>
                  </a:lnTo>
                  <a:lnTo>
                    <a:pt x="346" y="230"/>
                  </a:lnTo>
                  <a:lnTo>
                    <a:pt x="345" y="230"/>
                  </a:lnTo>
                  <a:lnTo>
                    <a:pt x="346" y="233"/>
                  </a:lnTo>
                  <a:lnTo>
                    <a:pt x="345" y="232"/>
                  </a:lnTo>
                  <a:lnTo>
                    <a:pt x="343" y="230"/>
                  </a:lnTo>
                  <a:lnTo>
                    <a:pt x="341" y="228"/>
                  </a:lnTo>
                  <a:lnTo>
                    <a:pt x="343" y="228"/>
                  </a:lnTo>
                  <a:lnTo>
                    <a:pt x="343" y="226"/>
                  </a:lnTo>
                  <a:close/>
                  <a:moveTo>
                    <a:pt x="255" y="696"/>
                  </a:moveTo>
                  <a:lnTo>
                    <a:pt x="256" y="698"/>
                  </a:lnTo>
                  <a:lnTo>
                    <a:pt x="258" y="698"/>
                  </a:lnTo>
                  <a:lnTo>
                    <a:pt x="260" y="698"/>
                  </a:lnTo>
                  <a:lnTo>
                    <a:pt x="256" y="698"/>
                  </a:lnTo>
                  <a:lnTo>
                    <a:pt x="258" y="699"/>
                  </a:lnTo>
                  <a:lnTo>
                    <a:pt x="256" y="699"/>
                  </a:lnTo>
                  <a:lnTo>
                    <a:pt x="255" y="699"/>
                  </a:lnTo>
                  <a:lnTo>
                    <a:pt x="253" y="698"/>
                  </a:lnTo>
                  <a:lnTo>
                    <a:pt x="255" y="696"/>
                  </a:lnTo>
                  <a:close/>
                  <a:moveTo>
                    <a:pt x="214" y="769"/>
                  </a:moveTo>
                  <a:lnTo>
                    <a:pt x="214" y="771"/>
                  </a:lnTo>
                  <a:lnTo>
                    <a:pt x="215" y="771"/>
                  </a:lnTo>
                  <a:lnTo>
                    <a:pt x="215" y="772"/>
                  </a:lnTo>
                  <a:lnTo>
                    <a:pt x="214" y="772"/>
                  </a:lnTo>
                  <a:lnTo>
                    <a:pt x="215" y="772"/>
                  </a:lnTo>
                  <a:lnTo>
                    <a:pt x="214" y="774"/>
                  </a:lnTo>
                  <a:lnTo>
                    <a:pt x="215" y="776"/>
                  </a:lnTo>
                  <a:lnTo>
                    <a:pt x="217" y="776"/>
                  </a:lnTo>
                  <a:lnTo>
                    <a:pt x="217" y="774"/>
                  </a:lnTo>
                  <a:lnTo>
                    <a:pt x="219" y="774"/>
                  </a:lnTo>
                  <a:lnTo>
                    <a:pt x="219" y="776"/>
                  </a:lnTo>
                  <a:lnTo>
                    <a:pt x="217" y="776"/>
                  </a:lnTo>
                  <a:lnTo>
                    <a:pt x="214" y="776"/>
                  </a:lnTo>
                  <a:lnTo>
                    <a:pt x="214" y="772"/>
                  </a:lnTo>
                  <a:lnTo>
                    <a:pt x="212" y="772"/>
                  </a:lnTo>
                  <a:lnTo>
                    <a:pt x="214" y="771"/>
                  </a:lnTo>
                  <a:lnTo>
                    <a:pt x="212" y="771"/>
                  </a:lnTo>
                  <a:lnTo>
                    <a:pt x="214" y="769"/>
                  </a:lnTo>
                  <a:close/>
                  <a:moveTo>
                    <a:pt x="266" y="725"/>
                  </a:moveTo>
                  <a:lnTo>
                    <a:pt x="265" y="727"/>
                  </a:lnTo>
                  <a:lnTo>
                    <a:pt x="263" y="727"/>
                  </a:lnTo>
                  <a:lnTo>
                    <a:pt x="263" y="728"/>
                  </a:lnTo>
                  <a:lnTo>
                    <a:pt x="265" y="727"/>
                  </a:lnTo>
                  <a:lnTo>
                    <a:pt x="265" y="728"/>
                  </a:lnTo>
                  <a:lnTo>
                    <a:pt x="263" y="728"/>
                  </a:lnTo>
                  <a:lnTo>
                    <a:pt x="265" y="728"/>
                  </a:lnTo>
                  <a:lnTo>
                    <a:pt x="261" y="730"/>
                  </a:lnTo>
                  <a:lnTo>
                    <a:pt x="261" y="728"/>
                  </a:lnTo>
                  <a:lnTo>
                    <a:pt x="261" y="730"/>
                  </a:lnTo>
                  <a:lnTo>
                    <a:pt x="260" y="730"/>
                  </a:lnTo>
                  <a:lnTo>
                    <a:pt x="261" y="728"/>
                  </a:lnTo>
                  <a:lnTo>
                    <a:pt x="263" y="727"/>
                  </a:lnTo>
                  <a:lnTo>
                    <a:pt x="266" y="725"/>
                  </a:lnTo>
                  <a:close/>
                  <a:moveTo>
                    <a:pt x="268" y="636"/>
                  </a:moveTo>
                  <a:lnTo>
                    <a:pt x="272" y="638"/>
                  </a:lnTo>
                  <a:lnTo>
                    <a:pt x="270" y="640"/>
                  </a:lnTo>
                  <a:lnTo>
                    <a:pt x="272" y="640"/>
                  </a:lnTo>
                  <a:lnTo>
                    <a:pt x="272" y="643"/>
                  </a:lnTo>
                  <a:lnTo>
                    <a:pt x="270" y="643"/>
                  </a:lnTo>
                  <a:lnTo>
                    <a:pt x="272" y="642"/>
                  </a:lnTo>
                  <a:lnTo>
                    <a:pt x="268" y="640"/>
                  </a:lnTo>
                  <a:lnTo>
                    <a:pt x="268" y="638"/>
                  </a:lnTo>
                  <a:lnTo>
                    <a:pt x="270" y="636"/>
                  </a:lnTo>
                  <a:lnTo>
                    <a:pt x="268" y="636"/>
                  </a:lnTo>
                  <a:close/>
                  <a:moveTo>
                    <a:pt x="273" y="696"/>
                  </a:moveTo>
                  <a:lnTo>
                    <a:pt x="275" y="696"/>
                  </a:lnTo>
                  <a:lnTo>
                    <a:pt x="277" y="698"/>
                  </a:lnTo>
                  <a:lnTo>
                    <a:pt x="277" y="699"/>
                  </a:lnTo>
                  <a:lnTo>
                    <a:pt x="275" y="701"/>
                  </a:lnTo>
                  <a:lnTo>
                    <a:pt x="275" y="698"/>
                  </a:lnTo>
                  <a:lnTo>
                    <a:pt x="273" y="698"/>
                  </a:lnTo>
                  <a:lnTo>
                    <a:pt x="273" y="696"/>
                  </a:lnTo>
                  <a:lnTo>
                    <a:pt x="272" y="696"/>
                  </a:lnTo>
                  <a:lnTo>
                    <a:pt x="273" y="696"/>
                  </a:lnTo>
                  <a:close/>
                  <a:moveTo>
                    <a:pt x="282" y="674"/>
                  </a:moveTo>
                  <a:lnTo>
                    <a:pt x="283" y="677"/>
                  </a:lnTo>
                  <a:lnTo>
                    <a:pt x="280" y="677"/>
                  </a:lnTo>
                  <a:lnTo>
                    <a:pt x="280" y="679"/>
                  </a:lnTo>
                  <a:lnTo>
                    <a:pt x="280" y="681"/>
                  </a:lnTo>
                  <a:lnTo>
                    <a:pt x="278" y="681"/>
                  </a:lnTo>
                  <a:lnTo>
                    <a:pt x="278" y="679"/>
                  </a:lnTo>
                  <a:lnTo>
                    <a:pt x="280" y="679"/>
                  </a:lnTo>
                  <a:lnTo>
                    <a:pt x="278" y="677"/>
                  </a:lnTo>
                  <a:lnTo>
                    <a:pt x="280" y="676"/>
                  </a:lnTo>
                  <a:lnTo>
                    <a:pt x="282" y="674"/>
                  </a:lnTo>
                  <a:close/>
                  <a:moveTo>
                    <a:pt x="338" y="226"/>
                  </a:moveTo>
                  <a:lnTo>
                    <a:pt x="340" y="228"/>
                  </a:lnTo>
                  <a:lnTo>
                    <a:pt x="341" y="230"/>
                  </a:lnTo>
                  <a:lnTo>
                    <a:pt x="340" y="232"/>
                  </a:lnTo>
                  <a:lnTo>
                    <a:pt x="338" y="230"/>
                  </a:lnTo>
                  <a:lnTo>
                    <a:pt x="338" y="226"/>
                  </a:lnTo>
                  <a:close/>
                  <a:moveTo>
                    <a:pt x="76" y="989"/>
                  </a:moveTo>
                  <a:lnTo>
                    <a:pt x="78" y="989"/>
                  </a:lnTo>
                  <a:lnTo>
                    <a:pt x="78" y="990"/>
                  </a:lnTo>
                  <a:lnTo>
                    <a:pt x="79" y="990"/>
                  </a:lnTo>
                  <a:lnTo>
                    <a:pt x="81" y="992"/>
                  </a:lnTo>
                  <a:lnTo>
                    <a:pt x="79" y="992"/>
                  </a:lnTo>
                  <a:lnTo>
                    <a:pt x="78" y="990"/>
                  </a:lnTo>
                  <a:lnTo>
                    <a:pt x="76" y="992"/>
                  </a:lnTo>
                  <a:lnTo>
                    <a:pt x="76" y="994"/>
                  </a:lnTo>
                  <a:lnTo>
                    <a:pt x="74" y="992"/>
                  </a:lnTo>
                  <a:lnTo>
                    <a:pt x="76" y="990"/>
                  </a:lnTo>
                  <a:lnTo>
                    <a:pt x="76" y="989"/>
                  </a:lnTo>
                  <a:close/>
                  <a:moveTo>
                    <a:pt x="324" y="250"/>
                  </a:moveTo>
                  <a:lnTo>
                    <a:pt x="326" y="250"/>
                  </a:lnTo>
                  <a:lnTo>
                    <a:pt x="326" y="252"/>
                  </a:lnTo>
                  <a:lnTo>
                    <a:pt x="328" y="254"/>
                  </a:lnTo>
                  <a:lnTo>
                    <a:pt x="324" y="254"/>
                  </a:lnTo>
                  <a:lnTo>
                    <a:pt x="324" y="252"/>
                  </a:lnTo>
                  <a:lnTo>
                    <a:pt x="324" y="250"/>
                  </a:lnTo>
                  <a:close/>
                  <a:moveTo>
                    <a:pt x="18" y="791"/>
                  </a:moveTo>
                  <a:lnTo>
                    <a:pt x="20" y="793"/>
                  </a:lnTo>
                  <a:lnTo>
                    <a:pt x="18" y="795"/>
                  </a:lnTo>
                  <a:lnTo>
                    <a:pt x="18" y="796"/>
                  </a:lnTo>
                  <a:lnTo>
                    <a:pt x="17" y="796"/>
                  </a:lnTo>
                  <a:lnTo>
                    <a:pt x="17" y="795"/>
                  </a:lnTo>
                  <a:lnTo>
                    <a:pt x="17" y="793"/>
                  </a:lnTo>
                  <a:lnTo>
                    <a:pt x="18" y="793"/>
                  </a:lnTo>
                  <a:lnTo>
                    <a:pt x="18" y="791"/>
                  </a:lnTo>
                  <a:close/>
                  <a:moveTo>
                    <a:pt x="312" y="257"/>
                  </a:moveTo>
                  <a:lnTo>
                    <a:pt x="314" y="259"/>
                  </a:lnTo>
                  <a:lnTo>
                    <a:pt x="316" y="260"/>
                  </a:lnTo>
                  <a:lnTo>
                    <a:pt x="314" y="260"/>
                  </a:lnTo>
                  <a:lnTo>
                    <a:pt x="312" y="259"/>
                  </a:lnTo>
                  <a:lnTo>
                    <a:pt x="311" y="259"/>
                  </a:lnTo>
                  <a:lnTo>
                    <a:pt x="312" y="259"/>
                  </a:lnTo>
                  <a:lnTo>
                    <a:pt x="312" y="257"/>
                  </a:lnTo>
                  <a:close/>
                  <a:moveTo>
                    <a:pt x="351" y="225"/>
                  </a:moveTo>
                  <a:lnTo>
                    <a:pt x="353" y="225"/>
                  </a:lnTo>
                  <a:lnTo>
                    <a:pt x="355" y="226"/>
                  </a:lnTo>
                  <a:lnTo>
                    <a:pt x="353" y="225"/>
                  </a:lnTo>
                  <a:lnTo>
                    <a:pt x="353" y="228"/>
                  </a:lnTo>
                  <a:lnTo>
                    <a:pt x="351" y="225"/>
                  </a:lnTo>
                  <a:close/>
                  <a:moveTo>
                    <a:pt x="338" y="240"/>
                  </a:moveTo>
                  <a:lnTo>
                    <a:pt x="336" y="240"/>
                  </a:lnTo>
                  <a:lnTo>
                    <a:pt x="336" y="242"/>
                  </a:lnTo>
                  <a:lnTo>
                    <a:pt x="334" y="242"/>
                  </a:lnTo>
                  <a:lnTo>
                    <a:pt x="334" y="240"/>
                  </a:lnTo>
                  <a:lnTo>
                    <a:pt x="336" y="240"/>
                  </a:lnTo>
                  <a:lnTo>
                    <a:pt x="336" y="238"/>
                  </a:lnTo>
                  <a:lnTo>
                    <a:pt x="338" y="240"/>
                  </a:lnTo>
                  <a:close/>
                  <a:moveTo>
                    <a:pt x="243" y="436"/>
                  </a:moveTo>
                  <a:lnTo>
                    <a:pt x="243" y="439"/>
                  </a:lnTo>
                  <a:lnTo>
                    <a:pt x="241" y="441"/>
                  </a:lnTo>
                  <a:lnTo>
                    <a:pt x="241" y="439"/>
                  </a:lnTo>
                  <a:lnTo>
                    <a:pt x="241" y="437"/>
                  </a:lnTo>
                  <a:lnTo>
                    <a:pt x="243" y="436"/>
                  </a:lnTo>
                  <a:close/>
                  <a:moveTo>
                    <a:pt x="280" y="674"/>
                  </a:moveTo>
                  <a:lnTo>
                    <a:pt x="280" y="676"/>
                  </a:lnTo>
                  <a:lnTo>
                    <a:pt x="278" y="677"/>
                  </a:lnTo>
                  <a:lnTo>
                    <a:pt x="278" y="679"/>
                  </a:lnTo>
                  <a:lnTo>
                    <a:pt x="277" y="679"/>
                  </a:lnTo>
                  <a:lnTo>
                    <a:pt x="277" y="681"/>
                  </a:lnTo>
                  <a:lnTo>
                    <a:pt x="275" y="682"/>
                  </a:lnTo>
                  <a:lnTo>
                    <a:pt x="277" y="681"/>
                  </a:lnTo>
                  <a:lnTo>
                    <a:pt x="277" y="679"/>
                  </a:lnTo>
                  <a:lnTo>
                    <a:pt x="278" y="677"/>
                  </a:lnTo>
                  <a:lnTo>
                    <a:pt x="280" y="676"/>
                  </a:lnTo>
                  <a:lnTo>
                    <a:pt x="280" y="674"/>
                  </a:lnTo>
                  <a:close/>
                  <a:moveTo>
                    <a:pt x="331" y="250"/>
                  </a:moveTo>
                  <a:lnTo>
                    <a:pt x="333" y="250"/>
                  </a:lnTo>
                  <a:lnTo>
                    <a:pt x="331" y="252"/>
                  </a:lnTo>
                  <a:lnTo>
                    <a:pt x="329" y="252"/>
                  </a:lnTo>
                  <a:lnTo>
                    <a:pt x="329" y="254"/>
                  </a:lnTo>
                  <a:lnTo>
                    <a:pt x="329" y="250"/>
                  </a:lnTo>
                  <a:lnTo>
                    <a:pt x="331" y="252"/>
                  </a:lnTo>
                  <a:lnTo>
                    <a:pt x="331" y="250"/>
                  </a:lnTo>
                  <a:close/>
                  <a:moveTo>
                    <a:pt x="185" y="934"/>
                  </a:moveTo>
                  <a:lnTo>
                    <a:pt x="187" y="934"/>
                  </a:lnTo>
                  <a:lnTo>
                    <a:pt x="187" y="936"/>
                  </a:lnTo>
                  <a:lnTo>
                    <a:pt x="185" y="936"/>
                  </a:lnTo>
                  <a:lnTo>
                    <a:pt x="187" y="936"/>
                  </a:lnTo>
                  <a:lnTo>
                    <a:pt x="187" y="937"/>
                  </a:lnTo>
                  <a:lnTo>
                    <a:pt x="183" y="936"/>
                  </a:lnTo>
                  <a:lnTo>
                    <a:pt x="185" y="934"/>
                  </a:lnTo>
                  <a:close/>
                  <a:moveTo>
                    <a:pt x="278" y="701"/>
                  </a:moveTo>
                  <a:lnTo>
                    <a:pt x="280" y="701"/>
                  </a:lnTo>
                  <a:lnTo>
                    <a:pt x="278" y="703"/>
                  </a:lnTo>
                  <a:lnTo>
                    <a:pt x="277" y="703"/>
                  </a:lnTo>
                  <a:lnTo>
                    <a:pt x="277" y="704"/>
                  </a:lnTo>
                  <a:lnTo>
                    <a:pt x="277" y="701"/>
                  </a:lnTo>
                  <a:lnTo>
                    <a:pt x="278" y="701"/>
                  </a:lnTo>
                  <a:close/>
                  <a:moveTo>
                    <a:pt x="316" y="266"/>
                  </a:moveTo>
                  <a:lnTo>
                    <a:pt x="319" y="267"/>
                  </a:lnTo>
                  <a:lnTo>
                    <a:pt x="319" y="269"/>
                  </a:lnTo>
                  <a:lnTo>
                    <a:pt x="317" y="267"/>
                  </a:lnTo>
                  <a:lnTo>
                    <a:pt x="317" y="269"/>
                  </a:lnTo>
                  <a:lnTo>
                    <a:pt x="316" y="267"/>
                  </a:lnTo>
                  <a:lnTo>
                    <a:pt x="316" y="266"/>
                  </a:lnTo>
                  <a:close/>
                  <a:moveTo>
                    <a:pt x="334" y="245"/>
                  </a:moveTo>
                  <a:lnTo>
                    <a:pt x="338" y="249"/>
                  </a:lnTo>
                  <a:lnTo>
                    <a:pt x="334" y="249"/>
                  </a:lnTo>
                  <a:lnTo>
                    <a:pt x="334" y="247"/>
                  </a:lnTo>
                  <a:lnTo>
                    <a:pt x="334" y="245"/>
                  </a:lnTo>
                  <a:close/>
                  <a:moveTo>
                    <a:pt x="282" y="689"/>
                  </a:moveTo>
                  <a:lnTo>
                    <a:pt x="282" y="691"/>
                  </a:lnTo>
                  <a:lnTo>
                    <a:pt x="280" y="693"/>
                  </a:lnTo>
                  <a:lnTo>
                    <a:pt x="280" y="691"/>
                  </a:lnTo>
                  <a:lnTo>
                    <a:pt x="282" y="689"/>
                  </a:lnTo>
                  <a:close/>
                  <a:moveTo>
                    <a:pt x="217" y="499"/>
                  </a:moveTo>
                  <a:lnTo>
                    <a:pt x="219" y="500"/>
                  </a:lnTo>
                  <a:lnTo>
                    <a:pt x="217" y="502"/>
                  </a:lnTo>
                  <a:lnTo>
                    <a:pt x="217" y="499"/>
                  </a:lnTo>
                  <a:close/>
                  <a:moveTo>
                    <a:pt x="316" y="269"/>
                  </a:moveTo>
                  <a:lnTo>
                    <a:pt x="319" y="271"/>
                  </a:lnTo>
                  <a:lnTo>
                    <a:pt x="319" y="272"/>
                  </a:lnTo>
                  <a:lnTo>
                    <a:pt x="317" y="271"/>
                  </a:lnTo>
                  <a:lnTo>
                    <a:pt x="316" y="271"/>
                  </a:lnTo>
                  <a:lnTo>
                    <a:pt x="316" y="269"/>
                  </a:lnTo>
                  <a:close/>
                  <a:moveTo>
                    <a:pt x="23" y="817"/>
                  </a:moveTo>
                  <a:lnTo>
                    <a:pt x="25" y="818"/>
                  </a:lnTo>
                  <a:lnTo>
                    <a:pt x="23" y="820"/>
                  </a:lnTo>
                  <a:lnTo>
                    <a:pt x="22" y="818"/>
                  </a:lnTo>
                  <a:lnTo>
                    <a:pt x="25" y="818"/>
                  </a:lnTo>
                  <a:lnTo>
                    <a:pt x="23" y="818"/>
                  </a:lnTo>
                  <a:lnTo>
                    <a:pt x="22" y="818"/>
                  </a:lnTo>
                  <a:lnTo>
                    <a:pt x="23" y="817"/>
                  </a:lnTo>
                  <a:close/>
                  <a:moveTo>
                    <a:pt x="238" y="437"/>
                  </a:moveTo>
                  <a:lnTo>
                    <a:pt x="239" y="437"/>
                  </a:lnTo>
                  <a:lnTo>
                    <a:pt x="238" y="437"/>
                  </a:lnTo>
                  <a:lnTo>
                    <a:pt x="238" y="441"/>
                  </a:lnTo>
                  <a:lnTo>
                    <a:pt x="238" y="437"/>
                  </a:lnTo>
                  <a:close/>
                  <a:moveTo>
                    <a:pt x="212" y="810"/>
                  </a:moveTo>
                  <a:lnTo>
                    <a:pt x="214" y="812"/>
                  </a:lnTo>
                  <a:lnTo>
                    <a:pt x="212" y="812"/>
                  </a:lnTo>
                  <a:lnTo>
                    <a:pt x="215" y="813"/>
                  </a:lnTo>
                  <a:lnTo>
                    <a:pt x="214" y="815"/>
                  </a:lnTo>
                  <a:lnTo>
                    <a:pt x="212" y="813"/>
                  </a:lnTo>
                  <a:lnTo>
                    <a:pt x="212" y="810"/>
                  </a:lnTo>
                  <a:close/>
                  <a:moveTo>
                    <a:pt x="212" y="546"/>
                  </a:moveTo>
                  <a:lnTo>
                    <a:pt x="214" y="548"/>
                  </a:lnTo>
                  <a:lnTo>
                    <a:pt x="215" y="548"/>
                  </a:lnTo>
                  <a:lnTo>
                    <a:pt x="212" y="550"/>
                  </a:lnTo>
                  <a:lnTo>
                    <a:pt x="212" y="548"/>
                  </a:lnTo>
                  <a:lnTo>
                    <a:pt x="212" y="550"/>
                  </a:lnTo>
                  <a:lnTo>
                    <a:pt x="212" y="546"/>
                  </a:lnTo>
                  <a:close/>
                  <a:moveTo>
                    <a:pt x="215" y="825"/>
                  </a:moveTo>
                  <a:lnTo>
                    <a:pt x="215" y="827"/>
                  </a:lnTo>
                  <a:lnTo>
                    <a:pt x="215" y="829"/>
                  </a:lnTo>
                  <a:lnTo>
                    <a:pt x="214" y="829"/>
                  </a:lnTo>
                  <a:lnTo>
                    <a:pt x="214" y="827"/>
                  </a:lnTo>
                  <a:lnTo>
                    <a:pt x="215" y="827"/>
                  </a:lnTo>
                  <a:lnTo>
                    <a:pt x="215" y="825"/>
                  </a:lnTo>
                  <a:close/>
                  <a:moveTo>
                    <a:pt x="277" y="706"/>
                  </a:moveTo>
                  <a:lnTo>
                    <a:pt x="277" y="708"/>
                  </a:lnTo>
                  <a:lnTo>
                    <a:pt x="278" y="708"/>
                  </a:lnTo>
                  <a:lnTo>
                    <a:pt x="277" y="708"/>
                  </a:lnTo>
                  <a:lnTo>
                    <a:pt x="275" y="710"/>
                  </a:lnTo>
                  <a:lnTo>
                    <a:pt x="275" y="708"/>
                  </a:lnTo>
                  <a:lnTo>
                    <a:pt x="277" y="706"/>
                  </a:lnTo>
                  <a:close/>
                  <a:moveTo>
                    <a:pt x="227" y="466"/>
                  </a:moveTo>
                  <a:lnTo>
                    <a:pt x="226" y="466"/>
                  </a:lnTo>
                  <a:lnTo>
                    <a:pt x="227" y="466"/>
                  </a:lnTo>
                  <a:lnTo>
                    <a:pt x="227" y="468"/>
                  </a:lnTo>
                  <a:lnTo>
                    <a:pt x="224" y="468"/>
                  </a:lnTo>
                  <a:lnTo>
                    <a:pt x="227" y="466"/>
                  </a:lnTo>
                  <a:close/>
                  <a:moveTo>
                    <a:pt x="236" y="744"/>
                  </a:moveTo>
                  <a:lnTo>
                    <a:pt x="236" y="745"/>
                  </a:lnTo>
                  <a:lnTo>
                    <a:pt x="236" y="747"/>
                  </a:lnTo>
                  <a:lnTo>
                    <a:pt x="236" y="745"/>
                  </a:lnTo>
                  <a:lnTo>
                    <a:pt x="236" y="747"/>
                  </a:lnTo>
                  <a:lnTo>
                    <a:pt x="234" y="745"/>
                  </a:lnTo>
                  <a:lnTo>
                    <a:pt x="236" y="745"/>
                  </a:lnTo>
                  <a:lnTo>
                    <a:pt x="234" y="744"/>
                  </a:lnTo>
                  <a:lnTo>
                    <a:pt x="236" y="744"/>
                  </a:lnTo>
                  <a:close/>
                  <a:moveTo>
                    <a:pt x="8" y="750"/>
                  </a:moveTo>
                  <a:lnTo>
                    <a:pt x="8" y="752"/>
                  </a:lnTo>
                  <a:lnTo>
                    <a:pt x="8" y="750"/>
                  </a:lnTo>
                  <a:lnTo>
                    <a:pt x="6" y="752"/>
                  </a:lnTo>
                  <a:lnTo>
                    <a:pt x="8" y="752"/>
                  </a:lnTo>
                  <a:lnTo>
                    <a:pt x="6" y="752"/>
                  </a:lnTo>
                  <a:lnTo>
                    <a:pt x="5" y="752"/>
                  </a:lnTo>
                  <a:lnTo>
                    <a:pt x="6" y="752"/>
                  </a:lnTo>
                  <a:lnTo>
                    <a:pt x="5" y="750"/>
                  </a:lnTo>
                  <a:lnTo>
                    <a:pt x="8" y="750"/>
                  </a:lnTo>
                  <a:lnTo>
                    <a:pt x="6" y="750"/>
                  </a:lnTo>
                  <a:lnTo>
                    <a:pt x="8" y="750"/>
                  </a:lnTo>
                  <a:close/>
                  <a:moveTo>
                    <a:pt x="6" y="747"/>
                  </a:moveTo>
                  <a:lnTo>
                    <a:pt x="6" y="749"/>
                  </a:lnTo>
                  <a:lnTo>
                    <a:pt x="5" y="750"/>
                  </a:lnTo>
                  <a:lnTo>
                    <a:pt x="5" y="749"/>
                  </a:lnTo>
                  <a:lnTo>
                    <a:pt x="6" y="749"/>
                  </a:lnTo>
                  <a:lnTo>
                    <a:pt x="6" y="747"/>
                  </a:lnTo>
                  <a:close/>
                  <a:moveTo>
                    <a:pt x="20" y="793"/>
                  </a:moveTo>
                  <a:lnTo>
                    <a:pt x="22" y="795"/>
                  </a:lnTo>
                  <a:lnTo>
                    <a:pt x="20" y="795"/>
                  </a:lnTo>
                  <a:lnTo>
                    <a:pt x="18" y="796"/>
                  </a:lnTo>
                  <a:lnTo>
                    <a:pt x="18" y="795"/>
                  </a:lnTo>
                  <a:lnTo>
                    <a:pt x="20" y="793"/>
                  </a:lnTo>
                  <a:close/>
                  <a:moveTo>
                    <a:pt x="222" y="458"/>
                  </a:moveTo>
                  <a:lnTo>
                    <a:pt x="224" y="458"/>
                  </a:lnTo>
                  <a:lnTo>
                    <a:pt x="224" y="459"/>
                  </a:lnTo>
                  <a:lnTo>
                    <a:pt x="222" y="461"/>
                  </a:lnTo>
                  <a:lnTo>
                    <a:pt x="222" y="458"/>
                  </a:lnTo>
                  <a:close/>
                  <a:moveTo>
                    <a:pt x="217" y="762"/>
                  </a:moveTo>
                  <a:lnTo>
                    <a:pt x="219" y="764"/>
                  </a:lnTo>
                  <a:lnTo>
                    <a:pt x="221" y="764"/>
                  </a:lnTo>
                  <a:lnTo>
                    <a:pt x="219" y="764"/>
                  </a:lnTo>
                  <a:lnTo>
                    <a:pt x="217" y="762"/>
                  </a:lnTo>
                  <a:close/>
                  <a:moveTo>
                    <a:pt x="214" y="810"/>
                  </a:moveTo>
                  <a:lnTo>
                    <a:pt x="217" y="810"/>
                  </a:lnTo>
                  <a:lnTo>
                    <a:pt x="215" y="812"/>
                  </a:lnTo>
                  <a:lnTo>
                    <a:pt x="217" y="813"/>
                  </a:lnTo>
                  <a:lnTo>
                    <a:pt x="215" y="812"/>
                  </a:lnTo>
                  <a:lnTo>
                    <a:pt x="214" y="810"/>
                  </a:lnTo>
                  <a:close/>
                  <a:moveTo>
                    <a:pt x="275" y="689"/>
                  </a:moveTo>
                  <a:lnTo>
                    <a:pt x="273" y="691"/>
                  </a:lnTo>
                  <a:lnTo>
                    <a:pt x="275" y="691"/>
                  </a:lnTo>
                  <a:lnTo>
                    <a:pt x="272" y="691"/>
                  </a:lnTo>
                  <a:lnTo>
                    <a:pt x="273" y="689"/>
                  </a:lnTo>
                  <a:lnTo>
                    <a:pt x="275" y="689"/>
                  </a:lnTo>
                  <a:close/>
                  <a:moveTo>
                    <a:pt x="333" y="255"/>
                  </a:moveTo>
                  <a:lnTo>
                    <a:pt x="334" y="257"/>
                  </a:lnTo>
                  <a:lnTo>
                    <a:pt x="336" y="257"/>
                  </a:lnTo>
                  <a:lnTo>
                    <a:pt x="334" y="257"/>
                  </a:lnTo>
                  <a:lnTo>
                    <a:pt x="333" y="255"/>
                  </a:lnTo>
                  <a:lnTo>
                    <a:pt x="331" y="255"/>
                  </a:lnTo>
                  <a:lnTo>
                    <a:pt x="333" y="255"/>
                  </a:lnTo>
                  <a:close/>
                  <a:moveTo>
                    <a:pt x="282" y="693"/>
                  </a:moveTo>
                  <a:lnTo>
                    <a:pt x="283" y="694"/>
                  </a:lnTo>
                  <a:lnTo>
                    <a:pt x="283" y="696"/>
                  </a:lnTo>
                  <a:lnTo>
                    <a:pt x="283" y="694"/>
                  </a:lnTo>
                  <a:lnTo>
                    <a:pt x="282" y="693"/>
                  </a:lnTo>
                  <a:lnTo>
                    <a:pt x="282" y="694"/>
                  </a:lnTo>
                  <a:lnTo>
                    <a:pt x="282" y="693"/>
                  </a:lnTo>
                  <a:close/>
                  <a:moveTo>
                    <a:pt x="309" y="284"/>
                  </a:moveTo>
                  <a:lnTo>
                    <a:pt x="312" y="284"/>
                  </a:lnTo>
                  <a:lnTo>
                    <a:pt x="311" y="286"/>
                  </a:lnTo>
                  <a:lnTo>
                    <a:pt x="309" y="286"/>
                  </a:lnTo>
                  <a:lnTo>
                    <a:pt x="309" y="284"/>
                  </a:lnTo>
                  <a:close/>
                  <a:moveTo>
                    <a:pt x="20" y="803"/>
                  </a:moveTo>
                  <a:lnTo>
                    <a:pt x="22" y="805"/>
                  </a:lnTo>
                  <a:lnTo>
                    <a:pt x="20" y="807"/>
                  </a:lnTo>
                  <a:lnTo>
                    <a:pt x="20" y="805"/>
                  </a:lnTo>
                  <a:lnTo>
                    <a:pt x="20" y="803"/>
                  </a:lnTo>
                  <a:close/>
                  <a:moveTo>
                    <a:pt x="1" y="747"/>
                  </a:moveTo>
                  <a:lnTo>
                    <a:pt x="1" y="750"/>
                  </a:lnTo>
                  <a:lnTo>
                    <a:pt x="0" y="749"/>
                  </a:lnTo>
                  <a:lnTo>
                    <a:pt x="1" y="747"/>
                  </a:lnTo>
                  <a:close/>
                  <a:moveTo>
                    <a:pt x="241" y="439"/>
                  </a:moveTo>
                  <a:lnTo>
                    <a:pt x="243" y="439"/>
                  </a:lnTo>
                  <a:lnTo>
                    <a:pt x="243" y="442"/>
                  </a:lnTo>
                  <a:lnTo>
                    <a:pt x="241" y="442"/>
                  </a:lnTo>
                  <a:lnTo>
                    <a:pt x="241" y="439"/>
                  </a:lnTo>
                  <a:close/>
                  <a:moveTo>
                    <a:pt x="278" y="687"/>
                  </a:moveTo>
                  <a:lnTo>
                    <a:pt x="277" y="689"/>
                  </a:lnTo>
                  <a:lnTo>
                    <a:pt x="275" y="689"/>
                  </a:lnTo>
                  <a:lnTo>
                    <a:pt x="275" y="687"/>
                  </a:lnTo>
                  <a:lnTo>
                    <a:pt x="277" y="687"/>
                  </a:lnTo>
                  <a:lnTo>
                    <a:pt x="278" y="687"/>
                  </a:lnTo>
                  <a:close/>
                  <a:moveTo>
                    <a:pt x="334" y="238"/>
                  </a:moveTo>
                  <a:lnTo>
                    <a:pt x="336" y="238"/>
                  </a:lnTo>
                  <a:lnTo>
                    <a:pt x="336" y="240"/>
                  </a:lnTo>
                  <a:lnTo>
                    <a:pt x="334" y="238"/>
                  </a:lnTo>
                  <a:close/>
                  <a:moveTo>
                    <a:pt x="5" y="745"/>
                  </a:moveTo>
                  <a:lnTo>
                    <a:pt x="6" y="747"/>
                  </a:lnTo>
                  <a:lnTo>
                    <a:pt x="5" y="747"/>
                  </a:lnTo>
                  <a:lnTo>
                    <a:pt x="5" y="745"/>
                  </a:lnTo>
                  <a:close/>
                  <a:moveTo>
                    <a:pt x="334" y="243"/>
                  </a:moveTo>
                  <a:lnTo>
                    <a:pt x="338" y="245"/>
                  </a:lnTo>
                  <a:lnTo>
                    <a:pt x="336" y="245"/>
                  </a:lnTo>
                  <a:lnTo>
                    <a:pt x="334" y="243"/>
                  </a:lnTo>
                  <a:close/>
                  <a:moveTo>
                    <a:pt x="180" y="934"/>
                  </a:moveTo>
                  <a:lnTo>
                    <a:pt x="181" y="934"/>
                  </a:lnTo>
                  <a:lnTo>
                    <a:pt x="180" y="936"/>
                  </a:lnTo>
                  <a:lnTo>
                    <a:pt x="178" y="936"/>
                  </a:lnTo>
                  <a:lnTo>
                    <a:pt x="180" y="934"/>
                  </a:lnTo>
                  <a:close/>
                  <a:moveTo>
                    <a:pt x="255" y="725"/>
                  </a:moveTo>
                  <a:lnTo>
                    <a:pt x="253" y="727"/>
                  </a:lnTo>
                  <a:lnTo>
                    <a:pt x="253" y="728"/>
                  </a:lnTo>
                  <a:lnTo>
                    <a:pt x="253" y="727"/>
                  </a:lnTo>
                  <a:lnTo>
                    <a:pt x="251" y="728"/>
                  </a:lnTo>
                  <a:lnTo>
                    <a:pt x="253" y="727"/>
                  </a:lnTo>
                  <a:lnTo>
                    <a:pt x="255" y="725"/>
                  </a:lnTo>
                  <a:close/>
                  <a:moveTo>
                    <a:pt x="282" y="696"/>
                  </a:moveTo>
                  <a:lnTo>
                    <a:pt x="283" y="698"/>
                  </a:lnTo>
                  <a:lnTo>
                    <a:pt x="282" y="696"/>
                  </a:lnTo>
                  <a:lnTo>
                    <a:pt x="282" y="698"/>
                  </a:lnTo>
                  <a:lnTo>
                    <a:pt x="280" y="699"/>
                  </a:lnTo>
                  <a:lnTo>
                    <a:pt x="282" y="698"/>
                  </a:lnTo>
                  <a:lnTo>
                    <a:pt x="282" y="696"/>
                  </a:lnTo>
                  <a:close/>
                  <a:moveTo>
                    <a:pt x="321" y="257"/>
                  </a:moveTo>
                  <a:lnTo>
                    <a:pt x="321" y="255"/>
                  </a:lnTo>
                  <a:lnTo>
                    <a:pt x="323" y="259"/>
                  </a:lnTo>
                  <a:lnTo>
                    <a:pt x="321" y="259"/>
                  </a:lnTo>
                  <a:lnTo>
                    <a:pt x="321" y="257"/>
                  </a:lnTo>
                  <a:close/>
                  <a:moveTo>
                    <a:pt x="278" y="674"/>
                  </a:moveTo>
                  <a:lnTo>
                    <a:pt x="280" y="674"/>
                  </a:lnTo>
                  <a:lnTo>
                    <a:pt x="280" y="676"/>
                  </a:lnTo>
                  <a:lnTo>
                    <a:pt x="277" y="676"/>
                  </a:lnTo>
                  <a:lnTo>
                    <a:pt x="278" y="674"/>
                  </a:lnTo>
                  <a:close/>
                  <a:moveTo>
                    <a:pt x="69" y="955"/>
                  </a:moveTo>
                  <a:lnTo>
                    <a:pt x="71" y="956"/>
                  </a:lnTo>
                  <a:lnTo>
                    <a:pt x="68" y="955"/>
                  </a:lnTo>
                  <a:lnTo>
                    <a:pt x="69" y="955"/>
                  </a:lnTo>
                  <a:close/>
                  <a:moveTo>
                    <a:pt x="15" y="798"/>
                  </a:moveTo>
                  <a:lnTo>
                    <a:pt x="15" y="800"/>
                  </a:lnTo>
                  <a:lnTo>
                    <a:pt x="13" y="801"/>
                  </a:lnTo>
                  <a:lnTo>
                    <a:pt x="13" y="800"/>
                  </a:lnTo>
                  <a:lnTo>
                    <a:pt x="15" y="798"/>
                  </a:lnTo>
                  <a:close/>
                  <a:moveTo>
                    <a:pt x="253" y="727"/>
                  </a:moveTo>
                  <a:lnTo>
                    <a:pt x="255" y="727"/>
                  </a:lnTo>
                  <a:lnTo>
                    <a:pt x="255" y="730"/>
                  </a:lnTo>
                  <a:lnTo>
                    <a:pt x="253" y="730"/>
                  </a:lnTo>
                  <a:lnTo>
                    <a:pt x="253" y="727"/>
                  </a:lnTo>
                  <a:close/>
                  <a:moveTo>
                    <a:pt x="239" y="737"/>
                  </a:moveTo>
                  <a:lnTo>
                    <a:pt x="241" y="738"/>
                  </a:lnTo>
                  <a:lnTo>
                    <a:pt x="244" y="740"/>
                  </a:lnTo>
                  <a:lnTo>
                    <a:pt x="243" y="740"/>
                  </a:lnTo>
                  <a:lnTo>
                    <a:pt x="243" y="738"/>
                  </a:lnTo>
                  <a:lnTo>
                    <a:pt x="243" y="740"/>
                  </a:lnTo>
                  <a:lnTo>
                    <a:pt x="241" y="738"/>
                  </a:lnTo>
                  <a:lnTo>
                    <a:pt x="241" y="740"/>
                  </a:lnTo>
                  <a:lnTo>
                    <a:pt x="241" y="738"/>
                  </a:lnTo>
                  <a:lnTo>
                    <a:pt x="239" y="737"/>
                  </a:lnTo>
                  <a:close/>
                  <a:moveTo>
                    <a:pt x="215" y="791"/>
                  </a:moveTo>
                  <a:lnTo>
                    <a:pt x="215" y="793"/>
                  </a:lnTo>
                  <a:lnTo>
                    <a:pt x="217" y="791"/>
                  </a:lnTo>
                  <a:lnTo>
                    <a:pt x="215" y="793"/>
                  </a:lnTo>
                  <a:lnTo>
                    <a:pt x="215" y="791"/>
                  </a:lnTo>
                  <a:close/>
                  <a:moveTo>
                    <a:pt x="368" y="233"/>
                  </a:moveTo>
                  <a:lnTo>
                    <a:pt x="370" y="233"/>
                  </a:lnTo>
                  <a:lnTo>
                    <a:pt x="370" y="235"/>
                  </a:lnTo>
                  <a:lnTo>
                    <a:pt x="368" y="237"/>
                  </a:lnTo>
                  <a:lnTo>
                    <a:pt x="368" y="233"/>
                  </a:lnTo>
                  <a:close/>
                  <a:moveTo>
                    <a:pt x="176" y="934"/>
                  </a:moveTo>
                  <a:lnTo>
                    <a:pt x="178" y="934"/>
                  </a:lnTo>
                  <a:lnTo>
                    <a:pt x="176" y="936"/>
                  </a:lnTo>
                  <a:lnTo>
                    <a:pt x="176" y="934"/>
                  </a:lnTo>
                  <a:close/>
                  <a:moveTo>
                    <a:pt x="219" y="779"/>
                  </a:moveTo>
                  <a:lnTo>
                    <a:pt x="219" y="781"/>
                  </a:lnTo>
                  <a:lnTo>
                    <a:pt x="217" y="781"/>
                  </a:lnTo>
                  <a:lnTo>
                    <a:pt x="217" y="779"/>
                  </a:lnTo>
                  <a:lnTo>
                    <a:pt x="217" y="781"/>
                  </a:lnTo>
                  <a:lnTo>
                    <a:pt x="219" y="779"/>
                  </a:lnTo>
                  <a:close/>
                  <a:moveTo>
                    <a:pt x="272" y="693"/>
                  </a:moveTo>
                  <a:lnTo>
                    <a:pt x="273" y="693"/>
                  </a:lnTo>
                  <a:lnTo>
                    <a:pt x="273" y="694"/>
                  </a:lnTo>
                  <a:lnTo>
                    <a:pt x="275" y="694"/>
                  </a:lnTo>
                  <a:lnTo>
                    <a:pt x="273" y="694"/>
                  </a:lnTo>
                  <a:lnTo>
                    <a:pt x="272" y="694"/>
                  </a:lnTo>
                  <a:lnTo>
                    <a:pt x="273" y="694"/>
                  </a:lnTo>
                  <a:lnTo>
                    <a:pt x="272" y="694"/>
                  </a:lnTo>
                  <a:lnTo>
                    <a:pt x="273" y="693"/>
                  </a:lnTo>
                  <a:lnTo>
                    <a:pt x="272" y="693"/>
                  </a:lnTo>
                  <a:close/>
                  <a:moveTo>
                    <a:pt x="306" y="385"/>
                  </a:moveTo>
                  <a:lnTo>
                    <a:pt x="304" y="386"/>
                  </a:lnTo>
                  <a:lnTo>
                    <a:pt x="304" y="388"/>
                  </a:lnTo>
                  <a:lnTo>
                    <a:pt x="304" y="386"/>
                  </a:lnTo>
                  <a:lnTo>
                    <a:pt x="306" y="386"/>
                  </a:lnTo>
                  <a:lnTo>
                    <a:pt x="306" y="385"/>
                  </a:lnTo>
                  <a:close/>
                  <a:moveTo>
                    <a:pt x="263" y="636"/>
                  </a:moveTo>
                  <a:lnTo>
                    <a:pt x="265" y="638"/>
                  </a:lnTo>
                  <a:lnTo>
                    <a:pt x="263" y="638"/>
                  </a:lnTo>
                  <a:lnTo>
                    <a:pt x="263" y="636"/>
                  </a:lnTo>
                  <a:close/>
                  <a:moveTo>
                    <a:pt x="258" y="732"/>
                  </a:moveTo>
                  <a:lnTo>
                    <a:pt x="260" y="733"/>
                  </a:lnTo>
                  <a:lnTo>
                    <a:pt x="258" y="735"/>
                  </a:lnTo>
                  <a:lnTo>
                    <a:pt x="258" y="732"/>
                  </a:lnTo>
                  <a:close/>
                  <a:moveTo>
                    <a:pt x="210" y="584"/>
                  </a:moveTo>
                  <a:lnTo>
                    <a:pt x="212" y="584"/>
                  </a:lnTo>
                  <a:lnTo>
                    <a:pt x="212" y="585"/>
                  </a:lnTo>
                  <a:lnTo>
                    <a:pt x="210" y="585"/>
                  </a:lnTo>
                  <a:lnTo>
                    <a:pt x="210" y="584"/>
                  </a:lnTo>
                  <a:close/>
                  <a:moveTo>
                    <a:pt x="181" y="934"/>
                  </a:moveTo>
                  <a:lnTo>
                    <a:pt x="183" y="932"/>
                  </a:lnTo>
                  <a:lnTo>
                    <a:pt x="183" y="936"/>
                  </a:lnTo>
                  <a:lnTo>
                    <a:pt x="181" y="936"/>
                  </a:lnTo>
                  <a:lnTo>
                    <a:pt x="181" y="934"/>
                  </a:lnTo>
                  <a:close/>
                  <a:moveTo>
                    <a:pt x="285" y="659"/>
                  </a:moveTo>
                  <a:lnTo>
                    <a:pt x="287" y="659"/>
                  </a:lnTo>
                  <a:lnTo>
                    <a:pt x="287" y="662"/>
                  </a:lnTo>
                  <a:lnTo>
                    <a:pt x="285" y="662"/>
                  </a:lnTo>
                  <a:lnTo>
                    <a:pt x="285" y="659"/>
                  </a:lnTo>
                  <a:close/>
                  <a:moveTo>
                    <a:pt x="210" y="858"/>
                  </a:moveTo>
                  <a:lnTo>
                    <a:pt x="214" y="858"/>
                  </a:lnTo>
                  <a:lnTo>
                    <a:pt x="214" y="859"/>
                  </a:lnTo>
                  <a:lnTo>
                    <a:pt x="212" y="859"/>
                  </a:lnTo>
                  <a:lnTo>
                    <a:pt x="210" y="858"/>
                  </a:lnTo>
                  <a:close/>
                  <a:moveTo>
                    <a:pt x="11" y="786"/>
                  </a:moveTo>
                  <a:lnTo>
                    <a:pt x="13" y="784"/>
                  </a:lnTo>
                  <a:lnTo>
                    <a:pt x="13" y="788"/>
                  </a:lnTo>
                  <a:lnTo>
                    <a:pt x="11" y="788"/>
                  </a:lnTo>
                  <a:lnTo>
                    <a:pt x="11" y="786"/>
                  </a:lnTo>
                  <a:close/>
                  <a:moveTo>
                    <a:pt x="261" y="728"/>
                  </a:moveTo>
                  <a:lnTo>
                    <a:pt x="260" y="730"/>
                  </a:lnTo>
                  <a:lnTo>
                    <a:pt x="258" y="732"/>
                  </a:lnTo>
                  <a:lnTo>
                    <a:pt x="260" y="730"/>
                  </a:lnTo>
                  <a:lnTo>
                    <a:pt x="260" y="728"/>
                  </a:lnTo>
                  <a:lnTo>
                    <a:pt x="261" y="728"/>
                  </a:lnTo>
                  <a:close/>
                  <a:moveTo>
                    <a:pt x="340" y="242"/>
                  </a:moveTo>
                  <a:lnTo>
                    <a:pt x="338" y="243"/>
                  </a:lnTo>
                  <a:lnTo>
                    <a:pt x="338" y="242"/>
                  </a:lnTo>
                  <a:lnTo>
                    <a:pt x="340" y="242"/>
                  </a:lnTo>
                  <a:close/>
                  <a:moveTo>
                    <a:pt x="261" y="638"/>
                  </a:moveTo>
                  <a:lnTo>
                    <a:pt x="263" y="640"/>
                  </a:lnTo>
                  <a:lnTo>
                    <a:pt x="261" y="640"/>
                  </a:lnTo>
                  <a:lnTo>
                    <a:pt x="260" y="640"/>
                  </a:lnTo>
                  <a:lnTo>
                    <a:pt x="261" y="638"/>
                  </a:lnTo>
                  <a:close/>
                  <a:moveTo>
                    <a:pt x="236" y="744"/>
                  </a:moveTo>
                  <a:lnTo>
                    <a:pt x="238" y="745"/>
                  </a:lnTo>
                  <a:lnTo>
                    <a:pt x="238" y="744"/>
                  </a:lnTo>
                  <a:lnTo>
                    <a:pt x="236" y="744"/>
                  </a:lnTo>
                  <a:close/>
                  <a:moveTo>
                    <a:pt x="341" y="242"/>
                  </a:moveTo>
                  <a:lnTo>
                    <a:pt x="343" y="242"/>
                  </a:lnTo>
                  <a:lnTo>
                    <a:pt x="343" y="243"/>
                  </a:lnTo>
                  <a:lnTo>
                    <a:pt x="341" y="242"/>
                  </a:lnTo>
                  <a:close/>
                  <a:moveTo>
                    <a:pt x="334" y="233"/>
                  </a:moveTo>
                  <a:lnTo>
                    <a:pt x="336" y="233"/>
                  </a:lnTo>
                  <a:lnTo>
                    <a:pt x="336" y="235"/>
                  </a:lnTo>
                  <a:lnTo>
                    <a:pt x="334" y="233"/>
                  </a:lnTo>
                  <a:close/>
                  <a:moveTo>
                    <a:pt x="316" y="262"/>
                  </a:moveTo>
                  <a:lnTo>
                    <a:pt x="316" y="264"/>
                  </a:lnTo>
                  <a:lnTo>
                    <a:pt x="314" y="264"/>
                  </a:lnTo>
                  <a:lnTo>
                    <a:pt x="314" y="262"/>
                  </a:lnTo>
                  <a:lnTo>
                    <a:pt x="316" y="262"/>
                  </a:lnTo>
                  <a:close/>
                  <a:moveTo>
                    <a:pt x="25" y="830"/>
                  </a:moveTo>
                  <a:lnTo>
                    <a:pt x="25" y="832"/>
                  </a:lnTo>
                  <a:lnTo>
                    <a:pt x="27" y="832"/>
                  </a:lnTo>
                  <a:lnTo>
                    <a:pt x="25" y="832"/>
                  </a:lnTo>
                  <a:lnTo>
                    <a:pt x="23" y="832"/>
                  </a:lnTo>
                  <a:lnTo>
                    <a:pt x="25" y="830"/>
                  </a:lnTo>
                  <a:close/>
                  <a:moveTo>
                    <a:pt x="27" y="827"/>
                  </a:moveTo>
                  <a:lnTo>
                    <a:pt x="27" y="830"/>
                  </a:lnTo>
                  <a:lnTo>
                    <a:pt x="27" y="827"/>
                  </a:lnTo>
                  <a:close/>
                  <a:moveTo>
                    <a:pt x="212" y="487"/>
                  </a:moveTo>
                  <a:lnTo>
                    <a:pt x="214" y="488"/>
                  </a:lnTo>
                  <a:lnTo>
                    <a:pt x="212" y="488"/>
                  </a:lnTo>
                  <a:lnTo>
                    <a:pt x="212" y="487"/>
                  </a:lnTo>
                  <a:close/>
                  <a:moveTo>
                    <a:pt x="307" y="262"/>
                  </a:moveTo>
                  <a:lnTo>
                    <a:pt x="307" y="264"/>
                  </a:lnTo>
                  <a:lnTo>
                    <a:pt x="306" y="262"/>
                  </a:lnTo>
                  <a:lnTo>
                    <a:pt x="307" y="262"/>
                  </a:lnTo>
                  <a:close/>
                  <a:moveTo>
                    <a:pt x="263" y="696"/>
                  </a:moveTo>
                  <a:lnTo>
                    <a:pt x="265" y="698"/>
                  </a:lnTo>
                  <a:lnTo>
                    <a:pt x="263" y="696"/>
                  </a:lnTo>
                  <a:lnTo>
                    <a:pt x="261" y="696"/>
                  </a:lnTo>
                  <a:lnTo>
                    <a:pt x="263" y="696"/>
                  </a:lnTo>
                  <a:close/>
                  <a:moveTo>
                    <a:pt x="306" y="294"/>
                  </a:moveTo>
                  <a:lnTo>
                    <a:pt x="306" y="296"/>
                  </a:lnTo>
                  <a:lnTo>
                    <a:pt x="304" y="298"/>
                  </a:lnTo>
                  <a:lnTo>
                    <a:pt x="304" y="296"/>
                  </a:lnTo>
                  <a:lnTo>
                    <a:pt x="306" y="296"/>
                  </a:lnTo>
                  <a:lnTo>
                    <a:pt x="304" y="294"/>
                  </a:lnTo>
                  <a:lnTo>
                    <a:pt x="306" y="294"/>
                  </a:lnTo>
                  <a:close/>
                  <a:moveTo>
                    <a:pt x="283" y="691"/>
                  </a:moveTo>
                  <a:lnTo>
                    <a:pt x="285" y="691"/>
                  </a:lnTo>
                  <a:lnTo>
                    <a:pt x="285" y="693"/>
                  </a:lnTo>
                  <a:lnTo>
                    <a:pt x="283" y="693"/>
                  </a:lnTo>
                  <a:lnTo>
                    <a:pt x="283" y="691"/>
                  </a:lnTo>
                  <a:close/>
                  <a:moveTo>
                    <a:pt x="263" y="694"/>
                  </a:moveTo>
                  <a:lnTo>
                    <a:pt x="265" y="696"/>
                  </a:lnTo>
                  <a:lnTo>
                    <a:pt x="263" y="696"/>
                  </a:lnTo>
                  <a:lnTo>
                    <a:pt x="263" y="694"/>
                  </a:lnTo>
                  <a:close/>
                  <a:moveTo>
                    <a:pt x="323" y="249"/>
                  </a:moveTo>
                  <a:lnTo>
                    <a:pt x="323" y="247"/>
                  </a:lnTo>
                  <a:lnTo>
                    <a:pt x="324" y="249"/>
                  </a:lnTo>
                  <a:lnTo>
                    <a:pt x="323" y="250"/>
                  </a:lnTo>
                  <a:lnTo>
                    <a:pt x="323" y="249"/>
                  </a:lnTo>
                  <a:close/>
                  <a:moveTo>
                    <a:pt x="255" y="616"/>
                  </a:moveTo>
                  <a:lnTo>
                    <a:pt x="256" y="618"/>
                  </a:lnTo>
                  <a:lnTo>
                    <a:pt x="253" y="618"/>
                  </a:lnTo>
                  <a:lnTo>
                    <a:pt x="255" y="616"/>
                  </a:lnTo>
                  <a:close/>
                  <a:moveTo>
                    <a:pt x="5" y="755"/>
                  </a:moveTo>
                  <a:lnTo>
                    <a:pt x="6" y="755"/>
                  </a:lnTo>
                  <a:lnTo>
                    <a:pt x="6" y="757"/>
                  </a:lnTo>
                  <a:lnTo>
                    <a:pt x="5" y="757"/>
                  </a:lnTo>
                  <a:lnTo>
                    <a:pt x="5" y="755"/>
                  </a:lnTo>
                  <a:close/>
                  <a:moveTo>
                    <a:pt x="278" y="710"/>
                  </a:moveTo>
                  <a:lnTo>
                    <a:pt x="277" y="711"/>
                  </a:lnTo>
                  <a:lnTo>
                    <a:pt x="277" y="713"/>
                  </a:lnTo>
                  <a:lnTo>
                    <a:pt x="275" y="713"/>
                  </a:lnTo>
                  <a:lnTo>
                    <a:pt x="277" y="710"/>
                  </a:lnTo>
                  <a:lnTo>
                    <a:pt x="278" y="710"/>
                  </a:lnTo>
                  <a:close/>
                  <a:moveTo>
                    <a:pt x="214" y="519"/>
                  </a:moveTo>
                  <a:lnTo>
                    <a:pt x="212" y="519"/>
                  </a:lnTo>
                  <a:lnTo>
                    <a:pt x="214" y="519"/>
                  </a:lnTo>
                  <a:close/>
                  <a:moveTo>
                    <a:pt x="209" y="546"/>
                  </a:moveTo>
                  <a:lnTo>
                    <a:pt x="210" y="548"/>
                  </a:lnTo>
                  <a:lnTo>
                    <a:pt x="209" y="548"/>
                  </a:lnTo>
                  <a:lnTo>
                    <a:pt x="209" y="546"/>
                  </a:lnTo>
                  <a:close/>
                  <a:moveTo>
                    <a:pt x="341" y="240"/>
                  </a:moveTo>
                  <a:lnTo>
                    <a:pt x="343" y="240"/>
                  </a:lnTo>
                  <a:lnTo>
                    <a:pt x="343" y="242"/>
                  </a:lnTo>
                  <a:lnTo>
                    <a:pt x="341" y="242"/>
                  </a:lnTo>
                  <a:lnTo>
                    <a:pt x="341" y="240"/>
                  </a:lnTo>
                  <a:close/>
                  <a:moveTo>
                    <a:pt x="287" y="665"/>
                  </a:moveTo>
                  <a:lnTo>
                    <a:pt x="289" y="664"/>
                  </a:lnTo>
                  <a:lnTo>
                    <a:pt x="289" y="667"/>
                  </a:lnTo>
                  <a:lnTo>
                    <a:pt x="287" y="667"/>
                  </a:lnTo>
                  <a:lnTo>
                    <a:pt x="287" y="665"/>
                  </a:lnTo>
                  <a:close/>
                  <a:moveTo>
                    <a:pt x="246" y="422"/>
                  </a:moveTo>
                  <a:lnTo>
                    <a:pt x="248" y="422"/>
                  </a:lnTo>
                  <a:lnTo>
                    <a:pt x="248" y="424"/>
                  </a:lnTo>
                  <a:lnTo>
                    <a:pt x="246" y="424"/>
                  </a:lnTo>
                  <a:lnTo>
                    <a:pt x="246" y="422"/>
                  </a:lnTo>
                  <a:close/>
                  <a:moveTo>
                    <a:pt x="287" y="679"/>
                  </a:moveTo>
                  <a:lnTo>
                    <a:pt x="283" y="681"/>
                  </a:lnTo>
                  <a:lnTo>
                    <a:pt x="287" y="679"/>
                  </a:lnTo>
                  <a:close/>
                  <a:moveTo>
                    <a:pt x="219" y="784"/>
                  </a:moveTo>
                  <a:lnTo>
                    <a:pt x="221" y="784"/>
                  </a:lnTo>
                  <a:lnTo>
                    <a:pt x="221" y="786"/>
                  </a:lnTo>
                  <a:lnTo>
                    <a:pt x="219" y="786"/>
                  </a:lnTo>
                  <a:lnTo>
                    <a:pt x="219" y="784"/>
                  </a:lnTo>
                  <a:close/>
                  <a:moveTo>
                    <a:pt x="30" y="834"/>
                  </a:moveTo>
                  <a:lnTo>
                    <a:pt x="30" y="835"/>
                  </a:lnTo>
                  <a:lnTo>
                    <a:pt x="28" y="835"/>
                  </a:lnTo>
                  <a:lnTo>
                    <a:pt x="28" y="834"/>
                  </a:lnTo>
                  <a:lnTo>
                    <a:pt x="30" y="835"/>
                  </a:lnTo>
                  <a:lnTo>
                    <a:pt x="30" y="834"/>
                  </a:lnTo>
                  <a:close/>
                  <a:moveTo>
                    <a:pt x="263" y="631"/>
                  </a:moveTo>
                  <a:lnTo>
                    <a:pt x="265" y="631"/>
                  </a:lnTo>
                  <a:lnTo>
                    <a:pt x="265" y="633"/>
                  </a:lnTo>
                  <a:lnTo>
                    <a:pt x="263" y="633"/>
                  </a:lnTo>
                  <a:lnTo>
                    <a:pt x="263" y="631"/>
                  </a:lnTo>
                  <a:close/>
                  <a:moveTo>
                    <a:pt x="0" y="747"/>
                  </a:moveTo>
                  <a:lnTo>
                    <a:pt x="1" y="747"/>
                  </a:lnTo>
                  <a:lnTo>
                    <a:pt x="1" y="749"/>
                  </a:lnTo>
                  <a:lnTo>
                    <a:pt x="0" y="749"/>
                  </a:lnTo>
                  <a:lnTo>
                    <a:pt x="0" y="747"/>
                  </a:lnTo>
                  <a:close/>
                  <a:moveTo>
                    <a:pt x="207" y="478"/>
                  </a:moveTo>
                  <a:lnTo>
                    <a:pt x="207" y="480"/>
                  </a:lnTo>
                  <a:lnTo>
                    <a:pt x="207" y="478"/>
                  </a:lnTo>
                  <a:close/>
                  <a:moveTo>
                    <a:pt x="6" y="754"/>
                  </a:moveTo>
                  <a:lnTo>
                    <a:pt x="8" y="754"/>
                  </a:lnTo>
                  <a:lnTo>
                    <a:pt x="8" y="755"/>
                  </a:lnTo>
                  <a:lnTo>
                    <a:pt x="6" y="755"/>
                  </a:lnTo>
                  <a:lnTo>
                    <a:pt x="6" y="754"/>
                  </a:lnTo>
                  <a:close/>
                  <a:moveTo>
                    <a:pt x="312" y="279"/>
                  </a:moveTo>
                  <a:lnTo>
                    <a:pt x="312" y="281"/>
                  </a:lnTo>
                  <a:lnTo>
                    <a:pt x="312" y="279"/>
                  </a:lnTo>
                  <a:close/>
                  <a:moveTo>
                    <a:pt x="28" y="803"/>
                  </a:moveTo>
                  <a:lnTo>
                    <a:pt x="30" y="803"/>
                  </a:lnTo>
                  <a:lnTo>
                    <a:pt x="30" y="805"/>
                  </a:lnTo>
                  <a:lnTo>
                    <a:pt x="28" y="805"/>
                  </a:lnTo>
                  <a:lnTo>
                    <a:pt x="28" y="803"/>
                  </a:lnTo>
                  <a:close/>
                  <a:moveTo>
                    <a:pt x="360" y="225"/>
                  </a:moveTo>
                  <a:lnTo>
                    <a:pt x="362" y="225"/>
                  </a:lnTo>
                  <a:lnTo>
                    <a:pt x="362" y="226"/>
                  </a:lnTo>
                  <a:lnTo>
                    <a:pt x="360" y="226"/>
                  </a:lnTo>
                  <a:lnTo>
                    <a:pt x="360" y="225"/>
                  </a:lnTo>
                  <a:close/>
                  <a:moveTo>
                    <a:pt x="273" y="679"/>
                  </a:moveTo>
                  <a:lnTo>
                    <a:pt x="273" y="681"/>
                  </a:lnTo>
                  <a:lnTo>
                    <a:pt x="273" y="679"/>
                  </a:lnTo>
                  <a:close/>
                  <a:moveTo>
                    <a:pt x="8" y="764"/>
                  </a:moveTo>
                  <a:lnTo>
                    <a:pt x="10" y="764"/>
                  </a:lnTo>
                  <a:lnTo>
                    <a:pt x="10" y="766"/>
                  </a:lnTo>
                  <a:lnTo>
                    <a:pt x="8" y="766"/>
                  </a:lnTo>
                  <a:lnTo>
                    <a:pt x="8" y="764"/>
                  </a:lnTo>
                  <a:close/>
                  <a:moveTo>
                    <a:pt x="25" y="829"/>
                  </a:moveTo>
                  <a:lnTo>
                    <a:pt x="27" y="829"/>
                  </a:lnTo>
                  <a:lnTo>
                    <a:pt x="27" y="832"/>
                  </a:lnTo>
                  <a:lnTo>
                    <a:pt x="25" y="832"/>
                  </a:lnTo>
                  <a:lnTo>
                    <a:pt x="25" y="829"/>
                  </a:lnTo>
                  <a:close/>
                  <a:moveTo>
                    <a:pt x="30" y="837"/>
                  </a:moveTo>
                  <a:lnTo>
                    <a:pt x="32" y="837"/>
                  </a:lnTo>
                  <a:lnTo>
                    <a:pt x="32" y="839"/>
                  </a:lnTo>
                  <a:lnTo>
                    <a:pt x="30" y="839"/>
                  </a:lnTo>
                  <a:lnTo>
                    <a:pt x="30" y="837"/>
                  </a:lnTo>
                  <a:close/>
                  <a:moveTo>
                    <a:pt x="212" y="575"/>
                  </a:moveTo>
                  <a:lnTo>
                    <a:pt x="214" y="575"/>
                  </a:lnTo>
                  <a:lnTo>
                    <a:pt x="214" y="577"/>
                  </a:lnTo>
                  <a:lnTo>
                    <a:pt x="212" y="577"/>
                  </a:lnTo>
                  <a:lnTo>
                    <a:pt x="212" y="575"/>
                  </a:lnTo>
                  <a:close/>
                  <a:moveTo>
                    <a:pt x="302" y="388"/>
                  </a:moveTo>
                  <a:lnTo>
                    <a:pt x="304" y="388"/>
                  </a:lnTo>
                  <a:lnTo>
                    <a:pt x="304" y="390"/>
                  </a:lnTo>
                  <a:lnTo>
                    <a:pt x="302" y="388"/>
                  </a:lnTo>
                  <a:close/>
                  <a:moveTo>
                    <a:pt x="341" y="228"/>
                  </a:moveTo>
                  <a:lnTo>
                    <a:pt x="341" y="230"/>
                  </a:lnTo>
                  <a:lnTo>
                    <a:pt x="341" y="228"/>
                  </a:lnTo>
                  <a:close/>
                  <a:moveTo>
                    <a:pt x="188" y="936"/>
                  </a:moveTo>
                  <a:lnTo>
                    <a:pt x="190" y="937"/>
                  </a:lnTo>
                  <a:lnTo>
                    <a:pt x="188" y="937"/>
                  </a:lnTo>
                  <a:lnTo>
                    <a:pt x="188" y="936"/>
                  </a:lnTo>
                  <a:close/>
                  <a:moveTo>
                    <a:pt x="270" y="718"/>
                  </a:moveTo>
                  <a:lnTo>
                    <a:pt x="272" y="718"/>
                  </a:lnTo>
                  <a:lnTo>
                    <a:pt x="272" y="720"/>
                  </a:lnTo>
                  <a:lnTo>
                    <a:pt x="270" y="718"/>
                  </a:lnTo>
                  <a:close/>
                  <a:moveTo>
                    <a:pt x="319" y="271"/>
                  </a:moveTo>
                  <a:lnTo>
                    <a:pt x="323" y="272"/>
                  </a:lnTo>
                  <a:lnTo>
                    <a:pt x="321" y="272"/>
                  </a:lnTo>
                  <a:lnTo>
                    <a:pt x="319" y="271"/>
                  </a:lnTo>
                  <a:close/>
                  <a:moveTo>
                    <a:pt x="277" y="674"/>
                  </a:moveTo>
                  <a:lnTo>
                    <a:pt x="278" y="672"/>
                  </a:lnTo>
                  <a:lnTo>
                    <a:pt x="278" y="674"/>
                  </a:lnTo>
                  <a:lnTo>
                    <a:pt x="277" y="676"/>
                  </a:lnTo>
                  <a:lnTo>
                    <a:pt x="277" y="674"/>
                  </a:lnTo>
                  <a:close/>
                  <a:moveTo>
                    <a:pt x="328" y="232"/>
                  </a:moveTo>
                  <a:lnTo>
                    <a:pt x="329" y="232"/>
                  </a:lnTo>
                  <a:lnTo>
                    <a:pt x="329" y="233"/>
                  </a:lnTo>
                  <a:lnTo>
                    <a:pt x="328" y="232"/>
                  </a:lnTo>
                  <a:close/>
                  <a:moveTo>
                    <a:pt x="214" y="861"/>
                  </a:moveTo>
                  <a:lnTo>
                    <a:pt x="215" y="863"/>
                  </a:lnTo>
                  <a:lnTo>
                    <a:pt x="214" y="863"/>
                  </a:lnTo>
                  <a:lnTo>
                    <a:pt x="214" y="861"/>
                  </a:lnTo>
                  <a:close/>
                  <a:moveTo>
                    <a:pt x="265" y="405"/>
                  </a:moveTo>
                  <a:lnTo>
                    <a:pt x="266" y="405"/>
                  </a:lnTo>
                  <a:lnTo>
                    <a:pt x="266" y="407"/>
                  </a:lnTo>
                  <a:lnTo>
                    <a:pt x="265" y="407"/>
                  </a:lnTo>
                  <a:lnTo>
                    <a:pt x="265" y="405"/>
                  </a:lnTo>
                  <a:close/>
                  <a:moveTo>
                    <a:pt x="249" y="424"/>
                  </a:moveTo>
                  <a:lnTo>
                    <a:pt x="249" y="425"/>
                  </a:lnTo>
                  <a:lnTo>
                    <a:pt x="249" y="424"/>
                  </a:lnTo>
                  <a:close/>
                  <a:moveTo>
                    <a:pt x="229" y="458"/>
                  </a:moveTo>
                  <a:lnTo>
                    <a:pt x="231" y="458"/>
                  </a:lnTo>
                  <a:lnTo>
                    <a:pt x="231" y="459"/>
                  </a:lnTo>
                  <a:lnTo>
                    <a:pt x="229" y="459"/>
                  </a:lnTo>
                  <a:lnTo>
                    <a:pt x="229" y="458"/>
                  </a:lnTo>
                  <a:close/>
                  <a:moveTo>
                    <a:pt x="215" y="534"/>
                  </a:moveTo>
                  <a:lnTo>
                    <a:pt x="217" y="534"/>
                  </a:lnTo>
                  <a:lnTo>
                    <a:pt x="217" y="536"/>
                  </a:lnTo>
                  <a:lnTo>
                    <a:pt x="215" y="536"/>
                  </a:lnTo>
                  <a:lnTo>
                    <a:pt x="215" y="534"/>
                  </a:lnTo>
                  <a:close/>
                  <a:moveTo>
                    <a:pt x="241" y="431"/>
                  </a:moveTo>
                  <a:lnTo>
                    <a:pt x="243" y="431"/>
                  </a:lnTo>
                  <a:lnTo>
                    <a:pt x="243" y="432"/>
                  </a:lnTo>
                  <a:lnTo>
                    <a:pt x="241" y="432"/>
                  </a:lnTo>
                  <a:lnTo>
                    <a:pt x="241" y="431"/>
                  </a:lnTo>
                  <a:close/>
                  <a:moveTo>
                    <a:pt x="348" y="232"/>
                  </a:moveTo>
                  <a:lnTo>
                    <a:pt x="350" y="232"/>
                  </a:lnTo>
                  <a:lnTo>
                    <a:pt x="348" y="232"/>
                  </a:lnTo>
                  <a:close/>
                  <a:moveTo>
                    <a:pt x="341" y="245"/>
                  </a:moveTo>
                  <a:lnTo>
                    <a:pt x="340" y="247"/>
                  </a:lnTo>
                  <a:lnTo>
                    <a:pt x="340" y="245"/>
                  </a:lnTo>
                  <a:lnTo>
                    <a:pt x="341" y="245"/>
                  </a:lnTo>
                  <a:close/>
                  <a:moveTo>
                    <a:pt x="314" y="276"/>
                  </a:moveTo>
                  <a:lnTo>
                    <a:pt x="314" y="277"/>
                  </a:lnTo>
                  <a:lnTo>
                    <a:pt x="314" y="276"/>
                  </a:lnTo>
                  <a:close/>
                  <a:moveTo>
                    <a:pt x="287" y="667"/>
                  </a:moveTo>
                  <a:lnTo>
                    <a:pt x="287" y="669"/>
                  </a:lnTo>
                  <a:lnTo>
                    <a:pt x="287" y="667"/>
                  </a:lnTo>
                  <a:close/>
                  <a:moveTo>
                    <a:pt x="18" y="808"/>
                  </a:moveTo>
                  <a:lnTo>
                    <a:pt x="20" y="808"/>
                  </a:lnTo>
                  <a:lnTo>
                    <a:pt x="20" y="810"/>
                  </a:lnTo>
                  <a:lnTo>
                    <a:pt x="18" y="810"/>
                  </a:lnTo>
                  <a:lnTo>
                    <a:pt x="18" y="808"/>
                  </a:lnTo>
                  <a:close/>
                  <a:moveTo>
                    <a:pt x="341" y="247"/>
                  </a:moveTo>
                  <a:lnTo>
                    <a:pt x="341" y="245"/>
                  </a:lnTo>
                  <a:lnTo>
                    <a:pt x="341" y="247"/>
                  </a:lnTo>
                  <a:lnTo>
                    <a:pt x="341" y="249"/>
                  </a:lnTo>
                  <a:lnTo>
                    <a:pt x="341" y="247"/>
                  </a:lnTo>
                  <a:close/>
                  <a:moveTo>
                    <a:pt x="265" y="631"/>
                  </a:moveTo>
                  <a:lnTo>
                    <a:pt x="266" y="631"/>
                  </a:lnTo>
                  <a:lnTo>
                    <a:pt x="266" y="633"/>
                  </a:lnTo>
                  <a:lnTo>
                    <a:pt x="265" y="633"/>
                  </a:lnTo>
                  <a:lnTo>
                    <a:pt x="265" y="631"/>
                  </a:lnTo>
                  <a:close/>
                  <a:moveTo>
                    <a:pt x="280" y="693"/>
                  </a:moveTo>
                  <a:lnTo>
                    <a:pt x="280" y="694"/>
                  </a:lnTo>
                  <a:lnTo>
                    <a:pt x="280" y="693"/>
                  </a:lnTo>
                  <a:close/>
                  <a:moveTo>
                    <a:pt x="336" y="235"/>
                  </a:moveTo>
                  <a:lnTo>
                    <a:pt x="338" y="237"/>
                  </a:lnTo>
                  <a:lnTo>
                    <a:pt x="336" y="237"/>
                  </a:lnTo>
                  <a:lnTo>
                    <a:pt x="336" y="235"/>
                  </a:lnTo>
                  <a:close/>
                  <a:moveTo>
                    <a:pt x="329" y="245"/>
                  </a:moveTo>
                  <a:lnTo>
                    <a:pt x="331" y="245"/>
                  </a:lnTo>
                  <a:lnTo>
                    <a:pt x="331" y="247"/>
                  </a:lnTo>
                  <a:lnTo>
                    <a:pt x="329" y="245"/>
                  </a:lnTo>
                  <a:close/>
                  <a:moveTo>
                    <a:pt x="246" y="431"/>
                  </a:moveTo>
                  <a:lnTo>
                    <a:pt x="244" y="431"/>
                  </a:lnTo>
                  <a:lnTo>
                    <a:pt x="246" y="431"/>
                  </a:lnTo>
                  <a:close/>
                  <a:moveTo>
                    <a:pt x="215" y="772"/>
                  </a:moveTo>
                  <a:lnTo>
                    <a:pt x="217" y="772"/>
                  </a:lnTo>
                  <a:lnTo>
                    <a:pt x="217" y="774"/>
                  </a:lnTo>
                  <a:lnTo>
                    <a:pt x="215" y="774"/>
                  </a:lnTo>
                  <a:lnTo>
                    <a:pt x="215" y="772"/>
                  </a:lnTo>
                  <a:close/>
                  <a:moveTo>
                    <a:pt x="265" y="635"/>
                  </a:moveTo>
                  <a:lnTo>
                    <a:pt x="266" y="635"/>
                  </a:lnTo>
                  <a:lnTo>
                    <a:pt x="266" y="638"/>
                  </a:lnTo>
                  <a:lnTo>
                    <a:pt x="265" y="638"/>
                  </a:lnTo>
                  <a:lnTo>
                    <a:pt x="265" y="635"/>
                  </a:lnTo>
                  <a:close/>
                  <a:moveTo>
                    <a:pt x="25" y="817"/>
                  </a:moveTo>
                  <a:lnTo>
                    <a:pt x="25" y="818"/>
                  </a:lnTo>
                  <a:lnTo>
                    <a:pt x="25" y="817"/>
                  </a:lnTo>
                  <a:close/>
                  <a:moveTo>
                    <a:pt x="239" y="436"/>
                  </a:moveTo>
                  <a:lnTo>
                    <a:pt x="241" y="436"/>
                  </a:lnTo>
                  <a:lnTo>
                    <a:pt x="241" y="437"/>
                  </a:lnTo>
                  <a:lnTo>
                    <a:pt x="239" y="436"/>
                  </a:lnTo>
                  <a:close/>
                  <a:moveTo>
                    <a:pt x="336" y="254"/>
                  </a:moveTo>
                  <a:lnTo>
                    <a:pt x="336" y="252"/>
                  </a:lnTo>
                  <a:lnTo>
                    <a:pt x="336" y="254"/>
                  </a:lnTo>
                  <a:close/>
                  <a:moveTo>
                    <a:pt x="283" y="665"/>
                  </a:moveTo>
                  <a:lnTo>
                    <a:pt x="285" y="665"/>
                  </a:lnTo>
                  <a:lnTo>
                    <a:pt x="283" y="667"/>
                  </a:lnTo>
                  <a:lnTo>
                    <a:pt x="283" y="665"/>
                  </a:lnTo>
                  <a:close/>
                  <a:moveTo>
                    <a:pt x="62" y="917"/>
                  </a:moveTo>
                  <a:lnTo>
                    <a:pt x="64" y="917"/>
                  </a:lnTo>
                  <a:lnTo>
                    <a:pt x="64" y="919"/>
                  </a:lnTo>
                  <a:lnTo>
                    <a:pt x="62" y="919"/>
                  </a:lnTo>
                  <a:lnTo>
                    <a:pt x="62" y="917"/>
                  </a:lnTo>
                  <a:close/>
                  <a:moveTo>
                    <a:pt x="210" y="808"/>
                  </a:moveTo>
                  <a:lnTo>
                    <a:pt x="212" y="808"/>
                  </a:lnTo>
                  <a:lnTo>
                    <a:pt x="212" y="810"/>
                  </a:lnTo>
                  <a:lnTo>
                    <a:pt x="210" y="808"/>
                  </a:lnTo>
                  <a:close/>
                  <a:moveTo>
                    <a:pt x="300" y="803"/>
                  </a:moveTo>
                  <a:lnTo>
                    <a:pt x="302" y="803"/>
                  </a:lnTo>
                  <a:lnTo>
                    <a:pt x="302" y="805"/>
                  </a:lnTo>
                  <a:lnTo>
                    <a:pt x="300" y="805"/>
                  </a:lnTo>
                  <a:lnTo>
                    <a:pt x="300" y="803"/>
                  </a:lnTo>
                  <a:close/>
                  <a:moveTo>
                    <a:pt x="210" y="541"/>
                  </a:moveTo>
                  <a:lnTo>
                    <a:pt x="212" y="541"/>
                  </a:lnTo>
                  <a:lnTo>
                    <a:pt x="212" y="543"/>
                  </a:lnTo>
                  <a:lnTo>
                    <a:pt x="210" y="543"/>
                  </a:lnTo>
                  <a:lnTo>
                    <a:pt x="210" y="541"/>
                  </a:lnTo>
                  <a:close/>
                  <a:moveTo>
                    <a:pt x="8" y="784"/>
                  </a:moveTo>
                  <a:lnTo>
                    <a:pt x="10" y="784"/>
                  </a:lnTo>
                  <a:lnTo>
                    <a:pt x="10" y="786"/>
                  </a:lnTo>
                  <a:lnTo>
                    <a:pt x="8" y="786"/>
                  </a:lnTo>
                  <a:lnTo>
                    <a:pt x="8" y="784"/>
                  </a:lnTo>
                  <a:close/>
                  <a:moveTo>
                    <a:pt x="309" y="233"/>
                  </a:moveTo>
                  <a:lnTo>
                    <a:pt x="311" y="233"/>
                  </a:lnTo>
                  <a:lnTo>
                    <a:pt x="312" y="237"/>
                  </a:lnTo>
                  <a:lnTo>
                    <a:pt x="311" y="237"/>
                  </a:lnTo>
                  <a:lnTo>
                    <a:pt x="309" y="233"/>
                  </a:lnTo>
                  <a:close/>
                  <a:moveTo>
                    <a:pt x="215" y="830"/>
                  </a:moveTo>
                  <a:lnTo>
                    <a:pt x="215" y="832"/>
                  </a:lnTo>
                  <a:lnTo>
                    <a:pt x="215" y="830"/>
                  </a:lnTo>
                  <a:close/>
                  <a:moveTo>
                    <a:pt x="285" y="664"/>
                  </a:moveTo>
                  <a:lnTo>
                    <a:pt x="287" y="664"/>
                  </a:lnTo>
                  <a:lnTo>
                    <a:pt x="285" y="664"/>
                  </a:lnTo>
                  <a:close/>
                  <a:moveTo>
                    <a:pt x="258" y="720"/>
                  </a:moveTo>
                  <a:lnTo>
                    <a:pt x="260" y="721"/>
                  </a:lnTo>
                  <a:lnTo>
                    <a:pt x="258" y="720"/>
                  </a:lnTo>
                  <a:close/>
                  <a:moveTo>
                    <a:pt x="277" y="681"/>
                  </a:moveTo>
                  <a:lnTo>
                    <a:pt x="277" y="682"/>
                  </a:lnTo>
                  <a:lnTo>
                    <a:pt x="275" y="682"/>
                  </a:lnTo>
                  <a:lnTo>
                    <a:pt x="277" y="681"/>
                  </a:lnTo>
                  <a:close/>
                  <a:moveTo>
                    <a:pt x="278" y="693"/>
                  </a:moveTo>
                  <a:lnTo>
                    <a:pt x="280" y="694"/>
                  </a:lnTo>
                  <a:lnTo>
                    <a:pt x="278" y="694"/>
                  </a:lnTo>
                  <a:lnTo>
                    <a:pt x="278" y="693"/>
                  </a:lnTo>
                  <a:close/>
                  <a:moveTo>
                    <a:pt x="317" y="249"/>
                  </a:moveTo>
                  <a:lnTo>
                    <a:pt x="319" y="249"/>
                  </a:lnTo>
                  <a:lnTo>
                    <a:pt x="317" y="249"/>
                  </a:lnTo>
                  <a:close/>
                  <a:moveTo>
                    <a:pt x="275" y="676"/>
                  </a:moveTo>
                  <a:lnTo>
                    <a:pt x="275" y="677"/>
                  </a:lnTo>
                  <a:lnTo>
                    <a:pt x="275" y="676"/>
                  </a:lnTo>
                  <a:close/>
                  <a:moveTo>
                    <a:pt x="273" y="687"/>
                  </a:moveTo>
                  <a:lnTo>
                    <a:pt x="273" y="689"/>
                  </a:lnTo>
                  <a:lnTo>
                    <a:pt x="272" y="689"/>
                  </a:lnTo>
                  <a:lnTo>
                    <a:pt x="273" y="687"/>
                  </a:lnTo>
                  <a:close/>
                  <a:moveTo>
                    <a:pt x="319" y="249"/>
                  </a:moveTo>
                  <a:lnTo>
                    <a:pt x="321" y="249"/>
                  </a:lnTo>
                  <a:lnTo>
                    <a:pt x="321" y="250"/>
                  </a:lnTo>
                  <a:lnTo>
                    <a:pt x="319" y="250"/>
                  </a:lnTo>
                  <a:lnTo>
                    <a:pt x="319" y="249"/>
                  </a:lnTo>
                  <a:close/>
                  <a:moveTo>
                    <a:pt x="217" y="451"/>
                  </a:moveTo>
                  <a:lnTo>
                    <a:pt x="219" y="451"/>
                  </a:lnTo>
                  <a:lnTo>
                    <a:pt x="219" y="453"/>
                  </a:lnTo>
                  <a:lnTo>
                    <a:pt x="217" y="453"/>
                  </a:lnTo>
                  <a:lnTo>
                    <a:pt x="217" y="451"/>
                  </a:lnTo>
                  <a:close/>
                  <a:moveTo>
                    <a:pt x="207" y="769"/>
                  </a:moveTo>
                  <a:lnTo>
                    <a:pt x="209" y="769"/>
                  </a:lnTo>
                  <a:lnTo>
                    <a:pt x="209" y="771"/>
                  </a:lnTo>
                  <a:lnTo>
                    <a:pt x="207" y="771"/>
                  </a:lnTo>
                  <a:lnTo>
                    <a:pt x="207" y="769"/>
                  </a:lnTo>
                  <a:close/>
                  <a:moveTo>
                    <a:pt x="222" y="779"/>
                  </a:moveTo>
                  <a:lnTo>
                    <a:pt x="224" y="779"/>
                  </a:lnTo>
                  <a:lnTo>
                    <a:pt x="221" y="781"/>
                  </a:lnTo>
                  <a:lnTo>
                    <a:pt x="222" y="779"/>
                  </a:lnTo>
                  <a:close/>
                  <a:moveTo>
                    <a:pt x="256" y="419"/>
                  </a:moveTo>
                  <a:lnTo>
                    <a:pt x="256" y="420"/>
                  </a:lnTo>
                  <a:lnTo>
                    <a:pt x="256" y="419"/>
                  </a:lnTo>
                  <a:close/>
                  <a:moveTo>
                    <a:pt x="190" y="939"/>
                  </a:moveTo>
                  <a:lnTo>
                    <a:pt x="190" y="941"/>
                  </a:lnTo>
                  <a:lnTo>
                    <a:pt x="190" y="939"/>
                  </a:lnTo>
                  <a:close/>
                  <a:moveTo>
                    <a:pt x="307" y="260"/>
                  </a:moveTo>
                  <a:lnTo>
                    <a:pt x="309" y="260"/>
                  </a:lnTo>
                  <a:lnTo>
                    <a:pt x="307" y="260"/>
                  </a:lnTo>
                  <a:close/>
                  <a:moveTo>
                    <a:pt x="28" y="803"/>
                  </a:moveTo>
                  <a:lnTo>
                    <a:pt x="28" y="805"/>
                  </a:lnTo>
                  <a:lnTo>
                    <a:pt x="28" y="803"/>
                  </a:lnTo>
                  <a:close/>
                  <a:moveTo>
                    <a:pt x="210" y="485"/>
                  </a:moveTo>
                  <a:lnTo>
                    <a:pt x="212" y="485"/>
                  </a:lnTo>
                  <a:lnTo>
                    <a:pt x="210" y="485"/>
                  </a:lnTo>
                  <a:close/>
                  <a:moveTo>
                    <a:pt x="238" y="733"/>
                  </a:moveTo>
                  <a:lnTo>
                    <a:pt x="239" y="733"/>
                  </a:lnTo>
                  <a:lnTo>
                    <a:pt x="239" y="735"/>
                  </a:lnTo>
                  <a:lnTo>
                    <a:pt x="238" y="735"/>
                  </a:lnTo>
                  <a:lnTo>
                    <a:pt x="238" y="733"/>
                  </a:lnTo>
                  <a:close/>
                  <a:moveTo>
                    <a:pt x="15" y="793"/>
                  </a:moveTo>
                  <a:lnTo>
                    <a:pt x="17" y="793"/>
                  </a:lnTo>
                  <a:lnTo>
                    <a:pt x="17" y="795"/>
                  </a:lnTo>
                  <a:lnTo>
                    <a:pt x="15" y="795"/>
                  </a:lnTo>
                  <a:lnTo>
                    <a:pt x="15" y="793"/>
                  </a:lnTo>
                  <a:close/>
                  <a:moveTo>
                    <a:pt x="263" y="631"/>
                  </a:moveTo>
                  <a:lnTo>
                    <a:pt x="265" y="631"/>
                  </a:lnTo>
                  <a:lnTo>
                    <a:pt x="265" y="633"/>
                  </a:lnTo>
                  <a:lnTo>
                    <a:pt x="263" y="631"/>
                  </a:lnTo>
                  <a:close/>
                  <a:moveTo>
                    <a:pt x="265" y="844"/>
                  </a:moveTo>
                  <a:lnTo>
                    <a:pt x="266" y="844"/>
                  </a:lnTo>
                  <a:lnTo>
                    <a:pt x="265" y="844"/>
                  </a:lnTo>
                  <a:close/>
                  <a:moveTo>
                    <a:pt x="30" y="839"/>
                  </a:moveTo>
                  <a:lnTo>
                    <a:pt x="32" y="839"/>
                  </a:lnTo>
                  <a:lnTo>
                    <a:pt x="32" y="841"/>
                  </a:lnTo>
                  <a:lnTo>
                    <a:pt x="30" y="841"/>
                  </a:lnTo>
                  <a:lnTo>
                    <a:pt x="30" y="839"/>
                  </a:lnTo>
                  <a:close/>
                  <a:moveTo>
                    <a:pt x="219" y="767"/>
                  </a:moveTo>
                  <a:lnTo>
                    <a:pt x="221" y="769"/>
                  </a:lnTo>
                  <a:lnTo>
                    <a:pt x="219" y="769"/>
                  </a:lnTo>
                  <a:lnTo>
                    <a:pt x="219" y="767"/>
                  </a:lnTo>
                  <a:close/>
                  <a:moveTo>
                    <a:pt x="265" y="638"/>
                  </a:moveTo>
                  <a:lnTo>
                    <a:pt x="266" y="638"/>
                  </a:lnTo>
                  <a:lnTo>
                    <a:pt x="266" y="640"/>
                  </a:lnTo>
                  <a:lnTo>
                    <a:pt x="265" y="638"/>
                  </a:lnTo>
                  <a:close/>
                  <a:moveTo>
                    <a:pt x="270" y="691"/>
                  </a:moveTo>
                  <a:lnTo>
                    <a:pt x="272" y="691"/>
                  </a:lnTo>
                  <a:lnTo>
                    <a:pt x="272" y="693"/>
                  </a:lnTo>
                  <a:lnTo>
                    <a:pt x="270" y="693"/>
                  </a:lnTo>
                  <a:lnTo>
                    <a:pt x="270" y="691"/>
                  </a:lnTo>
                  <a:close/>
                  <a:moveTo>
                    <a:pt x="248" y="427"/>
                  </a:moveTo>
                  <a:lnTo>
                    <a:pt x="248" y="429"/>
                  </a:lnTo>
                  <a:lnTo>
                    <a:pt x="248" y="427"/>
                  </a:lnTo>
                  <a:close/>
                  <a:moveTo>
                    <a:pt x="377" y="216"/>
                  </a:moveTo>
                  <a:lnTo>
                    <a:pt x="379" y="216"/>
                  </a:lnTo>
                  <a:lnTo>
                    <a:pt x="379" y="218"/>
                  </a:lnTo>
                  <a:lnTo>
                    <a:pt x="377" y="218"/>
                  </a:lnTo>
                  <a:lnTo>
                    <a:pt x="377" y="216"/>
                  </a:lnTo>
                  <a:close/>
                  <a:moveTo>
                    <a:pt x="22" y="783"/>
                  </a:moveTo>
                  <a:lnTo>
                    <a:pt x="22" y="784"/>
                  </a:lnTo>
                  <a:lnTo>
                    <a:pt x="22" y="783"/>
                  </a:lnTo>
                  <a:close/>
                  <a:moveTo>
                    <a:pt x="351" y="221"/>
                  </a:moveTo>
                  <a:lnTo>
                    <a:pt x="353" y="223"/>
                  </a:lnTo>
                  <a:lnTo>
                    <a:pt x="351" y="223"/>
                  </a:lnTo>
                  <a:lnTo>
                    <a:pt x="351" y="221"/>
                  </a:lnTo>
                  <a:close/>
                  <a:moveTo>
                    <a:pt x="22" y="803"/>
                  </a:moveTo>
                  <a:lnTo>
                    <a:pt x="23" y="803"/>
                  </a:lnTo>
                  <a:lnTo>
                    <a:pt x="23" y="805"/>
                  </a:lnTo>
                  <a:lnTo>
                    <a:pt x="22" y="805"/>
                  </a:lnTo>
                  <a:lnTo>
                    <a:pt x="22" y="803"/>
                  </a:lnTo>
                  <a:close/>
                  <a:moveTo>
                    <a:pt x="266" y="633"/>
                  </a:moveTo>
                  <a:lnTo>
                    <a:pt x="268" y="633"/>
                  </a:lnTo>
                  <a:lnTo>
                    <a:pt x="268" y="635"/>
                  </a:lnTo>
                  <a:lnTo>
                    <a:pt x="266" y="635"/>
                  </a:lnTo>
                  <a:lnTo>
                    <a:pt x="266" y="633"/>
                  </a:lnTo>
                  <a:close/>
                  <a:moveTo>
                    <a:pt x="205" y="545"/>
                  </a:moveTo>
                  <a:lnTo>
                    <a:pt x="207" y="545"/>
                  </a:lnTo>
                  <a:lnTo>
                    <a:pt x="207" y="546"/>
                  </a:lnTo>
                  <a:lnTo>
                    <a:pt x="205" y="546"/>
                  </a:lnTo>
                  <a:lnTo>
                    <a:pt x="205" y="545"/>
                  </a:lnTo>
                  <a:close/>
                  <a:moveTo>
                    <a:pt x="244" y="422"/>
                  </a:moveTo>
                  <a:lnTo>
                    <a:pt x="246" y="422"/>
                  </a:lnTo>
                  <a:lnTo>
                    <a:pt x="244" y="422"/>
                  </a:lnTo>
                  <a:close/>
                  <a:moveTo>
                    <a:pt x="212" y="830"/>
                  </a:moveTo>
                  <a:lnTo>
                    <a:pt x="214" y="830"/>
                  </a:lnTo>
                  <a:lnTo>
                    <a:pt x="212" y="830"/>
                  </a:lnTo>
                  <a:close/>
                  <a:moveTo>
                    <a:pt x="258" y="636"/>
                  </a:moveTo>
                  <a:lnTo>
                    <a:pt x="260" y="636"/>
                  </a:lnTo>
                  <a:lnTo>
                    <a:pt x="258" y="636"/>
                  </a:lnTo>
                  <a:close/>
                  <a:moveTo>
                    <a:pt x="5" y="744"/>
                  </a:moveTo>
                  <a:lnTo>
                    <a:pt x="5" y="745"/>
                  </a:lnTo>
                  <a:lnTo>
                    <a:pt x="5" y="744"/>
                  </a:lnTo>
                  <a:close/>
                  <a:moveTo>
                    <a:pt x="210" y="546"/>
                  </a:moveTo>
                  <a:lnTo>
                    <a:pt x="210" y="548"/>
                  </a:lnTo>
                  <a:lnTo>
                    <a:pt x="210" y="546"/>
                  </a:lnTo>
                  <a:close/>
                  <a:moveTo>
                    <a:pt x="261" y="694"/>
                  </a:moveTo>
                  <a:lnTo>
                    <a:pt x="263" y="694"/>
                  </a:lnTo>
                  <a:lnTo>
                    <a:pt x="260" y="694"/>
                  </a:lnTo>
                  <a:lnTo>
                    <a:pt x="261" y="694"/>
                  </a:lnTo>
                  <a:close/>
                  <a:moveTo>
                    <a:pt x="23" y="825"/>
                  </a:moveTo>
                  <a:lnTo>
                    <a:pt x="25" y="825"/>
                  </a:lnTo>
                  <a:lnTo>
                    <a:pt x="25" y="827"/>
                  </a:lnTo>
                  <a:lnTo>
                    <a:pt x="23" y="827"/>
                  </a:lnTo>
                  <a:lnTo>
                    <a:pt x="23" y="825"/>
                  </a:lnTo>
                  <a:close/>
                  <a:moveTo>
                    <a:pt x="331" y="238"/>
                  </a:moveTo>
                  <a:lnTo>
                    <a:pt x="333" y="240"/>
                  </a:lnTo>
                  <a:lnTo>
                    <a:pt x="329" y="238"/>
                  </a:lnTo>
                  <a:lnTo>
                    <a:pt x="331" y="238"/>
                  </a:lnTo>
                  <a:close/>
                  <a:moveTo>
                    <a:pt x="283" y="674"/>
                  </a:moveTo>
                  <a:lnTo>
                    <a:pt x="285" y="674"/>
                  </a:lnTo>
                  <a:lnTo>
                    <a:pt x="285" y="676"/>
                  </a:lnTo>
                  <a:lnTo>
                    <a:pt x="283" y="676"/>
                  </a:lnTo>
                  <a:lnTo>
                    <a:pt x="283" y="674"/>
                  </a:lnTo>
                  <a:close/>
                  <a:moveTo>
                    <a:pt x="362" y="225"/>
                  </a:moveTo>
                  <a:lnTo>
                    <a:pt x="362" y="226"/>
                  </a:lnTo>
                  <a:lnTo>
                    <a:pt x="362" y="225"/>
                  </a:lnTo>
                  <a:close/>
                  <a:moveTo>
                    <a:pt x="215" y="832"/>
                  </a:moveTo>
                  <a:lnTo>
                    <a:pt x="217" y="834"/>
                  </a:lnTo>
                  <a:lnTo>
                    <a:pt x="215" y="834"/>
                  </a:lnTo>
                  <a:lnTo>
                    <a:pt x="215" y="832"/>
                  </a:lnTo>
                  <a:close/>
                  <a:moveTo>
                    <a:pt x="277" y="689"/>
                  </a:moveTo>
                  <a:lnTo>
                    <a:pt x="278" y="689"/>
                  </a:lnTo>
                  <a:lnTo>
                    <a:pt x="278" y="691"/>
                  </a:lnTo>
                  <a:lnTo>
                    <a:pt x="277" y="691"/>
                  </a:lnTo>
                  <a:lnTo>
                    <a:pt x="277" y="689"/>
                  </a:lnTo>
                  <a:close/>
                  <a:moveTo>
                    <a:pt x="273" y="708"/>
                  </a:moveTo>
                  <a:lnTo>
                    <a:pt x="275" y="708"/>
                  </a:lnTo>
                  <a:lnTo>
                    <a:pt x="275" y="710"/>
                  </a:lnTo>
                  <a:lnTo>
                    <a:pt x="273" y="710"/>
                  </a:lnTo>
                  <a:lnTo>
                    <a:pt x="273" y="708"/>
                  </a:lnTo>
                  <a:close/>
                  <a:moveTo>
                    <a:pt x="282" y="699"/>
                  </a:moveTo>
                  <a:lnTo>
                    <a:pt x="280" y="699"/>
                  </a:lnTo>
                  <a:lnTo>
                    <a:pt x="282" y="699"/>
                  </a:lnTo>
                  <a:close/>
                  <a:moveTo>
                    <a:pt x="27" y="815"/>
                  </a:moveTo>
                  <a:lnTo>
                    <a:pt x="27" y="817"/>
                  </a:lnTo>
                  <a:lnTo>
                    <a:pt x="25" y="815"/>
                  </a:lnTo>
                  <a:lnTo>
                    <a:pt x="27" y="815"/>
                  </a:lnTo>
                  <a:close/>
                  <a:moveTo>
                    <a:pt x="229" y="745"/>
                  </a:moveTo>
                  <a:lnTo>
                    <a:pt x="231" y="747"/>
                  </a:lnTo>
                  <a:lnTo>
                    <a:pt x="229" y="747"/>
                  </a:lnTo>
                  <a:lnTo>
                    <a:pt x="229" y="745"/>
                  </a:lnTo>
                  <a:close/>
                  <a:moveTo>
                    <a:pt x="283" y="694"/>
                  </a:moveTo>
                  <a:lnTo>
                    <a:pt x="283" y="696"/>
                  </a:lnTo>
                  <a:lnTo>
                    <a:pt x="283" y="694"/>
                  </a:lnTo>
                  <a:close/>
                  <a:moveTo>
                    <a:pt x="153" y="943"/>
                  </a:moveTo>
                  <a:lnTo>
                    <a:pt x="154" y="943"/>
                  </a:lnTo>
                  <a:lnTo>
                    <a:pt x="154" y="944"/>
                  </a:lnTo>
                  <a:lnTo>
                    <a:pt x="153" y="944"/>
                  </a:lnTo>
                  <a:lnTo>
                    <a:pt x="153" y="943"/>
                  </a:lnTo>
                  <a:close/>
                  <a:moveTo>
                    <a:pt x="219" y="779"/>
                  </a:moveTo>
                  <a:lnTo>
                    <a:pt x="219" y="781"/>
                  </a:lnTo>
                  <a:lnTo>
                    <a:pt x="219" y="779"/>
                  </a:lnTo>
                  <a:close/>
                  <a:moveTo>
                    <a:pt x="212" y="824"/>
                  </a:moveTo>
                  <a:lnTo>
                    <a:pt x="214" y="824"/>
                  </a:lnTo>
                  <a:lnTo>
                    <a:pt x="214" y="825"/>
                  </a:lnTo>
                  <a:lnTo>
                    <a:pt x="212" y="825"/>
                  </a:lnTo>
                  <a:lnTo>
                    <a:pt x="212" y="824"/>
                  </a:lnTo>
                  <a:close/>
                  <a:moveTo>
                    <a:pt x="300" y="829"/>
                  </a:moveTo>
                  <a:lnTo>
                    <a:pt x="302" y="829"/>
                  </a:lnTo>
                  <a:lnTo>
                    <a:pt x="302" y="830"/>
                  </a:lnTo>
                  <a:lnTo>
                    <a:pt x="300" y="830"/>
                  </a:lnTo>
                  <a:lnTo>
                    <a:pt x="300" y="829"/>
                  </a:lnTo>
                  <a:close/>
                  <a:moveTo>
                    <a:pt x="273" y="710"/>
                  </a:moveTo>
                  <a:lnTo>
                    <a:pt x="275" y="710"/>
                  </a:lnTo>
                  <a:lnTo>
                    <a:pt x="275" y="711"/>
                  </a:lnTo>
                  <a:lnTo>
                    <a:pt x="273" y="711"/>
                  </a:lnTo>
                  <a:lnTo>
                    <a:pt x="273" y="710"/>
                  </a:lnTo>
                  <a:close/>
                  <a:moveTo>
                    <a:pt x="280" y="699"/>
                  </a:moveTo>
                  <a:lnTo>
                    <a:pt x="282" y="699"/>
                  </a:lnTo>
                  <a:lnTo>
                    <a:pt x="282" y="701"/>
                  </a:lnTo>
                  <a:lnTo>
                    <a:pt x="280" y="701"/>
                  </a:lnTo>
                  <a:lnTo>
                    <a:pt x="280" y="699"/>
                  </a:lnTo>
                  <a:close/>
                  <a:moveTo>
                    <a:pt x="215" y="769"/>
                  </a:moveTo>
                  <a:lnTo>
                    <a:pt x="217" y="769"/>
                  </a:lnTo>
                  <a:lnTo>
                    <a:pt x="217" y="771"/>
                  </a:lnTo>
                  <a:lnTo>
                    <a:pt x="215" y="771"/>
                  </a:lnTo>
                  <a:lnTo>
                    <a:pt x="215" y="769"/>
                  </a:lnTo>
                  <a:close/>
                  <a:moveTo>
                    <a:pt x="251" y="732"/>
                  </a:moveTo>
                  <a:lnTo>
                    <a:pt x="253" y="732"/>
                  </a:lnTo>
                  <a:lnTo>
                    <a:pt x="253" y="733"/>
                  </a:lnTo>
                  <a:lnTo>
                    <a:pt x="251" y="732"/>
                  </a:lnTo>
                  <a:close/>
                  <a:moveTo>
                    <a:pt x="273" y="691"/>
                  </a:moveTo>
                  <a:lnTo>
                    <a:pt x="275" y="691"/>
                  </a:lnTo>
                  <a:lnTo>
                    <a:pt x="273" y="693"/>
                  </a:lnTo>
                  <a:lnTo>
                    <a:pt x="273" y="691"/>
                  </a:lnTo>
                  <a:close/>
                  <a:moveTo>
                    <a:pt x="30" y="837"/>
                  </a:moveTo>
                  <a:lnTo>
                    <a:pt x="32" y="837"/>
                  </a:lnTo>
                  <a:lnTo>
                    <a:pt x="32" y="839"/>
                  </a:lnTo>
                  <a:lnTo>
                    <a:pt x="30" y="837"/>
                  </a:lnTo>
                  <a:close/>
                  <a:moveTo>
                    <a:pt x="243" y="735"/>
                  </a:moveTo>
                  <a:lnTo>
                    <a:pt x="244" y="735"/>
                  </a:lnTo>
                  <a:lnTo>
                    <a:pt x="244" y="737"/>
                  </a:lnTo>
                  <a:lnTo>
                    <a:pt x="243" y="737"/>
                  </a:lnTo>
                  <a:lnTo>
                    <a:pt x="243" y="735"/>
                  </a:lnTo>
                  <a:close/>
                  <a:moveTo>
                    <a:pt x="221" y="783"/>
                  </a:moveTo>
                  <a:lnTo>
                    <a:pt x="219" y="783"/>
                  </a:lnTo>
                  <a:lnTo>
                    <a:pt x="221" y="783"/>
                  </a:lnTo>
                  <a:close/>
                  <a:moveTo>
                    <a:pt x="8" y="766"/>
                  </a:moveTo>
                  <a:lnTo>
                    <a:pt x="10" y="766"/>
                  </a:lnTo>
                  <a:lnTo>
                    <a:pt x="10" y="767"/>
                  </a:lnTo>
                  <a:lnTo>
                    <a:pt x="8" y="767"/>
                  </a:lnTo>
                  <a:lnTo>
                    <a:pt x="8" y="766"/>
                  </a:lnTo>
                  <a:close/>
                  <a:moveTo>
                    <a:pt x="209" y="808"/>
                  </a:moveTo>
                  <a:lnTo>
                    <a:pt x="210" y="808"/>
                  </a:lnTo>
                  <a:lnTo>
                    <a:pt x="210" y="810"/>
                  </a:lnTo>
                  <a:lnTo>
                    <a:pt x="209" y="810"/>
                  </a:lnTo>
                  <a:lnTo>
                    <a:pt x="209" y="808"/>
                  </a:lnTo>
                  <a:close/>
                  <a:moveTo>
                    <a:pt x="30" y="805"/>
                  </a:moveTo>
                  <a:lnTo>
                    <a:pt x="30" y="807"/>
                  </a:lnTo>
                  <a:lnTo>
                    <a:pt x="30" y="805"/>
                  </a:lnTo>
                  <a:close/>
                  <a:moveTo>
                    <a:pt x="289" y="677"/>
                  </a:moveTo>
                  <a:lnTo>
                    <a:pt x="290" y="677"/>
                  </a:lnTo>
                  <a:lnTo>
                    <a:pt x="290" y="679"/>
                  </a:lnTo>
                  <a:lnTo>
                    <a:pt x="289" y="679"/>
                  </a:lnTo>
                  <a:lnTo>
                    <a:pt x="289" y="677"/>
                  </a:lnTo>
                  <a:close/>
                  <a:moveTo>
                    <a:pt x="380" y="223"/>
                  </a:moveTo>
                  <a:lnTo>
                    <a:pt x="379" y="223"/>
                  </a:lnTo>
                  <a:lnTo>
                    <a:pt x="380" y="223"/>
                  </a:lnTo>
                  <a:close/>
                  <a:moveTo>
                    <a:pt x="178" y="936"/>
                  </a:moveTo>
                  <a:lnTo>
                    <a:pt x="178" y="937"/>
                  </a:lnTo>
                  <a:lnTo>
                    <a:pt x="178" y="936"/>
                  </a:lnTo>
                  <a:close/>
                  <a:moveTo>
                    <a:pt x="263" y="694"/>
                  </a:moveTo>
                  <a:lnTo>
                    <a:pt x="265" y="694"/>
                  </a:lnTo>
                  <a:lnTo>
                    <a:pt x="263" y="694"/>
                  </a:lnTo>
                  <a:close/>
                  <a:moveTo>
                    <a:pt x="346" y="233"/>
                  </a:moveTo>
                  <a:lnTo>
                    <a:pt x="346" y="235"/>
                  </a:lnTo>
                  <a:lnTo>
                    <a:pt x="346" y="233"/>
                  </a:lnTo>
                  <a:close/>
                  <a:moveTo>
                    <a:pt x="249" y="740"/>
                  </a:moveTo>
                  <a:lnTo>
                    <a:pt x="249" y="744"/>
                  </a:lnTo>
                  <a:lnTo>
                    <a:pt x="249" y="740"/>
                  </a:lnTo>
                  <a:close/>
                  <a:moveTo>
                    <a:pt x="278" y="686"/>
                  </a:moveTo>
                  <a:lnTo>
                    <a:pt x="280" y="686"/>
                  </a:lnTo>
                  <a:lnTo>
                    <a:pt x="278" y="686"/>
                  </a:lnTo>
                  <a:close/>
                  <a:moveTo>
                    <a:pt x="273" y="715"/>
                  </a:moveTo>
                  <a:lnTo>
                    <a:pt x="275" y="715"/>
                  </a:lnTo>
                  <a:lnTo>
                    <a:pt x="275" y="716"/>
                  </a:lnTo>
                  <a:lnTo>
                    <a:pt x="273" y="715"/>
                  </a:lnTo>
                  <a:close/>
                  <a:moveTo>
                    <a:pt x="277" y="704"/>
                  </a:moveTo>
                  <a:lnTo>
                    <a:pt x="278" y="704"/>
                  </a:lnTo>
                  <a:lnTo>
                    <a:pt x="278" y="706"/>
                  </a:lnTo>
                  <a:lnTo>
                    <a:pt x="277" y="704"/>
                  </a:lnTo>
                  <a:close/>
                  <a:moveTo>
                    <a:pt x="205" y="546"/>
                  </a:moveTo>
                  <a:lnTo>
                    <a:pt x="207" y="546"/>
                  </a:lnTo>
                  <a:lnTo>
                    <a:pt x="205" y="546"/>
                  </a:lnTo>
                  <a:close/>
                  <a:moveTo>
                    <a:pt x="338" y="223"/>
                  </a:moveTo>
                  <a:lnTo>
                    <a:pt x="338" y="225"/>
                  </a:lnTo>
                  <a:lnTo>
                    <a:pt x="338" y="223"/>
                  </a:lnTo>
                  <a:close/>
                  <a:moveTo>
                    <a:pt x="215" y="801"/>
                  </a:moveTo>
                  <a:lnTo>
                    <a:pt x="217" y="801"/>
                  </a:lnTo>
                  <a:lnTo>
                    <a:pt x="217" y="803"/>
                  </a:lnTo>
                  <a:lnTo>
                    <a:pt x="215" y="803"/>
                  </a:lnTo>
                  <a:lnTo>
                    <a:pt x="215" y="801"/>
                  </a:lnTo>
                  <a:close/>
                  <a:moveTo>
                    <a:pt x="8" y="762"/>
                  </a:moveTo>
                  <a:lnTo>
                    <a:pt x="8" y="764"/>
                  </a:lnTo>
                  <a:lnTo>
                    <a:pt x="8" y="762"/>
                  </a:lnTo>
                  <a:close/>
                  <a:moveTo>
                    <a:pt x="275" y="397"/>
                  </a:moveTo>
                  <a:lnTo>
                    <a:pt x="277" y="397"/>
                  </a:lnTo>
                  <a:lnTo>
                    <a:pt x="277" y="398"/>
                  </a:lnTo>
                  <a:lnTo>
                    <a:pt x="275" y="397"/>
                  </a:lnTo>
                  <a:close/>
                  <a:moveTo>
                    <a:pt x="275" y="693"/>
                  </a:moveTo>
                  <a:lnTo>
                    <a:pt x="277" y="693"/>
                  </a:lnTo>
                  <a:lnTo>
                    <a:pt x="275" y="693"/>
                  </a:lnTo>
                  <a:close/>
                  <a:moveTo>
                    <a:pt x="272" y="720"/>
                  </a:moveTo>
                  <a:lnTo>
                    <a:pt x="273" y="720"/>
                  </a:lnTo>
                  <a:lnTo>
                    <a:pt x="273" y="721"/>
                  </a:lnTo>
                  <a:lnTo>
                    <a:pt x="272" y="721"/>
                  </a:lnTo>
                  <a:lnTo>
                    <a:pt x="272" y="720"/>
                  </a:lnTo>
                  <a:close/>
                  <a:moveTo>
                    <a:pt x="217" y="830"/>
                  </a:moveTo>
                  <a:lnTo>
                    <a:pt x="217" y="832"/>
                  </a:lnTo>
                  <a:lnTo>
                    <a:pt x="217" y="830"/>
                  </a:lnTo>
                  <a:close/>
                  <a:moveTo>
                    <a:pt x="265" y="706"/>
                  </a:moveTo>
                  <a:lnTo>
                    <a:pt x="266" y="708"/>
                  </a:lnTo>
                  <a:lnTo>
                    <a:pt x="265" y="708"/>
                  </a:lnTo>
                  <a:lnTo>
                    <a:pt x="265" y="706"/>
                  </a:lnTo>
                  <a:close/>
                  <a:moveTo>
                    <a:pt x="258" y="721"/>
                  </a:moveTo>
                  <a:lnTo>
                    <a:pt x="260" y="721"/>
                  </a:lnTo>
                  <a:lnTo>
                    <a:pt x="258" y="721"/>
                  </a:lnTo>
                  <a:close/>
                  <a:moveTo>
                    <a:pt x="338" y="223"/>
                  </a:moveTo>
                  <a:lnTo>
                    <a:pt x="340" y="225"/>
                  </a:lnTo>
                  <a:lnTo>
                    <a:pt x="338" y="225"/>
                  </a:lnTo>
                  <a:lnTo>
                    <a:pt x="338" y="223"/>
                  </a:lnTo>
                  <a:close/>
                  <a:moveTo>
                    <a:pt x="277" y="402"/>
                  </a:moveTo>
                  <a:lnTo>
                    <a:pt x="278" y="402"/>
                  </a:lnTo>
                  <a:lnTo>
                    <a:pt x="277" y="402"/>
                  </a:lnTo>
                  <a:close/>
                  <a:moveTo>
                    <a:pt x="188" y="937"/>
                  </a:moveTo>
                  <a:lnTo>
                    <a:pt x="190" y="939"/>
                  </a:lnTo>
                  <a:lnTo>
                    <a:pt x="188" y="939"/>
                  </a:lnTo>
                  <a:lnTo>
                    <a:pt x="188" y="937"/>
                  </a:lnTo>
                  <a:close/>
                  <a:moveTo>
                    <a:pt x="265" y="640"/>
                  </a:moveTo>
                  <a:lnTo>
                    <a:pt x="266" y="640"/>
                  </a:lnTo>
                  <a:lnTo>
                    <a:pt x="265" y="640"/>
                  </a:lnTo>
                  <a:close/>
                  <a:moveTo>
                    <a:pt x="278" y="686"/>
                  </a:moveTo>
                  <a:lnTo>
                    <a:pt x="280" y="686"/>
                  </a:lnTo>
                  <a:lnTo>
                    <a:pt x="280" y="687"/>
                  </a:lnTo>
                  <a:lnTo>
                    <a:pt x="278" y="687"/>
                  </a:lnTo>
                  <a:lnTo>
                    <a:pt x="278" y="686"/>
                  </a:lnTo>
                  <a:close/>
                  <a:moveTo>
                    <a:pt x="273" y="715"/>
                  </a:moveTo>
                  <a:lnTo>
                    <a:pt x="275" y="715"/>
                  </a:lnTo>
                  <a:lnTo>
                    <a:pt x="275" y="716"/>
                  </a:lnTo>
                  <a:lnTo>
                    <a:pt x="273" y="716"/>
                  </a:lnTo>
                  <a:lnTo>
                    <a:pt x="273" y="715"/>
                  </a:lnTo>
                  <a:close/>
                  <a:moveTo>
                    <a:pt x="316" y="276"/>
                  </a:moveTo>
                  <a:lnTo>
                    <a:pt x="316" y="277"/>
                  </a:lnTo>
                  <a:lnTo>
                    <a:pt x="316" y="276"/>
                  </a:lnTo>
                  <a:close/>
                  <a:moveTo>
                    <a:pt x="358" y="220"/>
                  </a:moveTo>
                  <a:lnTo>
                    <a:pt x="358" y="221"/>
                  </a:lnTo>
                  <a:lnTo>
                    <a:pt x="358" y="220"/>
                  </a:lnTo>
                  <a:close/>
                  <a:moveTo>
                    <a:pt x="265" y="715"/>
                  </a:moveTo>
                  <a:lnTo>
                    <a:pt x="266" y="715"/>
                  </a:lnTo>
                  <a:lnTo>
                    <a:pt x="266" y="716"/>
                  </a:lnTo>
                  <a:lnTo>
                    <a:pt x="265" y="716"/>
                  </a:lnTo>
                  <a:lnTo>
                    <a:pt x="265" y="715"/>
                  </a:lnTo>
                  <a:close/>
                  <a:moveTo>
                    <a:pt x="275" y="710"/>
                  </a:moveTo>
                  <a:lnTo>
                    <a:pt x="277" y="710"/>
                  </a:lnTo>
                  <a:lnTo>
                    <a:pt x="275" y="710"/>
                  </a:lnTo>
                  <a:close/>
                  <a:moveTo>
                    <a:pt x="217" y="784"/>
                  </a:moveTo>
                  <a:lnTo>
                    <a:pt x="219" y="784"/>
                  </a:lnTo>
                  <a:lnTo>
                    <a:pt x="219" y="786"/>
                  </a:lnTo>
                  <a:lnTo>
                    <a:pt x="217" y="786"/>
                  </a:lnTo>
                  <a:lnTo>
                    <a:pt x="217" y="784"/>
                  </a:lnTo>
                  <a:close/>
                  <a:moveTo>
                    <a:pt x="283" y="672"/>
                  </a:moveTo>
                  <a:lnTo>
                    <a:pt x="283" y="674"/>
                  </a:lnTo>
                  <a:lnTo>
                    <a:pt x="283" y="672"/>
                  </a:lnTo>
                  <a:close/>
                  <a:moveTo>
                    <a:pt x="236" y="738"/>
                  </a:moveTo>
                  <a:lnTo>
                    <a:pt x="238" y="740"/>
                  </a:lnTo>
                  <a:lnTo>
                    <a:pt x="236" y="742"/>
                  </a:lnTo>
                  <a:lnTo>
                    <a:pt x="236" y="738"/>
                  </a:lnTo>
                  <a:close/>
                  <a:moveTo>
                    <a:pt x="277" y="687"/>
                  </a:moveTo>
                  <a:lnTo>
                    <a:pt x="275" y="687"/>
                  </a:lnTo>
                  <a:lnTo>
                    <a:pt x="277" y="687"/>
                  </a:lnTo>
                  <a:close/>
                  <a:moveTo>
                    <a:pt x="6" y="750"/>
                  </a:moveTo>
                  <a:lnTo>
                    <a:pt x="8" y="750"/>
                  </a:lnTo>
                  <a:lnTo>
                    <a:pt x="6" y="750"/>
                  </a:lnTo>
                  <a:close/>
                  <a:moveTo>
                    <a:pt x="23" y="791"/>
                  </a:moveTo>
                  <a:lnTo>
                    <a:pt x="23" y="793"/>
                  </a:lnTo>
                  <a:lnTo>
                    <a:pt x="23" y="791"/>
                  </a:lnTo>
                  <a:close/>
                  <a:moveTo>
                    <a:pt x="278" y="713"/>
                  </a:moveTo>
                  <a:lnTo>
                    <a:pt x="280" y="715"/>
                  </a:lnTo>
                  <a:lnTo>
                    <a:pt x="278" y="715"/>
                  </a:lnTo>
                  <a:lnTo>
                    <a:pt x="278" y="713"/>
                  </a:lnTo>
                  <a:close/>
                  <a:moveTo>
                    <a:pt x="283" y="699"/>
                  </a:moveTo>
                  <a:lnTo>
                    <a:pt x="285" y="699"/>
                  </a:lnTo>
                  <a:lnTo>
                    <a:pt x="285" y="701"/>
                  </a:lnTo>
                  <a:lnTo>
                    <a:pt x="283" y="701"/>
                  </a:lnTo>
                  <a:lnTo>
                    <a:pt x="283" y="699"/>
                  </a:lnTo>
                  <a:close/>
                  <a:moveTo>
                    <a:pt x="215" y="781"/>
                  </a:moveTo>
                  <a:lnTo>
                    <a:pt x="217" y="781"/>
                  </a:lnTo>
                  <a:lnTo>
                    <a:pt x="217" y="783"/>
                  </a:lnTo>
                  <a:lnTo>
                    <a:pt x="215" y="783"/>
                  </a:lnTo>
                  <a:lnTo>
                    <a:pt x="215" y="781"/>
                  </a:lnTo>
                  <a:close/>
                  <a:moveTo>
                    <a:pt x="214" y="808"/>
                  </a:moveTo>
                  <a:lnTo>
                    <a:pt x="215" y="808"/>
                  </a:lnTo>
                  <a:lnTo>
                    <a:pt x="215" y="810"/>
                  </a:lnTo>
                  <a:lnTo>
                    <a:pt x="214" y="810"/>
                  </a:lnTo>
                  <a:lnTo>
                    <a:pt x="214" y="808"/>
                  </a:lnTo>
                  <a:close/>
                  <a:moveTo>
                    <a:pt x="266" y="701"/>
                  </a:moveTo>
                  <a:lnTo>
                    <a:pt x="268" y="701"/>
                  </a:lnTo>
                  <a:lnTo>
                    <a:pt x="268" y="703"/>
                  </a:lnTo>
                  <a:lnTo>
                    <a:pt x="266" y="703"/>
                  </a:lnTo>
                  <a:lnTo>
                    <a:pt x="266" y="701"/>
                  </a:lnTo>
                  <a:close/>
                  <a:moveTo>
                    <a:pt x="219" y="776"/>
                  </a:moveTo>
                  <a:lnTo>
                    <a:pt x="219" y="778"/>
                  </a:lnTo>
                  <a:lnTo>
                    <a:pt x="219" y="776"/>
                  </a:lnTo>
                  <a:close/>
                  <a:moveTo>
                    <a:pt x="221" y="779"/>
                  </a:moveTo>
                  <a:lnTo>
                    <a:pt x="221" y="781"/>
                  </a:lnTo>
                  <a:lnTo>
                    <a:pt x="221" y="779"/>
                  </a:lnTo>
                  <a:close/>
                  <a:moveTo>
                    <a:pt x="25" y="815"/>
                  </a:moveTo>
                  <a:lnTo>
                    <a:pt x="25" y="813"/>
                  </a:lnTo>
                  <a:lnTo>
                    <a:pt x="25" y="815"/>
                  </a:lnTo>
                  <a:close/>
                  <a:moveTo>
                    <a:pt x="210" y="771"/>
                  </a:moveTo>
                  <a:lnTo>
                    <a:pt x="212" y="771"/>
                  </a:lnTo>
                  <a:lnTo>
                    <a:pt x="212" y="772"/>
                  </a:lnTo>
                  <a:lnTo>
                    <a:pt x="210" y="772"/>
                  </a:lnTo>
                  <a:lnTo>
                    <a:pt x="210" y="771"/>
                  </a:lnTo>
                  <a:close/>
                  <a:moveTo>
                    <a:pt x="187" y="936"/>
                  </a:moveTo>
                  <a:lnTo>
                    <a:pt x="187" y="937"/>
                  </a:lnTo>
                  <a:lnTo>
                    <a:pt x="187" y="936"/>
                  </a:lnTo>
                  <a:close/>
                  <a:moveTo>
                    <a:pt x="261" y="718"/>
                  </a:moveTo>
                  <a:lnTo>
                    <a:pt x="263" y="718"/>
                  </a:lnTo>
                  <a:lnTo>
                    <a:pt x="261" y="718"/>
                  </a:lnTo>
                  <a:close/>
                  <a:moveTo>
                    <a:pt x="244" y="434"/>
                  </a:moveTo>
                  <a:lnTo>
                    <a:pt x="244" y="436"/>
                  </a:lnTo>
                  <a:lnTo>
                    <a:pt x="244" y="434"/>
                  </a:lnTo>
                  <a:close/>
                  <a:moveTo>
                    <a:pt x="287" y="380"/>
                  </a:moveTo>
                  <a:lnTo>
                    <a:pt x="289" y="380"/>
                  </a:lnTo>
                  <a:lnTo>
                    <a:pt x="289" y="381"/>
                  </a:lnTo>
                  <a:lnTo>
                    <a:pt x="287" y="380"/>
                  </a:lnTo>
                  <a:close/>
                  <a:moveTo>
                    <a:pt x="270" y="718"/>
                  </a:moveTo>
                  <a:lnTo>
                    <a:pt x="270" y="720"/>
                  </a:lnTo>
                  <a:lnTo>
                    <a:pt x="270" y="718"/>
                  </a:lnTo>
                  <a:close/>
                  <a:moveTo>
                    <a:pt x="219" y="767"/>
                  </a:moveTo>
                  <a:lnTo>
                    <a:pt x="221" y="767"/>
                  </a:lnTo>
                  <a:lnTo>
                    <a:pt x="221" y="769"/>
                  </a:lnTo>
                  <a:lnTo>
                    <a:pt x="219" y="767"/>
                  </a:lnTo>
                  <a:close/>
                  <a:moveTo>
                    <a:pt x="272" y="720"/>
                  </a:moveTo>
                  <a:lnTo>
                    <a:pt x="272" y="721"/>
                  </a:lnTo>
                  <a:lnTo>
                    <a:pt x="272" y="720"/>
                  </a:lnTo>
                  <a:close/>
                  <a:moveTo>
                    <a:pt x="268" y="708"/>
                  </a:moveTo>
                  <a:lnTo>
                    <a:pt x="270" y="710"/>
                  </a:lnTo>
                  <a:lnTo>
                    <a:pt x="268" y="710"/>
                  </a:lnTo>
                  <a:lnTo>
                    <a:pt x="268" y="708"/>
                  </a:lnTo>
                  <a:close/>
                  <a:moveTo>
                    <a:pt x="272" y="713"/>
                  </a:moveTo>
                  <a:lnTo>
                    <a:pt x="272" y="715"/>
                  </a:lnTo>
                  <a:lnTo>
                    <a:pt x="272" y="713"/>
                  </a:lnTo>
                  <a:close/>
                  <a:moveTo>
                    <a:pt x="255" y="725"/>
                  </a:moveTo>
                  <a:lnTo>
                    <a:pt x="255" y="727"/>
                  </a:lnTo>
                  <a:lnTo>
                    <a:pt x="255" y="725"/>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11" name="Freeform 41">
              <a:extLst>
                <a:ext uri="{FF2B5EF4-FFF2-40B4-BE49-F238E27FC236}">
                  <a16:creationId xmlns:a16="http://schemas.microsoft.com/office/drawing/2014/main" id="{D43DBCD5-5F05-43D6-B4CC-6AA7F6D9D5A3}"/>
                </a:ext>
              </a:extLst>
            </p:cNvPr>
            <p:cNvSpPr>
              <a:spLocks noEditPoints="1"/>
            </p:cNvSpPr>
            <p:nvPr/>
          </p:nvSpPr>
          <p:spPr bwMode="gray">
            <a:xfrm>
              <a:off x="7827253" y="-317738"/>
              <a:ext cx="2118359" cy="2953853"/>
            </a:xfrm>
            <a:custGeom>
              <a:avLst/>
              <a:gdLst>
                <a:gd name="T0" fmla="*/ 130 w 715"/>
                <a:gd name="T1" fmla="*/ 978 h 997"/>
                <a:gd name="T2" fmla="*/ 49 w 715"/>
                <a:gd name="T3" fmla="*/ 971 h 997"/>
                <a:gd name="T4" fmla="*/ 52 w 715"/>
                <a:gd name="T5" fmla="*/ 886 h 997"/>
                <a:gd name="T6" fmla="*/ 27 w 715"/>
                <a:gd name="T7" fmla="*/ 879 h 997"/>
                <a:gd name="T8" fmla="*/ 44 w 715"/>
                <a:gd name="T9" fmla="*/ 837 h 997"/>
                <a:gd name="T10" fmla="*/ 20 w 715"/>
                <a:gd name="T11" fmla="*/ 803 h 997"/>
                <a:gd name="T12" fmla="*/ 78 w 715"/>
                <a:gd name="T13" fmla="*/ 787 h 997"/>
                <a:gd name="T14" fmla="*/ 18 w 715"/>
                <a:gd name="T15" fmla="*/ 762 h 997"/>
                <a:gd name="T16" fmla="*/ 45 w 715"/>
                <a:gd name="T17" fmla="*/ 721 h 997"/>
                <a:gd name="T18" fmla="*/ 57 w 715"/>
                <a:gd name="T19" fmla="*/ 702 h 997"/>
                <a:gd name="T20" fmla="*/ 108 w 715"/>
                <a:gd name="T21" fmla="*/ 672 h 997"/>
                <a:gd name="T22" fmla="*/ 142 w 715"/>
                <a:gd name="T23" fmla="*/ 655 h 997"/>
                <a:gd name="T24" fmla="*/ 180 w 715"/>
                <a:gd name="T25" fmla="*/ 621 h 997"/>
                <a:gd name="T26" fmla="*/ 176 w 715"/>
                <a:gd name="T27" fmla="*/ 592 h 997"/>
                <a:gd name="T28" fmla="*/ 217 w 715"/>
                <a:gd name="T29" fmla="*/ 532 h 997"/>
                <a:gd name="T30" fmla="*/ 241 w 715"/>
                <a:gd name="T31" fmla="*/ 498 h 997"/>
                <a:gd name="T32" fmla="*/ 258 w 715"/>
                <a:gd name="T33" fmla="*/ 461 h 997"/>
                <a:gd name="T34" fmla="*/ 272 w 715"/>
                <a:gd name="T35" fmla="*/ 403 h 997"/>
                <a:gd name="T36" fmla="*/ 324 w 715"/>
                <a:gd name="T37" fmla="*/ 337 h 997"/>
                <a:gd name="T38" fmla="*/ 336 w 715"/>
                <a:gd name="T39" fmla="*/ 297 h 997"/>
                <a:gd name="T40" fmla="*/ 350 w 715"/>
                <a:gd name="T41" fmla="*/ 262 h 997"/>
                <a:gd name="T42" fmla="*/ 387 w 715"/>
                <a:gd name="T43" fmla="*/ 240 h 997"/>
                <a:gd name="T44" fmla="*/ 413 w 715"/>
                <a:gd name="T45" fmla="*/ 160 h 997"/>
                <a:gd name="T46" fmla="*/ 457 w 715"/>
                <a:gd name="T47" fmla="*/ 124 h 997"/>
                <a:gd name="T48" fmla="*/ 498 w 715"/>
                <a:gd name="T49" fmla="*/ 105 h 997"/>
                <a:gd name="T50" fmla="*/ 566 w 715"/>
                <a:gd name="T51" fmla="*/ 39 h 997"/>
                <a:gd name="T52" fmla="*/ 608 w 715"/>
                <a:gd name="T53" fmla="*/ 24 h 997"/>
                <a:gd name="T54" fmla="*/ 649 w 715"/>
                <a:gd name="T55" fmla="*/ 15 h 997"/>
                <a:gd name="T56" fmla="*/ 690 w 715"/>
                <a:gd name="T57" fmla="*/ 93 h 997"/>
                <a:gd name="T58" fmla="*/ 591 w 715"/>
                <a:gd name="T59" fmla="*/ 151 h 997"/>
                <a:gd name="T60" fmla="*/ 355 w 715"/>
                <a:gd name="T61" fmla="*/ 313 h 997"/>
                <a:gd name="T62" fmla="*/ 260 w 715"/>
                <a:gd name="T63" fmla="*/ 690 h 997"/>
                <a:gd name="T64" fmla="*/ 214 w 715"/>
                <a:gd name="T65" fmla="*/ 912 h 997"/>
                <a:gd name="T66" fmla="*/ 346 w 715"/>
                <a:gd name="T67" fmla="*/ 219 h 997"/>
                <a:gd name="T68" fmla="*/ 385 w 715"/>
                <a:gd name="T69" fmla="*/ 158 h 997"/>
                <a:gd name="T70" fmla="*/ 501 w 715"/>
                <a:gd name="T71" fmla="*/ 66 h 997"/>
                <a:gd name="T72" fmla="*/ 314 w 715"/>
                <a:gd name="T73" fmla="*/ 228 h 997"/>
                <a:gd name="T74" fmla="*/ 426 w 715"/>
                <a:gd name="T75" fmla="*/ 121 h 997"/>
                <a:gd name="T76" fmla="*/ 314 w 715"/>
                <a:gd name="T77" fmla="*/ 248 h 997"/>
                <a:gd name="T78" fmla="*/ 139 w 715"/>
                <a:gd name="T79" fmla="*/ 600 h 997"/>
                <a:gd name="T80" fmla="*/ 504 w 715"/>
                <a:gd name="T81" fmla="*/ 83 h 997"/>
                <a:gd name="T82" fmla="*/ 113 w 715"/>
                <a:gd name="T83" fmla="*/ 614 h 997"/>
                <a:gd name="T84" fmla="*/ 56 w 715"/>
                <a:gd name="T85" fmla="*/ 687 h 997"/>
                <a:gd name="T86" fmla="*/ 261 w 715"/>
                <a:gd name="T87" fmla="*/ 415 h 997"/>
                <a:gd name="T88" fmla="*/ 45 w 715"/>
                <a:gd name="T89" fmla="*/ 692 h 997"/>
                <a:gd name="T90" fmla="*/ 460 w 715"/>
                <a:gd name="T91" fmla="*/ 115 h 997"/>
                <a:gd name="T92" fmla="*/ 13 w 715"/>
                <a:gd name="T93" fmla="*/ 866 h 997"/>
                <a:gd name="T94" fmla="*/ 113 w 715"/>
                <a:gd name="T95" fmla="*/ 634 h 997"/>
                <a:gd name="T96" fmla="*/ 85 w 715"/>
                <a:gd name="T97" fmla="*/ 655 h 997"/>
                <a:gd name="T98" fmla="*/ 329 w 715"/>
                <a:gd name="T99" fmla="*/ 280 h 997"/>
                <a:gd name="T100" fmla="*/ 142 w 715"/>
                <a:gd name="T101" fmla="*/ 966 h 997"/>
                <a:gd name="T102" fmla="*/ 205 w 715"/>
                <a:gd name="T103" fmla="*/ 895 h 997"/>
                <a:gd name="T104" fmla="*/ 11 w 715"/>
                <a:gd name="T105" fmla="*/ 728 h 997"/>
                <a:gd name="T106" fmla="*/ 251 w 715"/>
                <a:gd name="T107" fmla="*/ 435 h 997"/>
                <a:gd name="T108" fmla="*/ 113 w 715"/>
                <a:gd name="T109" fmla="*/ 643 h 997"/>
                <a:gd name="T110" fmla="*/ 1 w 715"/>
                <a:gd name="T111" fmla="*/ 794 h 997"/>
                <a:gd name="T112" fmla="*/ 295 w 715"/>
                <a:gd name="T113" fmla="*/ 352 h 997"/>
                <a:gd name="T114" fmla="*/ 256 w 715"/>
                <a:gd name="T115" fmla="*/ 486 h 997"/>
                <a:gd name="T116" fmla="*/ 200 w 715"/>
                <a:gd name="T117" fmla="*/ 918 h 997"/>
                <a:gd name="T118" fmla="*/ 39 w 715"/>
                <a:gd name="T119" fmla="*/ 927 h 997"/>
                <a:gd name="T120" fmla="*/ 205 w 715"/>
                <a:gd name="T121" fmla="*/ 537 h 997"/>
                <a:gd name="T122" fmla="*/ 10 w 715"/>
                <a:gd name="T123" fmla="*/ 808 h 997"/>
                <a:gd name="T124" fmla="*/ 486 w 715"/>
                <a:gd name="T125" fmla="*/ 71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15" h="997">
                  <a:moveTo>
                    <a:pt x="195" y="922"/>
                  </a:moveTo>
                  <a:lnTo>
                    <a:pt x="195" y="918"/>
                  </a:lnTo>
                  <a:lnTo>
                    <a:pt x="195" y="917"/>
                  </a:lnTo>
                  <a:lnTo>
                    <a:pt x="193" y="918"/>
                  </a:lnTo>
                  <a:lnTo>
                    <a:pt x="195" y="920"/>
                  </a:lnTo>
                  <a:lnTo>
                    <a:pt x="195" y="923"/>
                  </a:lnTo>
                  <a:lnTo>
                    <a:pt x="193" y="922"/>
                  </a:lnTo>
                  <a:lnTo>
                    <a:pt x="193" y="920"/>
                  </a:lnTo>
                  <a:lnTo>
                    <a:pt x="193" y="918"/>
                  </a:lnTo>
                  <a:lnTo>
                    <a:pt x="193" y="917"/>
                  </a:lnTo>
                  <a:lnTo>
                    <a:pt x="193" y="918"/>
                  </a:lnTo>
                  <a:lnTo>
                    <a:pt x="192" y="920"/>
                  </a:lnTo>
                  <a:lnTo>
                    <a:pt x="193" y="922"/>
                  </a:lnTo>
                  <a:lnTo>
                    <a:pt x="192" y="923"/>
                  </a:lnTo>
                  <a:lnTo>
                    <a:pt x="190" y="925"/>
                  </a:lnTo>
                  <a:lnTo>
                    <a:pt x="190" y="923"/>
                  </a:lnTo>
                  <a:lnTo>
                    <a:pt x="192" y="923"/>
                  </a:lnTo>
                  <a:lnTo>
                    <a:pt x="190" y="922"/>
                  </a:lnTo>
                  <a:lnTo>
                    <a:pt x="188" y="923"/>
                  </a:lnTo>
                  <a:lnTo>
                    <a:pt x="187" y="925"/>
                  </a:lnTo>
                  <a:lnTo>
                    <a:pt x="187" y="922"/>
                  </a:lnTo>
                  <a:lnTo>
                    <a:pt x="187" y="923"/>
                  </a:lnTo>
                  <a:lnTo>
                    <a:pt x="185" y="922"/>
                  </a:lnTo>
                  <a:lnTo>
                    <a:pt x="185" y="923"/>
                  </a:lnTo>
                  <a:lnTo>
                    <a:pt x="187" y="925"/>
                  </a:lnTo>
                  <a:lnTo>
                    <a:pt x="187" y="927"/>
                  </a:lnTo>
                  <a:lnTo>
                    <a:pt x="185" y="927"/>
                  </a:lnTo>
                  <a:lnTo>
                    <a:pt x="185" y="929"/>
                  </a:lnTo>
                  <a:lnTo>
                    <a:pt x="185" y="927"/>
                  </a:lnTo>
                  <a:lnTo>
                    <a:pt x="183" y="927"/>
                  </a:lnTo>
                  <a:lnTo>
                    <a:pt x="183" y="929"/>
                  </a:lnTo>
                  <a:lnTo>
                    <a:pt x="181" y="927"/>
                  </a:lnTo>
                  <a:lnTo>
                    <a:pt x="181" y="929"/>
                  </a:lnTo>
                  <a:lnTo>
                    <a:pt x="181" y="927"/>
                  </a:lnTo>
                  <a:lnTo>
                    <a:pt x="181" y="929"/>
                  </a:lnTo>
                  <a:lnTo>
                    <a:pt x="180" y="927"/>
                  </a:lnTo>
                  <a:lnTo>
                    <a:pt x="180" y="929"/>
                  </a:lnTo>
                  <a:lnTo>
                    <a:pt x="178" y="927"/>
                  </a:lnTo>
                  <a:lnTo>
                    <a:pt x="180" y="927"/>
                  </a:lnTo>
                  <a:lnTo>
                    <a:pt x="180" y="925"/>
                  </a:lnTo>
                  <a:lnTo>
                    <a:pt x="178" y="922"/>
                  </a:lnTo>
                  <a:lnTo>
                    <a:pt x="178" y="923"/>
                  </a:lnTo>
                  <a:lnTo>
                    <a:pt x="176" y="920"/>
                  </a:lnTo>
                  <a:lnTo>
                    <a:pt x="178" y="920"/>
                  </a:lnTo>
                  <a:lnTo>
                    <a:pt x="178" y="918"/>
                  </a:lnTo>
                  <a:lnTo>
                    <a:pt x="176" y="922"/>
                  </a:lnTo>
                  <a:lnTo>
                    <a:pt x="176" y="923"/>
                  </a:lnTo>
                  <a:lnTo>
                    <a:pt x="175" y="920"/>
                  </a:lnTo>
                  <a:lnTo>
                    <a:pt x="175" y="918"/>
                  </a:lnTo>
                  <a:lnTo>
                    <a:pt x="173" y="918"/>
                  </a:lnTo>
                  <a:lnTo>
                    <a:pt x="175" y="922"/>
                  </a:lnTo>
                  <a:lnTo>
                    <a:pt x="173" y="922"/>
                  </a:lnTo>
                  <a:lnTo>
                    <a:pt x="171" y="918"/>
                  </a:lnTo>
                  <a:lnTo>
                    <a:pt x="171" y="917"/>
                  </a:lnTo>
                  <a:lnTo>
                    <a:pt x="170" y="917"/>
                  </a:lnTo>
                  <a:lnTo>
                    <a:pt x="168" y="917"/>
                  </a:lnTo>
                  <a:lnTo>
                    <a:pt x="170" y="917"/>
                  </a:lnTo>
                  <a:lnTo>
                    <a:pt x="168" y="918"/>
                  </a:lnTo>
                  <a:lnTo>
                    <a:pt x="171" y="920"/>
                  </a:lnTo>
                  <a:lnTo>
                    <a:pt x="171" y="922"/>
                  </a:lnTo>
                  <a:lnTo>
                    <a:pt x="175" y="923"/>
                  </a:lnTo>
                  <a:lnTo>
                    <a:pt x="176" y="925"/>
                  </a:lnTo>
                  <a:lnTo>
                    <a:pt x="176" y="927"/>
                  </a:lnTo>
                  <a:lnTo>
                    <a:pt x="175" y="925"/>
                  </a:lnTo>
                  <a:lnTo>
                    <a:pt x="175" y="927"/>
                  </a:lnTo>
                  <a:lnTo>
                    <a:pt x="173" y="925"/>
                  </a:lnTo>
                  <a:lnTo>
                    <a:pt x="173" y="927"/>
                  </a:lnTo>
                  <a:lnTo>
                    <a:pt x="175" y="927"/>
                  </a:lnTo>
                  <a:lnTo>
                    <a:pt x="173" y="927"/>
                  </a:lnTo>
                  <a:lnTo>
                    <a:pt x="175" y="927"/>
                  </a:lnTo>
                  <a:lnTo>
                    <a:pt x="173" y="929"/>
                  </a:lnTo>
                  <a:lnTo>
                    <a:pt x="171" y="927"/>
                  </a:lnTo>
                  <a:lnTo>
                    <a:pt x="171" y="929"/>
                  </a:lnTo>
                  <a:lnTo>
                    <a:pt x="170" y="929"/>
                  </a:lnTo>
                  <a:lnTo>
                    <a:pt x="170" y="930"/>
                  </a:lnTo>
                  <a:lnTo>
                    <a:pt x="171" y="930"/>
                  </a:lnTo>
                  <a:lnTo>
                    <a:pt x="170" y="930"/>
                  </a:lnTo>
                  <a:lnTo>
                    <a:pt x="168" y="930"/>
                  </a:lnTo>
                  <a:lnTo>
                    <a:pt x="166" y="930"/>
                  </a:lnTo>
                  <a:lnTo>
                    <a:pt x="164" y="930"/>
                  </a:lnTo>
                  <a:lnTo>
                    <a:pt x="166" y="930"/>
                  </a:lnTo>
                  <a:lnTo>
                    <a:pt x="166" y="932"/>
                  </a:lnTo>
                  <a:lnTo>
                    <a:pt x="164" y="932"/>
                  </a:lnTo>
                  <a:lnTo>
                    <a:pt x="164" y="934"/>
                  </a:lnTo>
                  <a:lnTo>
                    <a:pt x="164" y="932"/>
                  </a:lnTo>
                  <a:lnTo>
                    <a:pt x="163" y="932"/>
                  </a:lnTo>
                  <a:lnTo>
                    <a:pt x="161" y="934"/>
                  </a:lnTo>
                  <a:lnTo>
                    <a:pt x="163" y="934"/>
                  </a:lnTo>
                  <a:lnTo>
                    <a:pt x="161" y="934"/>
                  </a:lnTo>
                  <a:lnTo>
                    <a:pt x="164" y="932"/>
                  </a:lnTo>
                  <a:lnTo>
                    <a:pt x="164" y="934"/>
                  </a:lnTo>
                  <a:lnTo>
                    <a:pt x="163" y="934"/>
                  </a:lnTo>
                  <a:lnTo>
                    <a:pt x="163" y="935"/>
                  </a:lnTo>
                  <a:lnTo>
                    <a:pt x="161" y="935"/>
                  </a:lnTo>
                  <a:lnTo>
                    <a:pt x="159" y="934"/>
                  </a:lnTo>
                  <a:lnTo>
                    <a:pt x="159" y="935"/>
                  </a:lnTo>
                  <a:lnTo>
                    <a:pt x="158" y="937"/>
                  </a:lnTo>
                  <a:lnTo>
                    <a:pt x="159" y="937"/>
                  </a:lnTo>
                  <a:lnTo>
                    <a:pt x="161" y="937"/>
                  </a:lnTo>
                  <a:lnTo>
                    <a:pt x="164" y="935"/>
                  </a:lnTo>
                  <a:lnTo>
                    <a:pt x="166" y="937"/>
                  </a:lnTo>
                  <a:lnTo>
                    <a:pt x="163" y="939"/>
                  </a:lnTo>
                  <a:lnTo>
                    <a:pt x="161" y="940"/>
                  </a:lnTo>
                  <a:lnTo>
                    <a:pt x="163" y="940"/>
                  </a:lnTo>
                  <a:lnTo>
                    <a:pt x="164" y="939"/>
                  </a:lnTo>
                  <a:lnTo>
                    <a:pt x="163" y="940"/>
                  </a:lnTo>
                  <a:lnTo>
                    <a:pt x="164" y="940"/>
                  </a:lnTo>
                  <a:lnTo>
                    <a:pt x="163" y="940"/>
                  </a:lnTo>
                  <a:lnTo>
                    <a:pt x="163" y="942"/>
                  </a:lnTo>
                  <a:lnTo>
                    <a:pt x="163" y="940"/>
                  </a:lnTo>
                  <a:lnTo>
                    <a:pt x="161" y="942"/>
                  </a:lnTo>
                  <a:lnTo>
                    <a:pt x="159" y="944"/>
                  </a:lnTo>
                  <a:lnTo>
                    <a:pt x="158" y="942"/>
                  </a:lnTo>
                  <a:lnTo>
                    <a:pt x="158" y="944"/>
                  </a:lnTo>
                  <a:lnTo>
                    <a:pt x="156" y="944"/>
                  </a:lnTo>
                  <a:lnTo>
                    <a:pt x="154" y="944"/>
                  </a:lnTo>
                  <a:lnTo>
                    <a:pt x="154" y="942"/>
                  </a:lnTo>
                  <a:lnTo>
                    <a:pt x="154" y="944"/>
                  </a:lnTo>
                  <a:lnTo>
                    <a:pt x="153" y="942"/>
                  </a:lnTo>
                  <a:lnTo>
                    <a:pt x="151" y="944"/>
                  </a:lnTo>
                  <a:lnTo>
                    <a:pt x="151" y="942"/>
                  </a:lnTo>
                  <a:lnTo>
                    <a:pt x="151" y="944"/>
                  </a:lnTo>
                  <a:lnTo>
                    <a:pt x="153" y="946"/>
                  </a:lnTo>
                  <a:lnTo>
                    <a:pt x="154" y="946"/>
                  </a:lnTo>
                  <a:lnTo>
                    <a:pt x="158" y="944"/>
                  </a:lnTo>
                  <a:lnTo>
                    <a:pt x="158" y="946"/>
                  </a:lnTo>
                  <a:lnTo>
                    <a:pt x="156" y="946"/>
                  </a:lnTo>
                  <a:lnTo>
                    <a:pt x="154" y="947"/>
                  </a:lnTo>
                  <a:lnTo>
                    <a:pt x="153" y="947"/>
                  </a:lnTo>
                  <a:lnTo>
                    <a:pt x="153" y="946"/>
                  </a:lnTo>
                  <a:lnTo>
                    <a:pt x="151" y="947"/>
                  </a:lnTo>
                  <a:lnTo>
                    <a:pt x="149" y="947"/>
                  </a:lnTo>
                  <a:lnTo>
                    <a:pt x="149" y="949"/>
                  </a:lnTo>
                  <a:lnTo>
                    <a:pt x="149" y="947"/>
                  </a:lnTo>
                  <a:lnTo>
                    <a:pt x="147" y="949"/>
                  </a:lnTo>
                  <a:lnTo>
                    <a:pt x="149" y="947"/>
                  </a:lnTo>
                  <a:lnTo>
                    <a:pt x="151" y="947"/>
                  </a:lnTo>
                  <a:lnTo>
                    <a:pt x="153" y="947"/>
                  </a:lnTo>
                  <a:lnTo>
                    <a:pt x="154" y="947"/>
                  </a:lnTo>
                  <a:lnTo>
                    <a:pt x="156" y="947"/>
                  </a:lnTo>
                  <a:lnTo>
                    <a:pt x="156" y="949"/>
                  </a:lnTo>
                  <a:lnTo>
                    <a:pt x="154" y="949"/>
                  </a:lnTo>
                  <a:lnTo>
                    <a:pt x="153" y="949"/>
                  </a:lnTo>
                  <a:lnTo>
                    <a:pt x="153" y="951"/>
                  </a:lnTo>
                  <a:lnTo>
                    <a:pt x="151" y="951"/>
                  </a:lnTo>
                  <a:lnTo>
                    <a:pt x="151" y="952"/>
                  </a:lnTo>
                  <a:lnTo>
                    <a:pt x="151" y="951"/>
                  </a:lnTo>
                  <a:lnTo>
                    <a:pt x="151" y="952"/>
                  </a:lnTo>
                  <a:lnTo>
                    <a:pt x="149" y="952"/>
                  </a:lnTo>
                  <a:lnTo>
                    <a:pt x="147" y="952"/>
                  </a:lnTo>
                  <a:lnTo>
                    <a:pt x="149" y="952"/>
                  </a:lnTo>
                  <a:lnTo>
                    <a:pt x="147" y="954"/>
                  </a:lnTo>
                  <a:lnTo>
                    <a:pt x="147" y="952"/>
                  </a:lnTo>
                  <a:lnTo>
                    <a:pt x="146" y="952"/>
                  </a:lnTo>
                  <a:lnTo>
                    <a:pt x="146" y="954"/>
                  </a:lnTo>
                  <a:lnTo>
                    <a:pt x="146" y="956"/>
                  </a:lnTo>
                  <a:lnTo>
                    <a:pt x="147" y="954"/>
                  </a:lnTo>
                  <a:lnTo>
                    <a:pt x="146" y="956"/>
                  </a:lnTo>
                  <a:lnTo>
                    <a:pt x="147" y="957"/>
                  </a:lnTo>
                  <a:lnTo>
                    <a:pt x="146" y="957"/>
                  </a:lnTo>
                  <a:lnTo>
                    <a:pt x="144" y="959"/>
                  </a:lnTo>
                  <a:lnTo>
                    <a:pt x="144" y="961"/>
                  </a:lnTo>
                  <a:lnTo>
                    <a:pt x="142" y="961"/>
                  </a:lnTo>
                  <a:lnTo>
                    <a:pt x="144" y="959"/>
                  </a:lnTo>
                  <a:lnTo>
                    <a:pt x="142" y="959"/>
                  </a:lnTo>
                  <a:lnTo>
                    <a:pt x="142" y="961"/>
                  </a:lnTo>
                  <a:lnTo>
                    <a:pt x="142" y="963"/>
                  </a:lnTo>
                  <a:lnTo>
                    <a:pt x="141" y="963"/>
                  </a:lnTo>
                  <a:lnTo>
                    <a:pt x="139" y="964"/>
                  </a:lnTo>
                  <a:lnTo>
                    <a:pt x="137" y="964"/>
                  </a:lnTo>
                  <a:lnTo>
                    <a:pt x="137" y="966"/>
                  </a:lnTo>
                  <a:lnTo>
                    <a:pt x="137" y="968"/>
                  </a:lnTo>
                  <a:lnTo>
                    <a:pt x="137" y="969"/>
                  </a:lnTo>
                  <a:lnTo>
                    <a:pt x="136" y="969"/>
                  </a:lnTo>
                  <a:lnTo>
                    <a:pt x="136" y="971"/>
                  </a:lnTo>
                  <a:lnTo>
                    <a:pt x="134" y="973"/>
                  </a:lnTo>
                  <a:lnTo>
                    <a:pt x="134" y="969"/>
                  </a:lnTo>
                  <a:lnTo>
                    <a:pt x="134" y="971"/>
                  </a:lnTo>
                  <a:lnTo>
                    <a:pt x="132" y="973"/>
                  </a:lnTo>
                  <a:lnTo>
                    <a:pt x="130" y="973"/>
                  </a:lnTo>
                  <a:lnTo>
                    <a:pt x="130" y="974"/>
                  </a:lnTo>
                  <a:lnTo>
                    <a:pt x="130" y="973"/>
                  </a:lnTo>
                  <a:lnTo>
                    <a:pt x="130" y="974"/>
                  </a:lnTo>
                  <a:lnTo>
                    <a:pt x="129" y="976"/>
                  </a:lnTo>
                  <a:lnTo>
                    <a:pt x="130" y="976"/>
                  </a:lnTo>
                  <a:lnTo>
                    <a:pt x="130" y="974"/>
                  </a:lnTo>
                  <a:lnTo>
                    <a:pt x="130" y="978"/>
                  </a:lnTo>
                  <a:lnTo>
                    <a:pt x="130" y="976"/>
                  </a:lnTo>
                  <a:lnTo>
                    <a:pt x="129" y="976"/>
                  </a:lnTo>
                  <a:lnTo>
                    <a:pt x="129" y="978"/>
                  </a:lnTo>
                  <a:lnTo>
                    <a:pt x="129" y="976"/>
                  </a:lnTo>
                  <a:lnTo>
                    <a:pt x="127" y="976"/>
                  </a:lnTo>
                  <a:lnTo>
                    <a:pt x="127" y="974"/>
                  </a:lnTo>
                  <a:lnTo>
                    <a:pt x="125" y="976"/>
                  </a:lnTo>
                  <a:lnTo>
                    <a:pt x="127" y="978"/>
                  </a:lnTo>
                  <a:lnTo>
                    <a:pt x="125" y="978"/>
                  </a:lnTo>
                  <a:lnTo>
                    <a:pt x="124" y="978"/>
                  </a:lnTo>
                  <a:lnTo>
                    <a:pt x="124" y="980"/>
                  </a:lnTo>
                  <a:lnTo>
                    <a:pt x="122" y="980"/>
                  </a:lnTo>
                  <a:lnTo>
                    <a:pt x="122" y="981"/>
                  </a:lnTo>
                  <a:lnTo>
                    <a:pt x="120" y="980"/>
                  </a:lnTo>
                  <a:lnTo>
                    <a:pt x="120" y="981"/>
                  </a:lnTo>
                  <a:lnTo>
                    <a:pt x="122" y="981"/>
                  </a:lnTo>
                  <a:lnTo>
                    <a:pt x="120" y="983"/>
                  </a:lnTo>
                  <a:lnTo>
                    <a:pt x="122" y="983"/>
                  </a:lnTo>
                  <a:lnTo>
                    <a:pt x="120" y="983"/>
                  </a:lnTo>
                  <a:lnTo>
                    <a:pt x="119" y="981"/>
                  </a:lnTo>
                  <a:lnTo>
                    <a:pt x="119" y="983"/>
                  </a:lnTo>
                  <a:lnTo>
                    <a:pt x="120" y="983"/>
                  </a:lnTo>
                  <a:lnTo>
                    <a:pt x="120" y="985"/>
                  </a:lnTo>
                  <a:lnTo>
                    <a:pt x="119" y="985"/>
                  </a:lnTo>
                  <a:lnTo>
                    <a:pt x="120" y="986"/>
                  </a:lnTo>
                  <a:lnTo>
                    <a:pt x="119" y="986"/>
                  </a:lnTo>
                  <a:lnTo>
                    <a:pt x="120" y="986"/>
                  </a:lnTo>
                  <a:lnTo>
                    <a:pt x="119" y="986"/>
                  </a:lnTo>
                  <a:lnTo>
                    <a:pt x="119" y="985"/>
                  </a:lnTo>
                  <a:lnTo>
                    <a:pt x="119" y="983"/>
                  </a:lnTo>
                  <a:lnTo>
                    <a:pt x="117" y="983"/>
                  </a:lnTo>
                  <a:lnTo>
                    <a:pt x="117" y="986"/>
                  </a:lnTo>
                  <a:lnTo>
                    <a:pt x="115" y="986"/>
                  </a:lnTo>
                  <a:lnTo>
                    <a:pt x="117" y="986"/>
                  </a:lnTo>
                  <a:lnTo>
                    <a:pt x="115" y="988"/>
                  </a:lnTo>
                  <a:lnTo>
                    <a:pt x="115" y="986"/>
                  </a:lnTo>
                  <a:lnTo>
                    <a:pt x="115" y="988"/>
                  </a:lnTo>
                  <a:lnTo>
                    <a:pt x="113" y="986"/>
                  </a:lnTo>
                  <a:lnTo>
                    <a:pt x="113" y="985"/>
                  </a:lnTo>
                  <a:lnTo>
                    <a:pt x="113" y="986"/>
                  </a:lnTo>
                  <a:lnTo>
                    <a:pt x="113" y="985"/>
                  </a:lnTo>
                  <a:lnTo>
                    <a:pt x="115" y="983"/>
                  </a:lnTo>
                  <a:lnTo>
                    <a:pt x="113" y="983"/>
                  </a:lnTo>
                  <a:lnTo>
                    <a:pt x="113" y="981"/>
                  </a:lnTo>
                  <a:lnTo>
                    <a:pt x="112" y="980"/>
                  </a:lnTo>
                  <a:lnTo>
                    <a:pt x="112" y="978"/>
                  </a:lnTo>
                  <a:lnTo>
                    <a:pt x="113" y="981"/>
                  </a:lnTo>
                  <a:lnTo>
                    <a:pt x="112" y="981"/>
                  </a:lnTo>
                  <a:lnTo>
                    <a:pt x="112" y="983"/>
                  </a:lnTo>
                  <a:lnTo>
                    <a:pt x="112" y="985"/>
                  </a:lnTo>
                  <a:lnTo>
                    <a:pt x="110" y="985"/>
                  </a:lnTo>
                  <a:lnTo>
                    <a:pt x="108" y="986"/>
                  </a:lnTo>
                  <a:lnTo>
                    <a:pt x="110" y="988"/>
                  </a:lnTo>
                  <a:lnTo>
                    <a:pt x="108" y="988"/>
                  </a:lnTo>
                  <a:lnTo>
                    <a:pt x="108" y="990"/>
                  </a:lnTo>
                  <a:lnTo>
                    <a:pt x="108" y="988"/>
                  </a:lnTo>
                  <a:lnTo>
                    <a:pt x="107" y="990"/>
                  </a:lnTo>
                  <a:lnTo>
                    <a:pt x="105" y="990"/>
                  </a:lnTo>
                  <a:lnTo>
                    <a:pt x="107" y="990"/>
                  </a:lnTo>
                  <a:lnTo>
                    <a:pt x="105" y="990"/>
                  </a:lnTo>
                  <a:lnTo>
                    <a:pt x="103" y="990"/>
                  </a:lnTo>
                  <a:lnTo>
                    <a:pt x="103" y="988"/>
                  </a:lnTo>
                  <a:lnTo>
                    <a:pt x="102" y="990"/>
                  </a:lnTo>
                  <a:lnTo>
                    <a:pt x="100" y="990"/>
                  </a:lnTo>
                  <a:lnTo>
                    <a:pt x="100" y="992"/>
                  </a:lnTo>
                  <a:lnTo>
                    <a:pt x="98" y="988"/>
                  </a:lnTo>
                  <a:lnTo>
                    <a:pt x="100" y="990"/>
                  </a:lnTo>
                  <a:lnTo>
                    <a:pt x="98" y="986"/>
                  </a:lnTo>
                  <a:lnTo>
                    <a:pt x="98" y="990"/>
                  </a:lnTo>
                  <a:lnTo>
                    <a:pt x="100" y="992"/>
                  </a:lnTo>
                  <a:lnTo>
                    <a:pt x="98" y="992"/>
                  </a:lnTo>
                  <a:lnTo>
                    <a:pt x="98" y="993"/>
                  </a:lnTo>
                  <a:lnTo>
                    <a:pt x="96" y="993"/>
                  </a:lnTo>
                  <a:lnTo>
                    <a:pt x="96" y="992"/>
                  </a:lnTo>
                  <a:lnTo>
                    <a:pt x="96" y="993"/>
                  </a:lnTo>
                  <a:lnTo>
                    <a:pt x="93" y="993"/>
                  </a:lnTo>
                  <a:lnTo>
                    <a:pt x="91" y="993"/>
                  </a:lnTo>
                  <a:lnTo>
                    <a:pt x="90" y="993"/>
                  </a:lnTo>
                  <a:lnTo>
                    <a:pt x="90" y="992"/>
                  </a:lnTo>
                  <a:lnTo>
                    <a:pt x="88" y="992"/>
                  </a:lnTo>
                  <a:lnTo>
                    <a:pt x="90" y="992"/>
                  </a:lnTo>
                  <a:lnTo>
                    <a:pt x="88" y="992"/>
                  </a:lnTo>
                  <a:lnTo>
                    <a:pt x="90" y="993"/>
                  </a:lnTo>
                  <a:lnTo>
                    <a:pt x="88" y="993"/>
                  </a:lnTo>
                  <a:lnTo>
                    <a:pt x="90" y="993"/>
                  </a:lnTo>
                  <a:lnTo>
                    <a:pt x="88" y="993"/>
                  </a:lnTo>
                  <a:lnTo>
                    <a:pt x="86" y="992"/>
                  </a:lnTo>
                  <a:lnTo>
                    <a:pt x="85" y="992"/>
                  </a:lnTo>
                  <a:lnTo>
                    <a:pt x="83" y="992"/>
                  </a:lnTo>
                  <a:lnTo>
                    <a:pt x="85" y="990"/>
                  </a:lnTo>
                  <a:lnTo>
                    <a:pt x="83" y="990"/>
                  </a:lnTo>
                  <a:lnTo>
                    <a:pt x="81" y="992"/>
                  </a:lnTo>
                  <a:lnTo>
                    <a:pt x="79" y="990"/>
                  </a:lnTo>
                  <a:lnTo>
                    <a:pt x="79" y="992"/>
                  </a:lnTo>
                  <a:lnTo>
                    <a:pt x="79" y="990"/>
                  </a:lnTo>
                  <a:lnTo>
                    <a:pt x="79" y="992"/>
                  </a:lnTo>
                  <a:lnTo>
                    <a:pt x="78" y="990"/>
                  </a:lnTo>
                  <a:lnTo>
                    <a:pt x="79" y="988"/>
                  </a:lnTo>
                  <a:lnTo>
                    <a:pt x="79" y="986"/>
                  </a:lnTo>
                  <a:lnTo>
                    <a:pt x="81" y="986"/>
                  </a:lnTo>
                  <a:lnTo>
                    <a:pt x="79" y="985"/>
                  </a:lnTo>
                  <a:lnTo>
                    <a:pt x="79" y="986"/>
                  </a:lnTo>
                  <a:lnTo>
                    <a:pt x="79" y="988"/>
                  </a:lnTo>
                  <a:lnTo>
                    <a:pt x="78" y="988"/>
                  </a:lnTo>
                  <a:lnTo>
                    <a:pt x="76" y="988"/>
                  </a:lnTo>
                  <a:lnTo>
                    <a:pt x="76" y="990"/>
                  </a:lnTo>
                  <a:lnTo>
                    <a:pt x="73" y="992"/>
                  </a:lnTo>
                  <a:lnTo>
                    <a:pt x="73" y="990"/>
                  </a:lnTo>
                  <a:lnTo>
                    <a:pt x="74" y="990"/>
                  </a:lnTo>
                  <a:lnTo>
                    <a:pt x="74" y="988"/>
                  </a:lnTo>
                  <a:lnTo>
                    <a:pt x="76" y="985"/>
                  </a:lnTo>
                  <a:lnTo>
                    <a:pt x="74" y="986"/>
                  </a:lnTo>
                  <a:lnTo>
                    <a:pt x="74" y="988"/>
                  </a:lnTo>
                  <a:lnTo>
                    <a:pt x="71" y="990"/>
                  </a:lnTo>
                  <a:lnTo>
                    <a:pt x="73" y="988"/>
                  </a:lnTo>
                  <a:lnTo>
                    <a:pt x="71" y="988"/>
                  </a:lnTo>
                  <a:lnTo>
                    <a:pt x="73" y="988"/>
                  </a:lnTo>
                  <a:lnTo>
                    <a:pt x="71" y="988"/>
                  </a:lnTo>
                  <a:lnTo>
                    <a:pt x="71" y="986"/>
                  </a:lnTo>
                  <a:lnTo>
                    <a:pt x="71" y="988"/>
                  </a:lnTo>
                  <a:lnTo>
                    <a:pt x="69" y="988"/>
                  </a:lnTo>
                  <a:lnTo>
                    <a:pt x="71" y="988"/>
                  </a:lnTo>
                  <a:lnTo>
                    <a:pt x="69" y="988"/>
                  </a:lnTo>
                  <a:lnTo>
                    <a:pt x="66" y="986"/>
                  </a:lnTo>
                  <a:lnTo>
                    <a:pt x="68" y="986"/>
                  </a:lnTo>
                  <a:lnTo>
                    <a:pt x="69" y="985"/>
                  </a:lnTo>
                  <a:lnTo>
                    <a:pt x="71" y="986"/>
                  </a:lnTo>
                  <a:lnTo>
                    <a:pt x="74" y="985"/>
                  </a:lnTo>
                  <a:lnTo>
                    <a:pt x="74" y="983"/>
                  </a:lnTo>
                  <a:lnTo>
                    <a:pt x="76" y="985"/>
                  </a:lnTo>
                  <a:lnTo>
                    <a:pt x="76" y="983"/>
                  </a:lnTo>
                  <a:lnTo>
                    <a:pt x="74" y="983"/>
                  </a:lnTo>
                  <a:lnTo>
                    <a:pt x="73" y="985"/>
                  </a:lnTo>
                  <a:lnTo>
                    <a:pt x="71" y="985"/>
                  </a:lnTo>
                  <a:lnTo>
                    <a:pt x="68" y="983"/>
                  </a:lnTo>
                  <a:lnTo>
                    <a:pt x="68" y="981"/>
                  </a:lnTo>
                  <a:lnTo>
                    <a:pt x="69" y="980"/>
                  </a:lnTo>
                  <a:lnTo>
                    <a:pt x="68" y="981"/>
                  </a:lnTo>
                  <a:lnTo>
                    <a:pt x="66" y="980"/>
                  </a:lnTo>
                  <a:lnTo>
                    <a:pt x="66" y="983"/>
                  </a:lnTo>
                  <a:lnTo>
                    <a:pt x="69" y="985"/>
                  </a:lnTo>
                  <a:lnTo>
                    <a:pt x="68" y="986"/>
                  </a:lnTo>
                  <a:lnTo>
                    <a:pt x="66" y="985"/>
                  </a:lnTo>
                  <a:lnTo>
                    <a:pt x="64" y="985"/>
                  </a:lnTo>
                  <a:lnTo>
                    <a:pt x="64" y="981"/>
                  </a:lnTo>
                  <a:lnTo>
                    <a:pt x="64" y="980"/>
                  </a:lnTo>
                  <a:lnTo>
                    <a:pt x="64" y="983"/>
                  </a:lnTo>
                  <a:lnTo>
                    <a:pt x="64" y="985"/>
                  </a:lnTo>
                  <a:lnTo>
                    <a:pt x="64" y="986"/>
                  </a:lnTo>
                  <a:lnTo>
                    <a:pt x="66" y="986"/>
                  </a:lnTo>
                  <a:lnTo>
                    <a:pt x="64" y="988"/>
                  </a:lnTo>
                  <a:lnTo>
                    <a:pt x="66" y="988"/>
                  </a:lnTo>
                  <a:lnTo>
                    <a:pt x="66" y="990"/>
                  </a:lnTo>
                  <a:lnTo>
                    <a:pt x="64" y="988"/>
                  </a:lnTo>
                  <a:lnTo>
                    <a:pt x="62" y="988"/>
                  </a:lnTo>
                  <a:lnTo>
                    <a:pt x="61" y="988"/>
                  </a:lnTo>
                  <a:lnTo>
                    <a:pt x="59" y="986"/>
                  </a:lnTo>
                  <a:lnTo>
                    <a:pt x="57" y="985"/>
                  </a:lnTo>
                  <a:lnTo>
                    <a:pt x="59" y="983"/>
                  </a:lnTo>
                  <a:lnTo>
                    <a:pt x="59" y="981"/>
                  </a:lnTo>
                  <a:lnTo>
                    <a:pt x="59" y="980"/>
                  </a:lnTo>
                  <a:lnTo>
                    <a:pt x="62" y="981"/>
                  </a:lnTo>
                  <a:lnTo>
                    <a:pt x="62" y="980"/>
                  </a:lnTo>
                  <a:lnTo>
                    <a:pt x="64" y="978"/>
                  </a:lnTo>
                  <a:lnTo>
                    <a:pt x="66" y="976"/>
                  </a:lnTo>
                  <a:lnTo>
                    <a:pt x="68" y="976"/>
                  </a:lnTo>
                  <a:lnTo>
                    <a:pt x="68" y="974"/>
                  </a:lnTo>
                  <a:lnTo>
                    <a:pt x="69" y="974"/>
                  </a:lnTo>
                  <a:lnTo>
                    <a:pt x="68" y="974"/>
                  </a:lnTo>
                  <a:lnTo>
                    <a:pt x="66" y="976"/>
                  </a:lnTo>
                  <a:lnTo>
                    <a:pt x="64" y="978"/>
                  </a:lnTo>
                  <a:lnTo>
                    <a:pt x="62" y="974"/>
                  </a:lnTo>
                  <a:lnTo>
                    <a:pt x="61" y="974"/>
                  </a:lnTo>
                  <a:lnTo>
                    <a:pt x="62" y="971"/>
                  </a:lnTo>
                  <a:lnTo>
                    <a:pt x="61" y="971"/>
                  </a:lnTo>
                  <a:lnTo>
                    <a:pt x="62" y="973"/>
                  </a:lnTo>
                  <a:lnTo>
                    <a:pt x="61" y="973"/>
                  </a:lnTo>
                  <a:lnTo>
                    <a:pt x="61" y="974"/>
                  </a:lnTo>
                  <a:lnTo>
                    <a:pt x="61" y="976"/>
                  </a:lnTo>
                  <a:lnTo>
                    <a:pt x="59" y="976"/>
                  </a:lnTo>
                  <a:lnTo>
                    <a:pt x="57" y="974"/>
                  </a:lnTo>
                  <a:lnTo>
                    <a:pt x="56" y="974"/>
                  </a:lnTo>
                  <a:lnTo>
                    <a:pt x="54" y="974"/>
                  </a:lnTo>
                  <a:lnTo>
                    <a:pt x="52" y="973"/>
                  </a:lnTo>
                  <a:lnTo>
                    <a:pt x="54" y="973"/>
                  </a:lnTo>
                  <a:lnTo>
                    <a:pt x="51" y="973"/>
                  </a:lnTo>
                  <a:lnTo>
                    <a:pt x="49" y="971"/>
                  </a:lnTo>
                  <a:lnTo>
                    <a:pt x="51" y="969"/>
                  </a:lnTo>
                  <a:lnTo>
                    <a:pt x="49" y="971"/>
                  </a:lnTo>
                  <a:lnTo>
                    <a:pt x="47" y="969"/>
                  </a:lnTo>
                  <a:lnTo>
                    <a:pt x="47" y="968"/>
                  </a:lnTo>
                  <a:lnTo>
                    <a:pt x="47" y="969"/>
                  </a:lnTo>
                  <a:lnTo>
                    <a:pt x="45" y="969"/>
                  </a:lnTo>
                  <a:lnTo>
                    <a:pt x="45" y="968"/>
                  </a:lnTo>
                  <a:lnTo>
                    <a:pt x="45" y="969"/>
                  </a:lnTo>
                  <a:lnTo>
                    <a:pt x="44" y="968"/>
                  </a:lnTo>
                  <a:lnTo>
                    <a:pt x="42" y="968"/>
                  </a:lnTo>
                  <a:lnTo>
                    <a:pt x="42" y="966"/>
                  </a:lnTo>
                  <a:lnTo>
                    <a:pt x="40" y="964"/>
                  </a:lnTo>
                  <a:lnTo>
                    <a:pt x="39" y="966"/>
                  </a:lnTo>
                  <a:lnTo>
                    <a:pt x="39" y="963"/>
                  </a:lnTo>
                  <a:lnTo>
                    <a:pt x="39" y="961"/>
                  </a:lnTo>
                  <a:lnTo>
                    <a:pt x="37" y="963"/>
                  </a:lnTo>
                  <a:lnTo>
                    <a:pt x="39" y="959"/>
                  </a:lnTo>
                  <a:lnTo>
                    <a:pt x="37" y="961"/>
                  </a:lnTo>
                  <a:lnTo>
                    <a:pt x="37" y="959"/>
                  </a:lnTo>
                  <a:lnTo>
                    <a:pt x="37" y="957"/>
                  </a:lnTo>
                  <a:lnTo>
                    <a:pt x="37" y="959"/>
                  </a:lnTo>
                  <a:lnTo>
                    <a:pt x="35" y="959"/>
                  </a:lnTo>
                  <a:lnTo>
                    <a:pt x="34" y="959"/>
                  </a:lnTo>
                  <a:lnTo>
                    <a:pt x="34" y="957"/>
                  </a:lnTo>
                  <a:lnTo>
                    <a:pt x="32" y="957"/>
                  </a:lnTo>
                  <a:lnTo>
                    <a:pt x="30" y="957"/>
                  </a:lnTo>
                  <a:lnTo>
                    <a:pt x="30" y="956"/>
                  </a:lnTo>
                  <a:lnTo>
                    <a:pt x="30" y="954"/>
                  </a:lnTo>
                  <a:lnTo>
                    <a:pt x="27" y="954"/>
                  </a:lnTo>
                  <a:lnTo>
                    <a:pt x="27" y="952"/>
                  </a:lnTo>
                  <a:lnTo>
                    <a:pt x="25" y="949"/>
                  </a:lnTo>
                  <a:lnTo>
                    <a:pt x="23" y="946"/>
                  </a:lnTo>
                  <a:lnTo>
                    <a:pt x="22" y="944"/>
                  </a:lnTo>
                  <a:lnTo>
                    <a:pt x="22" y="942"/>
                  </a:lnTo>
                  <a:lnTo>
                    <a:pt x="22" y="940"/>
                  </a:lnTo>
                  <a:lnTo>
                    <a:pt x="20" y="937"/>
                  </a:lnTo>
                  <a:lnTo>
                    <a:pt x="22" y="935"/>
                  </a:lnTo>
                  <a:lnTo>
                    <a:pt x="23" y="935"/>
                  </a:lnTo>
                  <a:lnTo>
                    <a:pt x="22" y="934"/>
                  </a:lnTo>
                  <a:lnTo>
                    <a:pt x="23" y="932"/>
                  </a:lnTo>
                  <a:lnTo>
                    <a:pt x="23" y="930"/>
                  </a:lnTo>
                  <a:lnTo>
                    <a:pt x="25" y="929"/>
                  </a:lnTo>
                  <a:lnTo>
                    <a:pt x="23" y="929"/>
                  </a:lnTo>
                  <a:lnTo>
                    <a:pt x="23" y="925"/>
                  </a:lnTo>
                  <a:lnTo>
                    <a:pt x="25" y="925"/>
                  </a:lnTo>
                  <a:lnTo>
                    <a:pt x="23" y="925"/>
                  </a:lnTo>
                  <a:lnTo>
                    <a:pt x="25" y="923"/>
                  </a:lnTo>
                  <a:lnTo>
                    <a:pt x="27" y="925"/>
                  </a:lnTo>
                  <a:lnTo>
                    <a:pt x="25" y="927"/>
                  </a:lnTo>
                  <a:lnTo>
                    <a:pt x="27" y="929"/>
                  </a:lnTo>
                  <a:lnTo>
                    <a:pt x="28" y="925"/>
                  </a:lnTo>
                  <a:lnTo>
                    <a:pt x="27" y="925"/>
                  </a:lnTo>
                  <a:lnTo>
                    <a:pt x="27" y="923"/>
                  </a:lnTo>
                  <a:lnTo>
                    <a:pt x="25" y="923"/>
                  </a:lnTo>
                  <a:lnTo>
                    <a:pt x="25" y="922"/>
                  </a:lnTo>
                  <a:lnTo>
                    <a:pt x="23" y="922"/>
                  </a:lnTo>
                  <a:lnTo>
                    <a:pt x="23" y="920"/>
                  </a:lnTo>
                  <a:lnTo>
                    <a:pt x="25" y="920"/>
                  </a:lnTo>
                  <a:lnTo>
                    <a:pt x="25" y="918"/>
                  </a:lnTo>
                  <a:lnTo>
                    <a:pt x="27" y="920"/>
                  </a:lnTo>
                  <a:lnTo>
                    <a:pt x="28" y="920"/>
                  </a:lnTo>
                  <a:lnTo>
                    <a:pt x="28" y="922"/>
                  </a:lnTo>
                  <a:lnTo>
                    <a:pt x="30" y="923"/>
                  </a:lnTo>
                  <a:lnTo>
                    <a:pt x="32" y="923"/>
                  </a:lnTo>
                  <a:lnTo>
                    <a:pt x="30" y="925"/>
                  </a:lnTo>
                  <a:lnTo>
                    <a:pt x="30" y="923"/>
                  </a:lnTo>
                  <a:lnTo>
                    <a:pt x="30" y="925"/>
                  </a:lnTo>
                  <a:lnTo>
                    <a:pt x="30" y="927"/>
                  </a:lnTo>
                  <a:lnTo>
                    <a:pt x="30" y="929"/>
                  </a:lnTo>
                  <a:lnTo>
                    <a:pt x="30" y="932"/>
                  </a:lnTo>
                  <a:lnTo>
                    <a:pt x="32" y="929"/>
                  </a:lnTo>
                  <a:lnTo>
                    <a:pt x="32" y="927"/>
                  </a:lnTo>
                  <a:lnTo>
                    <a:pt x="32" y="925"/>
                  </a:lnTo>
                  <a:lnTo>
                    <a:pt x="34" y="927"/>
                  </a:lnTo>
                  <a:lnTo>
                    <a:pt x="34" y="925"/>
                  </a:lnTo>
                  <a:lnTo>
                    <a:pt x="35" y="923"/>
                  </a:lnTo>
                  <a:lnTo>
                    <a:pt x="37" y="923"/>
                  </a:lnTo>
                  <a:lnTo>
                    <a:pt x="37" y="925"/>
                  </a:lnTo>
                  <a:lnTo>
                    <a:pt x="39" y="925"/>
                  </a:lnTo>
                  <a:lnTo>
                    <a:pt x="39" y="927"/>
                  </a:lnTo>
                  <a:lnTo>
                    <a:pt x="39" y="929"/>
                  </a:lnTo>
                  <a:lnTo>
                    <a:pt x="40" y="929"/>
                  </a:lnTo>
                  <a:lnTo>
                    <a:pt x="42" y="929"/>
                  </a:lnTo>
                  <a:lnTo>
                    <a:pt x="42" y="930"/>
                  </a:lnTo>
                  <a:lnTo>
                    <a:pt x="44" y="932"/>
                  </a:lnTo>
                  <a:lnTo>
                    <a:pt x="45" y="934"/>
                  </a:lnTo>
                  <a:lnTo>
                    <a:pt x="47" y="934"/>
                  </a:lnTo>
                  <a:lnTo>
                    <a:pt x="49" y="934"/>
                  </a:lnTo>
                  <a:lnTo>
                    <a:pt x="49" y="932"/>
                  </a:lnTo>
                  <a:lnTo>
                    <a:pt x="45" y="932"/>
                  </a:lnTo>
                  <a:lnTo>
                    <a:pt x="44" y="930"/>
                  </a:lnTo>
                  <a:lnTo>
                    <a:pt x="42" y="929"/>
                  </a:lnTo>
                  <a:lnTo>
                    <a:pt x="44" y="929"/>
                  </a:lnTo>
                  <a:lnTo>
                    <a:pt x="44" y="927"/>
                  </a:lnTo>
                  <a:lnTo>
                    <a:pt x="44" y="925"/>
                  </a:lnTo>
                  <a:lnTo>
                    <a:pt x="45" y="925"/>
                  </a:lnTo>
                  <a:lnTo>
                    <a:pt x="47" y="923"/>
                  </a:lnTo>
                  <a:lnTo>
                    <a:pt x="51" y="922"/>
                  </a:lnTo>
                  <a:lnTo>
                    <a:pt x="52" y="922"/>
                  </a:lnTo>
                  <a:lnTo>
                    <a:pt x="56" y="922"/>
                  </a:lnTo>
                  <a:lnTo>
                    <a:pt x="57" y="920"/>
                  </a:lnTo>
                  <a:lnTo>
                    <a:pt x="59" y="920"/>
                  </a:lnTo>
                  <a:lnTo>
                    <a:pt x="61" y="920"/>
                  </a:lnTo>
                  <a:lnTo>
                    <a:pt x="64" y="920"/>
                  </a:lnTo>
                  <a:lnTo>
                    <a:pt x="64" y="918"/>
                  </a:lnTo>
                  <a:lnTo>
                    <a:pt x="61" y="920"/>
                  </a:lnTo>
                  <a:lnTo>
                    <a:pt x="59" y="920"/>
                  </a:lnTo>
                  <a:lnTo>
                    <a:pt x="57" y="920"/>
                  </a:lnTo>
                  <a:lnTo>
                    <a:pt x="56" y="920"/>
                  </a:lnTo>
                  <a:lnTo>
                    <a:pt x="54" y="920"/>
                  </a:lnTo>
                  <a:lnTo>
                    <a:pt x="52" y="922"/>
                  </a:lnTo>
                  <a:lnTo>
                    <a:pt x="49" y="922"/>
                  </a:lnTo>
                  <a:lnTo>
                    <a:pt x="47" y="923"/>
                  </a:lnTo>
                  <a:lnTo>
                    <a:pt x="45" y="923"/>
                  </a:lnTo>
                  <a:lnTo>
                    <a:pt x="44" y="925"/>
                  </a:lnTo>
                  <a:lnTo>
                    <a:pt x="42" y="929"/>
                  </a:lnTo>
                  <a:lnTo>
                    <a:pt x="40" y="927"/>
                  </a:lnTo>
                  <a:lnTo>
                    <a:pt x="40" y="923"/>
                  </a:lnTo>
                  <a:lnTo>
                    <a:pt x="40" y="922"/>
                  </a:lnTo>
                  <a:lnTo>
                    <a:pt x="42" y="922"/>
                  </a:lnTo>
                  <a:lnTo>
                    <a:pt x="44" y="923"/>
                  </a:lnTo>
                  <a:lnTo>
                    <a:pt x="42" y="922"/>
                  </a:lnTo>
                  <a:lnTo>
                    <a:pt x="40" y="920"/>
                  </a:lnTo>
                  <a:lnTo>
                    <a:pt x="39" y="920"/>
                  </a:lnTo>
                  <a:lnTo>
                    <a:pt x="37" y="918"/>
                  </a:lnTo>
                  <a:lnTo>
                    <a:pt x="37" y="917"/>
                  </a:lnTo>
                  <a:lnTo>
                    <a:pt x="37" y="915"/>
                  </a:lnTo>
                  <a:lnTo>
                    <a:pt x="39" y="913"/>
                  </a:lnTo>
                  <a:lnTo>
                    <a:pt x="40" y="913"/>
                  </a:lnTo>
                  <a:lnTo>
                    <a:pt x="42" y="913"/>
                  </a:lnTo>
                  <a:lnTo>
                    <a:pt x="44" y="912"/>
                  </a:lnTo>
                  <a:lnTo>
                    <a:pt x="47" y="912"/>
                  </a:lnTo>
                  <a:lnTo>
                    <a:pt x="44" y="912"/>
                  </a:lnTo>
                  <a:lnTo>
                    <a:pt x="42" y="912"/>
                  </a:lnTo>
                  <a:lnTo>
                    <a:pt x="44" y="910"/>
                  </a:lnTo>
                  <a:lnTo>
                    <a:pt x="44" y="908"/>
                  </a:lnTo>
                  <a:lnTo>
                    <a:pt x="44" y="906"/>
                  </a:lnTo>
                  <a:lnTo>
                    <a:pt x="45" y="906"/>
                  </a:lnTo>
                  <a:lnTo>
                    <a:pt x="47" y="905"/>
                  </a:lnTo>
                  <a:lnTo>
                    <a:pt x="47" y="903"/>
                  </a:lnTo>
                  <a:lnTo>
                    <a:pt x="51" y="903"/>
                  </a:lnTo>
                  <a:lnTo>
                    <a:pt x="52" y="903"/>
                  </a:lnTo>
                  <a:lnTo>
                    <a:pt x="52" y="901"/>
                  </a:lnTo>
                  <a:lnTo>
                    <a:pt x="54" y="901"/>
                  </a:lnTo>
                  <a:lnTo>
                    <a:pt x="56" y="900"/>
                  </a:lnTo>
                  <a:lnTo>
                    <a:pt x="57" y="900"/>
                  </a:lnTo>
                  <a:lnTo>
                    <a:pt x="61" y="900"/>
                  </a:lnTo>
                  <a:lnTo>
                    <a:pt x="59" y="900"/>
                  </a:lnTo>
                  <a:lnTo>
                    <a:pt x="56" y="900"/>
                  </a:lnTo>
                  <a:lnTo>
                    <a:pt x="54" y="900"/>
                  </a:lnTo>
                  <a:lnTo>
                    <a:pt x="52" y="901"/>
                  </a:lnTo>
                  <a:lnTo>
                    <a:pt x="51" y="903"/>
                  </a:lnTo>
                  <a:lnTo>
                    <a:pt x="47" y="903"/>
                  </a:lnTo>
                  <a:lnTo>
                    <a:pt x="45" y="901"/>
                  </a:lnTo>
                  <a:lnTo>
                    <a:pt x="45" y="900"/>
                  </a:lnTo>
                  <a:lnTo>
                    <a:pt x="47" y="900"/>
                  </a:lnTo>
                  <a:lnTo>
                    <a:pt x="51" y="900"/>
                  </a:lnTo>
                  <a:lnTo>
                    <a:pt x="51" y="901"/>
                  </a:lnTo>
                  <a:lnTo>
                    <a:pt x="51" y="900"/>
                  </a:lnTo>
                  <a:lnTo>
                    <a:pt x="52" y="900"/>
                  </a:lnTo>
                  <a:lnTo>
                    <a:pt x="51" y="898"/>
                  </a:lnTo>
                  <a:lnTo>
                    <a:pt x="49" y="898"/>
                  </a:lnTo>
                  <a:lnTo>
                    <a:pt x="49" y="895"/>
                  </a:lnTo>
                  <a:lnTo>
                    <a:pt x="49" y="898"/>
                  </a:lnTo>
                  <a:lnTo>
                    <a:pt x="51" y="900"/>
                  </a:lnTo>
                  <a:lnTo>
                    <a:pt x="49" y="900"/>
                  </a:lnTo>
                  <a:lnTo>
                    <a:pt x="47" y="900"/>
                  </a:lnTo>
                  <a:lnTo>
                    <a:pt x="49" y="900"/>
                  </a:lnTo>
                  <a:lnTo>
                    <a:pt x="49" y="898"/>
                  </a:lnTo>
                  <a:lnTo>
                    <a:pt x="47" y="900"/>
                  </a:lnTo>
                  <a:lnTo>
                    <a:pt x="45" y="900"/>
                  </a:lnTo>
                  <a:lnTo>
                    <a:pt x="45" y="896"/>
                  </a:lnTo>
                  <a:lnTo>
                    <a:pt x="44" y="898"/>
                  </a:lnTo>
                  <a:lnTo>
                    <a:pt x="44" y="900"/>
                  </a:lnTo>
                  <a:lnTo>
                    <a:pt x="42" y="898"/>
                  </a:lnTo>
                  <a:lnTo>
                    <a:pt x="44" y="895"/>
                  </a:lnTo>
                  <a:lnTo>
                    <a:pt x="45" y="895"/>
                  </a:lnTo>
                  <a:lnTo>
                    <a:pt x="45" y="893"/>
                  </a:lnTo>
                  <a:lnTo>
                    <a:pt x="45" y="895"/>
                  </a:lnTo>
                  <a:lnTo>
                    <a:pt x="45" y="893"/>
                  </a:lnTo>
                  <a:lnTo>
                    <a:pt x="47" y="893"/>
                  </a:lnTo>
                  <a:lnTo>
                    <a:pt x="49" y="891"/>
                  </a:lnTo>
                  <a:lnTo>
                    <a:pt x="49" y="893"/>
                  </a:lnTo>
                  <a:lnTo>
                    <a:pt x="49" y="891"/>
                  </a:lnTo>
                  <a:lnTo>
                    <a:pt x="51" y="889"/>
                  </a:lnTo>
                  <a:lnTo>
                    <a:pt x="51" y="888"/>
                  </a:lnTo>
                  <a:lnTo>
                    <a:pt x="52" y="886"/>
                  </a:lnTo>
                  <a:lnTo>
                    <a:pt x="56" y="886"/>
                  </a:lnTo>
                  <a:lnTo>
                    <a:pt x="59" y="884"/>
                  </a:lnTo>
                  <a:lnTo>
                    <a:pt x="61" y="884"/>
                  </a:lnTo>
                  <a:lnTo>
                    <a:pt x="64" y="883"/>
                  </a:lnTo>
                  <a:lnTo>
                    <a:pt x="62" y="883"/>
                  </a:lnTo>
                  <a:lnTo>
                    <a:pt x="61" y="883"/>
                  </a:lnTo>
                  <a:lnTo>
                    <a:pt x="57" y="883"/>
                  </a:lnTo>
                  <a:lnTo>
                    <a:pt x="56" y="884"/>
                  </a:lnTo>
                  <a:lnTo>
                    <a:pt x="54" y="884"/>
                  </a:lnTo>
                  <a:lnTo>
                    <a:pt x="52" y="886"/>
                  </a:lnTo>
                  <a:lnTo>
                    <a:pt x="52" y="883"/>
                  </a:lnTo>
                  <a:lnTo>
                    <a:pt x="54" y="881"/>
                  </a:lnTo>
                  <a:lnTo>
                    <a:pt x="54" y="878"/>
                  </a:lnTo>
                  <a:lnTo>
                    <a:pt x="56" y="878"/>
                  </a:lnTo>
                  <a:lnTo>
                    <a:pt x="54" y="878"/>
                  </a:lnTo>
                  <a:lnTo>
                    <a:pt x="52" y="879"/>
                  </a:lnTo>
                  <a:lnTo>
                    <a:pt x="52" y="881"/>
                  </a:lnTo>
                  <a:lnTo>
                    <a:pt x="52" y="883"/>
                  </a:lnTo>
                  <a:lnTo>
                    <a:pt x="51" y="886"/>
                  </a:lnTo>
                  <a:lnTo>
                    <a:pt x="49" y="886"/>
                  </a:lnTo>
                  <a:lnTo>
                    <a:pt x="49" y="889"/>
                  </a:lnTo>
                  <a:lnTo>
                    <a:pt x="47" y="891"/>
                  </a:lnTo>
                  <a:lnTo>
                    <a:pt x="45" y="893"/>
                  </a:lnTo>
                  <a:lnTo>
                    <a:pt x="44" y="893"/>
                  </a:lnTo>
                  <a:lnTo>
                    <a:pt x="44" y="895"/>
                  </a:lnTo>
                  <a:lnTo>
                    <a:pt x="42" y="893"/>
                  </a:lnTo>
                  <a:lnTo>
                    <a:pt x="42" y="895"/>
                  </a:lnTo>
                  <a:lnTo>
                    <a:pt x="40" y="896"/>
                  </a:lnTo>
                  <a:lnTo>
                    <a:pt x="39" y="896"/>
                  </a:lnTo>
                  <a:lnTo>
                    <a:pt x="39" y="893"/>
                  </a:lnTo>
                  <a:lnTo>
                    <a:pt x="39" y="891"/>
                  </a:lnTo>
                  <a:lnTo>
                    <a:pt x="39" y="889"/>
                  </a:lnTo>
                  <a:lnTo>
                    <a:pt x="40" y="891"/>
                  </a:lnTo>
                  <a:lnTo>
                    <a:pt x="42" y="891"/>
                  </a:lnTo>
                  <a:lnTo>
                    <a:pt x="44" y="889"/>
                  </a:lnTo>
                  <a:lnTo>
                    <a:pt x="45" y="889"/>
                  </a:lnTo>
                  <a:lnTo>
                    <a:pt x="47" y="889"/>
                  </a:lnTo>
                  <a:lnTo>
                    <a:pt x="49" y="889"/>
                  </a:lnTo>
                  <a:lnTo>
                    <a:pt x="49" y="888"/>
                  </a:lnTo>
                  <a:lnTo>
                    <a:pt x="47" y="888"/>
                  </a:lnTo>
                  <a:lnTo>
                    <a:pt x="45" y="888"/>
                  </a:lnTo>
                  <a:lnTo>
                    <a:pt x="42" y="888"/>
                  </a:lnTo>
                  <a:lnTo>
                    <a:pt x="39" y="888"/>
                  </a:lnTo>
                  <a:lnTo>
                    <a:pt x="37" y="888"/>
                  </a:lnTo>
                  <a:lnTo>
                    <a:pt x="39" y="886"/>
                  </a:lnTo>
                  <a:lnTo>
                    <a:pt x="37" y="886"/>
                  </a:lnTo>
                  <a:lnTo>
                    <a:pt x="37" y="883"/>
                  </a:lnTo>
                  <a:lnTo>
                    <a:pt x="37" y="884"/>
                  </a:lnTo>
                  <a:lnTo>
                    <a:pt x="35" y="884"/>
                  </a:lnTo>
                  <a:lnTo>
                    <a:pt x="37" y="888"/>
                  </a:lnTo>
                  <a:lnTo>
                    <a:pt x="37" y="889"/>
                  </a:lnTo>
                  <a:lnTo>
                    <a:pt x="34" y="889"/>
                  </a:lnTo>
                  <a:lnTo>
                    <a:pt x="34" y="891"/>
                  </a:lnTo>
                  <a:lnTo>
                    <a:pt x="34" y="889"/>
                  </a:lnTo>
                  <a:lnTo>
                    <a:pt x="32" y="888"/>
                  </a:lnTo>
                  <a:lnTo>
                    <a:pt x="32" y="889"/>
                  </a:lnTo>
                  <a:lnTo>
                    <a:pt x="34" y="891"/>
                  </a:lnTo>
                  <a:lnTo>
                    <a:pt x="30" y="893"/>
                  </a:lnTo>
                  <a:lnTo>
                    <a:pt x="32" y="891"/>
                  </a:lnTo>
                  <a:lnTo>
                    <a:pt x="34" y="891"/>
                  </a:lnTo>
                  <a:lnTo>
                    <a:pt x="35" y="891"/>
                  </a:lnTo>
                  <a:lnTo>
                    <a:pt x="37" y="893"/>
                  </a:lnTo>
                  <a:lnTo>
                    <a:pt x="37" y="895"/>
                  </a:lnTo>
                  <a:lnTo>
                    <a:pt x="37" y="896"/>
                  </a:lnTo>
                  <a:lnTo>
                    <a:pt x="37" y="898"/>
                  </a:lnTo>
                  <a:lnTo>
                    <a:pt x="35" y="898"/>
                  </a:lnTo>
                  <a:lnTo>
                    <a:pt x="34" y="896"/>
                  </a:lnTo>
                  <a:lnTo>
                    <a:pt x="34" y="898"/>
                  </a:lnTo>
                  <a:lnTo>
                    <a:pt x="32" y="896"/>
                  </a:lnTo>
                  <a:lnTo>
                    <a:pt x="32" y="898"/>
                  </a:lnTo>
                  <a:lnTo>
                    <a:pt x="28" y="900"/>
                  </a:lnTo>
                  <a:lnTo>
                    <a:pt x="28" y="903"/>
                  </a:lnTo>
                  <a:lnTo>
                    <a:pt x="28" y="901"/>
                  </a:lnTo>
                  <a:lnTo>
                    <a:pt x="28" y="898"/>
                  </a:lnTo>
                  <a:lnTo>
                    <a:pt x="30" y="898"/>
                  </a:lnTo>
                  <a:lnTo>
                    <a:pt x="28" y="896"/>
                  </a:lnTo>
                  <a:lnTo>
                    <a:pt x="28" y="895"/>
                  </a:lnTo>
                  <a:lnTo>
                    <a:pt x="28" y="893"/>
                  </a:lnTo>
                  <a:lnTo>
                    <a:pt x="28" y="891"/>
                  </a:lnTo>
                  <a:lnTo>
                    <a:pt x="28" y="889"/>
                  </a:lnTo>
                  <a:lnTo>
                    <a:pt x="28" y="888"/>
                  </a:lnTo>
                  <a:lnTo>
                    <a:pt x="28" y="886"/>
                  </a:lnTo>
                  <a:lnTo>
                    <a:pt x="27" y="886"/>
                  </a:lnTo>
                  <a:lnTo>
                    <a:pt x="25" y="888"/>
                  </a:lnTo>
                  <a:lnTo>
                    <a:pt x="25" y="889"/>
                  </a:lnTo>
                  <a:lnTo>
                    <a:pt x="23" y="888"/>
                  </a:lnTo>
                  <a:lnTo>
                    <a:pt x="22" y="889"/>
                  </a:lnTo>
                  <a:lnTo>
                    <a:pt x="23" y="889"/>
                  </a:lnTo>
                  <a:lnTo>
                    <a:pt x="25" y="891"/>
                  </a:lnTo>
                  <a:lnTo>
                    <a:pt x="27" y="889"/>
                  </a:lnTo>
                  <a:lnTo>
                    <a:pt x="27" y="888"/>
                  </a:lnTo>
                  <a:lnTo>
                    <a:pt x="27" y="889"/>
                  </a:lnTo>
                  <a:lnTo>
                    <a:pt x="28" y="891"/>
                  </a:lnTo>
                  <a:lnTo>
                    <a:pt x="28" y="893"/>
                  </a:lnTo>
                  <a:lnTo>
                    <a:pt x="27" y="891"/>
                  </a:lnTo>
                  <a:lnTo>
                    <a:pt x="27" y="893"/>
                  </a:lnTo>
                  <a:lnTo>
                    <a:pt x="28" y="893"/>
                  </a:lnTo>
                  <a:lnTo>
                    <a:pt x="27" y="895"/>
                  </a:lnTo>
                  <a:lnTo>
                    <a:pt x="28" y="895"/>
                  </a:lnTo>
                  <a:lnTo>
                    <a:pt x="27" y="895"/>
                  </a:lnTo>
                  <a:lnTo>
                    <a:pt x="27" y="898"/>
                  </a:lnTo>
                  <a:lnTo>
                    <a:pt x="27" y="900"/>
                  </a:lnTo>
                  <a:lnTo>
                    <a:pt x="25" y="901"/>
                  </a:lnTo>
                  <a:lnTo>
                    <a:pt x="23" y="901"/>
                  </a:lnTo>
                  <a:lnTo>
                    <a:pt x="22" y="901"/>
                  </a:lnTo>
                  <a:lnTo>
                    <a:pt x="22" y="898"/>
                  </a:lnTo>
                  <a:lnTo>
                    <a:pt x="23" y="898"/>
                  </a:lnTo>
                  <a:lnTo>
                    <a:pt x="22" y="898"/>
                  </a:lnTo>
                  <a:lnTo>
                    <a:pt x="23" y="895"/>
                  </a:lnTo>
                  <a:lnTo>
                    <a:pt x="22" y="893"/>
                  </a:lnTo>
                  <a:lnTo>
                    <a:pt x="23" y="893"/>
                  </a:lnTo>
                  <a:lnTo>
                    <a:pt x="22" y="893"/>
                  </a:lnTo>
                  <a:lnTo>
                    <a:pt x="22" y="895"/>
                  </a:lnTo>
                  <a:lnTo>
                    <a:pt x="22" y="896"/>
                  </a:lnTo>
                  <a:lnTo>
                    <a:pt x="22" y="900"/>
                  </a:lnTo>
                  <a:lnTo>
                    <a:pt x="20" y="900"/>
                  </a:lnTo>
                  <a:lnTo>
                    <a:pt x="20" y="898"/>
                  </a:lnTo>
                  <a:lnTo>
                    <a:pt x="20" y="896"/>
                  </a:lnTo>
                  <a:lnTo>
                    <a:pt x="20" y="895"/>
                  </a:lnTo>
                  <a:lnTo>
                    <a:pt x="20" y="893"/>
                  </a:lnTo>
                  <a:lnTo>
                    <a:pt x="20" y="891"/>
                  </a:lnTo>
                  <a:lnTo>
                    <a:pt x="18" y="891"/>
                  </a:lnTo>
                  <a:lnTo>
                    <a:pt x="20" y="893"/>
                  </a:lnTo>
                  <a:lnTo>
                    <a:pt x="18" y="895"/>
                  </a:lnTo>
                  <a:lnTo>
                    <a:pt x="18" y="896"/>
                  </a:lnTo>
                  <a:lnTo>
                    <a:pt x="17" y="896"/>
                  </a:lnTo>
                  <a:lnTo>
                    <a:pt x="17" y="895"/>
                  </a:lnTo>
                  <a:lnTo>
                    <a:pt x="17" y="893"/>
                  </a:lnTo>
                  <a:lnTo>
                    <a:pt x="15" y="891"/>
                  </a:lnTo>
                  <a:lnTo>
                    <a:pt x="15" y="889"/>
                  </a:lnTo>
                  <a:lnTo>
                    <a:pt x="15" y="888"/>
                  </a:lnTo>
                  <a:lnTo>
                    <a:pt x="15" y="886"/>
                  </a:lnTo>
                  <a:lnTo>
                    <a:pt x="15" y="884"/>
                  </a:lnTo>
                  <a:lnTo>
                    <a:pt x="17" y="886"/>
                  </a:lnTo>
                  <a:lnTo>
                    <a:pt x="15" y="886"/>
                  </a:lnTo>
                  <a:lnTo>
                    <a:pt x="17" y="886"/>
                  </a:lnTo>
                  <a:lnTo>
                    <a:pt x="17" y="884"/>
                  </a:lnTo>
                  <a:lnTo>
                    <a:pt x="15" y="884"/>
                  </a:lnTo>
                  <a:lnTo>
                    <a:pt x="15" y="883"/>
                  </a:lnTo>
                  <a:lnTo>
                    <a:pt x="17" y="884"/>
                  </a:lnTo>
                  <a:lnTo>
                    <a:pt x="17" y="883"/>
                  </a:lnTo>
                  <a:lnTo>
                    <a:pt x="15" y="883"/>
                  </a:lnTo>
                  <a:lnTo>
                    <a:pt x="15" y="881"/>
                  </a:lnTo>
                  <a:lnTo>
                    <a:pt x="17" y="881"/>
                  </a:lnTo>
                  <a:lnTo>
                    <a:pt x="17" y="879"/>
                  </a:lnTo>
                  <a:lnTo>
                    <a:pt x="18" y="878"/>
                  </a:lnTo>
                  <a:lnTo>
                    <a:pt x="18" y="876"/>
                  </a:lnTo>
                  <a:lnTo>
                    <a:pt x="20" y="876"/>
                  </a:lnTo>
                  <a:lnTo>
                    <a:pt x="20" y="874"/>
                  </a:lnTo>
                  <a:lnTo>
                    <a:pt x="22" y="874"/>
                  </a:lnTo>
                  <a:lnTo>
                    <a:pt x="22" y="878"/>
                  </a:lnTo>
                  <a:lnTo>
                    <a:pt x="22" y="879"/>
                  </a:lnTo>
                  <a:lnTo>
                    <a:pt x="22" y="878"/>
                  </a:lnTo>
                  <a:lnTo>
                    <a:pt x="23" y="878"/>
                  </a:lnTo>
                  <a:lnTo>
                    <a:pt x="23" y="876"/>
                  </a:lnTo>
                  <a:lnTo>
                    <a:pt x="23" y="874"/>
                  </a:lnTo>
                  <a:lnTo>
                    <a:pt x="22" y="874"/>
                  </a:lnTo>
                  <a:lnTo>
                    <a:pt x="23" y="874"/>
                  </a:lnTo>
                  <a:lnTo>
                    <a:pt x="23" y="872"/>
                  </a:lnTo>
                  <a:lnTo>
                    <a:pt x="23" y="871"/>
                  </a:lnTo>
                  <a:lnTo>
                    <a:pt x="23" y="872"/>
                  </a:lnTo>
                  <a:lnTo>
                    <a:pt x="23" y="871"/>
                  </a:lnTo>
                  <a:lnTo>
                    <a:pt x="25" y="871"/>
                  </a:lnTo>
                  <a:lnTo>
                    <a:pt x="27" y="869"/>
                  </a:lnTo>
                  <a:lnTo>
                    <a:pt x="25" y="871"/>
                  </a:lnTo>
                  <a:lnTo>
                    <a:pt x="27" y="871"/>
                  </a:lnTo>
                  <a:lnTo>
                    <a:pt x="27" y="872"/>
                  </a:lnTo>
                  <a:lnTo>
                    <a:pt x="25" y="874"/>
                  </a:lnTo>
                  <a:lnTo>
                    <a:pt x="25" y="876"/>
                  </a:lnTo>
                  <a:lnTo>
                    <a:pt x="25" y="879"/>
                  </a:lnTo>
                  <a:lnTo>
                    <a:pt x="25" y="881"/>
                  </a:lnTo>
                  <a:lnTo>
                    <a:pt x="25" y="883"/>
                  </a:lnTo>
                  <a:lnTo>
                    <a:pt x="23" y="881"/>
                  </a:lnTo>
                  <a:lnTo>
                    <a:pt x="25" y="883"/>
                  </a:lnTo>
                  <a:lnTo>
                    <a:pt x="23" y="884"/>
                  </a:lnTo>
                  <a:lnTo>
                    <a:pt x="23" y="883"/>
                  </a:lnTo>
                  <a:lnTo>
                    <a:pt x="22" y="883"/>
                  </a:lnTo>
                  <a:lnTo>
                    <a:pt x="23" y="884"/>
                  </a:lnTo>
                  <a:lnTo>
                    <a:pt x="22" y="884"/>
                  </a:lnTo>
                  <a:lnTo>
                    <a:pt x="23" y="886"/>
                  </a:lnTo>
                  <a:lnTo>
                    <a:pt x="23" y="884"/>
                  </a:lnTo>
                  <a:lnTo>
                    <a:pt x="25" y="884"/>
                  </a:lnTo>
                  <a:lnTo>
                    <a:pt x="25" y="883"/>
                  </a:lnTo>
                  <a:lnTo>
                    <a:pt x="27" y="884"/>
                  </a:lnTo>
                  <a:lnTo>
                    <a:pt x="25" y="883"/>
                  </a:lnTo>
                  <a:lnTo>
                    <a:pt x="27" y="883"/>
                  </a:lnTo>
                  <a:lnTo>
                    <a:pt x="27" y="879"/>
                  </a:lnTo>
                  <a:lnTo>
                    <a:pt x="27" y="878"/>
                  </a:lnTo>
                  <a:lnTo>
                    <a:pt x="27" y="876"/>
                  </a:lnTo>
                  <a:lnTo>
                    <a:pt x="28" y="872"/>
                  </a:lnTo>
                  <a:lnTo>
                    <a:pt x="30" y="874"/>
                  </a:lnTo>
                  <a:lnTo>
                    <a:pt x="32" y="874"/>
                  </a:lnTo>
                  <a:lnTo>
                    <a:pt x="34" y="876"/>
                  </a:lnTo>
                  <a:lnTo>
                    <a:pt x="35" y="878"/>
                  </a:lnTo>
                  <a:lnTo>
                    <a:pt x="34" y="879"/>
                  </a:lnTo>
                  <a:lnTo>
                    <a:pt x="35" y="879"/>
                  </a:lnTo>
                  <a:lnTo>
                    <a:pt x="35" y="878"/>
                  </a:lnTo>
                  <a:lnTo>
                    <a:pt x="35" y="876"/>
                  </a:lnTo>
                  <a:lnTo>
                    <a:pt x="37" y="876"/>
                  </a:lnTo>
                  <a:lnTo>
                    <a:pt x="39" y="876"/>
                  </a:lnTo>
                  <a:lnTo>
                    <a:pt x="40" y="876"/>
                  </a:lnTo>
                  <a:lnTo>
                    <a:pt x="39" y="876"/>
                  </a:lnTo>
                  <a:lnTo>
                    <a:pt x="40" y="874"/>
                  </a:lnTo>
                  <a:lnTo>
                    <a:pt x="37" y="874"/>
                  </a:lnTo>
                  <a:lnTo>
                    <a:pt x="35" y="876"/>
                  </a:lnTo>
                  <a:lnTo>
                    <a:pt x="35" y="872"/>
                  </a:lnTo>
                  <a:lnTo>
                    <a:pt x="37" y="871"/>
                  </a:lnTo>
                  <a:lnTo>
                    <a:pt x="39" y="871"/>
                  </a:lnTo>
                  <a:lnTo>
                    <a:pt x="40" y="869"/>
                  </a:lnTo>
                  <a:lnTo>
                    <a:pt x="40" y="867"/>
                  </a:lnTo>
                  <a:lnTo>
                    <a:pt x="42" y="871"/>
                  </a:lnTo>
                  <a:lnTo>
                    <a:pt x="42" y="869"/>
                  </a:lnTo>
                  <a:lnTo>
                    <a:pt x="44" y="869"/>
                  </a:lnTo>
                  <a:lnTo>
                    <a:pt x="45" y="871"/>
                  </a:lnTo>
                  <a:lnTo>
                    <a:pt x="47" y="869"/>
                  </a:lnTo>
                  <a:lnTo>
                    <a:pt x="47" y="867"/>
                  </a:lnTo>
                  <a:lnTo>
                    <a:pt x="51" y="866"/>
                  </a:lnTo>
                  <a:lnTo>
                    <a:pt x="52" y="864"/>
                  </a:lnTo>
                  <a:lnTo>
                    <a:pt x="54" y="864"/>
                  </a:lnTo>
                  <a:lnTo>
                    <a:pt x="56" y="862"/>
                  </a:lnTo>
                  <a:lnTo>
                    <a:pt x="56" y="861"/>
                  </a:lnTo>
                  <a:lnTo>
                    <a:pt x="56" y="862"/>
                  </a:lnTo>
                  <a:lnTo>
                    <a:pt x="54" y="862"/>
                  </a:lnTo>
                  <a:lnTo>
                    <a:pt x="51" y="864"/>
                  </a:lnTo>
                  <a:lnTo>
                    <a:pt x="49" y="866"/>
                  </a:lnTo>
                  <a:lnTo>
                    <a:pt x="47" y="867"/>
                  </a:lnTo>
                  <a:lnTo>
                    <a:pt x="47" y="866"/>
                  </a:lnTo>
                  <a:lnTo>
                    <a:pt x="45" y="869"/>
                  </a:lnTo>
                  <a:lnTo>
                    <a:pt x="44" y="869"/>
                  </a:lnTo>
                  <a:lnTo>
                    <a:pt x="42" y="867"/>
                  </a:lnTo>
                  <a:lnTo>
                    <a:pt x="42" y="866"/>
                  </a:lnTo>
                  <a:lnTo>
                    <a:pt x="42" y="864"/>
                  </a:lnTo>
                  <a:lnTo>
                    <a:pt x="42" y="862"/>
                  </a:lnTo>
                  <a:lnTo>
                    <a:pt x="44" y="861"/>
                  </a:lnTo>
                  <a:lnTo>
                    <a:pt x="42" y="862"/>
                  </a:lnTo>
                  <a:lnTo>
                    <a:pt x="42" y="864"/>
                  </a:lnTo>
                  <a:lnTo>
                    <a:pt x="40" y="866"/>
                  </a:lnTo>
                  <a:lnTo>
                    <a:pt x="39" y="867"/>
                  </a:lnTo>
                  <a:lnTo>
                    <a:pt x="37" y="866"/>
                  </a:lnTo>
                  <a:lnTo>
                    <a:pt x="35" y="862"/>
                  </a:lnTo>
                  <a:lnTo>
                    <a:pt x="34" y="862"/>
                  </a:lnTo>
                  <a:lnTo>
                    <a:pt x="32" y="862"/>
                  </a:lnTo>
                  <a:lnTo>
                    <a:pt x="32" y="861"/>
                  </a:lnTo>
                  <a:lnTo>
                    <a:pt x="34" y="861"/>
                  </a:lnTo>
                  <a:lnTo>
                    <a:pt x="34" y="859"/>
                  </a:lnTo>
                  <a:lnTo>
                    <a:pt x="35" y="861"/>
                  </a:lnTo>
                  <a:lnTo>
                    <a:pt x="35" y="857"/>
                  </a:lnTo>
                  <a:lnTo>
                    <a:pt x="37" y="855"/>
                  </a:lnTo>
                  <a:lnTo>
                    <a:pt x="39" y="855"/>
                  </a:lnTo>
                  <a:lnTo>
                    <a:pt x="40" y="854"/>
                  </a:lnTo>
                  <a:lnTo>
                    <a:pt x="44" y="854"/>
                  </a:lnTo>
                  <a:lnTo>
                    <a:pt x="44" y="852"/>
                  </a:lnTo>
                  <a:lnTo>
                    <a:pt x="44" y="850"/>
                  </a:lnTo>
                  <a:lnTo>
                    <a:pt x="45" y="849"/>
                  </a:lnTo>
                  <a:lnTo>
                    <a:pt x="45" y="847"/>
                  </a:lnTo>
                  <a:lnTo>
                    <a:pt x="47" y="845"/>
                  </a:lnTo>
                  <a:lnTo>
                    <a:pt x="49" y="845"/>
                  </a:lnTo>
                  <a:lnTo>
                    <a:pt x="52" y="844"/>
                  </a:lnTo>
                  <a:lnTo>
                    <a:pt x="56" y="844"/>
                  </a:lnTo>
                  <a:lnTo>
                    <a:pt x="54" y="842"/>
                  </a:lnTo>
                  <a:lnTo>
                    <a:pt x="54" y="840"/>
                  </a:lnTo>
                  <a:lnTo>
                    <a:pt x="52" y="842"/>
                  </a:lnTo>
                  <a:lnTo>
                    <a:pt x="51" y="844"/>
                  </a:lnTo>
                  <a:lnTo>
                    <a:pt x="49" y="844"/>
                  </a:lnTo>
                  <a:lnTo>
                    <a:pt x="51" y="844"/>
                  </a:lnTo>
                  <a:lnTo>
                    <a:pt x="49" y="842"/>
                  </a:lnTo>
                  <a:lnTo>
                    <a:pt x="47" y="838"/>
                  </a:lnTo>
                  <a:lnTo>
                    <a:pt x="49" y="837"/>
                  </a:lnTo>
                  <a:lnTo>
                    <a:pt x="51" y="837"/>
                  </a:lnTo>
                  <a:lnTo>
                    <a:pt x="52" y="835"/>
                  </a:lnTo>
                  <a:lnTo>
                    <a:pt x="52" y="833"/>
                  </a:lnTo>
                  <a:lnTo>
                    <a:pt x="54" y="832"/>
                  </a:lnTo>
                  <a:lnTo>
                    <a:pt x="52" y="832"/>
                  </a:lnTo>
                  <a:lnTo>
                    <a:pt x="56" y="830"/>
                  </a:lnTo>
                  <a:lnTo>
                    <a:pt x="57" y="828"/>
                  </a:lnTo>
                  <a:lnTo>
                    <a:pt x="59" y="828"/>
                  </a:lnTo>
                  <a:lnTo>
                    <a:pt x="57" y="827"/>
                  </a:lnTo>
                  <a:lnTo>
                    <a:pt x="61" y="827"/>
                  </a:lnTo>
                  <a:lnTo>
                    <a:pt x="62" y="825"/>
                  </a:lnTo>
                  <a:lnTo>
                    <a:pt x="62" y="823"/>
                  </a:lnTo>
                  <a:lnTo>
                    <a:pt x="66" y="821"/>
                  </a:lnTo>
                  <a:lnTo>
                    <a:pt x="68" y="821"/>
                  </a:lnTo>
                  <a:lnTo>
                    <a:pt x="69" y="823"/>
                  </a:lnTo>
                  <a:lnTo>
                    <a:pt x="68" y="825"/>
                  </a:lnTo>
                  <a:lnTo>
                    <a:pt x="68" y="828"/>
                  </a:lnTo>
                  <a:lnTo>
                    <a:pt x="66" y="830"/>
                  </a:lnTo>
                  <a:lnTo>
                    <a:pt x="66" y="832"/>
                  </a:lnTo>
                  <a:lnTo>
                    <a:pt x="66" y="833"/>
                  </a:lnTo>
                  <a:lnTo>
                    <a:pt x="64" y="835"/>
                  </a:lnTo>
                  <a:lnTo>
                    <a:pt x="64" y="837"/>
                  </a:lnTo>
                  <a:lnTo>
                    <a:pt x="64" y="838"/>
                  </a:lnTo>
                  <a:lnTo>
                    <a:pt x="64" y="842"/>
                  </a:lnTo>
                  <a:lnTo>
                    <a:pt x="62" y="845"/>
                  </a:lnTo>
                  <a:lnTo>
                    <a:pt x="62" y="847"/>
                  </a:lnTo>
                  <a:lnTo>
                    <a:pt x="62" y="845"/>
                  </a:lnTo>
                  <a:lnTo>
                    <a:pt x="62" y="847"/>
                  </a:lnTo>
                  <a:lnTo>
                    <a:pt x="64" y="847"/>
                  </a:lnTo>
                  <a:lnTo>
                    <a:pt x="64" y="845"/>
                  </a:lnTo>
                  <a:lnTo>
                    <a:pt x="64" y="844"/>
                  </a:lnTo>
                  <a:lnTo>
                    <a:pt x="64" y="842"/>
                  </a:lnTo>
                  <a:lnTo>
                    <a:pt x="64" y="840"/>
                  </a:lnTo>
                  <a:lnTo>
                    <a:pt x="66" y="840"/>
                  </a:lnTo>
                  <a:lnTo>
                    <a:pt x="66" y="837"/>
                  </a:lnTo>
                  <a:lnTo>
                    <a:pt x="66" y="835"/>
                  </a:lnTo>
                  <a:lnTo>
                    <a:pt x="66" y="833"/>
                  </a:lnTo>
                  <a:lnTo>
                    <a:pt x="68" y="830"/>
                  </a:lnTo>
                  <a:lnTo>
                    <a:pt x="68" y="828"/>
                  </a:lnTo>
                  <a:lnTo>
                    <a:pt x="69" y="825"/>
                  </a:lnTo>
                  <a:lnTo>
                    <a:pt x="71" y="827"/>
                  </a:lnTo>
                  <a:lnTo>
                    <a:pt x="71" y="825"/>
                  </a:lnTo>
                  <a:lnTo>
                    <a:pt x="71" y="821"/>
                  </a:lnTo>
                  <a:lnTo>
                    <a:pt x="74" y="821"/>
                  </a:lnTo>
                  <a:lnTo>
                    <a:pt x="74" y="820"/>
                  </a:lnTo>
                  <a:lnTo>
                    <a:pt x="76" y="820"/>
                  </a:lnTo>
                  <a:lnTo>
                    <a:pt x="78" y="820"/>
                  </a:lnTo>
                  <a:lnTo>
                    <a:pt x="79" y="820"/>
                  </a:lnTo>
                  <a:lnTo>
                    <a:pt x="83" y="820"/>
                  </a:lnTo>
                  <a:lnTo>
                    <a:pt x="85" y="818"/>
                  </a:lnTo>
                  <a:lnTo>
                    <a:pt x="86" y="818"/>
                  </a:lnTo>
                  <a:lnTo>
                    <a:pt x="83" y="818"/>
                  </a:lnTo>
                  <a:lnTo>
                    <a:pt x="81" y="818"/>
                  </a:lnTo>
                  <a:lnTo>
                    <a:pt x="78" y="818"/>
                  </a:lnTo>
                  <a:lnTo>
                    <a:pt x="79" y="815"/>
                  </a:lnTo>
                  <a:lnTo>
                    <a:pt x="81" y="813"/>
                  </a:lnTo>
                  <a:lnTo>
                    <a:pt x="81" y="811"/>
                  </a:lnTo>
                  <a:lnTo>
                    <a:pt x="81" y="813"/>
                  </a:lnTo>
                  <a:lnTo>
                    <a:pt x="79" y="813"/>
                  </a:lnTo>
                  <a:lnTo>
                    <a:pt x="78" y="816"/>
                  </a:lnTo>
                  <a:lnTo>
                    <a:pt x="78" y="813"/>
                  </a:lnTo>
                  <a:lnTo>
                    <a:pt x="79" y="813"/>
                  </a:lnTo>
                  <a:lnTo>
                    <a:pt x="78" y="813"/>
                  </a:lnTo>
                  <a:lnTo>
                    <a:pt x="78" y="815"/>
                  </a:lnTo>
                  <a:lnTo>
                    <a:pt x="78" y="816"/>
                  </a:lnTo>
                  <a:lnTo>
                    <a:pt x="76" y="818"/>
                  </a:lnTo>
                  <a:lnTo>
                    <a:pt x="74" y="818"/>
                  </a:lnTo>
                  <a:lnTo>
                    <a:pt x="73" y="820"/>
                  </a:lnTo>
                  <a:lnTo>
                    <a:pt x="69" y="821"/>
                  </a:lnTo>
                  <a:lnTo>
                    <a:pt x="68" y="821"/>
                  </a:lnTo>
                  <a:lnTo>
                    <a:pt x="68" y="820"/>
                  </a:lnTo>
                  <a:lnTo>
                    <a:pt x="69" y="818"/>
                  </a:lnTo>
                  <a:lnTo>
                    <a:pt x="71" y="816"/>
                  </a:lnTo>
                  <a:lnTo>
                    <a:pt x="69" y="816"/>
                  </a:lnTo>
                  <a:lnTo>
                    <a:pt x="68" y="818"/>
                  </a:lnTo>
                  <a:lnTo>
                    <a:pt x="68" y="820"/>
                  </a:lnTo>
                  <a:lnTo>
                    <a:pt x="66" y="820"/>
                  </a:lnTo>
                  <a:lnTo>
                    <a:pt x="64" y="820"/>
                  </a:lnTo>
                  <a:lnTo>
                    <a:pt x="62" y="821"/>
                  </a:lnTo>
                  <a:lnTo>
                    <a:pt x="59" y="821"/>
                  </a:lnTo>
                  <a:lnTo>
                    <a:pt x="59" y="823"/>
                  </a:lnTo>
                  <a:lnTo>
                    <a:pt x="57" y="823"/>
                  </a:lnTo>
                  <a:lnTo>
                    <a:pt x="56" y="825"/>
                  </a:lnTo>
                  <a:lnTo>
                    <a:pt x="54" y="821"/>
                  </a:lnTo>
                  <a:lnTo>
                    <a:pt x="52" y="818"/>
                  </a:lnTo>
                  <a:lnTo>
                    <a:pt x="54" y="820"/>
                  </a:lnTo>
                  <a:lnTo>
                    <a:pt x="54" y="821"/>
                  </a:lnTo>
                  <a:lnTo>
                    <a:pt x="56" y="825"/>
                  </a:lnTo>
                  <a:lnTo>
                    <a:pt x="54" y="825"/>
                  </a:lnTo>
                  <a:lnTo>
                    <a:pt x="52" y="825"/>
                  </a:lnTo>
                  <a:lnTo>
                    <a:pt x="51" y="827"/>
                  </a:lnTo>
                  <a:lnTo>
                    <a:pt x="51" y="825"/>
                  </a:lnTo>
                  <a:lnTo>
                    <a:pt x="49" y="825"/>
                  </a:lnTo>
                  <a:lnTo>
                    <a:pt x="51" y="825"/>
                  </a:lnTo>
                  <a:lnTo>
                    <a:pt x="51" y="827"/>
                  </a:lnTo>
                  <a:lnTo>
                    <a:pt x="52" y="828"/>
                  </a:lnTo>
                  <a:lnTo>
                    <a:pt x="51" y="828"/>
                  </a:lnTo>
                  <a:lnTo>
                    <a:pt x="51" y="830"/>
                  </a:lnTo>
                  <a:lnTo>
                    <a:pt x="51" y="832"/>
                  </a:lnTo>
                  <a:lnTo>
                    <a:pt x="52" y="832"/>
                  </a:lnTo>
                  <a:lnTo>
                    <a:pt x="51" y="835"/>
                  </a:lnTo>
                  <a:lnTo>
                    <a:pt x="51" y="833"/>
                  </a:lnTo>
                  <a:lnTo>
                    <a:pt x="47" y="833"/>
                  </a:lnTo>
                  <a:lnTo>
                    <a:pt x="45" y="832"/>
                  </a:lnTo>
                  <a:lnTo>
                    <a:pt x="45" y="835"/>
                  </a:lnTo>
                  <a:lnTo>
                    <a:pt x="44" y="837"/>
                  </a:lnTo>
                  <a:lnTo>
                    <a:pt x="42" y="838"/>
                  </a:lnTo>
                  <a:lnTo>
                    <a:pt x="42" y="840"/>
                  </a:lnTo>
                  <a:lnTo>
                    <a:pt x="40" y="840"/>
                  </a:lnTo>
                  <a:lnTo>
                    <a:pt x="40" y="842"/>
                  </a:lnTo>
                  <a:lnTo>
                    <a:pt x="42" y="844"/>
                  </a:lnTo>
                  <a:lnTo>
                    <a:pt x="40" y="845"/>
                  </a:lnTo>
                  <a:lnTo>
                    <a:pt x="42" y="845"/>
                  </a:lnTo>
                  <a:lnTo>
                    <a:pt x="40" y="847"/>
                  </a:lnTo>
                  <a:lnTo>
                    <a:pt x="40" y="849"/>
                  </a:lnTo>
                  <a:lnTo>
                    <a:pt x="40" y="850"/>
                  </a:lnTo>
                  <a:lnTo>
                    <a:pt x="39" y="852"/>
                  </a:lnTo>
                  <a:lnTo>
                    <a:pt x="37" y="850"/>
                  </a:lnTo>
                  <a:lnTo>
                    <a:pt x="39" y="850"/>
                  </a:lnTo>
                  <a:lnTo>
                    <a:pt x="37" y="850"/>
                  </a:lnTo>
                  <a:lnTo>
                    <a:pt x="35" y="852"/>
                  </a:lnTo>
                  <a:lnTo>
                    <a:pt x="35" y="850"/>
                  </a:lnTo>
                  <a:lnTo>
                    <a:pt x="34" y="850"/>
                  </a:lnTo>
                  <a:lnTo>
                    <a:pt x="34" y="849"/>
                  </a:lnTo>
                  <a:lnTo>
                    <a:pt x="34" y="847"/>
                  </a:lnTo>
                  <a:lnTo>
                    <a:pt x="34" y="845"/>
                  </a:lnTo>
                  <a:lnTo>
                    <a:pt x="35" y="847"/>
                  </a:lnTo>
                  <a:lnTo>
                    <a:pt x="35" y="845"/>
                  </a:lnTo>
                  <a:lnTo>
                    <a:pt x="35" y="847"/>
                  </a:lnTo>
                  <a:lnTo>
                    <a:pt x="37" y="845"/>
                  </a:lnTo>
                  <a:lnTo>
                    <a:pt x="37" y="847"/>
                  </a:lnTo>
                  <a:lnTo>
                    <a:pt x="37" y="845"/>
                  </a:lnTo>
                  <a:lnTo>
                    <a:pt x="39" y="845"/>
                  </a:lnTo>
                  <a:lnTo>
                    <a:pt x="37" y="845"/>
                  </a:lnTo>
                  <a:lnTo>
                    <a:pt x="35" y="845"/>
                  </a:lnTo>
                  <a:lnTo>
                    <a:pt x="35" y="844"/>
                  </a:lnTo>
                  <a:lnTo>
                    <a:pt x="37" y="842"/>
                  </a:lnTo>
                  <a:lnTo>
                    <a:pt x="35" y="840"/>
                  </a:lnTo>
                  <a:lnTo>
                    <a:pt x="35" y="838"/>
                  </a:lnTo>
                  <a:lnTo>
                    <a:pt x="37" y="838"/>
                  </a:lnTo>
                  <a:lnTo>
                    <a:pt x="34" y="838"/>
                  </a:lnTo>
                  <a:lnTo>
                    <a:pt x="34" y="837"/>
                  </a:lnTo>
                  <a:lnTo>
                    <a:pt x="34" y="838"/>
                  </a:lnTo>
                  <a:lnTo>
                    <a:pt x="30" y="840"/>
                  </a:lnTo>
                  <a:lnTo>
                    <a:pt x="30" y="837"/>
                  </a:lnTo>
                  <a:lnTo>
                    <a:pt x="32" y="837"/>
                  </a:lnTo>
                  <a:lnTo>
                    <a:pt x="34" y="835"/>
                  </a:lnTo>
                  <a:lnTo>
                    <a:pt x="35" y="833"/>
                  </a:lnTo>
                  <a:lnTo>
                    <a:pt x="34" y="833"/>
                  </a:lnTo>
                  <a:lnTo>
                    <a:pt x="32" y="833"/>
                  </a:lnTo>
                  <a:lnTo>
                    <a:pt x="34" y="832"/>
                  </a:lnTo>
                  <a:lnTo>
                    <a:pt x="34" y="830"/>
                  </a:lnTo>
                  <a:lnTo>
                    <a:pt x="32" y="833"/>
                  </a:lnTo>
                  <a:lnTo>
                    <a:pt x="30" y="833"/>
                  </a:lnTo>
                  <a:lnTo>
                    <a:pt x="32" y="832"/>
                  </a:lnTo>
                  <a:lnTo>
                    <a:pt x="34" y="830"/>
                  </a:lnTo>
                  <a:lnTo>
                    <a:pt x="32" y="832"/>
                  </a:lnTo>
                  <a:lnTo>
                    <a:pt x="34" y="830"/>
                  </a:lnTo>
                  <a:lnTo>
                    <a:pt x="34" y="827"/>
                  </a:lnTo>
                  <a:lnTo>
                    <a:pt x="35" y="825"/>
                  </a:lnTo>
                  <a:lnTo>
                    <a:pt x="37" y="825"/>
                  </a:lnTo>
                  <a:lnTo>
                    <a:pt x="37" y="823"/>
                  </a:lnTo>
                  <a:lnTo>
                    <a:pt x="35" y="823"/>
                  </a:lnTo>
                  <a:lnTo>
                    <a:pt x="34" y="825"/>
                  </a:lnTo>
                  <a:lnTo>
                    <a:pt x="34" y="827"/>
                  </a:lnTo>
                  <a:lnTo>
                    <a:pt x="34" y="825"/>
                  </a:lnTo>
                  <a:lnTo>
                    <a:pt x="34" y="827"/>
                  </a:lnTo>
                  <a:lnTo>
                    <a:pt x="32" y="828"/>
                  </a:lnTo>
                  <a:lnTo>
                    <a:pt x="32" y="830"/>
                  </a:lnTo>
                  <a:lnTo>
                    <a:pt x="30" y="832"/>
                  </a:lnTo>
                  <a:lnTo>
                    <a:pt x="30" y="833"/>
                  </a:lnTo>
                  <a:lnTo>
                    <a:pt x="28" y="835"/>
                  </a:lnTo>
                  <a:lnTo>
                    <a:pt x="28" y="837"/>
                  </a:lnTo>
                  <a:lnTo>
                    <a:pt x="27" y="837"/>
                  </a:lnTo>
                  <a:lnTo>
                    <a:pt x="25" y="840"/>
                  </a:lnTo>
                  <a:lnTo>
                    <a:pt x="25" y="838"/>
                  </a:lnTo>
                  <a:lnTo>
                    <a:pt x="25" y="840"/>
                  </a:lnTo>
                  <a:lnTo>
                    <a:pt x="25" y="838"/>
                  </a:lnTo>
                  <a:lnTo>
                    <a:pt x="23" y="838"/>
                  </a:lnTo>
                  <a:lnTo>
                    <a:pt x="23" y="837"/>
                  </a:lnTo>
                  <a:lnTo>
                    <a:pt x="22" y="837"/>
                  </a:lnTo>
                  <a:lnTo>
                    <a:pt x="22" y="835"/>
                  </a:lnTo>
                  <a:lnTo>
                    <a:pt x="23" y="835"/>
                  </a:lnTo>
                  <a:lnTo>
                    <a:pt x="22" y="833"/>
                  </a:lnTo>
                  <a:lnTo>
                    <a:pt x="20" y="835"/>
                  </a:lnTo>
                  <a:lnTo>
                    <a:pt x="20" y="833"/>
                  </a:lnTo>
                  <a:lnTo>
                    <a:pt x="20" y="835"/>
                  </a:lnTo>
                  <a:lnTo>
                    <a:pt x="18" y="835"/>
                  </a:lnTo>
                  <a:lnTo>
                    <a:pt x="18" y="833"/>
                  </a:lnTo>
                  <a:lnTo>
                    <a:pt x="20" y="833"/>
                  </a:lnTo>
                  <a:lnTo>
                    <a:pt x="22" y="832"/>
                  </a:lnTo>
                  <a:lnTo>
                    <a:pt x="20" y="832"/>
                  </a:lnTo>
                  <a:lnTo>
                    <a:pt x="20" y="830"/>
                  </a:lnTo>
                  <a:lnTo>
                    <a:pt x="18" y="832"/>
                  </a:lnTo>
                  <a:lnTo>
                    <a:pt x="17" y="830"/>
                  </a:lnTo>
                  <a:lnTo>
                    <a:pt x="18" y="827"/>
                  </a:lnTo>
                  <a:lnTo>
                    <a:pt x="20" y="828"/>
                  </a:lnTo>
                  <a:lnTo>
                    <a:pt x="20" y="827"/>
                  </a:lnTo>
                  <a:lnTo>
                    <a:pt x="20" y="828"/>
                  </a:lnTo>
                  <a:lnTo>
                    <a:pt x="22" y="828"/>
                  </a:lnTo>
                  <a:lnTo>
                    <a:pt x="22" y="827"/>
                  </a:lnTo>
                  <a:lnTo>
                    <a:pt x="22" y="825"/>
                  </a:lnTo>
                  <a:lnTo>
                    <a:pt x="20" y="827"/>
                  </a:lnTo>
                  <a:lnTo>
                    <a:pt x="18" y="825"/>
                  </a:lnTo>
                  <a:lnTo>
                    <a:pt x="18" y="827"/>
                  </a:lnTo>
                  <a:lnTo>
                    <a:pt x="17" y="827"/>
                  </a:lnTo>
                  <a:lnTo>
                    <a:pt x="17" y="825"/>
                  </a:lnTo>
                  <a:lnTo>
                    <a:pt x="17" y="823"/>
                  </a:lnTo>
                  <a:lnTo>
                    <a:pt x="18" y="821"/>
                  </a:lnTo>
                  <a:lnTo>
                    <a:pt x="20" y="823"/>
                  </a:lnTo>
                  <a:lnTo>
                    <a:pt x="20" y="821"/>
                  </a:lnTo>
                  <a:lnTo>
                    <a:pt x="22" y="823"/>
                  </a:lnTo>
                  <a:lnTo>
                    <a:pt x="23" y="823"/>
                  </a:lnTo>
                  <a:lnTo>
                    <a:pt x="22" y="823"/>
                  </a:lnTo>
                  <a:lnTo>
                    <a:pt x="22" y="821"/>
                  </a:lnTo>
                  <a:lnTo>
                    <a:pt x="20" y="820"/>
                  </a:lnTo>
                  <a:lnTo>
                    <a:pt x="20" y="818"/>
                  </a:lnTo>
                  <a:lnTo>
                    <a:pt x="22" y="820"/>
                  </a:lnTo>
                  <a:lnTo>
                    <a:pt x="22" y="818"/>
                  </a:lnTo>
                  <a:lnTo>
                    <a:pt x="20" y="818"/>
                  </a:lnTo>
                  <a:lnTo>
                    <a:pt x="20" y="816"/>
                  </a:lnTo>
                  <a:lnTo>
                    <a:pt x="20" y="813"/>
                  </a:lnTo>
                  <a:lnTo>
                    <a:pt x="22" y="813"/>
                  </a:lnTo>
                  <a:lnTo>
                    <a:pt x="23" y="815"/>
                  </a:lnTo>
                  <a:lnTo>
                    <a:pt x="25" y="816"/>
                  </a:lnTo>
                  <a:lnTo>
                    <a:pt x="27" y="818"/>
                  </a:lnTo>
                  <a:lnTo>
                    <a:pt x="27" y="820"/>
                  </a:lnTo>
                  <a:lnTo>
                    <a:pt x="27" y="818"/>
                  </a:lnTo>
                  <a:lnTo>
                    <a:pt x="28" y="820"/>
                  </a:lnTo>
                  <a:lnTo>
                    <a:pt x="28" y="821"/>
                  </a:lnTo>
                  <a:lnTo>
                    <a:pt x="30" y="820"/>
                  </a:lnTo>
                  <a:lnTo>
                    <a:pt x="32" y="820"/>
                  </a:lnTo>
                  <a:lnTo>
                    <a:pt x="34" y="818"/>
                  </a:lnTo>
                  <a:lnTo>
                    <a:pt x="35" y="818"/>
                  </a:lnTo>
                  <a:lnTo>
                    <a:pt x="37" y="818"/>
                  </a:lnTo>
                  <a:lnTo>
                    <a:pt x="37" y="816"/>
                  </a:lnTo>
                  <a:lnTo>
                    <a:pt x="37" y="815"/>
                  </a:lnTo>
                  <a:lnTo>
                    <a:pt x="37" y="813"/>
                  </a:lnTo>
                  <a:lnTo>
                    <a:pt x="39" y="809"/>
                  </a:lnTo>
                  <a:lnTo>
                    <a:pt x="37" y="811"/>
                  </a:lnTo>
                  <a:lnTo>
                    <a:pt x="37" y="809"/>
                  </a:lnTo>
                  <a:lnTo>
                    <a:pt x="37" y="806"/>
                  </a:lnTo>
                  <a:lnTo>
                    <a:pt x="37" y="804"/>
                  </a:lnTo>
                  <a:lnTo>
                    <a:pt x="39" y="804"/>
                  </a:lnTo>
                  <a:lnTo>
                    <a:pt x="39" y="806"/>
                  </a:lnTo>
                  <a:lnTo>
                    <a:pt x="40" y="808"/>
                  </a:lnTo>
                  <a:lnTo>
                    <a:pt x="42" y="806"/>
                  </a:lnTo>
                  <a:lnTo>
                    <a:pt x="44" y="806"/>
                  </a:lnTo>
                  <a:lnTo>
                    <a:pt x="45" y="806"/>
                  </a:lnTo>
                  <a:lnTo>
                    <a:pt x="42" y="806"/>
                  </a:lnTo>
                  <a:lnTo>
                    <a:pt x="40" y="808"/>
                  </a:lnTo>
                  <a:lnTo>
                    <a:pt x="40" y="804"/>
                  </a:lnTo>
                  <a:lnTo>
                    <a:pt x="37" y="804"/>
                  </a:lnTo>
                  <a:lnTo>
                    <a:pt x="37" y="803"/>
                  </a:lnTo>
                  <a:lnTo>
                    <a:pt x="39" y="803"/>
                  </a:lnTo>
                  <a:lnTo>
                    <a:pt x="40" y="799"/>
                  </a:lnTo>
                  <a:lnTo>
                    <a:pt x="39" y="801"/>
                  </a:lnTo>
                  <a:lnTo>
                    <a:pt x="35" y="801"/>
                  </a:lnTo>
                  <a:lnTo>
                    <a:pt x="35" y="799"/>
                  </a:lnTo>
                  <a:lnTo>
                    <a:pt x="37" y="798"/>
                  </a:lnTo>
                  <a:lnTo>
                    <a:pt x="39" y="796"/>
                  </a:lnTo>
                  <a:lnTo>
                    <a:pt x="40" y="794"/>
                  </a:lnTo>
                  <a:lnTo>
                    <a:pt x="39" y="794"/>
                  </a:lnTo>
                  <a:lnTo>
                    <a:pt x="39" y="796"/>
                  </a:lnTo>
                  <a:lnTo>
                    <a:pt x="37" y="798"/>
                  </a:lnTo>
                  <a:lnTo>
                    <a:pt x="35" y="799"/>
                  </a:lnTo>
                  <a:lnTo>
                    <a:pt x="34" y="801"/>
                  </a:lnTo>
                  <a:lnTo>
                    <a:pt x="32" y="801"/>
                  </a:lnTo>
                  <a:lnTo>
                    <a:pt x="32" y="804"/>
                  </a:lnTo>
                  <a:lnTo>
                    <a:pt x="32" y="806"/>
                  </a:lnTo>
                  <a:lnTo>
                    <a:pt x="28" y="806"/>
                  </a:lnTo>
                  <a:lnTo>
                    <a:pt x="27" y="808"/>
                  </a:lnTo>
                  <a:lnTo>
                    <a:pt x="25" y="808"/>
                  </a:lnTo>
                  <a:lnTo>
                    <a:pt x="25" y="809"/>
                  </a:lnTo>
                  <a:lnTo>
                    <a:pt x="25" y="808"/>
                  </a:lnTo>
                  <a:lnTo>
                    <a:pt x="23" y="808"/>
                  </a:lnTo>
                  <a:lnTo>
                    <a:pt x="23" y="809"/>
                  </a:lnTo>
                  <a:lnTo>
                    <a:pt x="25" y="809"/>
                  </a:lnTo>
                  <a:lnTo>
                    <a:pt x="23" y="809"/>
                  </a:lnTo>
                  <a:lnTo>
                    <a:pt x="22" y="811"/>
                  </a:lnTo>
                  <a:lnTo>
                    <a:pt x="20" y="809"/>
                  </a:lnTo>
                  <a:lnTo>
                    <a:pt x="20" y="808"/>
                  </a:lnTo>
                  <a:lnTo>
                    <a:pt x="18" y="806"/>
                  </a:lnTo>
                  <a:lnTo>
                    <a:pt x="17" y="804"/>
                  </a:lnTo>
                  <a:lnTo>
                    <a:pt x="17" y="803"/>
                  </a:lnTo>
                  <a:lnTo>
                    <a:pt x="17" y="801"/>
                  </a:lnTo>
                  <a:lnTo>
                    <a:pt x="18" y="803"/>
                  </a:lnTo>
                  <a:lnTo>
                    <a:pt x="20" y="804"/>
                  </a:lnTo>
                  <a:lnTo>
                    <a:pt x="22" y="806"/>
                  </a:lnTo>
                  <a:lnTo>
                    <a:pt x="20" y="804"/>
                  </a:lnTo>
                  <a:lnTo>
                    <a:pt x="20" y="803"/>
                  </a:lnTo>
                  <a:lnTo>
                    <a:pt x="22" y="804"/>
                  </a:lnTo>
                  <a:lnTo>
                    <a:pt x="20" y="803"/>
                  </a:lnTo>
                  <a:lnTo>
                    <a:pt x="18" y="801"/>
                  </a:lnTo>
                  <a:lnTo>
                    <a:pt x="17" y="799"/>
                  </a:lnTo>
                  <a:lnTo>
                    <a:pt x="18" y="799"/>
                  </a:lnTo>
                  <a:lnTo>
                    <a:pt x="17" y="798"/>
                  </a:lnTo>
                  <a:lnTo>
                    <a:pt x="18" y="801"/>
                  </a:lnTo>
                  <a:lnTo>
                    <a:pt x="18" y="798"/>
                  </a:lnTo>
                  <a:lnTo>
                    <a:pt x="18" y="799"/>
                  </a:lnTo>
                  <a:lnTo>
                    <a:pt x="20" y="799"/>
                  </a:lnTo>
                  <a:lnTo>
                    <a:pt x="17" y="798"/>
                  </a:lnTo>
                  <a:lnTo>
                    <a:pt x="15" y="796"/>
                  </a:lnTo>
                  <a:lnTo>
                    <a:pt x="13" y="794"/>
                  </a:lnTo>
                  <a:lnTo>
                    <a:pt x="11" y="792"/>
                  </a:lnTo>
                  <a:lnTo>
                    <a:pt x="11" y="794"/>
                  </a:lnTo>
                  <a:lnTo>
                    <a:pt x="11" y="792"/>
                  </a:lnTo>
                  <a:lnTo>
                    <a:pt x="11" y="791"/>
                  </a:lnTo>
                  <a:lnTo>
                    <a:pt x="13" y="792"/>
                  </a:lnTo>
                  <a:lnTo>
                    <a:pt x="13" y="791"/>
                  </a:lnTo>
                  <a:lnTo>
                    <a:pt x="15" y="792"/>
                  </a:lnTo>
                  <a:lnTo>
                    <a:pt x="15" y="794"/>
                  </a:lnTo>
                  <a:lnTo>
                    <a:pt x="17" y="796"/>
                  </a:lnTo>
                  <a:lnTo>
                    <a:pt x="17" y="794"/>
                  </a:lnTo>
                  <a:lnTo>
                    <a:pt x="17" y="796"/>
                  </a:lnTo>
                  <a:lnTo>
                    <a:pt x="17" y="794"/>
                  </a:lnTo>
                  <a:lnTo>
                    <a:pt x="18" y="796"/>
                  </a:lnTo>
                  <a:lnTo>
                    <a:pt x="20" y="798"/>
                  </a:lnTo>
                  <a:lnTo>
                    <a:pt x="22" y="798"/>
                  </a:lnTo>
                  <a:lnTo>
                    <a:pt x="22" y="799"/>
                  </a:lnTo>
                  <a:lnTo>
                    <a:pt x="23" y="798"/>
                  </a:lnTo>
                  <a:lnTo>
                    <a:pt x="23" y="799"/>
                  </a:lnTo>
                  <a:lnTo>
                    <a:pt x="23" y="801"/>
                  </a:lnTo>
                  <a:lnTo>
                    <a:pt x="25" y="803"/>
                  </a:lnTo>
                  <a:lnTo>
                    <a:pt x="25" y="804"/>
                  </a:lnTo>
                  <a:lnTo>
                    <a:pt x="25" y="803"/>
                  </a:lnTo>
                  <a:lnTo>
                    <a:pt x="27" y="804"/>
                  </a:lnTo>
                  <a:lnTo>
                    <a:pt x="27" y="806"/>
                  </a:lnTo>
                  <a:lnTo>
                    <a:pt x="28" y="806"/>
                  </a:lnTo>
                  <a:lnTo>
                    <a:pt x="28" y="804"/>
                  </a:lnTo>
                  <a:lnTo>
                    <a:pt x="27" y="803"/>
                  </a:lnTo>
                  <a:lnTo>
                    <a:pt x="25" y="803"/>
                  </a:lnTo>
                  <a:lnTo>
                    <a:pt x="25" y="801"/>
                  </a:lnTo>
                  <a:lnTo>
                    <a:pt x="27" y="801"/>
                  </a:lnTo>
                  <a:lnTo>
                    <a:pt x="27" y="803"/>
                  </a:lnTo>
                  <a:lnTo>
                    <a:pt x="28" y="804"/>
                  </a:lnTo>
                  <a:lnTo>
                    <a:pt x="28" y="803"/>
                  </a:lnTo>
                  <a:lnTo>
                    <a:pt x="27" y="801"/>
                  </a:lnTo>
                  <a:lnTo>
                    <a:pt x="28" y="799"/>
                  </a:lnTo>
                  <a:lnTo>
                    <a:pt x="27" y="801"/>
                  </a:lnTo>
                  <a:lnTo>
                    <a:pt x="27" y="798"/>
                  </a:lnTo>
                  <a:lnTo>
                    <a:pt x="25" y="799"/>
                  </a:lnTo>
                  <a:lnTo>
                    <a:pt x="25" y="798"/>
                  </a:lnTo>
                  <a:lnTo>
                    <a:pt x="25" y="796"/>
                  </a:lnTo>
                  <a:lnTo>
                    <a:pt x="23" y="798"/>
                  </a:lnTo>
                  <a:lnTo>
                    <a:pt x="22" y="796"/>
                  </a:lnTo>
                  <a:lnTo>
                    <a:pt x="23" y="794"/>
                  </a:lnTo>
                  <a:lnTo>
                    <a:pt x="23" y="792"/>
                  </a:lnTo>
                  <a:lnTo>
                    <a:pt x="25" y="792"/>
                  </a:lnTo>
                  <a:lnTo>
                    <a:pt x="25" y="791"/>
                  </a:lnTo>
                  <a:lnTo>
                    <a:pt x="25" y="789"/>
                  </a:lnTo>
                  <a:lnTo>
                    <a:pt x="27" y="789"/>
                  </a:lnTo>
                  <a:lnTo>
                    <a:pt x="28" y="789"/>
                  </a:lnTo>
                  <a:lnTo>
                    <a:pt x="30" y="791"/>
                  </a:lnTo>
                  <a:lnTo>
                    <a:pt x="34" y="789"/>
                  </a:lnTo>
                  <a:lnTo>
                    <a:pt x="30" y="789"/>
                  </a:lnTo>
                  <a:lnTo>
                    <a:pt x="30" y="787"/>
                  </a:lnTo>
                  <a:lnTo>
                    <a:pt x="32" y="786"/>
                  </a:lnTo>
                  <a:lnTo>
                    <a:pt x="28" y="787"/>
                  </a:lnTo>
                  <a:lnTo>
                    <a:pt x="27" y="787"/>
                  </a:lnTo>
                  <a:lnTo>
                    <a:pt x="25" y="789"/>
                  </a:lnTo>
                  <a:lnTo>
                    <a:pt x="25" y="791"/>
                  </a:lnTo>
                  <a:lnTo>
                    <a:pt x="23" y="791"/>
                  </a:lnTo>
                  <a:lnTo>
                    <a:pt x="23" y="792"/>
                  </a:lnTo>
                  <a:lnTo>
                    <a:pt x="22" y="791"/>
                  </a:lnTo>
                  <a:lnTo>
                    <a:pt x="20" y="791"/>
                  </a:lnTo>
                  <a:lnTo>
                    <a:pt x="20" y="789"/>
                  </a:lnTo>
                  <a:lnTo>
                    <a:pt x="22" y="789"/>
                  </a:lnTo>
                  <a:lnTo>
                    <a:pt x="20" y="789"/>
                  </a:lnTo>
                  <a:lnTo>
                    <a:pt x="20" y="791"/>
                  </a:lnTo>
                  <a:lnTo>
                    <a:pt x="20" y="789"/>
                  </a:lnTo>
                  <a:lnTo>
                    <a:pt x="18" y="789"/>
                  </a:lnTo>
                  <a:lnTo>
                    <a:pt x="18" y="791"/>
                  </a:lnTo>
                  <a:lnTo>
                    <a:pt x="17" y="791"/>
                  </a:lnTo>
                  <a:lnTo>
                    <a:pt x="17" y="789"/>
                  </a:lnTo>
                  <a:lnTo>
                    <a:pt x="17" y="791"/>
                  </a:lnTo>
                  <a:lnTo>
                    <a:pt x="15" y="791"/>
                  </a:lnTo>
                  <a:lnTo>
                    <a:pt x="17" y="791"/>
                  </a:lnTo>
                  <a:lnTo>
                    <a:pt x="15" y="789"/>
                  </a:lnTo>
                  <a:lnTo>
                    <a:pt x="15" y="786"/>
                  </a:lnTo>
                  <a:lnTo>
                    <a:pt x="15" y="784"/>
                  </a:lnTo>
                  <a:lnTo>
                    <a:pt x="13" y="784"/>
                  </a:lnTo>
                  <a:lnTo>
                    <a:pt x="15" y="781"/>
                  </a:lnTo>
                  <a:lnTo>
                    <a:pt x="13" y="781"/>
                  </a:lnTo>
                  <a:lnTo>
                    <a:pt x="15" y="782"/>
                  </a:lnTo>
                  <a:lnTo>
                    <a:pt x="18" y="782"/>
                  </a:lnTo>
                  <a:lnTo>
                    <a:pt x="17" y="784"/>
                  </a:lnTo>
                  <a:lnTo>
                    <a:pt x="17" y="786"/>
                  </a:lnTo>
                  <a:lnTo>
                    <a:pt x="17" y="789"/>
                  </a:lnTo>
                  <a:lnTo>
                    <a:pt x="18" y="787"/>
                  </a:lnTo>
                  <a:lnTo>
                    <a:pt x="17" y="786"/>
                  </a:lnTo>
                  <a:lnTo>
                    <a:pt x="18" y="784"/>
                  </a:lnTo>
                  <a:lnTo>
                    <a:pt x="18" y="782"/>
                  </a:lnTo>
                  <a:lnTo>
                    <a:pt x="22" y="782"/>
                  </a:lnTo>
                  <a:lnTo>
                    <a:pt x="25" y="781"/>
                  </a:lnTo>
                  <a:lnTo>
                    <a:pt x="22" y="781"/>
                  </a:lnTo>
                  <a:lnTo>
                    <a:pt x="20" y="782"/>
                  </a:lnTo>
                  <a:lnTo>
                    <a:pt x="20" y="779"/>
                  </a:lnTo>
                  <a:lnTo>
                    <a:pt x="18" y="781"/>
                  </a:lnTo>
                  <a:lnTo>
                    <a:pt x="17" y="781"/>
                  </a:lnTo>
                  <a:lnTo>
                    <a:pt x="17" y="779"/>
                  </a:lnTo>
                  <a:lnTo>
                    <a:pt x="17" y="781"/>
                  </a:lnTo>
                  <a:lnTo>
                    <a:pt x="15" y="781"/>
                  </a:lnTo>
                  <a:lnTo>
                    <a:pt x="15" y="777"/>
                  </a:lnTo>
                  <a:lnTo>
                    <a:pt x="15" y="775"/>
                  </a:lnTo>
                  <a:lnTo>
                    <a:pt x="15" y="774"/>
                  </a:lnTo>
                  <a:lnTo>
                    <a:pt x="17" y="774"/>
                  </a:lnTo>
                  <a:lnTo>
                    <a:pt x="18" y="774"/>
                  </a:lnTo>
                  <a:lnTo>
                    <a:pt x="20" y="774"/>
                  </a:lnTo>
                  <a:lnTo>
                    <a:pt x="22" y="774"/>
                  </a:lnTo>
                  <a:lnTo>
                    <a:pt x="23" y="775"/>
                  </a:lnTo>
                  <a:lnTo>
                    <a:pt x="25" y="777"/>
                  </a:lnTo>
                  <a:lnTo>
                    <a:pt x="27" y="777"/>
                  </a:lnTo>
                  <a:lnTo>
                    <a:pt x="30" y="777"/>
                  </a:lnTo>
                  <a:lnTo>
                    <a:pt x="30" y="779"/>
                  </a:lnTo>
                  <a:lnTo>
                    <a:pt x="30" y="781"/>
                  </a:lnTo>
                  <a:lnTo>
                    <a:pt x="30" y="779"/>
                  </a:lnTo>
                  <a:lnTo>
                    <a:pt x="30" y="777"/>
                  </a:lnTo>
                  <a:lnTo>
                    <a:pt x="32" y="775"/>
                  </a:lnTo>
                  <a:lnTo>
                    <a:pt x="34" y="775"/>
                  </a:lnTo>
                  <a:lnTo>
                    <a:pt x="35" y="774"/>
                  </a:lnTo>
                  <a:lnTo>
                    <a:pt x="37" y="775"/>
                  </a:lnTo>
                  <a:lnTo>
                    <a:pt x="35" y="774"/>
                  </a:lnTo>
                  <a:lnTo>
                    <a:pt x="37" y="772"/>
                  </a:lnTo>
                  <a:lnTo>
                    <a:pt x="37" y="774"/>
                  </a:lnTo>
                  <a:lnTo>
                    <a:pt x="40" y="772"/>
                  </a:lnTo>
                  <a:lnTo>
                    <a:pt x="42" y="772"/>
                  </a:lnTo>
                  <a:lnTo>
                    <a:pt x="42" y="774"/>
                  </a:lnTo>
                  <a:lnTo>
                    <a:pt x="40" y="775"/>
                  </a:lnTo>
                  <a:lnTo>
                    <a:pt x="42" y="777"/>
                  </a:lnTo>
                  <a:lnTo>
                    <a:pt x="42" y="775"/>
                  </a:lnTo>
                  <a:lnTo>
                    <a:pt x="42" y="774"/>
                  </a:lnTo>
                  <a:lnTo>
                    <a:pt x="44" y="774"/>
                  </a:lnTo>
                  <a:lnTo>
                    <a:pt x="44" y="772"/>
                  </a:lnTo>
                  <a:lnTo>
                    <a:pt x="45" y="772"/>
                  </a:lnTo>
                  <a:lnTo>
                    <a:pt x="47" y="772"/>
                  </a:lnTo>
                  <a:lnTo>
                    <a:pt x="49" y="774"/>
                  </a:lnTo>
                  <a:lnTo>
                    <a:pt x="51" y="772"/>
                  </a:lnTo>
                  <a:lnTo>
                    <a:pt x="52" y="772"/>
                  </a:lnTo>
                  <a:lnTo>
                    <a:pt x="52" y="774"/>
                  </a:lnTo>
                  <a:lnTo>
                    <a:pt x="54" y="772"/>
                  </a:lnTo>
                  <a:lnTo>
                    <a:pt x="56" y="774"/>
                  </a:lnTo>
                  <a:lnTo>
                    <a:pt x="57" y="774"/>
                  </a:lnTo>
                  <a:lnTo>
                    <a:pt x="59" y="775"/>
                  </a:lnTo>
                  <a:lnTo>
                    <a:pt x="59" y="777"/>
                  </a:lnTo>
                  <a:lnTo>
                    <a:pt x="57" y="779"/>
                  </a:lnTo>
                  <a:lnTo>
                    <a:pt x="59" y="779"/>
                  </a:lnTo>
                  <a:lnTo>
                    <a:pt x="59" y="777"/>
                  </a:lnTo>
                  <a:lnTo>
                    <a:pt x="62" y="777"/>
                  </a:lnTo>
                  <a:lnTo>
                    <a:pt x="61" y="781"/>
                  </a:lnTo>
                  <a:lnTo>
                    <a:pt x="59" y="781"/>
                  </a:lnTo>
                  <a:lnTo>
                    <a:pt x="62" y="781"/>
                  </a:lnTo>
                  <a:lnTo>
                    <a:pt x="61" y="781"/>
                  </a:lnTo>
                  <a:lnTo>
                    <a:pt x="62" y="779"/>
                  </a:lnTo>
                  <a:lnTo>
                    <a:pt x="62" y="777"/>
                  </a:lnTo>
                  <a:lnTo>
                    <a:pt x="66" y="775"/>
                  </a:lnTo>
                  <a:lnTo>
                    <a:pt x="66" y="774"/>
                  </a:lnTo>
                  <a:lnTo>
                    <a:pt x="68" y="775"/>
                  </a:lnTo>
                  <a:lnTo>
                    <a:pt x="69" y="774"/>
                  </a:lnTo>
                  <a:lnTo>
                    <a:pt x="69" y="772"/>
                  </a:lnTo>
                  <a:lnTo>
                    <a:pt x="69" y="770"/>
                  </a:lnTo>
                  <a:lnTo>
                    <a:pt x="71" y="769"/>
                  </a:lnTo>
                  <a:lnTo>
                    <a:pt x="73" y="772"/>
                  </a:lnTo>
                  <a:lnTo>
                    <a:pt x="74" y="772"/>
                  </a:lnTo>
                  <a:lnTo>
                    <a:pt x="78" y="772"/>
                  </a:lnTo>
                  <a:lnTo>
                    <a:pt x="78" y="774"/>
                  </a:lnTo>
                  <a:lnTo>
                    <a:pt x="78" y="775"/>
                  </a:lnTo>
                  <a:lnTo>
                    <a:pt x="79" y="777"/>
                  </a:lnTo>
                  <a:lnTo>
                    <a:pt x="81" y="775"/>
                  </a:lnTo>
                  <a:lnTo>
                    <a:pt x="83" y="779"/>
                  </a:lnTo>
                  <a:lnTo>
                    <a:pt x="83" y="781"/>
                  </a:lnTo>
                  <a:lnTo>
                    <a:pt x="83" y="782"/>
                  </a:lnTo>
                  <a:lnTo>
                    <a:pt x="83" y="784"/>
                  </a:lnTo>
                  <a:lnTo>
                    <a:pt x="81" y="784"/>
                  </a:lnTo>
                  <a:lnTo>
                    <a:pt x="79" y="786"/>
                  </a:lnTo>
                  <a:lnTo>
                    <a:pt x="78" y="787"/>
                  </a:lnTo>
                  <a:lnTo>
                    <a:pt x="78" y="789"/>
                  </a:lnTo>
                  <a:lnTo>
                    <a:pt x="76" y="791"/>
                  </a:lnTo>
                  <a:lnTo>
                    <a:pt x="78" y="789"/>
                  </a:lnTo>
                  <a:lnTo>
                    <a:pt x="78" y="787"/>
                  </a:lnTo>
                  <a:lnTo>
                    <a:pt x="79" y="786"/>
                  </a:lnTo>
                  <a:lnTo>
                    <a:pt x="81" y="786"/>
                  </a:lnTo>
                  <a:lnTo>
                    <a:pt x="83" y="784"/>
                  </a:lnTo>
                  <a:lnTo>
                    <a:pt x="85" y="786"/>
                  </a:lnTo>
                  <a:lnTo>
                    <a:pt x="86" y="787"/>
                  </a:lnTo>
                  <a:lnTo>
                    <a:pt x="86" y="789"/>
                  </a:lnTo>
                  <a:lnTo>
                    <a:pt x="86" y="791"/>
                  </a:lnTo>
                  <a:lnTo>
                    <a:pt x="86" y="792"/>
                  </a:lnTo>
                  <a:lnTo>
                    <a:pt x="88" y="789"/>
                  </a:lnTo>
                  <a:lnTo>
                    <a:pt x="88" y="787"/>
                  </a:lnTo>
                  <a:lnTo>
                    <a:pt x="88" y="786"/>
                  </a:lnTo>
                  <a:lnTo>
                    <a:pt x="86" y="786"/>
                  </a:lnTo>
                  <a:lnTo>
                    <a:pt x="85" y="784"/>
                  </a:lnTo>
                  <a:lnTo>
                    <a:pt x="85" y="782"/>
                  </a:lnTo>
                  <a:lnTo>
                    <a:pt x="83" y="781"/>
                  </a:lnTo>
                  <a:lnTo>
                    <a:pt x="83" y="779"/>
                  </a:lnTo>
                  <a:lnTo>
                    <a:pt x="83" y="775"/>
                  </a:lnTo>
                  <a:lnTo>
                    <a:pt x="85" y="775"/>
                  </a:lnTo>
                  <a:lnTo>
                    <a:pt x="86" y="775"/>
                  </a:lnTo>
                  <a:lnTo>
                    <a:pt x="88" y="774"/>
                  </a:lnTo>
                  <a:lnTo>
                    <a:pt x="90" y="774"/>
                  </a:lnTo>
                  <a:lnTo>
                    <a:pt x="91" y="772"/>
                  </a:lnTo>
                  <a:lnTo>
                    <a:pt x="93" y="774"/>
                  </a:lnTo>
                  <a:lnTo>
                    <a:pt x="95" y="774"/>
                  </a:lnTo>
                  <a:lnTo>
                    <a:pt x="96" y="775"/>
                  </a:lnTo>
                  <a:lnTo>
                    <a:pt x="98" y="775"/>
                  </a:lnTo>
                  <a:lnTo>
                    <a:pt x="96" y="775"/>
                  </a:lnTo>
                  <a:lnTo>
                    <a:pt x="95" y="772"/>
                  </a:lnTo>
                  <a:lnTo>
                    <a:pt x="96" y="772"/>
                  </a:lnTo>
                  <a:lnTo>
                    <a:pt x="98" y="770"/>
                  </a:lnTo>
                  <a:lnTo>
                    <a:pt x="100" y="769"/>
                  </a:lnTo>
                  <a:lnTo>
                    <a:pt x="103" y="770"/>
                  </a:lnTo>
                  <a:lnTo>
                    <a:pt x="103" y="769"/>
                  </a:lnTo>
                  <a:lnTo>
                    <a:pt x="105" y="767"/>
                  </a:lnTo>
                  <a:lnTo>
                    <a:pt x="107" y="767"/>
                  </a:lnTo>
                  <a:lnTo>
                    <a:pt x="105" y="767"/>
                  </a:lnTo>
                  <a:lnTo>
                    <a:pt x="103" y="769"/>
                  </a:lnTo>
                  <a:lnTo>
                    <a:pt x="102" y="769"/>
                  </a:lnTo>
                  <a:lnTo>
                    <a:pt x="100" y="769"/>
                  </a:lnTo>
                  <a:lnTo>
                    <a:pt x="98" y="769"/>
                  </a:lnTo>
                  <a:lnTo>
                    <a:pt x="96" y="769"/>
                  </a:lnTo>
                  <a:lnTo>
                    <a:pt x="96" y="767"/>
                  </a:lnTo>
                  <a:lnTo>
                    <a:pt x="96" y="764"/>
                  </a:lnTo>
                  <a:lnTo>
                    <a:pt x="93" y="762"/>
                  </a:lnTo>
                  <a:lnTo>
                    <a:pt x="96" y="760"/>
                  </a:lnTo>
                  <a:lnTo>
                    <a:pt x="96" y="758"/>
                  </a:lnTo>
                  <a:lnTo>
                    <a:pt x="96" y="757"/>
                  </a:lnTo>
                  <a:lnTo>
                    <a:pt x="100" y="753"/>
                  </a:lnTo>
                  <a:lnTo>
                    <a:pt x="102" y="752"/>
                  </a:lnTo>
                  <a:lnTo>
                    <a:pt x="103" y="750"/>
                  </a:lnTo>
                  <a:lnTo>
                    <a:pt x="103" y="748"/>
                  </a:lnTo>
                  <a:lnTo>
                    <a:pt x="103" y="750"/>
                  </a:lnTo>
                  <a:lnTo>
                    <a:pt x="102" y="750"/>
                  </a:lnTo>
                  <a:lnTo>
                    <a:pt x="98" y="752"/>
                  </a:lnTo>
                  <a:lnTo>
                    <a:pt x="98" y="753"/>
                  </a:lnTo>
                  <a:lnTo>
                    <a:pt x="96" y="755"/>
                  </a:lnTo>
                  <a:lnTo>
                    <a:pt x="95" y="757"/>
                  </a:lnTo>
                  <a:lnTo>
                    <a:pt x="93" y="755"/>
                  </a:lnTo>
                  <a:lnTo>
                    <a:pt x="95" y="757"/>
                  </a:lnTo>
                  <a:lnTo>
                    <a:pt x="95" y="758"/>
                  </a:lnTo>
                  <a:lnTo>
                    <a:pt x="95" y="760"/>
                  </a:lnTo>
                  <a:lnTo>
                    <a:pt x="93" y="760"/>
                  </a:lnTo>
                  <a:lnTo>
                    <a:pt x="91" y="762"/>
                  </a:lnTo>
                  <a:lnTo>
                    <a:pt x="93" y="764"/>
                  </a:lnTo>
                  <a:lnTo>
                    <a:pt x="95" y="764"/>
                  </a:lnTo>
                  <a:lnTo>
                    <a:pt x="95" y="765"/>
                  </a:lnTo>
                  <a:lnTo>
                    <a:pt x="95" y="767"/>
                  </a:lnTo>
                  <a:lnTo>
                    <a:pt x="95" y="769"/>
                  </a:lnTo>
                  <a:lnTo>
                    <a:pt x="96" y="770"/>
                  </a:lnTo>
                  <a:lnTo>
                    <a:pt x="93" y="772"/>
                  </a:lnTo>
                  <a:lnTo>
                    <a:pt x="91" y="770"/>
                  </a:lnTo>
                  <a:lnTo>
                    <a:pt x="90" y="770"/>
                  </a:lnTo>
                  <a:lnTo>
                    <a:pt x="88" y="772"/>
                  </a:lnTo>
                  <a:lnTo>
                    <a:pt x="86" y="774"/>
                  </a:lnTo>
                  <a:lnTo>
                    <a:pt x="85" y="774"/>
                  </a:lnTo>
                  <a:lnTo>
                    <a:pt x="81" y="775"/>
                  </a:lnTo>
                  <a:lnTo>
                    <a:pt x="81" y="774"/>
                  </a:lnTo>
                  <a:lnTo>
                    <a:pt x="79" y="772"/>
                  </a:lnTo>
                  <a:lnTo>
                    <a:pt x="83" y="772"/>
                  </a:lnTo>
                  <a:lnTo>
                    <a:pt x="83" y="770"/>
                  </a:lnTo>
                  <a:lnTo>
                    <a:pt x="85" y="769"/>
                  </a:lnTo>
                  <a:lnTo>
                    <a:pt x="88" y="769"/>
                  </a:lnTo>
                  <a:lnTo>
                    <a:pt x="86" y="767"/>
                  </a:lnTo>
                  <a:lnTo>
                    <a:pt x="88" y="765"/>
                  </a:lnTo>
                  <a:lnTo>
                    <a:pt x="88" y="764"/>
                  </a:lnTo>
                  <a:lnTo>
                    <a:pt x="86" y="765"/>
                  </a:lnTo>
                  <a:lnTo>
                    <a:pt x="86" y="767"/>
                  </a:lnTo>
                  <a:lnTo>
                    <a:pt x="83" y="769"/>
                  </a:lnTo>
                  <a:lnTo>
                    <a:pt x="83" y="772"/>
                  </a:lnTo>
                  <a:lnTo>
                    <a:pt x="79" y="770"/>
                  </a:lnTo>
                  <a:lnTo>
                    <a:pt x="78" y="769"/>
                  </a:lnTo>
                  <a:lnTo>
                    <a:pt x="76" y="769"/>
                  </a:lnTo>
                  <a:lnTo>
                    <a:pt x="73" y="769"/>
                  </a:lnTo>
                  <a:lnTo>
                    <a:pt x="71" y="767"/>
                  </a:lnTo>
                  <a:lnTo>
                    <a:pt x="69" y="767"/>
                  </a:lnTo>
                  <a:lnTo>
                    <a:pt x="69" y="765"/>
                  </a:lnTo>
                  <a:lnTo>
                    <a:pt x="71" y="764"/>
                  </a:lnTo>
                  <a:lnTo>
                    <a:pt x="73" y="762"/>
                  </a:lnTo>
                  <a:lnTo>
                    <a:pt x="73" y="760"/>
                  </a:lnTo>
                  <a:lnTo>
                    <a:pt x="73" y="758"/>
                  </a:lnTo>
                  <a:lnTo>
                    <a:pt x="74" y="757"/>
                  </a:lnTo>
                  <a:lnTo>
                    <a:pt x="74" y="755"/>
                  </a:lnTo>
                  <a:lnTo>
                    <a:pt x="74" y="753"/>
                  </a:lnTo>
                  <a:lnTo>
                    <a:pt x="74" y="752"/>
                  </a:lnTo>
                  <a:lnTo>
                    <a:pt x="74" y="753"/>
                  </a:lnTo>
                  <a:lnTo>
                    <a:pt x="74" y="755"/>
                  </a:lnTo>
                  <a:lnTo>
                    <a:pt x="74" y="757"/>
                  </a:lnTo>
                  <a:lnTo>
                    <a:pt x="71" y="760"/>
                  </a:lnTo>
                  <a:lnTo>
                    <a:pt x="71" y="762"/>
                  </a:lnTo>
                  <a:lnTo>
                    <a:pt x="68" y="764"/>
                  </a:lnTo>
                  <a:lnTo>
                    <a:pt x="68" y="762"/>
                  </a:lnTo>
                  <a:lnTo>
                    <a:pt x="68" y="760"/>
                  </a:lnTo>
                  <a:lnTo>
                    <a:pt x="68" y="762"/>
                  </a:lnTo>
                  <a:lnTo>
                    <a:pt x="66" y="762"/>
                  </a:lnTo>
                  <a:lnTo>
                    <a:pt x="68" y="764"/>
                  </a:lnTo>
                  <a:lnTo>
                    <a:pt x="68" y="765"/>
                  </a:lnTo>
                  <a:lnTo>
                    <a:pt x="68" y="767"/>
                  </a:lnTo>
                  <a:lnTo>
                    <a:pt x="66" y="767"/>
                  </a:lnTo>
                  <a:lnTo>
                    <a:pt x="64" y="765"/>
                  </a:lnTo>
                  <a:lnTo>
                    <a:pt x="66" y="767"/>
                  </a:lnTo>
                  <a:lnTo>
                    <a:pt x="68" y="767"/>
                  </a:lnTo>
                  <a:lnTo>
                    <a:pt x="66" y="769"/>
                  </a:lnTo>
                  <a:lnTo>
                    <a:pt x="68" y="770"/>
                  </a:lnTo>
                  <a:lnTo>
                    <a:pt x="68" y="772"/>
                  </a:lnTo>
                  <a:lnTo>
                    <a:pt x="64" y="772"/>
                  </a:lnTo>
                  <a:lnTo>
                    <a:pt x="64" y="774"/>
                  </a:lnTo>
                  <a:lnTo>
                    <a:pt x="62" y="774"/>
                  </a:lnTo>
                  <a:lnTo>
                    <a:pt x="61" y="774"/>
                  </a:lnTo>
                  <a:lnTo>
                    <a:pt x="59" y="772"/>
                  </a:lnTo>
                  <a:lnTo>
                    <a:pt x="57" y="772"/>
                  </a:lnTo>
                  <a:lnTo>
                    <a:pt x="56" y="769"/>
                  </a:lnTo>
                  <a:lnTo>
                    <a:pt x="54" y="770"/>
                  </a:lnTo>
                  <a:lnTo>
                    <a:pt x="52" y="770"/>
                  </a:lnTo>
                  <a:lnTo>
                    <a:pt x="51" y="770"/>
                  </a:lnTo>
                  <a:lnTo>
                    <a:pt x="49" y="769"/>
                  </a:lnTo>
                  <a:lnTo>
                    <a:pt x="51" y="767"/>
                  </a:lnTo>
                  <a:lnTo>
                    <a:pt x="51" y="765"/>
                  </a:lnTo>
                  <a:lnTo>
                    <a:pt x="51" y="767"/>
                  </a:lnTo>
                  <a:lnTo>
                    <a:pt x="49" y="767"/>
                  </a:lnTo>
                  <a:lnTo>
                    <a:pt x="47" y="769"/>
                  </a:lnTo>
                  <a:lnTo>
                    <a:pt x="45" y="769"/>
                  </a:lnTo>
                  <a:lnTo>
                    <a:pt x="44" y="769"/>
                  </a:lnTo>
                  <a:lnTo>
                    <a:pt x="42" y="769"/>
                  </a:lnTo>
                  <a:lnTo>
                    <a:pt x="42" y="767"/>
                  </a:lnTo>
                  <a:lnTo>
                    <a:pt x="44" y="765"/>
                  </a:lnTo>
                  <a:lnTo>
                    <a:pt x="42" y="765"/>
                  </a:lnTo>
                  <a:lnTo>
                    <a:pt x="42" y="767"/>
                  </a:lnTo>
                  <a:lnTo>
                    <a:pt x="42" y="769"/>
                  </a:lnTo>
                  <a:lnTo>
                    <a:pt x="39" y="769"/>
                  </a:lnTo>
                  <a:lnTo>
                    <a:pt x="39" y="770"/>
                  </a:lnTo>
                  <a:lnTo>
                    <a:pt x="37" y="770"/>
                  </a:lnTo>
                  <a:lnTo>
                    <a:pt x="35" y="770"/>
                  </a:lnTo>
                  <a:lnTo>
                    <a:pt x="35" y="769"/>
                  </a:lnTo>
                  <a:lnTo>
                    <a:pt x="35" y="770"/>
                  </a:lnTo>
                  <a:lnTo>
                    <a:pt x="34" y="772"/>
                  </a:lnTo>
                  <a:lnTo>
                    <a:pt x="32" y="772"/>
                  </a:lnTo>
                  <a:lnTo>
                    <a:pt x="28" y="774"/>
                  </a:lnTo>
                  <a:lnTo>
                    <a:pt x="27" y="775"/>
                  </a:lnTo>
                  <a:lnTo>
                    <a:pt x="27" y="774"/>
                  </a:lnTo>
                  <a:lnTo>
                    <a:pt x="25" y="772"/>
                  </a:lnTo>
                  <a:lnTo>
                    <a:pt x="27" y="770"/>
                  </a:lnTo>
                  <a:lnTo>
                    <a:pt x="25" y="772"/>
                  </a:lnTo>
                  <a:lnTo>
                    <a:pt x="23" y="772"/>
                  </a:lnTo>
                  <a:lnTo>
                    <a:pt x="23" y="770"/>
                  </a:lnTo>
                  <a:lnTo>
                    <a:pt x="23" y="772"/>
                  </a:lnTo>
                  <a:lnTo>
                    <a:pt x="22" y="772"/>
                  </a:lnTo>
                  <a:lnTo>
                    <a:pt x="22" y="769"/>
                  </a:lnTo>
                  <a:lnTo>
                    <a:pt x="23" y="770"/>
                  </a:lnTo>
                  <a:lnTo>
                    <a:pt x="22" y="767"/>
                  </a:lnTo>
                  <a:lnTo>
                    <a:pt x="20" y="769"/>
                  </a:lnTo>
                  <a:lnTo>
                    <a:pt x="18" y="767"/>
                  </a:lnTo>
                  <a:lnTo>
                    <a:pt x="17" y="767"/>
                  </a:lnTo>
                  <a:lnTo>
                    <a:pt x="18" y="765"/>
                  </a:lnTo>
                  <a:lnTo>
                    <a:pt x="20" y="765"/>
                  </a:lnTo>
                  <a:lnTo>
                    <a:pt x="22" y="765"/>
                  </a:lnTo>
                  <a:lnTo>
                    <a:pt x="23" y="767"/>
                  </a:lnTo>
                  <a:lnTo>
                    <a:pt x="25" y="767"/>
                  </a:lnTo>
                  <a:lnTo>
                    <a:pt x="23" y="765"/>
                  </a:lnTo>
                  <a:lnTo>
                    <a:pt x="25" y="767"/>
                  </a:lnTo>
                  <a:lnTo>
                    <a:pt x="25" y="765"/>
                  </a:lnTo>
                  <a:lnTo>
                    <a:pt x="23" y="765"/>
                  </a:lnTo>
                  <a:lnTo>
                    <a:pt x="22" y="764"/>
                  </a:lnTo>
                  <a:lnTo>
                    <a:pt x="18" y="764"/>
                  </a:lnTo>
                  <a:lnTo>
                    <a:pt x="17" y="764"/>
                  </a:lnTo>
                  <a:lnTo>
                    <a:pt x="15" y="764"/>
                  </a:lnTo>
                  <a:lnTo>
                    <a:pt x="17" y="762"/>
                  </a:lnTo>
                  <a:lnTo>
                    <a:pt x="18" y="762"/>
                  </a:lnTo>
                  <a:lnTo>
                    <a:pt x="18" y="760"/>
                  </a:lnTo>
                  <a:lnTo>
                    <a:pt x="18" y="762"/>
                  </a:lnTo>
                  <a:lnTo>
                    <a:pt x="15" y="762"/>
                  </a:lnTo>
                  <a:lnTo>
                    <a:pt x="17" y="760"/>
                  </a:lnTo>
                  <a:lnTo>
                    <a:pt x="15" y="760"/>
                  </a:lnTo>
                  <a:lnTo>
                    <a:pt x="15" y="758"/>
                  </a:lnTo>
                  <a:lnTo>
                    <a:pt x="17" y="758"/>
                  </a:lnTo>
                  <a:lnTo>
                    <a:pt x="18" y="758"/>
                  </a:lnTo>
                  <a:lnTo>
                    <a:pt x="17" y="758"/>
                  </a:lnTo>
                  <a:lnTo>
                    <a:pt x="17" y="757"/>
                  </a:lnTo>
                  <a:lnTo>
                    <a:pt x="20" y="758"/>
                  </a:lnTo>
                  <a:lnTo>
                    <a:pt x="20" y="757"/>
                  </a:lnTo>
                  <a:lnTo>
                    <a:pt x="20" y="758"/>
                  </a:lnTo>
                  <a:lnTo>
                    <a:pt x="23" y="758"/>
                  </a:lnTo>
                  <a:lnTo>
                    <a:pt x="22" y="755"/>
                  </a:lnTo>
                  <a:lnTo>
                    <a:pt x="23" y="755"/>
                  </a:lnTo>
                  <a:lnTo>
                    <a:pt x="25" y="755"/>
                  </a:lnTo>
                  <a:lnTo>
                    <a:pt x="27" y="757"/>
                  </a:lnTo>
                  <a:lnTo>
                    <a:pt x="27" y="755"/>
                  </a:lnTo>
                  <a:lnTo>
                    <a:pt x="27" y="757"/>
                  </a:lnTo>
                  <a:lnTo>
                    <a:pt x="27" y="755"/>
                  </a:lnTo>
                  <a:lnTo>
                    <a:pt x="25" y="755"/>
                  </a:lnTo>
                  <a:lnTo>
                    <a:pt x="27" y="755"/>
                  </a:lnTo>
                  <a:lnTo>
                    <a:pt x="28" y="753"/>
                  </a:lnTo>
                  <a:lnTo>
                    <a:pt x="30" y="753"/>
                  </a:lnTo>
                  <a:lnTo>
                    <a:pt x="32" y="753"/>
                  </a:lnTo>
                  <a:lnTo>
                    <a:pt x="34" y="753"/>
                  </a:lnTo>
                  <a:lnTo>
                    <a:pt x="35" y="755"/>
                  </a:lnTo>
                  <a:lnTo>
                    <a:pt x="37" y="753"/>
                  </a:lnTo>
                  <a:lnTo>
                    <a:pt x="39" y="755"/>
                  </a:lnTo>
                  <a:lnTo>
                    <a:pt x="39" y="753"/>
                  </a:lnTo>
                  <a:lnTo>
                    <a:pt x="37" y="753"/>
                  </a:lnTo>
                  <a:lnTo>
                    <a:pt x="35" y="753"/>
                  </a:lnTo>
                  <a:lnTo>
                    <a:pt x="34" y="753"/>
                  </a:lnTo>
                  <a:lnTo>
                    <a:pt x="30" y="753"/>
                  </a:lnTo>
                  <a:lnTo>
                    <a:pt x="30" y="752"/>
                  </a:lnTo>
                  <a:lnTo>
                    <a:pt x="28" y="753"/>
                  </a:lnTo>
                  <a:lnTo>
                    <a:pt x="25" y="753"/>
                  </a:lnTo>
                  <a:lnTo>
                    <a:pt x="22" y="753"/>
                  </a:lnTo>
                  <a:lnTo>
                    <a:pt x="22" y="755"/>
                  </a:lnTo>
                  <a:lnTo>
                    <a:pt x="18" y="755"/>
                  </a:lnTo>
                  <a:lnTo>
                    <a:pt x="18" y="757"/>
                  </a:lnTo>
                  <a:lnTo>
                    <a:pt x="18" y="755"/>
                  </a:lnTo>
                  <a:lnTo>
                    <a:pt x="20" y="753"/>
                  </a:lnTo>
                  <a:lnTo>
                    <a:pt x="18" y="753"/>
                  </a:lnTo>
                  <a:lnTo>
                    <a:pt x="18" y="755"/>
                  </a:lnTo>
                  <a:lnTo>
                    <a:pt x="17" y="755"/>
                  </a:lnTo>
                  <a:lnTo>
                    <a:pt x="17" y="752"/>
                  </a:lnTo>
                  <a:lnTo>
                    <a:pt x="18" y="750"/>
                  </a:lnTo>
                  <a:lnTo>
                    <a:pt x="18" y="752"/>
                  </a:lnTo>
                  <a:lnTo>
                    <a:pt x="20" y="750"/>
                  </a:lnTo>
                  <a:lnTo>
                    <a:pt x="22" y="748"/>
                  </a:lnTo>
                  <a:lnTo>
                    <a:pt x="18" y="748"/>
                  </a:lnTo>
                  <a:lnTo>
                    <a:pt x="17" y="750"/>
                  </a:lnTo>
                  <a:lnTo>
                    <a:pt x="15" y="748"/>
                  </a:lnTo>
                  <a:lnTo>
                    <a:pt x="17" y="748"/>
                  </a:lnTo>
                  <a:lnTo>
                    <a:pt x="18" y="747"/>
                  </a:lnTo>
                  <a:lnTo>
                    <a:pt x="22" y="747"/>
                  </a:lnTo>
                  <a:lnTo>
                    <a:pt x="23" y="747"/>
                  </a:lnTo>
                  <a:lnTo>
                    <a:pt x="25" y="747"/>
                  </a:lnTo>
                  <a:lnTo>
                    <a:pt x="23" y="745"/>
                  </a:lnTo>
                  <a:lnTo>
                    <a:pt x="25" y="745"/>
                  </a:lnTo>
                  <a:lnTo>
                    <a:pt x="25" y="747"/>
                  </a:lnTo>
                  <a:lnTo>
                    <a:pt x="27" y="747"/>
                  </a:lnTo>
                  <a:lnTo>
                    <a:pt x="28" y="747"/>
                  </a:lnTo>
                  <a:lnTo>
                    <a:pt x="27" y="745"/>
                  </a:lnTo>
                  <a:lnTo>
                    <a:pt x="30" y="747"/>
                  </a:lnTo>
                  <a:lnTo>
                    <a:pt x="32" y="748"/>
                  </a:lnTo>
                  <a:lnTo>
                    <a:pt x="30" y="748"/>
                  </a:lnTo>
                  <a:lnTo>
                    <a:pt x="34" y="748"/>
                  </a:lnTo>
                  <a:lnTo>
                    <a:pt x="35" y="748"/>
                  </a:lnTo>
                  <a:lnTo>
                    <a:pt x="37" y="748"/>
                  </a:lnTo>
                  <a:lnTo>
                    <a:pt x="39" y="747"/>
                  </a:lnTo>
                  <a:lnTo>
                    <a:pt x="40" y="745"/>
                  </a:lnTo>
                  <a:lnTo>
                    <a:pt x="42" y="747"/>
                  </a:lnTo>
                  <a:lnTo>
                    <a:pt x="44" y="748"/>
                  </a:lnTo>
                  <a:lnTo>
                    <a:pt x="44" y="747"/>
                  </a:lnTo>
                  <a:lnTo>
                    <a:pt x="44" y="745"/>
                  </a:lnTo>
                  <a:lnTo>
                    <a:pt x="40" y="745"/>
                  </a:lnTo>
                  <a:lnTo>
                    <a:pt x="39" y="745"/>
                  </a:lnTo>
                  <a:lnTo>
                    <a:pt x="37" y="747"/>
                  </a:lnTo>
                  <a:lnTo>
                    <a:pt x="34" y="747"/>
                  </a:lnTo>
                  <a:lnTo>
                    <a:pt x="34" y="748"/>
                  </a:lnTo>
                  <a:lnTo>
                    <a:pt x="32" y="748"/>
                  </a:lnTo>
                  <a:lnTo>
                    <a:pt x="30" y="747"/>
                  </a:lnTo>
                  <a:lnTo>
                    <a:pt x="32" y="747"/>
                  </a:lnTo>
                  <a:lnTo>
                    <a:pt x="32" y="745"/>
                  </a:lnTo>
                  <a:lnTo>
                    <a:pt x="34" y="745"/>
                  </a:lnTo>
                  <a:lnTo>
                    <a:pt x="32" y="745"/>
                  </a:lnTo>
                  <a:lnTo>
                    <a:pt x="30" y="745"/>
                  </a:lnTo>
                  <a:lnTo>
                    <a:pt x="28" y="745"/>
                  </a:lnTo>
                  <a:lnTo>
                    <a:pt x="27" y="745"/>
                  </a:lnTo>
                  <a:lnTo>
                    <a:pt x="25" y="745"/>
                  </a:lnTo>
                  <a:lnTo>
                    <a:pt x="23" y="743"/>
                  </a:lnTo>
                  <a:lnTo>
                    <a:pt x="22" y="743"/>
                  </a:lnTo>
                  <a:lnTo>
                    <a:pt x="22" y="741"/>
                  </a:lnTo>
                  <a:lnTo>
                    <a:pt x="23" y="741"/>
                  </a:lnTo>
                  <a:lnTo>
                    <a:pt x="22" y="741"/>
                  </a:lnTo>
                  <a:lnTo>
                    <a:pt x="22" y="740"/>
                  </a:lnTo>
                  <a:lnTo>
                    <a:pt x="23" y="740"/>
                  </a:lnTo>
                  <a:lnTo>
                    <a:pt x="25" y="741"/>
                  </a:lnTo>
                  <a:lnTo>
                    <a:pt x="27" y="741"/>
                  </a:lnTo>
                  <a:lnTo>
                    <a:pt x="25" y="740"/>
                  </a:lnTo>
                  <a:lnTo>
                    <a:pt x="27" y="741"/>
                  </a:lnTo>
                  <a:lnTo>
                    <a:pt x="28" y="740"/>
                  </a:lnTo>
                  <a:lnTo>
                    <a:pt x="30" y="741"/>
                  </a:lnTo>
                  <a:lnTo>
                    <a:pt x="28" y="740"/>
                  </a:lnTo>
                  <a:lnTo>
                    <a:pt x="25" y="740"/>
                  </a:lnTo>
                  <a:lnTo>
                    <a:pt x="23" y="738"/>
                  </a:lnTo>
                  <a:lnTo>
                    <a:pt x="23" y="736"/>
                  </a:lnTo>
                  <a:lnTo>
                    <a:pt x="25" y="736"/>
                  </a:lnTo>
                  <a:lnTo>
                    <a:pt x="27" y="736"/>
                  </a:lnTo>
                  <a:lnTo>
                    <a:pt x="28" y="736"/>
                  </a:lnTo>
                  <a:lnTo>
                    <a:pt x="30" y="738"/>
                  </a:lnTo>
                  <a:lnTo>
                    <a:pt x="28" y="738"/>
                  </a:lnTo>
                  <a:lnTo>
                    <a:pt x="28" y="740"/>
                  </a:lnTo>
                  <a:lnTo>
                    <a:pt x="32" y="740"/>
                  </a:lnTo>
                  <a:lnTo>
                    <a:pt x="32" y="738"/>
                  </a:lnTo>
                  <a:lnTo>
                    <a:pt x="30" y="738"/>
                  </a:lnTo>
                  <a:lnTo>
                    <a:pt x="30" y="736"/>
                  </a:lnTo>
                  <a:lnTo>
                    <a:pt x="28" y="736"/>
                  </a:lnTo>
                  <a:lnTo>
                    <a:pt x="27" y="736"/>
                  </a:lnTo>
                  <a:lnTo>
                    <a:pt x="25" y="736"/>
                  </a:lnTo>
                  <a:lnTo>
                    <a:pt x="22" y="736"/>
                  </a:lnTo>
                  <a:lnTo>
                    <a:pt x="23" y="735"/>
                  </a:lnTo>
                  <a:lnTo>
                    <a:pt x="25" y="736"/>
                  </a:lnTo>
                  <a:lnTo>
                    <a:pt x="27" y="735"/>
                  </a:lnTo>
                  <a:lnTo>
                    <a:pt x="28" y="735"/>
                  </a:lnTo>
                  <a:lnTo>
                    <a:pt x="32" y="735"/>
                  </a:lnTo>
                  <a:lnTo>
                    <a:pt x="30" y="735"/>
                  </a:lnTo>
                  <a:lnTo>
                    <a:pt x="28" y="735"/>
                  </a:lnTo>
                  <a:lnTo>
                    <a:pt x="27" y="735"/>
                  </a:lnTo>
                  <a:lnTo>
                    <a:pt x="23" y="735"/>
                  </a:lnTo>
                  <a:lnTo>
                    <a:pt x="25" y="735"/>
                  </a:lnTo>
                  <a:lnTo>
                    <a:pt x="22" y="735"/>
                  </a:lnTo>
                  <a:lnTo>
                    <a:pt x="20" y="733"/>
                  </a:lnTo>
                  <a:lnTo>
                    <a:pt x="18" y="735"/>
                  </a:lnTo>
                  <a:lnTo>
                    <a:pt x="17" y="733"/>
                  </a:lnTo>
                  <a:lnTo>
                    <a:pt x="17" y="735"/>
                  </a:lnTo>
                  <a:lnTo>
                    <a:pt x="17" y="733"/>
                  </a:lnTo>
                  <a:lnTo>
                    <a:pt x="17" y="731"/>
                  </a:lnTo>
                  <a:lnTo>
                    <a:pt x="17" y="730"/>
                  </a:lnTo>
                  <a:lnTo>
                    <a:pt x="17" y="728"/>
                  </a:lnTo>
                  <a:lnTo>
                    <a:pt x="18" y="728"/>
                  </a:lnTo>
                  <a:lnTo>
                    <a:pt x="17" y="726"/>
                  </a:lnTo>
                  <a:lnTo>
                    <a:pt x="18" y="724"/>
                  </a:lnTo>
                  <a:lnTo>
                    <a:pt x="20" y="726"/>
                  </a:lnTo>
                  <a:lnTo>
                    <a:pt x="20" y="730"/>
                  </a:lnTo>
                  <a:lnTo>
                    <a:pt x="22" y="726"/>
                  </a:lnTo>
                  <a:lnTo>
                    <a:pt x="23" y="728"/>
                  </a:lnTo>
                  <a:lnTo>
                    <a:pt x="22" y="730"/>
                  </a:lnTo>
                  <a:lnTo>
                    <a:pt x="23" y="728"/>
                  </a:lnTo>
                  <a:lnTo>
                    <a:pt x="25" y="728"/>
                  </a:lnTo>
                  <a:lnTo>
                    <a:pt x="22" y="726"/>
                  </a:lnTo>
                  <a:lnTo>
                    <a:pt x="25" y="726"/>
                  </a:lnTo>
                  <a:lnTo>
                    <a:pt x="25" y="724"/>
                  </a:lnTo>
                  <a:lnTo>
                    <a:pt x="27" y="726"/>
                  </a:lnTo>
                  <a:lnTo>
                    <a:pt x="27" y="724"/>
                  </a:lnTo>
                  <a:lnTo>
                    <a:pt x="25" y="724"/>
                  </a:lnTo>
                  <a:lnTo>
                    <a:pt x="23" y="724"/>
                  </a:lnTo>
                  <a:lnTo>
                    <a:pt x="22" y="726"/>
                  </a:lnTo>
                  <a:lnTo>
                    <a:pt x="20" y="724"/>
                  </a:lnTo>
                  <a:lnTo>
                    <a:pt x="23" y="723"/>
                  </a:lnTo>
                  <a:lnTo>
                    <a:pt x="25" y="723"/>
                  </a:lnTo>
                  <a:lnTo>
                    <a:pt x="25" y="721"/>
                  </a:lnTo>
                  <a:lnTo>
                    <a:pt x="28" y="721"/>
                  </a:lnTo>
                  <a:lnTo>
                    <a:pt x="27" y="721"/>
                  </a:lnTo>
                  <a:lnTo>
                    <a:pt x="28" y="719"/>
                  </a:lnTo>
                  <a:lnTo>
                    <a:pt x="30" y="719"/>
                  </a:lnTo>
                  <a:lnTo>
                    <a:pt x="28" y="719"/>
                  </a:lnTo>
                  <a:lnTo>
                    <a:pt x="28" y="718"/>
                  </a:lnTo>
                  <a:lnTo>
                    <a:pt x="30" y="716"/>
                  </a:lnTo>
                  <a:lnTo>
                    <a:pt x="32" y="714"/>
                  </a:lnTo>
                  <a:lnTo>
                    <a:pt x="34" y="716"/>
                  </a:lnTo>
                  <a:lnTo>
                    <a:pt x="35" y="716"/>
                  </a:lnTo>
                  <a:lnTo>
                    <a:pt x="37" y="718"/>
                  </a:lnTo>
                  <a:lnTo>
                    <a:pt x="39" y="716"/>
                  </a:lnTo>
                  <a:lnTo>
                    <a:pt x="40" y="718"/>
                  </a:lnTo>
                  <a:lnTo>
                    <a:pt x="42" y="718"/>
                  </a:lnTo>
                  <a:lnTo>
                    <a:pt x="42" y="719"/>
                  </a:lnTo>
                  <a:lnTo>
                    <a:pt x="44" y="719"/>
                  </a:lnTo>
                  <a:lnTo>
                    <a:pt x="42" y="721"/>
                  </a:lnTo>
                  <a:lnTo>
                    <a:pt x="40" y="721"/>
                  </a:lnTo>
                  <a:lnTo>
                    <a:pt x="39" y="723"/>
                  </a:lnTo>
                  <a:lnTo>
                    <a:pt x="40" y="721"/>
                  </a:lnTo>
                  <a:lnTo>
                    <a:pt x="44" y="721"/>
                  </a:lnTo>
                  <a:lnTo>
                    <a:pt x="45" y="721"/>
                  </a:lnTo>
                  <a:lnTo>
                    <a:pt x="47" y="719"/>
                  </a:lnTo>
                  <a:lnTo>
                    <a:pt x="49" y="719"/>
                  </a:lnTo>
                  <a:lnTo>
                    <a:pt x="51" y="721"/>
                  </a:lnTo>
                  <a:lnTo>
                    <a:pt x="51" y="723"/>
                  </a:lnTo>
                  <a:lnTo>
                    <a:pt x="49" y="724"/>
                  </a:lnTo>
                  <a:lnTo>
                    <a:pt x="49" y="726"/>
                  </a:lnTo>
                  <a:lnTo>
                    <a:pt x="47" y="728"/>
                  </a:lnTo>
                  <a:lnTo>
                    <a:pt x="47" y="730"/>
                  </a:lnTo>
                  <a:lnTo>
                    <a:pt x="49" y="728"/>
                  </a:lnTo>
                  <a:lnTo>
                    <a:pt x="49" y="726"/>
                  </a:lnTo>
                  <a:lnTo>
                    <a:pt x="51" y="724"/>
                  </a:lnTo>
                  <a:lnTo>
                    <a:pt x="51" y="723"/>
                  </a:lnTo>
                  <a:lnTo>
                    <a:pt x="51" y="721"/>
                  </a:lnTo>
                  <a:lnTo>
                    <a:pt x="52" y="721"/>
                  </a:lnTo>
                  <a:lnTo>
                    <a:pt x="52" y="723"/>
                  </a:lnTo>
                  <a:lnTo>
                    <a:pt x="54" y="724"/>
                  </a:lnTo>
                  <a:lnTo>
                    <a:pt x="54" y="726"/>
                  </a:lnTo>
                  <a:lnTo>
                    <a:pt x="57" y="728"/>
                  </a:lnTo>
                  <a:lnTo>
                    <a:pt x="57" y="726"/>
                  </a:lnTo>
                  <a:lnTo>
                    <a:pt x="57" y="728"/>
                  </a:lnTo>
                  <a:lnTo>
                    <a:pt x="57" y="726"/>
                  </a:lnTo>
                  <a:lnTo>
                    <a:pt x="56" y="723"/>
                  </a:lnTo>
                  <a:lnTo>
                    <a:pt x="54" y="723"/>
                  </a:lnTo>
                  <a:lnTo>
                    <a:pt x="54" y="721"/>
                  </a:lnTo>
                  <a:lnTo>
                    <a:pt x="56" y="723"/>
                  </a:lnTo>
                  <a:lnTo>
                    <a:pt x="57" y="723"/>
                  </a:lnTo>
                  <a:lnTo>
                    <a:pt x="59" y="721"/>
                  </a:lnTo>
                  <a:lnTo>
                    <a:pt x="61" y="721"/>
                  </a:lnTo>
                  <a:lnTo>
                    <a:pt x="62" y="723"/>
                  </a:lnTo>
                  <a:lnTo>
                    <a:pt x="64" y="724"/>
                  </a:lnTo>
                  <a:lnTo>
                    <a:pt x="66" y="724"/>
                  </a:lnTo>
                  <a:lnTo>
                    <a:pt x="68" y="724"/>
                  </a:lnTo>
                  <a:lnTo>
                    <a:pt x="69" y="724"/>
                  </a:lnTo>
                  <a:lnTo>
                    <a:pt x="69" y="723"/>
                  </a:lnTo>
                  <a:lnTo>
                    <a:pt x="71" y="723"/>
                  </a:lnTo>
                  <a:lnTo>
                    <a:pt x="71" y="721"/>
                  </a:lnTo>
                  <a:lnTo>
                    <a:pt x="73" y="719"/>
                  </a:lnTo>
                  <a:lnTo>
                    <a:pt x="74" y="721"/>
                  </a:lnTo>
                  <a:lnTo>
                    <a:pt x="76" y="721"/>
                  </a:lnTo>
                  <a:lnTo>
                    <a:pt x="78" y="723"/>
                  </a:lnTo>
                  <a:lnTo>
                    <a:pt x="78" y="721"/>
                  </a:lnTo>
                  <a:lnTo>
                    <a:pt x="79" y="721"/>
                  </a:lnTo>
                  <a:lnTo>
                    <a:pt x="78" y="721"/>
                  </a:lnTo>
                  <a:lnTo>
                    <a:pt x="76" y="719"/>
                  </a:lnTo>
                  <a:lnTo>
                    <a:pt x="74" y="719"/>
                  </a:lnTo>
                  <a:lnTo>
                    <a:pt x="74" y="718"/>
                  </a:lnTo>
                  <a:lnTo>
                    <a:pt x="74" y="719"/>
                  </a:lnTo>
                  <a:lnTo>
                    <a:pt x="73" y="719"/>
                  </a:lnTo>
                  <a:lnTo>
                    <a:pt x="69" y="719"/>
                  </a:lnTo>
                  <a:lnTo>
                    <a:pt x="69" y="721"/>
                  </a:lnTo>
                  <a:lnTo>
                    <a:pt x="69" y="723"/>
                  </a:lnTo>
                  <a:lnTo>
                    <a:pt x="66" y="723"/>
                  </a:lnTo>
                  <a:lnTo>
                    <a:pt x="64" y="723"/>
                  </a:lnTo>
                  <a:lnTo>
                    <a:pt x="62" y="721"/>
                  </a:lnTo>
                  <a:lnTo>
                    <a:pt x="59" y="721"/>
                  </a:lnTo>
                  <a:lnTo>
                    <a:pt x="57" y="721"/>
                  </a:lnTo>
                  <a:lnTo>
                    <a:pt x="56" y="721"/>
                  </a:lnTo>
                  <a:lnTo>
                    <a:pt x="54" y="719"/>
                  </a:lnTo>
                  <a:lnTo>
                    <a:pt x="52" y="719"/>
                  </a:lnTo>
                  <a:lnTo>
                    <a:pt x="51" y="719"/>
                  </a:lnTo>
                  <a:lnTo>
                    <a:pt x="49" y="718"/>
                  </a:lnTo>
                  <a:lnTo>
                    <a:pt x="47" y="719"/>
                  </a:lnTo>
                  <a:lnTo>
                    <a:pt x="45" y="719"/>
                  </a:lnTo>
                  <a:lnTo>
                    <a:pt x="44" y="719"/>
                  </a:lnTo>
                  <a:lnTo>
                    <a:pt x="42" y="718"/>
                  </a:lnTo>
                  <a:lnTo>
                    <a:pt x="45" y="716"/>
                  </a:lnTo>
                  <a:lnTo>
                    <a:pt x="45" y="718"/>
                  </a:lnTo>
                  <a:lnTo>
                    <a:pt x="49" y="718"/>
                  </a:lnTo>
                  <a:lnTo>
                    <a:pt x="51" y="718"/>
                  </a:lnTo>
                  <a:lnTo>
                    <a:pt x="51" y="716"/>
                  </a:lnTo>
                  <a:lnTo>
                    <a:pt x="49" y="716"/>
                  </a:lnTo>
                  <a:lnTo>
                    <a:pt x="47" y="716"/>
                  </a:lnTo>
                  <a:lnTo>
                    <a:pt x="44" y="716"/>
                  </a:lnTo>
                  <a:lnTo>
                    <a:pt x="42" y="716"/>
                  </a:lnTo>
                  <a:lnTo>
                    <a:pt x="40" y="716"/>
                  </a:lnTo>
                  <a:lnTo>
                    <a:pt x="39" y="714"/>
                  </a:lnTo>
                  <a:lnTo>
                    <a:pt x="35" y="714"/>
                  </a:lnTo>
                  <a:lnTo>
                    <a:pt x="34" y="714"/>
                  </a:lnTo>
                  <a:lnTo>
                    <a:pt x="34" y="713"/>
                  </a:lnTo>
                  <a:lnTo>
                    <a:pt x="30" y="714"/>
                  </a:lnTo>
                  <a:lnTo>
                    <a:pt x="28" y="716"/>
                  </a:lnTo>
                  <a:lnTo>
                    <a:pt x="27" y="714"/>
                  </a:lnTo>
                  <a:lnTo>
                    <a:pt x="25" y="714"/>
                  </a:lnTo>
                  <a:lnTo>
                    <a:pt x="23" y="716"/>
                  </a:lnTo>
                  <a:lnTo>
                    <a:pt x="23" y="714"/>
                  </a:lnTo>
                  <a:lnTo>
                    <a:pt x="25" y="714"/>
                  </a:lnTo>
                  <a:lnTo>
                    <a:pt x="22" y="714"/>
                  </a:lnTo>
                  <a:lnTo>
                    <a:pt x="22" y="713"/>
                  </a:lnTo>
                  <a:lnTo>
                    <a:pt x="23" y="713"/>
                  </a:lnTo>
                  <a:lnTo>
                    <a:pt x="23" y="714"/>
                  </a:lnTo>
                  <a:lnTo>
                    <a:pt x="23" y="713"/>
                  </a:lnTo>
                  <a:lnTo>
                    <a:pt x="23" y="711"/>
                  </a:lnTo>
                  <a:lnTo>
                    <a:pt x="23" y="709"/>
                  </a:lnTo>
                  <a:lnTo>
                    <a:pt x="25" y="709"/>
                  </a:lnTo>
                  <a:lnTo>
                    <a:pt x="25" y="713"/>
                  </a:lnTo>
                  <a:lnTo>
                    <a:pt x="25" y="709"/>
                  </a:lnTo>
                  <a:lnTo>
                    <a:pt x="27" y="709"/>
                  </a:lnTo>
                  <a:lnTo>
                    <a:pt x="27" y="711"/>
                  </a:lnTo>
                  <a:lnTo>
                    <a:pt x="28" y="713"/>
                  </a:lnTo>
                  <a:lnTo>
                    <a:pt x="28" y="711"/>
                  </a:lnTo>
                  <a:lnTo>
                    <a:pt x="27" y="711"/>
                  </a:lnTo>
                  <a:lnTo>
                    <a:pt x="28" y="709"/>
                  </a:lnTo>
                  <a:lnTo>
                    <a:pt x="28" y="711"/>
                  </a:lnTo>
                  <a:lnTo>
                    <a:pt x="30" y="709"/>
                  </a:lnTo>
                  <a:lnTo>
                    <a:pt x="30" y="706"/>
                  </a:lnTo>
                  <a:lnTo>
                    <a:pt x="34" y="707"/>
                  </a:lnTo>
                  <a:lnTo>
                    <a:pt x="32" y="706"/>
                  </a:lnTo>
                  <a:lnTo>
                    <a:pt x="30" y="706"/>
                  </a:lnTo>
                  <a:lnTo>
                    <a:pt x="30" y="704"/>
                  </a:lnTo>
                  <a:lnTo>
                    <a:pt x="28" y="704"/>
                  </a:lnTo>
                  <a:lnTo>
                    <a:pt x="28" y="702"/>
                  </a:lnTo>
                  <a:lnTo>
                    <a:pt x="27" y="701"/>
                  </a:lnTo>
                  <a:lnTo>
                    <a:pt x="23" y="701"/>
                  </a:lnTo>
                  <a:lnTo>
                    <a:pt x="23" y="699"/>
                  </a:lnTo>
                  <a:lnTo>
                    <a:pt x="25" y="699"/>
                  </a:lnTo>
                  <a:lnTo>
                    <a:pt x="23" y="697"/>
                  </a:lnTo>
                  <a:lnTo>
                    <a:pt x="22" y="696"/>
                  </a:lnTo>
                  <a:lnTo>
                    <a:pt x="23" y="696"/>
                  </a:lnTo>
                  <a:lnTo>
                    <a:pt x="23" y="694"/>
                  </a:lnTo>
                  <a:lnTo>
                    <a:pt x="25" y="696"/>
                  </a:lnTo>
                  <a:lnTo>
                    <a:pt x="27" y="696"/>
                  </a:lnTo>
                  <a:lnTo>
                    <a:pt x="25" y="694"/>
                  </a:lnTo>
                  <a:lnTo>
                    <a:pt x="27" y="694"/>
                  </a:lnTo>
                  <a:lnTo>
                    <a:pt x="28" y="696"/>
                  </a:lnTo>
                  <a:lnTo>
                    <a:pt x="28" y="697"/>
                  </a:lnTo>
                  <a:lnTo>
                    <a:pt x="30" y="697"/>
                  </a:lnTo>
                  <a:lnTo>
                    <a:pt x="28" y="697"/>
                  </a:lnTo>
                  <a:lnTo>
                    <a:pt x="30" y="701"/>
                  </a:lnTo>
                  <a:lnTo>
                    <a:pt x="30" y="702"/>
                  </a:lnTo>
                  <a:lnTo>
                    <a:pt x="32" y="702"/>
                  </a:lnTo>
                  <a:lnTo>
                    <a:pt x="32" y="704"/>
                  </a:lnTo>
                  <a:lnTo>
                    <a:pt x="34" y="704"/>
                  </a:lnTo>
                  <a:lnTo>
                    <a:pt x="34" y="706"/>
                  </a:lnTo>
                  <a:lnTo>
                    <a:pt x="35" y="706"/>
                  </a:lnTo>
                  <a:lnTo>
                    <a:pt x="34" y="706"/>
                  </a:lnTo>
                  <a:lnTo>
                    <a:pt x="35" y="707"/>
                  </a:lnTo>
                  <a:lnTo>
                    <a:pt x="34" y="709"/>
                  </a:lnTo>
                  <a:lnTo>
                    <a:pt x="35" y="709"/>
                  </a:lnTo>
                  <a:lnTo>
                    <a:pt x="35" y="706"/>
                  </a:lnTo>
                  <a:lnTo>
                    <a:pt x="35" y="704"/>
                  </a:lnTo>
                  <a:lnTo>
                    <a:pt x="39" y="704"/>
                  </a:lnTo>
                  <a:lnTo>
                    <a:pt x="39" y="706"/>
                  </a:lnTo>
                  <a:lnTo>
                    <a:pt x="39" y="704"/>
                  </a:lnTo>
                  <a:lnTo>
                    <a:pt x="37" y="702"/>
                  </a:lnTo>
                  <a:lnTo>
                    <a:pt x="34" y="702"/>
                  </a:lnTo>
                  <a:lnTo>
                    <a:pt x="32" y="701"/>
                  </a:lnTo>
                  <a:lnTo>
                    <a:pt x="34" y="697"/>
                  </a:lnTo>
                  <a:lnTo>
                    <a:pt x="34" y="696"/>
                  </a:lnTo>
                  <a:lnTo>
                    <a:pt x="35" y="696"/>
                  </a:lnTo>
                  <a:lnTo>
                    <a:pt x="39" y="697"/>
                  </a:lnTo>
                  <a:lnTo>
                    <a:pt x="40" y="697"/>
                  </a:lnTo>
                  <a:lnTo>
                    <a:pt x="42" y="699"/>
                  </a:lnTo>
                  <a:lnTo>
                    <a:pt x="42" y="701"/>
                  </a:lnTo>
                  <a:lnTo>
                    <a:pt x="42" y="704"/>
                  </a:lnTo>
                  <a:lnTo>
                    <a:pt x="44" y="702"/>
                  </a:lnTo>
                  <a:lnTo>
                    <a:pt x="42" y="701"/>
                  </a:lnTo>
                  <a:lnTo>
                    <a:pt x="42" y="697"/>
                  </a:lnTo>
                  <a:lnTo>
                    <a:pt x="44" y="697"/>
                  </a:lnTo>
                  <a:lnTo>
                    <a:pt x="45" y="696"/>
                  </a:lnTo>
                  <a:lnTo>
                    <a:pt x="47" y="696"/>
                  </a:lnTo>
                  <a:lnTo>
                    <a:pt x="49" y="697"/>
                  </a:lnTo>
                  <a:lnTo>
                    <a:pt x="51" y="699"/>
                  </a:lnTo>
                  <a:lnTo>
                    <a:pt x="51" y="702"/>
                  </a:lnTo>
                  <a:lnTo>
                    <a:pt x="49" y="704"/>
                  </a:lnTo>
                  <a:lnTo>
                    <a:pt x="49" y="706"/>
                  </a:lnTo>
                  <a:lnTo>
                    <a:pt x="47" y="707"/>
                  </a:lnTo>
                  <a:lnTo>
                    <a:pt x="47" y="709"/>
                  </a:lnTo>
                  <a:lnTo>
                    <a:pt x="49" y="707"/>
                  </a:lnTo>
                  <a:lnTo>
                    <a:pt x="49" y="706"/>
                  </a:lnTo>
                  <a:lnTo>
                    <a:pt x="51" y="704"/>
                  </a:lnTo>
                  <a:lnTo>
                    <a:pt x="51" y="702"/>
                  </a:lnTo>
                  <a:lnTo>
                    <a:pt x="51" y="701"/>
                  </a:lnTo>
                  <a:lnTo>
                    <a:pt x="52" y="701"/>
                  </a:lnTo>
                  <a:lnTo>
                    <a:pt x="54" y="702"/>
                  </a:lnTo>
                  <a:lnTo>
                    <a:pt x="56" y="704"/>
                  </a:lnTo>
                  <a:lnTo>
                    <a:pt x="54" y="706"/>
                  </a:lnTo>
                  <a:lnTo>
                    <a:pt x="52" y="707"/>
                  </a:lnTo>
                  <a:lnTo>
                    <a:pt x="54" y="706"/>
                  </a:lnTo>
                  <a:lnTo>
                    <a:pt x="56" y="706"/>
                  </a:lnTo>
                  <a:lnTo>
                    <a:pt x="57" y="704"/>
                  </a:lnTo>
                  <a:lnTo>
                    <a:pt x="61" y="706"/>
                  </a:lnTo>
                  <a:lnTo>
                    <a:pt x="61" y="704"/>
                  </a:lnTo>
                  <a:lnTo>
                    <a:pt x="62" y="706"/>
                  </a:lnTo>
                  <a:lnTo>
                    <a:pt x="61" y="704"/>
                  </a:lnTo>
                  <a:lnTo>
                    <a:pt x="61" y="706"/>
                  </a:lnTo>
                  <a:lnTo>
                    <a:pt x="57" y="704"/>
                  </a:lnTo>
                  <a:lnTo>
                    <a:pt x="57" y="702"/>
                  </a:lnTo>
                  <a:lnTo>
                    <a:pt x="54" y="701"/>
                  </a:lnTo>
                  <a:lnTo>
                    <a:pt x="52" y="699"/>
                  </a:lnTo>
                  <a:lnTo>
                    <a:pt x="52" y="697"/>
                  </a:lnTo>
                  <a:lnTo>
                    <a:pt x="51" y="696"/>
                  </a:lnTo>
                  <a:lnTo>
                    <a:pt x="51" y="694"/>
                  </a:lnTo>
                  <a:lnTo>
                    <a:pt x="52" y="694"/>
                  </a:lnTo>
                  <a:lnTo>
                    <a:pt x="52" y="696"/>
                  </a:lnTo>
                  <a:lnTo>
                    <a:pt x="54" y="696"/>
                  </a:lnTo>
                  <a:lnTo>
                    <a:pt x="56" y="697"/>
                  </a:lnTo>
                  <a:lnTo>
                    <a:pt x="56" y="696"/>
                  </a:lnTo>
                  <a:lnTo>
                    <a:pt x="54" y="696"/>
                  </a:lnTo>
                  <a:lnTo>
                    <a:pt x="52" y="696"/>
                  </a:lnTo>
                  <a:lnTo>
                    <a:pt x="52" y="694"/>
                  </a:lnTo>
                  <a:lnTo>
                    <a:pt x="51" y="692"/>
                  </a:lnTo>
                  <a:lnTo>
                    <a:pt x="52" y="690"/>
                  </a:lnTo>
                  <a:lnTo>
                    <a:pt x="54" y="690"/>
                  </a:lnTo>
                  <a:lnTo>
                    <a:pt x="56" y="689"/>
                  </a:lnTo>
                  <a:lnTo>
                    <a:pt x="59" y="687"/>
                  </a:lnTo>
                  <a:lnTo>
                    <a:pt x="61" y="685"/>
                  </a:lnTo>
                  <a:lnTo>
                    <a:pt x="64" y="684"/>
                  </a:lnTo>
                  <a:lnTo>
                    <a:pt x="64" y="685"/>
                  </a:lnTo>
                  <a:lnTo>
                    <a:pt x="66" y="689"/>
                  </a:lnTo>
                  <a:lnTo>
                    <a:pt x="68" y="690"/>
                  </a:lnTo>
                  <a:lnTo>
                    <a:pt x="66" y="692"/>
                  </a:lnTo>
                  <a:lnTo>
                    <a:pt x="68" y="694"/>
                  </a:lnTo>
                  <a:lnTo>
                    <a:pt x="68" y="697"/>
                  </a:lnTo>
                  <a:lnTo>
                    <a:pt x="69" y="696"/>
                  </a:lnTo>
                  <a:lnTo>
                    <a:pt x="69" y="697"/>
                  </a:lnTo>
                  <a:lnTo>
                    <a:pt x="71" y="699"/>
                  </a:lnTo>
                  <a:lnTo>
                    <a:pt x="71" y="701"/>
                  </a:lnTo>
                  <a:lnTo>
                    <a:pt x="71" y="702"/>
                  </a:lnTo>
                  <a:lnTo>
                    <a:pt x="71" y="704"/>
                  </a:lnTo>
                  <a:lnTo>
                    <a:pt x="71" y="702"/>
                  </a:lnTo>
                  <a:lnTo>
                    <a:pt x="73" y="701"/>
                  </a:lnTo>
                  <a:lnTo>
                    <a:pt x="73" y="699"/>
                  </a:lnTo>
                  <a:lnTo>
                    <a:pt x="71" y="697"/>
                  </a:lnTo>
                  <a:lnTo>
                    <a:pt x="73" y="697"/>
                  </a:lnTo>
                  <a:lnTo>
                    <a:pt x="74" y="697"/>
                  </a:lnTo>
                  <a:lnTo>
                    <a:pt x="73" y="696"/>
                  </a:lnTo>
                  <a:lnTo>
                    <a:pt x="69" y="697"/>
                  </a:lnTo>
                  <a:lnTo>
                    <a:pt x="69" y="694"/>
                  </a:lnTo>
                  <a:lnTo>
                    <a:pt x="69" y="692"/>
                  </a:lnTo>
                  <a:lnTo>
                    <a:pt x="68" y="692"/>
                  </a:lnTo>
                  <a:lnTo>
                    <a:pt x="68" y="689"/>
                  </a:lnTo>
                  <a:lnTo>
                    <a:pt x="68" y="687"/>
                  </a:lnTo>
                  <a:lnTo>
                    <a:pt x="66" y="685"/>
                  </a:lnTo>
                  <a:lnTo>
                    <a:pt x="68" y="685"/>
                  </a:lnTo>
                  <a:lnTo>
                    <a:pt x="66" y="684"/>
                  </a:lnTo>
                  <a:lnTo>
                    <a:pt x="68" y="682"/>
                  </a:lnTo>
                  <a:lnTo>
                    <a:pt x="69" y="682"/>
                  </a:lnTo>
                  <a:lnTo>
                    <a:pt x="71" y="684"/>
                  </a:lnTo>
                  <a:lnTo>
                    <a:pt x="71" y="685"/>
                  </a:lnTo>
                  <a:lnTo>
                    <a:pt x="73" y="687"/>
                  </a:lnTo>
                  <a:lnTo>
                    <a:pt x="71" y="685"/>
                  </a:lnTo>
                  <a:lnTo>
                    <a:pt x="73" y="684"/>
                  </a:lnTo>
                  <a:lnTo>
                    <a:pt x="71" y="682"/>
                  </a:lnTo>
                  <a:lnTo>
                    <a:pt x="73" y="680"/>
                  </a:lnTo>
                  <a:lnTo>
                    <a:pt x="74" y="680"/>
                  </a:lnTo>
                  <a:lnTo>
                    <a:pt x="78" y="679"/>
                  </a:lnTo>
                  <a:lnTo>
                    <a:pt x="78" y="680"/>
                  </a:lnTo>
                  <a:lnTo>
                    <a:pt x="79" y="680"/>
                  </a:lnTo>
                  <a:lnTo>
                    <a:pt x="81" y="680"/>
                  </a:lnTo>
                  <a:lnTo>
                    <a:pt x="83" y="682"/>
                  </a:lnTo>
                  <a:lnTo>
                    <a:pt x="83" y="685"/>
                  </a:lnTo>
                  <a:lnTo>
                    <a:pt x="83" y="687"/>
                  </a:lnTo>
                  <a:lnTo>
                    <a:pt x="83" y="689"/>
                  </a:lnTo>
                  <a:lnTo>
                    <a:pt x="85" y="690"/>
                  </a:lnTo>
                  <a:lnTo>
                    <a:pt x="86" y="692"/>
                  </a:lnTo>
                  <a:lnTo>
                    <a:pt x="86" y="694"/>
                  </a:lnTo>
                  <a:lnTo>
                    <a:pt x="86" y="697"/>
                  </a:lnTo>
                  <a:lnTo>
                    <a:pt x="86" y="699"/>
                  </a:lnTo>
                  <a:lnTo>
                    <a:pt x="85" y="701"/>
                  </a:lnTo>
                  <a:lnTo>
                    <a:pt x="83" y="704"/>
                  </a:lnTo>
                  <a:lnTo>
                    <a:pt x="81" y="706"/>
                  </a:lnTo>
                  <a:lnTo>
                    <a:pt x="83" y="704"/>
                  </a:lnTo>
                  <a:lnTo>
                    <a:pt x="86" y="706"/>
                  </a:lnTo>
                  <a:lnTo>
                    <a:pt x="88" y="706"/>
                  </a:lnTo>
                  <a:lnTo>
                    <a:pt x="90" y="704"/>
                  </a:lnTo>
                  <a:lnTo>
                    <a:pt x="91" y="706"/>
                  </a:lnTo>
                  <a:lnTo>
                    <a:pt x="90" y="702"/>
                  </a:lnTo>
                  <a:lnTo>
                    <a:pt x="88" y="704"/>
                  </a:lnTo>
                  <a:lnTo>
                    <a:pt x="86" y="706"/>
                  </a:lnTo>
                  <a:lnTo>
                    <a:pt x="85" y="704"/>
                  </a:lnTo>
                  <a:lnTo>
                    <a:pt x="85" y="702"/>
                  </a:lnTo>
                  <a:lnTo>
                    <a:pt x="86" y="699"/>
                  </a:lnTo>
                  <a:lnTo>
                    <a:pt x="86" y="697"/>
                  </a:lnTo>
                  <a:lnTo>
                    <a:pt x="86" y="696"/>
                  </a:lnTo>
                  <a:lnTo>
                    <a:pt x="86" y="694"/>
                  </a:lnTo>
                  <a:lnTo>
                    <a:pt x="86" y="692"/>
                  </a:lnTo>
                  <a:lnTo>
                    <a:pt x="90" y="692"/>
                  </a:lnTo>
                  <a:lnTo>
                    <a:pt x="91" y="694"/>
                  </a:lnTo>
                  <a:lnTo>
                    <a:pt x="93" y="694"/>
                  </a:lnTo>
                  <a:lnTo>
                    <a:pt x="95" y="692"/>
                  </a:lnTo>
                  <a:lnTo>
                    <a:pt x="96" y="692"/>
                  </a:lnTo>
                  <a:lnTo>
                    <a:pt x="98" y="694"/>
                  </a:lnTo>
                  <a:lnTo>
                    <a:pt x="100" y="696"/>
                  </a:lnTo>
                  <a:lnTo>
                    <a:pt x="100" y="694"/>
                  </a:lnTo>
                  <a:lnTo>
                    <a:pt x="98" y="692"/>
                  </a:lnTo>
                  <a:lnTo>
                    <a:pt x="96" y="692"/>
                  </a:lnTo>
                  <a:lnTo>
                    <a:pt x="95" y="690"/>
                  </a:lnTo>
                  <a:lnTo>
                    <a:pt x="91" y="692"/>
                  </a:lnTo>
                  <a:lnTo>
                    <a:pt x="90" y="690"/>
                  </a:lnTo>
                  <a:lnTo>
                    <a:pt x="88" y="690"/>
                  </a:lnTo>
                  <a:lnTo>
                    <a:pt x="86" y="689"/>
                  </a:lnTo>
                  <a:lnTo>
                    <a:pt x="85" y="689"/>
                  </a:lnTo>
                  <a:lnTo>
                    <a:pt x="85" y="685"/>
                  </a:lnTo>
                  <a:lnTo>
                    <a:pt x="86" y="684"/>
                  </a:lnTo>
                  <a:lnTo>
                    <a:pt x="85" y="684"/>
                  </a:lnTo>
                  <a:lnTo>
                    <a:pt x="85" y="682"/>
                  </a:lnTo>
                  <a:lnTo>
                    <a:pt x="83" y="680"/>
                  </a:lnTo>
                  <a:lnTo>
                    <a:pt x="83" y="679"/>
                  </a:lnTo>
                  <a:lnTo>
                    <a:pt x="79" y="679"/>
                  </a:lnTo>
                  <a:lnTo>
                    <a:pt x="79" y="677"/>
                  </a:lnTo>
                  <a:lnTo>
                    <a:pt x="78" y="677"/>
                  </a:lnTo>
                  <a:lnTo>
                    <a:pt x="76" y="679"/>
                  </a:lnTo>
                  <a:lnTo>
                    <a:pt x="78" y="677"/>
                  </a:lnTo>
                  <a:lnTo>
                    <a:pt x="76" y="675"/>
                  </a:lnTo>
                  <a:lnTo>
                    <a:pt x="74" y="675"/>
                  </a:lnTo>
                  <a:lnTo>
                    <a:pt x="74" y="673"/>
                  </a:lnTo>
                  <a:lnTo>
                    <a:pt x="71" y="675"/>
                  </a:lnTo>
                  <a:lnTo>
                    <a:pt x="71" y="673"/>
                  </a:lnTo>
                  <a:lnTo>
                    <a:pt x="69" y="675"/>
                  </a:lnTo>
                  <a:lnTo>
                    <a:pt x="71" y="673"/>
                  </a:lnTo>
                  <a:lnTo>
                    <a:pt x="73" y="673"/>
                  </a:lnTo>
                  <a:lnTo>
                    <a:pt x="71" y="673"/>
                  </a:lnTo>
                  <a:lnTo>
                    <a:pt x="69" y="673"/>
                  </a:lnTo>
                  <a:lnTo>
                    <a:pt x="66" y="673"/>
                  </a:lnTo>
                  <a:lnTo>
                    <a:pt x="64" y="673"/>
                  </a:lnTo>
                  <a:lnTo>
                    <a:pt x="62" y="673"/>
                  </a:lnTo>
                  <a:lnTo>
                    <a:pt x="62" y="672"/>
                  </a:lnTo>
                  <a:lnTo>
                    <a:pt x="62" y="670"/>
                  </a:lnTo>
                  <a:lnTo>
                    <a:pt x="64" y="668"/>
                  </a:lnTo>
                  <a:lnTo>
                    <a:pt x="64" y="667"/>
                  </a:lnTo>
                  <a:lnTo>
                    <a:pt x="66" y="668"/>
                  </a:lnTo>
                  <a:lnTo>
                    <a:pt x="69" y="667"/>
                  </a:lnTo>
                  <a:lnTo>
                    <a:pt x="69" y="668"/>
                  </a:lnTo>
                  <a:lnTo>
                    <a:pt x="69" y="670"/>
                  </a:lnTo>
                  <a:lnTo>
                    <a:pt x="69" y="672"/>
                  </a:lnTo>
                  <a:lnTo>
                    <a:pt x="69" y="670"/>
                  </a:lnTo>
                  <a:lnTo>
                    <a:pt x="69" y="668"/>
                  </a:lnTo>
                  <a:lnTo>
                    <a:pt x="69" y="667"/>
                  </a:lnTo>
                  <a:lnTo>
                    <a:pt x="71" y="667"/>
                  </a:lnTo>
                  <a:lnTo>
                    <a:pt x="73" y="667"/>
                  </a:lnTo>
                  <a:lnTo>
                    <a:pt x="73" y="668"/>
                  </a:lnTo>
                  <a:lnTo>
                    <a:pt x="74" y="670"/>
                  </a:lnTo>
                  <a:lnTo>
                    <a:pt x="74" y="672"/>
                  </a:lnTo>
                  <a:lnTo>
                    <a:pt x="74" y="668"/>
                  </a:lnTo>
                  <a:lnTo>
                    <a:pt x="74" y="667"/>
                  </a:lnTo>
                  <a:lnTo>
                    <a:pt x="76" y="667"/>
                  </a:lnTo>
                  <a:lnTo>
                    <a:pt x="76" y="668"/>
                  </a:lnTo>
                  <a:lnTo>
                    <a:pt x="76" y="667"/>
                  </a:lnTo>
                  <a:lnTo>
                    <a:pt x="79" y="665"/>
                  </a:lnTo>
                  <a:lnTo>
                    <a:pt x="81" y="665"/>
                  </a:lnTo>
                  <a:lnTo>
                    <a:pt x="81" y="667"/>
                  </a:lnTo>
                  <a:lnTo>
                    <a:pt x="83" y="668"/>
                  </a:lnTo>
                  <a:lnTo>
                    <a:pt x="83" y="670"/>
                  </a:lnTo>
                  <a:lnTo>
                    <a:pt x="85" y="670"/>
                  </a:lnTo>
                  <a:lnTo>
                    <a:pt x="85" y="672"/>
                  </a:lnTo>
                  <a:lnTo>
                    <a:pt x="85" y="668"/>
                  </a:lnTo>
                  <a:lnTo>
                    <a:pt x="85" y="667"/>
                  </a:lnTo>
                  <a:lnTo>
                    <a:pt x="86" y="665"/>
                  </a:lnTo>
                  <a:lnTo>
                    <a:pt x="90" y="665"/>
                  </a:lnTo>
                  <a:lnTo>
                    <a:pt x="90" y="667"/>
                  </a:lnTo>
                  <a:lnTo>
                    <a:pt x="88" y="668"/>
                  </a:lnTo>
                  <a:lnTo>
                    <a:pt x="90" y="668"/>
                  </a:lnTo>
                  <a:lnTo>
                    <a:pt x="90" y="670"/>
                  </a:lnTo>
                  <a:lnTo>
                    <a:pt x="91" y="672"/>
                  </a:lnTo>
                  <a:lnTo>
                    <a:pt x="91" y="675"/>
                  </a:lnTo>
                  <a:lnTo>
                    <a:pt x="91" y="673"/>
                  </a:lnTo>
                  <a:lnTo>
                    <a:pt x="91" y="672"/>
                  </a:lnTo>
                  <a:lnTo>
                    <a:pt x="91" y="668"/>
                  </a:lnTo>
                  <a:lnTo>
                    <a:pt x="93" y="667"/>
                  </a:lnTo>
                  <a:lnTo>
                    <a:pt x="95" y="668"/>
                  </a:lnTo>
                  <a:lnTo>
                    <a:pt x="98" y="668"/>
                  </a:lnTo>
                  <a:lnTo>
                    <a:pt x="98" y="670"/>
                  </a:lnTo>
                  <a:lnTo>
                    <a:pt x="98" y="668"/>
                  </a:lnTo>
                  <a:lnTo>
                    <a:pt x="98" y="672"/>
                  </a:lnTo>
                  <a:lnTo>
                    <a:pt x="102" y="673"/>
                  </a:lnTo>
                  <a:lnTo>
                    <a:pt x="103" y="673"/>
                  </a:lnTo>
                  <a:lnTo>
                    <a:pt x="103" y="675"/>
                  </a:lnTo>
                  <a:lnTo>
                    <a:pt x="105" y="677"/>
                  </a:lnTo>
                  <a:lnTo>
                    <a:pt x="105" y="675"/>
                  </a:lnTo>
                  <a:lnTo>
                    <a:pt x="108" y="673"/>
                  </a:lnTo>
                  <a:lnTo>
                    <a:pt x="108" y="672"/>
                  </a:lnTo>
                  <a:lnTo>
                    <a:pt x="112" y="672"/>
                  </a:lnTo>
                  <a:lnTo>
                    <a:pt x="110" y="672"/>
                  </a:lnTo>
                  <a:lnTo>
                    <a:pt x="108" y="672"/>
                  </a:lnTo>
                  <a:lnTo>
                    <a:pt x="107" y="672"/>
                  </a:lnTo>
                  <a:lnTo>
                    <a:pt x="105" y="673"/>
                  </a:lnTo>
                  <a:lnTo>
                    <a:pt x="102" y="672"/>
                  </a:lnTo>
                  <a:lnTo>
                    <a:pt x="102" y="670"/>
                  </a:lnTo>
                  <a:lnTo>
                    <a:pt x="100" y="670"/>
                  </a:lnTo>
                  <a:lnTo>
                    <a:pt x="100" y="667"/>
                  </a:lnTo>
                  <a:lnTo>
                    <a:pt x="103" y="667"/>
                  </a:lnTo>
                  <a:lnTo>
                    <a:pt x="103" y="670"/>
                  </a:lnTo>
                  <a:lnTo>
                    <a:pt x="105" y="672"/>
                  </a:lnTo>
                  <a:lnTo>
                    <a:pt x="105" y="668"/>
                  </a:lnTo>
                  <a:lnTo>
                    <a:pt x="103" y="667"/>
                  </a:lnTo>
                  <a:lnTo>
                    <a:pt x="103" y="665"/>
                  </a:lnTo>
                  <a:lnTo>
                    <a:pt x="105" y="665"/>
                  </a:lnTo>
                  <a:lnTo>
                    <a:pt x="107" y="665"/>
                  </a:lnTo>
                  <a:lnTo>
                    <a:pt x="107" y="663"/>
                  </a:lnTo>
                  <a:lnTo>
                    <a:pt x="110" y="663"/>
                  </a:lnTo>
                  <a:lnTo>
                    <a:pt x="110" y="661"/>
                  </a:lnTo>
                  <a:lnTo>
                    <a:pt x="112" y="661"/>
                  </a:lnTo>
                  <a:lnTo>
                    <a:pt x="113" y="661"/>
                  </a:lnTo>
                  <a:lnTo>
                    <a:pt x="115" y="660"/>
                  </a:lnTo>
                  <a:lnTo>
                    <a:pt x="117" y="661"/>
                  </a:lnTo>
                  <a:lnTo>
                    <a:pt x="119" y="660"/>
                  </a:lnTo>
                  <a:lnTo>
                    <a:pt x="120" y="660"/>
                  </a:lnTo>
                  <a:lnTo>
                    <a:pt x="120" y="661"/>
                  </a:lnTo>
                  <a:lnTo>
                    <a:pt x="122" y="663"/>
                  </a:lnTo>
                  <a:lnTo>
                    <a:pt x="124" y="665"/>
                  </a:lnTo>
                  <a:lnTo>
                    <a:pt x="124" y="663"/>
                  </a:lnTo>
                  <a:lnTo>
                    <a:pt x="124" y="661"/>
                  </a:lnTo>
                  <a:lnTo>
                    <a:pt x="120" y="660"/>
                  </a:lnTo>
                  <a:lnTo>
                    <a:pt x="122" y="658"/>
                  </a:lnTo>
                  <a:lnTo>
                    <a:pt x="120" y="658"/>
                  </a:lnTo>
                  <a:lnTo>
                    <a:pt x="119" y="658"/>
                  </a:lnTo>
                  <a:lnTo>
                    <a:pt x="115" y="658"/>
                  </a:lnTo>
                  <a:lnTo>
                    <a:pt x="113" y="660"/>
                  </a:lnTo>
                  <a:lnTo>
                    <a:pt x="112" y="660"/>
                  </a:lnTo>
                  <a:lnTo>
                    <a:pt x="110" y="661"/>
                  </a:lnTo>
                  <a:lnTo>
                    <a:pt x="107" y="661"/>
                  </a:lnTo>
                  <a:lnTo>
                    <a:pt x="105" y="663"/>
                  </a:lnTo>
                  <a:lnTo>
                    <a:pt x="103" y="663"/>
                  </a:lnTo>
                  <a:lnTo>
                    <a:pt x="102" y="663"/>
                  </a:lnTo>
                  <a:lnTo>
                    <a:pt x="98" y="663"/>
                  </a:lnTo>
                  <a:lnTo>
                    <a:pt x="102" y="661"/>
                  </a:lnTo>
                  <a:lnTo>
                    <a:pt x="98" y="660"/>
                  </a:lnTo>
                  <a:lnTo>
                    <a:pt x="100" y="660"/>
                  </a:lnTo>
                  <a:lnTo>
                    <a:pt x="102" y="658"/>
                  </a:lnTo>
                  <a:lnTo>
                    <a:pt x="105" y="658"/>
                  </a:lnTo>
                  <a:lnTo>
                    <a:pt x="107" y="656"/>
                  </a:lnTo>
                  <a:lnTo>
                    <a:pt x="108" y="658"/>
                  </a:lnTo>
                  <a:lnTo>
                    <a:pt x="110" y="656"/>
                  </a:lnTo>
                  <a:lnTo>
                    <a:pt x="108" y="656"/>
                  </a:lnTo>
                  <a:lnTo>
                    <a:pt x="105" y="656"/>
                  </a:lnTo>
                  <a:lnTo>
                    <a:pt x="103" y="656"/>
                  </a:lnTo>
                  <a:lnTo>
                    <a:pt x="102" y="658"/>
                  </a:lnTo>
                  <a:lnTo>
                    <a:pt x="98" y="658"/>
                  </a:lnTo>
                  <a:lnTo>
                    <a:pt x="95" y="660"/>
                  </a:lnTo>
                  <a:lnTo>
                    <a:pt x="93" y="660"/>
                  </a:lnTo>
                  <a:lnTo>
                    <a:pt x="91" y="660"/>
                  </a:lnTo>
                  <a:lnTo>
                    <a:pt x="90" y="660"/>
                  </a:lnTo>
                  <a:lnTo>
                    <a:pt x="88" y="660"/>
                  </a:lnTo>
                  <a:lnTo>
                    <a:pt x="86" y="660"/>
                  </a:lnTo>
                  <a:lnTo>
                    <a:pt x="86" y="658"/>
                  </a:lnTo>
                  <a:lnTo>
                    <a:pt x="86" y="656"/>
                  </a:lnTo>
                  <a:lnTo>
                    <a:pt x="88" y="655"/>
                  </a:lnTo>
                  <a:lnTo>
                    <a:pt x="88" y="653"/>
                  </a:lnTo>
                  <a:lnTo>
                    <a:pt x="91" y="653"/>
                  </a:lnTo>
                  <a:lnTo>
                    <a:pt x="90" y="653"/>
                  </a:lnTo>
                  <a:lnTo>
                    <a:pt x="91" y="655"/>
                  </a:lnTo>
                  <a:lnTo>
                    <a:pt x="93" y="653"/>
                  </a:lnTo>
                  <a:lnTo>
                    <a:pt x="93" y="655"/>
                  </a:lnTo>
                  <a:lnTo>
                    <a:pt x="95" y="655"/>
                  </a:lnTo>
                  <a:lnTo>
                    <a:pt x="93" y="653"/>
                  </a:lnTo>
                  <a:lnTo>
                    <a:pt x="95" y="653"/>
                  </a:lnTo>
                  <a:lnTo>
                    <a:pt x="93" y="653"/>
                  </a:lnTo>
                  <a:lnTo>
                    <a:pt x="93" y="651"/>
                  </a:lnTo>
                  <a:lnTo>
                    <a:pt x="91" y="651"/>
                  </a:lnTo>
                  <a:lnTo>
                    <a:pt x="90" y="653"/>
                  </a:lnTo>
                  <a:lnTo>
                    <a:pt x="88" y="651"/>
                  </a:lnTo>
                  <a:lnTo>
                    <a:pt x="88" y="653"/>
                  </a:lnTo>
                  <a:lnTo>
                    <a:pt x="88" y="651"/>
                  </a:lnTo>
                  <a:lnTo>
                    <a:pt x="86" y="650"/>
                  </a:lnTo>
                  <a:lnTo>
                    <a:pt x="86" y="648"/>
                  </a:lnTo>
                  <a:lnTo>
                    <a:pt x="85" y="646"/>
                  </a:lnTo>
                  <a:lnTo>
                    <a:pt x="86" y="646"/>
                  </a:lnTo>
                  <a:lnTo>
                    <a:pt x="88" y="644"/>
                  </a:lnTo>
                  <a:lnTo>
                    <a:pt x="90" y="644"/>
                  </a:lnTo>
                  <a:lnTo>
                    <a:pt x="90" y="643"/>
                  </a:lnTo>
                  <a:lnTo>
                    <a:pt x="91" y="644"/>
                  </a:lnTo>
                  <a:lnTo>
                    <a:pt x="91" y="643"/>
                  </a:lnTo>
                  <a:lnTo>
                    <a:pt x="91" y="641"/>
                  </a:lnTo>
                  <a:lnTo>
                    <a:pt x="91" y="643"/>
                  </a:lnTo>
                  <a:lnTo>
                    <a:pt x="93" y="643"/>
                  </a:lnTo>
                  <a:lnTo>
                    <a:pt x="93" y="641"/>
                  </a:lnTo>
                  <a:lnTo>
                    <a:pt x="95" y="641"/>
                  </a:lnTo>
                  <a:lnTo>
                    <a:pt x="98" y="641"/>
                  </a:lnTo>
                  <a:lnTo>
                    <a:pt x="96" y="643"/>
                  </a:lnTo>
                  <a:lnTo>
                    <a:pt x="98" y="643"/>
                  </a:lnTo>
                  <a:lnTo>
                    <a:pt x="96" y="641"/>
                  </a:lnTo>
                  <a:lnTo>
                    <a:pt x="98" y="641"/>
                  </a:lnTo>
                  <a:lnTo>
                    <a:pt x="98" y="643"/>
                  </a:lnTo>
                  <a:lnTo>
                    <a:pt x="100" y="644"/>
                  </a:lnTo>
                  <a:lnTo>
                    <a:pt x="102" y="644"/>
                  </a:lnTo>
                  <a:lnTo>
                    <a:pt x="102" y="646"/>
                  </a:lnTo>
                  <a:lnTo>
                    <a:pt x="102" y="648"/>
                  </a:lnTo>
                  <a:lnTo>
                    <a:pt x="103" y="648"/>
                  </a:lnTo>
                  <a:lnTo>
                    <a:pt x="105" y="648"/>
                  </a:lnTo>
                  <a:lnTo>
                    <a:pt x="107" y="646"/>
                  </a:lnTo>
                  <a:lnTo>
                    <a:pt x="108" y="644"/>
                  </a:lnTo>
                  <a:lnTo>
                    <a:pt x="110" y="644"/>
                  </a:lnTo>
                  <a:lnTo>
                    <a:pt x="112" y="643"/>
                  </a:lnTo>
                  <a:lnTo>
                    <a:pt x="113" y="644"/>
                  </a:lnTo>
                  <a:lnTo>
                    <a:pt x="110" y="646"/>
                  </a:lnTo>
                  <a:lnTo>
                    <a:pt x="110" y="648"/>
                  </a:lnTo>
                  <a:lnTo>
                    <a:pt x="110" y="650"/>
                  </a:lnTo>
                  <a:lnTo>
                    <a:pt x="110" y="648"/>
                  </a:lnTo>
                  <a:lnTo>
                    <a:pt x="112" y="648"/>
                  </a:lnTo>
                  <a:lnTo>
                    <a:pt x="113" y="646"/>
                  </a:lnTo>
                  <a:lnTo>
                    <a:pt x="115" y="644"/>
                  </a:lnTo>
                  <a:lnTo>
                    <a:pt x="115" y="646"/>
                  </a:lnTo>
                  <a:lnTo>
                    <a:pt x="117" y="644"/>
                  </a:lnTo>
                  <a:lnTo>
                    <a:pt x="119" y="644"/>
                  </a:lnTo>
                  <a:lnTo>
                    <a:pt x="122" y="644"/>
                  </a:lnTo>
                  <a:lnTo>
                    <a:pt x="122" y="646"/>
                  </a:lnTo>
                  <a:lnTo>
                    <a:pt x="124" y="648"/>
                  </a:lnTo>
                  <a:lnTo>
                    <a:pt x="122" y="650"/>
                  </a:lnTo>
                  <a:lnTo>
                    <a:pt x="124" y="650"/>
                  </a:lnTo>
                  <a:lnTo>
                    <a:pt x="124" y="651"/>
                  </a:lnTo>
                  <a:lnTo>
                    <a:pt x="124" y="655"/>
                  </a:lnTo>
                  <a:lnTo>
                    <a:pt x="125" y="656"/>
                  </a:lnTo>
                  <a:lnTo>
                    <a:pt x="127" y="656"/>
                  </a:lnTo>
                  <a:lnTo>
                    <a:pt x="129" y="658"/>
                  </a:lnTo>
                  <a:lnTo>
                    <a:pt x="130" y="658"/>
                  </a:lnTo>
                  <a:lnTo>
                    <a:pt x="132" y="660"/>
                  </a:lnTo>
                  <a:lnTo>
                    <a:pt x="134" y="661"/>
                  </a:lnTo>
                  <a:lnTo>
                    <a:pt x="136" y="661"/>
                  </a:lnTo>
                  <a:lnTo>
                    <a:pt x="136" y="663"/>
                  </a:lnTo>
                  <a:lnTo>
                    <a:pt x="136" y="665"/>
                  </a:lnTo>
                  <a:lnTo>
                    <a:pt x="137" y="667"/>
                  </a:lnTo>
                  <a:lnTo>
                    <a:pt x="137" y="665"/>
                  </a:lnTo>
                  <a:lnTo>
                    <a:pt x="137" y="663"/>
                  </a:lnTo>
                  <a:lnTo>
                    <a:pt x="137" y="661"/>
                  </a:lnTo>
                  <a:lnTo>
                    <a:pt x="136" y="660"/>
                  </a:lnTo>
                  <a:lnTo>
                    <a:pt x="134" y="660"/>
                  </a:lnTo>
                  <a:lnTo>
                    <a:pt x="132" y="658"/>
                  </a:lnTo>
                  <a:lnTo>
                    <a:pt x="130" y="658"/>
                  </a:lnTo>
                  <a:lnTo>
                    <a:pt x="130" y="656"/>
                  </a:lnTo>
                  <a:lnTo>
                    <a:pt x="127" y="656"/>
                  </a:lnTo>
                  <a:lnTo>
                    <a:pt x="125" y="655"/>
                  </a:lnTo>
                  <a:lnTo>
                    <a:pt x="125" y="653"/>
                  </a:lnTo>
                  <a:lnTo>
                    <a:pt x="125" y="650"/>
                  </a:lnTo>
                  <a:lnTo>
                    <a:pt x="127" y="648"/>
                  </a:lnTo>
                  <a:lnTo>
                    <a:pt x="125" y="648"/>
                  </a:lnTo>
                  <a:lnTo>
                    <a:pt x="124" y="646"/>
                  </a:lnTo>
                  <a:lnTo>
                    <a:pt x="122" y="644"/>
                  </a:lnTo>
                  <a:lnTo>
                    <a:pt x="122" y="643"/>
                  </a:lnTo>
                  <a:lnTo>
                    <a:pt x="120" y="643"/>
                  </a:lnTo>
                  <a:lnTo>
                    <a:pt x="120" y="641"/>
                  </a:lnTo>
                  <a:lnTo>
                    <a:pt x="119" y="639"/>
                  </a:lnTo>
                  <a:lnTo>
                    <a:pt x="120" y="638"/>
                  </a:lnTo>
                  <a:lnTo>
                    <a:pt x="120" y="636"/>
                  </a:lnTo>
                  <a:lnTo>
                    <a:pt x="122" y="634"/>
                  </a:lnTo>
                  <a:lnTo>
                    <a:pt x="124" y="634"/>
                  </a:lnTo>
                  <a:lnTo>
                    <a:pt x="125" y="638"/>
                  </a:lnTo>
                  <a:lnTo>
                    <a:pt x="124" y="638"/>
                  </a:lnTo>
                  <a:lnTo>
                    <a:pt x="122" y="639"/>
                  </a:lnTo>
                  <a:lnTo>
                    <a:pt x="124" y="639"/>
                  </a:lnTo>
                  <a:lnTo>
                    <a:pt x="125" y="639"/>
                  </a:lnTo>
                  <a:lnTo>
                    <a:pt x="127" y="641"/>
                  </a:lnTo>
                  <a:lnTo>
                    <a:pt x="129" y="643"/>
                  </a:lnTo>
                  <a:lnTo>
                    <a:pt x="129" y="644"/>
                  </a:lnTo>
                  <a:lnTo>
                    <a:pt x="129" y="643"/>
                  </a:lnTo>
                  <a:lnTo>
                    <a:pt x="130" y="644"/>
                  </a:lnTo>
                  <a:lnTo>
                    <a:pt x="129" y="648"/>
                  </a:lnTo>
                  <a:lnTo>
                    <a:pt x="130" y="648"/>
                  </a:lnTo>
                  <a:lnTo>
                    <a:pt x="130" y="650"/>
                  </a:lnTo>
                  <a:lnTo>
                    <a:pt x="129" y="653"/>
                  </a:lnTo>
                  <a:lnTo>
                    <a:pt x="130" y="651"/>
                  </a:lnTo>
                  <a:lnTo>
                    <a:pt x="132" y="650"/>
                  </a:lnTo>
                  <a:lnTo>
                    <a:pt x="134" y="651"/>
                  </a:lnTo>
                  <a:lnTo>
                    <a:pt x="134" y="653"/>
                  </a:lnTo>
                  <a:lnTo>
                    <a:pt x="137" y="653"/>
                  </a:lnTo>
                  <a:lnTo>
                    <a:pt x="134" y="651"/>
                  </a:lnTo>
                  <a:lnTo>
                    <a:pt x="134" y="650"/>
                  </a:lnTo>
                  <a:lnTo>
                    <a:pt x="136" y="651"/>
                  </a:lnTo>
                  <a:lnTo>
                    <a:pt x="137" y="651"/>
                  </a:lnTo>
                  <a:lnTo>
                    <a:pt x="139" y="651"/>
                  </a:lnTo>
                  <a:lnTo>
                    <a:pt x="141" y="655"/>
                  </a:lnTo>
                  <a:lnTo>
                    <a:pt x="142" y="655"/>
                  </a:lnTo>
                  <a:lnTo>
                    <a:pt x="141" y="653"/>
                  </a:lnTo>
                  <a:lnTo>
                    <a:pt x="139" y="651"/>
                  </a:lnTo>
                  <a:lnTo>
                    <a:pt x="137" y="651"/>
                  </a:lnTo>
                  <a:lnTo>
                    <a:pt x="136" y="650"/>
                  </a:lnTo>
                  <a:lnTo>
                    <a:pt x="136" y="648"/>
                  </a:lnTo>
                  <a:lnTo>
                    <a:pt x="134" y="646"/>
                  </a:lnTo>
                  <a:lnTo>
                    <a:pt x="136" y="644"/>
                  </a:lnTo>
                  <a:lnTo>
                    <a:pt x="137" y="646"/>
                  </a:lnTo>
                  <a:lnTo>
                    <a:pt x="139" y="644"/>
                  </a:lnTo>
                  <a:lnTo>
                    <a:pt x="141" y="644"/>
                  </a:lnTo>
                  <a:lnTo>
                    <a:pt x="141" y="643"/>
                  </a:lnTo>
                  <a:lnTo>
                    <a:pt x="139" y="643"/>
                  </a:lnTo>
                  <a:lnTo>
                    <a:pt x="136" y="644"/>
                  </a:lnTo>
                  <a:lnTo>
                    <a:pt x="136" y="643"/>
                  </a:lnTo>
                  <a:lnTo>
                    <a:pt x="137" y="643"/>
                  </a:lnTo>
                  <a:lnTo>
                    <a:pt x="137" y="641"/>
                  </a:lnTo>
                  <a:lnTo>
                    <a:pt x="139" y="641"/>
                  </a:lnTo>
                  <a:lnTo>
                    <a:pt x="136" y="641"/>
                  </a:lnTo>
                  <a:lnTo>
                    <a:pt x="136" y="643"/>
                  </a:lnTo>
                  <a:lnTo>
                    <a:pt x="134" y="643"/>
                  </a:lnTo>
                  <a:lnTo>
                    <a:pt x="132" y="644"/>
                  </a:lnTo>
                  <a:lnTo>
                    <a:pt x="130" y="643"/>
                  </a:lnTo>
                  <a:lnTo>
                    <a:pt x="130" y="641"/>
                  </a:lnTo>
                  <a:lnTo>
                    <a:pt x="132" y="641"/>
                  </a:lnTo>
                  <a:lnTo>
                    <a:pt x="134" y="641"/>
                  </a:lnTo>
                  <a:lnTo>
                    <a:pt x="136" y="641"/>
                  </a:lnTo>
                  <a:lnTo>
                    <a:pt x="132" y="641"/>
                  </a:lnTo>
                  <a:lnTo>
                    <a:pt x="130" y="641"/>
                  </a:lnTo>
                  <a:lnTo>
                    <a:pt x="127" y="639"/>
                  </a:lnTo>
                  <a:lnTo>
                    <a:pt x="127" y="638"/>
                  </a:lnTo>
                  <a:lnTo>
                    <a:pt x="127" y="636"/>
                  </a:lnTo>
                  <a:lnTo>
                    <a:pt x="125" y="634"/>
                  </a:lnTo>
                  <a:lnTo>
                    <a:pt x="127" y="633"/>
                  </a:lnTo>
                  <a:lnTo>
                    <a:pt x="129" y="634"/>
                  </a:lnTo>
                  <a:lnTo>
                    <a:pt x="130" y="636"/>
                  </a:lnTo>
                  <a:lnTo>
                    <a:pt x="129" y="636"/>
                  </a:lnTo>
                  <a:lnTo>
                    <a:pt x="130" y="636"/>
                  </a:lnTo>
                  <a:lnTo>
                    <a:pt x="132" y="636"/>
                  </a:lnTo>
                  <a:lnTo>
                    <a:pt x="130" y="636"/>
                  </a:lnTo>
                  <a:lnTo>
                    <a:pt x="130" y="634"/>
                  </a:lnTo>
                  <a:lnTo>
                    <a:pt x="129" y="634"/>
                  </a:lnTo>
                  <a:lnTo>
                    <a:pt x="129" y="633"/>
                  </a:lnTo>
                  <a:lnTo>
                    <a:pt x="130" y="631"/>
                  </a:lnTo>
                  <a:lnTo>
                    <a:pt x="130" y="633"/>
                  </a:lnTo>
                  <a:lnTo>
                    <a:pt x="132" y="633"/>
                  </a:lnTo>
                  <a:lnTo>
                    <a:pt x="134" y="633"/>
                  </a:lnTo>
                  <a:lnTo>
                    <a:pt x="136" y="633"/>
                  </a:lnTo>
                  <a:lnTo>
                    <a:pt x="137" y="633"/>
                  </a:lnTo>
                  <a:lnTo>
                    <a:pt x="139" y="634"/>
                  </a:lnTo>
                  <a:lnTo>
                    <a:pt x="141" y="636"/>
                  </a:lnTo>
                  <a:lnTo>
                    <a:pt x="141" y="634"/>
                  </a:lnTo>
                  <a:lnTo>
                    <a:pt x="139" y="633"/>
                  </a:lnTo>
                  <a:lnTo>
                    <a:pt x="139" y="631"/>
                  </a:lnTo>
                  <a:lnTo>
                    <a:pt x="141" y="631"/>
                  </a:lnTo>
                  <a:lnTo>
                    <a:pt x="141" y="629"/>
                  </a:lnTo>
                  <a:lnTo>
                    <a:pt x="144" y="629"/>
                  </a:lnTo>
                  <a:lnTo>
                    <a:pt x="146" y="629"/>
                  </a:lnTo>
                  <a:lnTo>
                    <a:pt x="147" y="629"/>
                  </a:lnTo>
                  <a:lnTo>
                    <a:pt x="149" y="629"/>
                  </a:lnTo>
                  <a:lnTo>
                    <a:pt x="151" y="629"/>
                  </a:lnTo>
                  <a:lnTo>
                    <a:pt x="153" y="627"/>
                  </a:lnTo>
                  <a:lnTo>
                    <a:pt x="151" y="627"/>
                  </a:lnTo>
                  <a:lnTo>
                    <a:pt x="147" y="627"/>
                  </a:lnTo>
                  <a:lnTo>
                    <a:pt x="147" y="629"/>
                  </a:lnTo>
                  <a:lnTo>
                    <a:pt x="146" y="629"/>
                  </a:lnTo>
                  <a:lnTo>
                    <a:pt x="142" y="629"/>
                  </a:lnTo>
                  <a:lnTo>
                    <a:pt x="142" y="627"/>
                  </a:lnTo>
                  <a:lnTo>
                    <a:pt x="141" y="629"/>
                  </a:lnTo>
                  <a:lnTo>
                    <a:pt x="139" y="629"/>
                  </a:lnTo>
                  <a:lnTo>
                    <a:pt x="141" y="627"/>
                  </a:lnTo>
                  <a:lnTo>
                    <a:pt x="139" y="627"/>
                  </a:lnTo>
                  <a:lnTo>
                    <a:pt x="139" y="626"/>
                  </a:lnTo>
                  <a:lnTo>
                    <a:pt x="137" y="624"/>
                  </a:lnTo>
                  <a:lnTo>
                    <a:pt x="137" y="622"/>
                  </a:lnTo>
                  <a:lnTo>
                    <a:pt x="136" y="622"/>
                  </a:lnTo>
                  <a:lnTo>
                    <a:pt x="137" y="622"/>
                  </a:lnTo>
                  <a:lnTo>
                    <a:pt x="137" y="621"/>
                  </a:lnTo>
                  <a:lnTo>
                    <a:pt x="139" y="621"/>
                  </a:lnTo>
                  <a:lnTo>
                    <a:pt x="141" y="619"/>
                  </a:lnTo>
                  <a:lnTo>
                    <a:pt x="142" y="619"/>
                  </a:lnTo>
                  <a:lnTo>
                    <a:pt x="144" y="619"/>
                  </a:lnTo>
                  <a:lnTo>
                    <a:pt x="146" y="617"/>
                  </a:lnTo>
                  <a:lnTo>
                    <a:pt x="147" y="617"/>
                  </a:lnTo>
                  <a:lnTo>
                    <a:pt x="144" y="617"/>
                  </a:lnTo>
                  <a:lnTo>
                    <a:pt x="142" y="617"/>
                  </a:lnTo>
                  <a:lnTo>
                    <a:pt x="144" y="616"/>
                  </a:lnTo>
                  <a:lnTo>
                    <a:pt x="142" y="614"/>
                  </a:lnTo>
                  <a:lnTo>
                    <a:pt x="144" y="612"/>
                  </a:lnTo>
                  <a:lnTo>
                    <a:pt x="146" y="612"/>
                  </a:lnTo>
                  <a:lnTo>
                    <a:pt x="149" y="612"/>
                  </a:lnTo>
                  <a:lnTo>
                    <a:pt x="149" y="614"/>
                  </a:lnTo>
                  <a:lnTo>
                    <a:pt x="149" y="616"/>
                  </a:lnTo>
                  <a:lnTo>
                    <a:pt x="149" y="614"/>
                  </a:lnTo>
                  <a:lnTo>
                    <a:pt x="151" y="614"/>
                  </a:lnTo>
                  <a:lnTo>
                    <a:pt x="151" y="612"/>
                  </a:lnTo>
                  <a:lnTo>
                    <a:pt x="151" y="614"/>
                  </a:lnTo>
                  <a:lnTo>
                    <a:pt x="153" y="614"/>
                  </a:lnTo>
                  <a:lnTo>
                    <a:pt x="154" y="614"/>
                  </a:lnTo>
                  <a:lnTo>
                    <a:pt x="153" y="612"/>
                  </a:lnTo>
                  <a:lnTo>
                    <a:pt x="153" y="610"/>
                  </a:lnTo>
                  <a:lnTo>
                    <a:pt x="154" y="609"/>
                  </a:lnTo>
                  <a:lnTo>
                    <a:pt x="154" y="610"/>
                  </a:lnTo>
                  <a:lnTo>
                    <a:pt x="156" y="610"/>
                  </a:lnTo>
                  <a:lnTo>
                    <a:pt x="156" y="612"/>
                  </a:lnTo>
                  <a:lnTo>
                    <a:pt x="158" y="614"/>
                  </a:lnTo>
                  <a:lnTo>
                    <a:pt x="158" y="616"/>
                  </a:lnTo>
                  <a:lnTo>
                    <a:pt x="156" y="617"/>
                  </a:lnTo>
                  <a:lnTo>
                    <a:pt x="158" y="619"/>
                  </a:lnTo>
                  <a:lnTo>
                    <a:pt x="156" y="621"/>
                  </a:lnTo>
                  <a:lnTo>
                    <a:pt x="156" y="622"/>
                  </a:lnTo>
                  <a:lnTo>
                    <a:pt x="158" y="621"/>
                  </a:lnTo>
                  <a:lnTo>
                    <a:pt x="159" y="619"/>
                  </a:lnTo>
                  <a:lnTo>
                    <a:pt x="161" y="619"/>
                  </a:lnTo>
                  <a:lnTo>
                    <a:pt x="161" y="617"/>
                  </a:lnTo>
                  <a:lnTo>
                    <a:pt x="163" y="617"/>
                  </a:lnTo>
                  <a:lnTo>
                    <a:pt x="166" y="616"/>
                  </a:lnTo>
                  <a:lnTo>
                    <a:pt x="168" y="616"/>
                  </a:lnTo>
                  <a:lnTo>
                    <a:pt x="170" y="614"/>
                  </a:lnTo>
                  <a:lnTo>
                    <a:pt x="166" y="616"/>
                  </a:lnTo>
                  <a:lnTo>
                    <a:pt x="164" y="616"/>
                  </a:lnTo>
                  <a:lnTo>
                    <a:pt x="163" y="616"/>
                  </a:lnTo>
                  <a:lnTo>
                    <a:pt x="161" y="617"/>
                  </a:lnTo>
                  <a:lnTo>
                    <a:pt x="159" y="616"/>
                  </a:lnTo>
                  <a:lnTo>
                    <a:pt x="161" y="616"/>
                  </a:lnTo>
                  <a:lnTo>
                    <a:pt x="159" y="616"/>
                  </a:lnTo>
                  <a:lnTo>
                    <a:pt x="158" y="614"/>
                  </a:lnTo>
                  <a:lnTo>
                    <a:pt x="159" y="612"/>
                  </a:lnTo>
                  <a:lnTo>
                    <a:pt x="161" y="612"/>
                  </a:lnTo>
                  <a:lnTo>
                    <a:pt x="163" y="612"/>
                  </a:lnTo>
                  <a:lnTo>
                    <a:pt x="163" y="610"/>
                  </a:lnTo>
                  <a:lnTo>
                    <a:pt x="164" y="610"/>
                  </a:lnTo>
                  <a:lnTo>
                    <a:pt x="166" y="610"/>
                  </a:lnTo>
                  <a:lnTo>
                    <a:pt x="166" y="609"/>
                  </a:lnTo>
                  <a:lnTo>
                    <a:pt x="168" y="609"/>
                  </a:lnTo>
                  <a:lnTo>
                    <a:pt x="170" y="609"/>
                  </a:lnTo>
                  <a:lnTo>
                    <a:pt x="168" y="609"/>
                  </a:lnTo>
                  <a:lnTo>
                    <a:pt x="170" y="609"/>
                  </a:lnTo>
                  <a:lnTo>
                    <a:pt x="168" y="609"/>
                  </a:lnTo>
                  <a:lnTo>
                    <a:pt x="166" y="609"/>
                  </a:lnTo>
                  <a:lnTo>
                    <a:pt x="164" y="610"/>
                  </a:lnTo>
                  <a:lnTo>
                    <a:pt x="164" y="609"/>
                  </a:lnTo>
                  <a:lnTo>
                    <a:pt x="163" y="609"/>
                  </a:lnTo>
                  <a:lnTo>
                    <a:pt x="161" y="607"/>
                  </a:lnTo>
                  <a:lnTo>
                    <a:pt x="161" y="609"/>
                  </a:lnTo>
                  <a:lnTo>
                    <a:pt x="163" y="609"/>
                  </a:lnTo>
                  <a:lnTo>
                    <a:pt x="163" y="610"/>
                  </a:lnTo>
                  <a:lnTo>
                    <a:pt x="161" y="610"/>
                  </a:lnTo>
                  <a:lnTo>
                    <a:pt x="159" y="610"/>
                  </a:lnTo>
                  <a:lnTo>
                    <a:pt x="158" y="610"/>
                  </a:lnTo>
                  <a:lnTo>
                    <a:pt x="158" y="607"/>
                  </a:lnTo>
                  <a:lnTo>
                    <a:pt x="159" y="607"/>
                  </a:lnTo>
                  <a:lnTo>
                    <a:pt x="161" y="605"/>
                  </a:lnTo>
                  <a:lnTo>
                    <a:pt x="161" y="607"/>
                  </a:lnTo>
                  <a:lnTo>
                    <a:pt x="161" y="605"/>
                  </a:lnTo>
                  <a:lnTo>
                    <a:pt x="163" y="605"/>
                  </a:lnTo>
                  <a:lnTo>
                    <a:pt x="164" y="604"/>
                  </a:lnTo>
                  <a:lnTo>
                    <a:pt x="166" y="604"/>
                  </a:lnTo>
                  <a:lnTo>
                    <a:pt x="164" y="605"/>
                  </a:lnTo>
                  <a:lnTo>
                    <a:pt x="166" y="607"/>
                  </a:lnTo>
                  <a:lnTo>
                    <a:pt x="166" y="605"/>
                  </a:lnTo>
                  <a:lnTo>
                    <a:pt x="166" y="604"/>
                  </a:lnTo>
                  <a:lnTo>
                    <a:pt x="168" y="602"/>
                  </a:lnTo>
                  <a:lnTo>
                    <a:pt x="170" y="602"/>
                  </a:lnTo>
                  <a:lnTo>
                    <a:pt x="171" y="602"/>
                  </a:lnTo>
                  <a:lnTo>
                    <a:pt x="171" y="605"/>
                  </a:lnTo>
                  <a:lnTo>
                    <a:pt x="171" y="602"/>
                  </a:lnTo>
                  <a:lnTo>
                    <a:pt x="168" y="602"/>
                  </a:lnTo>
                  <a:lnTo>
                    <a:pt x="170" y="600"/>
                  </a:lnTo>
                  <a:lnTo>
                    <a:pt x="171" y="599"/>
                  </a:lnTo>
                  <a:lnTo>
                    <a:pt x="173" y="599"/>
                  </a:lnTo>
                  <a:lnTo>
                    <a:pt x="175" y="597"/>
                  </a:lnTo>
                  <a:lnTo>
                    <a:pt x="176" y="597"/>
                  </a:lnTo>
                  <a:lnTo>
                    <a:pt x="176" y="599"/>
                  </a:lnTo>
                  <a:lnTo>
                    <a:pt x="176" y="602"/>
                  </a:lnTo>
                  <a:lnTo>
                    <a:pt x="178" y="602"/>
                  </a:lnTo>
                  <a:lnTo>
                    <a:pt x="180" y="604"/>
                  </a:lnTo>
                  <a:lnTo>
                    <a:pt x="178" y="605"/>
                  </a:lnTo>
                  <a:lnTo>
                    <a:pt x="180" y="607"/>
                  </a:lnTo>
                  <a:lnTo>
                    <a:pt x="180" y="609"/>
                  </a:lnTo>
                  <a:lnTo>
                    <a:pt x="181" y="610"/>
                  </a:lnTo>
                  <a:lnTo>
                    <a:pt x="183" y="610"/>
                  </a:lnTo>
                  <a:lnTo>
                    <a:pt x="183" y="614"/>
                  </a:lnTo>
                  <a:lnTo>
                    <a:pt x="183" y="616"/>
                  </a:lnTo>
                  <a:lnTo>
                    <a:pt x="181" y="617"/>
                  </a:lnTo>
                  <a:lnTo>
                    <a:pt x="180" y="619"/>
                  </a:lnTo>
                  <a:lnTo>
                    <a:pt x="178" y="621"/>
                  </a:lnTo>
                  <a:lnTo>
                    <a:pt x="180" y="621"/>
                  </a:lnTo>
                  <a:lnTo>
                    <a:pt x="181" y="619"/>
                  </a:lnTo>
                  <a:lnTo>
                    <a:pt x="183" y="617"/>
                  </a:lnTo>
                  <a:lnTo>
                    <a:pt x="187" y="617"/>
                  </a:lnTo>
                  <a:lnTo>
                    <a:pt x="187" y="619"/>
                  </a:lnTo>
                  <a:lnTo>
                    <a:pt x="190" y="621"/>
                  </a:lnTo>
                  <a:lnTo>
                    <a:pt x="192" y="619"/>
                  </a:lnTo>
                  <a:lnTo>
                    <a:pt x="190" y="619"/>
                  </a:lnTo>
                  <a:lnTo>
                    <a:pt x="188" y="617"/>
                  </a:lnTo>
                  <a:lnTo>
                    <a:pt x="187" y="616"/>
                  </a:lnTo>
                  <a:lnTo>
                    <a:pt x="188" y="614"/>
                  </a:lnTo>
                  <a:lnTo>
                    <a:pt x="190" y="612"/>
                  </a:lnTo>
                  <a:lnTo>
                    <a:pt x="190" y="610"/>
                  </a:lnTo>
                  <a:lnTo>
                    <a:pt x="193" y="610"/>
                  </a:lnTo>
                  <a:lnTo>
                    <a:pt x="195" y="610"/>
                  </a:lnTo>
                  <a:lnTo>
                    <a:pt x="197" y="612"/>
                  </a:lnTo>
                  <a:lnTo>
                    <a:pt x="198" y="610"/>
                  </a:lnTo>
                  <a:lnTo>
                    <a:pt x="202" y="612"/>
                  </a:lnTo>
                  <a:lnTo>
                    <a:pt x="205" y="610"/>
                  </a:lnTo>
                  <a:lnTo>
                    <a:pt x="205" y="612"/>
                  </a:lnTo>
                  <a:lnTo>
                    <a:pt x="209" y="612"/>
                  </a:lnTo>
                  <a:lnTo>
                    <a:pt x="210" y="614"/>
                  </a:lnTo>
                  <a:lnTo>
                    <a:pt x="210" y="612"/>
                  </a:lnTo>
                  <a:lnTo>
                    <a:pt x="214" y="610"/>
                  </a:lnTo>
                  <a:lnTo>
                    <a:pt x="214" y="609"/>
                  </a:lnTo>
                  <a:lnTo>
                    <a:pt x="210" y="609"/>
                  </a:lnTo>
                  <a:lnTo>
                    <a:pt x="209" y="609"/>
                  </a:lnTo>
                  <a:lnTo>
                    <a:pt x="209" y="607"/>
                  </a:lnTo>
                  <a:lnTo>
                    <a:pt x="209" y="604"/>
                  </a:lnTo>
                  <a:lnTo>
                    <a:pt x="210" y="604"/>
                  </a:lnTo>
                  <a:lnTo>
                    <a:pt x="214" y="604"/>
                  </a:lnTo>
                  <a:lnTo>
                    <a:pt x="214" y="602"/>
                  </a:lnTo>
                  <a:lnTo>
                    <a:pt x="212" y="602"/>
                  </a:lnTo>
                  <a:lnTo>
                    <a:pt x="212" y="600"/>
                  </a:lnTo>
                  <a:lnTo>
                    <a:pt x="214" y="600"/>
                  </a:lnTo>
                  <a:lnTo>
                    <a:pt x="212" y="600"/>
                  </a:lnTo>
                  <a:lnTo>
                    <a:pt x="215" y="600"/>
                  </a:lnTo>
                  <a:lnTo>
                    <a:pt x="214" y="600"/>
                  </a:lnTo>
                  <a:lnTo>
                    <a:pt x="214" y="599"/>
                  </a:lnTo>
                  <a:lnTo>
                    <a:pt x="214" y="600"/>
                  </a:lnTo>
                  <a:lnTo>
                    <a:pt x="214" y="599"/>
                  </a:lnTo>
                  <a:lnTo>
                    <a:pt x="210" y="600"/>
                  </a:lnTo>
                  <a:lnTo>
                    <a:pt x="209" y="602"/>
                  </a:lnTo>
                  <a:lnTo>
                    <a:pt x="207" y="604"/>
                  </a:lnTo>
                  <a:lnTo>
                    <a:pt x="205" y="604"/>
                  </a:lnTo>
                  <a:lnTo>
                    <a:pt x="205" y="602"/>
                  </a:lnTo>
                  <a:lnTo>
                    <a:pt x="205" y="604"/>
                  </a:lnTo>
                  <a:lnTo>
                    <a:pt x="205" y="602"/>
                  </a:lnTo>
                  <a:lnTo>
                    <a:pt x="207" y="599"/>
                  </a:lnTo>
                  <a:lnTo>
                    <a:pt x="209" y="597"/>
                  </a:lnTo>
                  <a:lnTo>
                    <a:pt x="212" y="597"/>
                  </a:lnTo>
                  <a:lnTo>
                    <a:pt x="214" y="593"/>
                  </a:lnTo>
                  <a:lnTo>
                    <a:pt x="215" y="593"/>
                  </a:lnTo>
                  <a:lnTo>
                    <a:pt x="215" y="592"/>
                  </a:lnTo>
                  <a:lnTo>
                    <a:pt x="217" y="592"/>
                  </a:lnTo>
                  <a:lnTo>
                    <a:pt x="217" y="593"/>
                  </a:lnTo>
                  <a:lnTo>
                    <a:pt x="219" y="592"/>
                  </a:lnTo>
                  <a:lnTo>
                    <a:pt x="221" y="592"/>
                  </a:lnTo>
                  <a:lnTo>
                    <a:pt x="222" y="592"/>
                  </a:lnTo>
                  <a:lnTo>
                    <a:pt x="222" y="588"/>
                  </a:lnTo>
                  <a:lnTo>
                    <a:pt x="226" y="588"/>
                  </a:lnTo>
                  <a:lnTo>
                    <a:pt x="224" y="590"/>
                  </a:lnTo>
                  <a:lnTo>
                    <a:pt x="226" y="590"/>
                  </a:lnTo>
                  <a:lnTo>
                    <a:pt x="226" y="588"/>
                  </a:lnTo>
                  <a:lnTo>
                    <a:pt x="227" y="588"/>
                  </a:lnTo>
                  <a:lnTo>
                    <a:pt x="229" y="587"/>
                  </a:lnTo>
                  <a:lnTo>
                    <a:pt x="229" y="588"/>
                  </a:lnTo>
                  <a:lnTo>
                    <a:pt x="231" y="587"/>
                  </a:lnTo>
                  <a:lnTo>
                    <a:pt x="229" y="585"/>
                  </a:lnTo>
                  <a:lnTo>
                    <a:pt x="231" y="585"/>
                  </a:lnTo>
                  <a:lnTo>
                    <a:pt x="229" y="583"/>
                  </a:lnTo>
                  <a:lnTo>
                    <a:pt x="231" y="583"/>
                  </a:lnTo>
                  <a:lnTo>
                    <a:pt x="229" y="582"/>
                  </a:lnTo>
                  <a:lnTo>
                    <a:pt x="226" y="583"/>
                  </a:lnTo>
                  <a:lnTo>
                    <a:pt x="226" y="580"/>
                  </a:lnTo>
                  <a:lnTo>
                    <a:pt x="227" y="582"/>
                  </a:lnTo>
                  <a:lnTo>
                    <a:pt x="227" y="580"/>
                  </a:lnTo>
                  <a:lnTo>
                    <a:pt x="227" y="578"/>
                  </a:lnTo>
                  <a:lnTo>
                    <a:pt x="227" y="576"/>
                  </a:lnTo>
                  <a:lnTo>
                    <a:pt x="227" y="575"/>
                  </a:lnTo>
                  <a:lnTo>
                    <a:pt x="226" y="576"/>
                  </a:lnTo>
                  <a:lnTo>
                    <a:pt x="226" y="578"/>
                  </a:lnTo>
                  <a:lnTo>
                    <a:pt x="226" y="580"/>
                  </a:lnTo>
                  <a:lnTo>
                    <a:pt x="224" y="580"/>
                  </a:lnTo>
                  <a:lnTo>
                    <a:pt x="222" y="582"/>
                  </a:lnTo>
                  <a:lnTo>
                    <a:pt x="219" y="583"/>
                  </a:lnTo>
                  <a:lnTo>
                    <a:pt x="219" y="580"/>
                  </a:lnTo>
                  <a:lnTo>
                    <a:pt x="221" y="578"/>
                  </a:lnTo>
                  <a:lnTo>
                    <a:pt x="222" y="576"/>
                  </a:lnTo>
                  <a:lnTo>
                    <a:pt x="224" y="575"/>
                  </a:lnTo>
                  <a:lnTo>
                    <a:pt x="226" y="573"/>
                  </a:lnTo>
                  <a:lnTo>
                    <a:pt x="227" y="573"/>
                  </a:lnTo>
                  <a:lnTo>
                    <a:pt x="229" y="573"/>
                  </a:lnTo>
                  <a:lnTo>
                    <a:pt x="229" y="571"/>
                  </a:lnTo>
                  <a:lnTo>
                    <a:pt x="232" y="571"/>
                  </a:lnTo>
                  <a:lnTo>
                    <a:pt x="229" y="570"/>
                  </a:lnTo>
                  <a:lnTo>
                    <a:pt x="227" y="570"/>
                  </a:lnTo>
                  <a:lnTo>
                    <a:pt x="227" y="568"/>
                  </a:lnTo>
                  <a:lnTo>
                    <a:pt x="224" y="568"/>
                  </a:lnTo>
                  <a:lnTo>
                    <a:pt x="224" y="570"/>
                  </a:lnTo>
                  <a:lnTo>
                    <a:pt x="224" y="566"/>
                  </a:lnTo>
                  <a:lnTo>
                    <a:pt x="227" y="565"/>
                  </a:lnTo>
                  <a:lnTo>
                    <a:pt x="227" y="563"/>
                  </a:lnTo>
                  <a:lnTo>
                    <a:pt x="226" y="563"/>
                  </a:lnTo>
                  <a:lnTo>
                    <a:pt x="226" y="565"/>
                  </a:lnTo>
                  <a:lnTo>
                    <a:pt x="224" y="566"/>
                  </a:lnTo>
                  <a:lnTo>
                    <a:pt x="222" y="566"/>
                  </a:lnTo>
                  <a:lnTo>
                    <a:pt x="222" y="568"/>
                  </a:lnTo>
                  <a:lnTo>
                    <a:pt x="222" y="570"/>
                  </a:lnTo>
                  <a:lnTo>
                    <a:pt x="222" y="571"/>
                  </a:lnTo>
                  <a:lnTo>
                    <a:pt x="221" y="571"/>
                  </a:lnTo>
                  <a:lnTo>
                    <a:pt x="219" y="573"/>
                  </a:lnTo>
                  <a:lnTo>
                    <a:pt x="217" y="575"/>
                  </a:lnTo>
                  <a:lnTo>
                    <a:pt x="215" y="575"/>
                  </a:lnTo>
                  <a:lnTo>
                    <a:pt x="214" y="576"/>
                  </a:lnTo>
                  <a:lnTo>
                    <a:pt x="214" y="578"/>
                  </a:lnTo>
                  <a:lnTo>
                    <a:pt x="212" y="580"/>
                  </a:lnTo>
                  <a:lnTo>
                    <a:pt x="210" y="580"/>
                  </a:lnTo>
                  <a:lnTo>
                    <a:pt x="209" y="582"/>
                  </a:lnTo>
                  <a:lnTo>
                    <a:pt x="207" y="583"/>
                  </a:lnTo>
                  <a:lnTo>
                    <a:pt x="205" y="583"/>
                  </a:lnTo>
                  <a:lnTo>
                    <a:pt x="204" y="585"/>
                  </a:lnTo>
                  <a:lnTo>
                    <a:pt x="204" y="587"/>
                  </a:lnTo>
                  <a:lnTo>
                    <a:pt x="205" y="585"/>
                  </a:lnTo>
                  <a:lnTo>
                    <a:pt x="207" y="583"/>
                  </a:lnTo>
                  <a:lnTo>
                    <a:pt x="205" y="583"/>
                  </a:lnTo>
                  <a:lnTo>
                    <a:pt x="207" y="583"/>
                  </a:lnTo>
                  <a:lnTo>
                    <a:pt x="209" y="582"/>
                  </a:lnTo>
                  <a:lnTo>
                    <a:pt x="210" y="582"/>
                  </a:lnTo>
                  <a:lnTo>
                    <a:pt x="212" y="580"/>
                  </a:lnTo>
                  <a:lnTo>
                    <a:pt x="214" y="578"/>
                  </a:lnTo>
                  <a:lnTo>
                    <a:pt x="215" y="578"/>
                  </a:lnTo>
                  <a:lnTo>
                    <a:pt x="217" y="580"/>
                  </a:lnTo>
                  <a:lnTo>
                    <a:pt x="219" y="583"/>
                  </a:lnTo>
                  <a:lnTo>
                    <a:pt x="215" y="585"/>
                  </a:lnTo>
                  <a:lnTo>
                    <a:pt x="217" y="585"/>
                  </a:lnTo>
                  <a:lnTo>
                    <a:pt x="215" y="587"/>
                  </a:lnTo>
                  <a:lnTo>
                    <a:pt x="215" y="590"/>
                  </a:lnTo>
                  <a:lnTo>
                    <a:pt x="214" y="590"/>
                  </a:lnTo>
                  <a:lnTo>
                    <a:pt x="212" y="592"/>
                  </a:lnTo>
                  <a:lnTo>
                    <a:pt x="210" y="592"/>
                  </a:lnTo>
                  <a:lnTo>
                    <a:pt x="209" y="592"/>
                  </a:lnTo>
                  <a:lnTo>
                    <a:pt x="207" y="593"/>
                  </a:lnTo>
                  <a:lnTo>
                    <a:pt x="205" y="593"/>
                  </a:lnTo>
                  <a:lnTo>
                    <a:pt x="204" y="595"/>
                  </a:lnTo>
                  <a:lnTo>
                    <a:pt x="204" y="597"/>
                  </a:lnTo>
                  <a:lnTo>
                    <a:pt x="202" y="599"/>
                  </a:lnTo>
                  <a:lnTo>
                    <a:pt x="198" y="600"/>
                  </a:lnTo>
                  <a:lnTo>
                    <a:pt x="198" y="602"/>
                  </a:lnTo>
                  <a:lnTo>
                    <a:pt x="197" y="602"/>
                  </a:lnTo>
                  <a:lnTo>
                    <a:pt x="195" y="604"/>
                  </a:lnTo>
                  <a:lnTo>
                    <a:pt x="192" y="604"/>
                  </a:lnTo>
                  <a:lnTo>
                    <a:pt x="192" y="605"/>
                  </a:lnTo>
                  <a:lnTo>
                    <a:pt x="190" y="605"/>
                  </a:lnTo>
                  <a:lnTo>
                    <a:pt x="188" y="607"/>
                  </a:lnTo>
                  <a:lnTo>
                    <a:pt x="185" y="607"/>
                  </a:lnTo>
                  <a:lnTo>
                    <a:pt x="185" y="609"/>
                  </a:lnTo>
                  <a:lnTo>
                    <a:pt x="183" y="607"/>
                  </a:lnTo>
                  <a:lnTo>
                    <a:pt x="181" y="605"/>
                  </a:lnTo>
                  <a:lnTo>
                    <a:pt x="181" y="604"/>
                  </a:lnTo>
                  <a:lnTo>
                    <a:pt x="181" y="602"/>
                  </a:lnTo>
                  <a:lnTo>
                    <a:pt x="181" y="600"/>
                  </a:lnTo>
                  <a:lnTo>
                    <a:pt x="183" y="600"/>
                  </a:lnTo>
                  <a:lnTo>
                    <a:pt x="181" y="600"/>
                  </a:lnTo>
                  <a:lnTo>
                    <a:pt x="180" y="600"/>
                  </a:lnTo>
                  <a:lnTo>
                    <a:pt x="180" y="599"/>
                  </a:lnTo>
                  <a:lnTo>
                    <a:pt x="178" y="599"/>
                  </a:lnTo>
                  <a:lnTo>
                    <a:pt x="180" y="597"/>
                  </a:lnTo>
                  <a:lnTo>
                    <a:pt x="178" y="595"/>
                  </a:lnTo>
                  <a:lnTo>
                    <a:pt x="180" y="593"/>
                  </a:lnTo>
                  <a:lnTo>
                    <a:pt x="180" y="595"/>
                  </a:lnTo>
                  <a:lnTo>
                    <a:pt x="181" y="593"/>
                  </a:lnTo>
                  <a:lnTo>
                    <a:pt x="183" y="593"/>
                  </a:lnTo>
                  <a:lnTo>
                    <a:pt x="183" y="592"/>
                  </a:lnTo>
                  <a:lnTo>
                    <a:pt x="185" y="592"/>
                  </a:lnTo>
                  <a:lnTo>
                    <a:pt x="187" y="592"/>
                  </a:lnTo>
                  <a:lnTo>
                    <a:pt x="188" y="590"/>
                  </a:lnTo>
                  <a:lnTo>
                    <a:pt x="188" y="588"/>
                  </a:lnTo>
                  <a:lnTo>
                    <a:pt x="187" y="590"/>
                  </a:lnTo>
                  <a:lnTo>
                    <a:pt x="185" y="590"/>
                  </a:lnTo>
                  <a:lnTo>
                    <a:pt x="187" y="588"/>
                  </a:lnTo>
                  <a:lnTo>
                    <a:pt x="188" y="587"/>
                  </a:lnTo>
                  <a:lnTo>
                    <a:pt x="187" y="588"/>
                  </a:lnTo>
                  <a:lnTo>
                    <a:pt x="185" y="588"/>
                  </a:lnTo>
                  <a:lnTo>
                    <a:pt x="183" y="588"/>
                  </a:lnTo>
                  <a:lnTo>
                    <a:pt x="181" y="590"/>
                  </a:lnTo>
                  <a:lnTo>
                    <a:pt x="180" y="592"/>
                  </a:lnTo>
                  <a:lnTo>
                    <a:pt x="176" y="592"/>
                  </a:lnTo>
                  <a:lnTo>
                    <a:pt x="176" y="593"/>
                  </a:lnTo>
                  <a:lnTo>
                    <a:pt x="175" y="593"/>
                  </a:lnTo>
                  <a:lnTo>
                    <a:pt x="175" y="595"/>
                  </a:lnTo>
                  <a:lnTo>
                    <a:pt x="171" y="595"/>
                  </a:lnTo>
                  <a:lnTo>
                    <a:pt x="171" y="597"/>
                  </a:lnTo>
                  <a:lnTo>
                    <a:pt x="170" y="595"/>
                  </a:lnTo>
                  <a:lnTo>
                    <a:pt x="171" y="593"/>
                  </a:lnTo>
                  <a:lnTo>
                    <a:pt x="171" y="592"/>
                  </a:lnTo>
                  <a:lnTo>
                    <a:pt x="170" y="592"/>
                  </a:lnTo>
                  <a:lnTo>
                    <a:pt x="171" y="592"/>
                  </a:lnTo>
                  <a:lnTo>
                    <a:pt x="171" y="590"/>
                  </a:lnTo>
                  <a:lnTo>
                    <a:pt x="175" y="590"/>
                  </a:lnTo>
                  <a:lnTo>
                    <a:pt x="175" y="588"/>
                  </a:lnTo>
                  <a:lnTo>
                    <a:pt x="178" y="588"/>
                  </a:lnTo>
                  <a:lnTo>
                    <a:pt x="176" y="588"/>
                  </a:lnTo>
                  <a:lnTo>
                    <a:pt x="173" y="588"/>
                  </a:lnTo>
                  <a:lnTo>
                    <a:pt x="171" y="588"/>
                  </a:lnTo>
                  <a:lnTo>
                    <a:pt x="173" y="587"/>
                  </a:lnTo>
                  <a:lnTo>
                    <a:pt x="173" y="585"/>
                  </a:lnTo>
                  <a:lnTo>
                    <a:pt x="175" y="585"/>
                  </a:lnTo>
                  <a:lnTo>
                    <a:pt x="175" y="583"/>
                  </a:lnTo>
                  <a:lnTo>
                    <a:pt x="173" y="585"/>
                  </a:lnTo>
                  <a:lnTo>
                    <a:pt x="173" y="583"/>
                  </a:lnTo>
                  <a:lnTo>
                    <a:pt x="175" y="583"/>
                  </a:lnTo>
                  <a:lnTo>
                    <a:pt x="175" y="582"/>
                  </a:lnTo>
                  <a:lnTo>
                    <a:pt x="176" y="582"/>
                  </a:lnTo>
                  <a:lnTo>
                    <a:pt x="176" y="583"/>
                  </a:lnTo>
                  <a:lnTo>
                    <a:pt x="180" y="582"/>
                  </a:lnTo>
                  <a:lnTo>
                    <a:pt x="178" y="583"/>
                  </a:lnTo>
                  <a:lnTo>
                    <a:pt x="176" y="583"/>
                  </a:lnTo>
                  <a:lnTo>
                    <a:pt x="175" y="583"/>
                  </a:lnTo>
                  <a:lnTo>
                    <a:pt x="175" y="585"/>
                  </a:lnTo>
                  <a:lnTo>
                    <a:pt x="178" y="583"/>
                  </a:lnTo>
                  <a:lnTo>
                    <a:pt x="180" y="582"/>
                  </a:lnTo>
                  <a:lnTo>
                    <a:pt x="180" y="583"/>
                  </a:lnTo>
                  <a:lnTo>
                    <a:pt x="181" y="582"/>
                  </a:lnTo>
                  <a:lnTo>
                    <a:pt x="181" y="580"/>
                  </a:lnTo>
                  <a:lnTo>
                    <a:pt x="180" y="582"/>
                  </a:lnTo>
                  <a:lnTo>
                    <a:pt x="180" y="580"/>
                  </a:lnTo>
                  <a:lnTo>
                    <a:pt x="181" y="580"/>
                  </a:lnTo>
                  <a:lnTo>
                    <a:pt x="183" y="578"/>
                  </a:lnTo>
                  <a:lnTo>
                    <a:pt x="181" y="580"/>
                  </a:lnTo>
                  <a:lnTo>
                    <a:pt x="183" y="582"/>
                  </a:lnTo>
                  <a:lnTo>
                    <a:pt x="183" y="580"/>
                  </a:lnTo>
                  <a:lnTo>
                    <a:pt x="185" y="578"/>
                  </a:lnTo>
                  <a:lnTo>
                    <a:pt x="188" y="576"/>
                  </a:lnTo>
                  <a:lnTo>
                    <a:pt x="190" y="576"/>
                  </a:lnTo>
                  <a:lnTo>
                    <a:pt x="192" y="576"/>
                  </a:lnTo>
                  <a:lnTo>
                    <a:pt x="192" y="575"/>
                  </a:lnTo>
                  <a:lnTo>
                    <a:pt x="190" y="575"/>
                  </a:lnTo>
                  <a:lnTo>
                    <a:pt x="188" y="576"/>
                  </a:lnTo>
                  <a:lnTo>
                    <a:pt x="188" y="575"/>
                  </a:lnTo>
                  <a:lnTo>
                    <a:pt x="187" y="576"/>
                  </a:lnTo>
                  <a:lnTo>
                    <a:pt x="185" y="578"/>
                  </a:lnTo>
                  <a:lnTo>
                    <a:pt x="183" y="578"/>
                  </a:lnTo>
                  <a:lnTo>
                    <a:pt x="183" y="576"/>
                  </a:lnTo>
                  <a:lnTo>
                    <a:pt x="183" y="578"/>
                  </a:lnTo>
                  <a:lnTo>
                    <a:pt x="187" y="575"/>
                  </a:lnTo>
                  <a:lnTo>
                    <a:pt x="188" y="575"/>
                  </a:lnTo>
                  <a:lnTo>
                    <a:pt x="190" y="573"/>
                  </a:lnTo>
                  <a:lnTo>
                    <a:pt x="192" y="571"/>
                  </a:lnTo>
                  <a:lnTo>
                    <a:pt x="190" y="571"/>
                  </a:lnTo>
                  <a:lnTo>
                    <a:pt x="188" y="573"/>
                  </a:lnTo>
                  <a:lnTo>
                    <a:pt x="188" y="575"/>
                  </a:lnTo>
                  <a:lnTo>
                    <a:pt x="188" y="573"/>
                  </a:lnTo>
                  <a:lnTo>
                    <a:pt x="187" y="575"/>
                  </a:lnTo>
                  <a:lnTo>
                    <a:pt x="188" y="573"/>
                  </a:lnTo>
                  <a:lnTo>
                    <a:pt x="187" y="575"/>
                  </a:lnTo>
                  <a:lnTo>
                    <a:pt x="187" y="573"/>
                  </a:lnTo>
                  <a:lnTo>
                    <a:pt x="185" y="573"/>
                  </a:lnTo>
                  <a:lnTo>
                    <a:pt x="185" y="575"/>
                  </a:lnTo>
                  <a:lnTo>
                    <a:pt x="183" y="575"/>
                  </a:lnTo>
                  <a:lnTo>
                    <a:pt x="183" y="573"/>
                  </a:lnTo>
                  <a:lnTo>
                    <a:pt x="185" y="573"/>
                  </a:lnTo>
                  <a:lnTo>
                    <a:pt x="185" y="571"/>
                  </a:lnTo>
                  <a:lnTo>
                    <a:pt x="187" y="573"/>
                  </a:lnTo>
                  <a:lnTo>
                    <a:pt x="185" y="570"/>
                  </a:lnTo>
                  <a:lnTo>
                    <a:pt x="187" y="571"/>
                  </a:lnTo>
                  <a:lnTo>
                    <a:pt x="187" y="570"/>
                  </a:lnTo>
                  <a:lnTo>
                    <a:pt x="187" y="568"/>
                  </a:lnTo>
                  <a:lnTo>
                    <a:pt x="185" y="566"/>
                  </a:lnTo>
                  <a:lnTo>
                    <a:pt x="187" y="566"/>
                  </a:lnTo>
                  <a:lnTo>
                    <a:pt x="185" y="565"/>
                  </a:lnTo>
                  <a:lnTo>
                    <a:pt x="187" y="565"/>
                  </a:lnTo>
                  <a:lnTo>
                    <a:pt x="188" y="566"/>
                  </a:lnTo>
                  <a:lnTo>
                    <a:pt x="190" y="566"/>
                  </a:lnTo>
                  <a:lnTo>
                    <a:pt x="190" y="565"/>
                  </a:lnTo>
                  <a:lnTo>
                    <a:pt x="193" y="565"/>
                  </a:lnTo>
                  <a:lnTo>
                    <a:pt x="193" y="563"/>
                  </a:lnTo>
                  <a:lnTo>
                    <a:pt x="190" y="565"/>
                  </a:lnTo>
                  <a:lnTo>
                    <a:pt x="188" y="563"/>
                  </a:lnTo>
                  <a:lnTo>
                    <a:pt x="190" y="561"/>
                  </a:lnTo>
                  <a:lnTo>
                    <a:pt x="192" y="561"/>
                  </a:lnTo>
                  <a:lnTo>
                    <a:pt x="190" y="561"/>
                  </a:lnTo>
                  <a:lnTo>
                    <a:pt x="192" y="561"/>
                  </a:lnTo>
                  <a:lnTo>
                    <a:pt x="192" y="559"/>
                  </a:lnTo>
                  <a:lnTo>
                    <a:pt x="190" y="558"/>
                  </a:lnTo>
                  <a:lnTo>
                    <a:pt x="192" y="556"/>
                  </a:lnTo>
                  <a:lnTo>
                    <a:pt x="193" y="558"/>
                  </a:lnTo>
                  <a:lnTo>
                    <a:pt x="192" y="556"/>
                  </a:lnTo>
                  <a:lnTo>
                    <a:pt x="193" y="556"/>
                  </a:lnTo>
                  <a:lnTo>
                    <a:pt x="193" y="558"/>
                  </a:lnTo>
                  <a:lnTo>
                    <a:pt x="193" y="556"/>
                  </a:lnTo>
                  <a:lnTo>
                    <a:pt x="195" y="556"/>
                  </a:lnTo>
                  <a:lnTo>
                    <a:pt x="197" y="559"/>
                  </a:lnTo>
                  <a:lnTo>
                    <a:pt x="197" y="556"/>
                  </a:lnTo>
                  <a:lnTo>
                    <a:pt x="195" y="556"/>
                  </a:lnTo>
                  <a:lnTo>
                    <a:pt x="193" y="556"/>
                  </a:lnTo>
                  <a:lnTo>
                    <a:pt x="193" y="554"/>
                  </a:lnTo>
                  <a:lnTo>
                    <a:pt x="195" y="553"/>
                  </a:lnTo>
                  <a:lnTo>
                    <a:pt x="197" y="551"/>
                  </a:lnTo>
                  <a:lnTo>
                    <a:pt x="198" y="553"/>
                  </a:lnTo>
                  <a:lnTo>
                    <a:pt x="197" y="551"/>
                  </a:lnTo>
                  <a:lnTo>
                    <a:pt x="198" y="551"/>
                  </a:lnTo>
                  <a:lnTo>
                    <a:pt x="200" y="551"/>
                  </a:lnTo>
                  <a:lnTo>
                    <a:pt x="200" y="549"/>
                  </a:lnTo>
                  <a:lnTo>
                    <a:pt x="198" y="549"/>
                  </a:lnTo>
                  <a:lnTo>
                    <a:pt x="198" y="548"/>
                  </a:lnTo>
                  <a:lnTo>
                    <a:pt x="200" y="548"/>
                  </a:lnTo>
                  <a:lnTo>
                    <a:pt x="198" y="546"/>
                  </a:lnTo>
                  <a:lnTo>
                    <a:pt x="200" y="548"/>
                  </a:lnTo>
                  <a:lnTo>
                    <a:pt x="198" y="546"/>
                  </a:lnTo>
                  <a:lnTo>
                    <a:pt x="200" y="546"/>
                  </a:lnTo>
                  <a:lnTo>
                    <a:pt x="202" y="548"/>
                  </a:lnTo>
                  <a:lnTo>
                    <a:pt x="200" y="546"/>
                  </a:lnTo>
                  <a:lnTo>
                    <a:pt x="200" y="544"/>
                  </a:lnTo>
                  <a:lnTo>
                    <a:pt x="202" y="546"/>
                  </a:lnTo>
                  <a:lnTo>
                    <a:pt x="204" y="548"/>
                  </a:lnTo>
                  <a:lnTo>
                    <a:pt x="205" y="546"/>
                  </a:lnTo>
                  <a:lnTo>
                    <a:pt x="204" y="546"/>
                  </a:lnTo>
                  <a:lnTo>
                    <a:pt x="204" y="544"/>
                  </a:lnTo>
                  <a:lnTo>
                    <a:pt x="202" y="544"/>
                  </a:lnTo>
                  <a:lnTo>
                    <a:pt x="202" y="542"/>
                  </a:lnTo>
                  <a:lnTo>
                    <a:pt x="200" y="542"/>
                  </a:lnTo>
                  <a:lnTo>
                    <a:pt x="200" y="544"/>
                  </a:lnTo>
                  <a:lnTo>
                    <a:pt x="200" y="542"/>
                  </a:lnTo>
                  <a:lnTo>
                    <a:pt x="198" y="542"/>
                  </a:lnTo>
                  <a:lnTo>
                    <a:pt x="200" y="541"/>
                  </a:lnTo>
                  <a:lnTo>
                    <a:pt x="204" y="541"/>
                  </a:lnTo>
                  <a:lnTo>
                    <a:pt x="204" y="544"/>
                  </a:lnTo>
                  <a:lnTo>
                    <a:pt x="204" y="542"/>
                  </a:lnTo>
                  <a:lnTo>
                    <a:pt x="204" y="541"/>
                  </a:lnTo>
                  <a:lnTo>
                    <a:pt x="202" y="541"/>
                  </a:lnTo>
                  <a:lnTo>
                    <a:pt x="204" y="541"/>
                  </a:lnTo>
                  <a:lnTo>
                    <a:pt x="204" y="539"/>
                  </a:lnTo>
                  <a:lnTo>
                    <a:pt x="205" y="541"/>
                  </a:lnTo>
                  <a:lnTo>
                    <a:pt x="205" y="542"/>
                  </a:lnTo>
                  <a:lnTo>
                    <a:pt x="209" y="542"/>
                  </a:lnTo>
                  <a:lnTo>
                    <a:pt x="209" y="544"/>
                  </a:lnTo>
                  <a:lnTo>
                    <a:pt x="210" y="544"/>
                  </a:lnTo>
                  <a:lnTo>
                    <a:pt x="210" y="546"/>
                  </a:lnTo>
                  <a:lnTo>
                    <a:pt x="209" y="542"/>
                  </a:lnTo>
                  <a:lnTo>
                    <a:pt x="209" y="541"/>
                  </a:lnTo>
                  <a:lnTo>
                    <a:pt x="210" y="542"/>
                  </a:lnTo>
                  <a:lnTo>
                    <a:pt x="210" y="541"/>
                  </a:lnTo>
                  <a:lnTo>
                    <a:pt x="207" y="539"/>
                  </a:lnTo>
                  <a:lnTo>
                    <a:pt x="207" y="541"/>
                  </a:lnTo>
                  <a:lnTo>
                    <a:pt x="205" y="539"/>
                  </a:lnTo>
                  <a:lnTo>
                    <a:pt x="207" y="537"/>
                  </a:lnTo>
                  <a:lnTo>
                    <a:pt x="207" y="539"/>
                  </a:lnTo>
                  <a:lnTo>
                    <a:pt x="209" y="539"/>
                  </a:lnTo>
                  <a:lnTo>
                    <a:pt x="209" y="537"/>
                  </a:lnTo>
                  <a:lnTo>
                    <a:pt x="209" y="539"/>
                  </a:lnTo>
                  <a:lnTo>
                    <a:pt x="209" y="537"/>
                  </a:lnTo>
                  <a:lnTo>
                    <a:pt x="209" y="539"/>
                  </a:lnTo>
                  <a:lnTo>
                    <a:pt x="209" y="537"/>
                  </a:lnTo>
                  <a:lnTo>
                    <a:pt x="210" y="537"/>
                  </a:lnTo>
                  <a:lnTo>
                    <a:pt x="210" y="539"/>
                  </a:lnTo>
                  <a:lnTo>
                    <a:pt x="212" y="539"/>
                  </a:lnTo>
                  <a:lnTo>
                    <a:pt x="210" y="537"/>
                  </a:lnTo>
                  <a:lnTo>
                    <a:pt x="209" y="534"/>
                  </a:lnTo>
                  <a:lnTo>
                    <a:pt x="212" y="536"/>
                  </a:lnTo>
                  <a:lnTo>
                    <a:pt x="212" y="539"/>
                  </a:lnTo>
                  <a:lnTo>
                    <a:pt x="212" y="537"/>
                  </a:lnTo>
                  <a:lnTo>
                    <a:pt x="212" y="536"/>
                  </a:lnTo>
                  <a:lnTo>
                    <a:pt x="214" y="536"/>
                  </a:lnTo>
                  <a:lnTo>
                    <a:pt x="212" y="534"/>
                  </a:lnTo>
                  <a:lnTo>
                    <a:pt x="215" y="536"/>
                  </a:lnTo>
                  <a:lnTo>
                    <a:pt x="214" y="534"/>
                  </a:lnTo>
                  <a:lnTo>
                    <a:pt x="215" y="532"/>
                  </a:lnTo>
                  <a:lnTo>
                    <a:pt x="214" y="531"/>
                  </a:lnTo>
                  <a:lnTo>
                    <a:pt x="212" y="531"/>
                  </a:lnTo>
                  <a:lnTo>
                    <a:pt x="215" y="527"/>
                  </a:lnTo>
                  <a:lnTo>
                    <a:pt x="215" y="529"/>
                  </a:lnTo>
                  <a:lnTo>
                    <a:pt x="219" y="531"/>
                  </a:lnTo>
                  <a:lnTo>
                    <a:pt x="217" y="531"/>
                  </a:lnTo>
                  <a:lnTo>
                    <a:pt x="217" y="532"/>
                  </a:lnTo>
                  <a:lnTo>
                    <a:pt x="217" y="534"/>
                  </a:lnTo>
                  <a:lnTo>
                    <a:pt x="219" y="534"/>
                  </a:lnTo>
                  <a:lnTo>
                    <a:pt x="221" y="537"/>
                  </a:lnTo>
                  <a:lnTo>
                    <a:pt x="221" y="539"/>
                  </a:lnTo>
                  <a:lnTo>
                    <a:pt x="222" y="541"/>
                  </a:lnTo>
                  <a:lnTo>
                    <a:pt x="222" y="539"/>
                  </a:lnTo>
                  <a:lnTo>
                    <a:pt x="224" y="539"/>
                  </a:lnTo>
                  <a:lnTo>
                    <a:pt x="226" y="539"/>
                  </a:lnTo>
                  <a:lnTo>
                    <a:pt x="226" y="541"/>
                  </a:lnTo>
                  <a:lnTo>
                    <a:pt x="226" y="542"/>
                  </a:lnTo>
                  <a:lnTo>
                    <a:pt x="224" y="546"/>
                  </a:lnTo>
                  <a:lnTo>
                    <a:pt x="222" y="549"/>
                  </a:lnTo>
                  <a:lnTo>
                    <a:pt x="224" y="546"/>
                  </a:lnTo>
                  <a:lnTo>
                    <a:pt x="226" y="544"/>
                  </a:lnTo>
                  <a:lnTo>
                    <a:pt x="226" y="542"/>
                  </a:lnTo>
                  <a:lnTo>
                    <a:pt x="227" y="542"/>
                  </a:lnTo>
                  <a:lnTo>
                    <a:pt x="227" y="544"/>
                  </a:lnTo>
                  <a:lnTo>
                    <a:pt x="227" y="542"/>
                  </a:lnTo>
                  <a:lnTo>
                    <a:pt x="226" y="541"/>
                  </a:lnTo>
                  <a:lnTo>
                    <a:pt x="227" y="541"/>
                  </a:lnTo>
                  <a:lnTo>
                    <a:pt x="227" y="539"/>
                  </a:lnTo>
                  <a:lnTo>
                    <a:pt x="229" y="541"/>
                  </a:lnTo>
                  <a:lnTo>
                    <a:pt x="232" y="539"/>
                  </a:lnTo>
                  <a:lnTo>
                    <a:pt x="231" y="537"/>
                  </a:lnTo>
                  <a:lnTo>
                    <a:pt x="229" y="539"/>
                  </a:lnTo>
                  <a:lnTo>
                    <a:pt x="229" y="537"/>
                  </a:lnTo>
                  <a:lnTo>
                    <a:pt x="229" y="536"/>
                  </a:lnTo>
                  <a:lnTo>
                    <a:pt x="229" y="534"/>
                  </a:lnTo>
                  <a:lnTo>
                    <a:pt x="232" y="534"/>
                  </a:lnTo>
                  <a:lnTo>
                    <a:pt x="231" y="532"/>
                  </a:lnTo>
                  <a:lnTo>
                    <a:pt x="232" y="532"/>
                  </a:lnTo>
                  <a:lnTo>
                    <a:pt x="231" y="531"/>
                  </a:lnTo>
                  <a:lnTo>
                    <a:pt x="232" y="531"/>
                  </a:lnTo>
                  <a:lnTo>
                    <a:pt x="232" y="532"/>
                  </a:lnTo>
                  <a:lnTo>
                    <a:pt x="234" y="531"/>
                  </a:lnTo>
                  <a:lnTo>
                    <a:pt x="238" y="529"/>
                  </a:lnTo>
                  <a:lnTo>
                    <a:pt x="239" y="529"/>
                  </a:lnTo>
                  <a:lnTo>
                    <a:pt x="236" y="529"/>
                  </a:lnTo>
                  <a:lnTo>
                    <a:pt x="234" y="531"/>
                  </a:lnTo>
                  <a:lnTo>
                    <a:pt x="234" y="527"/>
                  </a:lnTo>
                  <a:lnTo>
                    <a:pt x="232" y="529"/>
                  </a:lnTo>
                  <a:lnTo>
                    <a:pt x="234" y="527"/>
                  </a:lnTo>
                  <a:lnTo>
                    <a:pt x="234" y="529"/>
                  </a:lnTo>
                  <a:lnTo>
                    <a:pt x="231" y="531"/>
                  </a:lnTo>
                  <a:lnTo>
                    <a:pt x="231" y="529"/>
                  </a:lnTo>
                  <a:lnTo>
                    <a:pt x="229" y="529"/>
                  </a:lnTo>
                  <a:lnTo>
                    <a:pt x="229" y="527"/>
                  </a:lnTo>
                  <a:lnTo>
                    <a:pt x="227" y="525"/>
                  </a:lnTo>
                  <a:lnTo>
                    <a:pt x="229" y="525"/>
                  </a:lnTo>
                  <a:lnTo>
                    <a:pt x="227" y="524"/>
                  </a:lnTo>
                  <a:lnTo>
                    <a:pt x="227" y="522"/>
                  </a:lnTo>
                  <a:lnTo>
                    <a:pt x="229" y="522"/>
                  </a:lnTo>
                  <a:lnTo>
                    <a:pt x="227" y="520"/>
                  </a:lnTo>
                  <a:lnTo>
                    <a:pt x="229" y="520"/>
                  </a:lnTo>
                  <a:lnTo>
                    <a:pt x="231" y="519"/>
                  </a:lnTo>
                  <a:lnTo>
                    <a:pt x="231" y="517"/>
                  </a:lnTo>
                  <a:lnTo>
                    <a:pt x="232" y="517"/>
                  </a:lnTo>
                  <a:lnTo>
                    <a:pt x="234" y="519"/>
                  </a:lnTo>
                  <a:lnTo>
                    <a:pt x="236" y="519"/>
                  </a:lnTo>
                  <a:lnTo>
                    <a:pt x="234" y="517"/>
                  </a:lnTo>
                  <a:lnTo>
                    <a:pt x="232" y="517"/>
                  </a:lnTo>
                  <a:lnTo>
                    <a:pt x="232" y="515"/>
                  </a:lnTo>
                  <a:lnTo>
                    <a:pt x="234" y="515"/>
                  </a:lnTo>
                  <a:lnTo>
                    <a:pt x="236" y="515"/>
                  </a:lnTo>
                  <a:lnTo>
                    <a:pt x="238" y="515"/>
                  </a:lnTo>
                  <a:lnTo>
                    <a:pt x="238" y="517"/>
                  </a:lnTo>
                  <a:lnTo>
                    <a:pt x="239" y="515"/>
                  </a:lnTo>
                  <a:lnTo>
                    <a:pt x="241" y="514"/>
                  </a:lnTo>
                  <a:lnTo>
                    <a:pt x="239" y="514"/>
                  </a:lnTo>
                  <a:lnTo>
                    <a:pt x="238" y="514"/>
                  </a:lnTo>
                  <a:lnTo>
                    <a:pt x="236" y="514"/>
                  </a:lnTo>
                  <a:lnTo>
                    <a:pt x="236" y="512"/>
                  </a:lnTo>
                  <a:lnTo>
                    <a:pt x="234" y="514"/>
                  </a:lnTo>
                  <a:lnTo>
                    <a:pt x="236" y="512"/>
                  </a:lnTo>
                  <a:lnTo>
                    <a:pt x="238" y="512"/>
                  </a:lnTo>
                  <a:lnTo>
                    <a:pt x="239" y="512"/>
                  </a:lnTo>
                  <a:lnTo>
                    <a:pt x="239" y="510"/>
                  </a:lnTo>
                  <a:lnTo>
                    <a:pt x="238" y="512"/>
                  </a:lnTo>
                  <a:lnTo>
                    <a:pt x="239" y="508"/>
                  </a:lnTo>
                  <a:lnTo>
                    <a:pt x="238" y="510"/>
                  </a:lnTo>
                  <a:lnTo>
                    <a:pt x="236" y="512"/>
                  </a:lnTo>
                  <a:lnTo>
                    <a:pt x="238" y="510"/>
                  </a:lnTo>
                  <a:lnTo>
                    <a:pt x="234" y="512"/>
                  </a:lnTo>
                  <a:lnTo>
                    <a:pt x="236" y="510"/>
                  </a:lnTo>
                  <a:lnTo>
                    <a:pt x="238" y="508"/>
                  </a:lnTo>
                  <a:lnTo>
                    <a:pt x="236" y="508"/>
                  </a:lnTo>
                  <a:lnTo>
                    <a:pt x="238" y="508"/>
                  </a:lnTo>
                  <a:lnTo>
                    <a:pt x="241" y="507"/>
                  </a:lnTo>
                  <a:lnTo>
                    <a:pt x="241" y="505"/>
                  </a:lnTo>
                  <a:lnTo>
                    <a:pt x="244" y="503"/>
                  </a:lnTo>
                  <a:lnTo>
                    <a:pt x="246" y="503"/>
                  </a:lnTo>
                  <a:lnTo>
                    <a:pt x="249" y="502"/>
                  </a:lnTo>
                  <a:lnTo>
                    <a:pt x="251" y="502"/>
                  </a:lnTo>
                  <a:lnTo>
                    <a:pt x="251" y="503"/>
                  </a:lnTo>
                  <a:lnTo>
                    <a:pt x="253" y="503"/>
                  </a:lnTo>
                  <a:lnTo>
                    <a:pt x="255" y="503"/>
                  </a:lnTo>
                  <a:lnTo>
                    <a:pt x="256" y="503"/>
                  </a:lnTo>
                  <a:lnTo>
                    <a:pt x="256" y="505"/>
                  </a:lnTo>
                  <a:lnTo>
                    <a:pt x="258" y="507"/>
                  </a:lnTo>
                  <a:lnTo>
                    <a:pt x="260" y="507"/>
                  </a:lnTo>
                  <a:lnTo>
                    <a:pt x="258" y="505"/>
                  </a:lnTo>
                  <a:lnTo>
                    <a:pt x="258" y="503"/>
                  </a:lnTo>
                  <a:lnTo>
                    <a:pt x="255" y="503"/>
                  </a:lnTo>
                  <a:lnTo>
                    <a:pt x="251" y="503"/>
                  </a:lnTo>
                  <a:lnTo>
                    <a:pt x="249" y="502"/>
                  </a:lnTo>
                  <a:lnTo>
                    <a:pt x="248" y="502"/>
                  </a:lnTo>
                  <a:lnTo>
                    <a:pt x="246" y="503"/>
                  </a:lnTo>
                  <a:lnTo>
                    <a:pt x="244" y="503"/>
                  </a:lnTo>
                  <a:lnTo>
                    <a:pt x="243" y="505"/>
                  </a:lnTo>
                  <a:lnTo>
                    <a:pt x="241" y="505"/>
                  </a:lnTo>
                  <a:lnTo>
                    <a:pt x="238" y="507"/>
                  </a:lnTo>
                  <a:lnTo>
                    <a:pt x="236" y="508"/>
                  </a:lnTo>
                  <a:lnTo>
                    <a:pt x="234" y="508"/>
                  </a:lnTo>
                  <a:lnTo>
                    <a:pt x="236" y="508"/>
                  </a:lnTo>
                  <a:lnTo>
                    <a:pt x="234" y="512"/>
                  </a:lnTo>
                  <a:lnTo>
                    <a:pt x="232" y="512"/>
                  </a:lnTo>
                  <a:lnTo>
                    <a:pt x="232" y="514"/>
                  </a:lnTo>
                  <a:lnTo>
                    <a:pt x="229" y="514"/>
                  </a:lnTo>
                  <a:lnTo>
                    <a:pt x="227" y="515"/>
                  </a:lnTo>
                  <a:lnTo>
                    <a:pt x="229" y="515"/>
                  </a:lnTo>
                  <a:lnTo>
                    <a:pt x="227" y="517"/>
                  </a:lnTo>
                  <a:lnTo>
                    <a:pt x="226" y="519"/>
                  </a:lnTo>
                  <a:lnTo>
                    <a:pt x="222" y="519"/>
                  </a:lnTo>
                  <a:lnTo>
                    <a:pt x="224" y="517"/>
                  </a:lnTo>
                  <a:lnTo>
                    <a:pt x="222" y="519"/>
                  </a:lnTo>
                  <a:lnTo>
                    <a:pt x="221" y="519"/>
                  </a:lnTo>
                  <a:lnTo>
                    <a:pt x="222" y="519"/>
                  </a:lnTo>
                  <a:lnTo>
                    <a:pt x="221" y="519"/>
                  </a:lnTo>
                  <a:lnTo>
                    <a:pt x="224" y="517"/>
                  </a:lnTo>
                  <a:lnTo>
                    <a:pt x="226" y="517"/>
                  </a:lnTo>
                  <a:lnTo>
                    <a:pt x="227" y="515"/>
                  </a:lnTo>
                  <a:lnTo>
                    <a:pt x="227" y="514"/>
                  </a:lnTo>
                  <a:lnTo>
                    <a:pt x="229" y="514"/>
                  </a:lnTo>
                  <a:lnTo>
                    <a:pt x="227" y="514"/>
                  </a:lnTo>
                  <a:lnTo>
                    <a:pt x="226" y="514"/>
                  </a:lnTo>
                  <a:lnTo>
                    <a:pt x="224" y="514"/>
                  </a:lnTo>
                  <a:lnTo>
                    <a:pt x="226" y="514"/>
                  </a:lnTo>
                  <a:lnTo>
                    <a:pt x="226" y="512"/>
                  </a:lnTo>
                  <a:lnTo>
                    <a:pt x="224" y="514"/>
                  </a:lnTo>
                  <a:lnTo>
                    <a:pt x="222" y="514"/>
                  </a:lnTo>
                  <a:lnTo>
                    <a:pt x="224" y="512"/>
                  </a:lnTo>
                  <a:lnTo>
                    <a:pt x="222" y="512"/>
                  </a:lnTo>
                  <a:lnTo>
                    <a:pt x="226" y="512"/>
                  </a:lnTo>
                  <a:lnTo>
                    <a:pt x="224" y="512"/>
                  </a:lnTo>
                  <a:lnTo>
                    <a:pt x="224" y="510"/>
                  </a:lnTo>
                  <a:lnTo>
                    <a:pt x="224" y="512"/>
                  </a:lnTo>
                  <a:lnTo>
                    <a:pt x="224" y="510"/>
                  </a:lnTo>
                  <a:lnTo>
                    <a:pt x="226" y="510"/>
                  </a:lnTo>
                  <a:lnTo>
                    <a:pt x="227" y="508"/>
                  </a:lnTo>
                  <a:lnTo>
                    <a:pt x="231" y="508"/>
                  </a:lnTo>
                  <a:lnTo>
                    <a:pt x="232" y="508"/>
                  </a:lnTo>
                  <a:lnTo>
                    <a:pt x="234" y="508"/>
                  </a:lnTo>
                  <a:lnTo>
                    <a:pt x="236" y="507"/>
                  </a:lnTo>
                  <a:lnTo>
                    <a:pt x="238" y="507"/>
                  </a:lnTo>
                  <a:lnTo>
                    <a:pt x="236" y="507"/>
                  </a:lnTo>
                  <a:lnTo>
                    <a:pt x="232" y="507"/>
                  </a:lnTo>
                  <a:lnTo>
                    <a:pt x="232" y="508"/>
                  </a:lnTo>
                  <a:lnTo>
                    <a:pt x="232" y="507"/>
                  </a:lnTo>
                  <a:lnTo>
                    <a:pt x="232" y="505"/>
                  </a:lnTo>
                  <a:lnTo>
                    <a:pt x="234" y="505"/>
                  </a:lnTo>
                  <a:lnTo>
                    <a:pt x="232" y="505"/>
                  </a:lnTo>
                  <a:lnTo>
                    <a:pt x="231" y="507"/>
                  </a:lnTo>
                  <a:lnTo>
                    <a:pt x="231" y="505"/>
                  </a:lnTo>
                  <a:lnTo>
                    <a:pt x="229" y="503"/>
                  </a:lnTo>
                  <a:lnTo>
                    <a:pt x="232" y="502"/>
                  </a:lnTo>
                  <a:lnTo>
                    <a:pt x="232" y="503"/>
                  </a:lnTo>
                  <a:lnTo>
                    <a:pt x="234" y="502"/>
                  </a:lnTo>
                  <a:lnTo>
                    <a:pt x="234" y="503"/>
                  </a:lnTo>
                  <a:lnTo>
                    <a:pt x="234" y="502"/>
                  </a:lnTo>
                  <a:lnTo>
                    <a:pt x="236" y="502"/>
                  </a:lnTo>
                  <a:lnTo>
                    <a:pt x="236" y="503"/>
                  </a:lnTo>
                  <a:lnTo>
                    <a:pt x="238" y="503"/>
                  </a:lnTo>
                  <a:lnTo>
                    <a:pt x="239" y="500"/>
                  </a:lnTo>
                  <a:lnTo>
                    <a:pt x="238" y="500"/>
                  </a:lnTo>
                  <a:lnTo>
                    <a:pt x="236" y="502"/>
                  </a:lnTo>
                  <a:lnTo>
                    <a:pt x="236" y="500"/>
                  </a:lnTo>
                  <a:lnTo>
                    <a:pt x="232" y="502"/>
                  </a:lnTo>
                  <a:lnTo>
                    <a:pt x="234" y="500"/>
                  </a:lnTo>
                  <a:lnTo>
                    <a:pt x="236" y="500"/>
                  </a:lnTo>
                  <a:lnTo>
                    <a:pt x="236" y="498"/>
                  </a:lnTo>
                  <a:lnTo>
                    <a:pt x="238" y="500"/>
                  </a:lnTo>
                  <a:lnTo>
                    <a:pt x="238" y="498"/>
                  </a:lnTo>
                  <a:lnTo>
                    <a:pt x="239" y="500"/>
                  </a:lnTo>
                  <a:lnTo>
                    <a:pt x="239" y="498"/>
                  </a:lnTo>
                  <a:lnTo>
                    <a:pt x="241" y="498"/>
                  </a:lnTo>
                  <a:lnTo>
                    <a:pt x="239" y="498"/>
                  </a:lnTo>
                  <a:lnTo>
                    <a:pt x="241" y="498"/>
                  </a:lnTo>
                  <a:lnTo>
                    <a:pt x="241" y="496"/>
                  </a:lnTo>
                  <a:lnTo>
                    <a:pt x="243" y="495"/>
                  </a:lnTo>
                  <a:lnTo>
                    <a:pt x="244" y="495"/>
                  </a:lnTo>
                  <a:lnTo>
                    <a:pt x="244" y="493"/>
                  </a:lnTo>
                  <a:lnTo>
                    <a:pt x="246" y="491"/>
                  </a:lnTo>
                  <a:lnTo>
                    <a:pt x="246" y="493"/>
                  </a:lnTo>
                  <a:lnTo>
                    <a:pt x="248" y="493"/>
                  </a:lnTo>
                  <a:lnTo>
                    <a:pt x="246" y="491"/>
                  </a:lnTo>
                  <a:lnTo>
                    <a:pt x="248" y="490"/>
                  </a:lnTo>
                  <a:lnTo>
                    <a:pt x="248" y="491"/>
                  </a:lnTo>
                  <a:lnTo>
                    <a:pt x="249" y="490"/>
                  </a:lnTo>
                  <a:lnTo>
                    <a:pt x="248" y="490"/>
                  </a:lnTo>
                  <a:lnTo>
                    <a:pt x="248" y="488"/>
                  </a:lnTo>
                  <a:lnTo>
                    <a:pt x="248" y="486"/>
                  </a:lnTo>
                  <a:lnTo>
                    <a:pt x="249" y="485"/>
                  </a:lnTo>
                  <a:lnTo>
                    <a:pt x="251" y="483"/>
                  </a:lnTo>
                  <a:lnTo>
                    <a:pt x="253" y="485"/>
                  </a:lnTo>
                  <a:lnTo>
                    <a:pt x="253" y="486"/>
                  </a:lnTo>
                  <a:lnTo>
                    <a:pt x="255" y="488"/>
                  </a:lnTo>
                  <a:lnTo>
                    <a:pt x="253" y="488"/>
                  </a:lnTo>
                  <a:lnTo>
                    <a:pt x="253" y="490"/>
                  </a:lnTo>
                  <a:lnTo>
                    <a:pt x="253" y="491"/>
                  </a:lnTo>
                  <a:lnTo>
                    <a:pt x="255" y="490"/>
                  </a:lnTo>
                  <a:lnTo>
                    <a:pt x="255" y="491"/>
                  </a:lnTo>
                  <a:lnTo>
                    <a:pt x="255" y="493"/>
                  </a:lnTo>
                  <a:lnTo>
                    <a:pt x="253" y="495"/>
                  </a:lnTo>
                  <a:lnTo>
                    <a:pt x="251" y="495"/>
                  </a:lnTo>
                  <a:lnTo>
                    <a:pt x="249" y="495"/>
                  </a:lnTo>
                  <a:lnTo>
                    <a:pt x="248" y="493"/>
                  </a:lnTo>
                  <a:lnTo>
                    <a:pt x="244" y="493"/>
                  </a:lnTo>
                  <a:lnTo>
                    <a:pt x="244" y="495"/>
                  </a:lnTo>
                  <a:lnTo>
                    <a:pt x="248" y="495"/>
                  </a:lnTo>
                  <a:lnTo>
                    <a:pt x="249" y="495"/>
                  </a:lnTo>
                  <a:lnTo>
                    <a:pt x="248" y="496"/>
                  </a:lnTo>
                  <a:lnTo>
                    <a:pt x="249" y="495"/>
                  </a:lnTo>
                  <a:lnTo>
                    <a:pt x="251" y="498"/>
                  </a:lnTo>
                  <a:lnTo>
                    <a:pt x="251" y="500"/>
                  </a:lnTo>
                  <a:lnTo>
                    <a:pt x="251" y="498"/>
                  </a:lnTo>
                  <a:lnTo>
                    <a:pt x="251" y="495"/>
                  </a:lnTo>
                  <a:lnTo>
                    <a:pt x="253" y="495"/>
                  </a:lnTo>
                  <a:lnTo>
                    <a:pt x="255" y="493"/>
                  </a:lnTo>
                  <a:lnTo>
                    <a:pt x="256" y="491"/>
                  </a:lnTo>
                  <a:lnTo>
                    <a:pt x="256" y="493"/>
                  </a:lnTo>
                  <a:lnTo>
                    <a:pt x="258" y="493"/>
                  </a:lnTo>
                  <a:lnTo>
                    <a:pt x="260" y="495"/>
                  </a:lnTo>
                  <a:lnTo>
                    <a:pt x="260" y="493"/>
                  </a:lnTo>
                  <a:lnTo>
                    <a:pt x="260" y="495"/>
                  </a:lnTo>
                  <a:lnTo>
                    <a:pt x="258" y="493"/>
                  </a:lnTo>
                  <a:lnTo>
                    <a:pt x="260" y="491"/>
                  </a:lnTo>
                  <a:lnTo>
                    <a:pt x="258" y="493"/>
                  </a:lnTo>
                  <a:lnTo>
                    <a:pt x="258" y="491"/>
                  </a:lnTo>
                  <a:lnTo>
                    <a:pt x="260" y="490"/>
                  </a:lnTo>
                  <a:lnTo>
                    <a:pt x="261" y="490"/>
                  </a:lnTo>
                  <a:lnTo>
                    <a:pt x="263" y="488"/>
                  </a:lnTo>
                  <a:lnTo>
                    <a:pt x="265" y="486"/>
                  </a:lnTo>
                  <a:lnTo>
                    <a:pt x="265" y="488"/>
                  </a:lnTo>
                  <a:lnTo>
                    <a:pt x="265" y="486"/>
                  </a:lnTo>
                  <a:lnTo>
                    <a:pt x="266" y="485"/>
                  </a:lnTo>
                  <a:lnTo>
                    <a:pt x="268" y="483"/>
                  </a:lnTo>
                  <a:lnTo>
                    <a:pt x="268" y="481"/>
                  </a:lnTo>
                  <a:lnTo>
                    <a:pt x="270" y="479"/>
                  </a:lnTo>
                  <a:lnTo>
                    <a:pt x="270" y="478"/>
                  </a:lnTo>
                  <a:lnTo>
                    <a:pt x="273" y="476"/>
                  </a:lnTo>
                  <a:lnTo>
                    <a:pt x="273" y="474"/>
                  </a:lnTo>
                  <a:lnTo>
                    <a:pt x="272" y="476"/>
                  </a:lnTo>
                  <a:lnTo>
                    <a:pt x="270" y="478"/>
                  </a:lnTo>
                  <a:lnTo>
                    <a:pt x="268" y="479"/>
                  </a:lnTo>
                  <a:lnTo>
                    <a:pt x="268" y="481"/>
                  </a:lnTo>
                  <a:lnTo>
                    <a:pt x="266" y="483"/>
                  </a:lnTo>
                  <a:lnTo>
                    <a:pt x="265" y="485"/>
                  </a:lnTo>
                  <a:lnTo>
                    <a:pt x="263" y="486"/>
                  </a:lnTo>
                  <a:lnTo>
                    <a:pt x="261" y="488"/>
                  </a:lnTo>
                  <a:lnTo>
                    <a:pt x="260" y="490"/>
                  </a:lnTo>
                  <a:lnTo>
                    <a:pt x="258" y="488"/>
                  </a:lnTo>
                  <a:lnTo>
                    <a:pt x="256" y="488"/>
                  </a:lnTo>
                  <a:lnTo>
                    <a:pt x="258" y="485"/>
                  </a:lnTo>
                  <a:lnTo>
                    <a:pt x="258" y="486"/>
                  </a:lnTo>
                  <a:lnTo>
                    <a:pt x="260" y="485"/>
                  </a:lnTo>
                  <a:lnTo>
                    <a:pt x="258" y="483"/>
                  </a:lnTo>
                  <a:lnTo>
                    <a:pt x="258" y="485"/>
                  </a:lnTo>
                  <a:lnTo>
                    <a:pt x="258" y="481"/>
                  </a:lnTo>
                  <a:lnTo>
                    <a:pt x="255" y="483"/>
                  </a:lnTo>
                  <a:lnTo>
                    <a:pt x="256" y="481"/>
                  </a:lnTo>
                  <a:lnTo>
                    <a:pt x="258" y="481"/>
                  </a:lnTo>
                  <a:lnTo>
                    <a:pt x="258" y="479"/>
                  </a:lnTo>
                  <a:lnTo>
                    <a:pt x="256" y="479"/>
                  </a:lnTo>
                  <a:lnTo>
                    <a:pt x="255" y="479"/>
                  </a:lnTo>
                  <a:lnTo>
                    <a:pt x="253" y="483"/>
                  </a:lnTo>
                  <a:lnTo>
                    <a:pt x="255" y="479"/>
                  </a:lnTo>
                  <a:lnTo>
                    <a:pt x="255" y="478"/>
                  </a:lnTo>
                  <a:lnTo>
                    <a:pt x="258" y="476"/>
                  </a:lnTo>
                  <a:lnTo>
                    <a:pt x="258" y="474"/>
                  </a:lnTo>
                  <a:lnTo>
                    <a:pt x="256" y="476"/>
                  </a:lnTo>
                  <a:lnTo>
                    <a:pt x="258" y="474"/>
                  </a:lnTo>
                  <a:lnTo>
                    <a:pt x="260" y="473"/>
                  </a:lnTo>
                  <a:lnTo>
                    <a:pt x="258" y="473"/>
                  </a:lnTo>
                  <a:lnTo>
                    <a:pt x="256" y="473"/>
                  </a:lnTo>
                  <a:lnTo>
                    <a:pt x="256" y="474"/>
                  </a:lnTo>
                  <a:lnTo>
                    <a:pt x="253" y="476"/>
                  </a:lnTo>
                  <a:lnTo>
                    <a:pt x="251" y="474"/>
                  </a:lnTo>
                  <a:lnTo>
                    <a:pt x="251" y="476"/>
                  </a:lnTo>
                  <a:lnTo>
                    <a:pt x="251" y="478"/>
                  </a:lnTo>
                  <a:lnTo>
                    <a:pt x="253" y="478"/>
                  </a:lnTo>
                  <a:lnTo>
                    <a:pt x="253" y="479"/>
                  </a:lnTo>
                  <a:lnTo>
                    <a:pt x="251" y="481"/>
                  </a:lnTo>
                  <a:lnTo>
                    <a:pt x="249" y="483"/>
                  </a:lnTo>
                  <a:lnTo>
                    <a:pt x="248" y="485"/>
                  </a:lnTo>
                  <a:lnTo>
                    <a:pt x="246" y="483"/>
                  </a:lnTo>
                  <a:lnTo>
                    <a:pt x="248" y="481"/>
                  </a:lnTo>
                  <a:lnTo>
                    <a:pt x="248" y="479"/>
                  </a:lnTo>
                  <a:lnTo>
                    <a:pt x="249" y="479"/>
                  </a:lnTo>
                  <a:lnTo>
                    <a:pt x="248" y="478"/>
                  </a:lnTo>
                  <a:lnTo>
                    <a:pt x="249" y="478"/>
                  </a:lnTo>
                  <a:lnTo>
                    <a:pt x="248" y="476"/>
                  </a:lnTo>
                  <a:lnTo>
                    <a:pt x="248" y="474"/>
                  </a:lnTo>
                  <a:lnTo>
                    <a:pt x="249" y="474"/>
                  </a:lnTo>
                  <a:lnTo>
                    <a:pt x="249" y="473"/>
                  </a:lnTo>
                  <a:lnTo>
                    <a:pt x="251" y="473"/>
                  </a:lnTo>
                  <a:lnTo>
                    <a:pt x="251" y="474"/>
                  </a:lnTo>
                  <a:lnTo>
                    <a:pt x="249" y="473"/>
                  </a:lnTo>
                  <a:lnTo>
                    <a:pt x="251" y="471"/>
                  </a:lnTo>
                  <a:lnTo>
                    <a:pt x="251" y="473"/>
                  </a:lnTo>
                  <a:lnTo>
                    <a:pt x="253" y="471"/>
                  </a:lnTo>
                  <a:lnTo>
                    <a:pt x="251" y="471"/>
                  </a:lnTo>
                  <a:lnTo>
                    <a:pt x="249" y="473"/>
                  </a:lnTo>
                  <a:lnTo>
                    <a:pt x="249" y="471"/>
                  </a:lnTo>
                  <a:lnTo>
                    <a:pt x="251" y="469"/>
                  </a:lnTo>
                  <a:lnTo>
                    <a:pt x="253" y="468"/>
                  </a:lnTo>
                  <a:lnTo>
                    <a:pt x="255" y="466"/>
                  </a:lnTo>
                  <a:lnTo>
                    <a:pt x="255" y="462"/>
                  </a:lnTo>
                  <a:lnTo>
                    <a:pt x="253" y="466"/>
                  </a:lnTo>
                  <a:lnTo>
                    <a:pt x="253" y="464"/>
                  </a:lnTo>
                  <a:lnTo>
                    <a:pt x="251" y="466"/>
                  </a:lnTo>
                  <a:lnTo>
                    <a:pt x="251" y="464"/>
                  </a:lnTo>
                  <a:lnTo>
                    <a:pt x="253" y="462"/>
                  </a:lnTo>
                  <a:lnTo>
                    <a:pt x="251" y="464"/>
                  </a:lnTo>
                  <a:lnTo>
                    <a:pt x="251" y="466"/>
                  </a:lnTo>
                  <a:lnTo>
                    <a:pt x="249" y="468"/>
                  </a:lnTo>
                  <a:lnTo>
                    <a:pt x="251" y="466"/>
                  </a:lnTo>
                  <a:lnTo>
                    <a:pt x="249" y="466"/>
                  </a:lnTo>
                  <a:lnTo>
                    <a:pt x="251" y="464"/>
                  </a:lnTo>
                  <a:lnTo>
                    <a:pt x="251" y="462"/>
                  </a:lnTo>
                  <a:lnTo>
                    <a:pt x="251" y="459"/>
                  </a:lnTo>
                  <a:lnTo>
                    <a:pt x="251" y="461"/>
                  </a:lnTo>
                  <a:lnTo>
                    <a:pt x="251" y="459"/>
                  </a:lnTo>
                  <a:lnTo>
                    <a:pt x="253" y="459"/>
                  </a:lnTo>
                  <a:lnTo>
                    <a:pt x="251" y="459"/>
                  </a:lnTo>
                  <a:lnTo>
                    <a:pt x="253" y="456"/>
                  </a:lnTo>
                  <a:lnTo>
                    <a:pt x="255" y="457"/>
                  </a:lnTo>
                  <a:lnTo>
                    <a:pt x="255" y="461"/>
                  </a:lnTo>
                  <a:lnTo>
                    <a:pt x="256" y="461"/>
                  </a:lnTo>
                  <a:lnTo>
                    <a:pt x="258" y="464"/>
                  </a:lnTo>
                  <a:lnTo>
                    <a:pt x="258" y="466"/>
                  </a:lnTo>
                  <a:lnTo>
                    <a:pt x="258" y="469"/>
                  </a:lnTo>
                  <a:lnTo>
                    <a:pt x="260" y="469"/>
                  </a:lnTo>
                  <a:lnTo>
                    <a:pt x="260" y="471"/>
                  </a:lnTo>
                  <a:lnTo>
                    <a:pt x="260" y="469"/>
                  </a:lnTo>
                  <a:lnTo>
                    <a:pt x="258" y="466"/>
                  </a:lnTo>
                  <a:lnTo>
                    <a:pt x="260" y="466"/>
                  </a:lnTo>
                  <a:lnTo>
                    <a:pt x="258" y="468"/>
                  </a:lnTo>
                  <a:lnTo>
                    <a:pt x="260" y="466"/>
                  </a:lnTo>
                  <a:lnTo>
                    <a:pt x="261" y="468"/>
                  </a:lnTo>
                  <a:lnTo>
                    <a:pt x="261" y="469"/>
                  </a:lnTo>
                  <a:lnTo>
                    <a:pt x="261" y="466"/>
                  </a:lnTo>
                  <a:lnTo>
                    <a:pt x="263" y="469"/>
                  </a:lnTo>
                  <a:lnTo>
                    <a:pt x="265" y="469"/>
                  </a:lnTo>
                  <a:lnTo>
                    <a:pt x="266" y="473"/>
                  </a:lnTo>
                  <a:lnTo>
                    <a:pt x="265" y="471"/>
                  </a:lnTo>
                  <a:lnTo>
                    <a:pt x="263" y="468"/>
                  </a:lnTo>
                  <a:lnTo>
                    <a:pt x="263" y="466"/>
                  </a:lnTo>
                  <a:lnTo>
                    <a:pt x="265" y="466"/>
                  </a:lnTo>
                  <a:lnTo>
                    <a:pt x="268" y="464"/>
                  </a:lnTo>
                  <a:lnTo>
                    <a:pt x="266" y="464"/>
                  </a:lnTo>
                  <a:lnTo>
                    <a:pt x="265" y="466"/>
                  </a:lnTo>
                  <a:lnTo>
                    <a:pt x="263" y="466"/>
                  </a:lnTo>
                  <a:lnTo>
                    <a:pt x="265" y="464"/>
                  </a:lnTo>
                  <a:lnTo>
                    <a:pt x="261" y="464"/>
                  </a:lnTo>
                  <a:lnTo>
                    <a:pt x="261" y="462"/>
                  </a:lnTo>
                  <a:lnTo>
                    <a:pt x="263" y="461"/>
                  </a:lnTo>
                  <a:lnTo>
                    <a:pt x="261" y="461"/>
                  </a:lnTo>
                  <a:lnTo>
                    <a:pt x="261" y="459"/>
                  </a:lnTo>
                  <a:lnTo>
                    <a:pt x="261" y="457"/>
                  </a:lnTo>
                  <a:lnTo>
                    <a:pt x="261" y="456"/>
                  </a:lnTo>
                  <a:lnTo>
                    <a:pt x="261" y="457"/>
                  </a:lnTo>
                  <a:lnTo>
                    <a:pt x="261" y="461"/>
                  </a:lnTo>
                  <a:lnTo>
                    <a:pt x="260" y="461"/>
                  </a:lnTo>
                  <a:lnTo>
                    <a:pt x="258" y="461"/>
                  </a:lnTo>
                  <a:lnTo>
                    <a:pt x="260" y="459"/>
                  </a:lnTo>
                  <a:lnTo>
                    <a:pt x="260" y="456"/>
                  </a:lnTo>
                  <a:lnTo>
                    <a:pt x="260" y="457"/>
                  </a:lnTo>
                  <a:lnTo>
                    <a:pt x="260" y="459"/>
                  </a:lnTo>
                  <a:lnTo>
                    <a:pt x="258" y="461"/>
                  </a:lnTo>
                  <a:lnTo>
                    <a:pt x="256" y="461"/>
                  </a:lnTo>
                  <a:lnTo>
                    <a:pt x="256" y="457"/>
                  </a:lnTo>
                  <a:lnTo>
                    <a:pt x="256" y="456"/>
                  </a:lnTo>
                  <a:lnTo>
                    <a:pt x="255" y="457"/>
                  </a:lnTo>
                  <a:lnTo>
                    <a:pt x="255" y="456"/>
                  </a:lnTo>
                  <a:lnTo>
                    <a:pt x="255" y="454"/>
                  </a:lnTo>
                  <a:lnTo>
                    <a:pt x="255" y="452"/>
                  </a:lnTo>
                  <a:lnTo>
                    <a:pt x="256" y="451"/>
                  </a:lnTo>
                  <a:lnTo>
                    <a:pt x="256" y="449"/>
                  </a:lnTo>
                  <a:lnTo>
                    <a:pt x="258" y="447"/>
                  </a:lnTo>
                  <a:lnTo>
                    <a:pt x="258" y="445"/>
                  </a:lnTo>
                  <a:lnTo>
                    <a:pt x="260" y="445"/>
                  </a:lnTo>
                  <a:lnTo>
                    <a:pt x="261" y="447"/>
                  </a:lnTo>
                  <a:lnTo>
                    <a:pt x="261" y="449"/>
                  </a:lnTo>
                  <a:lnTo>
                    <a:pt x="261" y="451"/>
                  </a:lnTo>
                  <a:lnTo>
                    <a:pt x="261" y="449"/>
                  </a:lnTo>
                  <a:lnTo>
                    <a:pt x="263" y="449"/>
                  </a:lnTo>
                  <a:lnTo>
                    <a:pt x="261" y="451"/>
                  </a:lnTo>
                  <a:lnTo>
                    <a:pt x="261" y="452"/>
                  </a:lnTo>
                  <a:lnTo>
                    <a:pt x="263" y="451"/>
                  </a:lnTo>
                  <a:lnTo>
                    <a:pt x="263" y="452"/>
                  </a:lnTo>
                  <a:lnTo>
                    <a:pt x="265" y="452"/>
                  </a:lnTo>
                  <a:lnTo>
                    <a:pt x="266" y="454"/>
                  </a:lnTo>
                  <a:lnTo>
                    <a:pt x="268" y="452"/>
                  </a:lnTo>
                  <a:lnTo>
                    <a:pt x="265" y="452"/>
                  </a:lnTo>
                  <a:lnTo>
                    <a:pt x="263" y="452"/>
                  </a:lnTo>
                  <a:lnTo>
                    <a:pt x="263" y="449"/>
                  </a:lnTo>
                  <a:lnTo>
                    <a:pt x="263" y="447"/>
                  </a:lnTo>
                  <a:lnTo>
                    <a:pt x="261" y="447"/>
                  </a:lnTo>
                  <a:lnTo>
                    <a:pt x="260" y="444"/>
                  </a:lnTo>
                  <a:lnTo>
                    <a:pt x="261" y="444"/>
                  </a:lnTo>
                  <a:lnTo>
                    <a:pt x="261" y="440"/>
                  </a:lnTo>
                  <a:lnTo>
                    <a:pt x="263" y="440"/>
                  </a:lnTo>
                  <a:lnTo>
                    <a:pt x="265" y="442"/>
                  </a:lnTo>
                  <a:lnTo>
                    <a:pt x="265" y="440"/>
                  </a:lnTo>
                  <a:lnTo>
                    <a:pt x="265" y="439"/>
                  </a:lnTo>
                  <a:lnTo>
                    <a:pt x="265" y="437"/>
                  </a:lnTo>
                  <a:lnTo>
                    <a:pt x="263" y="439"/>
                  </a:lnTo>
                  <a:lnTo>
                    <a:pt x="261" y="439"/>
                  </a:lnTo>
                  <a:lnTo>
                    <a:pt x="263" y="437"/>
                  </a:lnTo>
                  <a:lnTo>
                    <a:pt x="261" y="435"/>
                  </a:lnTo>
                  <a:lnTo>
                    <a:pt x="263" y="434"/>
                  </a:lnTo>
                  <a:lnTo>
                    <a:pt x="263" y="432"/>
                  </a:lnTo>
                  <a:lnTo>
                    <a:pt x="265" y="432"/>
                  </a:lnTo>
                  <a:lnTo>
                    <a:pt x="265" y="430"/>
                  </a:lnTo>
                  <a:lnTo>
                    <a:pt x="266" y="428"/>
                  </a:lnTo>
                  <a:lnTo>
                    <a:pt x="268" y="428"/>
                  </a:lnTo>
                  <a:lnTo>
                    <a:pt x="268" y="430"/>
                  </a:lnTo>
                  <a:lnTo>
                    <a:pt x="270" y="428"/>
                  </a:lnTo>
                  <a:lnTo>
                    <a:pt x="272" y="432"/>
                  </a:lnTo>
                  <a:lnTo>
                    <a:pt x="273" y="432"/>
                  </a:lnTo>
                  <a:lnTo>
                    <a:pt x="275" y="434"/>
                  </a:lnTo>
                  <a:lnTo>
                    <a:pt x="277" y="434"/>
                  </a:lnTo>
                  <a:lnTo>
                    <a:pt x="277" y="435"/>
                  </a:lnTo>
                  <a:lnTo>
                    <a:pt x="278" y="437"/>
                  </a:lnTo>
                  <a:lnTo>
                    <a:pt x="278" y="434"/>
                  </a:lnTo>
                  <a:lnTo>
                    <a:pt x="278" y="432"/>
                  </a:lnTo>
                  <a:lnTo>
                    <a:pt x="277" y="432"/>
                  </a:lnTo>
                  <a:lnTo>
                    <a:pt x="277" y="430"/>
                  </a:lnTo>
                  <a:lnTo>
                    <a:pt x="275" y="430"/>
                  </a:lnTo>
                  <a:lnTo>
                    <a:pt x="272" y="430"/>
                  </a:lnTo>
                  <a:lnTo>
                    <a:pt x="270" y="428"/>
                  </a:lnTo>
                  <a:lnTo>
                    <a:pt x="272" y="425"/>
                  </a:lnTo>
                  <a:lnTo>
                    <a:pt x="272" y="423"/>
                  </a:lnTo>
                  <a:lnTo>
                    <a:pt x="273" y="422"/>
                  </a:lnTo>
                  <a:lnTo>
                    <a:pt x="273" y="420"/>
                  </a:lnTo>
                  <a:lnTo>
                    <a:pt x="272" y="422"/>
                  </a:lnTo>
                  <a:lnTo>
                    <a:pt x="270" y="423"/>
                  </a:lnTo>
                  <a:lnTo>
                    <a:pt x="266" y="423"/>
                  </a:lnTo>
                  <a:lnTo>
                    <a:pt x="263" y="423"/>
                  </a:lnTo>
                  <a:lnTo>
                    <a:pt x="263" y="425"/>
                  </a:lnTo>
                  <a:lnTo>
                    <a:pt x="263" y="423"/>
                  </a:lnTo>
                  <a:lnTo>
                    <a:pt x="266" y="422"/>
                  </a:lnTo>
                  <a:lnTo>
                    <a:pt x="268" y="422"/>
                  </a:lnTo>
                  <a:lnTo>
                    <a:pt x="266" y="422"/>
                  </a:lnTo>
                  <a:lnTo>
                    <a:pt x="265" y="423"/>
                  </a:lnTo>
                  <a:lnTo>
                    <a:pt x="263" y="423"/>
                  </a:lnTo>
                  <a:lnTo>
                    <a:pt x="265" y="422"/>
                  </a:lnTo>
                  <a:lnTo>
                    <a:pt x="263" y="422"/>
                  </a:lnTo>
                  <a:lnTo>
                    <a:pt x="263" y="420"/>
                  </a:lnTo>
                  <a:lnTo>
                    <a:pt x="265" y="418"/>
                  </a:lnTo>
                  <a:lnTo>
                    <a:pt x="266" y="418"/>
                  </a:lnTo>
                  <a:lnTo>
                    <a:pt x="266" y="417"/>
                  </a:lnTo>
                  <a:lnTo>
                    <a:pt x="270" y="417"/>
                  </a:lnTo>
                  <a:lnTo>
                    <a:pt x="272" y="415"/>
                  </a:lnTo>
                  <a:lnTo>
                    <a:pt x="273" y="415"/>
                  </a:lnTo>
                  <a:lnTo>
                    <a:pt x="275" y="415"/>
                  </a:lnTo>
                  <a:lnTo>
                    <a:pt x="275" y="417"/>
                  </a:lnTo>
                  <a:lnTo>
                    <a:pt x="275" y="415"/>
                  </a:lnTo>
                  <a:lnTo>
                    <a:pt x="277" y="413"/>
                  </a:lnTo>
                  <a:lnTo>
                    <a:pt x="278" y="411"/>
                  </a:lnTo>
                  <a:lnTo>
                    <a:pt x="282" y="410"/>
                  </a:lnTo>
                  <a:lnTo>
                    <a:pt x="283" y="410"/>
                  </a:lnTo>
                  <a:lnTo>
                    <a:pt x="287" y="408"/>
                  </a:lnTo>
                  <a:lnTo>
                    <a:pt x="289" y="408"/>
                  </a:lnTo>
                  <a:lnTo>
                    <a:pt x="289" y="410"/>
                  </a:lnTo>
                  <a:lnTo>
                    <a:pt x="287" y="411"/>
                  </a:lnTo>
                  <a:lnTo>
                    <a:pt x="290" y="411"/>
                  </a:lnTo>
                  <a:lnTo>
                    <a:pt x="290" y="413"/>
                  </a:lnTo>
                  <a:lnTo>
                    <a:pt x="289" y="413"/>
                  </a:lnTo>
                  <a:lnTo>
                    <a:pt x="289" y="415"/>
                  </a:lnTo>
                  <a:lnTo>
                    <a:pt x="289" y="418"/>
                  </a:lnTo>
                  <a:lnTo>
                    <a:pt x="289" y="417"/>
                  </a:lnTo>
                  <a:lnTo>
                    <a:pt x="290" y="415"/>
                  </a:lnTo>
                  <a:lnTo>
                    <a:pt x="290" y="413"/>
                  </a:lnTo>
                  <a:lnTo>
                    <a:pt x="294" y="413"/>
                  </a:lnTo>
                  <a:lnTo>
                    <a:pt x="295" y="413"/>
                  </a:lnTo>
                  <a:lnTo>
                    <a:pt x="295" y="415"/>
                  </a:lnTo>
                  <a:lnTo>
                    <a:pt x="297" y="413"/>
                  </a:lnTo>
                  <a:lnTo>
                    <a:pt x="295" y="411"/>
                  </a:lnTo>
                  <a:lnTo>
                    <a:pt x="292" y="413"/>
                  </a:lnTo>
                  <a:lnTo>
                    <a:pt x="292" y="411"/>
                  </a:lnTo>
                  <a:lnTo>
                    <a:pt x="290" y="413"/>
                  </a:lnTo>
                  <a:lnTo>
                    <a:pt x="290" y="410"/>
                  </a:lnTo>
                  <a:lnTo>
                    <a:pt x="289" y="410"/>
                  </a:lnTo>
                  <a:lnTo>
                    <a:pt x="290" y="408"/>
                  </a:lnTo>
                  <a:lnTo>
                    <a:pt x="294" y="408"/>
                  </a:lnTo>
                  <a:lnTo>
                    <a:pt x="295" y="408"/>
                  </a:lnTo>
                  <a:lnTo>
                    <a:pt x="294" y="410"/>
                  </a:lnTo>
                  <a:lnTo>
                    <a:pt x="295" y="411"/>
                  </a:lnTo>
                  <a:lnTo>
                    <a:pt x="295" y="410"/>
                  </a:lnTo>
                  <a:lnTo>
                    <a:pt x="297" y="408"/>
                  </a:lnTo>
                  <a:lnTo>
                    <a:pt x="299" y="408"/>
                  </a:lnTo>
                  <a:lnTo>
                    <a:pt x="300" y="406"/>
                  </a:lnTo>
                  <a:lnTo>
                    <a:pt x="300" y="405"/>
                  </a:lnTo>
                  <a:lnTo>
                    <a:pt x="302" y="405"/>
                  </a:lnTo>
                  <a:lnTo>
                    <a:pt x="304" y="403"/>
                  </a:lnTo>
                  <a:lnTo>
                    <a:pt x="304" y="400"/>
                  </a:lnTo>
                  <a:lnTo>
                    <a:pt x="306" y="401"/>
                  </a:lnTo>
                  <a:lnTo>
                    <a:pt x="306" y="400"/>
                  </a:lnTo>
                  <a:lnTo>
                    <a:pt x="304" y="400"/>
                  </a:lnTo>
                  <a:lnTo>
                    <a:pt x="304" y="401"/>
                  </a:lnTo>
                  <a:lnTo>
                    <a:pt x="302" y="401"/>
                  </a:lnTo>
                  <a:lnTo>
                    <a:pt x="302" y="403"/>
                  </a:lnTo>
                  <a:lnTo>
                    <a:pt x="299" y="403"/>
                  </a:lnTo>
                  <a:lnTo>
                    <a:pt x="297" y="405"/>
                  </a:lnTo>
                  <a:lnTo>
                    <a:pt x="295" y="405"/>
                  </a:lnTo>
                  <a:lnTo>
                    <a:pt x="294" y="406"/>
                  </a:lnTo>
                  <a:lnTo>
                    <a:pt x="294" y="405"/>
                  </a:lnTo>
                  <a:lnTo>
                    <a:pt x="292" y="405"/>
                  </a:lnTo>
                  <a:lnTo>
                    <a:pt x="294" y="406"/>
                  </a:lnTo>
                  <a:lnTo>
                    <a:pt x="292" y="406"/>
                  </a:lnTo>
                  <a:lnTo>
                    <a:pt x="290" y="408"/>
                  </a:lnTo>
                  <a:lnTo>
                    <a:pt x="289" y="406"/>
                  </a:lnTo>
                  <a:lnTo>
                    <a:pt x="290" y="405"/>
                  </a:lnTo>
                  <a:lnTo>
                    <a:pt x="289" y="405"/>
                  </a:lnTo>
                  <a:lnTo>
                    <a:pt x="289" y="406"/>
                  </a:lnTo>
                  <a:lnTo>
                    <a:pt x="285" y="408"/>
                  </a:lnTo>
                  <a:lnTo>
                    <a:pt x="283" y="408"/>
                  </a:lnTo>
                  <a:lnTo>
                    <a:pt x="282" y="408"/>
                  </a:lnTo>
                  <a:lnTo>
                    <a:pt x="278" y="410"/>
                  </a:lnTo>
                  <a:lnTo>
                    <a:pt x="277" y="411"/>
                  </a:lnTo>
                  <a:lnTo>
                    <a:pt x="275" y="413"/>
                  </a:lnTo>
                  <a:lnTo>
                    <a:pt x="273" y="413"/>
                  </a:lnTo>
                  <a:lnTo>
                    <a:pt x="272" y="413"/>
                  </a:lnTo>
                  <a:lnTo>
                    <a:pt x="272" y="411"/>
                  </a:lnTo>
                  <a:lnTo>
                    <a:pt x="273" y="411"/>
                  </a:lnTo>
                  <a:lnTo>
                    <a:pt x="275" y="410"/>
                  </a:lnTo>
                  <a:lnTo>
                    <a:pt x="275" y="408"/>
                  </a:lnTo>
                  <a:lnTo>
                    <a:pt x="277" y="408"/>
                  </a:lnTo>
                  <a:lnTo>
                    <a:pt x="277" y="406"/>
                  </a:lnTo>
                  <a:lnTo>
                    <a:pt x="275" y="408"/>
                  </a:lnTo>
                  <a:lnTo>
                    <a:pt x="277" y="406"/>
                  </a:lnTo>
                  <a:lnTo>
                    <a:pt x="278" y="405"/>
                  </a:lnTo>
                  <a:lnTo>
                    <a:pt x="280" y="405"/>
                  </a:lnTo>
                  <a:lnTo>
                    <a:pt x="283" y="403"/>
                  </a:lnTo>
                  <a:lnTo>
                    <a:pt x="285" y="405"/>
                  </a:lnTo>
                  <a:lnTo>
                    <a:pt x="289" y="403"/>
                  </a:lnTo>
                  <a:lnTo>
                    <a:pt x="287" y="403"/>
                  </a:lnTo>
                  <a:lnTo>
                    <a:pt x="285" y="403"/>
                  </a:lnTo>
                  <a:lnTo>
                    <a:pt x="283" y="401"/>
                  </a:lnTo>
                  <a:lnTo>
                    <a:pt x="285" y="401"/>
                  </a:lnTo>
                  <a:lnTo>
                    <a:pt x="283" y="401"/>
                  </a:lnTo>
                  <a:lnTo>
                    <a:pt x="282" y="401"/>
                  </a:lnTo>
                  <a:lnTo>
                    <a:pt x="280" y="403"/>
                  </a:lnTo>
                  <a:lnTo>
                    <a:pt x="278" y="403"/>
                  </a:lnTo>
                  <a:lnTo>
                    <a:pt x="277" y="405"/>
                  </a:lnTo>
                  <a:lnTo>
                    <a:pt x="275" y="405"/>
                  </a:lnTo>
                  <a:lnTo>
                    <a:pt x="277" y="401"/>
                  </a:lnTo>
                  <a:lnTo>
                    <a:pt x="275" y="403"/>
                  </a:lnTo>
                  <a:lnTo>
                    <a:pt x="272" y="401"/>
                  </a:lnTo>
                  <a:lnTo>
                    <a:pt x="272" y="403"/>
                  </a:lnTo>
                  <a:lnTo>
                    <a:pt x="272" y="401"/>
                  </a:lnTo>
                  <a:lnTo>
                    <a:pt x="273" y="400"/>
                  </a:lnTo>
                  <a:lnTo>
                    <a:pt x="277" y="396"/>
                  </a:lnTo>
                  <a:lnTo>
                    <a:pt x="275" y="394"/>
                  </a:lnTo>
                  <a:lnTo>
                    <a:pt x="273" y="393"/>
                  </a:lnTo>
                  <a:lnTo>
                    <a:pt x="277" y="393"/>
                  </a:lnTo>
                  <a:lnTo>
                    <a:pt x="275" y="391"/>
                  </a:lnTo>
                  <a:lnTo>
                    <a:pt x="273" y="389"/>
                  </a:lnTo>
                  <a:lnTo>
                    <a:pt x="272" y="391"/>
                  </a:lnTo>
                  <a:lnTo>
                    <a:pt x="270" y="388"/>
                  </a:lnTo>
                  <a:lnTo>
                    <a:pt x="272" y="388"/>
                  </a:lnTo>
                  <a:lnTo>
                    <a:pt x="273" y="388"/>
                  </a:lnTo>
                  <a:lnTo>
                    <a:pt x="273" y="386"/>
                  </a:lnTo>
                  <a:lnTo>
                    <a:pt x="275" y="386"/>
                  </a:lnTo>
                  <a:lnTo>
                    <a:pt x="275" y="388"/>
                  </a:lnTo>
                  <a:lnTo>
                    <a:pt x="277" y="388"/>
                  </a:lnTo>
                  <a:lnTo>
                    <a:pt x="278" y="391"/>
                  </a:lnTo>
                  <a:lnTo>
                    <a:pt x="277" y="393"/>
                  </a:lnTo>
                  <a:lnTo>
                    <a:pt x="278" y="394"/>
                  </a:lnTo>
                  <a:lnTo>
                    <a:pt x="278" y="393"/>
                  </a:lnTo>
                  <a:lnTo>
                    <a:pt x="280" y="393"/>
                  </a:lnTo>
                  <a:lnTo>
                    <a:pt x="283" y="391"/>
                  </a:lnTo>
                  <a:lnTo>
                    <a:pt x="280" y="391"/>
                  </a:lnTo>
                  <a:lnTo>
                    <a:pt x="278" y="393"/>
                  </a:lnTo>
                  <a:lnTo>
                    <a:pt x="280" y="389"/>
                  </a:lnTo>
                  <a:lnTo>
                    <a:pt x="278" y="388"/>
                  </a:lnTo>
                  <a:lnTo>
                    <a:pt x="280" y="388"/>
                  </a:lnTo>
                  <a:lnTo>
                    <a:pt x="282" y="386"/>
                  </a:lnTo>
                  <a:lnTo>
                    <a:pt x="283" y="386"/>
                  </a:lnTo>
                  <a:lnTo>
                    <a:pt x="285" y="386"/>
                  </a:lnTo>
                  <a:lnTo>
                    <a:pt x="289" y="386"/>
                  </a:lnTo>
                  <a:lnTo>
                    <a:pt x="290" y="388"/>
                  </a:lnTo>
                  <a:lnTo>
                    <a:pt x="290" y="386"/>
                  </a:lnTo>
                  <a:lnTo>
                    <a:pt x="287" y="386"/>
                  </a:lnTo>
                  <a:lnTo>
                    <a:pt x="285" y="384"/>
                  </a:lnTo>
                  <a:lnTo>
                    <a:pt x="285" y="383"/>
                  </a:lnTo>
                  <a:lnTo>
                    <a:pt x="287" y="383"/>
                  </a:lnTo>
                  <a:lnTo>
                    <a:pt x="289" y="381"/>
                  </a:lnTo>
                  <a:lnTo>
                    <a:pt x="290" y="383"/>
                  </a:lnTo>
                  <a:lnTo>
                    <a:pt x="292" y="381"/>
                  </a:lnTo>
                  <a:lnTo>
                    <a:pt x="289" y="381"/>
                  </a:lnTo>
                  <a:lnTo>
                    <a:pt x="287" y="381"/>
                  </a:lnTo>
                  <a:lnTo>
                    <a:pt x="285" y="383"/>
                  </a:lnTo>
                  <a:lnTo>
                    <a:pt x="283" y="384"/>
                  </a:lnTo>
                  <a:lnTo>
                    <a:pt x="280" y="386"/>
                  </a:lnTo>
                  <a:lnTo>
                    <a:pt x="277" y="386"/>
                  </a:lnTo>
                  <a:lnTo>
                    <a:pt x="277" y="384"/>
                  </a:lnTo>
                  <a:lnTo>
                    <a:pt x="278" y="383"/>
                  </a:lnTo>
                  <a:lnTo>
                    <a:pt x="277" y="383"/>
                  </a:lnTo>
                  <a:lnTo>
                    <a:pt x="278" y="381"/>
                  </a:lnTo>
                  <a:lnTo>
                    <a:pt x="280" y="381"/>
                  </a:lnTo>
                  <a:lnTo>
                    <a:pt x="280" y="379"/>
                  </a:lnTo>
                  <a:lnTo>
                    <a:pt x="282" y="381"/>
                  </a:lnTo>
                  <a:lnTo>
                    <a:pt x="280" y="379"/>
                  </a:lnTo>
                  <a:lnTo>
                    <a:pt x="277" y="381"/>
                  </a:lnTo>
                  <a:lnTo>
                    <a:pt x="277" y="379"/>
                  </a:lnTo>
                  <a:lnTo>
                    <a:pt x="275" y="379"/>
                  </a:lnTo>
                  <a:lnTo>
                    <a:pt x="277" y="377"/>
                  </a:lnTo>
                  <a:lnTo>
                    <a:pt x="278" y="377"/>
                  </a:lnTo>
                  <a:lnTo>
                    <a:pt x="280" y="377"/>
                  </a:lnTo>
                  <a:lnTo>
                    <a:pt x="282" y="377"/>
                  </a:lnTo>
                  <a:lnTo>
                    <a:pt x="282" y="379"/>
                  </a:lnTo>
                  <a:lnTo>
                    <a:pt x="282" y="377"/>
                  </a:lnTo>
                  <a:lnTo>
                    <a:pt x="285" y="377"/>
                  </a:lnTo>
                  <a:lnTo>
                    <a:pt x="287" y="379"/>
                  </a:lnTo>
                  <a:lnTo>
                    <a:pt x="285" y="377"/>
                  </a:lnTo>
                  <a:lnTo>
                    <a:pt x="283" y="376"/>
                  </a:lnTo>
                  <a:lnTo>
                    <a:pt x="282" y="376"/>
                  </a:lnTo>
                  <a:lnTo>
                    <a:pt x="278" y="376"/>
                  </a:lnTo>
                  <a:lnTo>
                    <a:pt x="278" y="374"/>
                  </a:lnTo>
                  <a:lnTo>
                    <a:pt x="277" y="374"/>
                  </a:lnTo>
                  <a:lnTo>
                    <a:pt x="278" y="372"/>
                  </a:lnTo>
                  <a:lnTo>
                    <a:pt x="280" y="372"/>
                  </a:lnTo>
                  <a:lnTo>
                    <a:pt x="282" y="372"/>
                  </a:lnTo>
                  <a:lnTo>
                    <a:pt x="283" y="372"/>
                  </a:lnTo>
                  <a:lnTo>
                    <a:pt x="283" y="374"/>
                  </a:lnTo>
                  <a:lnTo>
                    <a:pt x="285" y="372"/>
                  </a:lnTo>
                  <a:lnTo>
                    <a:pt x="287" y="376"/>
                  </a:lnTo>
                  <a:lnTo>
                    <a:pt x="289" y="374"/>
                  </a:lnTo>
                  <a:lnTo>
                    <a:pt x="290" y="374"/>
                  </a:lnTo>
                  <a:lnTo>
                    <a:pt x="292" y="372"/>
                  </a:lnTo>
                  <a:lnTo>
                    <a:pt x="294" y="372"/>
                  </a:lnTo>
                  <a:lnTo>
                    <a:pt x="295" y="372"/>
                  </a:lnTo>
                  <a:lnTo>
                    <a:pt x="294" y="372"/>
                  </a:lnTo>
                  <a:lnTo>
                    <a:pt x="292" y="372"/>
                  </a:lnTo>
                  <a:lnTo>
                    <a:pt x="290" y="372"/>
                  </a:lnTo>
                  <a:lnTo>
                    <a:pt x="289" y="374"/>
                  </a:lnTo>
                  <a:lnTo>
                    <a:pt x="287" y="374"/>
                  </a:lnTo>
                  <a:lnTo>
                    <a:pt x="287" y="372"/>
                  </a:lnTo>
                  <a:lnTo>
                    <a:pt x="285" y="371"/>
                  </a:lnTo>
                  <a:lnTo>
                    <a:pt x="287" y="371"/>
                  </a:lnTo>
                  <a:lnTo>
                    <a:pt x="290" y="371"/>
                  </a:lnTo>
                  <a:lnTo>
                    <a:pt x="292" y="371"/>
                  </a:lnTo>
                  <a:lnTo>
                    <a:pt x="290" y="371"/>
                  </a:lnTo>
                  <a:lnTo>
                    <a:pt x="289" y="369"/>
                  </a:lnTo>
                  <a:lnTo>
                    <a:pt x="285" y="371"/>
                  </a:lnTo>
                  <a:lnTo>
                    <a:pt x="285" y="369"/>
                  </a:lnTo>
                  <a:lnTo>
                    <a:pt x="285" y="367"/>
                  </a:lnTo>
                  <a:lnTo>
                    <a:pt x="289" y="367"/>
                  </a:lnTo>
                  <a:lnTo>
                    <a:pt x="290" y="367"/>
                  </a:lnTo>
                  <a:lnTo>
                    <a:pt x="294" y="367"/>
                  </a:lnTo>
                  <a:lnTo>
                    <a:pt x="295" y="367"/>
                  </a:lnTo>
                  <a:lnTo>
                    <a:pt x="299" y="367"/>
                  </a:lnTo>
                  <a:lnTo>
                    <a:pt x="297" y="366"/>
                  </a:lnTo>
                  <a:lnTo>
                    <a:pt x="297" y="367"/>
                  </a:lnTo>
                  <a:lnTo>
                    <a:pt x="294" y="367"/>
                  </a:lnTo>
                  <a:lnTo>
                    <a:pt x="294" y="366"/>
                  </a:lnTo>
                  <a:lnTo>
                    <a:pt x="292" y="364"/>
                  </a:lnTo>
                  <a:lnTo>
                    <a:pt x="289" y="366"/>
                  </a:lnTo>
                  <a:lnTo>
                    <a:pt x="290" y="364"/>
                  </a:lnTo>
                  <a:lnTo>
                    <a:pt x="289" y="362"/>
                  </a:lnTo>
                  <a:lnTo>
                    <a:pt x="289" y="360"/>
                  </a:lnTo>
                  <a:lnTo>
                    <a:pt x="285" y="360"/>
                  </a:lnTo>
                  <a:lnTo>
                    <a:pt x="285" y="359"/>
                  </a:lnTo>
                  <a:lnTo>
                    <a:pt x="283" y="359"/>
                  </a:lnTo>
                  <a:lnTo>
                    <a:pt x="283" y="357"/>
                  </a:lnTo>
                  <a:lnTo>
                    <a:pt x="285" y="357"/>
                  </a:lnTo>
                  <a:lnTo>
                    <a:pt x="287" y="357"/>
                  </a:lnTo>
                  <a:lnTo>
                    <a:pt x="290" y="357"/>
                  </a:lnTo>
                  <a:lnTo>
                    <a:pt x="292" y="355"/>
                  </a:lnTo>
                  <a:lnTo>
                    <a:pt x="290" y="355"/>
                  </a:lnTo>
                  <a:lnTo>
                    <a:pt x="292" y="354"/>
                  </a:lnTo>
                  <a:lnTo>
                    <a:pt x="294" y="354"/>
                  </a:lnTo>
                  <a:lnTo>
                    <a:pt x="294" y="352"/>
                  </a:lnTo>
                  <a:lnTo>
                    <a:pt x="295" y="352"/>
                  </a:lnTo>
                  <a:lnTo>
                    <a:pt x="297" y="352"/>
                  </a:lnTo>
                  <a:lnTo>
                    <a:pt x="297" y="355"/>
                  </a:lnTo>
                  <a:lnTo>
                    <a:pt x="295" y="355"/>
                  </a:lnTo>
                  <a:lnTo>
                    <a:pt x="295" y="357"/>
                  </a:lnTo>
                  <a:lnTo>
                    <a:pt x="297" y="355"/>
                  </a:lnTo>
                  <a:lnTo>
                    <a:pt x="297" y="354"/>
                  </a:lnTo>
                  <a:lnTo>
                    <a:pt x="299" y="354"/>
                  </a:lnTo>
                  <a:lnTo>
                    <a:pt x="299" y="355"/>
                  </a:lnTo>
                  <a:lnTo>
                    <a:pt x="299" y="354"/>
                  </a:lnTo>
                  <a:lnTo>
                    <a:pt x="299" y="355"/>
                  </a:lnTo>
                  <a:lnTo>
                    <a:pt x="299" y="354"/>
                  </a:lnTo>
                  <a:lnTo>
                    <a:pt x="300" y="354"/>
                  </a:lnTo>
                  <a:lnTo>
                    <a:pt x="299" y="350"/>
                  </a:lnTo>
                  <a:lnTo>
                    <a:pt x="299" y="349"/>
                  </a:lnTo>
                  <a:lnTo>
                    <a:pt x="299" y="347"/>
                  </a:lnTo>
                  <a:lnTo>
                    <a:pt x="300" y="349"/>
                  </a:lnTo>
                  <a:lnTo>
                    <a:pt x="300" y="350"/>
                  </a:lnTo>
                  <a:lnTo>
                    <a:pt x="302" y="352"/>
                  </a:lnTo>
                  <a:lnTo>
                    <a:pt x="302" y="354"/>
                  </a:lnTo>
                  <a:lnTo>
                    <a:pt x="302" y="352"/>
                  </a:lnTo>
                  <a:lnTo>
                    <a:pt x="304" y="352"/>
                  </a:lnTo>
                  <a:lnTo>
                    <a:pt x="306" y="350"/>
                  </a:lnTo>
                  <a:lnTo>
                    <a:pt x="306" y="349"/>
                  </a:lnTo>
                  <a:lnTo>
                    <a:pt x="304" y="347"/>
                  </a:lnTo>
                  <a:lnTo>
                    <a:pt x="306" y="347"/>
                  </a:lnTo>
                  <a:lnTo>
                    <a:pt x="309" y="345"/>
                  </a:lnTo>
                  <a:lnTo>
                    <a:pt x="309" y="347"/>
                  </a:lnTo>
                  <a:lnTo>
                    <a:pt x="309" y="345"/>
                  </a:lnTo>
                  <a:lnTo>
                    <a:pt x="312" y="349"/>
                  </a:lnTo>
                  <a:lnTo>
                    <a:pt x="312" y="347"/>
                  </a:lnTo>
                  <a:lnTo>
                    <a:pt x="314" y="349"/>
                  </a:lnTo>
                  <a:lnTo>
                    <a:pt x="314" y="347"/>
                  </a:lnTo>
                  <a:lnTo>
                    <a:pt x="311" y="347"/>
                  </a:lnTo>
                  <a:lnTo>
                    <a:pt x="309" y="345"/>
                  </a:lnTo>
                  <a:lnTo>
                    <a:pt x="307" y="347"/>
                  </a:lnTo>
                  <a:lnTo>
                    <a:pt x="306" y="345"/>
                  </a:lnTo>
                  <a:lnTo>
                    <a:pt x="304" y="345"/>
                  </a:lnTo>
                  <a:lnTo>
                    <a:pt x="306" y="343"/>
                  </a:lnTo>
                  <a:lnTo>
                    <a:pt x="306" y="345"/>
                  </a:lnTo>
                  <a:lnTo>
                    <a:pt x="306" y="343"/>
                  </a:lnTo>
                  <a:lnTo>
                    <a:pt x="307" y="342"/>
                  </a:lnTo>
                  <a:lnTo>
                    <a:pt x="307" y="340"/>
                  </a:lnTo>
                  <a:lnTo>
                    <a:pt x="309" y="338"/>
                  </a:lnTo>
                  <a:lnTo>
                    <a:pt x="311" y="337"/>
                  </a:lnTo>
                  <a:lnTo>
                    <a:pt x="311" y="338"/>
                  </a:lnTo>
                  <a:lnTo>
                    <a:pt x="314" y="338"/>
                  </a:lnTo>
                  <a:lnTo>
                    <a:pt x="314" y="337"/>
                  </a:lnTo>
                  <a:lnTo>
                    <a:pt x="316" y="338"/>
                  </a:lnTo>
                  <a:lnTo>
                    <a:pt x="317" y="338"/>
                  </a:lnTo>
                  <a:lnTo>
                    <a:pt x="316" y="338"/>
                  </a:lnTo>
                  <a:lnTo>
                    <a:pt x="314" y="337"/>
                  </a:lnTo>
                  <a:lnTo>
                    <a:pt x="312" y="337"/>
                  </a:lnTo>
                  <a:lnTo>
                    <a:pt x="311" y="337"/>
                  </a:lnTo>
                  <a:lnTo>
                    <a:pt x="314" y="335"/>
                  </a:lnTo>
                  <a:lnTo>
                    <a:pt x="317" y="337"/>
                  </a:lnTo>
                  <a:lnTo>
                    <a:pt x="317" y="335"/>
                  </a:lnTo>
                  <a:lnTo>
                    <a:pt x="319" y="333"/>
                  </a:lnTo>
                  <a:lnTo>
                    <a:pt x="321" y="335"/>
                  </a:lnTo>
                  <a:lnTo>
                    <a:pt x="323" y="335"/>
                  </a:lnTo>
                  <a:lnTo>
                    <a:pt x="324" y="333"/>
                  </a:lnTo>
                  <a:lnTo>
                    <a:pt x="323" y="335"/>
                  </a:lnTo>
                  <a:lnTo>
                    <a:pt x="324" y="337"/>
                  </a:lnTo>
                  <a:lnTo>
                    <a:pt x="324" y="335"/>
                  </a:lnTo>
                  <a:lnTo>
                    <a:pt x="324" y="337"/>
                  </a:lnTo>
                  <a:lnTo>
                    <a:pt x="323" y="338"/>
                  </a:lnTo>
                  <a:lnTo>
                    <a:pt x="324" y="340"/>
                  </a:lnTo>
                  <a:lnTo>
                    <a:pt x="324" y="342"/>
                  </a:lnTo>
                  <a:lnTo>
                    <a:pt x="326" y="342"/>
                  </a:lnTo>
                  <a:lnTo>
                    <a:pt x="326" y="340"/>
                  </a:lnTo>
                  <a:lnTo>
                    <a:pt x="323" y="338"/>
                  </a:lnTo>
                  <a:lnTo>
                    <a:pt x="324" y="337"/>
                  </a:lnTo>
                  <a:lnTo>
                    <a:pt x="326" y="335"/>
                  </a:lnTo>
                  <a:lnTo>
                    <a:pt x="324" y="333"/>
                  </a:lnTo>
                  <a:lnTo>
                    <a:pt x="328" y="333"/>
                  </a:lnTo>
                  <a:lnTo>
                    <a:pt x="329" y="335"/>
                  </a:lnTo>
                  <a:lnTo>
                    <a:pt x="331" y="335"/>
                  </a:lnTo>
                  <a:lnTo>
                    <a:pt x="333" y="337"/>
                  </a:lnTo>
                  <a:lnTo>
                    <a:pt x="336" y="337"/>
                  </a:lnTo>
                  <a:lnTo>
                    <a:pt x="336" y="338"/>
                  </a:lnTo>
                  <a:lnTo>
                    <a:pt x="336" y="342"/>
                  </a:lnTo>
                  <a:lnTo>
                    <a:pt x="338" y="340"/>
                  </a:lnTo>
                  <a:lnTo>
                    <a:pt x="336" y="342"/>
                  </a:lnTo>
                  <a:lnTo>
                    <a:pt x="340" y="343"/>
                  </a:lnTo>
                  <a:lnTo>
                    <a:pt x="338" y="342"/>
                  </a:lnTo>
                  <a:lnTo>
                    <a:pt x="338" y="340"/>
                  </a:lnTo>
                  <a:lnTo>
                    <a:pt x="340" y="338"/>
                  </a:lnTo>
                  <a:lnTo>
                    <a:pt x="338" y="337"/>
                  </a:lnTo>
                  <a:lnTo>
                    <a:pt x="338" y="335"/>
                  </a:lnTo>
                  <a:lnTo>
                    <a:pt x="336" y="335"/>
                  </a:lnTo>
                  <a:lnTo>
                    <a:pt x="336" y="333"/>
                  </a:lnTo>
                  <a:lnTo>
                    <a:pt x="334" y="333"/>
                  </a:lnTo>
                  <a:lnTo>
                    <a:pt x="336" y="333"/>
                  </a:lnTo>
                  <a:lnTo>
                    <a:pt x="336" y="331"/>
                  </a:lnTo>
                  <a:lnTo>
                    <a:pt x="333" y="333"/>
                  </a:lnTo>
                  <a:lnTo>
                    <a:pt x="331" y="333"/>
                  </a:lnTo>
                  <a:lnTo>
                    <a:pt x="334" y="331"/>
                  </a:lnTo>
                  <a:lnTo>
                    <a:pt x="331" y="331"/>
                  </a:lnTo>
                  <a:lnTo>
                    <a:pt x="329" y="331"/>
                  </a:lnTo>
                  <a:lnTo>
                    <a:pt x="328" y="331"/>
                  </a:lnTo>
                  <a:lnTo>
                    <a:pt x="326" y="331"/>
                  </a:lnTo>
                  <a:lnTo>
                    <a:pt x="328" y="330"/>
                  </a:lnTo>
                  <a:lnTo>
                    <a:pt x="329" y="330"/>
                  </a:lnTo>
                  <a:lnTo>
                    <a:pt x="331" y="328"/>
                  </a:lnTo>
                  <a:lnTo>
                    <a:pt x="331" y="326"/>
                  </a:lnTo>
                  <a:lnTo>
                    <a:pt x="331" y="325"/>
                  </a:lnTo>
                  <a:lnTo>
                    <a:pt x="329" y="328"/>
                  </a:lnTo>
                  <a:lnTo>
                    <a:pt x="329" y="330"/>
                  </a:lnTo>
                  <a:lnTo>
                    <a:pt x="329" y="326"/>
                  </a:lnTo>
                  <a:lnTo>
                    <a:pt x="328" y="328"/>
                  </a:lnTo>
                  <a:lnTo>
                    <a:pt x="326" y="328"/>
                  </a:lnTo>
                  <a:lnTo>
                    <a:pt x="324" y="330"/>
                  </a:lnTo>
                  <a:lnTo>
                    <a:pt x="326" y="330"/>
                  </a:lnTo>
                  <a:lnTo>
                    <a:pt x="323" y="330"/>
                  </a:lnTo>
                  <a:lnTo>
                    <a:pt x="321" y="330"/>
                  </a:lnTo>
                  <a:lnTo>
                    <a:pt x="319" y="330"/>
                  </a:lnTo>
                  <a:lnTo>
                    <a:pt x="321" y="330"/>
                  </a:lnTo>
                  <a:lnTo>
                    <a:pt x="321" y="331"/>
                  </a:lnTo>
                  <a:lnTo>
                    <a:pt x="319" y="331"/>
                  </a:lnTo>
                  <a:lnTo>
                    <a:pt x="317" y="333"/>
                  </a:lnTo>
                  <a:lnTo>
                    <a:pt x="316" y="333"/>
                  </a:lnTo>
                  <a:lnTo>
                    <a:pt x="317" y="331"/>
                  </a:lnTo>
                  <a:lnTo>
                    <a:pt x="316" y="330"/>
                  </a:lnTo>
                  <a:lnTo>
                    <a:pt x="317" y="328"/>
                  </a:lnTo>
                  <a:lnTo>
                    <a:pt x="316" y="330"/>
                  </a:lnTo>
                  <a:lnTo>
                    <a:pt x="314" y="330"/>
                  </a:lnTo>
                  <a:lnTo>
                    <a:pt x="314" y="331"/>
                  </a:lnTo>
                  <a:lnTo>
                    <a:pt x="311" y="331"/>
                  </a:lnTo>
                  <a:lnTo>
                    <a:pt x="309" y="333"/>
                  </a:lnTo>
                  <a:lnTo>
                    <a:pt x="309" y="331"/>
                  </a:lnTo>
                  <a:lnTo>
                    <a:pt x="306" y="333"/>
                  </a:lnTo>
                  <a:lnTo>
                    <a:pt x="307" y="331"/>
                  </a:lnTo>
                  <a:lnTo>
                    <a:pt x="307" y="330"/>
                  </a:lnTo>
                  <a:lnTo>
                    <a:pt x="311" y="328"/>
                  </a:lnTo>
                  <a:lnTo>
                    <a:pt x="312" y="326"/>
                  </a:lnTo>
                  <a:lnTo>
                    <a:pt x="312" y="325"/>
                  </a:lnTo>
                  <a:lnTo>
                    <a:pt x="314" y="323"/>
                  </a:lnTo>
                  <a:lnTo>
                    <a:pt x="312" y="323"/>
                  </a:lnTo>
                  <a:lnTo>
                    <a:pt x="314" y="321"/>
                  </a:lnTo>
                  <a:lnTo>
                    <a:pt x="314" y="320"/>
                  </a:lnTo>
                  <a:lnTo>
                    <a:pt x="317" y="320"/>
                  </a:lnTo>
                  <a:lnTo>
                    <a:pt x="319" y="320"/>
                  </a:lnTo>
                  <a:lnTo>
                    <a:pt x="319" y="321"/>
                  </a:lnTo>
                  <a:lnTo>
                    <a:pt x="319" y="323"/>
                  </a:lnTo>
                  <a:lnTo>
                    <a:pt x="321" y="323"/>
                  </a:lnTo>
                  <a:lnTo>
                    <a:pt x="321" y="321"/>
                  </a:lnTo>
                  <a:lnTo>
                    <a:pt x="321" y="320"/>
                  </a:lnTo>
                  <a:lnTo>
                    <a:pt x="323" y="320"/>
                  </a:lnTo>
                  <a:lnTo>
                    <a:pt x="323" y="318"/>
                  </a:lnTo>
                  <a:lnTo>
                    <a:pt x="326" y="318"/>
                  </a:lnTo>
                  <a:lnTo>
                    <a:pt x="323" y="318"/>
                  </a:lnTo>
                  <a:lnTo>
                    <a:pt x="319" y="318"/>
                  </a:lnTo>
                  <a:lnTo>
                    <a:pt x="316" y="318"/>
                  </a:lnTo>
                  <a:lnTo>
                    <a:pt x="314" y="318"/>
                  </a:lnTo>
                  <a:lnTo>
                    <a:pt x="314" y="316"/>
                  </a:lnTo>
                  <a:lnTo>
                    <a:pt x="316" y="314"/>
                  </a:lnTo>
                  <a:lnTo>
                    <a:pt x="317" y="313"/>
                  </a:lnTo>
                  <a:lnTo>
                    <a:pt x="319" y="313"/>
                  </a:lnTo>
                  <a:lnTo>
                    <a:pt x="319" y="311"/>
                  </a:lnTo>
                  <a:lnTo>
                    <a:pt x="321" y="309"/>
                  </a:lnTo>
                  <a:lnTo>
                    <a:pt x="324" y="308"/>
                  </a:lnTo>
                  <a:lnTo>
                    <a:pt x="326" y="309"/>
                  </a:lnTo>
                  <a:lnTo>
                    <a:pt x="328" y="309"/>
                  </a:lnTo>
                  <a:lnTo>
                    <a:pt x="328" y="311"/>
                  </a:lnTo>
                  <a:lnTo>
                    <a:pt x="326" y="311"/>
                  </a:lnTo>
                  <a:lnTo>
                    <a:pt x="324" y="309"/>
                  </a:lnTo>
                  <a:lnTo>
                    <a:pt x="323" y="309"/>
                  </a:lnTo>
                  <a:lnTo>
                    <a:pt x="323" y="311"/>
                  </a:lnTo>
                  <a:lnTo>
                    <a:pt x="326" y="313"/>
                  </a:lnTo>
                  <a:lnTo>
                    <a:pt x="324" y="314"/>
                  </a:lnTo>
                  <a:lnTo>
                    <a:pt x="323" y="314"/>
                  </a:lnTo>
                  <a:lnTo>
                    <a:pt x="321" y="316"/>
                  </a:lnTo>
                  <a:lnTo>
                    <a:pt x="324" y="316"/>
                  </a:lnTo>
                  <a:lnTo>
                    <a:pt x="324" y="314"/>
                  </a:lnTo>
                  <a:lnTo>
                    <a:pt x="326" y="314"/>
                  </a:lnTo>
                  <a:lnTo>
                    <a:pt x="328" y="311"/>
                  </a:lnTo>
                  <a:lnTo>
                    <a:pt x="329" y="313"/>
                  </a:lnTo>
                  <a:lnTo>
                    <a:pt x="328" y="314"/>
                  </a:lnTo>
                  <a:lnTo>
                    <a:pt x="329" y="316"/>
                  </a:lnTo>
                  <a:lnTo>
                    <a:pt x="328" y="318"/>
                  </a:lnTo>
                  <a:lnTo>
                    <a:pt x="328" y="320"/>
                  </a:lnTo>
                  <a:lnTo>
                    <a:pt x="328" y="318"/>
                  </a:lnTo>
                  <a:lnTo>
                    <a:pt x="329" y="316"/>
                  </a:lnTo>
                  <a:lnTo>
                    <a:pt x="329" y="314"/>
                  </a:lnTo>
                  <a:lnTo>
                    <a:pt x="331" y="313"/>
                  </a:lnTo>
                  <a:lnTo>
                    <a:pt x="331" y="314"/>
                  </a:lnTo>
                  <a:lnTo>
                    <a:pt x="331" y="313"/>
                  </a:lnTo>
                  <a:lnTo>
                    <a:pt x="334" y="313"/>
                  </a:lnTo>
                  <a:lnTo>
                    <a:pt x="336" y="314"/>
                  </a:lnTo>
                  <a:lnTo>
                    <a:pt x="338" y="318"/>
                  </a:lnTo>
                  <a:lnTo>
                    <a:pt x="340" y="320"/>
                  </a:lnTo>
                  <a:lnTo>
                    <a:pt x="340" y="323"/>
                  </a:lnTo>
                  <a:lnTo>
                    <a:pt x="341" y="325"/>
                  </a:lnTo>
                  <a:lnTo>
                    <a:pt x="341" y="323"/>
                  </a:lnTo>
                  <a:lnTo>
                    <a:pt x="341" y="321"/>
                  </a:lnTo>
                  <a:lnTo>
                    <a:pt x="343" y="321"/>
                  </a:lnTo>
                  <a:lnTo>
                    <a:pt x="341" y="320"/>
                  </a:lnTo>
                  <a:lnTo>
                    <a:pt x="343" y="318"/>
                  </a:lnTo>
                  <a:lnTo>
                    <a:pt x="341" y="320"/>
                  </a:lnTo>
                  <a:lnTo>
                    <a:pt x="340" y="320"/>
                  </a:lnTo>
                  <a:lnTo>
                    <a:pt x="340" y="318"/>
                  </a:lnTo>
                  <a:lnTo>
                    <a:pt x="338" y="318"/>
                  </a:lnTo>
                  <a:lnTo>
                    <a:pt x="340" y="314"/>
                  </a:lnTo>
                  <a:lnTo>
                    <a:pt x="338" y="314"/>
                  </a:lnTo>
                  <a:lnTo>
                    <a:pt x="340" y="313"/>
                  </a:lnTo>
                  <a:lnTo>
                    <a:pt x="341" y="311"/>
                  </a:lnTo>
                  <a:lnTo>
                    <a:pt x="341" y="309"/>
                  </a:lnTo>
                  <a:lnTo>
                    <a:pt x="345" y="308"/>
                  </a:lnTo>
                  <a:lnTo>
                    <a:pt x="348" y="308"/>
                  </a:lnTo>
                  <a:lnTo>
                    <a:pt x="346" y="306"/>
                  </a:lnTo>
                  <a:lnTo>
                    <a:pt x="345" y="308"/>
                  </a:lnTo>
                  <a:lnTo>
                    <a:pt x="343" y="308"/>
                  </a:lnTo>
                  <a:lnTo>
                    <a:pt x="341" y="309"/>
                  </a:lnTo>
                  <a:lnTo>
                    <a:pt x="340" y="309"/>
                  </a:lnTo>
                  <a:lnTo>
                    <a:pt x="338" y="311"/>
                  </a:lnTo>
                  <a:lnTo>
                    <a:pt x="338" y="313"/>
                  </a:lnTo>
                  <a:lnTo>
                    <a:pt x="336" y="311"/>
                  </a:lnTo>
                  <a:lnTo>
                    <a:pt x="334" y="311"/>
                  </a:lnTo>
                  <a:lnTo>
                    <a:pt x="331" y="311"/>
                  </a:lnTo>
                  <a:lnTo>
                    <a:pt x="329" y="309"/>
                  </a:lnTo>
                  <a:lnTo>
                    <a:pt x="329" y="308"/>
                  </a:lnTo>
                  <a:lnTo>
                    <a:pt x="331" y="308"/>
                  </a:lnTo>
                  <a:lnTo>
                    <a:pt x="329" y="308"/>
                  </a:lnTo>
                  <a:lnTo>
                    <a:pt x="329" y="306"/>
                  </a:lnTo>
                  <a:lnTo>
                    <a:pt x="331" y="306"/>
                  </a:lnTo>
                  <a:lnTo>
                    <a:pt x="333" y="306"/>
                  </a:lnTo>
                  <a:lnTo>
                    <a:pt x="334" y="306"/>
                  </a:lnTo>
                  <a:lnTo>
                    <a:pt x="336" y="308"/>
                  </a:lnTo>
                  <a:lnTo>
                    <a:pt x="336" y="306"/>
                  </a:lnTo>
                  <a:lnTo>
                    <a:pt x="334" y="306"/>
                  </a:lnTo>
                  <a:lnTo>
                    <a:pt x="333" y="306"/>
                  </a:lnTo>
                  <a:lnTo>
                    <a:pt x="331" y="304"/>
                  </a:lnTo>
                  <a:lnTo>
                    <a:pt x="329" y="304"/>
                  </a:lnTo>
                  <a:lnTo>
                    <a:pt x="328" y="304"/>
                  </a:lnTo>
                  <a:lnTo>
                    <a:pt x="328" y="303"/>
                  </a:lnTo>
                  <a:lnTo>
                    <a:pt x="329" y="301"/>
                  </a:lnTo>
                  <a:lnTo>
                    <a:pt x="331" y="299"/>
                  </a:lnTo>
                  <a:lnTo>
                    <a:pt x="329" y="299"/>
                  </a:lnTo>
                  <a:lnTo>
                    <a:pt x="331" y="297"/>
                  </a:lnTo>
                  <a:lnTo>
                    <a:pt x="333" y="297"/>
                  </a:lnTo>
                  <a:lnTo>
                    <a:pt x="333" y="299"/>
                  </a:lnTo>
                  <a:lnTo>
                    <a:pt x="336" y="299"/>
                  </a:lnTo>
                  <a:lnTo>
                    <a:pt x="338" y="301"/>
                  </a:lnTo>
                  <a:lnTo>
                    <a:pt x="336" y="299"/>
                  </a:lnTo>
                  <a:lnTo>
                    <a:pt x="338" y="297"/>
                  </a:lnTo>
                  <a:lnTo>
                    <a:pt x="340" y="299"/>
                  </a:lnTo>
                  <a:lnTo>
                    <a:pt x="341" y="299"/>
                  </a:lnTo>
                  <a:lnTo>
                    <a:pt x="340" y="299"/>
                  </a:lnTo>
                  <a:lnTo>
                    <a:pt x="338" y="297"/>
                  </a:lnTo>
                  <a:lnTo>
                    <a:pt x="336" y="297"/>
                  </a:lnTo>
                  <a:lnTo>
                    <a:pt x="333" y="296"/>
                  </a:lnTo>
                  <a:lnTo>
                    <a:pt x="334" y="296"/>
                  </a:lnTo>
                  <a:lnTo>
                    <a:pt x="336" y="294"/>
                  </a:lnTo>
                  <a:lnTo>
                    <a:pt x="340" y="294"/>
                  </a:lnTo>
                  <a:lnTo>
                    <a:pt x="340" y="296"/>
                  </a:lnTo>
                  <a:lnTo>
                    <a:pt x="341" y="296"/>
                  </a:lnTo>
                  <a:lnTo>
                    <a:pt x="343" y="296"/>
                  </a:lnTo>
                  <a:lnTo>
                    <a:pt x="343" y="297"/>
                  </a:lnTo>
                  <a:lnTo>
                    <a:pt x="345" y="299"/>
                  </a:lnTo>
                  <a:lnTo>
                    <a:pt x="346" y="297"/>
                  </a:lnTo>
                  <a:lnTo>
                    <a:pt x="345" y="297"/>
                  </a:lnTo>
                  <a:lnTo>
                    <a:pt x="345" y="296"/>
                  </a:lnTo>
                  <a:lnTo>
                    <a:pt x="343" y="296"/>
                  </a:lnTo>
                  <a:lnTo>
                    <a:pt x="340" y="294"/>
                  </a:lnTo>
                  <a:lnTo>
                    <a:pt x="340" y="292"/>
                  </a:lnTo>
                  <a:lnTo>
                    <a:pt x="338" y="292"/>
                  </a:lnTo>
                  <a:lnTo>
                    <a:pt x="336" y="292"/>
                  </a:lnTo>
                  <a:lnTo>
                    <a:pt x="334" y="292"/>
                  </a:lnTo>
                  <a:lnTo>
                    <a:pt x="334" y="291"/>
                  </a:lnTo>
                  <a:lnTo>
                    <a:pt x="333" y="291"/>
                  </a:lnTo>
                  <a:lnTo>
                    <a:pt x="334" y="289"/>
                  </a:lnTo>
                  <a:lnTo>
                    <a:pt x="333" y="287"/>
                  </a:lnTo>
                  <a:lnTo>
                    <a:pt x="334" y="289"/>
                  </a:lnTo>
                  <a:lnTo>
                    <a:pt x="333" y="289"/>
                  </a:lnTo>
                  <a:lnTo>
                    <a:pt x="331" y="286"/>
                  </a:lnTo>
                  <a:lnTo>
                    <a:pt x="333" y="289"/>
                  </a:lnTo>
                  <a:lnTo>
                    <a:pt x="333" y="292"/>
                  </a:lnTo>
                  <a:lnTo>
                    <a:pt x="331" y="292"/>
                  </a:lnTo>
                  <a:lnTo>
                    <a:pt x="329" y="294"/>
                  </a:lnTo>
                  <a:lnTo>
                    <a:pt x="328" y="296"/>
                  </a:lnTo>
                  <a:lnTo>
                    <a:pt x="328" y="299"/>
                  </a:lnTo>
                  <a:lnTo>
                    <a:pt x="326" y="299"/>
                  </a:lnTo>
                  <a:lnTo>
                    <a:pt x="324" y="301"/>
                  </a:lnTo>
                  <a:lnTo>
                    <a:pt x="323" y="303"/>
                  </a:lnTo>
                  <a:lnTo>
                    <a:pt x="321" y="303"/>
                  </a:lnTo>
                  <a:lnTo>
                    <a:pt x="317" y="304"/>
                  </a:lnTo>
                  <a:lnTo>
                    <a:pt x="316" y="304"/>
                  </a:lnTo>
                  <a:lnTo>
                    <a:pt x="317" y="303"/>
                  </a:lnTo>
                  <a:lnTo>
                    <a:pt x="316" y="303"/>
                  </a:lnTo>
                  <a:lnTo>
                    <a:pt x="317" y="301"/>
                  </a:lnTo>
                  <a:lnTo>
                    <a:pt x="319" y="299"/>
                  </a:lnTo>
                  <a:lnTo>
                    <a:pt x="317" y="299"/>
                  </a:lnTo>
                  <a:lnTo>
                    <a:pt x="316" y="299"/>
                  </a:lnTo>
                  <a:lnTo>
                    <a:pt x="316" y="297"/>
                  </a:lnTo>
                  <a:lnTo>
                    <a:pt x="316" y="299"/>
                  </a:lnTo>
                  <a:lnTo>
                    <a:pt x="316" y="297"/>
                  </a:lnTo>
                  <a:lnTo>
                    <a:pt x="319" y="297"/>
                  </a:lnTo>
                  <a:lnTo>
                    <a:pt x="321" y="296"/>
                  </a:lnTo>
                  <a:lnTo>
                    <a:pt x="323" y="297"/>
                  </a:lnTo>
                  <a:lnTo>
                    <a:pt x="324" y="296"/>
                  </a:lnTo>
                  <a:lnTo>
                    <a:pt x="326" y="296"/>
                  </a:lnTo>
                  <a:lnTo>
                    <a:pt x="324" y="296"/>
                  </a:lnTo>
                  <a:lnTo>
                    <a:pt x="323" y="296"/>
                  </a:lnTo>
                  <a:lnTo>
                    <a:pt x="323" y="294"/>
                  </a:lnTo>
                  <a:lnTo>
                    <a:pt x="323" y="296"/>
                  </a:lnTo>
                  <a:lnTo>
                    <a:pt x="324" y="292"/>
                  </a:lnTo>
                  <a:lnTo>
                    <a:pt x="321" y="294"/>
                  </a:lnTo>
                  <a:lnTo>
                    <a:pt x="319" y="294"/>
                  </a:lnTo>
                  <a:lnTo>
                    <a:pt x="317" y="296"/>
                  </a:lnTo>
                  <a:lnTo>
                    <a:pt x="319" y="294"/>
                  </a:lnTo>
                  <a:lnTo>
                    <a:pt x="317" y="294"/>
                  </a:lnTo>
                  <a:lnTo>
                    <a:pt x="317" y="292"/>
                  </a:lnTo>
                  <a:lnTo>
                    <a:pt x="316" y="294"/>
                  </a:lnTo>
                  <a:lnTo>
                    <a:pt x="316" y="292"/>
                  </a:lnTo>
                  <a:lnTo>
                    <a:pt x="316" y="291"/>
                  </a:lnTo>
                  <a:lnTo>
                    <a:pt x="317" y="289"/>
                  </a:lnTo>
                  <a:lnTo>
                    <a:pt x="319" y="291"/>
                  </a:lnTo>
                  <a:lnTo>
                    <a:pt x="321" y="289"/>
                  </a:lnTo>
                  <a:lnTo>
                    <a:pt x="323" y="289"/>
                  </a:lnTo>
                  <a:lnTo>
                    <a:pt x="323" y="287"/>
                  </a:lnTo>
                  <a:lnTo>
                    <a:pt x="324" y="289"/>
                  </a:lnTo>
                  <a:lnTo>
                    <a:pt x="324" y="287"/>
                  </a:lnTo>
                  <a:lnTo>
                    <a:pt x="321" y="289"/>
                  </a:lnTo>
                  <a:lnTo>
                    <a:pt x="321" y="287"/>
                  </a:lnTo>
                  <a:lnTo>
                    <a:pt x="319" y="289"/>
                  </a:lnTo>
                  <a:lnTo>
                    <a:pt x="317" y="289"/>
                  </a:lnTo>
                  <a:lnTo>
                    <a:pt x="319" y="287"/>
                  </a:lnTo>
                  <a:lnTo>
                    <a:pt x="317" y="287"/>
                  </a:lnTo>
                  <a:lnTo>
                    <a:pt x="319" y="287"/>
                  </a:lnTo>
                  <a:lnTo>
                    <a:pt x="317" y="287"/>
                  </a:lnTo>
                  <a:lnTo>
                    <a:pt x="319" y="287"/>
                  </a:lnTo>
                  <a:lnTo>
                    <a:pt x="319" y="286"/>
                  </a:lnTo>
                  <a:lnTo>
                    <a:pt x="321" y="286"/>
                  </a:lnTo>
                  <a:lnTo>
                    <a:pt x="324" y="286"/>
                  </a:lnTo>
                  <a:lnTo>
                    <a:pt x="326" y="286"/>
                  </a:lnTo>
                  <a:lnTo>
                    <a:pt x="328" y="286"/>
                  </a:lnTo>
                  <a:lnTo>
                    <a:pt x="328" y="287"/>
                  </a:lnTo>
                  <a:lnTo>
                    <a:pt x="326" y="289"/>
                  </a:lnTo>
                  <a:lnTo>
                    <a:pt x="328" y="289"/>
                  </a:lnTo>
                  <a:lnTo>
                    <a:pt x="329" y="286"/>
                  </a:lnTo>
                  <a:lnTo>
                    <a:pt x="331" y="284"/>
                  </a:lnTo>
                  <a:lnTo>
                    <a:pt x="331" y="286"/>
                  </a:lnTo>
                  <a:lnTo>
                    <a:pt x="333" y="284"/>
                  </a:lnTo>
                  <a:lnTo>
                    <a:pt x="334" y="282"/>
                  </a:lnTo>
                  <a:lnTo>
                    <a:pt x="333" y="282"/>
                  </a:lnTo>
                  <a:lnTo>
                    <a:pt x="334" y="282"/>
                  </a:lnTo>
                  <a:lnTo>
                    <a:pt x="336" y="282"/>
                  </a:lnTo>
                  <a:lnTo>
                    <a:pt x="336" y="284"/>
                  </a:lnTo>
                  <a:lnTo>
                    <a:pt x="338" y="282"/>
                  </a:lnTo>
                  <a:lnTo>
                    <a:pt x="338" y="280"/>
                  </a:lnTo>
                  <a:lnTo>
                    <a:pt x="340" y="280"/>
                  </a:lnTo>
                  <a:lnTo>
                    <a:pt x="341" y="279"/>
                  </a:lnTo>
                  <a:lnTo>
                    <a:pt x="343" y="279"/>
                  </a:lnTo>
                  <a:lnTo>
                    <a:pt x="345" y="280"/>
                  </a:lnTo>
                  <a:lnTo>
                    <a:pt x="345" y="282"/>
                  </a:lnTo>
                  <a:lnTo>
                    <a:pt x="345" y="284"/>
                  </a:lnTo>
                  <a:lnTo>
                    <a:pt x="345" y="280"/>
                  </a:lnTo>
                  <a:lnTo>
                    <a:pt x="346" y="279"/>
                  </a:lnTo>
                  <a:lnTo>
                    <a:pt x="345" y="279"/>
                  </a:lnTo>
                  <a:lnTo>
                    <a:pt x="346" y="279"/>
                  </a:lnTo>
                  <a:lnTo>
                    <a:pt x="346" y="277"/>
                  </a:lnTo>
                  <a:lnTo>
                    <a:pt x="348" y="279"/>
                  </a:lnTo>
                  <a:lnTo>
                    <a:pt x="346" y="277"/>
                  </a:lnTo>
                  <a:lnTo>
                    <a:pt x="348" y="277"/>
                  </a:lnTo>
                  <a:lnTo>
                    <a:pt x="346" y="277"/>
                  </a:lnTo>
                  <a:lnTo>
                    <a:pt x="348" y="275"/>
                  </a:lnTo>
                  <a:lnTo>
                    <a:pt x="346" y="274"/>
                  </a:lnTo>
                  <a:lnTo>
                    <a:pt x="345" y="274"/>
                  </a:lnTo>
                  <a:lnTo>
                    <a:pt x="343" y="272"/>
                  </a:lnTo>
                  <a:lnTo>
                    <a:pt x="341" y="274"/>
                  </a:lnTo>
                  <a:lnTo>
                    <a:pt x="343" y="274"/>
                  </a:lnTo>
                  <a:lnTo>
                    <a:pt x="340" y="274"/>
                  </a:lnTo>
                  <a:lnTo>
                    <a:pt x="338" y="274"/>
                  </a:lnTo>
                  <a:lnTo>
                    <a:pt x="336" y="274"/>
                  </a:lnTo>
                  <a:lnTo>
                    <a:pt x="336" y="272"/>
                  </a:lnTo>
                  <a:lnTo>
                    <a:pt x="334" y="270"/>
                  </a:lnTo>
                  <a:lnTo>
                    <a:pt x="334" y="272"/>
                  </a:lnTo>
                  <a:lnTo>
                    <a:pt x="334" y="274"/>
                  </a:lnTo>
                  <a:lnTo>
                    <a:pt x="334" y="272"/>
                  </a:lnTo>
                  <a:lnTo>
                    <a:pt x="334" y="274"/>
                  </a:lnTo>
                  <a:lnTo>
                    <a:pt x="331" y="275"/>
                  </a:lnTo>
                  <a:lnTo>
                    <a:pt x="333" y="275"/>
                  </a:lnTo>
                  <a:lnTo>
                    <a:pt x="333" y="277"/>
                  </a:lnTo>
                  <a:lnTo>
                    <a:pt x="331" y="275"/>
                  </a:lnTo>
                  <a:lnTo>
                    <a:pt x="329" y="277"/>
                  </a:lnTo>
                  <a:lnTo>
                    <a:pt x="328" y="274"/>
                  </a:lnTo>
                  <a:lnTo>
                    <a:pt x="331" y="274"/>
                  </a:lnTo>
                  <a:lnTo>
                    <a:pt x="329" y="272"/>
                  </a:lnTo>
                  <a:lnTo>
                    <a:pt x="329" y="270"/>
                  </a:lnTo>
                  <a:lnTo>
                    <a:pt x="331" y="270"/>
                  </a:lnTo>
                  <a:lnTo>
                    <a:pt x="331" y="269"/>
                  </a:lnTo>
                  <a:lnTo>
                    <a:pt x="331" y="267"/>
                  </a:lnTo>
                  <a:lnTo>
                    <a:pt x="333" y="267"/>
                  </a:lnTo>
                  <a:lnTo>
                    <a:pt x="331" y="267"/>
                  </a:lnTo>
                  <a:lnTo>
                    <a:pt x="333" y="267"/>
                  </a:lnTo>
                  <a:lnTo>
                    <a:pt x="333" y="265"/>
                  </a:lnTo>
                  <a:lnTo>
                    <a:pt x="334" y="265"/>
                  </a:lnTo>
                  <a:lnTo>
                    <a:pt x="333" y="267"/>
                  </a:lnTo>
                  <a:lnTo>
                    <a:pt x="334" y="267"/>
                  </a:lnTo>
                  <a:lnTo>
                    <a:pt x="334" y="269"/>
                  </a:lnTo>
                  <a:lnTo>
                    <a:pt x="333" y="269"/>
                  </a:lnTo>
                  <a:lnTo>
                    <a:pt x="334" y="269"/>
                  </a:lnTo>
                  <a:lnTo>
                    <a:pt x="334" y="267"/>
                  </a:lnTo>
                  <a:lnTo>
                    <a:pt x="336" y="269"/>
                  </a:lnTo>
                  <a:lnTo>
                    <a:pt x="336" y="267"/>
                  </a:lnTo>
                  <a:lnTo>
                    <a:pt x="338" y="267"/>
                  </a:lnTo>
                  <a:lnTo>
                    <a:pt x="338" y="263"/>
                  </a:lnTo>
                  <a:lnTo>
                    <a:pt x="336" y="263"/>
                  </a:lnTo>
                  <a:lnTo>
                    <a:pt x="338" y="263"/>
                  </a:lnTo>
                  <a:lnTo>
                    <a:pt x="336" y="263"/>
                  </a:lnTo>
                  <a:lnTo>
                    <a:pt x="338" y="263"/>
                  </a:lnTo>
                  <a:lnTo>
                    <a:pt x="340" y="265"/>
                  </a:lnTo>
                  <a:lnTo>
                    <a:pt x="340" y="263"/>
                  </a:lnTo>
                  <a:lnTo>
                    <a:pt x="340" y="265"/>
                  </a:lnTo>
                  <a:lnTo>
                    <a:pt x="340" y="267"/>
                  </a:lnTo>
                  <a:lnTo>
                    <a:pt x="340" y="269"/>
                  </a:lnTo>
                  <a:lnTo>
                    <a:pt x="336" y="269"/>
                  </a:lnTo>
                  <a:lnTo>
                    <a:pt x="338" y="270"/>
                  </a:lnTo>
                  <a:lnTo>
                    <a:pt x="338" y="272"/>
                  </a:lnTo>
                  <a:lnTo>
                    <a:pt x="338" y="270"/>
                  </a:lnTo>
                  <a:lnTo>
                    <a:pt x="341" y="270"/>
                  </a:lnTo>
                  <a:lnTo>
                    <a:pt x="341" y="269"/>
                  </a:lnTo>
                  <a:lnTo>
                    <a:pt x="343" y="270"/>
                  </a:lnTo>
                  <a:lnTo>
                    <a:pt x="343" y="269"/>
                  </a:lnTo>
                  <a:lnTo>
                    <a:pt x="345" y="267"/>
                  </a:lnTo>
                  <a:lnTo>
                    <a:pt x="345" y="265"/>
                  </a:lnTo>
                  <a:lnTo>
                    <a:pt x="346" y="265"/>
                  </a:lnTo>
                  <a:lnTo>
                    <a:pt x="343" y="265"/>
                  </a:lnTo>
                  <a:lnTo>
                    <a:pt x="343" y="262"/>
                  </a:lnTo>
                  <a:lnTo>
                    <a:pt x="345" y="262"/>
                  </a:lnTo>
                  <a:lnTo>
                    <a:pt x="346" y="262"/>
                  </a:lnTo>
                  <a:lnTo>
                    <a:pt x="346" y="258"/>
                  </a:lnTo>
                  <a:lnTo>
                    <a:pt x="345" y="258"/>
                  </a:lnTo>
                  <a:lnTo>
                    <a:pt x="346" y="257"/>
                  </a:lnTo>
                  <a:lnTo>
                    <a:pt x="348" y="257"/>
                  </a:lnTo>
                  <a:lnTo>
                    <a:pt x="348" y="260"/>
                  </a:lnTo>
                  <a:lnTo>
                    <a:pt x="350" y="262"/>
                  </a:lnTo>
                  <a:lnTo>
                    <a:pt x="348" y="262"/>
                  </a:lnTo>
                  <a:lnTo>
                    <a:pt x="348" y="263"/>
                  </a:lnTo>
                  <a:lnTo>
                    <a:pt x="350" y="263"/>
                  </a:lnTo>
                  <a:lnTo>
                    <a:pt x="350" y="262"/>
                  </a:lnTo>
                  <a:lnTo>
                    <a:pt x="351" y="262"/>
                  </a:lnTo>
                  <a:lnTo>
                    <a:pt x="351" y="263"/>
                  </a:lnTo>
                  <a:lnTo>
                    <a:pt x="350" y="267"/>
                  </a:lnTo>
                  <a:lnTo>
                    <a:pt x="351" y="270"/>
                  </a:lnTo>
                  <a:lnTo>
                    <a:pt x="350" y="272"/>
                  </a:lnTo>
                  <a:lnTo>
                    <a:pt x="353" y="274"/>
                  </a:lnTo>
                  <a:lnTo>
                    <a:pt x="353" y="275"/>
                  </a:lnTo>
                  <a:lnTo>
                    <a:pt x="355" y="277"/>
                  </a:lnTo>
                  <a:lnTo>
                    <a:pt x="355" y="279"/>
                  </a:lnTo>
                  <a:lnTo>
                    <a:pt x="355" y="282"/>
                  </a:lnTo>
                  <a:lnTo>
                    <a:pt x="355" y="284"/>
                  </a:lnTo>
                  <a:lnTo>
                    <a:pt x="357" y="284"/>
                  </a:lnTo>
                  <a:lnTo>
                    <a:pt x="358" y="286"/>
                  </a:lnTo>
                  <a:lnTo>
                    <a:pt x="360" y="286"/>
                  </a:lnTo>
                  <a:lnTo>
                    <a:pt x="362" y="287"/>
                  </a:lnTo>
                  <a:lnTo>
                    <a:pt x="363" y="289"/>
                  </a:lnTo>
                  <a:lnTo>
                    <a:pt x="362" y="287"/>
                  </a:lnTo>
                  <a:lnTo>
                    <a:pt x="362" y="286"/>
                  </a:lnTo>
                  <a:lnTo>
                    <a:pt x="360" y="286"/>
                  </a:lnTo>
                  <a:lnTo>
                    <a:pt x="360" y="284"/>
                  </a:lnTo>
                  <a:lnTo>
                    <a:pt x="357" y="284"/>
                  </a:lnTo>
                  <a:lnTo>
                    <a:pt x="357" y="282"/>
                  </a:lnTo>
                  <a:lnTo>
                    <a:pt x="355" y="282"/>
                  </a:lnTo>
                  <a:lnTo>
                    <a:pt x="357" y="279"/>
                  </a:lnTo>
                  <a:lnTo>
                    <a:pt x="355" y="277"/>
                  </a:lnTo>
                  <a:lnTo>
                    <a:pt x="357" y="277"/>
                  </a:lnTo>
                  <a:lnTo>
                    <a:pt x="355" y="275"/>
                  </a:lnTo>
                  <a:lnTo>
                    <a:pt x="353" y="274"/>
                  </a:lnTo>
                  <a:lnTo>
                    <a:pt x="355" y="274"/>
                  </a:lnTo>
                  <a:lnTo>
                    <a:pt x="357" y="274"/>
                  </a:lnTo>
                  <a:lnTo>
                    <a:pt x="357" y="275"/>
                  </a:lnTo>
                  <a:lnTo>
                    <a:pt x="358" y="277"/>
                  </a:lnTo>
                  <a:lnTo>
                    <a:pt x="360" y="279"/>
                  </a:lnTo>
                  <a:lnTo>
                    <a:pt x="360" y="280"/>
                  </a:lnTo>
                  <a:lnTo>
                    <a:pt x="362" y="280"/>
                  </a:lnTo>
                  <a:lnTo>
                    <a:pt x="360" y="280"/>
                  </a:lnTo>
                  <a:lnTo>
                    <a:pt x="362" y="279"/>
                  </a:lnTo>
                  <a:lnTo>
                    <a:pt x="360" y="279"/>
                  </a:lnTo>
                  <a:lnTo>
                    <a:pt x="358" y="275"/>
                  </a:lnTo>
                  <a:lnTo>
                    <a:pt x="357" y="274"/>
                  </a:lnTo>
                  <a:lnTo>
                    <a:pt x="358" y="274"/>
                  </a:lnTo>
                  <a:lnTo>
                    <a:pt x="360" y="274"/>
                  </a:lnTo>
                  <a:lnTo>
                    <a:pt x="360" y="275"/>
                  </a:lnTo>
                  <a:lnTo>
                    <a:pt x="362" y="277"/>
                  </a:lnTo>
                  <a:lnTo>
                    <a:pt x="363" y="277"/>
                  </a:lnTo>
                  <a:lnTo>
                    <a:pt x="362" y="277"/>
                  </a:lnTo>
                  <a:lnTo>
                    <a:pt x="360" y="275"/>
                  </a:lnTo>
                  <a:lnTo>
                    <a:pt x="362" y="274"/>
                  </a:lnTo>
                  <a:lnTo>
                    <a:pt x="358" y="272"/>
                  </a:lnTo>
                  <a:lnTo>
                    <a:pt x="358" y="270"/>
                  </a:lnTo>
                  <a:lnTo>
                    <a:pt x="358" y="269"/>
                  </a:lnTo>
                  <a:lnTo>
                    <a:pt x="360" y="269"/>
                  </a:lnTo>
                  <a:lnTo>
                    <a:pt x="360" y="267"/>
                  </a:lnTo>
                  <a:lnTo>
                    <a:pt x="362" y="269"/>
                  </a:lnTo>
                  <a:lnTo>
                    <a:pt x="363" y="269"/>
                  </a:lnTo>
                  <a:lnTo>
                    <a:pt x="365" y="269"/>
                  </a:lnTo>
                  <a:lnTo>
                    <a:pt x="365" y="270"/>
                  </a:lnTo>
                  <a:lnTo>
                    <a:pt x="367" y="269"/>
                  </a:lnTo>
                  <a:lnTo>
                    <a:pt x="365" y="269"/>
                  </a:lnTo>
                  <a:lnTo>
                    <a:pt x="367" y="269"/>
                  </a:lnTo>
                  <a:lnTo>
                    <a:pt x="368" y="269"/>
                  </a:lnTo>
                  <a:lnTo>
                    <a:pt x="367" y="269"/>
                  </a:lnTo>
                  <a:lnTo>
                    <a:pt x="365" y="269"/>
                  </a:lnTo>
                  <a:lnTo>
                    <a:pt x="363" y="269"/>
                  </a:lnTo>
                  <a:lnTo>
                    <a:pt x="362" y="267"/>
                  </a:lnTo>
                  <a:lnTo>
                    <a:pt x="360" y="265"/>
                  </a:lnTo>
                  <a:lnTo>
                    <a:pt x="358" y="267"/>
                  </a:lnTo>
                  <a:lnTo>
                    <a:pt x="358" y="269"/>
                  </a:lnTo>
                  <a:lnTo>
                    <a:pt x="357" y="269"/>
                  </a:lnTo>
                  <a:lnTo>
                    <a:pt x="355" y="267"/>
                  </a:lnTo>
                  <a:lnTo>
                    <a:pt x="353" y="265"/>
                  </a:lnTo>
                  <a:lnTo>
                    <a:pt x="355" y="265"/>
                  </a:lnTo>
                  <a:lnTo>
                    <a:pt x="357" y="265"/>
                  </a:lnTo>
                  <a:lnTo>
                    <a:pt x="357" y="263"/>
                  </a:lnTo>
                  <a:lnTo>
                    <a:pt x="358" y="265"/>
                  </a:lnTo>
                  <a:lnTo>
                    <a:pt x="358" y="262"/>
                  </a:lnTo>
                  <a:lnTo>
                    <a:pt x="360" y="263"/>
                  </a:lnTo>
                  <a:lnTo>
                    <a:pt x="360" y="262"/>
                  </a:lnTo>
                  <a:lnTo>
                    <a:pt x="357" y="260"/>
                  </a:lnTo>
                  <a:lnTo>
                    <a:pt x="358" y="260"/>
                  </a:lnTo>
                  <a:lnTo>
                    <a:pt x="360" y="262"/>
                  </a:lnTo>
                  <a:lnTo>
                    <a:pt x="362" y="262"/>
                  </a:lnTo>
                  <a:lnTo>
                    <a:pt x="363" y="262"/>
                  </a:lnTo>
                  <a:lnTo>
                    <a:pt x="360" y="260"/>
                  </a:lnTo>
                  <a:lnTo>
                    <a:pt x="360" y="257"/>
                  </a:lnTo>
                  <a:lnTo>
                    <a:pt x="358" y="258"/>
                  </a:lnTo>
                  <a:lnTo>
                    <a:pt x="357" y="258"/>
                  </a:lnTo>
                  <a:lnTo>
                    <a:pt x="355" y="260"/>
                  </a:lnTo>
                  <a:lnTo>
                    <a:pt x="351" y="260"/>
                  </a:lnTo>
                  <a:lnTo>
                    <a:pt x="351" y="258"/>
                  </a:lnTo>
                  <a:lnTo>
                    <a:pt x="353" y="258"/>
                  </a:lnTo>
                  <a:lnTo>
                    <a:pt x="355" y="257"/>
                  </a:lnTo>
                  <a:lnTo>
                    <a:pt x="357" y="258"/>
                  </a:lnTo>
                  <a:lnTo>
                    <a:pt x="357" y="257"/>
                  </a:lnTo>
                  <a:lnTo>
                    <a:pt x="355" y="257"/>
                  </a:lnTo>
                  <a:lnTo>
                    <a:pt x="353" y="255"/>
                  </a:lnTo>
                  <a:lnTo>
                    <a:pt x="351" y="255"/>
                  </a:lnTo>
                  <a:lnTo>
                    <a:pt x="350" y="255"/>
                  </a:lnTo>
                  <a:lnTo>
                    <a:pt x="351" y="253"/>
                  </a:lnTo>
                  <a:lnTo>
                    <a:pt x="351" y="252"/>
                  </a:lnTo>
                  <a:lnTo>
                    <a:pt x="351" y="253"/>
                  </a:lnTo>
                  <a:lnTo>
                    <a:pt x="353" y="252"/>
                  </a:lnTo>
                  <a:lnTo>
                    <a:pt x="353" y="253"/>
                  </a:lnTo>
                  <a:lnTo>
                    <a:pt x="355" y="252"/>
                  </a:lnTo>
                  <a:lnTo>
                    <a:pt x="357" y="253"/>
                  </a:lnTo>
                  <a:lnTo>
                    <a:pt x="358" y="253"/>
                  </a:lnTo>
                  <a:lnTo>
                    <a:pt x="358" y="255"/>
                  </a:lnTo>
                  <a:lnTo>
                    <a:pt x="357" y="255"/>
                  </a:lnTo>
                  <a:lnTo>
                    <a:pt x="358" y="255"/>
                  </a:lnTo>
                  <a:lnTo>
                    <a:pt x="360" y="255"/>
                  </a:lnTo>
                  <a:lnTo>
                    <a:pt x="362" y="255"/>
                  </a:lnTo>
                  <a:lnTo>
                    <a:pt x="363" y="258"/>
                  </a:lnTo>
                  <a:lnTo>
                    <a:pt x="363" y="260"/>
                  </a:lnTo>
                  <a:lnTo>
                    <a:pt x="365" y="262"/>
                  </a:lnTo>
                  <a:lnTo>
                    <a:pt x="367" y="263"/>
                  </a:lnTo>
                  <a:lnTo>
                    <a:pt x="370" y="263"/>
                  </a:lnTo>
                  <a:lnTo>
                    <a:pt x="367" y="262"/>
                  </a:lnTo>
                  <a:lnTo>
                    <a:pt x="365" y="260"/>
                  </a:lnTo>
                  <a:lnTo>
                    <a:pt x="363" y="258"/>
                  </a:lnTo>
                  <a:lnTo>
                    <a:pt x="365" y="258"/>
                  </a:lnTo>
                  <a:lnTo>
                    <a:pt x="363" y="257"/>
                  </a:lnTo>
                  <a:lnTo>
                    <a:pt x="363" y="255"/>
                  </a:lnTo>
                  <a:lnTo>
                    <a:pt x="362" y="253"/>
                  </a:lnTo>
                  <a:lnTo>
                    <a:pt x="360" y="253"/>
                  </a:lnTo>
                  <a:lnTo>
                    <a:pt x="358" y="253"/>
                  </a:lnTo>
                  <a:lnTo>
                    <a:pt x="358" y="252"/>
                  </a:lnTo>
                  <a:lnTo>
                    <a:pt x="355" y="252"/>
                  </a:lnTo>
                  <a:lnTo>
                    <a:pt x="357" y="252"/>
                  </a:lnTo>
                  <a:lnTo>
                    <a:pt x="355" y="252"/>
                  </a:lnTo>
                  <a:lnTo>
                    <a:pt x="353" y="252"/>
                  </a:lnTo>
                  <a:lnTo>
                    <a:pt x="355" y="250"/>
                  </a:lnTo>
                  <a:lnTo>
                    <a:pt x="355" y="248"/>
                  </a:lnTo>
                  <a:lnTo>
                    <a:pt x="353" y="250"/>
                  </a:lnTo>
                  <a:lnTo>
                    <a:pt x="353" y="248"/>
                  </a:lnTo>
                  <a:lnTo>
                    <a:pt x="357" y="246"/>
                  </a:lnTo>
                  <a:lnTo>
                    <a:pt x="357" y="248"/>
                  </a:lnTo>
                  <a:lnTo>
                    <a:pt x="357" y="246"/>
                  </a:lnTo>
                  <a:lnTo>
                    <a:pt x="358" y="245"/>
                  </a:lnTo>
                  <a:lnTo>
                    <a:pt x="362" y="245"/>
                  </a:lnTo>
                  <a:lnTo>
                    <a:pt x="360" y="246"/>
                  </a:lnTo>
                  <a:lnTo>
                    <a:pt x="362" y="245"/>
                  </a:lnTo>
                  <a:lnTo>
                    <a:pt x="363" y="245"/>
                  </a:lnTo>
                  <a:lnTo>
                    <a:pt x="365" y="243"/>
                  </a:lnTo>
                  <a:lnTo>
                    <a:pt x="367" y="245"/>
                  </a:lnTo>
                  <a:lnTo>
                    <a:pt x="368" y="245"/>
                  </a:lnTo>
                  <a:lnTo>
                    <a:pt x="370" y="246"/>
                  </a:lnTo>
                  <a:lnTo>
                    <a:pt x="368" y="250"/>
                  </a:lnTo>
                  <a:lnTo>
                    <a:pt x="372" y="248"/>
                  </a:lnTo>
                  <a:lnTo>
                    <a:pt x="374" y="248"/>
                  </a:lnTo>
                  <a:lnTo>
                    <a:pt x="374" y="246"/>
                  </a:lnTo>
                  <a:lnTo>
                    <a:pt x="375" y="246"/>
                  </a:lnTo>
                  <a:lnTo>
                    <a:pt x="377" y="245"/>
                  </a:lnTo>
                  <a:lnTo>
                    <a:pt x="379" y="246"/>
                  </a:lnTo>
                  <a:lnTo>
                    <a:pt x="380" y="248"/>
                  </a:lnTo>
                  <a:lnTo>
                    <a:pt x="380" y="250"/>
                  </a:lnTo>
                  <a:lnTo>
                    <a:pt x="380" y="252"/>
                  </a:lnTo>
                  <a:lnTo>
                    <a:pt x="382" y="253"/>
                  </a:lnTo>
                  <a:lnTo>
                    <a:pt x="382" y="255"/>
                  </a:lnTo>
                  <a:lnTo>
                    <a:pt x="382" y="257"/>
                  </a:lnTo>
                  <a:lnTo>
                    <a:pt x="384" y="258"/>
                  </a:lnTo>
                  <a:lnTo>
                    <a:pt x="382" y="258"/>
                  </a:lnTo>
                  <a:lnTo>
                    <a:pt x="384" y="258"/>
                  </a:lnTo>
                  <a:lnTo>
                    <a:pt x="382" y="257"/>
                  </a:lnTo>
                  <a:lnTo>
                    <a:pt x="384" y="253"/>
                  </a:lnTo>
                  <a:lnTo>
                    <a:pt x="384" y="255"/>
                  </a:lnTo>
                  <a:lnTo>
                    <a:pt x="384" y="253"/>
                  </a:lnTo>
                  <a:lnTo>
                    <a:pt x="382" y="252"/>
                  </a:lnTo>
                  <a:lnTo>
                    <a:pt x="382" y="250"/>
                  </a:lnTo>
                  <a:lnTo>
                    <a:pt x="380" y="250"/>
                  </a:lnTo>
                  <a:lnTo>
                    <a:pt x="380" y="248"/>
                  </a:lnTo>
                  <a:lnTo>
                    <a:pt x="379" y="246"/>
                  </a:lnTo>
                  <a:lnTo>
                    <a:pt x="379" y="245"/>
                  </a:lnTo>
                  <a:lnTo>
                    <a:pt x="380" y="243"/>
                  </a:lnTo>
                  <a:lnTo>
                    <a:pt x="382" y="241"/>
                  </a:lnTo>
                  <a:lnTo>
                    <a:pt x="384" y="243"/>
                  </a:lnTo>
                  <a:lnTo>
                    <a:pt x="387" y="245"/>
                  </a:lnTo>
                  <a:lnTo>
                    <a:pt x="389" y="245"/>
                  </a:lnTo>
                  <a:lnTo>
                    <a:pt x="385" y="243"/>
                  </a:lnTo>
                  <a:lnTo>
                    <a:pt x="384" y="243"/>
                  </a:lnTo>
                  <a:lnTo>
                    <a:pt x="384" y="241"/>
                  </a:lnTo>
                  <a:lnTo>
                    <a:pt x="382" y="241"/>
                  </a:lnTo>
                  <a:lnTo>
                    <a:pt x="384" y="240"/>
                  </a:lnTo>
                  <a:lnTo>
                    <a:pt x="387" y="240"/>
                  </a:lnTo>
                  <a:lnTo>
                    <a:pt x="389" y="240"/>
                  </a:lnTo>
                  <a:lnTo>
                    <a:pt x="391" y="240"/>
                  </a:lnTo>
                  <a:lnTo>
                    <a:pt x="394" y="241"/>
                  </a:lnTo>
                  <a:lnTo>
                    <a:pt x="397" y="241"/>
                  </a:lnTo>
                  <a:lnTo>
                    <a:pt x="394" y="241"/>
                  </a:lnTo>
                  <a:lnTo>
                    <a:pt x="391" y="240"/>
                  </a:lnTo>
                  <a:lnTo>
                    <a:pt x="389" y="238"/>
                  </a:lnTo>
                  <a:lnTo>
                    <a:pt x="387" y="238"/>
                  </a:lnTo>
                  <a:lnTo>
                    <a:pt x="385" y="238"/>
                  </a:lnTo>
                  <a:lnTo>
                    <a:pt x="387" y="236"/>
                  </a:lnTo>
                  <a:lnTo>
                    <a:pt x="387" y="235"/>
                  </a:lnTo>
                  <a:lnTo>
                    <a:pt x="387" y="233"/>
                  </a:lnTo>
                  <a:lnTo>
                    <a:pt x="385" y="233"/>
                  </a:lnTo>
                  <a:lnTo>
                    <a:pt x="384" y="235"/>
                  </a:lnTo>
                  <a:lnTo>
                    <a:pt x="382" y="236"/>
                  </a:lnTo>
                  <a:lnTo>
                    <a:pt x="380" y="238"/>
                  </a:lnTo>
                  <a:lnTo>
                    <a:pt x="379" y="240"/>
                  </a:lnTo>
                  <a:lnTo>
                    <a:pt x="375" y="240"/>
                  </a:lnTo>
                  <a:lnTo>
                    <a:pt x="374" y="241"/>
                  </a:lnTo>
                  <a:lnTo>
                    <a:pt x="374" y="240"/>
                  </a:lnTo>
                  <a:lnTo>
                    <a:pt x="375" y="238"/>
                  </a:lnTo>
                  <a:lnTo>
                    <a:pt x="374" y="236"/>
                  </a:lnTo>
                  <a:lnTo>
                    <a:pt x="372" y="236"/>
                  </a:lnTo>
                  <a:lnTo>
                    <a:pt x="370" y="236"/>
                  </a:lnTo>
                  <a:lnTo>
                    <a:pt x="370" y="238"/>
                  </a:lnTo>
                  <a:lnTo>
                    <a:pt x="368" y="240"/>
                  </a:lnTo>
                  <a:lnTo>
                    <a:pt x="367" y="240"/>
                  </a:lnTo>
                  <a:lnTo>
                    <a:pt x="365" y="241"/>
                  </a:lnTo>
                  <a:lnTo>
                    <a:pt x="363" y="241"/>
                  </a:lnTo>
                  <a:lnTo>
                    <a:pt x="362" y="241"/>
                  </a:lnTo>
                  <a:lnTo>
                    <a:pt x="360" y="243"/>
                  </a:lnTo>
                  <a:lnTo>
                    <a:pt x="358" y="243"/>
                  </a:lnTo>
                  <a:lnTo>
                    <a:pt x="360" y="240"/>
                  </a:lnTo>
                  <a:lnTo>
                    <a:pt x="357" y="238"/>
                  </a:lnTo>
                  <a:lnTo>
                    <a:pt x="358" y="236"/>
                  </a:lnTo>
                  <a:lnTo>
                    <a:pt x="357" y="236"/>
                  </a:lnTo>
                  <a:lnTo>
                    <a:pt x="358" y="236"/>
                  </a:lnTo>
                  <a:lnTo>
                    <a:pt x="358" y="235"/>
                  </a:lnTo>
                  <a:lnTo>
                    <a:pt x="362" y="236"/>
                  </a:lnTo>
                  <a:lnTo>
                    <a:pt x="362" y="233"/>
                  </a:lnTo>
                  <a:lnTo>
                    <a:pt x="362" y="235"/>
                  </a:lnTo>
                  <a:lnTo>
                    <a:pt x="360" y="233"/>
                  </a:lnTo>
                  <a:lnTo>
                    <a:pt x="360" y="231"/>
                  </a:lnTo>
                  <a:lnTo>
                    <a:pt x="360" y="229"/>
                  </a:lnTo>
                  <a:lnTo>
                    <a:pt x="362" y="228"/>
                  </a:lnTo>
                  <a:lnTo>
                    <a:pt x="363" y="228"/>
                  </a:lnTo>
                  <a:lnTo>
                    <a:pt x="363" y="226"/>
                  </a:lnTo>
                  <a:lnTo>
                    <a:pt x="365" y="224"/>
                  </a:lnTo>
                  <a:lnTo>
                    <a:pt x="368" y="224"/>
                  </a:lnTo>
                  <a:lnTo>
                    <a:pt x="370" y="223"/>
                  </a:lnTo>
                  <a:lnTo>
                    <a:pt x="372" y="221"/>
                  </a:lnTo>
                  <a:lnTo>
                    <a:pt x="372" y="224"/>
                  </a:lnTo>
                  <a:lnTo>
                    <a:pt x="374" y="224"/>
                  </a:lnTo>
                  <a:lnTo>
                    <a:pt x="374" y="226"/>
                  </a:lnTo>
                  <a:lnTo>
                    <a:pt x="375" y="226"/>
                  </a:lnTo>
                  <a:lnTo>
                    <a:pt x="377" y="226"/>
                  </a:lnTo>
                  <a:lnTo>
                    <a:pt x="374" y="224"/>
                  </a:lnTo>
                  <a:lnTo>
                    <a:pt x="374" y="221"/>
                  </a:lnTo>
                  <a:lnTo>
                    <a:pt x="375" y="221"/>
                  </a:lnTo>
                  <a:lnTo>
                    <a:pt x="377" y="219"/>
                  </a:lnTo>
                  <a:lnTo>
                    <a:pt x="379" y="221"/>
                  </a:lnTo>
                  <a:lnTo>
                    <a:pt x="380" y="219"/>
                  </a:lnTo>
                  <a:lnTo>
                    <a:pt x="382" y="221"/>
                  </a:lnTo>
                  <a:lnTo>
                    <a:pt x="382" y="223"/>
                  </a:lnTo>
                  <a:lnTo>
                    <a:pt x="384" y="223"/>
                  </a:lnTo>
                  <a:lnTo>
                    <a:pt x="385" y="223"/>
                  </a:lnTo>
                  <a:lnTo>
                    <a:pt x="389" y="223"/>
                  </a:lnTo>
                  <a:lnTo>
                    <a:pt x="387" y="223"/>
                  </a:lnTo>
                  <a:lnTo>
                    <a:pt x="385" y="223"/>
                  </a:lnTo>
                  <a:lnTo>
                    <a:pt x="384" y="221"/>
                  </a:lnTo>
                  <a:lnTo>
                    <a:pt x="382" y="219"/>
                  </a:lnTo>
                  <a:lnTo>
                    <a:pt x="379" y="219"/>
                  </a:lnTo>
                  <a:lnTo>
                    <a:pt x="377" y="218"/>
                  </a:lnTo>
                  <a:lnTo>
                    <a:pt x="379" y="216"/>
                  </a:lnTo>
                  <a:lnTo>
                    <a:pt x="380" y="214"/>
                  </a:lnTo>
                  <a:lnTo>
                    <a:pt x="380" y="212"/>
                  </a:lnTo>
                  <a:lnTo>
                    <a:pt x="382" y="212"/>
                  </a:lnTo>
                  <a:lnTo>
                    <a:pt x="384" y="212"/>
                  </a:lnTo>
                  <a:lnTo>
                    <a:pt x="384" y="214"/>
                  </a:lnTo>
                  <a:lnTo>
                    <a:pt x="387" y="216"/>
                  </a:lnTo>
                  <a:lnTo>
                    <a:pt x="389" y="216"/>
                  </a:lnTo>
                  <a:lnTo>
                    <a:pt x="391" y="218"/>
                  </a:lnTo>
                  <a:lnTo>
                    <a:pt x="391" y="214"/>
                  </a:lnTo>
                  <a:lnTo>
                    <a:pt x="387" y="214"/>
                  </a:lnTo>
                  <a:lnTo>
                    <a:pt x="385" y="212"/>
                  </a:lnTo>
                  <a:lnTo>
                    <a:pt x="384" y="212"/>
                  </a:lnTo>
                  <a:lnTo>
                    <a:pt x="382" y="212"/>
                  </a:lnTo>
                  <a:lnTo>
                    <a:pt x="384" y="209"/>
                  </a:lnTo>
                  <a:lnTo>
                    <a:pt x="385" y="207"/>
                  </a:lnTo>
                  <a:lnTo>
                    <a:pt x="387" y="206"/>
                  </a:lnTo>
                  <a:lnTo>
                    <a:pt x="389" y="207"/>
                  </a:lnTo>
                  <a:lnTo>
                    <a:pt x="387" y="207"/>
                  </a:lnTo>
                  <a:lnTo>
                    <a:pt x="389" y="209"/>
                  </a:lnTo>
                  <a:lnTo>
                    <a:pt x="391" y="209"/>
                  </a:lnTo>
                  <a:lnTo>
                    <a:pt x="392" y="209"/>
                  </a:lnTo>
                  <a:lnTo>
                    <a:pt x="391" y="207"/>
                  </a:lnTo>
                  <a:lnTo>
                    <a:pt x="389" y="206"/>
                  </a:lnTo>
                  <a:lnTo>
                    <a:pt x="387" y="206"/>
                  </a:lnTo>
                  <a:lnTo>
                    <a:pt x="387" y="204"/>
                  </a:lnTo>
                  <a:lnTo>
                    <a:pt x="385" y="206"/>
                  </a:lnTo>
                  <a:lnTo>
                    <a:pt x="382" y="206"/>
                  </a:lnTo>
                  <a:lnTo>
                    <a:pt x="380" y="207"/>
                  </a:lnTo>
                  <a:lnTo>
                    <a:pt x="382" y="204"/>
                  </a:lnTo>
                  <a:lnTo>
                    <a:pt x="380" y="204"/>
                  </a:lnTo>
                  <a:lnTo>
                    <a:pt x="384" y="202"/>
                  </a:lnTo>
                  <a:lnTo>
                    <a:pt x="382" y="201"/>
                  </a:lnTo>
                  <a:lnTo>
                    <a:pt x="380" y="201"/>
                  </a:lnTo>
                  <a:lnTo>
                    <a:pt x="382" y="199"/>
                  </a:lnTo>
                  <a:lnTo>
                    <a:pt x="382" y="197"/>
                  </a:lnTo>
                  <a:lnTo>
                    <a:pt x="384" y="197"/>
                  </a:lnTo>
                  <a:lnTo>
                    <a:pt x="384" y="195"/>
                  </a:lnTo>
                  <a:lnTo>
                    <a:pt x="385" y="192"/>
                  </a:lnTo>
                  <a:lnTo>
                    <a:pt x="384" y="192"/>
                  </a:lnTo>
                  <a:lnTo>
                    <a:pt x="385" y="190"/>
                  </a:lnTo>
                  <a:lnTo>
                    <a:pt x="389" y="190"/>
                  </a:lnTo>
                  <a:lnTo>
                    <a:pt x="389" y="189"/>
                  </a:lnTo>
                  <a:lnTo>
                    <a:pt x="391" y="189"/>
                  </a:lnTo>
                  <a:lnTo>
                    <a:pt x="392" y="187"/>
                  </a:lnTo>
                  <a:lnTo>
                    <a:pt x="394" y="187"/>
                  </a:lnTo>
                  <a:lnTo>
                    <a:pt x="394" y="189"/>
                  </a:lnTo>
                  <a:lnTo>
                    <a:pt x="397" y="187"/>
                  </a:lnTo>
                  <a:lnTo>
                    <a:pt x="399" y="189"/>
                  </a:lnTo>
                  <a:lnTo>
                    <a:pt x="397" y="187"/>
                  </a:lnTo>
                  <a:lnTo>
                    <a:pt x="396" y="185"/>
                  </a:lnTo>
                  <a:lnTo>
                    <a:pt x="396" y="187"/>
                  </a:lnTo>
                  <a:lnTo>
                    <a:pt x="394" y="185"/>
                  </a:lnTo>
                  <a:lnTo>
                    <a:pt x="394" y="183"/>
                  </a:lnTo>
                  <a:lnTo>
                    <a:pt x="394" y="182"/>
                  </a:lnTo>
                  <a:lnTo>
                    <a:pt x="392" y="182"/>
                  </a:lnTo>
                  <a:lnTo>
                    <a:pt x="392" y="180"/>
                  </a:lnTo>
                  <a:lnTo>
                    <a:pt x="392" y="177"/>
                  </a:lnTo>
                  <a:lnTo>
                    <a:pt x="392" y="175"/>
                  </a:lnTo>
                  <a:lnTo>
                    <a:pt x="394" y="175"/>
                  </a:lnTo>
                  <a:lnTo>
                    <a:pt x="394" y="173"/>
                  </a:lnTo>
                  <a:lnTo>
                    <a:pt x="394" y="170"/>
                  </a:lnTo>
                  <a:lnTo>
                    <a:pt x="396" y="170"/>
                  </a:lnTo>
                  <a:lnTo>
                    <a:pt x="396" y="168"/>
                  </a:lnTo>
                  <a:lnTo>
                    <a:pt x="396" y="166"/>
                  </a:lnTo>
                  <a:lnTo>
                    <a:pt x="394" y="165"/>
                  </a:lnTo>
                  <a:lnTo>
                    <a:pt x="394" y="163"/>
                  </a:lnTo>
                  <a:lnTo>
                    <a:pt x="396" y="165"/>
                  </a:lnTo>
                  <a:lnTo>
                    <a:pt x="397" y="161"/>
                  </a:lnTo>
                  <a:lnTo>
                    <a:pt x="401" y="163"/>
                  </a:lnTo>
                  <a:lnTo>
                    <a:pt x="401" y="165"/>
                  </a:lnTo>
                  <a:lnTo>
                    <a:pt x="401" y="166"/>
                  </a:lnTo>
                  <a:lnTo>
                    <a:pt x="401" y="168"/>
                  </a:lnTo>
                  <a:lnTo>
                    <a:pt x="399" y="170"/>
                  </a:lnTo>
                  <a:lnTo>
                    <a:pt x="401" y="168"/>
                  </a:lnTo>
                  <a:lnTo>
                    <a:pt x="404" y="170"/>
                  </a:lnTo>
                  <a:lnTo>
                    <a:pt x="404" y="172"/>
                  </a:lnTo>
                  <a:lnTo>
                    <a:pt x="404" y="175"/>
                  </a:lnTo>
                  <a:lnTo>
                    <a:pt x="406" y="178"/>
                  </a:lnTo>
                  <a:lnTo>
                    <a:pt x="406" y="177"/>
                  </a:lnTo>
                  <a:lnTo>
                    <a:pt x="406" y="173"/>
                  </a:lnTo>
                  <a:lnTo>
                    <a:pt x="406" y="172"/>
                  </a:lnTo>
                  <a:lnTo>
                    <a:pt x="406" y="170"/>
                  </a:lnTo>
                  <a:lnTo>
                    <a:pt x="406" y="173"/>
                  </a:lnTo>
                  <a:lnTo>
                    <a:pt x="408" y="175"/>
                  </a:lnTo>
                  <a:lnTo>
                    <a:pt x="411" y="177"/>
                  </a:lnTo>
                  <a:lnTo>
                    <a:pt x="411" y="178"/>
                  </a:lnTo>
                  <a:lnTo>
                    <a:pt x="411" y="175"/>
                  </a:lnTo>
                  <a:lnTo>
                    <a:pt x="408" y="173"/>
                  </a:lnTo>
                  <a:lnTo>
                    <a:pt x="409" y="173"/>
                  </a:lnTo>
                  <a:lnTo>
                    <a:pt x="413" y="172"/>
                  </a:lnTo>
                  <a:lnTo>
                    <a:pt x="414" y="172"/>
                  </a:lnTo>
                  <a:lnTo>
                    <a:pt x="414" y="173"/>
                  </a:lnTo>
                  <a:lnTo>
                    <a:pt x="416" y="175"/>
                  </a:lnTo>
                  <a:lnTo>
                    <a:pt x="418" y="175"/>
                  </a:lnTo>
                  <a:lnTo>
                    <a:pt x="418" y="173"/>
                  </a:lnTo>
                  <a:lnTo>
                    <a:pt x="416" y="172"/>
                  </a:lnTo>
                  <a:lnTo>
                    <a:pt x="413" y="172"/>
                  </a:lnTo>
                  <a:lnTo>
                    <a:pt x="411" y="170"/>
                  </a:lnTo>
                  <a:lnTo>
                    <a:pt x="408" y="170"/>
                  </a:lnTo>
                  <a:lnTo>
                    <a:pt x="408" y="168"/>
                  </a:lnTo>
                  <a:lnTo>
                    <a:pt x="406" y="166"/>
                  </a:lnTo>
                  <a:lnTo>
                    <a:pt x="406" y="165"/>
                  </a:lnTo>
                  <a:lnTo>
                    <a:pt x="402" y="165"/>
                  </a:lnTo>
                  <a:lnTo>
                    <a:pt x="402" y="161"/>
                  </a:lnTo>
                  <a:lnTo>
                    <a:pt x="402" y="160"/>
                  </a:lnTo>
                  <a:lnTo>
                    <a:pt x="404" y="158"/>
                  </a:lnTo>
                  <a:lnTo>
                    <a:pt x="406" y="158"/>
                  </a:lnTo>
                  <a:lnTo>
                    <a:pt x="408" y="158"/>
                  </a:lnTo>
                  <a:lnTo>
                    <a:pt x="409" y="156"/>
                  </a:lnTo>
                  <a:lnTo>
                    <a:pt x="411" y="155"/>
                  </a:lnTo>
                  <a:lnTo>
                    <a:pt x="413" y="158"/>
                  </a:lnTo>
                  <a:lnTo>
                    <a:pt x="411" y="160"/>
                  </a:lnTo>
                  <a:lnTo>
                    <a:pt x="413" y="160"/>
                  </a:lnTo>
                  <a:lnTo>
                    <a:pt x="414" y="163"/>
                  </a:lnTo>
                  <a:lnTo>
                    <a:pt x="416" y="165"/>
                  </a:lnTo>
                  <a:lnTo>
                    <a:pt x="416" y="166"/>
                  </a:lnTo>
                  <a:lnTo>
                    <a:pt x="418" y="168"/>
                  </a:lnTo>
                  <a:lnTo>
                    <a:pt x="419" y="170"/>
                  </a:lnTo>
                  <a:lnTo>
                    <a:pt x="421" y="170"/>
                  </a:lnTo>
                  <a:lnTo>
                    <a:pt x="423" y="170"/>
                  </a:lnTo>
                  <a:lnTo>
                    <a:pt x="425" y="168"/>
                  </a:lnTo>
                  <a:lnTo>
                    <a:pt x="426" y="170"/>
                  </a:lnTo>
                  <a:lnTo>
                    <a:pt x="426" y="172"/>
                  </a:lnTo>
                  <a:lnTo>
                    <a:pt x="425" y="175"/>
                  </a:lnTo>
                  <a:lnTo>
                    <a:pt x="425" y="177"/>
                  </a:lnTo>
                  <a:lnTo>
                    <a:pt x="426" y="178"/>
                  </a:lnTo>
                  <a:lnTo>
                    <a:pt x="428" y="177"/>
                  </a:lnTo>
                  <a:lnTo>
                    <a:pt x="431" y="177"/>
                  </a:lnTo>
                  <a:lnTo>
                    <a:pt x="433" y="178"/>
                  </a:lnTo>
                  <a:lnTo>
                    <a:pt x="431" y="177"/>
                  </a:lnTo>
                  <a:lnTo>
                    <a:pt x="430" y="175"/>
                  </a:lnTo>
                  <a:lnTo>
                    <a:pt x="428" y="173"/>
                  </a:lnTo>
                  <a:lnTo>
                    <a:pt x="428" y="170"/>
                  </a:lnTo>
                  <a:lnTo>
                    <a:pt x="426" y="168"/>
                  </a:lnTo>
                  <a:lnTo>
                    <a:pt x="426" y="166"/>
                  </a:lnTo>
                  <a:lnTo>
                    <a:pt x="425" y="166"/>
                  </a:lnTo>
                  <a:lnTo>
                    <a:pt x="421" y="166"/>
                  </a:lnTo>
                  <a:lnTo>
                    <a:pt x="419" y="168"/>
                  </a:lnTo>
                  <a:lnTo>
                    <a:pt x="419" y="166"/>
                  </a:lnTo>
                  <a:lnTo>
                    <a:pt x="418" y="163"/>
                  </a:lnTo>
                  <a:lnTo>
                    <a:pt x="416" y="161"/>
                  </a:lnTo>
                  <a:lnTo>
                    <a:pt x="416" y="160"/>
                  </a:lnTo>
                  <a:lnTo>
                    <a:pt x="416" y="158"/>
                  </a:lnTo>
                  <a:lnTo>
                    <a:pt x="418" y="155"/>
                  </a:lnTo>
                  <a:lnTo>
                    <a:pt x="419" y="155"/>
                  </a:lnTo>
                  <a:lnTo>
                    <a:pt x="421" y="156"/>
                  </a:lnTo>
                  <a:lnTo>
                    <a:pt x="423" y="156"/>
                  </a:lnTo>
                  <a:lnTo>
                    <a:pt x="421" y="156"/>
                  </a:lnTo>
                  <a:lnTo>
                    <a:pt x="419" y="155"/>
                  </a:lnTo>
                  <a:lnTo>
                    <a:pt x="419" y="153"/>
                  </a:lnTo>
                  <a:lnTo>
                    <a:pt x="419" y="155"/>
                  </a:lnTo>
                  <a:lnTo>
                    <a:pt x="416" y="155"/>
                  </a:lnTo>
                  <a:lnTo>
                    <a:pt x="416" y="156"/>
                  </a:lnTo>
                  <a:lnTo>
                    <a:pt x="414" y="155"/>
                  </a:lnTo>
                  <a:lnTo>
                    <a:pt x="413" y="151"/>
                  </a:lnTo>
                  <a:lnTo>
                    <a:pt x="413" y="149"/>
                  </a:lnTo>
                  <a:lnTo>
                    <a:pt x="414" y="148"/>
                  </a:lnTo>
                  <a:lnTo>
                    <a:pt x="416" y="144"/>
                  </a:lnTo>
                  <a:lnTo>
                    <a:pt x="416" y="143"/>
                  </a:lnTo>
                  <a:lnTo>
                    <a:pt x="416" y="141"/>
                  </a:lnTo>
                  <a:lnTo>
                    <a:pt x="418" y="141"/>
                  </a:lnTo>
                  <a:lnTo>
                    <a:pt x="418" y="139"/>
                  </a:lnTo>
                  <a:lnTo>
                    <a:pt x="421" y="138"/>
                  </a:lnTo>
                  <a:lnTo>
                    <a:pt x="423" y="138"/>
                  </a:lnTo>
                  <a:lnTo>
                    <a:pt x="426" y="136"/>
                  </a:lnTo>
                  <a:lnTo>
                    <a:pt x="428" y="136"/>
                  </a:lnTo>
                  <a:lnTo>
                    <a:pt x="430" y="134"/>
                  </a:lnTo>
                  <a:lnTo>
                    <a:pt x="431" y="134"/>
                  </a:lnTo>
                  <a:lnTo>
                    <a:pt x="431" y="136"/>
                  </a:lnTo>
                  <a:lnTo>
                    <a:pt x="431" y="138"/>
                  </a:lnTo>
                  <a:lnTo>
                    <a:pt x="431" y="139"/>
                  </a:lnTo>
                  <a:lnTo>
                    <a:pt x="431" y="141"/>
                  </a:lnTo>
                  <a:lnTo>
                    <a:pt x="431" y="144"/>
                  </a:lnTo>
                  <a:lnTo>
                    <a:pt x="433" y="146"/>
                  </a:lnTo>
                  <a:lnTo>
                    <a:pt x="433" y="148"/>
                  </a:lnTo>
                  <a:lnTo>
                    <a:pt x="433" y="151"/>
                  </a:lnTo>
                  <a:lnTo>
                    <a:pt x="431" y="153"/>
                  </a:lnTo>
                  <a:lnTo>
                    <a:pt x="431" y="156"/>
                  </a:lnTo>
                  <a:lnTo>
                    <a:pt x="433" y="158"/>
                  </a:lnTo>
                  <a:lnTo>
                    <a:pt x="431" y="160"/>
                  </a:lnTo>
                  <a:lnTo>
                    <a:pt x="431" y="161"/>
                  </a:lnTo>
                  <a:lnTo>
                    <a:pt x="430" y="165"/>
                  </a:lnTo>
                  <a:lnTo>
                    <a:pt x="428" y="165"/>
                  </a:lnTo>
                  <a:lnTo>
                    <a:pt x="430" y="165"/>
                  </a:lnTo>
                  <a:lnTo>
                    <a:pt x="431" y="161"/>
                  </a:lnTo>
                  <a:lnTo>
                    <a:pt x="433" y="163"/>
                  </a:lnTo>
                  <a:lnTo>
                    <a:pt x="433" y="161"/>
                  </a:lnTo>
                  <a:lnTo>
                    <a:pt x="433" y="160"/>
                  </a:lnTo>
                  <a:lnTo>
                    <a:pt x="435" y="158"/>
                  </a:lnTo>
                  <a:lnTo>
                    <a:pt x="433" y="156"/>
                  </a:lnTo>
                  <a:lnTo>
                    <a:pt x="435" y="155"/>
                  </a:lnTo>
                  <a:lnTo>
                    <a:pt x="433" y="153"/>
                  </a:lnTo>
                  <a:lnTo>
                    <a:pt x="435" y="149"/>
                  </a:lnTo>
                  <a:lnTo>
                    <a:pt x="433" y="148"/>
                  </a:lnTo>
                  <a:lnTo>
                    <a:pt x="435" y="148"/>
                  </a:lnTo>
                  <a:lnTo>
                    <a:pt x="436" y="148"/>
                  </a:lnTo>
                  <a:lnTo>
                    <a:pt x="438" y="148"/>
                  </a:lnTo>
                  <a:lnTo>
                    <a:pt x="440" y="149"/>
                  </a:lnTo>
                  <a:lnTo>
                    <a:pt x="443" y="149"/>
                  </a:lnTo>
                  <a:lnTo>
                    <a:pt x="445" y="149"/>
                  </a:lnTo>
                  <a:lnTo>
                    <a:pt x="443" y="148"/>
                  </a:lnTo>
                  <a:lnTo>
                    <a:pt x="440" y="149"/>
                  </a:lnTo>
                  <a:lnTo>
                    <a:pt x="440" y="148"/>
                  </a:lnTo>
                  <a:lnTo>
                    <a:pt x="436" y="148"/>
                  </a:lnTo>
                  <a:lnTo>
                    <a:pt x="435" y="144"/>
                  </a:lnTo>
                  <a:lnTo>
                    <a:pt x="433" y="143"/>
                  </a:lnTo>
                  <a:lnTo>
                    <a:pt x="435" y="141"/>
                  </a:lnTo>
                  <a:lnTo>
                    <a:pt x="435" y="139"/>
                  </a:lnTo>
                  <a:lnTo>
                    <a:pt x="435" y="136"/>
                  </a:lnTo>
                  <a:lnTo>
                    <a:pt x="436" y="134"/>
                  </a:lnTo>
                  <a:lnTo>
                    <a:pt x="436" y="132"/>
                  </a:lnTo>
                  <a:lnTo>
                    <a:pt x="438" y="131"/>
                  </a:lnTo>
                  <a:lnTo>
                    <a:pt x="438" y="132"/>
                  </a:lnTo>
                  <a:lnTo>
                    <a:pt x="438" y="136"/>
                  </a:lnTo>
                  <a:lnTo>
                    <a:pt x="438" y="134"/>
                  </a:lnTo>
                  <a:lnTo>
                    <a:pt x="438" y="132"/>
                  </a:lnTo>
                  <a:lnTo>
                    <a:pt x="438" y="131"/>
                  </a:lnTo>
                  <a:lnTo>
                    <a:pt x="440" y="129"/>
                  </a:lnTo>
                  <a:lnTo>
                    <a:pt x="440" y="126"/>
                  </a:lnTo>
                  <a:lnTo>
                    <a:pt x="440" y="122"/>
                  </a:lnTo>
                  <a:lnTo>
                    <a:pt x="442" y="122"/>
                  </a:lnTo>
                  <a:lnTo>
                    <a:pt x="442" y="126"/>
                  </a:lnTo>
                  <a:lnTo>
                    <a:pt x="443" y="129"/>
                  </a:lnTo>
                  <a:lnTo>
                    <a:pt x="443" y="127"/>
                  </a:lnTo>
                  <a:lnTo>
                    <a:pt x="442" y="126"/>
                  </a:lnTo>
                  <a:lnTo>
                    <a:pt x="442" y="122"/>
                  </a:lnTo>
                  <a:lnTo>
                    <a:pt x="443" y="119"/>
                  </a:lnTo>
                  <a:lnTo>
                    <a:pt x="445" y="121"/>
                  </a:lnTo>
                  <a:lnTo>
                    <a:pt x="445" y="122"/>
                  </a:lnTo>
                  <a:lnTo>
                    <a:pt x="447" y="124"/>
                  </a:lnTo>
                  <a:lnTo>
                    <a:pt x="447" y="126"/>
                  </a:lnTo>
                  <a:lnTo>
                    <a:pt x="447" y="129"/>
                  </a:lnTo>
                  <a:lnTo>
                    <a:pt x="447" y="131"/>
                  </a:lnTo>
                  <a:lnTo>
                    <a:pt x="447" y="132"/>
                  </a:lnTo>
                  <a:lnTo>
                    <a:pt x="447" y="136"/>
                  </a:lnTo>
                  <a:lnTo>
                    <a:pt x="447" y="138"/>
                  </a:lnTo>
                  <a:lnTo>
                    <a:pt x="447" y="139"/>
                  </a:lnTo>
                  <a:lnTo>
                    <a:pt x="447" y="141"/>
                  </a:lnTo>
                  <a:lnTo>
                    <a:pt x="447" y="143"/>
                  </a:lnTo>
                  <a:lnTo>
                    <a:pt x="448" y="144"/>
                  </a:lnTo>
                  <a:lnTo>
                    <a:pt x="448" y="146"/>
                  </a:lnTo>
                  <a:lnTo>
                    <a:pt x="448" y="148"/>
                  </a:lnTo>
                  <a:lnTo>
                    <a:pt x="447" y="149"/>
                  </a:lnTo>
                  <a:lnTo>
                    <a:pt x="447" y="151"/>
                  </a:lnTo>
                  <a:lnTo>
                    <a:pt x="448" y="151"/>
                  </a:lnTo>
                  <a:lnTo>
                    <a:pt x="447" y="153"/>
                  </a:lnTo>
                  <a:lnTo>
                    <a:pt x="447" y="155"/>
                  </a:lnTo>
                  <a:lnTo>
                    <a:pt x="448" y="155"/>
                  </a:lnTo>
                  <a:lnTo>
                    <a:pt x="448" y="156"/>
                  </a:lnTo>
                  <a:lnTo>
                    <a:pt x="447" y="158"/>
                  </a:lnTo>
                  <a:lnTo>
                    <a:pt x="447" y="156"/>
                  </a:lnTo>
                  <a:lnTo>
                    <a:pt x="447" y="158"/>
                  </a:lnTo>
                  <a:lnTo>
                    <a:pt x="447" y="160"/>
                  </a:lnTo>
                  <a:lnTo>
                    <a:pt x="447" y="163"/>
                  </a:lnTo>
                  <a:lnTo>
                    <a:pt x="445" y="163"/>
                  </a:lnTo>
                  <a:lnTo>
                    <a:pt x="443" y="165"/>
                  </a:lnTo>
                  <a:lnTo>
                    <a:pt x="442" y="166"/>
                  </a:lnTo>
                  <a:lnTo>
                    <a:pt x="443" y="166"/>
                  </a:lnTo>
                  <a:lnTo>
                    <a:pt x="442" y="168"/>
                  </a:lnTo>
                  <a:lnTo>
                    <a:pt x="442" y="170"/>
                  </a:lnTo>
                  <a:lnTo>
                    <a:pt x="442" y="172"/>
                  </a:lnTo>
                  <a:lnTo>
                    <a:pt x="442" y="173"/>
                  </a:lnTo>
                  <a:lnTo>
                    <a:pt x="442" y="172"/>
                  </a:lnTo>
                  <a:lnTo>
                    <a:pt x="443" y="172"/>
                  </a:lnTo>
                  <a:lnTo>
                    <a:pt x="443" y="170"/>
                  </a:lnTo>
                  <a:lnTo>
                    <a:pt x="443" y="166"/>
                  </a:lnTo>
                  <a:lnTo>
                    <a:pt x="445" y="166"/>
                  </a:lnTo>
                  <a:lnTo>
                    <a:pt x="445" y="165"/>
                  </a:lnTo>
                  <a:lnTo>
                    <a:pt x="447" y="163"/>
                  </a:lnTo>
                  <a:lnTo>
                    <a:pt x="448" y="163"/>
                  </a:lnTo>
                  <a:lnTo>
                    <a:pt x="450" y="163"/>
                  </a:lnTo>
                  <a:lnTo>
                    <a:pt x="448" y="160"/>
                  </a:lnTo>
                  <a:lnTo>
                    <a:pt x="450" y="158"/>
                  </a:lnTo>
                  <a:lnTo>
                    <a:pt x="450" y="155"/>
                  </a:lnTo>
                  <a:lnTo>
                    <a:pt x="450" y="153"/>
                  </a:lnTo>
                  <a:lnTo>
                    <a:pt x="450" y="149"/>
                  </a:lnTo>
                  <a:lnTo>
                    <a:pt x="450" y="148"/>
                  </a:lnTo>
                  <a:lnTo>
                    <a:pt x="452" y="148"/>
                  </a:lnTo>
                  <a:lnTo>
                    <a:pt x="453" y="148"/>
                  </a:lnTo>
                  <a:lnTo>
                    <a:pt x="455" y="149"/>
                  </a:lnTo>
                  <a:lnTo>
                    <a:pt x="457" y="151"/>
                  </a:lnTo>
                  <a:lnTo>
                    <a:pt x="460" y="151"/>
                  </a:lnTo>
                  <a:lnTo>
                    <a:pt x="462" y="153"/>
                  </a:lnTo>
                  <a:lnTo>
                    <a:pt x="460" y="151"/>
                  </a:lnTo>
                  <a:lnTo>
                    <a:pt x="459" y="151"/>
                  </a:lnTo>
                  <a:lnTo>
                    <a:pt x="457" y="149"/>
                  </a:lnTo>
                  <a:lnTo>
                    <a:pt x="457" y="148"/>
                  </a:lnTo>
                  <a:lnTo>
                    <a:pt x="455" y="146"/>
                  </a:lnTo>
                  <a:lnTo>
                    <a:pt x="452" y="144"/>
                  </a:lnTo>
                  <a:lnTo>
                    <a:pt x="452" y="143"/>
                  </a:lnTo>
                  <a:lnTo>
                    <a:pt x="452" y="141"/>
                  </a:lnTo>
                  <a:lnTo>
                    <a:pt x="453" y="138"/>
                  </a:lnTo>
                  <a:lnTo>
                    <a:pt x="452" y="136"/>
                  </a:lnTo>
                  <a:lnTo>
                    <a:pt x="450" y="134"/>
                  </a:lnTo>
                  <a:lnTo>
                    <a:pt x="452" y="134"/>
                  </a:lnTo>
                  <a:lnTo>
                    <a:pt x="455" y="132"/>
                  </a:lnTo>
                  <a:lnTo>
                    <a:pt x="457" y="131"/>
                  </a:lnTo>
                  <a:lnTo>
                    <a:pt x="459" y="129"/>
                  </a:lnTo>
                  <a:lnTo>
                    <a:pt x="457" y="126"/>
                  </a:lnTo>
                  <a:lnTo>
                    <a:pt x="457" y="124"/>
                  </a:lnTo>
                  <a:lnTo>
                    <a:pt x="459" y="124"/>
                  </a:lnTo>
                  <a:lnTo>
                    <a:pt x="459" y="122"/>
                  </a:lnTo>
                  <a:lnTo>
                    <a:pt x="462" y="121"/>
                  </a:lnTo>
                  <a:lnTo>
                    <a:pt x="464" y="117"/>
                  </a:lnTo>
                  <a:lnTo>
                    <a:pt x="464" y="119"/>
                  </a:lnTo>
                  <a:lnTo>
                    <a:pt x="462" y="121"/>
                  </a:lnTo>
                  <a:lnTo>
                    <a:pt x="462" y="122"/>
                  </a:lnTo>
                  <a:lnTo>
                    <a:pt x="460" y="122"/>
                  </a:lnTo>
                  <a:lnTo>
                    <a:pt x="460" y="126"/>
                  </a:lnTo>
                  <a:lnTo>
                    <a:pt x="459" y="126"/>
                  </a:lnTo>
                  <a:lnTo>
                    <a:pt x="462" y="126"/>
                  </a:lnTo>
                  <a:lnTo>
                    <a:pt x="460" y="129"/>
                  </a:lnTo>
                  <a:lnTo>
                    <a:pt x="462" y="131"/>
                  </a:lnTo>
                  <a:lnTo>
                    <a:pt x="464" y="131"/>
                  </a:lnTo>
                  <a:lnTo>
                    <a:pt x="465" y="131"/>
                  </a:lnTo>
                  <a:lnTo>
                    <a:pt x="464" y="129"/>
                  </a:lnTo>
                  <a:lnTo>
                    <a:pt x="465" y="127"/>
                  </a:lnTo>
                  <a:lnTo>
                    <a:pt x="464" y="124"/>
                  </a:lnTo>
                  <a:lnTo>
                    <a:pt x="465" y="124"/>
                  </a:lnTo>
                  <a:lnTo>
                    <a:pt x="467" y="122"/>
                  </a:lnTo>
                  <a:lnTo>
                    <a:pt x="467" y="124"/>
                  </a:lnTo>
                  <a:lnTo>
                    <a:pt x="467" y="127"/>
                  </a:lnTo>
                  <a:lnTo>
                    <a:pt x="467" y="129"/>
                  </a:lnTo>
                  <a:lnTo>
                    <a:pt x="467" y="127"/>
                  </a:lnTo>
                  <a:lnTo>
                    <a:pt x="469" y="126"/>
                  </a:lnTo>
                  <a:lnTo>
                    <a:pt x="467" y="122"/>
                  </a:lnTo>
                  <a:lnTo>
                    <a:pt x="467" y="121"/>
                  </a:lnTo>
                  <a:lnTo>
                    <a:pt x="470" y="121"/>
                  </a:lnTo>
                  <a:lnTo>
                    <a:pt x="469" y="121"/>
                  </a:lnTo>
                  <a:lnTo>
                    <a:pt x="467" y="119"/>
                  </a:lnTo>
                  <a:lnTo>
                    <a:pt x="467" y="115"/>
                  </a:lnTo>
                  <a:lnTo>
                    <a:pt x="467" y="114"/>
                  </a:lnTo>
                  <a:lnTo>
                    <a:pt x="469" y="112"/>
                  </a:lnTo>
                  <a:lnTo>
                    <a:pt x="472" y="112"/>
                  </a:lnTo>
                  <a:lnTo>
                    <a:pt x="474" y="114"/>
                  </a:lnTo>
                  <a:lnTo>
                    <a:pt x="476" y="115"/>
                  </a:lnTo>
                  <a:lnTo>
                    <a:pt x="476" y="117"/>
                  </a:lnTo>
                  <a:lnTo>
                    <a:pt x="477" y="119"/>
                  </a:lnTo>
                  <a:lnTo>
                    <a:pt x="481" y="121"/>
                  </a:lnTo>
                  <a:lnTo>
                    <a:pt x="482" y="121"/>
                  </a:lnTo>
                  <a:lnTo>
                    <a:pt x="484" y="122"/>
                  </a:lnTo>
                  <a:lnTo>
                    <a:pt x="486" y="122"/>
                  </a:lnTo>
                  <a:lnTo>
                    <a:pt x="484" y="124"/>
                  </a:lnTo>
                  <a:lnTo>
                    <a:pt x="486" y="126"/>
                  </a:lnTo>
                  <a:lnTo>
                    <a:pt x="487" y="127"/>
                  </a:lnTo>
                  <a:lnTo>
                    <a:pt x="489" y="127"/>
                  </a:lnTo>
                  <a:lnTo>
                    <a:pt x="489" y="129"/>
                  </a:lnTo>
                  <a:lnTo>
                    <a:pt x="491" y="129"/>
                  </a:lnTo>
                  <a:lnTo>
                    <a:pt x="489" y="131"/>
                  </a:lnTo>
                  <a:lnTo>
                    <a:pt x="491" y="131"/>
                  </a:lnTo>
                  <a:lnTo>
                    <a:pt x="491" y="129"/>
                  </a:lnTo>
                  <a:lnTo>
                    <a:pt x="493" y="129"/>
                  </a:lnTo>
                  <a:lnTo>
                    <a:pt x="489" y="127"/>
                  </a:lnTo>
                  <a:lnTo>
                    <a:pt x="491" y="127"/>
                  </a:lnTo>
                  <a:lnTo>
                    <a:pt x="489" y="126"/>
                  </a:lnTo>
                  <a:lnTo>
                    <a:pt x="487" y="124"/>
                  </a:lnTo>
                  <a:lnTo>
                    <a:pt x="487" y="126"/>
                  </a:lnTo>
                  <a:lnTo>
                    <a:pt x="486" y="124"/>
                  </a:lnTo>
                  <a:lnTo>
                    <a:pt x="486" y="122"/>
                  </a:lnTo>
                  <a:lnTo>
                    <a:pt x="487" y="122"/>
                  </a:lnTo>
                  <a:lnTo>
                    <a:pt x="489" y="122"/>
                  </a:lnTo>
                  <a:lnTo>
                    <a:pt x="487" y="121"/>
                  </a:lnTo>
                  <a:lnTo>
                    <a:pt x="486" y="121"/>
                  </a:lnTo>
                  <a:lnTo>
                    <a:pt x="484" y="119"/>
                  </a:lnTo>
                  <a:lnTo>
                    <a:pt x="484" y="117"/>
                  </a:lnTo>
                  <a:lnTo>
                    <a:pt x="486" y="115"/>
                  </a:lnTo>
                  <a:lnTo>
                    <a:pt x="484" y="114"/>
                  </a:lnTo>
                  <a:lnTo>
                    <a:pt x="486" y="112"/>
                  </a:lnTo>
                  <a:lnTo>
                    <a:pt x="487" y="112"/>
                  </a:lnTo>
                  <a:lnTo>
                    <a:pt x="486" y="115"/>
                  </a:lnTo>
                  <a:lnTo>
                    <a:pt x="487" y="115"/>
                  </a:lnTo>
                  <a:lnTo>
                    <a:pt x="487" y="114"/>
                  </a:lnTo>
                  <a:lnTo>
                    <a:pt x="487" y="112"/>
                  </a:lnTo>
                  <a:lnTo>
                    <a:pt x="486" y="110"/>
                  </a:lnTo>
                  <a:lnTo>
                    <a:pt x="487" y="109"/>
                  </a:lnTo>
                  <a:lnTo>
                    <a:pt x="486" y="110"/>
                  </a:lnTo>
                  <a:lnTo>
                    <a:pt x="482" y="110"/>
                  </a:lnTo>
                  <a:lnTo>
                    <a:pt x="481" y="109"/>
                  </a:lnTo>
                  <a:lnTo>
                    <a:pt x="482" y="107"/>
                  </a:lnTo>
                  <a:lnTo>
                    <a:pt x="484" y="107"/>
                  </a:lnTo>
                  <a:lnTo>
                    <a:pt x="486" y="105"/>
                  </a:lnTo>
                  <a:lnTo>
                    <a:pt x="486" y="104"/>
                  </a:lnTo>
                  <a:lnTo>
                    <a:pt x="486" y="102"/>
                  </a:lnTo>
                  <a:lnTo>
                    <a:pt x="486" y="104"/>
                  </a:lnTo>
                  <a:lnTo>
                    <a:pt x="484" y="104"/>
                  </a:lnTo>
                  <a:lnTo>
                    <a:pt x="484" y="105"/>
                  </a:lnTo>
                  <a:lnTo>
                    <a:pt x="482" y="107"/>
                  </a:lnTo>
                  <a:lnTo>
                    <a:pt x="481" y="105"/>
                  </a:lnTo>
                  <a:lnTo>
                    <a:pt x="481" y="107"/>
                  </a:lnTo>
                  <a:lnTo>
                    <a:pt x="479" y="109"/>
                  </a:lnTo>
                  <a:lnTo>
                    <a:pt x="477" y="107"/>
                  </a:lnTo>
                  <a:lnTo>
                    <a:pt x="476" y="107"/>
                  </a:lnTo>
                  <a:lnTo>
                    <a:pt x="474" y="105"/>
                  </a:lnTo>
                  <a:lnTo>
                    <a:pt x="474" y="107"/>
                  </a:lnTo>
                  <a:lnTo>
                    <a:pt x="472" y="105"/>
                  </a:lnTo>
                  <a:lnTo>
                    <a:pt x="470" y="105"/>
                  </a:lnTo>
                  <a:lnTo>
                    <a:pt x="470" y="104"/>
                  </a:lnTo>
                  <a:lnTo>
                    <a:pt x="470" y="100"/>
                  </a:lnTo>
                  <a:lnTo>
                    <a:pt x="469" y="102"/>
                  </a:lnTo>
                  <a:lnTo>
                    <a:pt x="467" y="102"/>
                  </a:lnTo>
                  <a:lnTo>
                    <a:pt x="465" y="102"/>
                  </a:lnTo>
                  <a:lnTo>
                    <a:pt x="464" y="98"/>
                  </a:lnTo>
                  <a:lnTo>
                    <a:pt x="464" y="100"/>
                  </a:lnTo>
                  <a:lnTo>
                    <a:pt x="464" y="97"/>
                  </a:lnTo>
                  <a:lnTo>
                    <a:pt x="465" y="95"/>
                  </a:lnTo>
                  <a:lnTo>
                    <a:pt x="467" y="95"/>
                  </a:lnTo>
                  <a:lnTo>
                    <a:pt x="469" y="93"/>
                  </a:lnTo>
                  <a:lnTo>
                    <a:pt x="469" y="95"/>
                  </a:lnTo>
                  <a:lnTo>
                    <a:pt x="469" y="97"/>
                  </a:lnTo>
                  <a:lnTo>
                    <a:pt x="472" y="98"/>
                  </a:lnTo>
                  <a:lnTo>
                    <a:pt x="470" y="97"/>
                  </a:lnTo>
                  <a:lnTo>
                    <a:pt x="470" y="95"/>
                  </a:lnTo>
                  <a:lnTo>
                    <a:pt x="470" y="92"/>
                  </a:lnTo>
                  <a:lnTo>
                    <a:pt x="470" y="90"/>
                  </a:lnTo>
                  <a:lnTo>
                    <a:pt x="472" y="90"/>
                  </a:lnTo>
                  <a:lnTo>
                    <a:pt x="472" y="92"/>
                  </a:lnTo>
                  <a:lnTo>
                    <a:pt x="474" y="93"/>
                  </a:lnTo>
                  <a:lnTo>
                    <a:pt x="477" y="95"/>
                  </a:lnTo>
                  <a:lnTo>
                    <a:pt x="477" y="97"/>
                  </a:lnTo>
                  <a:lnTo>
                    <a:pt x="479" y="98"/>
                  </a:lnTo>
                  <a:lnTo>
                    <a:pt x="481" y="100"/>
                  </a:lnTo>
                  <a:lnTo>
                    <a:pt x="481" y="102"/>
                  </a:lnTo>
                  <a:lnTo>
                    <a:pt x="481" y="98"/>
                  </a:lnTo>
                  <a:lnTo>
                    <a:pt x="479" y="97"/>
                  </a:lnTo>
                  <a:lnTo>
                    <a:pt x="481" y="95"/>
                  </a:lnTo>
                  <a:lnTo>
                    <a:pt x="477" y="93"/>
                  </a:lnTo>
                  <a:lnTo>
                    <a:pt x="479" y="92"/>
                  </a:lnTo>
                  <a:lnTo>
                    <a:pt x="481" y="88"/>
                  </a:lnTo>
                  <a:lnTo>
                    <a:pt x="481" y="87"/>
                  </a:lnTo>
                  <a:lnTo>
                    <a:pt x="482" y="88"/>
                  </a:lnTo>
                  <a:lnTo>
                    <a:pt x="482" y="90"/>
                  </a:lnTo>
                  <a:lnTo>
                    <a:pt x="482" y="92"/>
                  </a:lnTo>
                  <a:lnTo>
                    <a:pt x="482" y="90"/>
                  </a:lnTo>
                  <a:lnTo>
                    <a:pt x="484" y="88"/>
                  </a:lnTo>
                  <a:lnTo>
                    <a:pt x="486" y="92"/>
                  </a:lnTo>
                  <a:lnTo>
                    <a:pt x="486" y="93"/>
                  </a:lnTo>
                  <a:lnTo>
                    <a:pt x="486" y="90"/>
                  </a:lnTo>
                  <a:lnTo>
                    <a:pt x="489" y="88"/>
                  </a:lnTo>
                  <a:lnTo>
                    <a:pt x="491" y="90"/>
                  </a:lnTo>
                  <a:lnTo>
                    <a:pt x="489" y="92"/>
                  </a:lnTo>
                  <a:lnTo>
                    <a:pt x="491" y="93"/>
                  </a:lnTo>
                  <a:lnTo>
                    <a:pt x="489" y="93"/>
                  </a:lnTo>
                  <a:lnTo>
                    <a:pt x="491" y="95"/>
                  </a:lnTo>
                  <a:lnTo>
                    <a:pt x="491" y="98"/>
                  </a:lnTo>
                  <a:lnTo>
                    <a:pt x="489" y="100"/>
                  </a:lnTo>
                  <a:lnTo>
                    <a:pt x="491" y="100"/>
                  </a:lnTo>
                  <a:lnTo>
                    <a:pt x="493" y="100"/>
                  </a:lnTo>
                  <a:lnTo>
                    <a:pt x="494" y="98"/>
                  </a:lnTo>
                  <a:lnTo>
                    <a:pt x="498" y="100"/>
                  </a:lnTo>
                  <a:lnTo>
                    <a:pt x="498" y="98"/>
                  </a:lnTo>
                  <a:lnTo>
                    <a:pt x="496" y="98"/>
                  </a:lnTo>
                  <a:lnTo>
                    <a:pt x="493" y="98"/>
                  </a:lnTo>
                  <a:lnTo>
                    <a:pt x="491" y="98"/>
                  </a:lnTo>
                  <a:lnTo>
                    <a:pt x="493" y="97"/>
                  </a:lnTo>
                  <a:lnTo>
                    <a:pt x="491" y="93"/>
                  </a:lnTo>
                  <a:lnTo>
                    <a:pt x="493" y="93"/>
                  </a:lnTo>
                  <a:lnTo>
                    <a:pt x="493" y="90"/>
                  </a:lnTo>
                  <a:lnTo>
                    <a:pt x="494" y="92"/>
                  </a:lnTo>
                  <a:lnTo>
                    <a:pt x="496" y="92"/>
                  </a:lnTo>
                  <a:lnTo>
                    <a:pt x="496" y="93"/>
                  </a:lnTo>
                  <a:lnTo>
                    <a:pt x="498" y="92"/>
                  </a:lnTo>
                  <a:lnTo>
                    <a:pt x="499" y="92"/>
                  </a:lnTo>
                  <a:lnTo>
                    <a:pt x="498" y="93"/>
                  </a:lnTo>
                  <a:lnTo>
                    <a:pt x="499" y="92"/>
                  </a:lnTo>
                  <a:lnTo>
                    <a:pt x="501" y="92"/>
                  </a:lnTo>
                  <a:lnTo>
                    <a:pt x="503" y="92"/>
                  </a:lnTo>
                  <a:lnTo>
                    <a:pt x="504" y="93"/>
                  </a:lnTo>
                  <a:lnTo>
                    <a:pt x="506" y="92"/>
                  </a:lnTo>
                  <a:lnTo>
                    <a:pt x="508" y="93"/>
                  </a:lnTo>
                  <a:lnTo>
                    <a:pt x="508" y="95"/>
                  </a:lnTo>
                  <a:lnTo>
                    <a:pt x="506" y="95"/>
                  </a:lnTo>
                  <a:lnTo>
                    <a:pt x="506" y="98"/>
                  </a:lnTo>
                  <a:lnTo>
                    <a:pt x="504" y="98"/>
                  </a:lnTo>
                  <a:lnTo>
                    <a:pt x="506" y="98"/>
                  </a:lnTo>
                  <a:lnTo>
                    <a:pt x="504" y="100"/>
                  </a:lnTo>
                  <a:lnTo>
                    <a:pt x="503" y="102"/>
                  </a:lnTo>
                  <a:lnTo>
                    <a:pt x="501" y="102"/>
                  </a:lnTo>
                  <a:lnTo>
                    <a:pt x="499" y="104"/>
                  </a:lnTo>
                  <a:lnTo>
                    <a:pt x="498" y="104"/>
                  </a:lnTo>
                  <a:lnTo>
                    <a:pt x="496" y="104"/>
                  </a:lnTo>
                  <a:lnTo>
                    <a:pt x="494" y="105"/>
                  </a:lnTo>
                  <a:lnTo>
                    <a:pt x="493" y="107"/>
                  </a:lnTo>
                  <a:lnTo>
                    <a:pt x="493" y="109"/>
                  </a:lnTo>
                  <a:lnTo>
                    <a:pt x="494" y="109"/>
                  </a:lnTo>
                  <a:lnTo>
                    <a:pt x="494" y="107"/>
                  </a:lnTo>
                  <a:lnTo>
                    <a:pt x="496" y="105"/>
                  </a:lnTo>
                  <a:lnTo>
                    <a:pt x="498" y="105"/>
                  </a:lnTo>
                  <a:lnTo>
                    <a:pt x="499" y="104"/>
                  </a:lnTo>
                  <a:lnTo>
                    <a:pt x="501" y="104"/>
                  </a:lnTo>
                  <a:lnTo>
                    <a:pt x="503" y="102"/>
                  </a:lnTo>
                  <a:lnTo>
                    <a:pt x="504" y="102"/>
                  </a:lnTo>
                  <a:lnTo>
                    <a:pt x="506" y="100"/>
                  </a:lnTo>
                  <a:lnTo>
                    <a:pt x="506" y="98"/>
                  </a:lnTo>
                  <a:lnTo>
                    <a:pt x="510" y="97"/>
                  </a:lnTo>
                  <a:lnTo>
                    <a:pt x="510" y="98"/>
                  </a:lnTo>
                  <a:lnTo>
                    <a:pt x="510" y="102"/>
                  </a:lnTo>
                  <a:lnTo>
                    <a:pt x="510" y="104"/>
                  </a:lnTo>
                  <a:lnTo>
                    <a:pt x="511" y="105"/>
                  </a:lnTo>
                  <a:lnTo>
                    <a:pt x="513" y="104"/>
                  </a:lnTo>
                  <a:lnTo>
                    <a:pt x="513" y="107"/>
                  </a:lnTo>
                  <a:lnTo>
                    <a:pt x="515" y="109"/>
                  </a:lnTo>
                  <a:lnTo>
                    <a:pt x="513" y="110"/>
                  </a:lnTo>
                  <a:lnTo>
                    <a:pt x="513" y="112"/>
                  </a:lnTo>
                  <a:lnTo>
                    <a:pt x="513" y="110"/>
                  </a:lnTo>
                  <a:lnTo>
                    <a:pt x="515" y="110"/>
                  </a:lnTo>
                  <a:lnTo>
                    <a:pt x="515" y="112"/>
                  </a:lnTo>
                  <a:lnTo>
                    <a:pt x="516" y="109"/>
                  </a:lnTo>
                  <a:lnTo>
                    <a:pt x="518" y="109"/>
                  </a:lnTo>
                  <a:lnTo>
                    <a:pt x="518" y="107"/>
                  </a:lnTo>
                  <a:lnTo>
                    <a:pt x="518" y="105"/>
                  </a:lnTo>
                  <a:lnTo>
                    <a:pt x="520" y="107"/>
                  </a:lnTo>
                  <a:lnTo>
                    <a:pt x="521" y="107"/>
                  </a:lnTo>
                  <a:lnTo>
                    <a:pt x="520" y="107"/>
                  </a:lnTo>
                  <a:lnTo>
                    <a:pt x="521" y="107"/>
                  </a:lnTo>
                  <a:lnTo>
                    <a:pt x="523" y="105"/>
                  </a:lnTo>
                  <a:lnTo>
                    <a:pt x="523" y="102"/>
                  </a:lnTo>
                  <a:lnTo>
                    <a:pt x="520" y="104"/>
                  </a:lnTo>
                  <a:lnTo>
                    <a:pt x="518" y="104"/>
                  </a:lnTo>
                  <a:lnTo>
                    <a:pt x="516" y="102"/>
                  </a:lnTo>
                  <a:lnTo>
                    <a:pt x="515" y="100"/>
                  </a:lnTo>
                  <a:lnTo>
                    <a:pt x="513" y="100"/>
                  </a:lnTo>
                  <a:lnTo>
                    <a:pt x="516" y="98"/>
                  </a:lnTo>
                  <a:lnTo>
                    <a:pt x="518" y="98"/>
                  </a:lnTo>
                  <a:lnTo>
                    <a:pt x="520" y="97"/>
                  </a:lnTo>
                  <a:lnTo>
                    <a:pt x="518" y="95"/>
                  </a:lnTo>
                  <a:lnTo>
                    <a:pt x="515" y="93"/>
                  </a:lnTo>
                  <a:lnTo>
                    <a:pt x="518" y="92"/>
                  </a:lnTo>
                  <a:lnTo>
                    <a:pt x="515" y="92"/>
                  </a:lnTo>
                  <a:lnTo>
                    <a:pt x="513" y="90"/>
                  </a:lnTo>
                  <a:lnTo>
                    <a:pt x="515" y="90"/>
                  </a:lnTo>
                  <a:lnTo>
                    <a:pt x="516" y="88"/>
                  </a:lnTo>
                  <a:lnTo>
                    <a:pt x="518" y="88"/>
                  </a:lnTo>
                  <a:lnTo>
                    <a:pt x="520" y="87"/>
                  </a:lnTo>
                  <a:lnTo>
                    <a:pt x="518" y="87"/>
                  </a:lnTo>
                  <a:lnTo>
                    <a:pt x="515" y="88"/>
                  </a:lnTo>
                  <a:lnTo>
                    <a:pt x="515" y="87"/>
                  </a:lnTo>
                  <a:lnTo>
                    <a:pt x="516" y="85"/>
                  </a:lnTo>
                  <a:lnTo>
                    <a:pt x="518" y="87"/>
                  </a:lnTo>
                  <a:lnTo>
                    <a:pt x="516" y="85"/>
                  </a:lnTo>
                  <a:lnTo>
                    <a:pt x="518" y="85"/>
                  </a:lnTo>
                  <a:lnTo>
                    <a:pt x="520" y="83"/>
                  </a:lnTo>
                  <a:lnTo>
                    <a:pt x="521" y="83"/>
                  </a:lnTo>
                  <a:lnTo>
                    <a:pt x="518" y="83"/>
                  </a:lnTo>
                  <a:lnTo>
                    <a:pt x="520" y="81"/>
                  </a:lnTo>
                  <a:lnTo>
                    <a:pt x="518" y="81"/>
                  </a:lnTo>
                  <a:lnTo>
                    <a:pt x="520" y="78"/>
                  </a:lnTo>
                  <a:lnTo>
                    <a:pt x="520" y="76"/>
                  </a:lnTo>
                  <a:lnTo>
                    <a:pt x="521" y="75"/>
                  </a:lnTo>
                  <a:lnTo>
                    <a:pt x="523" y="71"/>
                  </a:lnTo>
                  <a:lnTo>
                    <a:pt x="525" y="71"/>
                  </a:lnTo>
                  <a:lnTo>
                    <a:pt x="523" y="70"/>
                  </a:lnTo>
                  <a:lnTo>
                    <a:pt x="525" y="66"/>
                  </a:lnTo>
                  <a:lnTo>
                    <a:pt x="528" y="64"/>
                  </a:lnTo>
                  <a:lnTo>
                    <a:pt x="530" y="64"/>
                  </a:lnTo>
                  <a:lnTo>
                    <a:pt x="532" y="66"/>
                  </a:lnTo>
                  <a:lnTo>
                    <a:pt x="535" y="66"/>
                  </a:lnTo>
                  <a:lnTo>
                    <a:pt x="537" y="68"/>
                  </a:lnTo>
                  <a:lnTo>
                    <a:pt x="537" y="66"/>
                  </a:lnTo>
                  <a:lnTo>
                    <a:pt x="535" y="64"/>
                  </a:lnTo>
                  <a:lnTo>
                    <a:pt x="532" y="63"/>
                  </a:lnTo>
                  <a:lnTo>
                    <a:pt x="530" y="63"/>
                  </a:lnTo>
                  <a:lnTo>
                    <a:pt x="532" y="59"/>
                  </a:lnTo>
                  <a:lnTo>
                    <a:pt x="532" y="58"/>
                  </a:lnTo>
                  <a:lnTo>
                    <a:pt x="533" y="58"/>
                  </a:lnTo>
                  <a:lnTo>
                    <a:pt x="532" y="54"/>
                  </a:lnTo>
                  <a:lnTo>
                    <a:pt x="532" y="53"/>
                  </a:lnTo>
                  <a:lnTo>
                    <a:pt x="533" y="53"/>
                  </a:lnTo>
                  <a:lnTo>
                    <a:pt x="533" y="51"/>
                  </a:lnTo>
                  <a:lnTo>
                    <a:pt x="535" y="51"/>
                  </a:lnTo>
                  <a:lnTo>
                    <a:pt x="535" y="49"/>
                  </a:lnTo>
                  <a:lnTo>
                    <a:pt x="535" y="51"/>
                  </a:lnTo>
                  <a:lnTo>
                    <a:pt x="537" y="51"/>
                  </a:lnTo>
                  <a:lnTo>
                    <a:pt x="538" y="51"/>
                  </a:lnTo>
                  <a:lnTo>
                    <a:pt x="540" y="53"/>
                  </a:lnTo>
                  <a:lnTo>
                    <a:pt x="542" y="54"/>
                  </a:lnTo>
                  <a:lnTo>
                    <a:pt x="544" y="53"/>
                  </a:lnTo>
                  <a:lnTo>
                    <a:pt x="542" y="49"/>
                  </a:lnTo>
                  <a:lnTo>
                    <a:pt x="540" y="49"/>
                  </a:lnTo>
                  <a:lnTo>
                    <a:pt x="542" y="49"/>
                  </a:lnTo>
                  <a:lnTo>
                    <a:pt x="540" y="47"/>
                  </a:lnTo>
                  <a:lnTo>
                    <a:pt x="538" y="47"/>
                  </a:lnTo>
                  <a:lnTo>
                    <a:pt x="540" y="47"/>
                  </a:lnTo>
                  <a:lnTo>
                    <a:pt x="538" y="47"/>
                  </a:lnTo>
                  <a:lnTo>
                    <a:pt x="538" y="46"/>
                  </a:lnTo>
                  <a:lnTo>
                    <a:pt x="537" y="46"/>
                  </a:lnTo>
                  <a:lnTo>
                    <a:pt x="533" y="46"/>
                  </a:lnTo>
                  <a:lnTo>
                    <a:pt x="533" y="44"/>
                  </a:lnTo>
                  <a:lnTo>
                    <a:pt x="533" y="46"/>
                  </a:lnTo>
                  <a:lnTo>
                    <a:pt x="530" y="44"/>
                  </a:lnTo>
                  <a:lnTo>
                    <a:pt x="532" y="42"/>
                  </a:lnTo>
                  <a:lnTo>
                    <a:pt x="530" y="39"/>
                  </a:lnTo>
                  <a:lnTo>
                    <a:pt x="532" y="37"/>
                  </a:lnTo>
                  <a:lnTo>
                    <a:pt x="532" y="39"/>
                  </a:lnTo>
                  <a:lnTo>
                    <a:pt x="532" y="37"/>
                  </a:lnTo>
                  <a:lnTo>
                    <a:pt x="533" y="37"/>
                  </a:lnTo>
                  <a:lnTo>
                    <a:pt x="533" y="39"/>
                  </a:lnTo>
                  <a:lnTo>
                    <a:pt x="535" y="39"/>
                  </a:lnTo>
                  <a:lnTo>
                    <a:pt x="535" y="41"/>
                  </a:lnTo>
                  <a:lnTo>
                    <a:pt x="537" y="41"/>
                  </a:lnTo>
                  <a:lnTo>
                    <a:pt x="538" y="42"/>
                  </a:lnTo>
                  <a:lnTo>
                    <a:pt x="540" y="41"/>
                  </a:lnTo>
                  <a:lnTo>
                    <a:pt x="538" y="39"/>
                  </a:lnTo>
                  <a:lnTo>
                    <a:pt x="537" y="36"/>
                  </a:lnTo>
                  <a:lnTo>
                    <a:pt x="540" y="36"/>
                  </a:lnTo>
                  <a:lnTo>
                    <a:pt x="538" y="34"/>
                  </a:lnTo>
                  <a:lnTo>
                    <a:pt x="537" y="34"/>
                  </a:lnTo>
                  <a:lnTo>
                    <a:pt x="537" y="32"/>
                  </a:lnTo>
                  <a:lnTo>
                    <a:pt x="535" y="32"/>
                  </a:lnTo>
                  <a:lnTo>
                    <a:pt x="535" y="30"/>
                  </a:lnTo>
                  <a:lnTo>
                    <a:pt x="538" y="29"/>
                  </a:lnTo>
                  <a:lnTo>
                    <a:pt x="535" y="29"/>
                  </a:lnTo>
                  <a:lnTo>
                    <a:pt x="537" y="27"/>
                  </a:lnTo>
                  <a:lnTo>
                    <a:pt x="538" y="27"/>
                  </a:lnTo>
                  <a:lnTo>
                    <a:pt x="538" y="29"/>
                  </a:lnTo>
                  <a:lnTo>
                    <a:pt x="540" y="27"/>
                  </a:lnTo>
                  <a:lnTo>
                    <a:pt x="540" y="29"/>
                  </a:lnTo>
                  <a:lnTo>
                    <a:pt x="542" y="29"/>
                  </a:lnTo>
                  <a:lnTo>
                    <a:pt x="542" y="30"/>
                  </a:lnTo>
                  <a:lnTo>
                    <a:pt x="544" y="30"/>
                  </a:lnTo>
                  <a:lnTo>
                    <a:pt x="542" y="32"/>
                  </a:lnTo>
                  <a:lnTo>
                    <a:pt x="544" y="30"/>
                  </a:lnTo>
                  <a:lnTo>
                    <a:pt x="545" y="30"/>
                  </a:lnTo>
                  <a:lnTo>
                    <a:pt x="544" y="30"/>
                  </a:lnTo>
                  <a:lnTo>
                    <a:pt x="545" y="27"/>
                  </a:lnTo>
                  <a:lnTo>
                    <a:pt x="547" y="27"/>
                  </a:lnTo>
                  <a:lnTo>
                    <a:pt x="547" y="29"/>
                  </a:lnTo>
                  <a:lnTo>
                    <a:pt x="545" y="32"/>
                  </a:lnTo>
                  <a:lnTo>
                    <a:pt x="545" y="34"/>
                  </a:lnTo>
                  <a:lnTo>
                    <a:pt x="547" y="34"/>
                  </a:lnTo>
                  <a:lnTo>
                    <a:pt x="549" y="34"/>
                  </a:lnTo>
                  <a:lnTo>
                    <a:pt x="547" y="32"/>
                  </a:lnTo>
                  <a:lnTo>
                    <a:pt x="549" y="30"/>
                  </a:lnTo>
                  <a:lnTo>
                    <a:pt x="549" y="29"/>
                  </a:lnTo>
                  <a:lnTo>
                    <a:pt x="550" y="30"/>
                  </a:lnTo>
                  <a:lnTo>
                    <a:pt x="552" y="30"/>
                  </a:lnTo>
                  <a:lnTo>
                    <a:pt x="554" y="32"/>
                  </a:lnTo>
                  <a:lnTo>
                    <a:pt x="554" y="36"/>
                  </a:lnTo>
                  <a:lnTo>
                    <a:pt x="554" y="37"/>
                  </a:lnTo>
                  <a:lnTo>
                    <a:pt x="555" y="36"/>
                  </a:lnTo>
                  <a:lnTo>
                    <a:pt x="557" y="37"/>
                  </a:lnTo>
                  <a:lnTo>
                    <a:pt x="557" y="34"/>
                  </a:lnTo>
                  <a:lnTo>
                    <a:pt x="555" y="32"/>
                  </a:lnTo>
                  <a:lnTo>
                    <a:pt x="557" y="30"/>
                  </a:lnTo>
                  <a:lnTo>
                    <a:pt x="555" y="29"/>
                  </a:lnTo>
                  <a:lnTo>
                    <a:pt x="554" y="27"/>
                  </a:lnTo>
                  <a:lnTo>
                    <a:pt x="554" y="24"/>
                  </a:lnTo>
                  <a:lnTo>
                    <a:pt x="555" y="25"/>
                  </a:lnTo>
                  <a:lnTo>
                    <a:pt x="557" y="25"/>
                  </a:lnTo>
                  <a:lnTo>
                    <a:pt x="559" y="27"/>
                  </a:lnTo>
                  <a:lnTo>
                    <a:pt x="561" y="27"/>
                  </a:lnTo>
                  <a:lnTo>
                    <a:pt x="559" y="29"/>
                  </a:lnTo>
                  <a:lnTo>
                    <a:pt x="559" y="30"/>
                  </a:lnTo>
                  <a:lnTo>
                    <a:pt x="557" y="32"/>
                  </a:lnTo>
                  <a:lnTo>
                    <a:pt x="559" y="32"/>
                  </a:lnTo>
                  <a:lnTo>
                    <a:pt x="559" y="34"/>
                  </a:lnTo>
                  <a:lnTo>
                    <a:pt x="559" y="30"/>
                  </a:lnTo>
                  <a:lnTo>
                    <a:pt x="559" y="32"/>
                  </a:lnTo>
                  <a:lnTo>
                    <a:pt x="561" y="29"/>
                  </a:lnTo>
                  <a:lnTo>
                    <a:pt x="562" y="29"/>
                  </a:lnTo>
                  <a:lnTo>
                    <a:pt x="564" y="27"/>
                  </a:lnTo>
                  <a:lnTo>
                    <a:pt x="564" y="29"/>
                  </a:lnTo>
                  <a:lnTo>
                    <a:pt x="566" y="30"/>
                  </a:lnTo>
                  <a:lnTo>
                    <a:pt x="566" y="29"/>
                  </a:lnTo>
                  <a:lnTo>
                    <a:pt x="567" y="27"/>
                  </a:lnTo>
                  <a:lnTo>
                    <a:pt x="569" y="27"/>
                  </a:lnTo>
                  <a:lnTo>
                    <a:pt x="567" y="30"/>
                  </a:lnTo>
                  <a:lnTo>
                    <a:pt x="569" y="29"/>
                  </a:lnTo>
                  <a:lnTo>
                    <a:pt x="569" y="30"/>
                  </a:lnTo>
                  <a:lnTo>
                    <a:pt x="567" y="32"/>
                  </a:lnTo>
                  <a:lnTo>
                    <a:pt x="567" y="36"/>
                  </a:lnTo>
                  <a:lnTo>
                    <a:pt x="566" y="36"/>
                  </a:lnTo>
                  <a:lnTo>
                    <a:pt x="564" y="37"/>
                  </a:lnTo>
                  <a:lnTo>
                    <a:pt x="564" y="41"/>
                  </a:lnTo>
                  <a:lnTo>
                    <a:pt x="566" y="39"/>
                  </a:lnTo>
                  <a:lnTo>
                    <a:pt x="566" y="41"/>
                  </a:lnTo>
                  <a:lnTo>
                    <a:pt x="564" y="41"/>
                  </a:lnTo>
                  <a:lnTo>
                    <a:pt x="564" y="42"/>
                  </a:lnTo>
                  <a:lnTo>
                    <a:pt x="562" y="42"/>
                  </a:lnTo>
                  <a:lnTo>
                    <a:pt x="562" y="46"/>
                  </a:lnTo>
                  <a:lnTo>
                    <a:pt x="561" y="46"/>
                  </a:lnTo>
                  <a:lnTo>
                    <a:pt x="561" y="47"/>
                  </a:lnTo>
                  <a:lnTo>
                    <a:pt x="559" y="47"/>
                  </a:lnTo>
                  <a:lnTo>
                    <a:pt x="559" y="51"/>
                  </a:lnTo>
                  <a:lnTo>
                    <a:pt x="557" y="53"/>
                  </a:lnTo>
                  <a:lnTo>
                    <a:pt x="557" y="54"/>
                  </a:lnTo>
                  <a:lnTo>
                    <a:pt x="555" y="58"/>
                  </a:lnTo>
                  <a:lnTo>
                    <a:pt x="554" y="59"/>
                  </a:lnTo>
                  <a:lnTo>
                    <a:pt x="555" y="59"/>
                  </a:lnTo>
                  <a:lnTo>
                    <a:pt x="559" y="58"/>
                  </a:lnTo>
                  <a:lnTo>
                    <a:pt x="559" y="59"/>
                  </a:lnTo>
                  <a:lnTo>
                    <a:pt x="555" y="61"/>
                  </a:lnTo>
                  <a:lnTo>
                    <a:pt x="555" y="63"/>
                  </a:lnTo>
                  <a:lnTo>
                    <a:pt x="559" y="61"/>
                  </a:lnTo>
                  <a:lnTo>
                    <a:pt x="559" y="63"/>
                  </a:lnTo>
                  <a:lnTo>
                    <a:pt x="561" y="61"/>
                  </a:lnTo>
                  <a:lnTo>
                    <a:pt x="559" y="63"/>
                  </a:lnTo>
                  <a:lnTo>
                    <a:pt x="559" y="64"/>
                  </a:lnTo>
                  <a:lnTo>
                    <a:pt x="559" y="66"/>
                  </a:lnTo>
                  <a:lnTo>
                    <a:pt x="561" y="66"/>
                  </a:lnTo>
                  <a:lnTo>
                    <a:pt x="561" y="68"/>
                  </a:lnTo>
                  <a:lnTo>
                    <a:pt x="559" y="68"/>
                  </a:lnTo>
                  <a:lnTo>
                    <a:pt x="559" y="66"/>
                  </a:lnTo>
                  <a:lnTo>
                    <a:pt x="557" y="70"/>
                  </a:lnTo>
                  <a:lnTo>
                    <a:pt x="557" y="71"/>
                  </a:lnTo>
                  <a:lnTo>
                    <a:pt x="559" y="70"/>
                  </a:lnTo>
                  <a:lnTo>
                    <a:pt x="557" y="71"/>
                  </a:lnTo>
                  <a:lnTo>
                    <a:pt x="557" y="73"/>
                  </a:lnTo>
                  <a:lnTo>
                    <a:pt x="561" y="73"/>
                  </a:lnTo>
                  <a:lnTo>
                    <a:pt x="561" y="75"/>
                  </a:lnTo>
                  <a:lnTo>
                    <a:pt x="559" y="75"/>
                  </a:lnTo>
                  <a:lnTo>
                    <a:pt x="559" y="78"/>
                  </a:lnTo>
                  <a:lnTo>
                    <a:pt x="557" y="78"/>
                  </a:lnTo>
                  <a:lnTo>
                    <a:pt x="555" y="80"/>
                  </a:lnTo>
                  <a:lnTo>
                    <a:pt x="555" y="83"/>
                  </a:lnTo>
                  <a:lnTo>
                    <a:pt x="557" y="85"/>
                  </a:lnTo>
                  <a:lnTo>
                    <a:pt x="555" y="87"/>
                  </a:lnTo>
                  <a:lnTo>
                    <a:pt x="557" y="88"/>
                  </a:lnTo>
                  <a:lnTo>
                    <a:pt x="557" y="92"/>
                  </a:lnTo>
                  <a:lnTo>
                    <a:pt x="559" y="92"/>
                  </a:lnTo>
                  <a:lnTo>
                    <a:pt x="559" y="93"/>
                  </a:lnTo>
                  <a:lnTo>
                    <a:pt x="561" y="92"/>
                  </a:lnTo>
                  <a:lnTo>
                    <a:pt x="559" y="90"/>
                  </a:lnTo>
                  <a:lnTo>
                    <a:pt x="559" y="88"/>
                  </a:lnTo>
                  <a:lnTo>
                    <a:pt x="559" y="87"/>
                  </a:lnTo>
                  <a:lnTo>
                    <a:pt x="561" y="87"/>
                  </a:lnTo>
                  <a:lnTo>
                    <a:pt x="561" y="85"/>
                  </a:lnTo>
                  <a:lnTo>
                    <a:pt x="561" y="88"/>
                  </a:lnTo>
                  <a:lnTo>
                    <a:pt x="562" y="87"/>
                  </a:lnTo>
                  <a:lnTo>
                    <a:pt x="561" y="88"/>
                  </a:lnTo>
                  <a:lnTo>
                    <a:pt x="562" y="92"/>
                  </a:lnTo>
                  <a:lnTo>
                    <a:pt x="564" y="92"/>
                  </a:lnTo>
                  <a:lnTo>
                    <a:pt x="566" y="90"/>
                  </a:lnTo>
                  <a:lnTo>
                    <a:pt x="566" y="87"/>
                  </a:lnTo>
                  <a:lnTo>
                    <a:pt x="564" y="87"/>
                  </a:lnTo>
                  <a:lnTo>
                    <a:pt x="566" y="85"/>
                  </a:lnTo>
                  <a:lnTo>
                    <a:pt x="566" y="83"/>
                  </a:lnTo>
                  <a:lnTo>
                    <a:pt x="566" y="81"/>
                  </a:lnTo>
                  <a:lnTo>
                    <a:pt x="567" y="78"/>
                  </a:lnTo>
                  <a:lnTo>
                    <a:pt x="567" y="76"/>
                  </a:lnTo>
                  <a:lnTo>
                    <a:pt x="569" y="75"/>
                  </a:lnTo>
                  <a:lnTo>
                    <a:pt x="569" y="71"/>
                  </a:lnTo>
                  <a:lnTo>
                    <a:pt x="567" y="73"/>
                  </a:lnTo>
                  <a:lnTo>
                    <a:pt x="566" y="71"/>
                  </a:lnTo>
                  <a:lnTo>
                    <a:pt x="566" y="70"/>
                  </a:lnTo>
                  <a:lnTo>
                    <a:pt x="566" y="68"/>
                  </a:lnTo>
                  <a:lnTo>
                    <a:pt x="567" y="66"/>
                  </a:lnTo>
                  <a:lnTo>
                    <a:pt x="567" y="64"/>
                  </a:lnTo>
                  <a:lnTo>
                    <a:pt x="569" y="61"/>
                  </a:lnTo>
                  <a:lnTo>
                    <a:pt x="569" y="59"/>
                  </a:lnTo>
                  <a:lnTo>
                    <a:pt x="569" y="58"/>
                  </a:lnTo>
                  <a:lnTo>
                    <a:pt x="571" y="56"/>
                  </a:lnTo>
                  <a:lnTo>
                    <a:pt x="571" y="54"/>
                  </a:lnTo>
                  <a:lnTo>
                    <a:pt x="572" y="51"/>
                  </a:lnTo>
                  <a:lnTo>
                    <a:pt x="574" y="51"/>
                  </a:lnTo>
                  <a:lnTo>
                    <a:pt x="574" y="47"/>
                  </a:lnTo>
                  <a:lnTo>
                    <a:pt x="576" y="47"/>
                  </a:lnTo>
                  <a:lnTo>
                    <a:pt x="574" y="46"/>
                  </a:lnTo>
                  <a:lnTo>
                    <a:pt x="576" y="44"/>
                  </a:lnTo>
                  <a:lnTo>
                    <a:pt x="574" y="42"/>
                  </a:lnTo>
                  <a:lnTo>
                    <a:pt x="576" y="41"/>
                  </a:lnTo>
                  <a:lnTo>
                    <a:pt x="574" y="39"/>
                  </a:lnTo>
                  <a:lnTo>
                    <a:pt x="576" y="39"/>
                  </a:lnTo>
                  <a:lnTo>
                    <a:pt x="576" y="36"/>
                  </a:lnTo>
                  <a:lnTo>
                    <a:pt x="578" y="34"/>
                  </a:lnTo>
                  <a:lnTo>
                    <a:pt x="578" y="32"/>
                  </a:lnTo>
                  <a:lnTo>
                    <a:pt x="579" y="30"/>
                  </a:lnTo>
                  <a:lnTo>
                    <a:pt x="579" y="29"/>
                  </a:lnTo>
                  <a:lnTo>
                    <a:pt x="579" y="27"/>
                  </a:lnTo>
                  <a:lnTo>
                    <a:pt x="581" y="25"/>
                  </a:lnTo>
                  <a:lnTo>
                    <a:pt x="581" y="24"/>
                  </a:lnTo>
                  <a:lnTo>
                    <a:pt x="581" y="22"/>
                  </a:lnTo>
                  <a:lnTo>
                    <a:pt x="583" y="20"/>
                  </a:lnTo>
                  <a:lnTo>
                    <a:pt x="584" y="18"/>
                  </a:lnTo>
                  <a:lnTo>
                    <a:pt x="586" y="18"/>
                  </a:lnTo>
                  <a:lnTo>
                    <a:pt x="588" y="20"/>
                  </a:lnTo>
                  <a:lnTo>
                    <a:pt x="588" y="22"/>
                  </a:lnTo>
                  <a:lnTo>
                    <a:pt x="588" y="24"/>
                  </a:lnTo>
                  <a:lnTo>
                    <a:pt x="588" y="27"/>
                  </a:lnTo>
                  <a:lnTo>
                    <a:pt x="588" y="29"/>
                  </a:lnTo>
                  <a:lnTo>
                    <a:pt x="589" y="27"/>
                  </a:lnTo>
                  <a:lnTo>
                    <a:pt x="589" y="29"/>
                  </a:lnTo>
                  <a:lnTo>
                    <a:pt x="589" y="32"/>
                  </a:lnTo>
                  <a:lnTo>
                    <a:pt x="589" y="34"/>
                  </a:lnTo>
                  <a:lnTo>
                    <a:pt x="588" y="37"/>
                  </a:lnTo>
                  <a:lnTo>
                    <a:pt x="586" y="39"/>
                  </a:lnTo>
                  <a:lnTo>
                    <a:pt x="584" y="41"/>
                  </a:lnTo>
                  <a:lnTo>
                    <a:pt x="583" y="42"/>
                  </a:lnTo>
                  <a:lnTo>
                    <a:pt x="584" y="42"/>
                  </a:lnTo>
                  <a:lnTo>
                    <a:pt x="586" y="41"/>
                  </a:lnTo>
                  <a:lnTo>
                    <a:pt x="589" y="41"/>
                  </a:lnTo>
                  <a:lnTo>
                    <a:pt x="588" y="41"/>
                  </a:lnTo>
                  <a:lnTo>
                    <a:pt x="588" y="39"/>
                  </a:lnTo>
                  <a:lnTo>
                    <a:pt x="588" y="41"/>
                  </a:lnTo>
                  <a:lnTo>
                    <a:pt x="589" y="39"/>
                  </a:lnTo>
                  <a:lnTo>
                    <a:pt x="588" y="41"/>
                  </a:lnTo>
                  <a:lnTo>
                    <a:pt x="589" y="41"/>
                  </a:lnTo>
                  <a:lnTo>
                    <a:pt x="589" y="42"/>
                  </a:lnTo>
                  <a:lnTo>
                    <a:pt x="591" y="44"/>
                  </a:lnTo>
                  <a:lnTo>
                    <a:pt x="591" y="47"/>
                  </a:lnTo>
                  <a:lnTo>
                    <a:pt x="591" y="49"/>
                  </a:lnTo>
                  <a:lnTo>
                    <a:pt x="589" y="51"/>
                  </a:lnTo>
                  <a:lnTo>
                    <a:pt x="591" y="54"/>
                  </a:lnTo>
                  <a:lnTo>
                    <a:pt x="591" y="56"/>
                  </a:lnTo>
                  <a:lnTo>
                    <a:pt x="591" y="58"/>
                  </a:lnTo>
                  <a:lnTo>
                    <a:pt x="591" y="59"/>
                  </a:lnTo>
                  <a:lnTo>
                    <a:pt x="591" y="63"/>
                  </a:lnTo>
                  <a:lnTo>
                    <a:pt x="593" y="64"/>
                  </a:lnTo>
                  <a:lnTo>
                    <a:pt x="593" y="61"/>
                  </a:lnTo>
                  <a:lnTo>
                    <a:pt x="595" y="61"/>
                  </a:lnTo>
                  <a:lnTo>
                    <a:pt x="595" y="59"/>
                  </a:lnTo>
                  <a:lnTo>
                    <a:pt x="593" y="59"/>
                  </a:lnTo>
                  <a:lnTo>
                    <a:pt x="593" y="58"/>
                  </a:lnTo>
                  <a:lnTo>
                    <a:pt x="595" y="58"/>
                  </a:lnTo>
                  <a:lnTo>
                    <a:pt x="596" y="58"/>
                  </a:lnTo>
                  <a:lnTo>
                    <a:pt x="596" y="56"/>
                  </a:lnTo>
                  <a:lnTo>
                    <a:pt x="596" y="54"/>
                  </a:lnTo>
                  <a:lnTo>
                    <a:pt x="596" y="53"/>
                  </a:lnTo>
                  <a:lnTo>
                    <a:pt x="598" y="51"/>
                  </a:lnTo>
                  <a:lnTo>
                    <a:pt x="598" y="53"/>
                  </a:lnTo>
                  <a:lnTo>
                    <a:pt x="600" y="51"/>
                  </a:lnTo>
                  <a:lnTo>
                    <a:pt x="600" y="53"/>
                  </a:lnTo>
                  <a:lnTo>
                    <a:pt x="601" y="53"/>
                  </a:lnTo>
                  <a:lnTo>
                    <a:pt x="603" y="51"/>
                  </a:lnTo>
                  <a:lnTo>
                    <a:pt x="605" y="53"/>
                  </a:lnTo>
                  <a:lnTo>
                    <a:pt x="605" y="51"/>
                  </a:lnTo>
                  <a:lnTo>
                    <a:pt x="603" y="51"/>
                  </a:lnTo>
                  <a:lnTo>
                    <a:pt x="601" y="49"/>
                  </a:lnTo>
                  <a:lnTo>
                    <a:pt x="600" y="47"/>
                  </a:lnTo>
                  <a:lnTo>
                    <a:pt x="601" y="46"/>
                  </a:lnTo>
                  <a:lnTo>
                    <a:pt x="600" y="44"/>
                  </a:lnTo>
                  <a:lnTo>
                    <a:pt x="600" y="41"/>
                  </a:lnTo>
                  <a:lnTo>
                    <a:pt x="601" y="42"/>
                  </a:lnTo>
                  <a:lnTo>
                    <a:pt x="601" y="41"/>
                  </a:lnTo>
                  <a:lnTo>
                    <a:pt x="605" y="42"/>
                  </a:lnTo>
                  <a:lnTo>
                    <a:pt x="606" y="42"/>
                  </a:lnTo>
                  <a:lnTo>
                    <a:pt x="605" y="41"/>
                  </a:lnTo>
                  <a:lnTo>
                    <a:pt x="601" y="39"/>
                  </a:lnTo>
                  <a:lnTo>
                    <a:pt x="601" y="37"/>
                  </a:lnTo>
                  <a:lnTo>
                    <a:pt x="603" y="37"/>
                  </a:lnTo>
                  <a:lnTo>
                    <a:pt x="600" y="36"/>
                  </a:lnTo>
                  <a:lnTo>
                    <a:pt x="603" y="37"/>
                  </a:lnTo>
                  <a:lnTo>
                    <a:pt x="601" y="36"/>
                  </a:lnTo>
                  <a:lnTo>
                    <a:pt x="600" y="36"/>
                  </a:lnTo>
                  <a:lnTo>
                    <a:pt x="600" y="32"/>
                  </a:lnTo>
                  <a:lnTo>
                    <a:pt x="600" y="30"/>
                  </a:lnTo>
                  <a:lnTo>
                    <a:pt x="603" y="30"/>
                  </a:lnTo>
                  <a:lnTo>
                    <a:pt x="605" y="32"/>
                  </a:lnTo>
                  <a:lnTo>
                    <a:pt x="605" y="30"/>
                  </a:lnTo>
                  <a:lnTo>
                    <a:pt x="605" y="29"/>
                  </a:lnTo>
                  <a:lnTo>
                    <a:pt x="603" y="29"/>
                  </a:lnTo>
                  <a:lnTo>
                    <a:pt x="603" y="27"/>
                  </a:lnTo>
                  <a:lnTo>
                    <a:pt x="603" y="24"/>
                  </a:lnTo>
                  <a:lnTo>
                    <a:pt x="605" y="24"/>
                  </a:lnTo>
                  <a:lnTo>
                    <a:pt x="608" y="24"/>
                  </a:lnTo>
                  <a:lnTo>
                    <a:pt x="608" y="25"/>
                  </a:lnTo>
                  <a:lnTo>
                    <a:pt x="608" y="24"/>
                  </a:lnTo>
                  <a:lnTo>
                    <a:pt x="610" y="24"/>
                  </a:lnTo>
                  <a:lnTo>
                    <a:pt x="613" y="24"/>
                  </a:lnTo>
                  <a:lnTo>
                    <a:pt x="612" y="24"/>
                  </a:lnTo>
                  <a:lnTo>
                    <a:pt x="610" y="24"/>
                  </a:lnTo>
                  <a:lnTo>
                    <a:pt x="608" y="24"/>
                  </a:lnTo>
                  <a:lnTo>
                    <a:pt x="606" y="22"/>
                  </a:lnTo>
                  <a:lnTo>
                    <a:pt x="608" y="20"/>
                  </a:lnTo>
                  <a:lnTo>
                    <a:pt x="606" y="20"/>
                  </a:lnTo>
                  <a:lnTo>
                    <a:pt x="606" y="18"/>
                  </a:lnTo>
                  <a:lnTo>
                    <a:pt x="603" y="20"/>
                  </a:lnTo>
                  <a:lnTo>
                    <a:pt x="605" y="18"/>
                  </a:lnTo>
                  <a:lnTo>
                    <a:pt x="603" y="17"/>
                  </a:lnTo>
                  <a:lnTo>
                    <a:pt x="603" y="18"/>
                  </a:lnTo>
                  <a:lnTo>
                    <a:pt x="601" y="20"/>
                  </a:lnTo>
                  <a:lnTo>
                    <a:pt x="600" y="18"/>
                  </a:lnTo>
                  <a:lnTo>
                    <a:pt x="598" y="20"/>
                  </a:lnTo>
                  <a:lnTo>
                    <a:pt x="596" y="18"/>
                  </a:lnTo>
                  <a:lnTo>
                    <a:pt x="596" y="17"/>
                  </a:lnTo>
                  <a:lnTo>
                    <a:pt x="596" y="13"/>
                  </a:lnTo>
                  <a:lnTo>
                    <a:pt x="598" y="15"/>
                  </a:lnTo>
                  <a:lnTo>
                    <a:pt x="598" y="13"/>
                  </a:lnTo>
                  <a:lnTo>
                    <a:pt x="598" y="15"/>
                  </a:lnTo>
                  <a:lnTo>
                    <a:pt x="600" y="15"/>
                  </a:lnTo>
                  <a:lnTo>
                    <a:pt x="601" y="15"/>
                  </a:lnTo>
                  <a:lnTo>
                    <a:pt x="600" y="13"/>
                  </a:lnTo>
                  <a:lnTo>
                    <a:pt x="600" y="12"/>
                  </a:lnTo>
                  <a:lnTo>
                    <a:pt x="598" y="12"/>
                  </a:lnTo>
                  <a:lnTo>
                    <a:pt x="598" y="8"/>
                  </a:lnTo>
                  <a:lnTo>
                    <a:pt x="600" y="10"/>
                  </a:lnTo>
                  <a:lnTo>
                    <a:pt x="601" y="10"/>
                  </a:lnTo>
                  <a:lnTo>
                    <a:pt x="603" y="10"/>
                  </a:lnTo>
                  <a:lnTo>
                    <a:pt x="605" y="10"/>
                  </a:lnTo>
                  <a:lnTo>
                    <a:pt x="605" y="12"/>
                  </a:lnTo>
                  <a:lnTo>
                    <a:pt x="606" y="13"/>
                  </a:lnTo>
                  <a:lnTo>
                    <a:pt x="605" y="13"/>
                  </a:lnTo>
                  <a:lnTo>
                    <a:pt x="606" y="13"/>
                  </a:lnTo>
                  <a:lnTo>
                    <a:pt x="606" y="10"/>
                  </a:lnTo>
                  <a:lnTo>
                    <a:pt x="603" y="8"/>
                  </a:lnTo>
                  <a:lnTo>
                    <a:pt x="603" y="5"/>
                  </a:lnTo>
                  <a:lnTo>
                    <a:pt x="605" y="3"/>
                  </a:lnTo>
                  <a:lnTo>
                    <a:pt x="606" y="3"/>
                  </a:lnTo>
                  <a:lnTo>
                    <a:pt x="606" y="0"/>
                  </a:lnTo>
                  <a:lnTo>
                    <a:pt x="608" y="1"/>
                  </a:lnTo>
                  <a:lnTo>
                    <a:pt x="608" y="3"/>
                  </a:lnTo>
                  <a:lnTo>
                    <a:pt x="608" y="5"/>
                  </a:lnTo>
                  <a:lnTo>
                    <a:pt x="608" y="7"/>
                  </a:lnTo>
                  <a:lnTo>
                    <a:pt x="610" y="7"/>
                  </a:lnTo>
                  <a:lnTo>
                    <a:pt x="610" y="3"/>
                  </a:lnTo>
                  <a:lnTo>
                    <a:pt x="610" y="7"/>
                  </a:lnTo>
                  <a:lnTo>
                    <a:pt x="612" y="5"/>
                  </a:lnTo>
                  <a:lnTo>
                    <a:pt x="612" y="7"/>
                  </a:lnTo>
                  <a:lnTo>
                    <a:pt x="612" y="5"/>
                  </a:lnTo>
                  <a:lnTo>
                    <a:pt x="613" y="7"/>
                  </a:lnTo>
                  <a:lnTo>
                    <a:pt x="613" y="3"/>
                  </a:lnTo>
                  <a:lnTo>
                    <a:pt x="613" y="1"/>
                  </a:lnTo>
                  <a:lnTo>
                    <a:pt x="615" y="3"/>
                  </a:lnTo>
                  <a:lnTo>
                    <a:pt x="617" y="1"/>
                  </a:lnTo>
                  <a:lnTo>
                    <a:pt x="617" y="5"/>
                  </a:lnTo>
                  <a:lnTo>
                    <a:pt x="617" y="3"/>
                  </a:lnTo>
                  <a:lnTo>
                    <a:pt x="618" y="1"/>
                  </a:lnTo>
                  <a:lnTo>
                    <a:pt x="618" y="0"/>
                  </a:lnTo>
                  <a:lnTo>
                    <a:pt x="620" y="0"/>
                  </a:lnTo>
                  <a:lnTo>
                    <a:pt x="622" y="3"/>
                  </a:lnTo>
                  <a:lnTo>
                    <a:pt x="620" y="5"/>
                  </a:lnTo>
                  <a:lnTo>
                    <a:pt x="620" y="8"/>
                  </a:lnTo>
                  <a:lnTo>
                    <a:pt x="622" y="7"/>
                  </a:lnTo>
                  <a:lnTo>
                    <a:pt x="622" y="8"/>
                  </a:lnTo>
                  <a:lnTo>
                    <a:pt x="622" y="10"/>
                  </a:lnTo>
                  <a:lnTo>
                    <a:pt x="622" y="8"/>
                  </a:lnTo>
                  <a:lnTo>
                    <a:pt x="623" y="8"/>
                  </a:lnTo>
                  <a:lnTo>
                    <a:pt x="623" y="5"/>
                  </a:lnTo>
                  <a:lnTo>
                    <a:pt x="623" y="7"/>
                  </a:lnTo>
                  <a:lnTo>
                    <a:pt x="625" y="5"/>
                  </a:lnTo>
                  <a:lnTo>
                    <a:pt x="629" y="5"/>
                  </a:lnTo>
                  <a:lnTo>
                    <a:pt x="630" y="7"/>
                  </a:lnTo>
                  <a:lnTo>
                    <a:pt x="630" y="10"/>
                  </a:lnTo>
                  <a:lnTo>
                    <a:pt x="629" y="10"/>
                  </a:lnTo>
                  <a:lnTo>
                    <a:pt x="630" y="12"/>
                  </a:lnTo>
                  <a:lnTo>
                    <a:pt x="629" y="12"/>
                  </a:lnTo>
                  <a:lnTo>
                    <a:pt x="629" y="13"/>
                  </a:lnTo>
                  <a:lnTo>
                    <a:pt x="627" y="13"/>
                  </a:lnTo>
                  <a:lnTo>
                    <a:pt x="629" y="13"/>
                  </a:lnTo>
                  <a:lnTo>
                    <a:pt x="629" y="17"/>
                  </a:lnTo>
                  <a:lnTo>
                    <a:pt x="627" y="17"/>
                  </a:lnTo>
                  <a:lnTo>
                    <a:pt x="629" y="17"/>
                  </a:lnTo>
                  <a:lnTo>
                    <a:pt x="627" y="18"/>
                  </a:lnTo>
                  <a:lnTo>
                    <a:pt x="623" y="18"/>
                  </a:lnTo>
                  <a:lnTo>
                    <a:pt x="627" y="20"/>
                  </a:lnTo>
                  <a:lnTo>
                    <a:pt x="625" y="22"/>
                  </a:lnTo>
                  <a:lnTo>
                    <a:pt x="622" y="22"/>
                  </a:lnTo>
                  <a:lnTo>
                    <a:pt x="620" y="22"/>
                  </a:lnTo>
                  <a:lnTo>
                    <a:pt x="620" y="20"/>
                  </a:lnTo>
                  <a:lnTo>
                    <a:pt x="618" y="24"/>
                  </a:lnTo>
                  <a:lnTo>
                    <a:pt x="617" y="22"/>
                  </a:lnTo>
                  <a:lnTo>
                    <a:pt x="615" y="24"/>
                  </a:lnTo>
                  <a:lnTo>
                    <a:pt x="613" y="24"/>
                  </a:lnTo>
                  <a:lnTo>
                    <a:pt x="617" y="25"/>
                  </a:lnTo>
                  <a:lnTo>
                    <a:pt x="615" y="27"/>
                  </a:lnTo>
                  <a:lnTo>
                    <a:pt x="617" y="25"/>
                  </a:lnTo>
                  <a:lnTo>
                    <a:pt x="618" y="25"/>
                  </a:lnTo>
                  <a:lnTo>
                    <a:pt x="622" y="25"/>
                  </a:lnTo>
                  <a:lnTo>
                    <a:pt x="622" y="27"/>
                  </a:lnTo>
                  <a:lnTo>
                    <a:pt x="622" y="25"/>
                  </a:lnTo>
                  <a:lnTo>
                    <a:pt x="625" y="25"/>
                  </a:lnTo>
                  <a:lnTo>
                    <a:pt x="623" y="27"/>
                  </a:lnTo>
                  <a:lnTo>
                    <a:pt x="622" y="30"/>
                  </a:lnTo>
                  <a:lnTo>
                    <a:pt x="620" y="30"/>
                  </a:lnTo>
                  <a:lnTo>
                    <a:pt x="618" y="32"/>
                  </a:lnTo>
                  <a:lnTo>
                    <a:pt x="620" y="34"/>
                  </a:lnTo>
                  <a:lnTo>
                    <a:pt x="618" y="36"/>
                  </a:lnTo>
                  <a:lnTo>
                    <a:pt x="617" y="36"/>
                  </a:lnTo>
                  <a:lnTo>
                    <a:pt x="615" y="37"/>
                  </a:lnTo>
                  <a:lnTo>
                    <a:pt x="617" y="37"/>
                  </a:lnTo>
                  <a:lnTo>
                    <a:pt x="618" y="36"/>
                  </a:lnTo>
                  <a:lnTo>
                    <a:pt x="620" y="34"/>
                  </a:lnTo>
                  <a:lnTo>
                    <a:pt x="622" y="34"/>
                  </a:lnTo>
                  <a:lnTo>
                    <a:pt x="623" y="32"/>
                  </a:lnTo>
                  <a:lnTo>
                    <a:pt x="625" y="30"/>
                  </a:lnTo>
                  <a:lnTo>
                    <a:pt x="627" y="27"/>
                  </a:lnTo>
                  <a:lnTo>
                    <a:pt x="629" y="29"/>
                  </a:lnTo>
                  <a:lnTo>
                    <a:pt x="630" y="30"/>
                  </a:lnTo>
                  <a:lnTo>
                    <a:pt x="629" y="32"/>
                  </a:lnTo>
                  <a:lnTo>
                    <a:pt x="629" y="36"/>
                  </a:lnTo>
                  <a:lnTo>
                    <a:pt x="629" y="37"/>
                  </a:lnTo>
                  <a:lnTo>
                    <a:pt x="627" y="39"/>
                  </a:lnTo>
                  <a:lnTo>
                    <a:pt x="625" y="41"/>
                  </a:lnTo>
                  <a:lnTo>
                    <a:pt x="625" y="42"/>
                  </a:lnTo>
                  <a:lnTo>
                    <a:pt x="623" y="44"/>
                  </a:lnTo>
                  <a:lnTo>
                    <a:pt x="622" y="44"/>
                  </a:lnTo>
                  <a:lnTo>
                    <a:pt x="622" y="46"/>
                  </a:lnTo>
                  <a:lnTo>
                    <a:pt x="622" y="49"/>
                  </a:lnTo>
                  <a:lnTo>
                    <a:pt x="623" y="49"/>
                  </a:lnTo>
                  <a:lnTo>
                    <a:pt x="623" y="47"/>
                  </a:lnTo>
                  <a:lnTo>
                    <a:pt x="623" y="46"/>
                  </a:lnTo>
                  <a:lnTo>
                    <a:pt x="623" y="44"/>
                  </a:lnTo>
                  <a:lnTo>
                    <a:pt x="625" y="44"/>
                  </a:lnTo>
                  <a:lnTo>
                    <a:pt x="623" y="46"/>
                  </a:lnTo>
                  <a:lnTo>
                    <a:pt x="623" y="47"/>
                  </a:lnTo>
                  <a:lnTo>
                    <a:pt x="625" y="44"/>
                  </a:lnTo>
                  <a:lnTo>
                    <a:pt x="625" y="46"/>
                  </a:lnTo>
                  <a:lnTo>
                    <a:pt x="627" y="44"/>
                  </a:lnTo>
                  <a:lnTo>
                    <a:pt x="629" y="42"/>
                  </a:lnTo>
                  <a:lnTo>
                    <a:pt x="630" y="42"/>
                  </a:lnTo>
                  <a:lnTo>
                    <a:pt x="629" y="44"/>
                  </a:lnTo>
                  <a:lnTo>
                    <a:pt x="629" y="46"/>
                  </a:lnTo>
                  <a:lnTo>
                    <a:pt x="627" y="47"/>
                  </a:lnTo>
                  <a:lnTo>
                    <a:pt x="629" y="49"/>
                  </a:lnTo>
                  <a:lnTo>
                    <a:pt x="629" y="47"/>
                  </a:lnTo>
                  <a:lnTo>
                    <a:pt x="629" y="46"/>
                  </a:lnTo>
                  <a:lnTo>
                    <a:pt x="630" y="44"/>
                  </a:lnTo>
                  <a:lnTo>
                    <a:pt x="630" y="42"/>
                  </a:lnTo>
                  <a:lnTo>
                    <a:pt x="632" y="42"/>
                  </a:lnTo>
                  <a:lnTo>
                    <a:pt x="634" y="41"/>
                  </a:lnTo>
                  <a:lnTo>
                    <a:pt x="634" y="42"/>
                  </a:lnTo>
                  <a:lnTo>
                    <a:pt x="634" y="44"/>
                  </a:lnTo>
                  <a:lnTo>
                    <a:pt x="632" y="46"/>
                  </a:lnTo>
                  <a:lnTo>
                    <a:pt x="634" y="47"/>
                  </a:lnTo>
                  <a:lnTo>
                    <a:pt x="632" y="49"/>
                  </a:lnTo>
                  <a:lnTo>
                    <a:pt x="634" y="49"/>
                  </a:lnTo>
                  <a:lnTo>
                    <a:pt x="634" y="46"/>
                  </a:lnTo>
                  <a:lnTo>
                    <a:pt x="634" y="44"/>
                  </a:lnTo>
                  <a:lnTo>
                    <a:pt x="635" y="42"/>
                  </a:lnTo>
                  <a:lnTo>
                    <a:pt x="635" y="41"/>
                  </a:lnTo>
                  <a:lnTo>
                    <a:pt x="637" y="42"/>
                  </a:lnTo>
                  <a:lnTo>
                    <a:pt x="637" y="44"/>
                  </a:lnTo>
                  <a:lnTo>
                    <a:pt x="639" y="44"/>
                  </a:lnTo>
                  <a:lnTo>
                    <a:pt x="637" y="42"/>
                  </a:lnTo>
                  <a:lnTo>
                    <a:pt x="639" y="39"/>
                  </a:lnTo>
                  <a:lnTo>
                    <a:pt x="637" y="41"/>
                  </a:lnTo>
                  <a:lnTo>
                    <a:pt x="634" y="39"/>
                  </a:lnTo>
                  <a:lnTo>
                    <a:pt x="634" y="37"/>
                  </a:lnTo>
                  <a:lnTo>
                    <a:pt x="634" y="36"/>
                  </a:lnTo>
                  <a:lnTo>
                    <a:pt x="635" y="34"/>
                  </a:lnTo>
                  <a:lnTo>
                    <a:pt x="634" y="32"/>
                  </a:lnTo>
                  <a:lnTo>
                    <a:pt x="635" y="29"/>
                  </a:lnTo>
                  <a:lnTo>
                    <a:pt x="634" y="27"/>
                  </a:lnTo>
                  <a:lnTo>
                    <a:pt x="637" y="27"/>
                  </a:lnTo>
                  <a:lnTo>
                    <a:pt x="635" y="27"/>
                  </a:lnTo>
                  <a:lnTo>
                    <a:pt x="634" y="24"/>
                  </a:lnTo>
                  <a:lnTo>
                    <a:pt x="634" y="22"/>
                  </a:lnTo>
                  <a:lnTo>
                    <a:pt x="635" y="20"/>
                  </a:lnTo>
                  <a:lnTo>
                    <a:pt x="635" y="17"/>
                  </a:lnTo>
                  <a:lnTo>
                    <a:pt x="637" y="15"/>
                  </a:lnTo>
                  <a:lnTo>
                    <a:pt x="637" y="13"/>
                  </a:lnTo>
                  <a:lnTo>
                    <a:pt x="639" y="12"/>
                  </a:lnTo>
                  <a:lnTo>
                    <a:pt x="640" y="10"/>
                  </a:lnTo>
                  <a:lnTo>
                    <a:pt x="642" y="12"/>
                  </a:lnTo>
                  <a:lnTo>
                    <a:pt x="644" y="10"/>
                  </a:lnTo>
                  <a:lnTo>
                    <a:pt x="646" y="12"/>
                  </a:lnTo>
                  <a:lnTo>
                    <a:pt x="647" y="10"/>
                  </a:lnTo>
                  <a:lnTo>
                    <a:pt x="649" y="12"/>
                  </a:lnTo>
                  <a:lnTo>
                    <a:pt x="649" y="15"/>
                  </a:lnTo>
                  <a:lnTo>
                    <a:pt x="651" y="15"/>
                  </a:lnTo>
                  <a:lnTo>
                    <a:pt x="652" y="15"/>
                  </a:lnTo>
                  <a:lnTo>
                    <a:pt x="652" y="17"/>
                  </a:lnTo>
                  <a:lnTo>
                    <a:pt x="651" y="18"/>
                  </a:lnTo>
                  <a:lnTo>
                    <a:pt x="651" y="20"/>
                  </a:lnTo>
                  <a:lnTo>
                    <a:pt x="652" y="18"/>
                  </a:lnTo>
                  <a:lnTo>
                    <a:pt x="654" y="18"/>
                  </a:lnTo>
                  <a:lnTo>
                    <a:pt x="652" y="20"/>
                  </a:lnTo>
                  <a:lnTo>
                    <a:pt x="652" y="22"/>
                  </a:lnTo>
                  <a:lnTo>
                    <a:pt x="654" y="20"/>
                  </a:lnTo>
                  <a:lnTo>
                    <a:pt x="654" y="22"/>
                  </a:lnTo>
                  <a:lnTo>
                    <a:pt x="652" y="24"/>
                  </a:lnTo>
                  <a:lnTo>
                    <a:pt x="654" y="24"/>
                  </a:lnTo>
                  <a:lnTo>
                    <a:pt x="652" y="24"/>
                  </a:lnTo>
                  <a:lnTo>
                    <a:pt x="652" y="25"/>
                  </a:lnTo>
                  <a:lnTo>
                    <a:pt x="654" y="24"/>
                  </a:lnTo>
                  <a:lnTo>
                    <a:pt x="654" y="22"/>
                  </a:lnTo>
                  <a:lnTo>
                    <a:pt x="654" y="20"/>
                  </a:lnTo>
                  <a:lnTo>
                    <a:pt x="656" y="22"/>
                  </a:lnTo>
                  <a:lnTo>
                    <a:pt x="656" y="20"/>
                  </a:lnTo>
                  <a:lnTo>
                    <a:pt x="659" y="18"/>
                  </a:lnTo>
                  <a:lnTo>
                    <a:pt x="661" y="18"/>
                  </a:lnTo>
                  <a:lnTo>
                    <a:pt x="661" y="17"/>
                  </a:lnTo>
                  <a:lnTo>
                    <a:pt x="663" y="15"/>
                  </a:lnTo>
                  <a:lnTo>
                    <a:pt x="664" y="18"/>
                  </a:lnTo>
                  <a:lnTo>
                    <a:pt x="664" y="22"/>
                  </a:lnTo>
                  <a:lnTo>
                    <a:pt x="663" y="24"/>
                  </a:lnTo>
                  <a:lnTo>
                    <a:pt x="663" y="25"/>
                  </a:lnTo>
                  <a:lnTo>
                    <a:pt x="664" y="25"/>
                  </a:lnTo>
                  <a:lnTo>
                    <a:pt x="664" y="24"/>
                  </a:lnTo>
                  <a:lnTo>
                    <a:pt x="666" y="22"/>
                  </a:lnTo>
                  <a:lnTo>
                    <a:pt x="668" y="18"/>
                  </a:lnTo>
                  <a:lnTo>
                    <a:pt x="668" y="17"/>
                  </a:lnTo>
                  <a:lnTo>
                    <a:pt x="669" y="15"/>
                  </a:lnTo>
                  <a:lnTo>
                    <a:pt x="671" y="15"/>
                  </a:lnTo>
                  <a:lnTo>
                    <a:pt x="671" y="17"/>
                  </a:lnTo>
                  <a:lnTo>
                    <a:pt x="674" y="17"/>
                  </a:lnTo>
                  <a:lnTo>
                    <a:pt x="673" y="20"/>
                  </a:lnTo>
                  <a:lnTo>
                    <a:pt x="674" y="18"/>
                  </a:lnTo>
                  <a:lnTo>
                    <a:pt x="676" y="18"/>
                  </a:lnTo>
                  <a:lnTo>
                    <a:pt x="680" y="20"/>
                  </a:lnTo>
                  <a:lnTo>
                    <a:pt x="680" y="24"/>
                  </a:lnTo>
                  <a:lnTo>
                    <a:pt x="678" y="24"/>
                  </a:lnTo>
                  <a:lnTo>
                    <a:pt x="678" y="25"/>
                  </a:lnTo>
                  <a:lnTo>
                    <a:pt x="674" y="27"/>
                  </a:lnTo>
                  <a:lnTo>
                    <a:pt x="676" y="27"/>
                  </a:lnTo>
                  <a:lnTo>
                    <a:pt x="674" y="29"/>
                  </a:lnTo>
                  <a:lnTo>
                    <a:pt x="673" y="29"/>
                  </a:lnTo>
                  <a:lnTo>
                    <a:pt x="676" y="29"/>
                  </a:lnTo>
                  <a:lnTo>
                    <a:pt x="676" y="30"/>
                  </a:lnTo>
                  <a:lnTo>
                    <a:pt x="678" y="27"/>
                  </a:lnTo>
                  <a:lnTo>
                    <a:pt x="681" y="25"/>
                  </a:lnTo>
                  <a:lnTo>
                    <a:pt x="683" y="24"/>
                  </a:lnTo>
                  <a:lnTo>
                    <a:pt x="686" y="24"/>
                  </a:lnTo>
                  <a:lnTo>
                    <a:pt x="688" y="24"/>
                  </a:lnTo>
                  <a:lnTo>
                    <a:pt x="686" y="24"/>
                  </a:lnTo>
                  <a:lnTo>
                    <a:pt x="686" y="27"/>
                  </a:lnTo>
                  <a:lnTo>
                    <a:pt x="690" y="27"/>
                  </a:lnTo>
                  <a:lnTo>
                    <a:pt x="690" y="29"/>
                  </a:lnTo>
                  <a:lnTo>
                    <a:pt x="691" y="29"/>
                  </a:lnTo>
                  <a:lnTo>
                    <a:pt x="691" y="30"/>
                  </a:lnTo>
                  <a:lnTo>
                    <a:pt x="693" y="30"/>
                  </a:lnTo>
                  <a:lnTo>
                    <a:pt x="695" y="29"/>
                  </a:lnTo>
                  <a:lnTo>
                    <a:pt x="697" y="29"/>
                  </a:lnTo>
                  <a:lnTo>
                    <a:pt x="698" y="29"/>
                  </a:lnTo>
                  <a:lnTo>
                    <a:pt x="700" y="30"/>
                  </a:lnTo>
                  <a:lnTo>
                    <a:pt x="702" y="34"/>
                  </a:lnTo>
                  <a:lnTo>
                    <a:pt x="700" y="34"/>
                  </a:lnTo>
                  <a:lnTo>
                    <a:pt x="702" y="34"/>
                  </a:lnTo>
                  <a:lnTo>
                    <a:pt x="702" y="36"/>
                  </a:lnTo>
                  <a:lnTo>
                    <a:pt x="702" y="37"/>
                  </a:lnTo>
                  <a:lnTo>
                    <a:pt x="703" y="39"/>
                  </a:lnTo>
                  <a:lnTo>
                    <a:pt x="702" y="39"/>
                  </a:lnTo>
                  <a:lnTo>
                    <a:pt x="700" y="41"/>
                  </a:lnTo>
                  <a:lnTo>
                    <a:pt x="698" y="42"/>
                  </a:lnTo>
                  <a:lnTo>
                    <a:pt x="697" y="42"/>
                  </a:lnTo>
                  <a:lnTo>
                    <a:pt x="695" y="44"/>
                  </a:lnTo>
                  <a:lnTo>
                    <a:pt x="691" y="46"/>
                  </a:lnTo>
                  <a:lnTo>
                    <a:pt x="691" y="49"/>
                  </a:lnTo>
                  <a:lnTo>
                    <a:pt x="688" y="49"/>
                  </a:lnTo>
                  <a:lnTo>
                    <a:pt x="688" y="51"/>
                  </a:lnTo>
                  <a:lnTo>
                    <a:pt x="688" y="53"/>
                  </a:lnTo>
                  <a:lnTo>
                    <a:pt x="690" y="54"/>
                  </a:lnTo>
                  <a:lnTo>
                    <a:pt x="688" y="56"/>
                  </a:lnTo>
                  <a:lnTo>
                    <a:pt x="686" y="58"/>
                  </a:lnTo>
                  <a:lnTo>
                    <a:pt x="685" y="59"/>
                  </a:lnTo>
                  <a:lnTo>
                    <a:pt x="686" y="61"/>
                  </a:lnTo>
                  <a:lnTo>
                    <a:pt x="683" y="61"/>
                  </a:lnTo>
                  <a:lnTo>
                    <a:pt x="681" y="61"/>
                  </a:lnTo>
                  <a:lnTo>
                    <a:pt x="680" y="63"/>
                  </a:lnTo>
                  <a:lnTo>
                    <a:pt x="678" y="63"/>
                  </a:lnTo>
                  <a:lnTo>
                    <a:pt x="676" y="63"/>
                  </a:lnTo>
                  <a:lnTo>
                    <a:pt x="674" y="63"/>
                  </a:lnTo>
                  <a:lnTo>
                    <a:pt x="673" y="63"/>
                  </a:lnTo>
                  <a:lnTo>
                    <a:pt x="669" y="63"/>
                  </a:lnTo>
                  <a:lnTo>
                    <a:pt x="668" y="63"/>
                  </a:lnTo>
                  <a:lnTo>
                    <a:pt x="668" y="64"/>
                  </a:lnTo>
                  <a:lnTo>
                    <a:pt x="664" y="64"/>
                  </a:lnTo>
                  <a:lnTo>
                    <a:pt x="664" y="63"/>
                  </a:lnTo>
                  <a:lnTo>
                    <a:pt x="661" y="64"/>
                  </a:lnTo>
                  <a:lnTo>
                    <a:pt x="659" y="63"/>
                  </a:lnTo>
                  <a:lnTo>
                    <a:pt x="657" y="64"/>
                  </a:lnTo>
                  <a:lnTo>
                    <a:pt x="654" y="64"/>
                  </a:lnTo>
                  <a:lnTo>
                    <a:pt x="654" y="63"/>
                  </a:lnTo>
                  <a:lnTo>
                    <a:pt x="652" y="64"/>
                  </a:lnTo>
                  <a:lnTo>
                    <a:pt x="652" y="63"/>
                  </a:lnTo>
                  <a:lnTo>
                    <a:pt x="651" y="63"/>
                  </a:lnTo>
                  <a:lnTo>
                    <a:pt x="649" y="63"/>
                  </a:lnTo>
                  <a:lnTo>
                    <a:pt x="647" y="63"/>
                  </a:lnTo>
                  <a:lnTo>
                    <a:pt x="646" y="64"/>
                  </a:lnTo>
                  <a:lnTo>
                    <a:pt x="647" y="64"/>
                  </a:lnTo>
                  <a:lnTo>
                    <a:pt x="649" y="63"/>
                  </a:lnTo>
                  <a:lnTo>
                    <a:pt x="651" y="63"/>
                  </a:lnTo>
                  <a:lnTo>
                    <a:pt x="649" y="66"/>
                  </a:lnTo>
                  <a:lnTo>
                    <a:pt x="646" y="68"/>
                  </a:lnTo>
                  <a:lnTo>
                    <a:pt x="647" y="68"/>
                  </a:lnTo>
                  <a:lnTo>
                    <a:pt x="649" y="68"/>
                  </a:lnTo>
                  <a:lnTo>
                    <a:pt x="652" y="66"/>
                  </a:lnTo>
                  <a:lnTo>
                    <a:pt x="654" y="68"/>
                  </a:lnTo>
                  <a:lnTo>
                    <a:pt x="651" y="68"/>
                  </a:lnTo>
                  <a:lnTo>
                    <a:pt x="652" y="70"/>
                  </a:lnTo>
                  <a:lnTo>
                    <a:pt x="654" y="70"/>
                  </a:lnTo>
                  <a:lnTo>
                    <a:pt x="656" y="68"/>
                  </a:lnTo>
                  <a:lnTo>
                    <a:pt x="657" y="70"/>
                  </a:lnTo>
                  <a:lnTo>
                    <a:pt x="659" y="70"/>
                  </a:lnTo>
                  <a:lnTo>
                    <a:pt x="661" y="68"/>
                  </a:lnTo>
                  <a:lnTo>
                    <a:pt x="661" y="70"/>
                  </a:lnTo>
                  <a:lnTo>
                    <a:pt x="663" y="70"/>
                  </a:lnTo>
                  <a:lnTo>
                    <a:pt x="663" y="71"/>
                  </a:lnTo>
                  <a:lnTo>
                    <a:pt x="666" y="71"/>
                  </a:lnTo>
                  <a:lnTo>
                    <a:pt x="666" y="70"/>
                  </a:lnTo>
                  <a:lnTo>
                    <a:pt x="668" y="71"/>
                  </a:lnTo>
                  <a:lnTo>
                    <a:pt x="671" y="70"/>
                  </a:lnTo>
                  <a:lnTo>
                    <a:pt x="671" y="71"/>
                  </a:lnTo>
                  <a:lnTo>
                    <a:pt x="673" y="71"/>
                  </a:lnTo>
                  <a:lnTo>
                    <a:pt x="674" y="71"/>
                  </a:lnTo>
                  <a:lnTo>
                    <a:pt x="676" y="73"/>
                  </a:lnTo>
                  <a:lnTo>
                    <a:pt x="674" y="75"/>
                  </a:lnTo>
                  <a:lnTo>
                    <a:pt x="673" y="76"/>
                  </a:lnTo>
                  <a:lnTo>
                    <a:pt x="671" y="78"/>
                  </a:lnTo>
                  <a:lnTo>
                    <a:pt x="671" y="80"/>
                  </a:lnTo>
                  <a:lnTo>
                    <a:pt x="669" y="80"/>
                  </a:lnTo>
                  <a:lnTo>
                    <a:pt x="673" y="81"/>
                  </a:lnTo>
                  <a:lnTo>
                    <a:pt x="673" y="80"/>
                  </a:lnTo>
                  <a:lnTo>
                    <a:pt x="673" y="76"/>
                  </a:lnTo>
                  <a:lnTo>
                    <a:pt x="674" y="75"/>
                  </a:lnTo>
                  <a:lnTo>
                    <a:pt x="674" y="76"/>
                  </a:lnTo>
                  <a:lnTo>
                    <a:pt x="676" y="75"/>
                  </a:lnTo>
                  <a:lnTo>
                    <a:pt x="678" y="76"/>
                  </a:lnTo>
                  <a:lnTo>
                    <a:pt x="678" y="75"/>
                  </a:lnTo>
                  <a:lnTo>
                    <a:pt x="680" y="76"/>
                  </a:lnTo>
                  <a:lnTo>
                    <a:pt x="680" y="78"/>
                  </a:lnTo>
                  <a:lnTo>
                    <a:pt x="681" y="80"/>
                  </a:lnTo>
                  <a:lnTo>
                    <a:pt x="680" y="81"/>
                  </a:lnTo>
                  <a:lnTo>
                    <a:pt x="681" y="81"/>
                  </a:lnTo>
                  <a:lnTo>
                    <a:pt x="680" y="83"/>
                  </a:lnTo>
                  <a:lnTo>
                    <a:pt x="680" y="85"/>
                  </a:lnTo>
                  <a:lnTo>
                    <a:pt x="678" y="87"/>
                  </a:lnTo>
                  <a:lnTo>
                    <a:pt x="680" y="87"/>
                  </a:lnTo>
                  <a:lnTo>
                    <a:pt x="678" y="87"/>
                  </a:lnTo>
                  <a:lnTo>
                    <a:pt x="680" y="87"/>
                  </a:lnTo>
                  <a:lnTo>
                    <a:pt x="678" y="90"/>
                  </a:lnTo>
                  <a:lnTo>
                    <a:pt x="678" y="92"/>
                  </a:lnTo>
                  <a:lnTo>
                    <a:pt x="678" y="90"/>
                  </a:lnTo>
                  <a:lnTo>
                    <a:pt x="678" y="92"/>
                  </a:lnTo>
                  <a:lnTo>
                    <a:pt x="674" y="92"/>
                  </a:lnTo>
                  <a:lnTo>
                    <a:pt x="676" y="92"/>
                  </a:lnTo>
                  <a:lnTo>
                    <a:pt x="678" y="92"/>
                  </a:lnTo>
                  <a:lnTo>
                    <a:pt x="678" y="95"/>
                  </a:lnTo>
                  <a:lnTo>
                    <a:pt x="678" y="93"/>
                  </a:lnTo>
                  <a:lnTo>
                    <a:pt x="680" y="92"/>
                  </a:lnTo>
                  <a:lnTo>
                    <a:pt x="680" y="90"/>
                  </a:lnTo>
                  <a:lnTo>
                    <a:pt x="681" y="87"/>
                  </a:lnTo>
                  <a:lnTo>
                    <a:pt x="683" y="87"/>
                  </a:lnTo>
                  <a:lnTo>
                    <a:pt x="686" y="87"/>
                  </a:lnTo>
                  <a:lnTo>
                    <a:pt x="686" y="85"/>
                  </a:lnTo>
                  <a:lnTo>
                    <a:pt x="686" y="83"/>
                  </a:lnTo>
                  <a:lnTo>
                    <a:pt x="690" y="81"/>
                  </a:lnTo>
                  <a:lnTo>
                    <a:pt x="690" y="83"/>
                  </a:lnTo>
                  <a:lnTo>
                    <a:pt x="690" y="85"/>
                  </a:lnTo>
                  <a:lnTo>
                    <a:pt x="688" y="87"/>
                  </a:lnTo>
                  <a:lnTo>
                    <a:pt x="688" y="88"/>
                  </a:lnTo>
                  <a:lnTo>
                    <a:pt x="686" y="88"/>
                  </a:lnTo>
                  <a:lnTo>
                    <a:pt x="688" y="90"/>
                  </a:lnTo>
                  <a:lnTo>
                    <a:pt x="688" y="92"/>
                  </a:lnTo>
                  <a:lnTo>
                    <a:pt x="688" y="93"/>
                  </a:lnTo>
                  <a:lnTo>
                    <a:pt x="690" y="93"/>
                  </a:lnTo>
                  <a:lnTo>
                    <a:pt x="690" y="97"/>
                  </a:lnTo>
                  <a:lnTo>
                    <a:pt x="690" y="93"/>
                  </a:lnTo>
                  <a:lnTo>
                    <a:pt x="688" y="90"/>
                  </a:lnTo>
                  <a:lnTo>
                    <a:pt x="688" y="88"/>
                  </a:lnTo>
                  <a:lnTo>
                    <a:pt x="688" y="87"/>
                  </a:lnTo>
                  <a:lnTo>
                    <a:pt x="690" y="85"/>
                  </a:lnTo>
                  <a:lnTo>
                    <a:pt x="691" y="85"/>
                  </a:lnTo>
                  <a:lnTo>
                    <a:pt x="691" y="87"/>
                  </a:lnTo>
                  <a:lnTo>
                    <a:pt x="693" y="88"/>
                  </a:lnTo>
                  <a:lnTo>
                    <a:pt x="691" y="87"/>
                  </a:lnTo>
                  <a:lnTo>
                    <a:pt x="691" y="85"/>
                  </a:lnTo>
                  <a:lnTo>
                    <a:pt x="691" y="83"/>
                  </a:lnTo>
                  <a:lnTo>
                    <a:pt x="693" y="81"/>
                  </a:lnTo>
                  <a:lnTo>
                    <a:pt x="691" y="80"/>
                  </a:lnTo>
                  <a:lnTo>
                    <a:pt x="690" y="76"/>
                  </a:lnTo>
                  <a:lnTo>
                    <a:pt x="690" y="75"/>
                  </a:lnTo>
                  <a:lnTo>
                    <a:pt x="691" y="75"/>
                  </a:lnTo>
                  <a:lnTo>
                    <a:pt x="693" y="73"/>
                  </a:lnTo>
                  <a:lnTo>
                    <a:pt x="695" y="73"/>
                  </a:lnTo>
                  <a:lnTo>
                    <a:pt x="691" y="76"/>
                  </a:lnTo>
                  <a:lnTo>
                    <a:pt x="693" y="76"/>
                  </a:lnTo>
                  <a:lnTo>
                    <a:pt x="695" y="76"/>
                  </a:lnTo>
                  <a:lnTo>
                    <a:pt x="695" y="75"/>
                  </a:lnTo>
                  <a:lnTo>
                    <a:pt x="697" y="76"/>
                  </a:lnTo>
                  <a:lnTo>
                    <a:pt x="697" y="80"/>
                  </a:lnTo>
                  <a:lnTo>
                    <a:pt x="698" y="80"/>
                  </a:lnTo>
                  <a:lnTo>
                    <a:pt x="698" y="83"/>
                  </a:lnTo>
                  <a:lnTo>
                    <a:pt x="700" y="85"/>
                  </a:lnTo>
                  <a:lnTo>
                    <a:pt x="698" y="88"/>
                  </a:lnTo>
                  <a:lnTo>
                    <a:pt x="697" y="88"/>
                  </a:lnTo>
                  <a:lnTo>
                    <a:pt x="700" y="88"/>
                  </a:lnTo>
                  <a:lnTo>
                    <a:pt x="702" y="87"/>
                  </a:lnTo>
                  <a:lnTo>
                    <a:pt x="700" y="83"/>
                  </a:lnTo>
                  <a:lnTo>
                    <a:pt x="700" y="81"/>
                  </a:lnTo>
                  <a:lnTo>
                    <a:pt x="698" y="80"/>
                  </a:lnTo>
                  <a:lnTo>
                    <a:pt x="698" y="78"/>
                  </a:lnTo>
                  <a:lnTo>
                    <a:pt x="697" y="78"/>
                  </a:lnTo>
                  <a:lnTo>
                    <a:pt x="698" y="76"/>
                  </a:lnTo>
                  <a:lnTo>
                    <a:pt x="698" y="75"/>
                  </a:lnTo>
                  <a:lnTo>
                    <a:pt x="700" y="76"/>
                  </a:lnTo>
                  <a:lnTo>
                    <a:pt x="702" y="76"/>
                  </a:lnTo>
                  <a:lnTo>
                    <a:pt x="702" y="75"/>
                  </a:lnTo>
                  <a:lnTo>
                    <a:pt x="703" y="76"/>
                  </a:lnTo>
                  <a:lnTo>
                    <a:pt x="703" y="75"/>
                  </a:lnTo>
                  <a:lnTo>
                    <a:pt x="703" y="76"/>
                  </a:lnTo>
                  <a:lnTo>
                    <a:pt x="703" y="75"/>
                  </a:lnTo>
                  <a:lnTo>
                    <a:pt x="705" y="76"/>
                  </a:lnTo>
                  <a:lnTo>
                    <a:pt x="705" y="75"/>
                  </a:lnTo>
                  <a:lnTo>
                    <a:pt x="705" y="78"/>
                  </a:lnTo>
                  <a:lnTo>
                    <a:pt x="707" y="76"/>
                  </a:lnTo>
                  <a:lnTo>
                    <a:pt x="708" y="76"/>
                  </a:lnTo>
                  <a:lnTo>
                    <a:pt x="710" y="78"/>
                  </a:lnTo>
                  <a:lnTo>
                    <a:pt x="710" y="80"/>
                  </a:lnTo>
                  <a:lnTo>
                    <a:pt x="714" y="81"/>
                  </a:lnTo>
                  <a:lnTo>
                    <a:pt x="712" y="83"/>
                  </a:lnTo>
                  <a:lnTo>
                    <a:pt x="714" y="87"/>
                  </a:lnTo>
                  <a:lnTo>
                    <a:pt x="715" y="88"/>
                  </a:lnTo>
                  <a:lnTo>
                    <a:pt x="715" y="92"/>
                  </a:lnTo>
                  <a:lnTo>
                    <a:pt x="714" y="93"/>
                  </a:lnTo>
                  <a:lnTo>
                    <a:pt x="712" y="95"/>
                  </a:lnTo>
                  <a:lnTo>
                    <a:pt x="708" y="95"/>
                  </a:lnTo>
                  <a:lnTo>
                    <a:pt x="707" y="95"/>
                  </a:lnTo>
                  <a:lnTo>
                    <a:pt x="705" y="95"/>
                  </a:lnTo>
                  <a:lnTo>
                    <a:pt x="703" y="95"/>
                  </a:lnTo>
                  <a:lnTo>
                    <a:pt x="702" y="93"/>
                  </a:lnTo>
                  <a:lnTo>
                    <a:pt x="700" y="92"/>
                  </a:lnTo>
                  <a:lnTo>
                    <a:pt x="698" y="90"/>
                  </a:lnTo>
                  <a:lnTo>
                    <a:pt x="697" y="90"/>
                  </a:lnTo>
                  <a:lnTo>
                    <a:pt x="693" y="88"/>
                  </a:lnTo>
                  <a:lnTo>
                    <a:pt x="691" y="90"/>
                  </a:lnTo>
                  <a:lnTo>
                    <a:pt x="693" y="92"/>
                  </a:lnTo>
                  <a:lnTo>
                    <a:pt x="695" y="93"/>
                  </a:lnTo>
                  <a:lnTo>
                    <a:pt x="697" y="95"/>
                  </a:lnTo>
                  <a:lnTo>
                    <a:pt x="697" y="97"/>
                  </a:lnTo>
                  <a:lnTo>
                    <a:pt x="697" y="98"/>
                  </a:lnTo>
                  <a:lnTo>
                    <a:pt x="697" y="100"/>
                  </a:lnTo>
                  <a:lnTo>
                    <a:pt x="697" y="104"/>
                  </a:lnTo>
                  <a:lnTo>
                    <a:pt x="697" y="105"/>
                  </a:lnTo>
                  <a:lnTo>
                    <a:pt x="697" y="107"/>
                  </a:lnTo>
                  <a:lnTo>
                    <a:pt x="693" y="109"/>
                  </a:lnTo>
                  <a:lnTo>
                    <a:pt x="691" y="109"/>
                  </a:lnTo>
                  <a:lnTo>
                    <a:pt x="690" y="110"/>
                  </a:lnTo>
                  <a:lnTo>
                    <a:pt x="688" y="112"/>
                  </a:lnTo>
                  <a:lnTo>
                    <a:pt x="688" y="114"/>
                  </a:lnTo>
                  <a:lnTo>
                    <a:pt x="688" y="115"/>
                  </a:lnTo>
                  <a:lnTo>
                    <a:pt x="686" y="117"/>
                  </a:lnTo>
                  <a:lnTo>
                    <a:pt x="685" y="117"/>
                  </a:lnTo>
                  <a:lnTo>
                    <a:pt x="683" y="119"/>
                  </a:lnTo>
                  <a:lnTo>
                    <a:pt x="681" y="119"/>
                  </a:lnTo>
                  <a:lnTo>
                    <a:pt x="680" y="121"/>
                  </a:lnTo>
                  <a:lnTo>
                    <a:pt x="680" y="124"/>
                  </a:lnTo>
                  <a:lnTo>
                    <a:pt x="681" y="126"/>
                  </a:lnTo>
                  <a:lnTo>
                    <a:pt x="681" y="127"/>
                  </a:lnTo>
                  <a:lnTo>
                    <a:pt x="681" y="131"/>
                  </a:lnTo>
                  <a:lnTo>
                    <a:pt x="681" y="134"/>
                  </a:lnTo>
                  <a:lnTo>
                    <a:pt x="681" y="138"/>
                  </a:lnTo>
                  <a:lnTo>
                    <a:pt x="681" y="139"/>
                  </a:lnTo>
                  <a:lnTo>
                    <a:pt x="680" y="141"/>
                  </a:lnTo>
                  <a:lnTo>
                    <a:pt x="680" y="143"/>
                  </a:lnTo>
                  <a:lnTo>
                    <a:pt x="678" y="143"/>
                  </a:lnTo>
                  <a:lnTo>
                    <a:pt x="676" y="141"/>
                  </a:lnTo>
                  <a:lnTo>
                    <a:pt x="673" y="139"/>
                  </a:lnTo>
                  <a:lnTo>
                    <a:pt x="671" y="138"/>
                  </a:lnTo>
                  <a:lnTo>
                    <a:pt x="671" y="134"/>
                  </a:lnTo>
                  <a:lnTo>
                    <a:pt x="671" y="132"/>
                  </a:lnTo>
                  <a:lnTo>
                    <a:pt x="669" y="129"/>
                  </a:lnTo>
                  <a:lnTo>
                    <a:pt x="671" y="127"/>
                  </a:lnTo>
                  <a:lnTo>
                    <a:pt x="671" y="126"/>
                  </a:lnTo>
                  <a:lnTo>
                    <a:pt x="673" y="121"/>
                  </a:lnTo>
                  <a:lnTo>
                    <a:pt x="674" y="119"/>
                  </a:lnTo>
                  <a:lnTo>
                    <a:pt x="674" y="117"/>
                  </a:lnTo>
                  <a:lnTo>
                    <a:pt x="676" y="115"/>
                  </a:lnTo>
                  <a:lnTo>
                    <a:pt x="676" y="110"/>
                  </a:lnTo>
                  <a:lnTo>
                    <a:pt x="678" y="109"/>
                  </a:lnTo>
                  <a:lnTo>
                    <a:pt x="676" y="107"/>
                  </a:lnTo>
                  <a:lnTo>
                    <a:pt x="674" y="105"/>
                  </a:lnTo>
                  <a:lnTo>
                    <a:pt x="674" y="104"/>
                  </a:lnTo>
                  <a:lnTo>
                    <a:pt x="671" y="100"/>
                  </a:lnTo>
                  <a:lnTo>
                    <a:pt x="669" y="98"/>
                  </a:lnTo>
                  <a:lnTo>
                    <a:pt x="668" y="93"/>
                  </a:lnTo>
                  <a:lnTo>
                    <a:pt x="666" y="93"/>
                  </a:lnTo>
                  <a:lnTo>
                    <a:pt x="663" y="93"/>
                  </a:lnTo>
                  <a:lnTo>
                    <a:pt x="661" y="93"/>
                  </a:lnTo>
                  <a:lnTo>
                    <a:pt x="659" y="92"/>
                  </a:lnTo>
                  <a:lnTo>
                    <a:pt x="656" y="92"/>
                  </a:lnTo>
                  <a:lnTo>
                    <a:pt x="654" y="92"/>
                  </a:lnTo>
                  <a:lnTo>
                    <a:pt x="651" y="90"/>
                  </a:lnTo>
                  <a:lnTo>
                    <a:pt x="647" y="90"/>
                  </a:lnTo>
                  <a:lnTo>
                    <a:pt x="646" y="88"/>
                  </a:lnTo>
                  <a:lnTo>
                    <a:pt x="646" y="87"/>
                  </a:lnTo>
                  <a:lnTo>
                    <a:pt x="644" y="85"/>
                  </a:lnTo>
                  <a:lnTo>
                    <a:pt x="640" y="85"/>
                  </a:lnTo>
                  <a:lnTo>
                    <a:pt x="635" y="80"/>
                  </a:lnTo>
                  <a:lnTo>
                    <a:pt x="634" y="78"/>
                  </a:lnTo>
                  <a:lnTo>
                    <a:pt x="634" y="76"/>
                  </a:lnTo>
                  <a:lnTo>
                    <a:pt x="632" y="73"/>
                  </a:lnTo>
                  <a:lnTo>
                    <a:pt x="629" y="75"/>
                  </a:lnTo>
                  <a:lnTo>
                    <a:pt x="627" y="76"/>
                  </a:lnTo>
                  <a:lnTo>
                    <a:pt x="625" y="76"/>
                  </a:lnTo>
                  <a:lnTo>
                    <a:pt x="623" y="76"/>
                  </a:lnTo>
                  <a:lnTo>
                    <a:pt x="622" y="78"/>
                  </a:lnTo>
                  <a:lnTo>
                    <a:pt x="622" y="81"/>
                  </a:lnTo>
                  <a:lnTo>
                    <a:pt x="620" y="81"/>
                  </a:lnTo>
                  <a:lnTo>
                    <a:pt x="618" y="85"/>
                  </a:lnTo>
                  <a:lnTo>
                    <a:pt x="617" y="85"/>
                  </a:lnTo>
                  <a:lnTo>
                    <a:pt x="618" y="88"/>
                  </a:lnTo>
                  <a:lnTo>
                    <a:pt x="617" y="88"/>
                  </a:lnTo>
                  <a:lnTo>
                    <a:pt x="615" y="90"/>
                  </a:lnTo>
                  <a:lnTo>
                    <a:pt x="613" y="92"/>
                  </a:lnTo>
                  <a:lnTo>
                    <a:pt x="610" y="90"/>
                  </a:lnTo>
                  <a:lnTo>
                    <a:pt x="608" y="92"/>
                  </a:lnTo>
                  <a:lnTo>
                    <a:pt x="606" y="90"/>
                  </a:lnTo>
                  <a:lnTo>
                    <a:pt x="605" y="90"/>
                  </a:lnTo>
                  <a:lnTo>
                    <a:pt x="605" y="92"/>
                  </a:lnTo>
                  <a:lnTo>
                    <a:pt x="603" y="90"/>
                  </a:lnTo>
                  <a:lnTo>
                    <a:pt x="601" y="92"/>
                  </a:lnTo>
                  <a:lnTo>
                    <a:pt x="600" y="92"/>
                  </a:lnTo>
                  <a:lnTo>
                    <a:pt x="598" y="93"/>
                  </a:lnTo>
                  <a:lnTo>
                    <a:pt x="598" y="95"/>
                  </a:lnTo>
                  <a:lnTo>
                    <a:pt x="596" y="97"/>
                  </a:lnTo>
                  <a:lnTo>
                    <a:pt x="598" y="97"/>
                  </a:lnTo>
                  <a:lnTo>
                    <a:pt x="598" y="100"/>
                  </a:lnTo>
                  <a:lnTo>
                    <a:pt x="596" y="102"/>
                  </a:lnTo>
                  <a:lnTo>
                    <a:pt x="595" y="104"/>
                  </a:lnTo>
                  <a:lnTo>
                    <a:pt x="595" y="105"/>
                  </a:lnTo>
                  <a:lnTo>
                    <a:pt x="595" y="107"/>
                  </a:lnTo>
                  <a:lnTo>
                    <a:pt x="593" y="110"/>
                  </a:lnTo>
                  <a:lnTo>
                    <a:pt x="589" y="112"/>
                  </a:lnTo>
                  <a:lnTo>
                    <a:pt x="589" y="114"/>
                  </a:lnTo>
                  <a:lnTo>
                    <a:pt x="588" y="117"/>
                  </a:lnTo>
                  <a:lnTo>
                    <a:pt x="589" y="117"/>
                  </a:lnTo>
                  <a:lnTo>
                    <a:pt x="591" y="121"/>
                  </a:lnTo>
                  <a:lnTo>
                    <a:pt x="591" y="122"/>
                  </a:lnTo>
                  <a:lnTo>
                    <a:pt x="589" y="124"/>
                  </a:lnTo>
                  <a:lnTo>
                    <a:pt x="589" y="126"/>
                  </a:lnTo>
                  <a:lnTo>
                    <a:pt x="589" y="129"/>
                  </a:lnTo>
                  <a:lnTo>
                    <a:pt x="591" y="131"/>
                  </a:lnTo>
                  <a:lnTo>
                    <a:pt x="589" y="131"/>
                  </a:lnTo>
                  <a:lnTo>
                    <a:pt x="589" y="134"/>
                  </a:lnTo>
                  <a:lnTo>
                    <a:pt x="591" y="136"/>
                  </a:lnTo>
                  <a:lnTo>
                    <a:pt x="591" y="139"/>
                  </a:lnTo>
                  <a:lnTo>
                    <a:pt x="589" y="141"/>
                  </a:lnTo>
                  <a:lnTo>
                    <a:pt x="589" y="143"/>
                  </a:lnTo>
                  <a:lnTo>
                    <a:pt x="591" y="144"/>
                  </a:lnTo>
                  <a:lnTo>
                    <a:pt x="589" y="146"/>
                  </a:lnTo>
                  <a:lnTo>
                    <a:pt x="591" y="149"/>
                  </a:lnTo>
                  <a:lnTo>
                    <a:pt x="591" y="151"/>
                  </a:lnTo>
                  <a:lnTo>
                    <a:pt x="591" y="153"/>
                  </a:lnTo>
                  <a:lnTo>
                    <a:pt x="593" y="155"/>
                  </a:lnTo>
                  <a:lnTo>
                    <a:pt x="593" y="156"/>
                  </a:lnTo>
                  <a:lnTo>
                    <a:pt x="593" y="160"/>
                  </a:lnTo>
                  <a:lnTo>
                    <a:pt x="595" y="161"/>
                  </a:lnTo>
                  <a:lnTo>
                    <a:pt x="596" y="163"/>
                  </a:lnTo>
                  <a:lnTo>
                    <a:pt x="595" y="166"/>
                  </a:lnTo>
                  <a:lnTo>
                    <a:pt x="595" y="168"/>
                  </a:lnTo>
                  <a:lnTo>
                    <a:pt x="595" y="172"/>
                  </a:lnTo>
                  <a:lnTo>
                    <a:pt x="595" y="173"/>
                  </a:lnTo>
                  <a:lnTo>
                    <a:pt x="591" y="173"/>
                  </a:lnTo>
                  <a:lnTo>
                    <a:pt x="589" y="173"/>
                  </a:lnTo>
                  <a:lnTo>
                    <a:pt x="588" y="175"/>
                  </a:lnTo>
                  <a:lnTo>
                    <a:pt x="586" y="177"/>
                  </a:lnTo>
                  <a:lnTo>
                    <a:pt x="584" y="178"/>
                  </a:lnTo>
                  <a:lnTo>
                    <a:pt x="584" y="180"/>
                  </a:lnTo>
                  <a:lnTo>
                    <a:pt x="583" y="182"/>
                  </a:lnTo>
                  <a:lnTo>
                    <a:pt x="583" y="183"/>
                  </a:lnTo>
                  <a:lnTo>
                    <a:pt x="583" y="187"/>
                  </a:lnTo>
                  <a:lnTo>
                    <a:pt x="584" y="189"/>
                  </a:lnTo>
                  <a:lnTo>
                    <a:pt x="584" y="192"/>
                  </a:lnTo>
                  <a:lnTo>
                    <a:pt x="584" y="194"/>
                  </a:lnTo>
                  <a:lnTo>
                    <a:pt x="584" y="195"/>
                  </a:lnTo>
                  <a:lnTo>
                    <a:pt x="583" y="195"/>
                  </a:lnTo>
                  <a:lnTo>
                    <a:pt x="583" y="197"/>
                  </a:lnTo>
                  <a:lnTo>
                    <a:pt x="579" y="197"/>
                  </a:lnTo>
                  <a:lnTo>
                    <a:pt x="579" y="199"/>
                  </a:lnTo>
                  <a:lnTo>
                    <a:pt x="581" y="202"/>
                  </a:lnTo>
                  <a:lnTo>
                    <a:pt x="579" y="201"/>
                  </a:lnTo>
                  <a:lnTo>
                    <a:pt x="578" y="199"/>
                  </a:lnTo>
                  <a:lnTo>
                    <a:pt x="576" y="195"/>
                  </a:lnTo>
                  <a:lnTo>
                    <a:pt x="574" y="195"/>
                  </a:lnTo>
                  <a:lnTo>
                    <a:pt x="571" y="194"/>
                  </a:lnTo>
                  <a:lnTo>
                    <a:pt x="569" y="194"/>
                  </a:lnTo>
                  <a:lnTo>
                    <a:pt x="567" y="194"/>
                  </a:lnTo>
                  <a:lnTo>
                    <a:pt x="566" y="194"/>
                  </a:lnTo>
                  <a:lnTo>
                    <a:pt x="562" y="194"/>
                  </a:lnTo>
                  <a:lnTo>
                    <a:pt x="561" y="192"/>
                  </a:lnTo>
                  <a:lnTo>
                    <a:pt x="557" y="190"/>
                  </a:lnTo>
                  <a:lnTo>
                    <a:pt x="557" y="189"/>
                  </a:lnTo>
                  <a:lnTo>
                    <a:pt x="555" y="190"/>
                  </a:lnTo>
                  <a:lnTo>
                    <a:pt x="554" y="187"/>
                  </a:lnTo>
                  <a:lnTo>
                    <a:pt x="552" y="187"/>
                  </a:lnTo>
                  <a:lnTo>
                    <a:pt x="549" y="187"/>
                  </a:lnTo>
                  <a:lnTo>
                    <a:pt x="547" y="189"/>
                  </a:lnTo>
                  <a:lnTo>
                    <a:pt x="547" y="194"/>
                  </a:lnTo>
                  <a:lnTo>
                    <a:pt x="547" y="195"/>
                  </a:lnTo>
                  <a:lnTo>
                    <a:pt x="545" y="197"/>
                  </a:lnTo>
                  <a:lnTo>
                    <a:pt x="542" y="199"/>
                  </a:lnTo>
                  <a:lnTo>
                    <a:pt x="540" y="199"/>
                  </a:lnTo>
                  <a:lnTo>
                    <a:pt x="538" y="201"/>
                  </a:lnTo>
                  <a:lnTo>
                    <a:pt x="533" y="206"/>
                  </a:lnTo>
                  <a:lnTo>
                    <a:pt x="532" y="202"/>
                  </a:lnTo>
                  <a:lnTo>
                    <a:pt x="530" y="201"/>
                  </a:lnTo>
                  <a:lnTo>
                    <a:pt x="527" y="202"/>
                  </a:lnTo>
                  <a:lnTo>
                    <a:pt x="525" y="202"/>
                  </a:lnTo>
                  <a:lnTo>
                    <a:pt x="523" y="202"/>
                  </a:lnTo>
                  <a:lnTo>
                    <a:pt x="520" y="202"/>
                  </a:lnTo>
                  <a:lnTo>
                    <a:pt x="518" y="201"/>
                  </a:lnTo>
                  <a:lnTo>
                    <a:pt x="516" y="201"/>
                  </a:lnTo>
                  <a:lnTo>
                    <a:pt x="511" y="202"/>
                  </a:lnTo>
                  <a:lnTo>
                    <a:pt x="511" y="201"/>
                  </a:lnTo>
                  <a:lnTo>
                    <a:pt x="510" y="197"/>
                  </a:lnTo>
                  <a:lnTo>
                    <a:pt x="510" y="195"/>
                  </a:lnTo>
                  <a:lnTo>
                    <a:pt x="506" y="192"/>
                  </a:lnTo>
                  <a:lnTo>
                    <a:pt x="506" y="190"/>
                  </a:lnTo>
                  <a:lnTo>
                    <a:pt x="504" y="189"/>
                  </a:lnTo>
                  <a:lnTo>
                    <a:pt x="504" y="185"/>
                  </a:lnTo>
                  <a:lnTo>
                    <a:pt x="503" y="185"/>
                  </a:lnTo>
                  <a:lnTo>
                    <a:pt x="499" y="182"/>
                  </a:lnTo>
                  <a:lnTo>
                    <a:pt x="499" y="180"/>
                  </a:lnTo>
                  <a:lnTo>
                    <a:pt x="498" y="178"/>
                  </a:lnTo>
                  <a:lnTo>
                    <a:pt x="496" y="177"/>
                  </a:lnTo>
                  <a:lnTo>
                    <a:pt x="494" y="177"/>
                  </a:lnTo>
                  <a:lnTo>
                    <a:pt x="493" y="173"/>
                  </a:lnTo>
                  <a:lnTo>
                    <a:pt x="491" y="172"/>
                  </a:lnTo>
                  <a:lnTo>
                    <a:pt x="489" y="170"/>
                  </a:lnTo>
                  <a:lnTo>
                    <a:pt x="486" y="166"/>
                  </a:lnTo>
                  <a:lnTo>
                    <a:pt x="486" y="165"/>
                  </a:lnTo>
                  <a:lnTo>
                    <a:pt x="484" y="165"/>
                  </a:lnTo>
                  <a:lnTo>
                    <a:pt x="481" y="165"/>
                  </a:lnTo>
                  <a:lnTo>
                    <a:pt x="479" y="165"/>
                  </a:lnTo>
                  <a:lnTo>
                    <a:pt x="476" y="165"/>
                  </a:lnTo>
                  <a:lnTo>
                    <a:pt x="474" y="166"/>
                  </a:lnTo>
                  <a:lnTo>
                    <a:pt x="472" y="168"/>
                  </a:lnTo>
                  <a:lnTo>
                    <a:pt x="470" y="170"/>
                  </a:lnTo>
                  <a:lnTo>
                    <a:pt x="470" y="172"/>
                  </a:lnTo>
                  <a:lnTo>
                    <a:pt x="470" y="173"/>
                  </a:lnTo>
                  <a:lnTo>
                    <a:pt x="472" y="177"/>
                  </a:lnTo>
                  <a:lnTo>
                    <a:pt x="472" y="178"/>
                  </a:lnTo>
                  <a:lnTo>
                    <a:pt x="474" y="180"/>
                  </a:lnTo>
                  <a:lnTo>
                    <a:pt x="474" y="183"/>
                  </a:lnTo>
                  <a:lnTo>
                    <a:pt x="474" y="185"/>
                  </a:lnTo>
                  <a:lnTo>
                    <a:pt x="472" y="183"/>
                  </a:lnTo>
                  <a:lnTo>
                    <a:pt x="469" y="183"/>
                  </a:lnTo>
                  <a:lnTo>
                    <a:pt x="469" y="182"/>
                  </a:lnTo>
                  <a:lnTo>
                    <a:pt x="464" y="180"/>
                  </a:lnTo>
                  <a:lnTo>
                    <a:pt x="464" y="182"/>
                  </a:lnTo>
                  <a:lnTo>
                    <a:pt x="460" y="185"/>
                  </a:lnTo>
                  <a:lnTo>
                    <a:pt x="459" y="185"/>
                  </a:lnTo>
                  <a:lnTo>
                    <a:pt x="457" y="185"/>
                  </a:lnTo>
                  <a:lnTo>
                    <a:pt x="457" y="187"/>
                  </a:lnTo>
                  <a:lnTo>
                    <a:pt x="453" y="187"/>
                  </a:lnTo>
                  <a:lnTo>
                    <a:pt x="448" y="189"/>
                  </a:lnTo>
                  <a:lnTo>
                    <a:pt x="448" y="190"/>
                  </a:lnTo>
                  <a:lnTo>
                    <a:pt x="450" y="190"/>
                  </a:lnTo>
                  <a:lnTo>
                    <a:pt x="452" y="192"/>
                  </a:lnTo>
                  <a:lnTo>
                    <a:pt x="455" y="195"/>
                  </a:lnTo>
                  <a:lnTo>
                    <a:pt x="457" y="206"/>
                  </a:lnTo>
                  <a:lnTo>
                    <a:pt x="457" y="207"/>
                  </a:lnTo>
                  <a:lnTo>
                    <a:pt x="457" y="209"/>
                  </a:lnTo>
                  <a:lnTo>
                    <a:pt x="455" y="216"/>
                  </a:lnTo>
                  <a:lnTo>
                    <a:pt x="453" y="219"/>
                  </a:lnTo>
                  <a:lnTo>
                    <a:pt x="452" y="221"/>
                  </a:lnTo>
                  <a:lnTo>
                    <a:pt x="450" y="224"/>
                  </a:lnTo>
                  <a:lnTo>
                    <a:pt x="452" y="226"/>
                  </a:lnTo>
                  <a:lnTo>
                    <a:pt x="455" y="226"/>
                  </a:lnTo>
                  <a:lnTo>
                    <a:pt x="459" y="228"/>
                  </a:lnTo>
                  <a:lnTo>
                    <a:pt x="455" y="231"/>
                  </a:lnTo>
                  <a:lnTo>
                    <a:pt x="455" y="233"/>
                  </a:lnTo>
                  <a:lnTo>
                    <a:pt x="452" y="236"/>
                  </a:lnTo>
                  <a:lnTo>
                    <a:pt x="452" y="238"/>
                  </a:lnTo>
                  <a:lnTo>
                    <a:pt x="450" y="238"/>
                  </a:lnTo>
                  <a:lnTo>
                    <a:pt x="447" y="238"/>
                  </a:lnTo>
                  <a:lnTo>
                    <a:pt x="445" y="236"/>
                  </a:lnTo>
                  <a:lnTo>
                    <a:pt x="443" y="236"/>
                  </a:lnTo>
                  <a:lnTo>
                    <a:pt x="440" y="235"/>
                  </a:lnTo>
                  <a:lnTo>
                    <a:pt x="433" y="233"/>
                  </a:lnTo>
                  <a:lnTo>
                    <a:pt x="425" y="231"/>
                  </a:lnTo>
                  <a:lnTo>
                    <a:pt x="423" y="231"/>
                  </a:lnTo>
                  <a:lnTo>
                    <a:pt x="418" y="231"/>
                  </a:lnTo>
                  <a:lnTo>
                    <a:pt x="416" y="231"/>
                  </a:lnTo>
                  <a:lnTo>
                    <a:pt x="414" y="233"/>
                  </a:lnTo>
                  <a:lnTo>
                    <a:pt x="413" y="231"/>
                  </a:lnTo>
                  <a:lnTo>
                    <a:pt x="411" y="229"/>
                  </a:lnTo>
                  <a:lnTo>
                    <a:pt x="409" y="228"/>
                  </a:lnTo>
                  <a:lnTo>
                    <a:pt x="406" y="229"/>
                  </a:lnTo>
                  <a:lnTo>
                    <a:pt x="402" y="231"/>
                  </a:lnTo>
                  <a:lnTo>
                    <a:pt x="401" y="231"/>
                  </a:lnTo>
                  <a:lnTo>
                    <a:pt x="401" y="233"/>
                  </a:lnTo>
                  <a:lnTo>
                    <a:pt x="402" y="235"/>
                  </a:lnTo>
                  <a:lnTo>
                    <a:pt x="402" y="236"/>
                  </a:lnTo>
                  <a:lnTo>
                    <a:pt x="402" y="240"/>
                  </a:lnTo>
                  <a:lnTo>
                    <a:pt x="402" y="241"/>
                  </a:lnTo>
                  <a:lnTo>
                    <a:pt x="402" y="243"/>
                  </a:lnTo>
                  <a:lnTo>
                    <a:pt x="402" y="246"/>
                  </a:lnTo>
                  <a:lnTo>
                    <a:pt x="404" y="250"/>
                  </a:lnTo>
                  <a:lnTo>
                    <a:pt x="404" y="252"/>
                  </a:lnTo>
                  <a:lnTo>
                    <a:pt x="404" y="253"/>
                  </a:lnTo>
                  <a:lnTo>
                    <a:pt x="406" y="257"/>
                  </a:lnTo>
                  <a:lnTo>
                    <a:pt x="404" y="258"/>
                  </a:lnTo>
                  <a:lnTo>
                    <a:pt x="404" y="260"/>
                  </a:lnTo>
                  <a:lnTo>
                    <a:pt x="402" y="263"/>
                  </a:lnTo>
                  <a:lnTo>
                    <a:pt x="402" y="267"/>
                  </a:lnTo>
                  <a:lnTo>
                    <a:pt x="401" y="270"/>
                  </a:lnTo>
                  <a:lnTo>
                    <a:pt x="401" y="274"/>
                  </a:lnTo>
                  <a:lnTo>
                    <a:pt x="396" y="270"/>
                  </a:lnTo>
                  <a:lnTo>
                    <a:pt x="394" y="269"/>
                  </a:lnTo>
                  <a:lnTo>
                    <a:pt x="391" y="269"/>
                  </a:lnTo>
                  <a:lnTo>
                    <a:pt x="391" y="267"/>
                  </a:lnTo>
                  <a:lnTo>
                    <a:pt x="389" y="267"/>
                  </a:lnTo>
                  <a:lnTo>
                    <a:pt x="387" y="267"/>
                  </a:lnTo>
                  <a:lnTo>
                    <a:pt x="384" y="265"/>
                  </a:lnTo>
                  <a:lnTo>
                    <a:pt x="382" y="265"/>
                  </a:lnTo>
                  <a:lnTo>
                    <a:pt x="380" y="269"/>
                  </a:lnTo>
                  <a:lnTo>
                    <a:pt x="380" y="270"/>
                  </a:lnTo>
                  <a:lnTo>
                    <a:pt x="377" y="272"/>
                  </a:lnTo>
                  <a:lnTo>
                    <a:pt x="375" y="274"/>
                  </a:lnTo>
                  <a:lnTo>
                    <a:pt x="374" y="275"/>
                  </a:lnTo>
                  <a:lnTo>
                    <a:pt x="374" y="277"/>
                  </a:lnTo>
                  <a:lnTo>
                    <a:pt x="372" y="279"/>
                  </a:lnTo>
                  <a:lnTo>
                    <a:pt x="370" y="279"/>
                  </a:lnTo>
                  <a:lnTo>
                    <a:pt x="368" y="280"/>
                  </a:lnTo>
                  <a:lnTo>
                    <a:pt x="368" y="284"/>
                  </a:lnTo>
                  <a:lnTo>
                    <a:pt x="368" y="287"/>
                  </a:lnTo>
                  <a:lnTo>
                    <a:pt x="367" y="291"/>
                  </a:lnTo>
                  <a:lnTo>
                    <a:pt x="367" y="292"/>
                  </a:lnTo>
                  <a:lnTo>
                    <a:pt x="367" y="296"/>
                  </a:lnTo>
                  <a:lnTo>
                    <a:pt x="367" y="297"/>
                  </a:lnTo>
                  <a:lnTo>
                    <a:pt x="365" y="301"/>
                  </a:lnTo>
                  <a:lnTo>
                    <a:pt x="365" y="304"/>
                  </a:lnTo>
                  <a:lnTo>
                    <a:pt x="363" y="308"/>
                  </a:lnTo>
                  <a:lnTo>
                    <a:pt x="362" y="309"/>
                  </a:lnTo>
                  <a:lnTo>
                    <a:pt x="360" y="309"/>
                  </a:lnTo>
                  <a:lnTo>
                    <a:pt x="358" y="309"/>
                  </a:lnTo>
                  <a:lnTo>
                    <a:pt x="355" y="311"/>
                  </a:lnTo>
                  <a:lnTo>
                    <a:pt x="355" y="313"/>
                  </a:lnTo>
                  <a:lnTo>
                    <a:pt x="355" y="314"/>
                  </a:lnTo>
                  <a:lnTo>
                    <a:pt x="355" y="316"/>
                  </a:lnTo>
                  <a:lnTo>
                    <a:pt x="357" y="320"/>
                  </a:lnTo>
                  <a:lnTo>
                    <a:pt x="357" y="321"/>
                  </a:lnTo>
                  <a:lnTo>
                    <a:pt x="358" y="325"/>
                  </a:lnTo>
                  <a:lnTo>
                    <a:pt x="360" y="326"/>
                  </a:lnTo>
                  <a:lnTo>
                    <a:pt x="362" y="328"/>
                  </a:lnTo>
                  <a:lnTo>
                    <a:pt x="362" y="330"/>
                  </a:lnTo>
                  <a:lnTo>
                    <a:pt x="363" y="331"/>
                  </a:lnTo>
                  <a:lnTo>
                    <a:pt x="365" y="333"/>
                  </a:lnTo>
                  <a:lnTo>
                    <a:pt x="365" y="335"/>
                  </a:lnTo>
                  <a:lnTo>
                    <a:pt x="365" y="338"/>
                  </a:lnTo>
                  <a:lnTo>
                    <a:pt x="365" y="340"/>
                  </a:lnTo>
                  <a:lnTo>
                    <a:pt x="365" y="343"/>
                  </a:lnTo>
                  <a:lnTo>
                    <a:pt x="365" y="345"/>
                  </a:lnTo>
                  <a:lnTo>
                    <a:pt x="363" y="347"/>
                  </a:lnTo>
                  <a:lnTo>
                    <a:pt x="362" y="347"/>
                  </a:lnTo>
                  <a:lnTo>
                    <a:pt x="360" y="350"/>
                  </a:lnTo>
                  <a:lnTo>
                    <a:pt x="358" y="352"/>
                  </a:lnTo>
                  <a:lnTo>
                    <a:pt x="357" y="354"/>
                  </a:lnTo>
                  <a:lnTo>
                    <a:pt x="357" y="355"/>
                  </a:lnTo>
                  <a:lnTo>
                    <a:pt x="355" y="357"/>
                  </a:lnTo>
                  <a:lnTo>
                    <a:pt x="355" y="359"/>
                  </a:lnTo>
                  <a:lnTo>
                    <a:pt x="353" y="360"/>
                  </a:lnTo>
                  <a:lnTo>
                    <a:pt x="353" y="362"/>
                  </a:lnTo>
                  <a:lnTo>
                    <a:pt x="351" y="366"/>
                  </a:lnTo>
                  <a:lnTo>
                    <a:pt x="350" y="369"/>
                  </a:lnTo>
                  <a:lnTo>
                    <a:pt x="350" y="371"/>
                  </a:lnTo>
                  <a:lnTo>
                    <a:pt x="348" y="372"/>
                  </a:lnTo>
                  <a:lnTo>
                    <a:pt x="348" y="374"/>
                  </a:lnTo>
                  <a:lnTo>
                    <a:pt x="346" y="377"/>
                  </a:lnTo>
                  <a:lnTo>
                    <a:pt x="346" y="379"/>
                  </a:lnTo>
                  <a:lnTo>
                    <a:pt x="343" y="381"/>
                  </a:lnTo>
                  <a:lnTo>
                    <a:pt x="341" y="384"/>
                  </a:lnTo>
                  <a:lnTo>
                    <a:pt x="340" y="388"/>
                  </a:lnTo>
                  <a:lnTo>
                    <a:pt x="341" y="391"/>
                  </a:lnTo>
                  <a:lnTo>
                    <a:pt x="341" y="394"/>
                  </a:lnTo>
                  <a:lnTo>
                    <a:pt x="341" y="396"/>
                  </a:lnTo>
                  <a:lnTo>
                    <a:pt x="343" y="398"/>
                  </a:lnTo>
                  <a:lnTo>
                    <a:pt x="343" y="401"/>
                  </a:lnTo>
                  <a:lnTo>
                    <a:pt x="341" y="403"/>
                  </a:lnTo>
                  <a:lnTo>
                    <a:pt x="340" y="405"/>
                  </a:lnTo>
                  <a:lnTo>
                    <a:pt x="340" y="406"/>
                  </a:lnTo>
                  <a:lnTo>
                    <a:pt x="336" y="408"/>
                  </a:lnTo>
                  <a:lnTo>
                    <a:pt x="334" y="410"/>
                  </a:lnTo>
                  <a:lnTo>
                    <a:pt x="331" y="411"/>
                  </a:lnTo>
                  <a:lnTo>
                    <a:pt x="329" y="411"/>
                  </a:lnTo>
                  <a:lnTo>
                    <a:pt x="328" y="413"/>
                  </a:lnTo>
                  <a:lnTo>
                    <a:pt x="326" y="413"/>
                  </a:lnTo>
                  <a:lnTo>
                    <a:pt x="324" y="413"/>
                  </a:lnTo>
                  <a:lnTo>
                    <a:pt x="323" y="413"/>
                  </a:lnTo>
                  <a:lnTo>
                    <a:pt x="321" y="413"/>
                  </a:lnTo>
                  <a:lnTo>
                    <a:pt x="319" y="413"/>
                  </a:lnTo>
                  <a:lnTo>
                    <a:pt x="316" y="415"/>
                  </a:lnTo>
                  <a:lnTo>
                    <a:pt x="317" y="417"/>
                  </a:lnTo>
                  <a:lnTo>
                    <a:pt x="317" y="420"/>
                  </a:lnTo>
                  <a:lnTo>
                    <a:pt x="317" y="422"/>
                  </a:lnTo>
                  <a:lnTo>
                    <a:pt x="319" y="427"/>
                  </a:lnTo>
                  <a:lnTo>
                    <a:pt x="319" y="428"/>
                  </a:lnTo>
                  <a:lnTo>
                    <a:pt x="319" y="430"/>
                  </a:lnTo>
                  <a:lnTo>
                    <a:pt x="321" y="434"/>
                  </a:lnTo>
                  <a:lnTo>
                    <a:pt x="321" y="437"/>
                  </a:lnTo>
                  <a:lnTo>
                    <a:pt x="321" y="440"/>
                  </a:lnTo>
                  <a:lnTo>
                    <a:pt x="319" y="444"/>
                  </a:lnTo>
                  <a:lnTo>
                    <a:pt x="319" y="445"/>
                  </a:lnTo>
                  <a:lnTo>
                    <a:pt x="319" y="449"/>
                  </a:lnTo>
                  <a:lnTo>
                    <a:pt x="319" y="452"/>
                  </a:lnTo>
                  <a:lnTo>
                    <a:pt x="319" y="454"/>
                  </a:lnTo>
                  <a:lnTo>
                    <a:pt x="319" y="459"/>
                  </a:lnTo>
                  <a:lnTo>
                    <a:pt x="319" y="461"/>
                  </a:lnTo>
                  <a:lnTo>
                    <a:pt x="319" y="464"/>
                  </a:lnTo>
                  <a:lnTo>
                    <a:pt x="319" y="466"/>
                  </a:lnTo>
                  <a:lnTo>
                    <a:pt x="319" y="468"/>
                  </a:lnTo>
                  <a:lnTo>
                    <a:pt x="319" y="469"/>
                  </a:lnTo>
                  <a:lnTo>
                    <a:pt x="319" y="471"/>
                  </a:lnTo>
                  <a:lnTo>
                    <a:pt x="319" y="473"/>
                  </a:lnTo>
                  <a:lnTo>
                    <a:pt x="317" y="476"/>
                  </a:lnTo>
                  <a:lnTo>
                    <a:pt x="317" y="478"/>
                  </a:lnTo>
                  <a:lnTo>
                    <a:pt x="316" y="478"/>
                  </a:lnTo>
                  <a:lnTo>
                    <a:pt x="316" y="481"/>
                  </a:lnTo>
                  <a:lnTo>
                    <a:pt x="316" y="488"/>
                  </a:lnTo>
                  <a:lnTo>
                    <a:pt x="314" y="490"/>
                  </a:lnTo>
                  <a:lnTo>
                    <a:pt x="312" y="493"/>
                  </a:lnTo>
                  <a:lnTo>
                    <a:pt x="311" y="498"/>
                  </a:lnTo>
                  <a:lnTo>
                    <a:pt x="309" y="498"/>
                  </a:lnTo>
                  <a:lnTo>
                    <a:pt x="309" y="502"/>
                  </a:lnTo>
                  <a:lnTo>
                    <a:pt x="307" y="503"/>
                  </a:lnTo>
                  <a:lnTo>
                    <a:pt x="307" y="505"/>
                  </a:lnTo>
                  <a:lnTo>
                    <a:pt x="306" y="507"/>
                  </a:lnTo>
                  <a:lnTo>
                    <a:pt x="304" y="510"/>
                  </a:lnTo>
                  <a:lnTo>
                    <a:pt x="302" y="514"/>
                  </a:lnTo>
                  <a:lnTo>
                    <a:pt x="302" y="515"/>
                  </a:lnTo>
                  <a:lnTo>
                    <a:pt x="302" y="517"/>
                  </a:lnTo>
                  <a:lnTo>
                    <a:pt x="300" y="517"/>
                  </a:lnTo>
                  <a:lnTo>
                    <a:pt x="299" y="520"/>
                  </a:lnTo>
                  <a:lnTo>
                    <a:pt x="299" y="522"/>
                  </a:lnTo>
                  <a:lnTo>
                    <a:pt x="297" y="527"/>
                  </a:lnTo>
                  <a:lnTo>
                    <a:pt x="300" y="529"/>
                  </a:lnTo>
                  <a:lnTo>
                    <a:pt x="304" y="532"/>
                  </a:lnTo>
                  <a:lnTo>
                    <a:pt x="307" y="532"/>
                  </a:lnTo>
                  <a:lnTo>
                    <a:pt x="309" y="534"/>
                  </a:lnTo>
                  <a:lnTo>
                    <a:pt x="311" y="534"/>
                  </a:lnTo>
                  <a:lnTo>
                    <a:pt x="312" y="537"/>
                  </a:lnTo>
                  <a:lnTo>
                    <a:pt x="312" y="539"/>
                  </a:lnTo>
                  <a:lnTo>
                    <a:pt x="312" y="541"/>
                  </a:lnTo>
                  <a:lnTo>
                    <a:pt x="312" y="546"/>
                  </a:lnTo>
                  <a:lnTo>
                    <a:pt x="312" y="548"/>
                  </a:lnTo>
                  <a:lnTo>
                    <a:pt x="314" y="549"/>
                  </a:lnTo>
                  <a:lnTo>
                    <a:pt x="314" y="554"/>
                  </a:lnTo>
                  <a:lnTo>
                    <a:pt x="312" y="556"/>
                  </a:lnTo>
                  <a:lnTo>
                    <a:pt x="312" y="559"/>
                  </a:lnTo>
                  <a:lnTo>
                    <a:pt x="311" y="563"/>
                  </a:lnTo>
                  <a:lnTo>
                    <a:pt x="311" y="565"/>
                  </a:lnTo>
                  <a:lnTo>
                    <a:pt x="309" y="566"/>
                  </a:lnTo>
                  <a:lnTo>
                    <a:pt x="309" y="568"/>
                  </a:lnTo>
                  <a:lnTo>
                    <a:pt x="306" y="566"/>
                  </a:lnTo>
                  <a:lnTo>
                    <a:pt x="302" y="566"/>
                  </a:lnTo>
                  <a:lnTo>
                    <a:pt x="300" y="565"/>
                  </a:lnTo>
                  <a:lnTo>
                    <a:pt x="299" y="565"/>
                  </a:lnTo>
                  <a:lnTo>
                    <a:pt x="297" y="565"/>
                  </a:lnTo>
                  <a:lnTo>
                    <a:pt x="295" y="565"/>
                  </a:lnTo>
                  <a:lnTo>
                    <a:pt x="294" y="565"/>
                  </a:lnTo>
                  <a:lnTo>
                    <a:pt x="292" y="563"/>
                  </a:lnTo>
                  <a:lnTo>
                    <a:pt x="290" y="563"/>
                  </a:lnTo>
                  <a:lnTo>
                    <a:pt x="287" y="563"/>
                  </a:lnTo>
                  <a:lnTo>
                    <a:pt x="285" y="563"/>
                  </a:lnTo>
                  <a:lnTo>
                    <a:pt x="283" y="563"/>
                  </a:lnTo>
                  <a:lnTo>
                    <a:pt x="282" y="565"/>
                  </a:lnTo>
                  <a:lnTo>
                    <a:pt x="278" y="565"/>
                  </a:lnTo>
                  <a:lnTo>
                    <a:pt x="277" y="566"/>
                  </a:lnTo>
                  <a:lnTo>
                    <a:pt x="273" y="568"/>
                  </a:lnTo>
                  <a:lnTo>
                    <a:pt x="272" y="570"/>
                  </a:lnTo>
                  <a:lnTo>
                    <a:pt x="268" y="571"/>
                  </a:lnTo>
                  <a:lnTo>
                    <a:pt x="268" y="573"/>
                  </a:lnTo>
                  <a:lnTo>
                    <a:pt x="266" y="575"/>
                  </a:lnTo>
                  <a:lnTo>
                    <a:pt x="266" y="576"/>
                  </a:lnTo>
                  <a:lnTo>
                    <a:pt x="265" y="578"/>
                  </a:lnTo>
                  <a:lnTo>
                    <a:pt x="265" y="580"/>
                  </a:lnTo>
                  <a:lnTo>
                    <a:pt x="263" y="583"/>
                  </a:lnTo>
                  <a:lnTo>
                    <a:pt x="261" y="585"/>
                  </a:lnTo>
                  <a:lnTo>
                    <a:pt x="261" y="587"/>
                  </a:lnTo>
                  <a:lnTo>
                    <a:pt x="260" y="590"/>
                  </a:lnTo>
                  <a:lnTo>
                    <a:pt x="258" y="590"/>
                  </a:lnTo>
                  <a:lnTo>
                    <a:pt x="258" y="592"/>
                  </a:lnTo>
                  <a:lnTo>
                    <a:pt x="258" y="593"/>
                  </a:lnTo>
                  <a:lnTo>
                    <a:pt x="256" y="593"/>
                  </a:lnTo>
                  <a:lnTo>
                    <a:pt x="255" y="597"/>
                  </a:lnTo>
                  <a:lnTo>
                    <a:pt x="253" y="599"/>
                  </a:lnTo>
                  <a:lnTo>
                    <a:pt x="253" y="600"/>
                  </a:lnTo>
                  <a:lnTo>
                    <a:pt x="255" y="604"/>
                  </a:lnTo>
                  <a:lnTo>
                    <a:pt x="255" y="605"/>
                  </a:lnTo>
                  <a:lnTo>
                    <a:pt x="255" y="607"/>
                  </a:lnTo>
                  <a:lnTo>
                    <a:pt x="255" y="609"/>
                  </a:lnTo>
                  <a:lnTo>
                    <a:pt x="253" y="612"/>
                  </a:lnTo>
                  <a:lnTo>
                    <a:pt x="251" y="616"/>
                  </a:lnTo>
                  <a:lnTo>
                    <a:pt x="251" y="617"/>
                  </a:lnTo>
                  <a:lnTo>
                    <a:pt x="249" y="619"/>
                  </a:lnTo>
                  <a:lnTo>
                    <a:pt x="249" y="621"/>
                  </a:lnTo>
                  <a:lnTo>
                    <a:pt x="248" y="622"/>
                  </a:lnTo>
                  <a:lnTo>
                    <a:pt x="249" y="624"/>
                  </a:lnTo>
                  <a:lnTo>
                    <a:pt x="249" y="626"/>
                  </a:lnTo>
                  <a:lnTo>
                    <a:pt x="251" y="629"/>
                  </a:lnTo>
                  <a:lnTo>
                    <a:pt x="251" y="631"/>
                  </a:lnTo>
                  <a:lnTo>
                    <a:pt x="253" y="633"/>
                  </a:lnTo>
                  <a:lnTo>
                    <a:pt x="253" y="636"/>
                  </a:lnTo>
                  <a:lnTo>
                    <a:pt x="256" y="639"/>
                  </a:lnTo>
                  <a:lnTo>
                    <a:pt x="256" y="641"/>
                  </a:lnTo>
                  <a:lnTo>
                    <a:pt x="255" y="644"/>
                  </a:lnTo>
                  <a:lnTo>
                    <a:pt x="253" y="648"/>
                  </a:lnTo>
                  <a:lnTo>
                    <a:pt x="251" y="648"/>
                  </a:lnTo>
                  <a:lnTo>
                    <a:pt x="255" y="660"/>
                  </a:lnTo>
                  <a:lnTo>
                    <a:pt x="253" y="663"/>
                  </a:lnTo>
                  <a:lnTo>
                    <a:pt x="253" y="665"/>
                  </a:lnTo>
                  <a:lnTo>
                    <a:pt x="253" y="667"/>
                  </a:lnTo>
                  <a:lnTo>
                    <a:pt x="253" y="668"/>
                  </a:lnTo>
                  <a:lnTo>
                    <a:pt x="251" y="670"/>
                  </a:lnTo>
                  <a:lnTo>
                    <a:pt x="253" y="670"/>
                  </a:lnTo>
                  <a:lnTo>
                    <a:pt x="253" y="673"/>
                  </a:lnTo>
                  <a:lnTo>
                    <a:pt x="253" y="675"/>
                  </a:lnTo>
                  <a:lnTo>
                    <a:pt x="255" y="677"/>
                  </a:lnTo>
                  <a:lnTo>
                    <a:pt x="255" y="679"/>
                  </a:lnTo>
                  <a:lnTo>
                    <a:pt x="256" y="680"/>
                  </a:lnTo>
                  <a:lnTo>
                    <a:pt x="256" y="682"/>
                  </a:lnTo>
                  <a:lnTo>
                    <a:pt x="256" y="684"/>
                  </a:lnTo>
                  <a:lnTo>
                    <a:pt x="258" y="687"/>
                  </a:lnTo>
                  <a:lnTo>
                    <a:pt x="260" y="689"/>
                  </a:lnTo>
                  <a:lnTo>
                    <a:pt x="260" y="690"/>
                  </a:lnTo>
                  <a:lnTo>
                    <a:pt x="261" y="694"/>
                  </a:lnTo>
                  <a:lnTo>
                    <a:pt x="260" y="696"/>
                  </a:lnTo>
                  <a:lnTo>
                    <a:pt x="260" y="699"/>
                  </a:lnTo>
                  <a:lnTo>
                    <a:pt x="260" y="702"/>
                  </a:lnTo>
                  <a:lnTo>
                    <a:pt x="260" y="706"/>
                  </a:lnTo>
                  <a:lnTo>
                    <a:pt x="260" y="709"/>
                  </a:lnTo>
                  <a:lnTo>
                    <a:pt x="258" y="713"/>
                  </a:lnTo>
                  <a:lnTo>
                    <a:pt x="258" y="714"/>
                  </a:lnTo>
                  <a:lnTo>
                    <a:pt x="258" y="716"/>
                  </a:lnTo>
                  <a:lnTo>
                    <a:pt x="258" y="718"/>
                  </a:lnTo>
                  <a:lnTo>
                    <a:pt x="258" y="719"/>
                  </a:lnTo>
                  <a:lnTo>
                    <a:pt x="258" y="721"/>
                  </a:lnTo>
                  <a:lnTo>
                    <a:pt x="258" y="724"/>
                  </a:lnTo>
                  <a:lnTo>
                    <a:pt x="256" y="726"/>
                  </a:lnTo>
                  <a:lnTo>
                    <a:pt x="256" y="733"/>
                  </a:lnTo>
                  <a:lnTo>
                    <a:pt x="258" y="735"/>
                  </a:lnTo>
                  <a:lnTo>
                    <a:pt x="260" y="736"/>
                  </a:lnTo>
                  <a:lnTo>
                    <a:pt x="261" y="738"/>
                  </a:lnTo>
                  <a:lnTo>
                    <a:pt x="263" y="740"/>
                  </a:lnTo>
                  <a:lnTo>
                    <a:pt x="265" y="741"/>
                  </a:lnTo>
                  <a:lnTo>
                    <a:pt x="266" y="743"/>
                  </a:lnTo>
                  <a:lnTo>
                    <a:pt x="268" y="743"/>
                  </a:lnTo>
                  <a:lnTo>
                    <a:pt x="272" y="743"/>
                  </a:lnTo>
                  <a:lnTo>
                    <a:pt x="275" y="747"/>
                  </a:lnTo>
                  <a:lnTo>
                    <a:pt x="275" y="748"/>
                  </a:lnTo>
                  <a:lnTo>
                    <a:pt x="277" y="750"/>
                  </a:lnTo>
                  <a:lnTo>
                    <a:pt x="277" y="752"/>
                  </a:lnTo>
                  <a:lnTo>
                    <a:pt x="278" y="753"/>
                  </a:lnTo>
                  <a:lnTo>
                    <a:pt x="280" y="753"/>
                  </a:lnTo>
                  <a:lnTo>
                    <a:pt x="282" y="757"/>
                  </a:lnTo>
                  <a:lnTo>
                    <a:pt x="282" y="760"/>
                  </a:lnTo>
                  <a:lnTo>
                    <a:pt x="282" y="762"/>
                  </a:lnTo>
                  <a:lnTo>
                    <a:pt x="282" y="764"/>
                  </a:lnTo>
                  <a:lnTo>
                    <a:pt x="280" y="767"/>
                  </a:lnTo>
                  <a:lnTo>
                    <a:pt x="280" y="769"/>
                  </a:lnTo>
                  <a:lnTo>
                    <a:pt x="277" y="772"/>
                  </a:lnTo>
                  <a:lnTo>
                    <a:pt x="277" y="775"/>
                  </a:lnTo>
                  <a:lnTo>
                    <a:pt x="277" y="779"/>
                  </a:lnTo>
                  <a:lnTo>
                    <a:pt x="273" y="779"/>
                  </a:lnTo>
                  <a:lnTo>
                    <a:pt x="272" y="779"/>
                  </a:lnTo>
                  <a:lnTo>
                    <a:pt x="270" y="779"/>
                  </a:lnTo>
                  <a:lnTo>
                    <a:pt x="268" y="779"/>
                  </a:lnTo>
                  <a:lnTo>
                    <a:pt x="266" y="781"/>
                  </a:lnTo>
                  <a:lnTo>
                    <a:pt x="263" y="781"/>
                  </a:lnTo>
                  <a:lnTo>
                    <a:pt x="261" y="782"/>
                  </a:lnTo>
                  <a:lnTo>
                    <a:pt x="261" y="784"/>
                  </a:lnTo>
                  <a:lnTo>
                    <a:pt x="261" y="786"/>
                  </a:lnTo>
                  <a:lnTo>
                    <a:pt x="263" y="787"/>
                  </a:lnTo>
                  <a:lnTo>
                    <a:pt x="263" y="789"/>
                  </a:lnTo>
                  <a:lnTo>
                    <a:pt x="265" y="791"/>
                  </a:lnTo>
                  <a:lnTo>
                    <a:pt x="265" y="794"/>
                  </a:lnTo>
                  <a:lnTo>
                    <a:pt x="265" y="796"/>
                  </a:lnTo>
                  <a:lnTo>
                    <a:pt x="266" y="798"/>
                  </a:lnTo>
                  <a:lnTo>
                    <a:pt x="266" y="799"/>
                  </a:lnTo>
                  <a:lnTo>
                    <a:pt x="268" y="803"/>
                  </a:lnTo>
                  <a:lnTo>
                    <a:pt x="268" y="804"/>
                  </a:lnTo>
                  <a:lnTo>
                    <a:pt x="270" y="806"/>
                  </a:lnTo>
                  <a:lnTo>
                    <a:pt x="272" y="808"/>
                  </a:lnTo>
                  <a:lnTo>
                    <a:pt x="272" y="811"/>
                  </a:lnTo>
                  <a:lnTo>
                    <a:pt x="273" y="813"/>
                  </a:lnTo>
                  <a:lnTo>
                    <a:pt x="275" y="815"/>
                  </a:lnTo>
                  <a:lnTo>
                    <a:pt x="275" y="818"/>
                  </a:lnTo>
                  <a:lnTo>
                    <a:pt x="275" y="820"/>
                  </a:lnTo>
                  <a:lnTo>
                    <a:pt x="275" y="823"/>
                  </a:lnTo>
                  <a:lnTo>
                    <a:pt x="275" y="825"/>
                  </a:lnTo>
                  <a:lnTo>
                    <a:pt x="275" y="828"/>
                  </a:lnTo>
                  <a:lnTo>
                    <a:pt x="273" y="830"/>
                  </a:lnTo>
                  <a:lnTo>
                    <a:pt x="272" y="832"/>
                  </a:lnTo>
                  <a:lnTo>
                    <a:pt x="272" y="833"/>
                  </a:lnTo>
                  <a:lnTo>
                    <a:pt x="273" y="835"/>
                  </a:lnTo>
                  <a:lnTo>
                    <a:pt x="273" y="838"/>
                  </a:lnTo>
                  <a:lnTo>
                    <a:pt x="273" y="840"/>
                  </a:lnTo>
                  <a:lnTo>
                    <a:pt x="273" y="842"/>
                  </a:lnTo>
                  <a:lnTo>
                    <a:pt x="273" y="844"/>
                  </a:lnTo>
                  <a:lnTo>
                    <a:pt x="273" y="847"/>
                  </a:lnTo>
                  <a:lnTo>
                    <a:pt x="272" y="849"/>
                  </a:lnTo>
                  <a:lnTo>
                    <a:pt x="272" y="850"/>
                  </a:lnTo>
                  <a:lnTo>
                    <a:pt x="270" y="852"/>
                  </a:lnTo>
                  <a:lnTo>
                    <a:pt x="268" y="855"/>
                  </a:lnTo>
                  <a:lnTo>
                    <a:pt x="266" y="855"/>
                  </a:lnTo>
                  <a:lnTo>
                    <a:pt x="265" y="859"/>
                  </a:lnTo>
                  <a:lnTo>
                    <a:pt x="263" y="859"/>
                  </a:lnTo>
                  <a:lnTo>
                    <a:pt x="261" y="861"/>
                  </a:lnTo>
                  <a:lnTo>
                    <a:pt x="261" y="862"/>
                  </a:lnTo>
                  <a:lnTo>
                    <a:pt x="260" y="862"/>
                  </a:lnTo>
                  <a:lnTo>
                    <a:pt x="258" y="862"/>
                  </a:lnTo>
                  <a:lnTo>
                    <a:pt x="255" y="861"/>
                  </a:lnTo>
                  <a:lnTo>
                    <a:pt x="253" y="864"/>
                  </a:lnTo>
                  <a:lnTo>
                    <a:pt x="251" y="864"/>
                  </a:lnTo>
                  <a:lnTo>
                    <a:pt x="249" y="866"/>
                  </a:lnTo>
                  <a:lnTo>
                    <a:pt x="251" y="867"/>
                  </a:lnTo>
                  <a:lnTo>
                    <a:pt x="253" y="869"/>
                  </a:lnTo>
                  <a:lnTo>
                    <a:pt x="253" y="872"/>
                  </a:lnTo>
                  <a:lnTo>
                    <a:pt x="253" y="874"/>
                  </a:lnTo>
                  <a:lnTo>
                    <a:pt x="253" y="876"/>
                  </a:lnTo>
                  <a:lnTo>
                    <a:pt x="255" y="876"/>
                  </a:lnTo>
                  <a:lnTo>
                    <a:pt x="251" y="876"/>
                  </a:lnTo>
                  <a:lnTo>
                    <a:pt x="251" y="878"/>
                  </a:lnTo>
                  <a:lnTo>
                    <a:pt x="251" y="879"/>
                  </a:lnTo>
                  <a:lnTo>
                    <a:pt x="248" y="879"/>
                  </a:lnTo>
                  <a:lnTo>
                    <a:pt x="246" y="881"/>
                  </a:lnTo>
                  <a:lnTo>
                    <a:pt x="244" y="883"/>
                  </a:lnTo>
                  <a:lnTo>
                    <a:pt x="246" y="886"/>
                  </a:lnTo>
                  <a:lnTo>
                    <a:pt x="246" y="888"/>
                  </a:lnTo>
                  <a:lnTo>
                    <a:pt x="246" y="889"/>
                  </a:lnTo>
                  <a:lnTo>
                    <a:pt x="248" y="891"/>
                  </a:lnTo>
                  <a:lnTo>
                    <a:pt x="248" y="893"/>
                  </a:lnTo>
                  <a:lnTo>
                    <a:pt x="248" y="895"/>
                  </a:lnTo>
                  <a:lnTo>
                    <a:pt x="248" y="898"/>
                  </a:lnTo>
                  <a:lnTo>
                    <a:pt x="249" y="898"/>
                  </a:lnTo>
                  <a:lnTo>
                    <a:pt x="249" y="901"/>
                  </a:lnTo>
                  <a:lnTo>
                    <a:pt x="249" y="903"/>
                  </a:lnTo>
                  <a:lnTo>
                    <a:pt x="249" y="906"/>
                  </a:lnTo>
                  <a:lnTo>
                    <a:pt x="251" y="908"/>
                  </a:lnTo>
                  <a:lnTo>
                    <a:pt x="249" y="910"/>
                  </a:lnTo>
                  <a:lnTo>
                    <a:pt x="249" y="913"/>
                  </a:lnTo>
                  <a:lnTo>
                    <a:pt x="249" y="915"/>
                  </a:lnTo>
                  <a:lnTo>
                    <a:pt x="248" y="917"/>
                  </a:lnTo>
                  <a:lnTo>
                    <a:pt x="249" y="918"/>
                  </a:lnTo>
                  <a:lnTo>
                    <a:pt x="248" y="920"/>
                  </a:lnTo>
                  <a:lnTo>
                    <a:pt x="248" y="922"/>
                  </a:lnTo>
                  <a:lnTo>
                    <a:pt x="246" y="922"/>
                  </a:lnTo>
                  <a:lnTo>
                    <a:pt x="246" y="925"/>
                  </a:lnTo>
                  <a:lnTo>
                    <a:pt x="246" y="929"/>
                  </a:lnTo>
                  <a:lnTo>
                    <a:pt x="244" y="930"/>
                  </a:lnTo>
                  <a:lnTo>
                    <a:pt x="244" y="932"/>
                  </a:lnTo>
                  <a:lnTo>
                    <a:pt x="243" y="932"/>
                  </a:lnTo>
                  <a:lnTo>
                    <a:pt x="241" y="934"/>
                  </a:lnTo>
                  <a:lnTo>
                    <a:pt x="241" y="932"/>
                  </a:lnTo>
                  <a:lnTo>
                    <a:pt x="241" y="934"/>
                  </a:lnTo>
                  <a:lnTo>
                    <a:pt x="238" y="934"/>
                  </a:lnTo>
                  <a:lnTo>
                    <a:pt x="238" y="930"/>
                  </a:lnTo>
                  <a:lnTo>
                    <a:pt x="238" y="927"/>
                  </a:lnTo>
                  <a:lnTo>
                    <a:pt x="238" y="925"/>
                  </a:lnTo>
                  <a:lnTo>
                    <a:pt x="236" y="922"/>
                  </a:lnTo>
                  <a:lnTo>
                    <a:pt x="236" y="920"/>
                  </a:lnTo>
                  <a:lnTo>
                    <a:pt x="236" y="922"/>
                  </a:lnTo>
                  <a:lnTo>
                    <a:pt x="236" y="920"/>
                  </a:lnTo>
                  <a:lnTo>
                    <a:pt x="234" y="918"/>
                  </a:lnTo>
                  <a:lnTo>
                    <a:pt x="234" y="917"/>
                  </a:lnTo>
                  <a:lnTo>
                    <a:pt x="232" y="917"/>
                  </a:lnTo>
                  <a:lnTo>
                    <a:pt x="231" y="918"/>
                  </a:lnTo>
                  <a:lnTo>
                    <a:pt x="229" y="918"/>
                  </a:lnTo>
                  <a:lnTo>
                    <a:pt x="227" y="918"/>
                  </a:lnTo>
                  <a:lnTo>
                    <a:pt x="229" y="917"/>
                  </a:lnTo>
                  <a:lnTo>
                    <a:pt x="229" y="915"/>
                  </a:lnTo>
                  <a:lnTo>
                    <a:pt x="229" y="917"/>
                  </a:lnTo>
                  <a:lnTo>
                    <a:pt x="227" y="917"/>
                  </a:lnTo>
                  <a:lnTo>
                    <a:pt x="229" y="917"/>
                  </a:lnTo>
                  <a:lnTo>
                    <a:pt x="227" y="917"/>
                  </a:lnTo>
                  <a:lnTo>
                    <a:pt x="227" y="915"/>
                  </a:lnTo>
                  <a:lnTo>
                    <a:pt x="227" y="917"/>
                  </a:lnTo>
                  <a:lnTo>
                    <a:pt x="229" y="915"/>
                  </a:lnTo>
                  <a:lnTo>
                    <a:pt x="227" y="915"/>
                  </a:lnTo>
                  <a:lnTo>
                    <a:pt x="227" y="912"/>
                  </a:lnTo>
                  <a:lnTo>
                    <a:pt x="226" y="912"/>
                  </a:lnTo>
                  <a:lnTo>
                    <a:pt x="227" y="913"/>
                  </a:lnTo>
                  <a:lnTo>
                    <a:pt x="226" y="913"/>
                  </a:lnTo>
                  <a:lnTo>
                    <a:pt x="226" y="915"/>
                  </a:lnTo>
                  <a:lnTo>
                    <a:pt x="224" y="913"/>
                  </a:lnTo>
                  <a:lnTo>
                    <a:pt x="224" y="912"/>
                  </a:lnTo>
                  <a:lnTo>
                    <a:pt x="224" y="910"/>
                  </a:lnTo>
                  <a:lnTo>
                    <a:pt x="222" y="910"/>
                  </a:lnTo>
                  <a:lnTo>
                    <a:pt x="224" y="912"/>
                  </a:lnTo>
                  <a:lnTo>
                    <a:pt x="224" y="913"/>
                  </a:lnTo>
                  <a:lnTo>
                    <a:pt x="224" y="915"/>
                  </a:lnTo>
                  <a:lnTo>
                    <a:pt x="224" y="917"/>
                  </a:lnTo>
                  <a:lnTo>
                    <a:pt x="224" y="915"/>
                  </a:lnTo>
                  <a:lnTo>
                    <a:pt x="222" y="917"/>
                  </a:lnTo>
                  <a:lnTo>
                    <a:pt x="222" y="915"/>
                  </a:lnTo>
                  <a:lnTo>
                    <a:pt x="222" y="913"/>
                  </a:lnTo>
                  <a:lnTo>
                    <a:pt x="222" y="915"/>
                  </a:lnTo>
                  <a:lnTo>
                    <a:pt x="221" y="915"/>
                  </a:lnTo>
                  <a:lnTo>
                    <a:pt x="222" y="913"/>
                  </a:lnTo>
                  <a:lnTo>
                    <a:pt x="221" y="913"/>
                  </a:lnTo>
                  <a:lnTo>
                    <a:pt x="222" y="912"/>
                  </a:lnTo>
                  <a:lnTo>
                    <a:pt x="219" y="913"/>
                  </a:lnTo>
                  <a:lnTo>
                    <a:pt x="219" y="910"/>
                  </a:lnTo>
                  <a:lnTo>
                    <a:pt x="219" y="912"/>
                  </a:lnTo>
                  <a:lnTo>
                    <a:pt x="219" y="910"/>
                  </a:lnTo>
                  <a:lnTo>
                    <a:pt x="217" y="910"/>
                  </a:lnTo>
                  <a:lnTo>
                    <a:pt x="217" y="912"/>
                  </a:lnTo>
                  <a:lnTo>
                    <a:pt x="215" y="913"/>
                  </a:lnTo>
                  <a:lnTo>
                    <a:pt x="215" y="912"/>
                  </a:lnTo>
                  <a:lnTo>
                    <a:pt x="215" y="913"/>
                  </a:lnTo>
                  <a:lnTo>
                    <a:pt x="214" y="913"/>
                  </a:lnTo>
                  <a:lnTo>
                    <a:pt x="214" y="912"/>
                  </a:lnTo>
                  <a:lnTo>
                    <a:pt x="212" y="908"/>
                  </a:lnTo>
                  <a:lnTo>
                    <a:pt x="214" y="906"/>
                  </a:lnTo>
                  <a:lnTo>
                    <a:pt x="212" y="908"/>
                  </a:lnTo>
                  <a:lnTo>
                    <a:pt x="210" y="910"/>
                  </a:lnTo>
                  <a:lnTo>
                    <a:pt x="212" y="906"/>
                  </a:lnTo>
                  <a:lnTo>
                    <a:pt x="210" y="906"/>
                  </a:lnTo>
                  <a:lnTo>
                    <a:pt x="212" y="906"/>
                  </a:lnTo>
                  <a:lnTo>
                    <a:pt x="212" y="905"/>
                  </a:lnTo>
                  <a:lnTo>
                    <a:pt x="214" y="903"/>
                  </a:lnTo>
                  <a:lnTo>
                    <a:pt x="212" y="903"/>
                  </a:lnTo>
                  <a:lnTo>
                    <a:pt x="210" y="905"/>
                  </a:lnTo>
                  <a:lnTo>
                    <a:pt x="210" y="903"/>
                  </a:lnTo>
                  <a:lnTo>
                    <a:pt x="212" y="903"/>
                  </a:lnTo>
                  <a:lnTo>
                    <a:pt x="210" y="901"/>
                  </a:lnTo>
                  <a:lnTo>
                    <a:pt x="209" y="905"/>
                  </a:lnTo>
                  <a:lnTo>
                    <a:pt x="209" y="901"/>
                  </a:lnTo>
                  <a:lnTo>
                    <a:pt x="209" y="900"/>
                  </a:lnTo>
                  <a:lnTo>
                    <a:pt x="209" y="898"/>
                  </a:lnTo>
                  <a:lnTo>
                    <a:pt x="209" y="896"/>
                  </a:lnTo>
                  <a:lnTo>
                    <a:pt x="209" y="895"/>
                  </a:lnTo>
                  <a:lnTo>
                    <a:pt x="209" y="891"/>
                  </a:lnTo>
                  <a:lnTo>
                    <a:pt x="209" y="889"/>
                  </a:lnTo>
                  <a:lnTo>
                    <a:pt x="209" y="888"/>
                  </a:lnTo>
                  <a:lnTo>
                    <a:pt x="209" y="889"/>
                  </a:lnTo>
                  <a:lnTo>
                    <a:pt x="207" y="886"/>
                  </a:lnTo>
                  <a:lnTo>
                    <a:pt x="209" y="884"/>
                  </a:lnTo>
                  <a:lnTo>
                    <a:pt x="209" y="883"/>
                  </a:lnTo>
                  <a:lnTo>
                    <a:pt x="207" y="881"/>
                  </a:lnTo>
                  <a:lnTo>
                    <a:pt x="207" y="879"/>
                  </a:lnTo>
                  <a:lnTo>
                    <a:pt x="207" y="878"/>
                  </a:lnTo>
                  <a:lnTo>
                    <a:pt x="207" y="876"/>
                  </a:lnTo>
                  <a:lnTo>
                    <a:pt x="207" y="878"/>
                  </a:lnTo>
                  <a:lnTo>
                    <a:pt x="205" y="874"/>
                  </a:lnTo>
                  <a:lnTo>
                    <a:pt x="205" y="872"/>
                  </a:lnTo>
                  <a:lnTo>
                    <a:pt x="207" y="869"/>
                  </a:lnTo>
                  <a:lnTo>
                    <a:pt x="207" y="867"/>
                  </a:lnTo>
                  <a:lnTo>
                    <a:pt x="207" y="866"/>
                  </a:lnTo>
                  <a:lnTo>
                    <a:pt x="209" y="864"/>
                  </a:lnTo>
                  <a:lnTo>
                    <a:pt x="209" y="866"/>
                  </a:lnTo>
                  <a:lnTo>
                    <a:pt x="210" y="869"/>
                  </a:lnTo>
                  <a:lnTo>
                    <a:pt x="210" y="871"/>
                  </a:lnTo>
                  <a:lnTo>
                    <a:pt x="210" y="872"/>
                  </a:lnTo>
                  <a:lnTo>
                    <a:pt x="210" y="874"/>
                  </a:lnTo>
                  <a:lnTo>
                    <a:pt x="210" y="872"/>
                  </a:lnTo>
                  <a:lnTo>
                    <a:pt x="210" y="869"/>
                  </a:lnTo>
                  <a:lnTo>
                    <a:pt x="212" y="867"/>
                  </a:lnTo>
                  <a:lnTo>
                    <a:pt x="212" y="864"/>
                  </a:lnTo>
                  <a:lnTo>
                    <a:pt x="212" y="862"/>
                  </a:lnTo>
                  <a:lnTo>
                    <a:pt x="210" y="864"/>
                  </a:lnTo>
                  <a:lnTo>
                    <a:pt x="212" y="862"/>
                  </a:lnTo>
                  <a:lnTo>
                    <a:pt x="209" y="861"/>
                  </a:lnTo>
                  <a:lnTo>
                    <a:pt x="209" y="862"/>
                  </a:lnTo>
                  <a:lnTo>
                    <a:pt x="209" y="861"/>
                  </a:lnTo>
                  <a:lnTo>
                    <a:pt x="207" y="861"/>
                  </a:lnTo>
                  <a:lnTo>
                    <a:pt x="207" y="862"/>
                  </a:lnTo>
                  <a:lnTo>
                    <a:pt x="207" y="864"/>
                  </a:lnTo>
                  <a:lnTo>
                    <a:pt x="205" y="864"/>
                  </a:lnTo>
                  <a:lnTo>
                    <a:pt x="207" y="862"/>
                  </a:lnTo>
                  <a:lnTo>
                    <a:pt x="205" y="862"/>
                  </a:lnTo>
                  <a:lnTo>
                    <a:pt x="207" y="862"/>
                  </a:lnTo>
                  <a:lnTo>
                    <a:pt x="204" y="862"/>
                  </a:lnTo>
                  <a:lnTo>
                    <a:pt x="202" y="864"/>
                  </a:lnTo>
                  <a:lnTo>
                    <a:pt x="202" y="866"/>
                  </a:lnTo>
                  <a:lnTo>
                    <a:pt x="202" y="867"/>
                  </a:lnTo>
                  <a:lnTo>
                    <a:pt x="204" y="866"/>
                  </a:lnTo>
                  <a:lnTo>
                    <a:pt x="202" y="867"/>
                  </a:lnTo>
                  <a:lnTo>
                    <a:pt x="202" y="869"/>
                  </a:lnTo>
                  <a:lnTo>
                    <a:pt x="202" y="872"/>
                  </a:lnTo>
                  <a:lnTo>
                    <a:pt x="204" y="872"/>
                  </a:lnTo>
                  <a:lnTo>
                    <a:pt x="204" y="874"/>
                  </a:lnTo>
                  <a:lnTo>
                    <a:pt x="204" y="878"/>
                  </a:lnTo>
                  <a:lnTo>
                    <a:pt x="207" y="879"/>
                  </a:lnTo>
                  <a:lnTo>
                    <a:pt x="205" y="879"/>
                  </a:lnTo>
                  <a:lnTo>
                    <a:pt x="207" y="879"/>
                  </a:lnTo>
                  <a:lnTo>
                    <a:pt x="207" y="881"/>
                  </a:lnTo>
                  <a:lnTo>
                    <a:pt x="207" y="884"/>
                  </a:lnTo>
                  <a:lnTo>
                    <a:pt x="207" y="886"/>
                  </a:lnTo>
                  <a:lnTo>
                    <a:pt x="205" y="888"/>
                  </a:lnTo>
                  <a:lnTo>
                    <a:pt x="204" y="889"/>
                  </a:lnTo>
                  <a:lnTo>
                    <a:pt x="204" y="888"/>
                  </a:lnTo>
                  <a:lnTo>
                    <a:pt x="202" y="889"/>
                  </a:lnTo>
                  <a:lnTo>
                    <a:pt x="200" y="889"/>
                  </a:lnTo>
                  <a:lnTo>
                    <a:pt x="200" y="888"/>
                  </a:lnTo>
                  <a:lnTo>
                    <a:pt x="200" y="886"/>
                  </a:lnTo>
                  <a:lnTo>
                    <a:pt x="200" y="884"/>
                  </a:lnTo>
                  <a:lnTo>
                    <a:pt x="200" y="883"/>
                  </a:lnTo>
                  <a:lnTo>
                    <a:pt x="200" y="881"/>
                  </a:lnTo>
                  <a:lnTo>
                    <a:pt x="200" y="879"/>
                  </a:lnTo>
                  <a:lnTo>
                    <a:pt x="200" y="878"/>
                  </a:lnTo>
                  <a:lnTo>
                    <a:pt x="198" y="878"/>
                  </a:lnTo>
                  <a:lnTo>
                    <a:pt x="198" y="876"/>
                  </a:lnTo>
                  <a:lnTo>
                    <a:pt x="197" y="876"/>
                  </a:lnTo>
                  <a:lnTo>
                    <a:pt x="195" y="872"/>
                  </a:lnTo>
                  <a:lnTo>
                    <a:pt x="193" y="874"/>
                  </a:lnTo>
                  <a:lnTo>
                    <a:pt x="195" y="876"/>
                  </a:lnTo>
                  <a:lnTo>
                    <a:pt x="197" y="878"/>
                  </a:lnTo>
                  <a:lnTo>
                    <a:pt x="198" y="878"/>
                  </a:lnTo>
                  <a:lnTo>
                    <a:pt x="198" y="881"/>
                  </a:lnTo>
                  <a:lnTo>
                    <a:pt x="198" y="884"/>
                  </a:lnTo>
                  <a:lnTo>
                    <a:pt x="200" y="884"/>
                  </a:lnTo>
                  <a:lnTo>
                    <a:pt x="198" y="884"/>
                  </a:lnTo>
                  <a:lnTo>
                    <a:pt x="198" y="886"/>
                  </a:lnTo>
                  <a:lnTo>
                    <a:pt x="198" y="888"/>
                  </a:lnTo>
                  <a:lnTo>
                    <a:pt x="197" y="888"/>
                  </a:lnTo>
                  <a:lnTo>
                    <a:pt x="195" y="886"/>
                  </a:lnTo>
                  <a:lnTo>
                    <a:pt x="193" y="886"/>
                  </a:lnTo>
                  <a:lnTo>
                    <a:pt x="195" y="888"/>
                  </a:lnTo>
                  <a:lnTo>
                    <a:pt x="195" y="891"/>
                  </a:lnTo>
                  <a:lnTo>
                    <a:pt x="197" y="891"/>
                  </a:lnTo>
                  <a:lnTo>
                    <a:pt x="197" y="893"/>
                  </a:lnTo>
                  <a:lnTo>
                    <a:pt x="197" y="891"/>
                  </a:lnTo>
                  <a:lnTo>
                    <a:pt x="198" y="895"/>
                  </a:lnTo>
                  <a:lnTo>
                    <a:pt x="200" y="893"/>
                  </a:lnTo>
                  <a:lnTo>
                    <a:pt x="200" y="895"/>
                  </a:lnTo>
                  <a:lnTo>
                    <a:pt x="202" y="896"/>
                  </a:lnTo>
                  <a:lnTo>
                    <a:pt x="202" y="898"/>
                  </a:lnTo>
                  <a:lnTo>
                    <a:pt x="202" y="900"/>
                  </a:lnTo>
                  <a:lnTo>
                    <a:pt x="202" y="901"/>
                  </a:lnTo>
                  <a:lnTo>
                    <a:pt x="202" y="903"/>
                  </a:lnTo>
                  <a:lnTo>
                    <a:pt x="204" y="903"/>
                  </a:lnTo>
                  <a:lnTo>
                    <a:pt x="204" y="905"/>
                  </a:lnTo>
                  <a:lnTo>
                    <a:pt x="202" y="906"/>
                  </a:lnTo>
                  <a:lnTo>
                    <a:pt x="204" y="908"/>
                  </a:lnTo>
                  <a:lnTo>
                    <a:pt x="202" y="906"/>
                  </a:lnTo>
                  <a:lnTo>
                    <a:pt x="202" y="908"/>
                  </a:lnTo>
                  <a:lnTo>
                    <a:pt x="200" y="906"/>
                  </a:lnTo>
                  <a:lnTo>
                    <a:pt x="198" y="906"/>
                  </a:lnTo>
                  <a:lnTo>
                    <a:pt x="198" y="910"/>
                  </a:lnTo>
                  <a:lnTo>
                    <a:pt x="197" y="910"/>
                  </a:lnTo>
                  <a:lnTo>
                    <a:pt x="197" y="912"/>
                  </a:lnTo>
                  <a:lnTo>
                    <a:pt x="197" y="913"/>
                  </a:lnTo>
                  <a:lnTo>
                    <a:pt x="195" y="915"/>
                  </a:lnTo>
                  <a:lnTo>
                    <a:pt x="197" y="917"/>
                  </a:lnTo>
                  <a:lnTo>
                    <a:pt x="195" y="915"/>
                  </a:lnTo>
                  <a:lnTo>
                    <a:pt x="195" y="917"/>
                  </a:lnTo>
                  <a:lnTo>
                    <a:pt x="195" y="918"/>
                  </a:lnTo>
                  <a:lnTo>
                    <a:pt x="195" y="922"/>
                  </a:lnTo>
                  <a:close/>
                  <a:moveTo>
                    <a:pt x="334" y="206"/>
                  </a:moveTo>
                  <a:lnTo>
                    <a:pt x="336" y="207"/>
                  </a:lnTo>
                  <a:lnTo>
                    <a:pt x="338" y="206"/>
                  </a:lnTo>
                  <a:lnTo>
                    <a:pt x="340" y="206"/>
                  </a:lnTo>
                  <a:lnTo>
                    <a:pt x="340" y="207"/>
                  </a:lnTo>
                  <a:lnTo>
                    <a:pt x="341" y="209"/>
                  </a:lnTo>
                  <a:lnTo>
                    <a:pt x="341" y="211"/>
                  </a:lnTo>
                  <a:lnTo>
                    <a:pt x="341" y="212"/>
                  </a:lnTo>
                  <a:lnTo>
                    <a:pt x="341" y="214"/>
                  </a:lnTo>
                  <a:lnTo>
                    <a:pt x="341" y="218"/>
                  </a:lnTo>
                  <a:lnTo>
                    <a:pt x="341" y="219"/>
                  </a:lnTo>
                  <a:lnTo>
                    <a:pt x="340" y="219"/>
                  </a:lnTo>
                  <a:lnTo>
                    <a:pt x="340" y="223"/>
                  </a:lnTo>
                  <a:lnTo>
                    <a:pt x="338" y="223"/>
                  </a:lnTo>
                  <a:lnTo>
                    <a:pt x="340" y="223"/>
                  </a:lnTo>
                  <a:lnTo>
                    <a:pt x="341" y="219"/>
                  </a:lnTo>
                  <a:lnTo>
                    <a:pt x="343" y="218"/>
                  </a:lnTo>
                  <a:lnTo>
                    <a:pt x="343" y="219"/>
                  </a:lnTo>
                  <a:lnTo>
                    <a:pt x="345" y="221"/>
                  </a:lnTo>
                  <a:lnTo>
                    <a:pt x="343" y="224"/>
                  </a:lnTo>
                  <a:lnTo>
                    <a:pt x="341" y="228"/>
                  </a:lnTo>
                  <a:lnTo>
                    <a:pt x="341" y="229"/>
                  </a:lnTo>
                  <a:lnTo>
                    <a:pt x="340" y="229"/>
                  </a:lnTo>
                  <a:lnTo>
                    <a:pt x="338" y="231"/>
                  </a:lnTo>
                  <a:lnTo>
                    <a:pt x="340" y="233"/>
                  </a:lnTo>
                  <a:lnTo>
                    <a:pt x="340" y="236"/>
                  </a:lnTo>
                  <a:lnTo>
                    <a:pt x="338" y="236"/>
                  </a:lnTo>
                  <a:lnTo>
                    <a:pt x="338" y="238"/>
                  </a:lnTo>
                  <a:lnTo>
                    <a:pt x="338" y="236"/>
                  </a:lnTo>
                  <a:lnTo>
                    <a:pt x="340" y="235"/>
                  </a:lnTo>
                  <a:lnTo>
                    <a:pt x="340" y="233"/>
                  </a:lnTo>
                  <a:lnTo>
                    <a:pt x="340" y="231"/>
                  </a:lnTo>
                  <a:lnTo>
                    <a:pt x="341" y="229"/>
                  </a:lnTo>
                  <a:lnTo>
                    <a:pt x="343" y="229"/>
                  </a:lnTo>
                  <a:lnTo>
                    <a:pt x="345" y="228"/>
                  </a:lnTo>
                  <a:lnTo>
                    <a:pt x="346" y="228"/>
                  </a:lnTo>
                  <a:lnTo>
                    <a:pt x="346" y="229"/>
                  </a:lnTo>
                  <a:lnTo>
                    <a:pt x="346" y="228"/>
                  </a:lnTo>
                  <a:lnTo>
                    <a:pt x="345" y="226"/>
                  </a:lnTo>
                  <a:lnTo>
                    <a:pt x="345" y="224"/>
                  </a:lnTo>
                  <a:lnTo>
                    <a:pt x="345" y="223"/>
                  </a:lnTo>
                  <a:lnTo>
                    <a:pt x="346" y="221"/>
                  </a:lnTo>
                  <a:lnTo>
                    <a:pt x="348" y="223"/>
                  </a:lnTo>
                  <a:lnTo>
                    <a:pt x="350" y="223"/>
                  </a:lnTo>
                  <a:lnTo>
                    <a:pt x="351" y="224"/>
                  </a:lnTo>
                  <a:lnTo>
                    <a:pt x="350" y="223"/>
                  </a:lnTo>
                  <a:lnTo>
                    <a:pt x="351" y="221"/>
                  </a:lnTo>
                  <a:lnTo>
                    <a:pt x="350" y="221"/>
                  </a:lnTo>
                  <a:lnTo>
                    <a:pt x="348" y="219"/>
                  </a:lnTo>
                  <a:lnTo>
                    <a:pt x="346" y="219"/>
                  </a:lnTo>
                  <a:lnTo>
                    <a:pt x="346" y="216"/>
                  </a:lnTo>
                  <a:lnTo>
                    <a:pt x="346" y="214"/>
                  </a:lnTo>
                  <a:lnTo>
                    <a:pt x="348" y="212"/>
                  </a:lnTo>
                  <a:lnTo>
                    <a:pt x="350" y="212"/>
                  </a:lnTo>
                  <a:lnTo>
                    <a:pt x="351" y="214"/>
                  </a:lnTo>
                  <a:lnTo>
                    <a:pt x="351" y="212"/>
                  </a:lnTo>
                  <a:lnTo>
                    <a:pt x="350" y="211"/>
                  </a:lnTo>
                  <a:lnTo>
                    <a:pt x="350" y="209"/>
                  </a:lnTo>
                  <a:lnTo>
                    <a:pt x="351" y="211"/>
                  </a:lnTo>
                  <a:lnTo>
                    <a:pt x="355" y="212"/>
                  </a:lnTo>
                  <a:lnTo>
                    <a:pt x="357" y="212"/>
                  </a:lnTo>
                  <a:lnTo>
                    <a:pt x="357" y="216"/>
                  </a:lnTo>
                  <a:lnTo>
                    <a:pt x="358" y="214"/>
                  </a:lnTo>
                  <a:lnTo>
                    <a:pt x="358" y="216"/>
                  </a:lnTo>
                  <a:lnTo>
                    <a:pt x="358" y="218"/>
                  </a:lnTo>
                  <a:lnTo>
                    <a:pt x="360" y="218"/>
                  </a:lnTo>
                  <a:lnTo>
                    <a:pt x="358" y="219"/>
                  </a:lnTo>
                  <a:lnTo>
                    <a:pt x="360" y="221"/>
                  </a:lnTo>
                  <a:lnTo>
                    <a:pt x="358" y="223"/>
                  </a:lnTo>
                  <a:lnTo>
                    <a:pt x="360" y="223"/>
                  </a:lnTo>
                  <a:lnTo>
                    <a:pt x="360" y="221"/>
                  </a:lnTo>
                  <a:lnTo>
                    <a:pt x="360" y="223"/>
                  </a:lnTo>
                  <a:lnTo>
                    <a:pt x="358" y="226"/>
                  </a:lnTo>
                  <a:lnTo>
                    <a:pt x="360" y="226"/>
                  </a:lnTo>
                  <a:lnTo>
                    <a:pt x="362" y="226"/>
                  </a:lnTo>
                  <a:lnTo>
                    <a:pt x="360" y="226"/>
                  </a:lnTo>
                  <a:lnTo>
                    <a:pt x="360" y="228"/>
                  </a:lnTo>
                  <a:lnTo>
                    <a:pt x="360" y="229"/>
                  </a:lnTo>
                  <a:lnTo>
                    <a:pt x="358" y="231"/>
                  </a:lnTo>
                  <a:lnTo>
                    <a:pt x="358" y="233"/>
                  </a:lnTo>
                  <a:lnTo>
                    <a:pt x="357" y="235"/>
                  </a:lnTo>
                  <a:lnTo>
                    <a:pt x="355" y="235"/>
                  </a:lnTo>
                  <a:lnTo>
                    <a:pt x="353" y="235"/>
                  </a:lnTo>
                  <a:lnTo>
                    <a:pt x="351" y="235"/>
                  </a:lnTo>
                  <a:lnTo>
                    <a:pt x="350" y="235"/>
                  </a:lnTo>
                  <a:lnTo>
                    <a:pt x="350" y="238"/>
                  </a:lnTo>
                  <a:lnTo>
                    <a:pt x="348" y="236"/>
                  </a:lnTo>
                  <a:lnTo>
                    <a:pt x="348" y="238"/>
                  </a:lnTo>
                  <a:lnTo>
                    <a:pt x="348" y="240"/>
                  </a:lnTo>
                  <a:lnTo>
                    <a:pt x="348" y="241"/>
                  </a:lnTo>
                  <a:lnTo>
                    <a:pt x="346" y="243"/>
                  </a:lnTo>
                  <a:lnTo>
                    <a:pt x="346" y="246"/>
                  </a:lnTo>
                  <a:lnTo>
                    <a:pt x="343" y="248"/>
                  </a:lnTo>
                  <a:lnTo>
                    <a:pt x="343" y="245"/>
                  </a:lnTo>
                  <a:lnTo>
                    <a:pt x="343" y="243"/>
                  </a:lnTo>
                  <a:lnTo>
                    <a:pt x="343" y="241"/>
                  </a:lnTo>
                  <a:lnTo>
                    <a:pt x="341" y="240"/>
                  </a:lnTo>
                  <a:lnTo>
                    <a:pt x="341" y="241"/>
                  </a:lnTo>
                  <a:lnTo>
                    <a:pt x="343" y="243"/>
                  </a:lnTo>
                  <a:lnTo>
                    <a:pt x="341" y="245"/>
                  </a:lnTo>
                  <a:lnTo>
                    <a:pt x="340" y="243"/>
                  </a:lnTo>
                  <a:lnTo>
                    <a:pt x="340" y="245"/>
                  </a:lnTo>
                  <a:lnTo>
                    <a:pt x="341" y="245"/>
                  </a:lnTo>
                  <a:lnTo>
                    <a:pt x="341" y="246"/>
                  </a:lnTo>
                  <a:lnTo>
                    <a:pt x="340" y="246"/>
                  </a:lnTo>
                  <a:lnTo>
                    <a:pt x="340" y="245"/>
                  </a:lnTo>
                  <a:lnTo>
                    <a:pt x="340" y="246"/>
                  </a:lnTo>
                  <a:lnTo>
                    <a:pt x="340" y="250"/>
                  </a:lnTo>
                  <a:lnTo>
                    <a:pt x="336" y="250"/>
                  </a:lnTo>
                  <a:lnTo>
                    <a:pt x="338" y="250"/>
                  </a:lnTo>
                  <a:lnTo>
                    <a:pt x="340" y="250"/>
                  </a:lnTo>
                  <a:lnTo>
                    <a:pt x="338" y="250"/>
                  </a:lnTo>
                  <a:lnTo>
                    <a:pt x="338" y="252"/>
                  </a:lnTo>
                  <a:lnTo>
                    <a:pt x="338" y="253"/>
                  </a:lnTo>
                  <a:lnTo>
                    <a:pt x="336" y="253"/>
                  </a:lnTo>
                  <a:lnTo>
                    <a:pt x="338" y="255"/>
                  </a:lnTo>
                  <a:lnTo>
                    <a:pt x="336" y="255"/>
                  </a:lnTo>
                  <a:lnTo>
                    <a:pt x="334" y="255"/>
                  </a:lnTo>
                  <a:lnTo>
                    <a:pt x="336" y="255"/>
                  </a:lnTo>
                  <a:lnTo>
                    <a:pt x="334" y="253"/>
                  </a:lnTo>
                  <a:lnTo>
                    <a:pt x="334" y="255"/>
                  </a:lnTo>
                  <a:lnTo>
                    <a:pt x="334" y="253"/>
                  </a:lnTo>
                  <a:lnTo>
                    <a:pt x="336" y="253"/>
                  </a:lnTo>
                  <a:lnTo>
                    <a:pt x="334" y="253"/>
                  </a:lnTo>
                  <a:lnTo>
                    <a:pt x="333" y="253"/>
                  </a:lnTo>
                  <a:lnTo>
                    <a:pt x="333" y="252"/>
                  </a:lnTo>
                  <a:lnTo>
                    <a:pt x="333" y="253"/>
                  </a:lnTo>
                  <a:lnTo>
                    <a:pt x="331" y="252"/>
                  </a:lnTo>
                  <a:lnTo>
                    <a:pt x="331" y="253"/>
                  </a:lnTo>
                  <a:lnTo>
                    <a:pt x="331" y="252"/>
                  </a:lnTo>
                  <a:lnTo>
                    <a:pt x="329" y="252"/>
                  </a:lnTo>
                  <a:lnTo>
                    <a:pt x="329" y="253"/>
                  </a:lnTo>
                  <a:lnTo>
                    <a:pt x="328" y="252"/>
                  </a:lnTo>
                  <a:lnTo>
                    <a:pt x="329" y="252"/>
                  </a:lnTo>
                  <a:lnTo>
                    <a:pt x="329" y="250"/>
                  </a:lnTo>
                  <a:lnTo>
                    <a:pt x="329" y="248"/>
                  </a:lnTo>
                  <a:lnTo>
                    <a:pt x="331" y="246"/>
                  </a:lnTo>
                  <a:lnTo>
                    <a:pt x="333" y="246"/>
                  </a:lnTo>
                  <a:lnTo>
                    <a:pt x="333" y="245"/>
                  </a:lnTo>
                  <a:lnTo>
                    <a:pt x="333" y="243"/>
                  </a:lnTo>
                  <a:lnTo>
                    <a:pt x="334" y="241"/>
                  </a:lnTo>
                  <a:lnTo>
                    <a:pt x="334" y="240"/>
                  </a:lnTo>
                  <a:lnTo>
                    <a:pt x="333" y="240"/>
                  </a:lnTo>
                  <a:lnTo>
                    <a:pt x="334" y="241"/>
                  </a:lnTo>
                  <a:lnTo>
                    <a:pt x="333" y="243"/>
                  </a:lnTo>
                  <a:lnTo>
                    <a:pt x="331" y="246"/>
                  </a:lnTo>
                  <a:lnTo>
                    <a:pt x="329" y="246"/>
                  </a:lnTo>
                  <a:lnTo>
                    <a:pt x="329" y="248"/>
                  </a:lnTo>
                  <a:lnTo>
                    <a:pt x="328" y="248"/>
                  </a:lnTo>
                  <a:lnTo>
                    <a:pt x="326" y="250"/>
                  </a:lnTo>
                  <a:lnTo>
                    <a:pt x="326" y="252"/>
                  </a:lnTo>
                  <a:lnTo>
                    <a:pt x="324" y="252"/>
                  </a:lnTo>
                  <a:lnTo>
                    <a:pt x="326" y="252"/>
                  </a:lnTo>
                  <a:lnTo>
                    <a:pt x="326" y="253"/>
                  </a:lnTo>
                  <a:lnTo>
                    <a:pt x="324" y="253"/>
                  </a:lnTo>
                  <a:lnTo>
                    <a:pt x="324" y="255"/>
                  </a:lnTo>
                  <a:lnTo>
                    <a:pt x="323" y="255"/>
                  </a:lnTo>
                  <a:lnTo>
                    <a:pt x="323" y="257"/>
                  </a:lnTo>
                  <a:lnTo>
                    <a:pt x="321" y="255"/>
                  </a:lnTo>
                  <a:lnTo>
                    <a:pt x="319" y="257"/>
                  </a:lnTo>
                  <a:lnTo>
                    <a:pt x="319" y="255"/>
                  </a:lnTo>
                  <a:lnTo>
                    <a:pt x="321" y="253"/>
                  </a:lnTo>
                  <a:lnTo>
                    <a:pt x="321" y="252"/>
                  </a:lnTo>
                  <a:lnTo>
                    <a:pt x="321" y="250"/>
                  </a:lnTo>
                  <a:lnTo>
                    <a:pt x="323" y="250"/>
                  </a:lnTo>
                  <a:lnTo>
                    <a:pt x="323" y="248"/>
                  </a:lnTo>
                  <a:lnTo>
                    <a:pt x="323" y="246"/>
                  </a:lnTo>
                  <a:lnTo>
                    <a:pt x="324" y="246"/>
                  </a:lnTo>
                  <a:lnTo>
                    <a:pt x="324" y="243"/>
                  </a:lnTo>
                  <a:lnTo>
                    <a:pt x="328" y="245"/>
                  </a:lnTo>
                  <a:lnTo>
                    <a:pt x="329" y="243"/>
                  </a:lnTo>
                  <a:lnTo>
                    <a:pt x="328" y="243"/>
                  </a:lnTo>
                  <a:lnTo>
                    <a:pt x="326" y="243"/>
                  </a:lnTo>
                  <a:lnTo>
                    <a:pt x="324" y="241"/>
                  </a:lnTo>
                  <a:lnTo>
                    <a:pt x="326" y="240"/>
                  </a:lnTo>
                  <a:lnTo>
                    <a:pt x="326" y="241"/>
                  </a:lnTo>
                  <a:lnTo>
                    <a:pt x="328" y="241"/>
                  </a:lnTo>
                  <a:lnTo>
                    <a:pt x="326" y="241"/>
                  </a:lnTo>
                  <a:lnTo>
                    <a:pt x="326" y="240"/>
                  </a:lnTo>
                  <a:lnTo>
                    <a:pt x="323" y="240"/>
                  </a:lnTo>
                  <a:lnTo>
                    <a:pt x="324" y="236"/>
                  </a:lnTo>
                  <a:lnTo>
                    <a:pt x="326" y="236"/>
                  </a:lnTo>
                  <a:lnTo>
                    <a:pt x="328" y="236"/>
                  </a:lnTo>
                  <a:lnTo>
                    <a:pt x="326" y="235"/>
                  </a:lnTo>
                  <a:lnTo>
                    <a:pt x="328" y="235"/>
                  </a:lnTo>
                  <a:lnTo>
                    <a:pt x="329" y="233"/>
                  </a:lnTo>
                  <a:lnTo>
                    <a:pt x="331" y="233"/>
                  </a:lnTo>
                  <a:lnTo>
                    <a:pt x="329" y="231"/>
                  </a:lnTo>
                  <a:lnTo>
                    <a:pt x="333" y="231"/>
                  </a:lnTo>
                  <a:lnTo>
                    <a:pt x="333" y="233"/>
                  </a:lnTo>
                  <a:lnTo>
                    <a:pt x="334" y="233"/>
                  </a:lnTo>
                  <a:lnTo>
                    <a:pt x="333" y="231"/>
                  </a:lnTo>
                  <a:lnTo>
                    <a:pt x="331" y="231"/>
                  </a:lnTo>
                  <a:lnTo>
                    <a:pt x="329" y="229"/>
                  </a:lnTo>
                  <a:lnTo>
                    <a:pt x="331" y="228"/>
                  </a:lnTo>
                  <a:lnTo>
                    <a:pt x="329" y="226"/>
                  </a:lnTo>
                  <a:lnTo>
                    <a:pt x="329" y="224"/>
                  </a:lnTo>
                  <a:lnTo>
                    <a:pt x="331" y="224"/>
                  </a:lnTo>
                  <a:lnTo>
                    <a:pt x="334" y="223"/>
                  </a:lnTo>
                  <a:lnTo>
                    <a:pt x="336" y="226"/>
                  </a:lnTo>
                  <a:lnTo>
                    <a:pt x="334" y="224"/>
                  </a:lnTo>
                  <a:lnTo>
                    <a:pt x="334" y="223"/>
                  </a:lnTo>
                  <a:lnTo>
                    <a:pt x="333" y="223"/>
                  </a:lnTo>
                  <a:lnTo>
                    <a:pt x="331" y="224"/>
                  </a:lnTo>
                  <a:lnTo>
                    <a:pt x="331" y="223"/>
                  </a:lnTo>
                  <a:lnTo>
                    <a:pt x="329" y="223"/>
                  </a:lnTo>
                  <a:lnTo>
                    <a:pt x="329" y="221"/>
                  </a:lnTo>
                  <a:lnTo>
                    <a:pt x="329" y="218"/>
                  </a:lnTo>
                  <a:lnTo>
                    <a:pt x="331" y="218"/>
                  </a:lnTo>
                  <a:lnTo>
                    <a:pt x="331" y="219"/>
                  </a:lnTo>
                  <a:lnTo>
                    <a:pt x="331" y="218"/>
                  </a:lnTo>
                  <a:lnTo>
                    <a:pt x="333" y="218"/>
                  </a:lnTo>
                  <a:lnTo>
                    <a:pt x="334" y="218"/>
                  </a:lnTo>
                  <a:lnTo>
                    <a:pt x="334" y="216"/>
                  </a:lnTo>
                  <a:lnTo>
                    <a:pt x="333" y="216"/>
                  </a:lnTo>
                  <a:lnTo>
                    <a:pt x="331" y="214"/>
                  </a:lnTo>
                  <a:lnTo>
                    <a:pt x="331" y="212"/>
                  </a:lnTo>
                  <a:lnTo>
                    <a:pt x="333" y="212"/>
                  </a:lnTo>
                  <a:lnTo>
                    <a:pt x="333" y="211"/>
                  </a:lnTo>
                  <a:lnTo>
                    <a:pt x="333" y="207"/>
                  </a:lnTo>
                  <a:lnTo>
                    <a:pt x="334" y="206"/>
                  </a:lnTo>
                  <a:close/>
                  <a:moveTo>
                    <a:pt x="377" y="156"/>
                  </a:moveTo>
                  <a:lnTo>
                    <a:pt x="379" y="158"/>
                  </a:lnTo>
                  <a:lnTo>
                    <a:pt x="380" y="161"/>
                  </a:lnTo>
                  <a:lnTo>
                    <a:pt x="380" y="163"/>
                  </a:lnTo>
                  <a:lnTo>
                    <a:pt x="382" y="163"/>
                  </a:lnTo>
                  <a:lnTo>
                    <a:pt x="382" y="161"/>
                  </a:lnTo>
                  <a:lnTo>
                    <a:pt x="384" y="161"/>
                  </a:lnTo>
                  <a:lnTo>
                    <a:pt x="380" y="160"/>
                  </a:lnTo>
                  <a:lnTo>
                    <a:pt x="380" y="158"/>
                  </a:lnTo>
                  <a:lnTo>
                    <a:pt x="380" y="156"/>
                  </a:lnTo>
                  <a:lnTo>
                    <a:pt x="382" y="155"/>
                  </a:lnTo>
                  <a:lnTo>
                    <a:pt x="384" y="158"/>
                  </a:lnTo>
                  <a:lnTo>
                    <a:pt x="384" y="160"/>
                  </a:lnTo>
                  <a:lnTo>
                    <a:pt x="385" y="160"/>
                  </a:lnTo>
                  <a:lnTo>
                    <a:pt x="385" y="156"/>
                  </a:lnTo>
                  <a:lnTo>
                    <a:pt x="385" y="158"/>
                  </a:lnTo>
                  <a:lnTo>
                    <a:pt x="385" y="156"/>
                  </a:lnTo>
                  <a:lnTo>
                    <a:pt x="387" y="156"/>
                  </a:lnTo>
                  <a:lnTo>
                    <a:pt x="387" y="158"/>
                  </a:lnTo>
                  <a:lnTo>
                    <a:pt x="389" y="161"/>
                  </a:lnTo>
                  <a:lnTo>
                    <a:pt x="387" y="163"/>
                  </a:lnTo>
                  <a:lnTo>
                    <a:pt x="387" y="165"/>
                  </a:lnTo>
                  <a:lnTo>
                    <a:pt x="385" y="165"/>
                  </a:lnTo>
                  <a:lnTo>
                    <a:pt x="387" y="166"/>
                  </a:lnTo>
                  <a:lnTo>
                    <a:pt x="387" y="165"/>
                  </a:lnTo>
                  <a:lnTo>
                    <a:pt x="387" y="163"/>
                  </a:lnTo>
                  <a:lnTo>
                    <a:pt x="389" y="161"/>
                  </a:lnTo>
                  <a:lnTo>
                    <a:pt x="389" y="160"/>
                  </a:lnTo>
                  <a:lnTo>
                    <a:pt x="391" y="161"/>
                  </a:lnTo>
                  <a:lnTo>
                    <a:pt x="392" y="163"/>
                  </a:lnTo>
                  <a:lnTo>
                    <a:pt x="391" y="163"/>
                  </a:lnTo>
                  <a:lnTo>
                    <a:pt x="391" y="165"/>
                  </a:lnTo>
                  <a:lnTo>
                    <a:pt x="391" y="166"/>
                  </a:lnTo>
                  <a:lnTo>
                    <a:pt x="389" y="168"/>
                  </a:lnTo>
                  <a:lnTo>
                    <a:pt x="391" y="168"/>
                  </a:lnTo>
                  <a:lnTo>
                    <a:pt x="391" y="166"/>
                  </a:lnTo>
                  <a:lnTo>
                    <a:pt x="392" y="166"/>
                  </a:lnTo>
                  <a:lnTo>
                    <a:pt x="392" y="168"/>
                  </a:lnTo>
                  <a:lnTo>
                    <a:pt x="392" y="170"/>
                  </a:lnTo>
                  <a:lnTo>
                    <a:pt x="392" y="172"/>
                  </a:lnTo>
                  <a:lnTo>
                    <a:pt x="394" y="172"/>
                  </a:lnTo>
                  <a:lnTo>
                    <a:pt x="392" y="172"/>
                  </a:lnTo>
                  <a:lnTo>
                    <a:pt x="391" y="173"/>
                  </a:lnTo>
                  <a:lnTo>
                    <a:pt x="391" y="175"/>
                  </a:lnTo>
                  <a:lnTo>
                    <a:pt x="389" y="175"/>
                  </a:lnTo>
                  <a:lnTo>
                    <a:pt x="391" y="177"/>
                  </a:lnTo>
                  <a:lnTo>
                    <a:pt x="389" y="178"/>
                  </a:lnTo>
                  <a:lnTo>
                    <a:pt x="391" y="178"/>
                  </a:lnTo>
                  <a:lnTo>
                    <a:pt x="392" y="180"/>
                  </a:lnTo>
                  <a:lnTo>
                    <a:pt x="391" y="182"/>
                  </a:lnTo>
                  <a:lnTo>
                    <a:pt x="389" y="182"/>
                  </a:lnTo>
                  <a:lnTo>
                    <a:pt x="391" y="183"/>
                  </a:lnTo>
                  <a:lnTo>
                    <a:pt x="394" y="183"/>
                  </a:lnTo>
                  <a:lnTo>
                    <a:pt x="392" y="185"/>
                  </a:lnTo>
                  <a:lnTo>
                    <a:pt x="391" y="185"/>
                  </a:lnTo>
                  <a:lnTo>
                    <a:pt x="389" y="187"/>
                  </a:lnTo>
                  <a:lnTo>
                    <a:pt x="385" y="187"/>
                  </a:lnTo>
                  <a:lnTo>
                    <a:pt x="384" y="189"/>
                  </a:lnTo>
                  <a:lnTo>
                    <a:pt x="382" y="187"/>
                  </a:lnTo>
                  <a:lnTo>
                    <a:pt x="380" y="189"/>
                  </a:lnTo>
                  <a:lnTo>
                    <a:pt x="380" y="187"/>
                  </a:lnTo>
                  <a:lnTo>
                    <a:pt x="380" y="185"/>
                  </a:lnTo>
                  <a:lnTo>
                    <a:pt x="379" y="185"/>
                  </a:lnTo>
                  <a:lnTo>
                    <a:pt x="379" y="187"/>
                  </a:lnTo>
                  <a:lnTo>
                    <a:pt x="377" y="187"/>
                  </a:lnTo>
                  <a:lnTo>
                    <a:pt x="377" y="190"/>
                  </a:lnTo>
                  <a:lnTo>
                    <a:pt x="375" y="190"/>
                  </a:lnTo>
                  <a:lnTo>
                    <a:pt x="375" y="192"/>
                  </a:lnTo>
                  <a:lnTo>
                    <a:pt x="374" y="194"/>
                  </a:lnTo>
                  <a:lnTo>
                    <a:pt x="372" y="194"/>
                  </a:lnTo>
                  <a:lnTo>
                    <a:pt x="374" y="195"/>
                  </a:lnTo>
                  <a:lnTo>
                    <a:pt x="372" y="197"/>
                  </a:lnTo>
                  <a:lnTo>
                    <a:pt x="374" y="197"/>
                  </a:lnTo>
                  <a:lnTo>
                    <a:pt x="374" y="199"/>
                  </a:lnTo>
                  <a:lnTo>
                    <a:pt x="372" y="199"/>
                  </a:lnTo>
                  <a:lnTo>
                    <a:pt x="370" y="201"/>
                  </a:lnTo>
                  <a:lnTo>
                    <a:pt x="368" y="199"/>
                  </a:lnTo>
                  <a:lnTo>
                    <a:pt x="370" y="199"/>
                  </a:lnTo>
                  <a:lnTo>
                    <a:pt x="372" y="197"/>
                  </a:lnTo>
                  <a:lnTo>
                    <a:pt x="368" y="197"/>
                  </a:lnTo>
                  <a:lnTo>
                    <a:pt x="370" y="197"/>
                  </a:lnTo>
                  <a:lnTo>
                    <a:pt x="370" y="195"/>
                  </a:lnTo>
                  <a:lnTo>
                    <a:pt x="372" y="195"/>
                  </a:lnTo>
                  <a:lnTo>
                    <a:pt x="372" y="194"/>
                  </a:lnTo>
                  <a:lnTo>
                    <a:pt x="368" y="195"/>
                  </a:lnTo>
                  <a:lnTo>
                    <a:pt x="367" y="195"/>
                  </a:lnTo>
                  <a:lnTo>
                    <a:pt x="365" y="197"/>
                  </a:lnTo>
                  <a:lnTo>
                    <a:pt x="363" y="197"/>
                  </a:lnTo>
                  <a:lnTo>
                    <a:pt x="362" y="197"/>
                  </a:lnTo>
                  <a:lnTo>
                    <a:pt x="363" y="197"/>
                  </a:lnTo>
                  <a:lnTo>
                    <a:pt x="362" y="197"/>
                  </a:lnTo>
                  <a:lnTo>
                    <a:pt x="362" y="194"/>
                  </a:lnTo>
                  <a:lnTo>
                    <a:pt x="363" y="192"/>
                  </a:lnTo>
                  <a:lnTo>
                    <a:pt x="365" y="194"/>
                  </a:lnTo>
                  <a:lnTo>
                    <a:pt x="365" y="192"/>
                  </a:lnTo>
                  <a:lnTo>
                    <a:pt x="367" y="190"/>
                  </a:lnTo>
                  <a:lnTo>
                    <a:pt x="368" y="190"/>
                  </a:lnTo>
                  <a:lnTo>
                    <a:pt x="370" y="190"/>
                  </a:lnTo>
                  <a:lnTo>
                    <a:pt x="368" y="189"/>
                  </a:lnTo>
                  <a:lnTo>
                    <a:pt x="370" y="189"/>
                  </a:lnTo>
                  <a:lnTo>
                    <a:pt x="370" y="187"/>
                  </a:lnTo>
                  <a:lnTo>
                    <a:pt x="372" y="187"/>
                  </a:lnTo>
                  <a:lnTo>
                    <a:pt x="372" y="185"/>
                  </a:lnTo>
                  <a:lnTo>
                    <a:pt x="370" y="187"/>
                  </a:lnTo>
                  <a:lnTo>
                    <a:pt x="368" y="187"/>
                  </a:lnTo>
                  <a:lnTo>
                    <a:pt x="365" y="187"/>
                  </a:lnTo>
                  <a:lnTo>
                    <a:pt x="363" y="187"/>
                  </a:lnTo>
                  <a:lnTo>
                    <a:pt x="365" y="185"/>
                  </a:lnTo>
                  <a:lnTo>
                    <a:pt x="363" y="185"/>
                  </a:lnTo>
                  <a:lnTo>
                    <a:pt x="363" y="183"/>
                  </a:lnTo>
                  <a:lnTo>
                    <a:pt x="367" y="183"/>
                  </a:lnTo>
                  <a:lnTo>
                    <a:pt x="368" y="183"/>
                  </a:lnTo>
                  <a:lnTo>
                    <a:pt x="370" y="183"/>
                  </a:lnTo>
                  <a:lnTo>
                    <a:pt x="370" y="182"/>
                  </a:lnTo>
                  <a:lnTo>
                    <a:pt x="370" y="183"/>
                  </a:lnTo>
                  <a:lnTo>
                    <a:pt x="368" y="182"/>
                  </a:lnTo>
                  <a:lnTo>
                    <a:pt x="372" y="180"/>
                  </a:lnTo>
                  <a:lnTo>
                    <a:pt x="368" y="180"/>
                  </a:lnTo>
                  <a:lnTo>
                    <a:pt x="368" y="182"/>
                  </a:lnTo>
                  <a:lnTo>
                    <a:pt x="367" y="180"/>
                  </a:lnTo>
                  <a:lnTo>
                    <a:pt x="368" y="180"/>
                  </a:lnTo>
                  <a:lnTo>
                    <a:pt x="365" y="180"/>
                  </a:lnTo>
                  <a:lnTo>
                    <a:pt x="367" y="178"/>
                  </a:lnTo>
                  <a:lnTo>
                    <a:pt x="365" y="180"/>
                  </a:lnTo>
                  <a:lnTo>
                    <a:pt x="363" y="178"/>
                  </a:lnTo>
                  <a:lnTo>
                    <a:pt x="365" y="177"/>
                  </a:lnTo>
                  <a:lnTo>
                    <a:pt x="367" y="177"/>
                  </a:lnTo>
                  <a:lnTo>
                    <a:pt x="370" y="178"/>
                  </a:lnTo>
                  <a:lnTo>
                    <a:pt x="368" y="177"/>
                  </a:lnTo>
                  <a:lnTo>
                    <a:pt x="370" y="175"/>
                  </a:lnTo>
                  <a:lnTo>
                    <a:pt x="367" y="177"/>
                  </a:lnTo>
                  <a:lnTo>
                    <a:pt x="367" y="175"/>
                  </a:lnTo>
                  <a:lnTo>
                    <a:pt x="370" y="175"/>
                  </a:lnTo>
                  <a:lnTo>
                    <a:pt x="368" y="175"/>
                  </a:lnTo>
                  <a:lnTo>
                    <a:pt x="367" y="173"/>
                  </a:lnTo>
                  <a:lnTo>
                    <a:pt x="365" y="175"/>
                  </a:lnTo>
                  <a:lnTo>
                    <a:pt x="363" y="175"/>
                  </a:lnTo>
                  <a:lnTo>
                    <a:pt x="362" y="173"/>
                  </a:lnTo>
                  <a:lnTo>
                    <a:pt x="363" y="173"/>
                  </a:lnTo>
                  <a:lnTo>
                    <a:pt x="363" y="172"/>
                  </a:lnTo>
                  <a:lnTo>
                    <a:pt x="365" y="172"/>
                  </a:lnTo>
                  <a:lnTo>
                    <a:pt x="367" y="172"/>
                  </a:lnTo>
                  <a:lnTo>
                    <a:pt x="368" y="173"/>
                  </a:lnTo>
                  <a:lnTo>
                    <a:pt x="368" y="170"/>
                  </a:lnTo>
                  <a:lnTo>
                    <a:pt x="370" y="170"/>
                  </a:lnTo>
                  <a:lnTo>
                    <a:pt x="372" y="170"/>
                  </a:lnTo>
                  <a:lnTo>
                    <a:pt x="374" y="172"/>
                  </a:lnTo>
                  <a:lnTo>
                    <a:pt x="375" y="173"/>
                  </a:lnTo>
                  <a:lnTo>
                    <a:pt x="377" y="172"/>
                  </a:lnTo>
                  <a:lnTo>
                    <a:pt x="374" y="172"/>
                  </a:lnTo>
                  <a:lnTo>
                    <a:pt x="374" y="170"/>
                  </a:lnTo>
                  <a:lnTo>
                    <a:pt x="377" y="168"/>
                  </a:lnTo>
                  <a:lnTo>
                    <a:pt x="379" y="168"/>
                  </a:lnTo>
                  <a:lnTo>
                    <a:pt x="377" y="168"/>
                  </a:lnTo>
                  <a:lnTo>
                    <a:pt x="375" y="168"/>
                  </a:lnTo>
                  <a:lnTo>
                    <a:pt x="372" y="168"/>
                  </a:lnTo>
                  <a:lnTo>
                    <a:pt x="370" y="166"/>
                  </a:lnTo>
                  <a:lnTo>
                    <a:pt x="370" y="165"/>
                  </a:lnTo>
                  <a:lnTo>
                    <a:pt x="370" y="163"/>
                  </a:lnTo>
                  <a:lnTo>
                    <a:pt x="372" y="165"/>
                  </a:lnTo>
                  <a:lnTo>
                    <a:pt x="374" y="166"/>
                  </a:lnTo>
                  <a:lnTo>
                    <a:pt x="374" y="165"/>
                  </a:lnTo>
                  <a:lnTo>
                    <a:pt x="375" y="165"/>
                  </a:lnTo>
                  <a:lnTo>
                    <a:pt x="374" y="163"/>
                  </a:lnTo>
                  <a:lnTo>
                    <a:pt x="374" y="161"/>
                  </a:lnTo>
                  <a:lnTo>
                    <a:pt x="372" y="161"/>
                  </a:lnTo>
                  <a:lnTo>
                    <a:pt x="375" y="161"/>
                  </a:lnTo>
                  <a:lnTo>
                    <a:pt x="377" y="161"/>
                  </a:lnTo>
                  <a:lnTo>
                    <a:pt x="377" y="165"/>
                  </a:lnTo>
                  <a:lnTo>
                    <a:pt x="379" y="163"/>
                  </a:lnTo>
                  <a:lnTo>
                    <a:pt x="380" y="166"/>
                  </a:lnTo>
                  <a:lnTo>
                    <a:pt x="382" y="165"/>
                  </a:lnTo>
                  <a:lnTo>
                    <a:pt x="380" y="163"/>
                  </a:lnTo>
                  <a:lnTo>
                    <a:pt x="379" y="161"/>
                  </a:lnTo>
                  <a:lnTo>
                    <a:pt x="377" y="160"/>
                  </a:lnTo>
                  <a:lnTo>
                    <a:pt x="375" y="158"/>
                  </a:lnTo>
                  <a:lnTo>
                    <a:pt x="377" y="156"/>
                  </a:lnTo>
                  <a:close/>
                  <a:moveTo>
                    <a:pt x="508" y="42"/>
                  </a:moveTo>
                  <a:lnTo>
                    <a:pt x="510" y="44"/>
                  </a:lnTo>
                  <a:lnTo>
                    <a:pt x="511" y="44"/>
                  </a:lnTo>
                  <a:lnTo>
                    <a:pt x="511" y="46"/>
                  </a:lnTo>
                  <a:lnTo>
                    <a:pt x="513" y="46"/>
                  </a:lnTo>
                  <a:lnTo>
                    <a:pt x="513" y="47"/>
                  </a:lnTo>
                  <a:lnTo>
                    <a:pt x="511" y="47"/>
                  </a:lnTo>
                  <a:lnTo>
                    <a:pt x="510" y="47"/>
                  </a:lnTo>
                  <a:lnTo>
                    <a:pt x="511" y="49"/>
                  </a:lnTo>
                  <a:lnTo>
                    <a:pt x="510" y="53"/>
                  </a:lnTo>
                  <a:lnTo>
                    <a:pt x="510" y="51"/>
                  </a:lnTo>
                  <a:lnTo>
                    <a:pt x="510" y="53"/>
                  </a:lnTo>
                  <a:lnTo>
                    <a:pt x="508" y="54"/>
                  </a:lnTo>
                  <a:lnTo>
                    <a:pt x="508" y="56"/>
                  </a:lnTo>
                  <a:lnTo>
                    <a:pt x="506" y="54"/>
                  </a:lnTo>
                  <a:lnTo>
                    <a:pt x="506" y="56"/>
                  </a:lnTo>
                  <a:lnTo>
                    <a:pt x="506" y="58"/>
                  </a:lnTo>
                  <a:lnTo>
                    <a:pt x="508" y="58"/>
                  </a:lnTo>
                  <a:lnTo>
                    <a:pt x="506" y="61"/>
                  </a:lnTo>
                  <a:lnTo>
                    <a:pt x="504" y="61"/>
                  </a:lnTo>
                  <a:lnTo>
                    <a:pt x="506" y="61"/>
                  </a:lnTo>
                  <a:lnTo>
                    <a:pt x="506" y="63"/>
                  </a:lnTo>
                  <a:lnTo>
                    <a:pt x="504" y="64"/>
                  </a:lnTo>
                  <a:lnTo>
                    <a:pt x="503" y="63"/>
                  </a:lnTo>
                  <a:lnTo>
                    <a:pt x="504" y="66"/>
                  </a:lnTo>
                  <a:lnTo>
                    <a:pt x="501" y="66"/>
                  </a:lnTo>
                  <a:lnTo>
                    <a:pt x="501" y="64"/>
                  </a:lnTo>
                  <a:lnTo>
                    <a:pt x="501" y="66"/>
                  </a:lnTo>
                  <a:lnTo>
                    <a:pt x="503" y="66"/>
                  </a:lnTo>
                  <a:lnTo>
                    <a:pt x="503" y="68"/>
                  </a:lnTo>
                  <a:lnTo>
                    <a:pt x="501" y="70"/>
                  </a:lnTo>
                  <a:lnTo>
                    <a:pt x="501" y="68"/>
                  </a:lnTo>
                  <a:lnTo>
                    <a:pt x="499" y="70"/>
                  </a:lnTo>
                  <a:lnTo>
                    <a:pt x="499" y="68"/>
                  </a:lnTo>
                  <a:lnTo>
                    <a:pt x="498" y="71"/>
                  </a:lnTo>
                  <a:lnTo>
                    <a:pt x="498" y="68"/>
                  </a:lnTo>
                  <a:lnTo>
                    <a:pt x="498" y="71"/>
                  </a:lnTo>
                  <a:lnTo>
                    <a:pt x="496" y="70"/>
                  </a:lnTo>
                  <a:lnTo>
                    <a:pt x="498" y="68"/>
                  </a:lnTo>
                  <a:lnTo>
                    <a:pt x="496" y="68"/>
                  </a:lnTo>
                  <a:lnTo>
                    <a:pt x="494" y="68"/>
                  </a:lnTo>
                  <a:lnTo>
                    <a:pt x="496" y="70"/>
                  </a:lnTo>
                  <a:lnTo>
                    <a:pt x="494" y="68"/>
                  </a:lnTo>
                  <a:lnTo>
                    <a:pt x="494" y="70"/>
                  </a:lnTo>
                  <a:lnTo>
                    <a:pt x="494" y="71"/>
                  </a:lnTo>
                  <a:lnTo>
                    <a:pt x="496" y="71"/>
                  </a:lnTo>
                  <a:lnTo>
                    <a:pt x="494" y="70"/>
                  </a:lnTo>
                  <a:lnTo>
                    <a:pt x="494" y="73"/>
                  </a:lnTo>
                  <a:lnTo>
                    <a:pt x="493" y="71"/>
                  </a:lnTo>
                  <a:lnTo>
                    <a:pt x="493" y="73"/>
                  </a:lnTo>
                  <a:lnTo>
                    <a:pt x="491" y="70"/>
                  </a:lnTo>
                  <a:lnTo>
                    <a:pt x="491" y="71"/>
                  </a:lnTo>
                  <a:lnTo>
                    <a:pt x="491" y="73"/>
                  </a:lnTo>
                  <a:lnTo>
                    <a:pt x="491" y="75"/>
                  </a:lnTo>
                  <a:lnTo>
                    <a:pt x="489" y="73"/>
                  </a:lnTo>
                  <a:lnTo>
                    <a:pt x="489" y="71"/>
                  </a:lnTo>
                  <a:lnTo>
                    <a:pt x="489" y="75"/>
                  </a:lnTo>
                  <a:lnTo>
                    <a:pt x="487" y="75"/>
                  </a:lnTo>
                  <a:lnTo>
                    <a:pt x="487" y="71"/>
                  </a:lnTo>
                  <a:lnTo>
                    <a:pt x="486" y="73"/>
                  </a:lnTo>
                  <a:lnTo>
                    <a:pt x="486" y="75"/>
                  </a:lnTo>
                  <a:lnTo>
                    <a:pt x="484" y="75"/>
                  </a:lnTo>
                  <a:lnTo>
                    <a:pt x="484" y="76"/>
                  </a:lnTo>
                  <a:lnTo>
                    <a:pt x="482" y="76"/>
                  </a:lnTo>
                  <a:lnTo>
                    <a:pt x="484" y="75"/>
                  </a:lnTo>
                  <a:lnTo>
                    <a:pt x="482" y="73"/>
                  </a:lnTo>
                  <a:lnTo>
                    <a:pt x="486" y="71"/>
                  </a:lnTo>
                  <a:lnTo>
                    <a:pt x="486" y="70"/>
                  </a:lnTo>
                  <a:lnTo>
                    <a:pt x="484" y="68"/>
                  </a:lnTo>
                  <a:lnTo>
                    <a:pt x="486" y="66"/>
                  </a:lnTo>
                  <a:lnTo>
                    <a:pt x="482" y="66"/>
                  </a:lnTo>
                  <a:lnTo>
                    <a:pt x="482" y="68"/>
                  </a:lnTo>
                  <a:lnTo>
                    <a:pt x="481" y="68"/>
                  </a:lnTo>
                  <a:lnTo>
                    <a:pt x="479" y="68"/>
                  </a:lnTo>
                  <a:lnTo>
                    <a:pt x="479" y="66"/>
                  </a:lnTo>
                  <a:lnTo>
                    <a:pt x="479" y="64"/>
                  </a:lnTo>
                  <a:lnTo>
                    <a:pt x="477" y="66"/>
                  </a:lnTo>
                  <a:lnTo>
                    <a:pt x="479" y="64"/>
                  </a:lnTo>
                  <a:lnTo>
                    <a:pt x="477" y="64"/>
                  </a:lnTo>
                  <a:lnTo>
                    <a:pt x="477" y="63"/>
                  </a:lnTo>
                  <a:lnTo>
                    <a:pt x="479" y="64"/>
                  </a:lnTo>
                  <a:lnTo>
                    <a:pt x="481" y="63"/>
                  </a:lnTo>
                  <a:lnTo>
                    <a:pt x="482" y="64"/>
                  </a:lnTo>
                  <a:lnTo>
                    <a:pt x="484" y="63"/>
                  </a:lnTo>
                  <a:lnTo>
                    <a:pt x="482" y="61"/>
                  </a:lnTo>
                  <a:lnTo>
                    <a:pt x="484" y="61"/>
                  </a:lnTo>
                  <a:lnTo>
                    <a:pt x="487" y="63"/>
                  </a:lnTo>
                  <a:lnTo>
                    <a:pt x="487" y="64"/>
                  </a:lnTo>
                  <a:lnTo>
                    <a:pt x="487" y="61"/>
                  </a:lnTo>
                  <a:lnTo>
                    <a:pt x="486" y="59"/>
                  </a:lnTo>
                  <a:lnTo>
                    <a:pt x="487" y="58"/>
                  </a:lnTo>
                  <a:lnTo>
                    <a:pt x="486" y="58"/>
                  </a:lnTo>
                  <a:lnTo>
                    <a:pt x="487" y="58"/>
                  </a:lnTo>
                  <a:lnTo>
                    <a:pt x="487" y="59"/>
                  </a:lnTo>
                  <a:lnTo>
                    <a:pt x="489" y="61"/>
                  </a:lnTo>
                  <a:lnTo>
                    <a:pt x="491" y="59"/>
                  </a:lnTo>
                  <a:lnTo>
                    <a:pt x="489" y="58"/>
                  </a:lnTo>
                  <a:lnTo>
                    <a:pt x="491" y="56"/>
                  </a:lnTo>
                  <a:lnTo>
                    <a:pt x="491" y="58"/>
                  </a:lnTo>
                  <a:lnTo>
                    <a:pt x="493" y="58"/>
                  </a:lnTo>
                  <a:lnTo>
                    <a:pt x="494" y="58"/>
                  </a:lnTo>
                  <a:lnTo>
                    <a:pt x="491" y="61"/>
                  </a:lnTo>
                  <a:lnTo>
                    <a:pt x="493" y="63"/>
                  </a:lnTo>
                  <a:lnTo>
                    <a:pt x="494" y="61"/>
                  </a:lnTo>
                  <a:lnTo>
                    <a:pt x="493" y="61"/>
                  </a:lnTo>
                  <a:lnTo>
                    <a:pt x="494" y="61"/>
                  </a:lnTo>
                  <a:lnTo>
                    <a:pt x="494" y="59"/>
                  </a:lnTo>
                  <a:lnTo>
                    <a:pt x="496" y="63"/>
                  </a:lnTo>
                  <a:lnTo>
                    <a:pt x="496" y="61"/>
                  </a:lnTo>
                  <a:lnTo>
                    <a:pt x="499" y="59"/>
                  </a:lnTo>
                  <a:lnTo>
                    <a:pt x="496" y="58"/>
                  </a:lnTo>
                  <a:lnTo>
                    <a:pt x="496" y="56"/>
                  </a:lnTo>
                  <a:lnTo>
                    <a:pt x="496" y="54"/>
                  </a:lnTo>
                  <a:lnTo>
                    <a:pt x="494" y="56"/>
                  </a:lnTo>
                  <a:lnTo>
                    <a:pt x="494" y="54"/>
                  </a:lnTo>
                  <a:lnTo>
                    <a:pt x="494" y="53"/>
                  </a:lnTo>
                  <a:lnTo>
                    <a:pt x="496" y="51"/>
                  </a:lnTo>
                  <a:lnTo>
                    <a:pt x="496" y="53"/>
                  </a:lnTo>
                  <a:lnTo>
                    <a:pt x="496" y="54"/>
                  </a:lnTo>
                  <a:lnTo>
                    <a:pt x="498" y="53"/>
                  </a:lnTo>
                  <a:lnTo>
                    <a:pt x="498" y="54"/>
                  </a:lnTo>
                  <a:lnTo>
                    <a:pt x="499" y="54"/>
                  </a:lnTo>
                  <a:lnTo>
                    <a:pt x="499" y="58"/>
                  </a:lnTo>
                  <a:lnTo>
                    <a:pt x="501" y="56"/>
                  </a:lnTo>
                  <a:lnTo>
                    <a:pt x="501" y="58"/>
                  </a:lnTo>
                  <a:lnTo>
                    <a:pt x="503" y="58"/>
                  </a:lnTo>
                  <a:lnTo>
                    <a:pt x="503" y="59"/>
                  </a:lnTo>
                  <a:lnTo>
                    <a:pt x="501" y="56"/>
                  </a:lnTo>
                  <a:lnTo>
                    <a:pt x="503" y="56"/>
                  </a:lnTo>
                  <a:lnTo>
                    <a:pt x="503" y="54"/>
                  </a:lnTo>
                  <a:lnTo>
                    <a:pt x="504" y="54"/>
                  </a:lnTo>
                  <a:lnTo>
                    <a:pt x="504" y="53"/>
                  </a:lnTo>
                  <a:lnTo>
                    <a:pt x="506" y="53"/>
                  </a:lnTo>
                  <a:lnTo>
                    <a:pt x="504" y="51"/>
                  </a:lnTo>
                  <a:lnTo>
                    <a:pt x="503" y="51"/>
                  </a:lnTo>
                  <a:lnTo>
                    <a:pt x="501" y="49"/>
                  </a:lnTo>
                  <a:lnTo>
                    <a:pt x="501" y="47"/>
                  </a:lnTo>
                  <a:lnTo>
                    <a:pt x="503" y="49"/>
                  </a:lnTo>
                  <a:lnTo>
                    <a:pt x="503" y="47"/>
                  </a:lnTo>
                  <a:lnTo>
                    <a:pt x="504" y="47"/>
                  </a:lnTo>
                  <a:lnTo>
                    <a:pt x="506" y="49"/>
                  </a:lnTo>
                  <a:lnTo>
                    <a:pt x="504" y="46"/>
                  </a:lnTo>
                  <a:lnTo>
                    <a:pt x="506" y="47"/>
                  </a:lnTo>
                  <a:lnTo>
                    <a:pt x="508" y="49"/>
                  </a:lnTo>
                  <a:lnTo>
                    <a:pt x="508" y="47"/>
                  </a:lnTo>
                  <a:lnTo>
                    <a:pt x="508" y="46"/>
                  </a:lnTo>
                  <a:lnTo>
                    <a:pt x="508" y="44"/>
                  </a:lnTo>
                  <a:lnTo>
                    <a:pt x="508" y="42"/>
                  </a:lnTo>
                  <a:close/>
                  <a:moveTo>
                    <a:pt x="319" y="204"/>
                  </a:moveTo>
                  <a:lnTo>
                    <a:pt x="321" y="204"/>
                  </a:lnTo>
                  <a:lnTo>
                    <a:pt x="321" y="207"/>
                  </a:lnTo>
                  <a:lnTo>
                    <a:pt x="321" y="206"/>
                  </a:lnTo>
                  <a:lnTo>
                    <a:pt x="321" y="207"/>
                  </a:lnTo>
                  <a:lnTo>
                    <a:pt x="319" y="209"/>
                  </a:lnTo>
                  <a:lnTo>
                    <a:pt x="321" y="207"/>
                  </a:lnTo>
                  <a:lnTo>
                    <a:pt x="321" y="209"/>
                  </a:lnTo>
                  <a:lnTo>
                    <a:pt x="323" y="209"/>
                  </a:lnTo>
                  <a:lnTo>
                    <a:pt x="324" y="207"/>
                  </a:lnTo>
                  <a:lnTo>
                    <a:pt x="324" y="209"/>
                  </a:lnTo>
                  <a:lnTo>
                    <a:pt x="323" y="209"/>
                  </a:lnTo>
                  <a:lnTo>
                    <a:pt x="321" y="211"/>
                  </a:lnTo>
                  <a:lnTo>
                    <a:pt x="324" y="212"/>
                  </a:lnTo>
                  <a:lnTo>
                    <a:pt x="323" y="211"/>
                  </a:lnTo>
                  <a:lnTo>
                    <a:pt x="324" y="211"/>
                  </a:lnTo>
                  <a:lnTo>
                    <a:pt x="324" y="212"/>
                  </a:lnTo>
                  <a:lnTo>
                    <a:pt x="324" y="216"/>
                  </a:lnTo>
                  <a:lnTo>
                    <a:pt x="323" y="218"/>
                  </a:lnTo>
                  <a:lnTo>
                    <a:pt x="324" y="218"/>
                  </a:lnTo>
                  <a:lnTo>
                    <a:pt x="326" y="214"/>
                  </a:lnTo>
                  <a:lnTo>
                    <a:pt x="326" y="216"/>
                  </a:lnTo>
                  <a:lnTo>
                    <a:pt x="328" y="216"/>
                  </a:lnTo>
                  <a:lnTo>
                    <a:pt x="326" y="219"/>
                  </a:lnTo>
                  <a:lnTo>
                    <a:pt x="324" y="219"/>
                  </a:lnTo>
                  <a:lnTo>
                    <a:pt x="326" y="221"/>
                  </a:lnTo>
                  <a:lnTo>
                    <a:pt x="324" y="223"/>
                  </a:lnTo>
                  <a:lnTo>
                    <a:pt x="328" y="223"/>
                  </a:lnTo>
                  <a:lnTo>
                    <a:pt x="328" y="224"/>
                  </a:lnTo>
                  <a:lnTo>
                    <a:pt x="329" y="226"/>
                  </a:lnTo>
                  <a:lnTo>
                    <a:pt x="329" y="228"/>
                  </a:lnTo>
                  <a:lnTo>
                    <a:pt x="328" y="229"/>
                  </a:lnTo>
                  <a:lnTo>
                    <a:pt x="326" y="231"/>
                  </a:lnTo>
                  <a:lnTo>
                    <a:pt x="324" y="231"/>
                  </a:lnTo>
                  <a:lnTo>
                    <a:pt x="323" y="233"/>
                  </a:lnTo>
                  <a:lnTo>
                    <a:pt x="321" y="233"/>
                  </a:lnTo>
                  <a:lnTo>
                    <a:pt x="319" y="235"/>
                  </a:lnTo>
                  <a:lnTo>
                    <a:pt x="319" y="236"/>
                  </a:lnTo>
                  <a:lnTo>
                    <a:pt x="317" y="236"/>
                  </a:lnTo>
                  <a:lnTo>
                    <a:pt x="314" y="236"/>
                  </a:lnTo>
                  <a:lnTo>
                    <a:pt x="314" y="235"/>
                  </a:lnTo>
                  <a:lnTo>
                    <a:pt x="312" y="235"/>
                  </a:lnTo>
                  <a:lnTo>
                    <a:pt x="312" y="233"/>
                  </a:lnTo>
                  <a:lnTo>
                    <a:pt x="312" y="231"/>
                  </a:lnTo>
                  <a:lnTo>
                    <a:pt x="316" y="231"/>
                  </a:lnTo>
                  <a:lnTo>
                    <a:pt x="316" y="229"/>
                  </a:lnTo>
                  <a:lnTo>
                    <a:pt x="317" y="231"/>
                  </a:lnTo>
                  <a:lnTo>
                    <a:pt x="317" y="229"/>
                  </a:lnTo>
                  <a:lnTo>
                    <a:pt x="319" y="229"/>
                  </a:lnTo>
                  <a:lnTo>
                    <a:pt x="319" y="228"/>
                  </a:lnTo>
                  <a:lnTo>
                    <a:pt x="321" y="226"/>
                  </a:lnTo>
                  <a:lnTo>
                    <a:pt x="323" y="228"/>
                  </a:lnTo>
                  <a:lnTo>
                    <a:pt x="321" y="226"/>
                  </a:lnTo>
                  <a:lnTo>
                    <a:pt x="321" y="223"/>
                  </a:lnTo>
                  <a:lnTo>
                    <a:pt x="319" y="223"/>
                  </a:lnTo>
                  <a:lnTo>
                    <a:pt x="317" y="223"/>
                  </a:lnTo>
                  <a:lnTo>
                    <a:pt x="319" y="224"/>
                  </a:lnTo>
                  <a:lnTo>
                    <a:pt x="317" y="228"/>
                  </a:lnTo>
                  <a:lnTo>
                    <a:pt x="317" y="226"/>
                  </a:lnTo>
                  <a:lnTo>
                    <a:pt x="316" y="226"/>
                  </a:lnTo>
                  <a:lnTo>
                    <a:pt x="317" y="226"/>
                  </a:lnTo>
                  <a:lnTo>
                    <a:pt x="316" y="224"/>
                  </a:lnTo>
                  <a:lnTo>
                    <a:pt x="316" y="228"/>
                  </a:lnTo>
                  <a:lnTo>
                    <a:pt x="314" y="229"/>
                  </a:lnTo>
                  <a:lnTo>
                    <a:pt x="314" y="228"/>
                  </a:lnTo>
                  <a:lnTo>
                    <a:pt x="312" y="229"/>
                  </a:lnTo>
                  <a:lnTo>
                    <a:pt x="312" y="228"/>
                  </a:lnTo>
                  <a:lnTo>
                    <a:pt x="312" y="226"/>
                  </a:lnTo>
                  <a:lnTo>
                    <a:pt x="312" y="228"/>
                  </a:lnTo>
                  <a:lnTo>
                    <a:pt x="312" y="229"/>
                  </a:lnTo>
                  <a:lnTo>
                    <a:pt x="312" y="231"/>
                  </a:lnTo>
                  <a:lnTo>
                    <a:pt x="311" y="231"/>
                  </a:lnTo>
                  <a:lnTo>
                    <a:pt x="311" y="229"/>
                  </a:lnTo>
                  <a:lnTo>
                    <a:pt x="309" y="229"/>
                  </a:lnTo>
                  <a:lnTo>
                    <a:pt x="311" y="228"/>
                  </a:lnTo>
                  <a:lnTo>
                    <a:pt x="309" y="228"/>
                  </a:lnTo>
                  <a:lnTo>
                    <a:pt x="309" y="226"/>
                  </a:lnTo>
                  <a:lnTo>
                    <a:pt x="309" y="228"/>
                  </a:lnTo>
                  <a:lnTo>
                    <a:pt x="309" y="229"/>
                  </a:lnTo>
                  <a:lnTo>
                    <a:pt x="309" y="231"/>
                  </a:lnTo>
                  <a:lnTo>
                    <a:pt x="307" y="231"/>
                  </a:lnTo>
                  <a:lnTo>
                    <a:pt x="309" y="231"/>
                  </a:lnTo>
                  <a:lnTo>
                    <a:pt x="307" y="233"/>
                  </a:lnTo>
                  <a:lnTo>
                    <a:pt x="309" y="231"/>
                  </a:lnTo>
                  <a:lnTo>
                    <a:pt x="307" y="233"/>
                  </a:lnTo>
                  <a:lnTo>
                    <a:pt x="309" y="233"/>
                  </a:lnTo>
                  <a:lnTo>
                    <a:pt x="307" y="233"/>
                  </a:lnTo>
                  <a:lnTo>
                    <a:pt x="307" y="235"/>
                  </a:lnTo>
                  <a:lnTo>
                    <a:pt x="307" y="233"/>
                  </a:lnTo>
                  <a:lnTo>
                    <a:pt x="307" y="235"/>
                  </a:lnTo>
                  <a:lnTo>
                    <a:pt x="306" y="235"/>
                  </a:lnTo>
                  <a:lnTo>
                    <a:pt x="304" y="236"/>
                  </a:lnTo>
                  <a:lnTo>
                    <a:pt x="304" y="235"/>
                  </a:lnTo>
                  <a:lnTo>
                    <a:pt x="302" y="235"/>
                  </a:lnTo>
                  <a:lnTo>
                    <a:pt x="304" y="235"/>
                  </a:lnTo>
                  <a:lnTo>
                    <a:pt x="302" y="231"/>
                  </a:lnTo>
                  <a:lnTo>
                    <a:pt x="304" y="231"/>
                  </a:lnTo>
                  <a:lnTo>
                    <a:pt x="304" y="229"/>
                  </a:lnTo>
                  <a:lnTo>
                    <a:pt x="302" y="231"/>
                  </a:lnTo>
                  <a:lnTo>
                    <a:pt x="302" y="229"/>
                  </a:lnTo>
                  <a:lnTo>
                    <a:pt x="300" y="229"/>
                  </a:lnTo>
                  <a:lnTo>
                    <a:pt x="302" y="228"/>
                  </a:lnTo>
                  <a:lnTo>
                    <a:pt x="304" y="228"/>
                  </a:lnTo>
                  <a:lnTo>
                    <a:pt x="302" y="228"/>
                  </a:lnTo>
                  <a:lnTo>
                    <a:pt x="304" y="226"/>
                  </a:lnTo>
                  <a:lnTo>
                    <a:pt x="306" y="226"/>
                  </a:lnTo>
                  <a:lnTo>
                    <a:pt x="304" y="224"/>
                  </a:lnTo>
                  <a:lnTo>
                    <a:pt x="302" y="224"/>
                  </a:lnTo>
                  <a:lnTo>
                    <a:pt x="302" y="223"/>
                  </a:lnTo>
                  <a:lnTo>
                    <a:pt x="304" y="223"/>
                  </a:lnTo>
                  <a:lnTo>
                    <a:pt x="306" y="219"/>
                  </a:lnTo>
                  <a:lnTo>
                    <a:pt x="306" y="221"/>
                  </a:lnTo>
                  <a:lnTo>
                    <a:pt x="306" y="223"/>
                  </a:lnTo>
                  <a:lnTo>
                    <a:pt x="307" y="224"/>
                  </a:lnTo>
                  <a:lnTo>
                    <a:pt x="306" y="224"/>
                  </a:lnTo>
                  <a:lnTo>
                    <a:pt x="307" y="226"/>
                  </a:lnTo>
                  <a:lnTo>
                    <a:pt x="307" y="224"/>
                  </a:lnTo>
                  <a:lnTo>
                    <a:pt x="307" y="223"/>
                  </a:lnTo>
                  <a:lnTo>
                    <a:pt x="307" y="221"/>
                  </a:lnTo>
                  <a:lnTo>
                    <a:pt x="307" y="218"/>
                  </a:lnTo>
                  <a:lnTo>
                    <a:pt x="309" y="218"/>
                  </a:lnTo>
                  <a:lnTo>
                    <a:pt x="309" y="219"/>
                  </a:lnTo>
                  <a:lnTo>
                    <a:pt x="309" y="223"/>
                  </a:lnTo>
                  <a:lnTo>
                    <a:pt x="309" y="224"/>
                  </a:lnTo>
                  <a:lnTo>
                    <a:pt x="311" y="223"/>
                  </a:lnTo>
                  <a:lnTo>
                    <a:pt x="314" y="221"/>
                  </a:lnTo>
                  <a:lnTo>
                    <a:pt x="314" y="223"/>
                  </a:lnTo>
                  <a:lnTo>
                    <a:pt x="314" y="224"/>
                  </a:lnTo>
                  <a:lnTo>
                    <a:pt x="314" y="223"/>
                  </a:lnTo>
                  <a:lnTo>
                    <a:pt x="316" y="221"/>
                  </a:lnTo>
                  <a:lnTo>
                    <a:pt x="317" y="223"/>
                  </a:lnTo>
                  <a:lnTo>
                    <a:pt x="316" y="221"/>
                  </a:lnTo>
                  <a:lnTo>
                    <a:pt x="316" y="219"/>
                  </a:lnTo>
                  <a:lnTo>
                    <a:pt x="314" y="218"/>
                  </a:lnTo>
                  <a:lnTo>
                    <a:pt x="314" y="216"/>
                  </a:lnTo>
                  <a:lnTo>
                    <a:pt x="316" y="216"/>
                  </a:lnTo>
                  <a:lnTo>
                    <a:pt x="317" y="218"/>
                  </a:lnTo>
                  <a:lnTo>
                    <a:pt x="317" y="219"/>
                  </a:lnTo>
                  <a:lnTo>
                    <a:pt x="317" y="221"/>
                  </a:lnTo>
                  <a:lnTo>
                    <a:pt x="317" y="218"/>
                  </a:lnTo>
                  <a:lnTo>
                    <a:pt x="317" y="216"/>
                  </a:lnTo>
                  <a:lnTo>
                    <a:pt x="319" y="216"/>
                  </a:lnTo>
                  <a:lnTo>
                    <a:pt x="321" y="218"/>
                  </a:lnTo>
                  <a:lnTo>
                    <a:pt x="321" y="219"/>
                  </a:lnTo>
                  <a:lnTo>
                    <a:pt x="321" y="216"/>
                  </a:lnTo>
                  <a:lnTo>
                    <a:pt x="317" y="214"/>
                  </a:lnTo>
                  <a:lnTo>
                    <a:pt x="319" y="214"/>
                  </a:lnTo>
                  <a:lnTo>
                    <a:pt x="319" y="212"/>
                  </a:lnTo>
                  <a:lnTo>
                    <a:pt x="317" y="214"/>
                  </a:lnTo>
                  <a:lnTo>
                    <a:pt x="317" y="212"/>
                  </a:lnTo>
                  <a:lnTo>
                    <a:pt x="319" y="212"/>
                  </a:lnTo>
                  <a:lnTo>
                    <a:pt x="317" y="211"/>
                  </a:lnTo>
                  <a:lnTo>
                    <a:pt x="316" y="209"/>
                  </a:lnTo>
                  <a:lnTo>
                    <a:pt x="317" y="206"/>
                  </a:lnTo>
                  <a:lnTo>
                    <a:pt x="316" y="206"/>
                  </a:lnTo>
                  <a:lnTo>
                    <a:pt x="317" y="206"/>
                  </a:lnTo>
                  <a:lnTo>
                    <a:pt x="319" y="204"/>
                  </a:lnTo>
                  <a:close/>
                  <a:moveTo>
                    <a:pt x="406" y="131"/>
                  </a:moveTo>
                  <a:lnTo>
                    <a:pt x="408" y="132"/>
                  </a:lnTo>
                  <a:lnTo>
                    <a:pt x="408" y="134"/>
                  </a:lnTo>
                  <a:lnTo>
                    <a:pt x="409" y="134"/>
                  </a:lnTo>
                  <a:lnTo>
                    <a:pt x="411" y="136"/>
                  </a:lnTo>
                  <a:lnTo>
                    <a:pt x="413" y="134"/>
                  </a:lnTo>
                  <a:lnTo>
                    <a:pt x="413" y="136"/>
                  </a:lnTo>
                  <a:lnTo>
                    <a:pt x="414" y="138"/>
                  </a:lnTo>
                  <a:lnTo>
                    <a:pt x="414" y="139"/>
                  </a:lnTo>
                  <a:lnTo>
                    <a:pt x="414" y="141"/>
                  </a:lnTo>
                  <a:lnTo>
                    <a:pt x="413" y="143"/>
                  </a:lnTo>
                  <a:lnTo>
                    <a:pt x="413" y="144"/>
                  </a:lnTo>
                  <a:lnTo>
                    <a:pt x="411" y="146"/>
                  </a:lnTo>
                  <a:lnTo>
                    <a:pt x="408" y="146"/>
                  </a:lnTo>
                  <a:lnTo>
                    <a:pt x="408" y="148"/>
                  </a:lnTo>
                  <a:lnTo>
                    <a:pt x="408" y="149"/>
                  </a:lnTo>
                  <a:lnTo>
                    <a:pt x="409" y="149"/>
                  </a:lnTo>
                  <a:lnTo>
                    <a:pt x="411" y="151"/>
                  </a:lnTo>
                  <a:lnTo>
                    <a:pt x="409" y="155"/>
                  </a:lnTo>
                  <a:lnTo>
                    <a:pt x="408" y="155"/>
                  </a:lnTo>
                  <a:lnTo>
                    <a:pt x="406" y="155"/>
                  </a:lnTo>
                  <a:lnTo>
                    <a:pt x="404" y="156"/>
                  </a:lnTo>
                  <a:lnTo>
                    <a:pt x="402" y="156"/>
                  </a:lnTo>
                  <a:lnTo>
                    <a:pt x="399" y="158"/>
                  </a:lnTo>
                  <a:lnTo>
                    <a:pt x="397" y="158"/>
                  </a:lnTo>
                  <a:lnTo>
                    <a:pt x="396" y="160"/>
                  </a:lnTo>
                  <a:lnTo>
                    <a:pt x="394" y="160"/>
                  </a:lnTo>
                  <a:lnTo>
                    <a:pt x="392" y="158"/>
                  </a:lnTo>
                  <a:lnTo>
                    <a:pt x="391" y="158"/>
                  </a:lnTo>
                  <a:lnTo>
                    <a:pt x="391" y="156"/>
                  </a:lnTo>
                  <a:lnTo>
                    <a:pt x="391" y="155"/>
                  </a:lnTo>
                  <a:lnTo>
                    <a:pt x="391" y="153"/>
                  </a:lnTo>
                  <a:lnTo>
                    <a:pt x="392" y="153"/>
                  </a:lnTo>
                  <a:lnTo>
                    <a:pt x="394" y="151"/>
                  </a:lnTo>
                  <a:lnTo>
                    <a:pt x="394" y="153"/>
                  </a:lnTo>
                  <a:lnTo>
                    <a:pt x="396" y="151"/>
                  </a:lnTo>
                  <a:lnTo>
                    <a:pt x="397" y="153"/>
                  </a:lnTo>
                  <a:lnTo>
                    <a:pt x="397" y="155"/>
                  </a:lnTo>
                  <a:lnTo>
                    <a:pt x="397" y="153"/>
                  </a:lnTo>
                  <a:lnTo>
                    <a:pt x="399" y="151"/>
                  </a:lnTo>
                  <a:lnTo>
                    <a:pt x="397" y="153"/>
                  </a:lnTo>
                  <a:lnTo>
                    <a:pt x="396" y="151"/>
                  </a:lnTo>
                  <a:lnTo>
                    <a:pt x="394" y="149"/>
                  </a:lnTo>
                  <a:lnTo>
                    <a:pt x="394" y="146"/>
                  </a:lnTo>
                  <a:lnTo>
                    <a:pt x="396" y="146"/>
                  </a:lnTo>
                  <a:lnTo>
                    <a:pt x="397" y="148"/>
                  </a:lnTo>
                  <a:lnTo>
                    <a:pt x="399" y="146"/>
                  </a:lnTo>
                  <a:lnTo>
                    <a:pt x="402" y="146"/>
                  </a:lnTo>
                  <a:lnTo>
                    <a:pt x="404" y="146"/>
                  </a:lnTo>
                  <a:lnTo>
                    <a:pt x="402" y="144"/>
                  </a:lnTo>
                  <a:lnTo>
                    <a:pt x="401" y="144"/>
                  </a:lnTo>
                  <a:lnTo>
                    <a:pt x="397" y="144"/>
                  </a:lnTo>
                  <a:lnTo>
                    <a:pt x="397" y="146"/>
                  </a:lnTo>
                  <a:lnTo>
                    <a:pt x="397" y="144"/>
                  </a:lnTo>
                  <a:lnTo>
                    <a:pt x="397" y="143"/>
                  </a:lnTo>
                  <a:lnTo>
                    <a:pt x="396" y="141"/>
                  </a:lnTo>
                  <a:lnTo>
                    <a:pt x="397" y="139"/>
                  </a:lnTo>
                  <a:lnTo>
                    <a:pt x="397" y="141"/>
                  </a:lnTo>
                  <a:lnTo>
                    <a:pt x="401" y="139"/>
                  </a:lnTo>
                  <a:lnTo>
                    <a:pt x="401" y="143"/>
                  </a:lnTo>
                  <a:lnTo>
                    <a:pt x="402" y="139"/>
                  </a:lnTo>
                  <a:lnTo>
                    <a:pt x="401" y="139"/>
                  </a:lnTo>
                  <a:lnTo>
                    <a:pt x="404" y="138"/>
                  </a:lnTo>
                  <a:lnTo>
                    <a:pt x="404" y="141"/>
                  </a:lnTo>
                  <a:lnTo>
                    <a:pt x="404" y="143"/>
                  </a:lnTo>
                  <a:lnTo>
                    <a:pt x="406" y="144"/>
                  </a:lnTo>
                  <a:lnTo>
                    <a:pt x="406" y="146"/>
                  </a:lnTo>
                  <a:lnTo>
                    <a:pt x="408" y="146"/>
                  </a:lnTo>
                  <a:lnTo>
                    <a:pt x="406" y="144"/>
                  </a:lnTo>
                  <a:lnTo>
                    <a:pt x="406" y="143"/>
                  </a:lnTo>
                  <a:lnTo>
                    <a:pt x="406" y="139"/>
                  </a:lnTo>
                  <a:lnTo>
                    <a:pt x="408" y="139"/>
                  </a:lnTo>
                  <a:lnTo>
                    <a:pt x="406" y="139"/>
                  </a:lnTo>
                  <a:lnTo>
                    <a:pt x="408" y="139"/>
                  </a:lnTo>
                  <a:lnTo>
                    <a:pt x="408" y="138"/>
                  </a:lnTo>
                  <a:lnTo>
                    <a:pt x="406" y="138"/>
                  </a:lnTo>
                  <a:lnTo>
                    <a:pt x="404" y="136"/>
                  </a:lnTo>
                  <a:lnTo>
                    <a:pt x="406" y="136"/>
                  </a:lnTo>
                  <a:lnTo>
                    <a:pt x="404" y="132"/>
                  </a:lnTo>
                  <a:lnTo>
                    <a:pt x="404" y="131"/>
                  </a:lnTo>
                  <a:lnTo>
                    <a:pt x="406" y="132"/>
                  </a:lnTo>
                  <a:lnTo>
                    <a:pt x="406" y="131"/>
                  </a:lnTo>
                  <a:close/>
                  <a:moveTo>
                    <a:pt x="414" y="115"/>
                  </a:moveTo>
                  <a:lnTo>
                    <a:pt x="416" y="115"/>
                  </a:lnTo>
                  <a:lnTo>
                    <a:pt x="416" y="117"/>
                  </a:lnTo>
                  <a:lnTo>
                    <a:pt x="418" y="115"/>
                  </a:lnTo>
                  <a:lnTo>
                    <a:pt x="418" y="119"/>
                  </a:lnTo>
                  <a:lnTo>
                    <a:pt x="419" y="121"/>
                  </a:lnTo>
                  <a:lnTo>
                    <a:pt x="421" y="122"/>
                  </a:lnTo>
                  <a:lnTo>
                    <a:pt x="421" y="119"/>
                  </a:lnTo>
                  <a:lnTo>
                    <a:pt x="423" y="117"/>
                  </a:lnTo>
                  <a:lnTo>
                    <a:pt x="425" y="117"/>
                  </a:lnTo>
                  <a:lnTo>
                    <a:pt x="425" y="121"/>
                  </a:lnTo>
                  <a:lnTo>
                    <a:pt x="425" y="122"/>
                  </a:lnTo>
                  <a:lnTo>
                    <a:pt x="426" y="121"/>
                  </a:lnTo>
                  <a:lnTo>
                    <a:pt x="426" y="119"/>
                  </a:lnTo>
                  <a:lnTo>
                    <a:pt x="428" y="121"/>
                  </a:lnTo>
                  <a:lnTo>
                    <a:pt x="428" y="122"/>
                  </a:lnTo>
                  <a:lnTo>
                    <a:pt x="425" y="124"/>
                  </a:lnTo>
                  <a:lnTo>
                    <a:pt x="423" y="124"/>
                  </a:lnTo>
                  <a:lnTo>
                    <a:pt x="425" y="127"/>
                  </a:lnTo>
                  <a:lnTo>
                    <a:pt x="423" y="129"/>
                  </a:lnTo>
                  <a:lnTo>
                    <a:pt x="423" y="131"/>
                  </a:lnTo>
                  <a:lnTo>
                    <a:pt x="421" y="134"/>
                  </a:lnTo>
                  <a:lnTo>
                    <a:pt x="421" y="136"/>
                  </a:lnTo>
                  <a:lnTo>
                    <a:pt x="419" y="136"/>
                  </a:lnTo>
                  <a:lnTo>
                    <a:pt x="418" y="136"/>
                  </a:lnTo>
                  <a:lnTo>
                    <a:pt x="416" y="138"/>
                  </a:lnTo>
                  <a:lnTo>
                    <a:pt x="414" y="138"/>
                  </a:lnTo>
                  <a:lnTo>
                    <a:pt x="414" y="136"/>
                  </a:lnTo>
                  <a:lnTo>
                    <a:pt x="413" y="134"/>
                  </a:lnTo>
                  <a:lnTo>
                    <a:pt x="411" y="132"/>
                  </a:lnTo>
                  <a:lnTo>
                    <a:pt x="409" y="132"/>
                  </a:lnTo>
                  <a:lnTo>
                    <a:pt x="409" y="131"/>
                  </a:lnTo>
                  <a:lnTo>
                    <a:pt x="408" y="131"/>
                  </a:lnTo>
                  <a:lnTo>
                    <a:pt x="406" y="129"/>
                  </a:lnTo>
                  <a:lnTo>
                    <a:pt x="404" y="127"/>
                  </a:lnTo>
                  <a:lnTo>
                    <a:pt x="406" y="126"/>
                  </a:lnTo>
                  <a:lnTo>
                    <a:pt x="408" y="127"/>
                  </a:lnTo>
                  <a:lnTo>
                    <a:pt x="408" y="126"/>
                  </a:lnTo>
                  <a:lnTo>
                    <a:pt x="408" y="127"/>
                  </a:lnTo>
                  <a:lnTo>
                    <a:pt x="409" y="126"/>
                  </a:lnTo>
                  <a:lnTo>
                    <a:pt x="408" y="124"/>
                  </a:lnTo>
                  <a:lnTo>
                    <a:pt x="408" y="121"/>
                  </a:lnTo>
                  <a:lnTo>
                    <a:pt x="409" y="121"/>
                  </a:lnTo>
                  <a:lnTo>
                    <a:pt x="411" y="119"/>
                  </a:lnTo>
                  <a:lnTo>
                    <a:pt x="413" y="121"/>
                  </a:lnTo>
                  <a:lnTo>
                    <a:pt x="413" y="119"/>
                  </a:lnTo>
                  <a:lnTo>
                    <a:pt x="411" y="117"/>
                  </a:lnTo>
                  <a:lnTo>
                    <a:pt x="413" y="115"/>
                  </a:lnTo>
                  <a:lnTo>
                    <a:pt x="413" y="117"/>
                  </a:lnTo>
                  <a:lnTo>
                    <a:pt x="413" y="115"/>
                  </a:lnTo>
                  <a:lnTo>
                    <a:pt x="414" y="115"/>
                  </a:lnTo>
                  <a:close/>
                  <a:moveTo>
                    <a:pt x="513" y="59"/>
                  </a:moveTo>
                  <a:lnTo>
                    <a:pt x="515" y="59"/>
                  </a:lnTo>
                  <a:lnTo>
                    <a:pt x="516" y="59"/>
                  </a:lnTo>
                  <a:lnTo>
                    <a:pt x="516" y="61"/>
                  </a:lnTo>
                  <a:lnTo>
                    <a:pt x="518" y="61"/>
                  </a:lnTo>
                  <a:lnTo>
                    <a:pt x="516" y="64"/>
                  </a:lnTo>
                  <a:lnTo>
                    <a:pt x="516" y="66"/>
                  </a:lnTo>
                  <a:lnTo>
                    <a:pt x="520" y="68"/>
                  </a:lnTo>
                  <a:lnTo>
                    <a:pt x="520" y="70"/>
                  </a:lnTo>
                  <a:lnTo>
                    <a:pt x="521" y="71"/>
                  </a:lnTo>
                  <a:lnTo>
                    <a:pt x="520" y="75"/>
                  </a:lnTo>
                  <a:lnTo>
                    <a:pt x="518" y="76"/>
                  </a:lnTo>
                  <a:lnTo>
                    <a:pt x="516" y="76"/>
                  </a:lnTo>
                  <a:lnTo>
                    <a:pt x="518" y="76"/>
                  </a:lnTo>
                  <a:lnTo>
                    <a:pt x="516" y="80"/>
                  </a:lnTo>
                  <a:lnTo>
                    <a:pt x="515" y="80"/>
                  </a:lnTo>
                  <a:lnTo>
                    <a:pt x="513" y="80"/>
                  </a:lnTo>
                  <a:lnTo>
                    <a:pt x="513" y="81"/>
                  </a:lnTo>
                  <a:lnTo>
                    <a:pt x="516" y="81"/>
                  </a:lnTo>
                  <a:lnTo>
                    <a:pt x="515" y="83"/>
                  </a:lnTo>
                  <a:lnTo>
                    <a:pt x="513" y="83"/>
                  </a:lnTo>
                  <a:lnTo>
                    <a:pt x="513" y="85"/>
                  </a:lnTo>
                  <a:lnTo>
                    <a:pt x="511" y="87"/>
                  </a:lnTo>
                  <a:lnTo>
                    <a:pt x="508" y="85"/>
                  </a:lnTo>
                  <a:lnTo>
                    <a:pt x="508" y="83"/>
                  </a:lnTo>
                  <a:lnTo>
                    <a:pt x="510" y="80"/>
                  </a:lnTo>
                  <a:lnTo>
                    <a:pt x="510" y="78"/>
                  </a:lnTo>
                  <a:lnTo>
                    <a:pt x="510" y="76"/>
                  </a:lnTo>
                  <a:lnTo>
                    <a:pt x="508" y="78"/>
                  </a:lnTo>
                  <a:lnTo>
                    <a:pt x="508" y="80"/>
                  </a:lnTo>
                  <a:lnTo>
                    <a:pt x="506" y="83"/>
                  </a:lnTo>
                  <a:lnTo>
                    <a:pt x="506" y="80"/>
                  </a:lnTo>
                  <a:lnTo>
                    <a:pt x="506" y="81"/>
                  </a:lnTo>
                  <a:lnTo>
                    <a:pt x="504" y="81"/>
                  </a:lnTo>
                  <a:lnTo>
                    <a:pt x="503" y="78"/>
                  </a:lnTo>
                  <a:lnTo>
                    <a:pt x="501" y="78"/>
                  </a:lnTo>
                  <a:lnTo>
                    <a:pt x="503" y="78"/>
                  </a:lnTo>
                  <a:lnTo>
                    <a:pt x="504" y="78"/>
                  </a:lnTo>
                  <a:lnTo>
                    <a:pt x="504" y="76"/>
                  </a:lnTo>
                  <a:lnTo>
                    <a:pt x="503" y="76"/>
                  </a:lnTo>
                  <a:lnTo>
                    <a:pt x="503" y="75"/>
                  </a:lnTo>
                  <a:lnTo>
                    <a:pt x="504" y="73"/>
                  </a:lnTo>
                  <a:lnTo>
                    <a:pt x="504" y="71"/>
                  </a:lnTo>
                  <a:lnTo>
                    <a:pt x="506" y="70"/>
                  </a:lnTo>
                  <a:lnTo>
                    <a:pt x="508" y="70"/>
                  </a:lnTo>
                  <a:lnTo>
                    <a:pt x="508" y="71"/>
                  </a:lnTo>
                  <a:lnTo>
                    <a:pt x="508" y="68"/>
                  </a:lnTo>
                  <a:lnTo>
                    <a:pt x="510" y="68"/>
                  </a:lnTo>
                  <a:lnTo>
                    <a:pt x="508" y="68"/>
                  </a:lnTo>
                  <a:lnTo>
                    <a:pt x="508" y="66"/>
                  </a:lnTo>
                  <a:lnTo>
                    <a:pt x="510" y="66"/>
                  </a:lnTo>
                  <a:lnTo>
                    <a:pt x="511" y="68"/>
                  </a:lnTo>
                  <a:lnTo>
                    <a:pt x="511" y="71"/>
                  </a:lnTo>
                  <a:lnTo>
                    <a:pt x="510" y="71"/>
                  </a:lnTo>
                  <a:lnTo>
                    <a:pt x="510" y="73"/>
                  </a:lnTo>
                  <a:lnTo>
                    <a:pt x="511" y="71"/>
                  </a:lnTo>
                  <a:lnTo>
                    <a:pt x="511" y="70"/>
                  </a:lnTo>
                  <a:lnTo>
                    <a:pt x="511" y="68"/>
                  </a:lnTo>
                  <a:lnTo>
                    <a:pt x="510" y="66"/>
                  </a:lnTo>
                  <a:lnTo>
                    <a:pt x="511" y="66"/>
                  </a:lnTo>
                  <a:lnTo>
                    <a:pt x="515" y="66"/>
                  </a:lnTo>
                  <a:lnTo>
                    <a:pt x="513" y="64"/>
                  </a:lnTo>
                  <a:lnTo>
                    <a:pt x="515" y="64"/>
                  </a:lnTo>
                  <a:lnTo>
                    <a:pt x="516" y="66"/>
                  </a:lnTo>
                  <a:lnTo>
                    <a:pt x="515" y="63"/>
                  </a:lnTo>
                  <a:lnTo>
                    <a:pt x="515" y="59"/>
                  </a:lnTo>
                  <a:lnTo>
                    <a:pt x="513" y="61"/>
                  </a:lnTo>
                  <a:lnTo>
                    <a:pt x="511" y="59"/>
                  </a:lnTo>
                  <a:lnTo>
                    <a:pt x="513" y="59"/>
                  </a:lnTo>
                  <a:close/>
                  <a:moveTo>
                    <a:pt x="324" y="243"/>
                  </a:moveTo>
                  <a:lnTo>
                    <a:pt x="324" y="245"/>
                  </a:lnTo>
                  <a:lnTo>
                    <a:pt x="323" y="246"/>
                  </a:lnTo>
                  <a:lnTo>
                    <a:pt x="323" y="248"/>
                  </a:lnTo>
                  <a:lnTo>
                    <a:pt x="321" y="250"/>
                  </a:lnTo>
                  <a:lnTo>
                    <a:pt x="319" y="252"/>
                  </a:lnTo>
                  <a:lnTo>
                    <a:pt x="319" y="250"/>
                  </a:lnTo>
                  <a:lnTo>
                    <a:pt x="319" y="252"/>
                  </a:lnTo>
                  <a:lnTo>
                    <a:pt x="317" y="252"/>
                  </a:lnTo>
                  <a:lnTo>
                    <a:pt x="319" y="252"/>
                  </a:lnTo>
                  <a:lnTo>
                    <a:pt x="319" y="253"/>
                  </a:lnTo>
                  <a:lnTo>
                    <a:pt x="317" y="255"/>
                  </a:lnTo>
                  <a:lnTo>
                    <a:pt x="316" y="257"/>
                  </a:lnTo>
                  <a:lnTo>
                    <a:pt x="314" y="257"/>
                  </a:lnTo>
                  <a:lnTo>
                    <a:pt x="314" y="258"/>
                  </a:lnTo>
                  <a:lnTo>
                    <a:pt x="312" y="258"/>
                  </a:lnTo>
                  <a:lnTo>
                    <a:pt x="312" y="260"/>
                  </a:lnTo>
                  <a:lnTo>
                    <a:pt x="312" y="258"/>
                  </a:lnTo>
                  <a:lnTo>
                    <a:pt x="312" y="257"/>
                  </a:lnTo>
                  <a:lnTo>
                    <a:pt x="314" y="255"/>
                  </a:lnTo>
                  <a:lnTo>
                    <a:pt x="312" y="255"/>
                  </a:lnTo>
                  <a:lnTo>
                    <a:pt x="311" y="253"/>
                  </a:lnTo>
                  <a:lnTo>
                    <a:pt x="312" y="253"/>
                  </a:lnTo>
                  <a:lnTo>
                    <a:pt x="312" y="255"/>
                  </a:lnTo>
                  <a:lnTo>
                    <a:pt x="311" y="255"/>
                  </a:lnTo>
                  <a:lnTo>
                    <a:pt x="312" y="255"/>
                  </a:lnTo>
                  <a:lnTo>
                    <a:pt x="311" y="255"/>
                  </a:lnTo>
                  <a:lnTo>
                    <a:pt x="312" y="255"/>
                  </a:lnTo>
                  <a:lnTo>
                    <a:pt x="312" y="257"/>
                  </a:lnTo>
                  <a:lnTo>
                    <a:pt x="311" y="258"/>
                  </a:lnTo>
                  <a:lnTo>
                    <a:pt x="309" y="258"/>
                  </a:lnTo>
                  <a:lnTo>
                    <a:pt x="311" y="258"/>
                  </a:lnTo>
                  <a:lnTo>
                    <a:pt x="311" y="260"/>
                  </a:lnTo>
                  <a:lnTo>
                    <a:pt x="309" y="260"/>
                  </a:lnTo>
                  <a:lnTo>
                    <a:pt x="311" y="262"/>
                  </a:lnTo>
                  <a:lnTo>
                    <a:pt x="309" y="262"/>
                  </a:lnTo>
                  <a:lnTo>
                    <a:pt x="307" y="263"/>
                  </a:lnTo>
                  <a:lnTo>
                    <a:pt x="307" y="262"/>
                  </a:lnTo>
                  <a:lnTo>
                    <a:pt x="307" y="263"/>
                  </a:lnTo>
                  <a:lnTo>
                    <a:pt x="306" y="263"/>
                  </a:lnTo>
                  <a:lnTo>
                    <a:pt x="306" y="265"/>
                  </a:lnTo>
                  <a:lnTo>
                    <a:pt x="306" y="263"/>
                  </a:lnTo>
                  <a:lnTo>
                    <a:pt x="304" y="265"/>
                  </a:lnTo>
                  <a:lnTo>
                    <a:pt x="304" y="263"/>
                  </a:lnTo>
                  <a:lnTo>
                    <a:pt x="304" y="265"/>
                  </a:lnTo>
                  <a:lnTo>
                    <a:pt x="302" y="265"/>
                  </a:lnTo>
                  <a:lnTo>
                    <a:pt x="302" y="267"/>
                  </a:lnTo>
                  <a:lnTo>
                    <a:pt x="300" y="267"/>
                  </a:lnTo>
                  <a:lnTo>
                    <a:pt x="299" y="267"/>
                  </a:lnTo>
                  <a:lnTo>
                    <a:pt x="299" y="265"/>
                  </a:lnTo>
                  <a:lnTo>
                    <a:pt x="299" y="262"/>
                  </a:lnTo>
                  <a:lnTo>
                    <a:pt x="302" y="262"/>
                  </a:lnTo>
                  <a:lnTo>
                    <a:pt x="304" y="260"/>
                  </a:lnTo>
                  <a:lnTo>
                    <a:pt x="300" y="262"/>
                  </a:lnTo>
                  <a:lnTo>
                    <a:pt x="300" y="260"/>
                  </a:lnTo>
                  <a:lnTo>
                    <a:pt x="302" y="260"/>
                  </a:lnTo>
                  <a:lnTo>
                    <a:pt x="302" y="258"/>
                  </a:lnTo>
                  <a:lnTo>
                    <a:pt x="300" y="258"/>
                  </a:lnTo>
                  <a:lnTo>
                    <a:pt x="300" y="257"/>
                  </a:lnTo>
                  <a:lnTo>
                    <a:pt x="300" y="255"/>
                  </a:lnTo>
                  <a:lnTo>
                    <a:pt x="302" y="255"/>
                  </a:lnTo>
                  <a:lnTo>
                    <a:pt x="304" y="257"/>
                  </a:lnTo>
                  <a:lnTo>
                    <a:pt x="304" y="255"/>
                  </a:lnTo>
                  <a:lnTo>
                    <a:pt x="304" y="253"/>
                  </a:lnTo>
                  <a:lnTo>
                    <a:pt x="306" y="257"/>
                  </a:lnTo>
                  <a:lnTo>
                    <a:pt x="306" y="255"/>
                  </a:lnTo>
                  <a:lnTo>
                    <a:pt x="306" y="253"/>
                  </a:lnTo>
                  <a:lnTo>
                    <a:pt x="304" y="253"/>
                  </a:lnTo>
                  <a:lnTo>
                    <a:pt x="304" y="252"/>
                  </a:lnTo>
                  <a:lnTo>
                    <a:pt x="306" y="250"/>
                  </a:lnTo>
                  <a:lnTo>
                    <a:pt x="307" y="252"/>
                  </a:lnTo>
                  <a:lnTo>
                    <a:pt x="307" y="250"/>
                  </a:lnTo>
                  <a:lnTo>
                    <a:pt x="306" y="248"/>
                  </a:lnTo>
                  <a:lnTo>
                    <a:pt x="309" y="246"/>
                  </a:lnTo>
                  <a:lnTo>
                    <a:pt x="311" y="248"/>
                  </a:lnTo>
                  <a:lnTo>
                    <a:pt x="311" y="250"/>
                  </a:lnTo>
                  <a:lnTo>
                    <a:pt x="311" y="248"/>
                  </a:lnTo>
                  <a:lnTo>
                    <a:pt x="311" y="246"/>
                  </a:lnTo>
                  <a:lnTo>
                    <a:pt x="314" y="246"/>
                  </a:lnTo>
                  <a:lnTo>
                    <a:pt x="314" y="248"/>
                  </a:lnTo>
                  <a:lnTo>
                    <a:pt x="314" y="250"/>
                  </a:lnTo>
                  <a:lnTo>
                    <a:pt x="312" y="252"/>
                  </a:lnTo>
                  <a:lnTo>
                    <a:pt x="314" y="250"/>
                  </a:lnTo>
                  <a:lnTo>
                    <a:pt x="316" y="250"/>
                  </a:lnTo>
                  <a:lnTo>
                    <a:pt x="316" y="248"/>
                  </a:lnTo>
                  <a:lnTo>
                    <a:pt x="316" y="246"/>
                  </a:lnTo>
                  <a:lnTo>
                    <a:pt x="316" y="245"/>
                  </a:lnTo>
                  <a:lnTo>
                    <a:pt x="317" y="246"/>
                  </a:lnTo>
                  <a:lnTo>
                    <a:pt x="319" y="246"/>
                  </a:lnTo>
                  <a:lnTo>
                    <a:pt x="319" y="245"/>
                  </a:lnTo>
                  <a:lnTo>
                    <a:pt x="319" y="246"/>
                  </a:lnTo>
                  <a:lnTo>
                    <a:pt x="319" y="245"/>
                  </a:lnTo>
                  <a:lnTo>
                    <a:pt x="323" y="245"/>
                  </a:lnTo>
                  <a:lnTo>
                    <a:pt x="324" y="243"/>
                  </a:lnTo>
                  <a:close/>
                  <a:moveTo>
                    <a:pt x="343" y="180"/>
                  </a:moveTo>
                  <a:lnTo>
                    <a:pt x="345" y="182"/>
                  </a:lnTo>
                  <a:lnTo>
                    <a:pt x="345" y="183"/>
                  </a:lnTo>
                  <a:lnTo>
                    <a:pt x="343" y="185"/>
                  </a:lnTo>
                  <a:lnTo>
                    <a:pt x="343" y="187"/>
                  </a:lnTo>
                  <a:lnTo>
                    <a:pt x="343" y="190"/>
                  </a:lnTo>
                  <a:lnTo>
                    <a:pt x="343" y="192"/>
                  </a:lnTo>
                  <a:lnTo>
                    <a:pt x="343" y="194"/>
                  </a:lnTo>
                  <a:lnTo>
                    <a:pt x="341" y="194"/>
                  </a:lnTo>
                  <a:lnTo>
                    <a:pt x="341" y="195"/>
                  </a:lnTo>
                  <a:lnTo>
                    <a:pt x="340" y="199"/>
                  </a:lnTo>
                  <a:lnTo>
                    <a:pt x="338" y="201"/>
                  </a:lnTo>
                  <a:lnTo>
                    <a:pt x="338" y="202"/>
                  </a:lnTo>
                  <a:lnTo>
                    <a:pt x="336" y="202"/>
                  </a:lnTo>
                  <a:lnTo>
                    <a:pt x="334" y="204"/>
                  </a:lnTo>
                  <a:lnTo>
                    <a:pt x="333" y="206"/>
                  </a:lnTo>
                  <a:lnTo>
                    <a:pt x="333" y="207"/>
                  </a:lnTo>
                  <a:lnTo>
                    <a:pt x="333" y="204"/>
                  </a:lnTo>
                  <a:lnTo>
                    <a:pt x="331" y="204"/>
                  </a:lnTo>
                  <a:lnTo>
                    <a:pt x="329" y="204"/>
                  </a:lnTo>
                  <a:lnTo>
                    <a:pt x="331" y="206"/>
                  </a:lnTo>
                  <a:lnTo>
                    <a:pt x="331" y="207"/>
                  </a:lnTo>
                  <a:lnTo>
                    <a:pt x="331" y="209"/>
                  </a:lnTo>
                  <a:lnTo>
                    <a:pt x="331" y="212"/>
                  </a:lnTo>
                  <a:lnTo>
                    <a:pt x="329" y="214"/>
                  </a:lnTo>
                  <a:lnTo>
                    <a:pt x="328" y="212"/>
                  </a:lnTo>
                  <a:lnTo>
                    <a:pt x="328" y="211"/>
                  </a:lnTo>
                  <a:lnTo>
                    <a:pt x="328" y="207"/>
                  </a:lnTo>
                  <a:lnTo>
                    <a:pt x="328" y="206"/>
                  </a:lnTo>
                  <a:lnTo>
                    <a:pt x="328" y="204"/>
                  </a:lnTo>
                  <a:lnTo>
                    <a:pt x="329" y="202"/>
                  </a:lnTo>
                  <a:lnTo>
                    <a:pt x="329" y="199"/>
                  </a:lnTo>
                  <a:lnTo>
                    <a:pt x="331" y="199"/>
                  </a:lnTo>
                  <a:lnTo>
                    <a:pt x="329" y="197"/>
                  </a:lnTo>
                  <a:lnTo>
                    <a:pt x="331" y="197"/>
                  </a:lnTo>
                  <a:lnTo>
                    <a:pt x="331" y="195"/>
                  </a:lnTo>
                  <a:lnTo>
                    <a:pt x="333" y="194"/>
                  </a:lnTo>
                  <a:lnTo>
                    <a:pt x="334" y="194"/>
                  </a:lnTo>
                  <a:lnTo>
                    <a:pt x="336" y="192"/>
                  </a:lnTo>
                  <a:lnTo>
                    <a:pt x="336" y="190"/>
                  </a:lnTo>
                  <a:lnTo>
                    <a:pt x="336" y="189"/>
                  </a:lnTo>
                  <a:lnTo>
                    <a:pt x="338" y="189"/>
                  </a:lnTo>
                  <a:lnTo>
                    <a:pt x="336" y="187"/>
                  </a:lnTo>
                  <a:lnTo>
                    <a:pt x="338" y="187"/>
                  </a:lnTo>
                  <a:lnTo>
                    <a:pt x="336" y="185"/>
                  </a:lnTo>
                  <a:lnTo>
                    <a:pt x="338" y="185"/>
                  </a:lnTo>
                  <a:lnTo>
                    <a:pt x="340" y="183"/>
                  </a:lnTo>
                  <a:lnTo>
                    <a:pt x="340" y="182"/>
                  </a:lnTo>
                  <a:lnTo>
                    <a:pt x="341" y="182"/>
                  </a:lnTo>
                  <a:lnTo>
                    <a:pt x="343" y="180"/>
                  </a:lnTo>
                  <a:close/>
                  <a:moveTo>
                    <a:pt x="559" y="7"/>
                  </a:moveTo>
                  <a:lnTo>
                    <a:pt x="559" y="10"/>
                  </a:lnTo>
                  <a:lnTo>
                    <a:pt x="561" y="8"/>
                  </a:lnTo>
                  <a:lnTo>
                    <a:pt x="562" y="8"/>
                  </a:lnTo>
                  <a:lnTo>
                    <a:pt x="562" y="12"/>
                  </a:lnTo>
                  <a:lnTo>
                    <a:pt x="564" y="10"/>
                  </a:lnTo>
                  <a:lnTo>
                    <a:pt x="562" y="12"/>
                  </a:lnTo>
                  <a:lnTo>
                    <a:pt x="564" y="12"/>
                  </a:lnTo>
                  <a:lnTo>
                    <a:pt x="566" y="10"/>
                  </a:lnTo>
                  <a:lnTo>
                    <a:pt x="566" y="12"/>
                  </a:lnTo>
                  <a:lnTo>
                    <a:pt x="566" y="8"/>
                  </a:lnTo>
                  <a:lnTo>
                    <a:pt x="567" y="10"/>
                  </a:lnTo>
                  <a:lnTo>
                    <a:pt x="569" y="12"/>
                  </a:lnTo>
                  <a:lnTo>
                    <a:pt x="567" y="13"/>
                  </a:lnTo>
                  <a:lnTo>
                    <a:pt x="566" y="13"/>
                  </a:lnTo>
                  <a:lnTo>
                    <a:pt x="564" y="15"/>
                  </a:lnTo>
                  <a:lnTo>
                    <a:pt x="566" y="15"/>
                  </a:lnTo>
                  <a:lnTo>
                    <a:pt x="566" y="17"/>
                  </a:lnTo>
                  <a:lnTo>
                    <a:pt x="567" y="17"/>
                  </a:lnTo>
                  <a:lnTo>
                    <a:pt x="566" y="18"/>
                  </a:lnTo>
                  <a:lnTo>
                    <a:pt x="569" y="18"/>
                  </a:lnTo>
                  <a:lnTo>
                    <a:pt x="569" y="17"/>
                  </a:lnTo>
                  <a:lnTo>
                    <a:pt x="571" y="18"/>
                  </a:lnTo>
                  <a:lnTo>
                    <a:pt x="571" y="15"/>
                  </a:lnTo>
                  <a:lnTo>
                    <a:pt x="572" y="13"/>
                  </a:lnTo>
                  <a:lnTo>
                    <a:pt x="574" y="15"/>
                  </a:lnTo>
                  <a:lnTo>
                    <a:pt x="572" y="17"/>
                  </a:lnTo>
                  <a:lnTo>
                    <a:pt x="572" y="18"/>
                  </a:lnTo>
                  <a:lnTo>
                    <a:pt x="571" y="20"/>
                  </a:lnTo>
                  <a:lnTo>
                    <a:pt x="569" y="20"/>
                  </a:lnTo>
                  <a:lnTo>
                    <a:pt x="569" y="22"/>
                  </a:lnTo>
                  <a:lnTo>
                    <a:pt x="569" y="20"/>
                  </a:lnTo>
                  <a:lnTo>
                    <a:pt x="567" y="22"/>
                  </a:lnTo>
                  <a:lnTo>
                    <a:pt x="564" y="22"/>
                  </a:lnTo>
                  <a:lnTo>
                    <a:pt x="562" y="24"/>
                  </a:lnTo>
                  <a:lnTo>
                    <a:pt x="564" y="25"/>
                  </a:lnTo>
                  <a:lnTo>
                    <a:pt x="561" y="25"/>
                  </a:lnTo>
                  <a:lnTo>
                    <a:pt x="561" y="27"/>
                  </a:lnTo>
                  <a:lnTo>
                    <a:pt x="557" y="25"/>
                  </a:lnTo>
                  <a:lnTo>
                    <a:pt x="557" y="24"/>
                  </a:lnTo>
                  <a:lnTo>
                    <a:pt x="555" y="24"/>
                  </a:lnTo>
                  <a:lnTo>
                    <a:pt x="557" y="20"/>
                  </a:lnTo>
                  <a:lnTo>
                    <a:pt x="559" y="20"/>
                  </a:lnTo>
                  <a:lnTo>
                    <a:pt x="557" y="18"/>
                  </a:lnTo>
                  <a:lnTo>
                    <a:pt x="555" y="20"/>
                  </a:lnTo>
                  <a:lnTo>
                    <a:pt x="552" y="22"/>
                  </a:lnTo>
                  <a:lnTo>
                    <a:pt x="550" y="20"/>
                  </a:lnTo>
                  <a:lnTo>
                    <a:pt x="552" y="20"/>
                  </a:lnTo>
                  <a:lnTo>
                    <a:pt x="550" y="20"/>
                  </a:lnTo>
                  <a:lnTo>
                    <a:pt x="552" y="17"/>
                  </a:lnTo>
                  <a:lnTo>
                    <a:pt x="550" y="17"/>
                  </a:lnTo>
                  <a:lnTo>
                    <a:pt x="550" y="15"/>
                  </a:lnTo>
                  <a:lnTo>
                    <a:pt x="552" y="17"/>
                  </a:lnTo>
                  <a:lnTo>
                    <a:pt x="552" y="15"/>
                  </a:lnTo>
                  <a:lnTo>
                    <a:pt x="555" y="15"/>
                  </a:lnTo>
                  <a:lnTo>
                    <a:pt x="554" y="13"/>
                  </a:lnTo>
                  <a:lnTo>
                    <a:pt x="555" y="15"/>
                  </a:lnTo>
                  <a:lnTo>
                    <a:pt x="557" y="13"/>
                  </a:lnTo>
                  <a:lnTo>
                    <a:pt x="557" y="15"/>
                  </a:lnTo>
                  <a:lnTo>
                    <a:pt x="559" y="13"/>
                  </a:lnTo>
                  <a:lnTo>
                    <a:pt x="561" y="15"/>
                  </a:lnTo>
                  <a:lnTo>
                    <a:pt x="561" y="17"/>
                  </a:lnTo>
                  <a:lnTo>
                    <a:pt x="562" y="15"/>
                  </a:lnTo>
                  <a:lnTo>
                    <a:pt x="559" y="13"/>
                  </a:lnTo>
                  <a:lnTo>
                    <a:pt x="557" y="12"/>
                  </a:lnTo>
                  <a:lnTo>
                    <a:pt x="555" y="10"/>
                  </a:lnTo>
                  <a:lnTo>
                    <a:pt x="557" y="10"/>
                  </a:lnTo>
                  <a:lnTo>
                    <a:pt x="559" y="8"/>
                  </a:lnTo>
                  <a:lnTo>
                    <a:pt x="559" y="7"/>
                  </a:lnTo>
                  <a:close/>
                  <a:moveTo>
                    <a:pt x="153" y="595"/>
                  </a:moveTo>
                  <a:lnTo>
                    <a:pt x="153" y="597"/>
                  </a:lnTo>
                  <a:lnTo>
                    <a:pt x="151" y="599"/>
                  </a:lnTo>
                  <a:lnTo>
                    <a:pt x="153" y="599"/>
                  </a:lnTo>
                  <a:lnTo>
                    <a:pt x="153" y="602"/>
                  </a:lnTo>
                  <a:lnTo>
                    <a:pt x="154" y="600"/>
                  </a:lnTo>
                  <a:lnTo>
                    <a:pt x="156" y="600"/>
                  </a:lnTo>
                  <a:lnTo>
                    <a:pt x="158" y="602"/>
                  </a:lnTo>
                  <a:lnTo>
                    <a:pt x="158" y="604"/>
                  </a:lnTo>
                  <a:lnTo>
                    <a:pt x="158" y="602"/>
                  </a:lnTo>
                  <a:lnTo>
                    <a:pt x="159" y="602"/>
                  </a:lnTo>
                  <a:lnTo>
                    <a:pt x="159" y="604"/>
                  </a:lnTo>
                  <a:lnTo>
                    <a:pt x="158" y="604"/>
                  </a:lnTo>
                  <a:lnTo>
                    <a:pt x="156" y="605"/>
                  </a:lnTo>
                  <a:lnTo>
                    <a:pt x="153" y="607"/>
                  </a:lnTo>
                  <a:lnTo>
                    <a:pt x="151" y="607"/>
                  </a:lnTo>
                  <a:lnTo>
                    <a:pt x="149" y="609"/>
                  </a:lnTo>
                  <a:lnTo>
                    <a:pt x="147" y="609"/>
                  </a:lnTo>
                  <a:lnTo>
                    <a:pt x="146" y="609"/>
                  </a:lnTo>
                  <a:lnTo>
                    <a:pt x="142" y="609"/>
                  </a:lnTo>
                  <a:lnTo>
                    <a:pt x="141" y="610"/>
                  </a:lnTo>
                  <a:lnTo>
                    <a:pt x="139" y="610"/>
                  </a:lnTo>
                  <a:lnTo>
                    <a:pt x="137" y="612"/>
                  </a:lnTo>
                  <a:lnTo>
                    <a:pt x="134" y="612"/>
                  </a:lnTo>
                  <a:lnTo>
                    <a:pt x="134" y="610"/>
                  </a:lnTo>
                  <a:lnTo>
                    <a:pt x="132" y="610"/>
                  </a:lnTo>
                  <a:lnTo>
                    <a:pt x="134" y="610"/>
                  </a:lnTo>
                  <a:lnTo>
                    <a:pt x="132" y="610"/>
                  </a:lnTo>
                  <a:lnTo>
                    <a:pt x="130" y="610"/>
                  </a:lnTo>
                  <a:lnTo>
                    <a:pt x="132" y="609"/>
                  </a:lnTo>
                  <a:lnTo>
                    <a:pt x="132" y="607"/>
                  </a:lnTo>
                  <a:lnTo>
                    <a:pt x="130" y="609"/>
                  </a:lnTo>
                  <a:lnTo>
                    <a:pt x="134" y="607"/>
                  </a:lnTo>
                  <a:lnTo>
                    <a:pt x="134" y="605"/>
                  </a:lnTo>
                  <a:lnTo>
                    <a:pt x="136" y="604"/>
                  </a:lnTo>
                  <a:lnTo>
                    <a:pt x="134" y="604"/>
                  </a:lnTo>
                  <a:lnTo>
                    <a:pt x="134" y="605"/>
                  </a:lnTo>
                  <a:lnTo>
                    <a:pt x="132" y="605"/>
                  </a:lnTo>
                  <a:lnTo>
                    <a:pt x="130" y="609"/>
                  </a:lnTo>
                  <a:lnTo>
                    <a:pt x="130" y="607"/>
                  </a:lnTo>
                  <a:lnTo>
                    <a:pt x="134" y="605"/>
                  </a:lnTo>
                  <a:lnTo>
                    <a:pt x="132" y="605"/>
                  </a:lnTo>
                  <a:lnTo>
                    <a:pt x="134" y="604"/>
                  </a:lnTo>
                  <a:lnTo>
                    <a:pt x="136" y="604"/>
                  </a:lnTo>
                  <a:lnTo>
                    <a:pt x="137" y="602"/>
                  </a:lnTo>
                  <a:lnTo>
                    <a:pt x="139" y="604"/>
                  </a:lnTo>
                  <a:lnTo>
                    <a:pt x="141" y="602"/>
                  </a:lnTo>
                  <a:lnTo>
                    <a:pt x="142" y="602"/>
                  </a:lnTo>
                  <a:lnTo>
                    <a:pt x="144" y="602"/>
                  </a:lnTo>
                  <a:lnTo>
                    <a:pt x="146" y="602"/>
                  </a:lnTo>
                  <a:lnTo>
                    <a:pt x="144" y="602"/>
                  </a:lnTo>
                  <a:lnTo>
                    <a:pt x="142" y="602"/>
                  </a:lnTo>
                  <a:lnTo>
                    <a:pt x="142" y="600"/>
                  </a:lnTo>
                  <a:lnTo>
                    <a:pt x="139" y="600"/>
                  </a:lnTo>
                  <a:lnTo>
                    <a:pt x="141" y="599"/>
                  </a:lnTo>
                  <a:lnTo>
                    <a:pt x="142" y="599"/>
                  </a:lnTo>
                  <a:lnTo>
                    <a:pt x="141" y="599"/>
                  </a:lnTo>
                  <a:lnTo>
                    <a:pt x="142" y="600"/>
                  </a:lnTo>
                  <a:lnTo>
                    <a:pt x="142" y="599"/>
                  </a:lnTo>
                  <a:lnTo>
                    <a:pt x="144" y="599"/>
                  </a:lnTo>
                  <a:lnTo>
                    <a:pt x="144" y="597"/>
                  </a:lnTo>
                  <a:lnTo>
                    <a:pt x="147" y="597"/>
                  </a:lnTo>
                  <a:lnTo>
                    <a:pt x="149" y="597"/>
                  </a:lnTo>
                  <a:lnTo>
                    <a:pt x="147" y="597"/>
                  </a:lnTo>
                  <a:lnTo>
                    <a:pt x="149" y="599"/>
                  </a:lnTo>
                  <a:lnTo>
                    <a:pt x="147" y="599"/>
                  </a:lnTo>
                  <a:lnTo>
                    <a:pt x="149" y="600"/>
                  </a:lnTo>
                  <a:lnTo>
                    <a:pt x="151" y="599"/>
                  </a:lnTo>
                  <a:lnTo>
                    <a:pt x="149" y="597"/>
                  </a:lnTo>
                  <a:lnTo>
                    <a:pt x="151" y="597"/>
                  </a:lnTo>
                  <a:lnTo>
                    <a:pt x="149" y="597"/>
                  </a:lnTo>
                  <a:lnTo>
                    <a:pt x="151" y="597"/>
                  </a:lnTo>
                  <a:lnTo>
                    <a:pt x="151" y="595"/>
                  </a:lnTo>
                  <a:lnTo>
                    <a:pt x="153" y="597"/>
                  </a:lnTo>
                  <a:lnTo>
                    <a:pt x="153" y="595"/>
                  </a:lnTo>
                  <a:close/>
                  <a:moveTo>
                    <a:pt x="290" y="255"/>
                  </a:moveTo>
                  <a:lnTo>
                    <a:pt x="292" y="255"/>
                  </a:lnTo>
                  <a:lnTo>
                    <a:pt x="294" y="257"/>
                  </a:lnTo>
                  <a:lnTo>
                    <a:pt x="294" y="258"/>
                  </a:lnTo>
                  <a:lnTo>
                    <a:pt x="294" y="260"/>
                  </a:lnTo>
                  <a:lnTo>
                    <a:pt x="292" y="260"/>
                  </a:lnTo>
                  <a:lnTo>
                    <a:pt x="290" y="258"/>
                  </a:lnTo>
                  <a:lnTo>
                    <a:pt x="290" y="260"/>
                  </a:lnTo>
                  <a:lnTo>
                    <a:pt x="292" y="262"/>
                  </a:lnTo>
                  <a:lnTo>
                    <a:pt x="292" y="260"/>
                  </a:lnTo>
                  <a:lnTo>
                    <a:pt x="294" y="262"/>
                  </a:lnTo>
                  <a:lnTo>
                    <a:pt x="294" y="260"/>
                  </a:lnTo>
                  <a:lnTo>
                    <a:pt x="295" y="258"/>
                  </a:lnTo>
                  <a:lnTo>
                    <a:pt x="297" y="260"/>
                  </a:lnTo>
                  <a:lnTo>
                    <a:pt x="295" y="262"/>
                  </a:lnTo>
                  <a:lnTo>
                    <a:pt x="297" y="263"/>
                  </a:lnTo>
                  <a:lnTo>
                    <a:pt x="295" y="265"/>
                  </a:lnTo>
                  <a:lnTo>
                    <a:pt x="295" y="263"/>
                  </a:lnTo>
                  <a:lnTo>
                    <a:pt x="294" y="265"/>
                  </a:lnTo>
                  <a:lnTo>
                    <a:pt x="294" y="267"/>
                  </a:lnTo>
                  <a:lnTo>
                    <a:pt x="292" y="265"/>
                  </a:lnTo>
                  <a:lnTo>
                    <a:pt x="294" y="265"/>
                  </a:lnTo>
                  <a:lnTo>
                    <a:pt x="292" y="265"/>
                  </a:lnTo>
                  <a:lnTo>
                    <a:pt x="292" y="267"/>
                  </a:lnTo>
                  <a:lnTo>
                    <a:pt x="292" y="265"/>
                  </a:lnTo>
                  <a:lnTo>
                    <a:pt x="290" y="267"/>
                  </a:lnTo>
                  <a:lnTo>
                    <a:pt x="290" y="265"/>
                  </a:lnTo>
                  <a:lnTo>
                    <a:pt x="290" y="267"/>
                  </a:lnTo>
                  <a:lnTo>
                    <a:pt x="289" y="267"/>
                  </a:lnTo>
                  <a:lnTo>
                    <a:pt x="290" y="267"/>
                  </a:lnTo>
                  <a:lnTo>
                    <a:pt x="289" y="269"/>
                  </a:lnTo>
                  <a:lnTo>
                    <a:pt x="287" y="269"/>
                  </a:lnTo>
                  <a:lnTo>
                    <a:pt x="289" y="269"/>
                  </a:lnTo>
                  <a:lnTo>
                    <a:pt x="290" y="269"/>
                  </a:lnTo>
                  <a:lnTo>
                    <a:pt x="289" y="270"/>
                  </a:lnTo>
                  <a:lnTo>
                    <a:pt x="290" y="272"/>
                  </a:lnTo>
                  <a:lnTo>
                    <a:pt x="289" y="270"/>
                  </a:lnTo>
                  <a:lnTo>
                    <a:pt x="289" y="272"/>
                  </a:lnTo>
                  <a:lnTo>
                    <a:pt x="287" y="272"/>
                  </a:lnTo>
                  <a:lnTo>
                    <a:pt x="287" y="270"/>
                  </a:lnTo>
                  <a:lnTo>
                    <a:pt x="287" y="269"/>
                  </a:lnTo>
                  <a:lnTo>
                    <a:pt x="287" y="272"/>
                  </a:lnTo>
                  <a:lnTo>
                    <a:pt x="285" y="272"/>
                  </a:lnTo>
                  <a:lnTo>
                    <a:pt x="287" y="274"/>
                  </a:lnTo>
                  <a:lnTo>
                    <a:pt x="285" y="275"/>
                  </a:lnTo>
                  <a:lnTo>
                    <a:pt x="285" y="274"/>
                  </a:lnTo>
                  <a:lnTo>
                    <a:pt x="283" y="275"/>
                  </a:lnTo>
                  <a:lnTo>
                    <a:pt x="283" y="274"/>
                  </a:lnTo>
                  <a:lnTo>
                    <a:pt x="283" y="272"/>
                  </a:lnTo>
                  <a:lnTo>
                    <a:pt x="283" y="270"/>
                  </a:lnTo>
                  <a:lnTo>
                    <a:pt x="283" y="272"/>
                  </a:lnTo>
                  <a:lnTo>
                    <a:pt x="282" y="272"/>
                  </a:lnTo>
                  <a:lnTo>
                    <a:pt x="283" y="270"/>
                  </a:lnTo>
                  <a:lnTo>
                    <a:pt x="282" y="270"/>
                  </a:lnTo>
                  <a:lnTo>
                    <a:pt x="282" y="272"/>
                  </a:lnTo>
                  <a:lnTo>
                    <a:pt x="282" y="274"/>
                  </a:lnTo>
                  <a:lnTo>
                    <a:pt x="282" y="275"/>
                  </a:lnTo>
                  <a:lnTo>
                    <a:pt x="280" y="277"/>
                  </a:lnTo>
                  <a:lnTo>
                    <a:pt x="278" y="275"/>
                  </a:lnTo>
                  <a:lnTo>
                    <a:pt x="280" y="272"/>
                  </a:lnTo>
                  <a:lnTo>
                    <a:pt x="278" y="272"/>
                  </a:lnTo>
                  <a:lnTo>
                    <a:pt x="280" y="270"/>
                  </a:lnTo>
                  <a:lnTo>
                    <a:pt x="282" y="269"/>
                  </a:lnTo>
                  <a:lnTo>
                    <a:pt x="283" y="269"/>
                  </a:lnTo>
                  <a:lnTo>
                    <a:pt x="282" y="267"/>
                  </a:lnTo>
                  <a:lnTo>
                    <a:pt x="282" y="269"/>
                  </a:lnTo>
                  <a:lnTo>
                    <a:pt x="282" y="267"/>
                  </a:lnTo>
                  <a:lnTo>
                    <a:pt x="280" y="269"/>
                  </a:lnTo>
                  <a:lnTo>
                    <a:pt x="280" y="270"/>
                  </a:lnTo>
                  <a:lnTo>
                    <a:pt x="282" y="269"/>
                  </a:lnTo>
                  <a:lnTo>
                    <a:pt x="278" y="269"/>
                  </a:lnTo>
                  <a:lnTo>
                    <a:pt x="280" y="267"/>
                  </a:lnTo>
                  <a:lnTo>
                    <a:pt x="278" y="265"/>
                  </a:lnTo>
                  <a:lnTo>
                    <a:pt x="282" y="263"/>
                  </a:lnTo>
                  <a:lnTo>
                    <a:pt x="283" y="263"/>
                  </a:lnTo>
                  <a:lnTo>
                    <a:pt x="282" y="263"/>
                  </a:lnTo>
                  <a:lnTo>
                    <a:pt x="283" y="262"/>
                  </a:lnTo>
                  <a:lnTo>
                    <a:pt x="282" y="263"/>
                  </a:lnTo>
                  <a:lnTo>
                    <a:pt x="280" y="263"/>
                  </a:lnTo>
                  <a:lnTo>
                    <a:pt x="282" y="262"/>
                  </a:lnTo>
                  <a:lnTo>
                    <a:pt x="282" y="260"/>
                  </a:lnTo>
                  <a:lnTo>
                    <a:pt x="283" y="258"/>
                  </a:lnTo>
                  <a:lnTo>
                    <a:pt x="285" y="260"/>
                  </a:lnTo>
                  <a:lnTo>
                    <a:pt x="289" y="262"/>
                  </a:lnTo>
                  <a:lnTo>
                    <a:pt x="287" y="262"/>
                  </a:lnTo>
                  <a:lnTo>
                    <a:pt x="287" y="263"/>
                  </a:lnTo>
                  <a:lnTo>
                    <a:pt x="289" y="262"/>
                  </a:lnTo>
                  <a:lnTo>
                    <a:pt x="287" y="260"/>
                  </a:lnTo>
                  <a:lnTo>
                    <a:pt x="285" y="260"/>
                  </a:lnTo>
                  <a:lnTo>
                    <a:pt x="287" y="258"/>
                  </a:lnTo>
                  <a:lnTo>
                    <a:pt x="287" y="260"/>
                  </a:lnTo>
                  <a:lnTo>
                    <a:pt x="289" y="260"/>
                  </a:lnTo>
                  <a:lnTo>
                    <a:pt x="289" y="258"/>
                  </a:lnTo>
                  <a:lnTo>
                    <a:pt x="290" y="257"/>
                  </a:lnTo>
                  <a:lnTo>
                    <a:pt x="289" y="255"/>
                  </a:lnTo>
                  <a:lnTo>
                    <a:pt x="290" y="255"/>
                  </a:lnTo>
                  <a:lnTo>
                    <a:pt x="290" y="257"/>
                  </a:lnTo>
                  <a:lnTo>
                    <a:pt x="290" y="255"/>
                  </a:lnTo>
                  <a:close/>
                  <a:moveTo>
                    <a:pt x="518" y="49"/>
                  </a:moveTo>
                  <a:lnTo>
                    <a:pt x="520" y="49"/>
                  </a:lnTo>
                  <a:lnTo>
                    <a:pt x="521" y="51"/>
                  </a:lnTo>
                  <a:lnTo>
                    <a:pt x="521" y="49"/>
                  </a:lnTo>
                  <a:lnTo>
                    <a:pt x="521" y="53"/>
                  </a:lnTo>
                  <a:lnTo>
                    <a:pt x="523" y="51"/>
                  </a:lnTo>
                  <a:lnTo>
                    <a:pt x="527" y="51"/>
                  </a:lnTo>
                  <a:lnTo>
                    <a:pt x="527" y="53"/>
                  </a:lnTo>
                  <a:lnTo>
                    <a:pt x="528" y="54"/>
                  </a:lnTo>
                  <a:lnTo>
                    <a:pt x="530" y="54"/>
                  </a:lnTo>
                  <a:lnTo>
                    <a:pt x="530" y="58"/>
                  </a:lnTo>
                  <a:lnTo>
                    <a:pt x="530" y="59"/>
                  </a:lnTo>
                  <a:lnTo>
                    <a:pt x="528" y="61"/>
                  </a:lnTo>
                  <a:lnTo>
                    <a:pt x="528" y="63"/>
                  </a:lnTo>
                  <a:lnTo>
                    <a:pt x="528" y="64"/>
                  </a:lnTo>
                  <a:lnTo>
                    <a:pt x="527" y="66"/>
                  </a:lnTo>
                  <a:lnTo>
                    <a:pt x="523" y="66"/>
                  </a:lnTo>
                  <a:lnTo>
                    <a:pt x="521" y="64"/>
                  </a:lnTo>
                  <a:lnTo>
                    <a:pt x="521" y="63"/>
                  </a:lnTo>
                  <a:lnTo>
                    <a:pt x="520" y="63"/>
                  </a:lnTo>
                  <a:lnTo>
                    <a:pt x="520" y="59"/>
                  </a:lnTo>
                  <a:lnTo>
                    <a:pt x="518" y="59"/>
                  </a:lnTo>
                  <a:lnTo>
                    <a:pt x="518" y="61"/>
                  </a:lnTo>
                  <a:lnTo>
                    <a:pt x="520" y="58"/>
                  </a:lnTo>
                  <a:lnTo>
                    <a:pt x="518" y="56"/>
                  </a:lnTo>
                  <a:lnTo>
                    <a:pt x="518" y="58"/>
                  </a:lnTo>
                  <a:lnTo>
                    <a:pt x="520" y="54"/>
                  </a:lnTo>
                  <a:lnTo>
                    <a:pt x="518" y="56"/>
                  </a:lnTo>
                  <a:lnTo>
                    <a:pt x="516" y="53"/>
                  </a:lnTo>
                  <a:lnTo>
                    <a:pt x="518" y="51"/>
                  </a:lnTo>
                  <a:lnTo>
                    <a:pt x="518" y="49"/>
                  </a:lnTo>
                  <a:close/>
                  <a:moveTo>
                    <a:pt x="452" y="98"/>
                  </a:moveTo>
                  <a:lnTo>
                    <a:pt x="453" y="98"/>
                  </a:lnTo>
                  <a:lnTo>
                    <a:pt x="455" y="102"/>
                  </a:lnTo>
                  <a:lnTo>
                    <a:pt x="453" y="105"/>
                  </a:lnTo>
                  <a:lnTo>
                    <a:pt x="453" y="107"/>
                  </a:lnTo>
                  <a:lnTo>
                    <a:pt x="453" y="109"/>
                  </a:lnTo>
                  <a:lnTo>
                    <a:pt x="455" y="110"/>
                  </a:lnTo>
                  <a:lnTo>
                    <a:pt x="455" y="112"/>
                  </a:lnTo>
                  <a:lnTo>
                    <a:pt x="453" y="114"/>
                  </a:lnTo>
                  <a:lnTo>
                    <a:pt x="452" y="112"/>
                  </a:lnTo>
                  <a:lnTo>
                    <a:pt x="452" y="114"/>
                  </a:lnTo>
                  <a:lnTo>
                    <a:pt x="450" y="114"/>
                  </a:lnTo>
                  <a:lnTo>
                    <a:pt x="450" y="110"/>
                  </a:lnTo>
                  <a:lnTo>
                    <a:pt x="448" y="109"/>
                  </a:lnTo>
                  <a:lnTo>
                    <a:pt x="450" y="112"/>
                  </a:lnTo>
                  <a:lnTo>
                    <a:pt x="448" y="112"/>
                  </a:lnTo>
                  <a:lnTo>
                    <a:pt x="448" y="114"/>
                  </a:lnTo>
                  <a:lnTo>
                    <a:pt x="447" y="114"/>
                  </a:lnTo>
                  <a:lnTo>
                    <a:pt x="445" y="112"/>
                  </a:lnTo>
                  <a:lnTo>
                    <a:pt x="445" y="110"/>
                  </a:lnTo>
                  <a:lnTo>
                    <a:pt x="445" y="107"/>
                  </a:lnTo>
                  <a:lnTo>
                    <a:pt x="445" y="105"/>
                  </a:lnTo>
                  <a:lnTo>
                    <a:pt x="445" y="104"/>
                  </a:lnTo>
                  <a:lnTo>
                    <a:pt x="447" y="104"/>
                  </a:lnTo>
                  <a:lnTo>
                    <a:pt x="447" y="100"/>
                  </a:lnTo>
                  <a:lnTo>
                    <a:pt x="448" y="100"/>
                  </a:lnTo>
                  <a:lnTo>
                    <a:pt x="450" y="100"/>
                  </a:lnTo>
                  <a:lnTo>
                    <a:pt x="452" y="98"/>
                  </a:lnTo>
                  <a:close/>
                  <a:moveTo>
                    <a:pt x="498" y="80"/>
                  </a:moveTo>
                  <a:lnTo>
                    <a:pt x="499" y="81"/>
                  </a:lnTo>
                  <a:lnTo>
                    <a:pt x="499" y="85"/>
                  </a:lnTo>
                  <a:lnTo>
                    <a:pt x="499" y="83"/>
                  </a:lnTo>
                  <a:lnTo>
                    <a:pt x="499" y="80"/>
                  </a:lnTo>
                  <a:lnTo>
                    <a:pt x="501" y="80"/>
                  </a:lnTo>
                  <a:lnTo>
                    <a:pt x="501" y="83"/>
                  </a:lnTo>
                  <a:lnTo>
                    <a:pt x="503" y="83"/>
                  </a:lnTo>
                  <a:lnTo>
                    <a:pt x="504" y="83"/>
                  </a:lnTo>
                  <a:lnTo>
                    <a:pt x="504" y="85"/>
                  </a:lnTo>
                  <a:lnTo>
                    <a:pt x="506" y="83"/>
                  </a:lnTo>
                  <a:lnTo>
                    <a:pt x="504" y="87"/>
                  </a:lnTo>
                  <a:lnTo>
                    <a:pt x="506" y="85"/>
                  </a:lnTo>
                  <a:lnTo>
                    <a:pt x="508" y="88"/>
                  </a:lnTo>
                  <a:lnTo>
                    <a:pt x="508" y="90"/>
                  </a:lnTo>
                  <a:lnTo>
                    <a:pt x="504" y="88"/>
                  </a:lnTo>
                  <a:lnTo>
                    <a:pt x="503" y="90"/>
                  </a:lnTo>
                  <a:lnTo>
                    <a:pt x="501" y="90"/>
                  </a:lnTo>
                  <a:lnTo>
                    <a:pt x="499" y="90"/>
                  </a:lnTo>
                  <a:lnTo>
                    <a:pt x="498" y="90"/>
                  </a:lnTo>
                  <a:lnTo>
                    <a:pt x="496" y="88"/>
                  </a:lnTo>
                  <a:lnTo>
                    <a:pt x="493" y="88"/>
                  </a:lnTo>
                  <a:lnTo>
                    <a:pt x="491" y="85"/>
                  </a:lnTo>
                  <a:lnTo>
                    <a:pt x="493" y="83"/>
                  </a:lnTo>
                  <a:lnTo>
                    <a:pt x="494" y="85"/>
                  </a:lnTo>
                  <a:lnTo>
                    <a:pt x="493" y="83"/>
                  </a:lnTo>
                  <a:lnTo>
                    <a:pt x="494" y="81"/>
                  </a:lnTo>
                  <a:lnTo>
                    <a:pt x="494" y="83"/>
                  </a:lnTo>
                  <a:lnTo>
                    <a:pt x="494" y="81"/>
                  </a:lnTo>
                  <a:lnTo>
                    <a:pt x="496" y="81"/>
                  </a:lnTo>
                  <a:lnTo>
                    <a:pt x="496" y="83"/>
                  </a:lnTo>
                  <a:lnTo>
                    <a:pt x="496" y="80"/>
                  </a:lnTo>
                  <a:lnTo>
                    <a:pt x="498" y="83"/>
                  </a:lnTo>
                  <a:lnTo>
                    <a:pt x="498" y="80"/>
                  </a:lnTo>
                  <a:close/>
                  <a:moveTo>
                    <a:pt x="35" y="801"/>
                  </a:moveTo>
                  <a:lnTo>
                    <a:pt x="35" y="803"/>
                  </a:lnTo>
                  <a:lnTo>
                    <a:pt x="35" y="801"/>
                  </a:lnTo>
                  <a:lnTo>
                    <a:pt x="37" y="803"/>
                  </a:lnTo>
                  <a:lnTo>
                    <a:pt x="37" y="804"/>
                  </a:lnTo>
                  <a:lnTo>
                    <a:pt x="37" y="806"/>
                  </a:lnTo>
                  <a:lnTo>
                    <a:pt x="37" y="809"/>
                  </a:lnTo>
                  <a:lnTo>
                    <a:pt x="35" y="813"/>
                  </a:lnTo>
                  <a:lnTo>
                    <a:pt x="35" y="816"/>
                  </a:lnTo>
                  <a:lnTo>
                    <a:pt x="35" y="818"/>
                  </a:lnTo>
                  <a:lnTo>
                    <a:pt x="34" y="816"/>
                  </a:lnTo>
                  <a:lnTo>
                    <a:pt x="32" y="818"/>
                  </a:lnTo>
                  <a:lnTo>
                    <a:pt x="32" y="820"/>
                  </a:lnTo>
                  <a:lnTo>
                    <a:pt x="28" y="820"/>
                  </a:lnTo>
                  <a:lnTo>
                    <a:pt x="28" y="818"/>
                  </a:lnTo>
                  <a:lnTo>
                    <a:pt x="27" y="818"/>
                  </a:lnTo>
                  <a:lnTo>
                    <a:pt x="25" y="816"/>
                  </a:lnTo>
                  <a:lnTo>
                    <a:pt x="27" y="815"/>
                  </a:lnTo>
                  <a:lnTo>
                    <a:pt x="25" y="815"/>
                  </a:lnTo>
                  <a:lnTo>
                    <a:pt x="23" y="813"/>
                  </a:lnTo>
                  <a:lnTo>
                    <a:pt x="23" y="811"/>
                  </a:lnTo>
                  <a:lnTo>
                    <a:pt x="27" y="811"/>
                  </a:lnTo>
                  <a:lnTo>
                    <a:pt x="28" y="813"/>
                  </a:lnTo>
                  <a:lnTo>
                    <a:pt x="27" y="809"/>
                  </a:lnTo>
                  <a:lnTo>
                    <a:pt x="28" y="809"/>
                  </a:lnTo>
                  <a:lnTo>
                    <a:pt x="28" y="808"/>
                  </a:lnTo>
                  <a:lnTo>
                    <a:pt x="30" y="809"/>
                  </a:lnTo>
                  <a:lnTo>
                    <a:pt x="28" y="808"/>
                  </a:lnTo>
                  <a:lnTo>
                    <a:pt x="30" y="808"/>
                  </a:lnTo>
                  <a:lnTo>
                    <a:pt x="32" y="806"/>
                  </a:lnTo>
                  <a:lnTo>
                    <a:pt x="34" y="804"/>
                  </a:lnTo>
                  <a:lnTo>
                    <a:pt x="34" y="803"/>
                  </a:lnTo>
                  <a:lnTo>
                    <a:pt x="34" y="801"/>
                  </a:lnTo>
                  <a:lnTo>
                    <a:pt x="35" y="801"/>
                  </a:lnTo>
                  <a:close/>
                  <a:moveTo>
                    <a:pt x="425" y="98"/>
                  </a:moveTo>
                  <a:lnTo>
                    <a:pt x="426" y="100"/>
                  </a:lnTo>
                  <a:lnTo>
                    <a:pt x="426" y="104"/>
                  </a:lnTo>
                  <a:lnTo>
                    <a:pt x="426" y="102"/>
                  </a:lnTo>
                  <a:lnTo>
                    <a:pt x="428" y="104"/>
                  </a:lnTo>
                  <a:lnTo>
                    <a:pt x="428" y="107"/>
                  </a:lnTo>
                  <a:lnTo>
                    <a:pt x="430" y="109"/>
                  </a:lnTo>
                  <a:lnTo>
                    <a:pt x="430" y="107"/>
                  </a:lnTo>
                  <a:lnTo>
                    <a:pt x="430" y="104"/>
                  </a:lnTo>
                  <a:lnTo>
                    <a:pt x="433" y="105"/>
                  </a:lnTo>
                  <a:lnTo>
                    <a:pt x="431" y="107"/>
                  </a:lnTo>
                  <a:lnTo>
                    <a:pt x="433" y="109"/>
                  </a:lnTo>
                  <a:lnTo>
                    <a:pt x="435" y="109"/>
                  </a:lnTo>
                  <a:lnTo>
                    <a:pt x="435" y="110"/>
                  </a:lnTo>
                  <a:lnTo>
                    <a:pt x="436" y="110"/>
                  </a:lnTo>
                  <a:lnTo>
                    <a:pt x="438" y="110"/>
                  </a:lnTo>
                  <a:lnTo>
                    <a:pt x="438" y="112"/>
                  </a:lnTo>
                  <a:lnTo>
                    <a:pt x="435" y="112"/>
                  </a:lnTo>
                  <a:lnTo>
                    <a:pt x="435" y="115"/>
                  </a:lnTo>
                  <a:lnTo>
                    <a:pt x="433" y="115"/>
                  </a:lnTo>
                  <a:lnTo>
                    <a:pt x="430" y="115"/>
                  </a:lnTo>
                  <a:lnTo>
                    <a:pt x="428" y="115"/>
                  </a:lnTo>
                  <a:lnTo>
                    <a:pt x="428" y="112"/>
                  </a:lnTo>
                  <a:lnTo>
                    <a:pt x="428" y="110"/>
                  </a:lnTo>
                  <a:lnTo>
                    <a:pt x="426" y="109"/>
                  </a:lnTo>
                  <a:lnTo>
                    <a:pt x="426" y="107"/>
                  </a:lnTo>
                  <a:lnTo>
                    <a:pt x="425" y="105"/>
                  </a:lnTo>
                  <a:lnTo>
                    <a:pt x="423" y="105"/>
                  </a:lnTo>
                  <a:lnTo>
                    <a:pt x="421" y="102"/>
                  </a:lnTo>
                  <a:lnTo>
                    <a:pt x="421" y="104"/>
                  </a:lnTo>
                  <a:lnTo>
                    <a:pt x="421" y="102"/>
                  </a:lnTo>
                  <a:lnTo>
                    <a:pt x="423" y="102"/>
                  </a:lnTo>
                  <a:lnTo>
                    <a:pt x="423" y="100"/>
                  </a:lnTo>
                  <a:lnTo>
                    <a:pt x="425" y="98"/>
                  </a:lnTo>
                  <a:close/>
                  <a:moveTo>
                    <a:pt x="355" y="235"/>
                  </a:moveTo>
                  <a:lnTo>
                    <a:pt x="357" y="236"/>
                  </a:lnTo>
                  <a:lnTo>
                    <a:pt x="357" y="238"/>
                  </a:lnTo>
                  <a:lnTo>
                    <a:pt x="358" y="240"/>
                  </a:lnTo>
                  <a:lnTo>
                    <a:pt x="358" y="241"/>
                  </a:lnTo>
                  <a:lnTo>
                    <a:pt x="357" y="241"/>
                  </a:lnTo>
                  <a:lnTo>
                    <a:pt x="358" y="243"/>
                  </a:lnTo>
                  <a:lnTo>
                    <a:pt x="357" y="245"/>
                  </a:lnTo>
                  <a:lnTo>
                    <a:pt x="353" y="245"/>
                  </a:lnTo>
                  <a:lnTo>
                    <a:pt x="350" y="246"/>
                  </a:lnTo>
                  <a:lnTo>
                    <a:pt x="350" y="248"/>
                  </a:lnTo>
                  <a:lnTo>
                    <a:pt x="348" y="246"/>
                  </a:lnTo>
                  <a:lnTo>
                    <a:pt x="350" y="246"/>
                  </a:lnTo>
                  <a:lnTo>
                    <a:pt x="348" y="246"/>
                  </a:lnTo>
                  <a:lnTo>
                    <a:pt x="348" y="245"/>
                  </a:lnTo>
                  <a:lnTo>
                    <a:pt x="350" y="245"/>
                  </a:lnTo>
                  <a:lnTo>
                    <a:pt x="350" y="243"/>
                  </a:lnTo>
                  <a:lnTo>
                    <a:pt x="351" y="243"/>
                  </a:lnTo>
                  <a:lnTo>
                    <a:pt x="348" y="243"/>
                  </a:lnTo>
                  <a:lnTo>
                    <a:pt x="348" y="241"/>
                  </a:lnTo>
                  <a:lnTo>
                    <a:pt x="350" y="241"/>
                  </a:lnTo>
                  <a:lnTo>
                    <a:pt x="350" y="240"/>
                  </a:lnTo>
                  <a:lnTo>
                    <a:pt x="351" y="238"/>
                  </a:lnTo>
                  <a:lnTo>
                    <a:pt x="351" y="236"/>
                  </a:lnTo>
                  <a:lnTo>
                    <a:pt x="353" y="236"/>
                  </a:lnTo>
                  <a:lnTo>
                    <a:pt x="355" y="235"/>
                  </a:lnTo>
                  <a:close/>
                  <a:moveTo>
                    <a:pt x="270" y="274"/>
                  </a:moveTo>
                  <a:lnTo>
                    <a:pt x="272" y="274"/>
                  </a:lnTo>
                  <a:lnTo>
                    <a:pt x="272" y="275"/>
                  </a:lnTo>
                  <a:lnTo>
                    <a:pt x="270" y="277"/>
                  </a:lnTo>
                  <a:lnTo>
                    <a:pt x="272" y="275"/>
                  </a:lnTo>
                  <a:lnTo>
                    <a:pt x="272" y="277"/>
                  </a:lnTo>
                  <a:lnTo>
                    <a:pt x="268" y="279"/>
                  </a:lnTo>
                  <a:lnTo>
                    <a:pt x="268" y="280"/>
                  </a:lnTo>
                  <a:lnTo>
                    <a:pt x="272" y="277"/>
                  </a:lnTo>
                  <a:lnTo>
                    <a:pt x="272" y="280"/>
                  </a:lnTo>
                  <a:lnTo>
                    <a:pt x="272" y="282"/>
                  </a:lnTo>
                  <a:lnTo>
                    <a:pt x="270" y="284"/>
                  </a:lnTo>
                  <a:lnTo>
                    <a:pt x="270" y="286"/>
                  </a:lnTo>
                  <a:lnTo>
                    <a:pt x="270" y="284"/>
                  </a:lnTo>
                  <a:lnTo>
                    <a:pt x="268" y="286"/>
                  </a:lnTo>
                  <a:lnTo>
                    <a:pt x="268" y="284"/>
                  </a:lnTo>
                  <a:lnTo>
                    <a:pt x="266" y="282"/>
                  </a:lnTo>
                  <a:lnTo>
                    <a:pt x="268" y="284"/>
                  </a:lnTo>
                  <a:lnTo>
                    <a:pt x="266" y="284"/>
                  </a:lnTo>
                  <a:lnTo>
                    <a:pt x="266" y="286"/>
                  </a:lnTo>
                  <a:lnTo>
                    <a:pt x="270" y="286"/>
                  </a:lnTo>
                  <a:lnTo>
                    <a:pt x="270" y="287"/>
                  </a:lnTo>
                  <a:lnTo>
                    <a:pt x="268" y="287"/>
                  </a:lnTo>
                  <a:lnTo>
                    <a:pt x="268" y="289"/>
                  </a:lnTo>
                  <a:lnTo>
                    <a:pt x="268" y="291"/>
                  </a:lnTo>
                  <a:lnTo>
                    <a:pt x="266" y="289"/>
                  </a:lnTo>
                  <a:lnTo>
                    <a:pt x="265" y="291"/>
                  </a:lnTo>
                  <a:lnTo>
                    <a:pt x="263" y="294"/>
                  </a:lnTo>
                  <a:lnTo>
                    <a:pt x="261" y="294"/>
                  </a:lnTo>
                  <a:lnTo>
                    <a:pt x="261" y="292"/>
                  </a:lnTo>
                  <a:lnTo>
                    <a:pt x="263" y="292"/>
                  </a:lnTo>
                  <a:lnTo>
                    <a:pt x="263" y="291"/>
                  </a:lnTo>
                  <a:lnTo>
                    <a:pt x="263" y="289"/>
                  </a:lnTo>
                  <a:lnTo>
                    <a:pt x="265" y="287"/>
                  </a:lnTo>
                  <a:lnTo>
                    <a:pt x="265" y="286"/>
                  </a:lnTo>
                  <a:lnTo>
                    <a:pt x="265" y="284"/>
                  </a:lnTo>
                  <a:lnTo>
                    <a:pt x="266" y="282"/>
                  </a:lnTo>
                  <a:lnTo>
                    <a:pt x="265" y="280"/>
                  </a:lnTo>
                  <a:lnTo>
                    <a:pt x="265" y="279"/>
                  </a:lnTo>
                  <a:lnTo>
                    <a:pt x="266" y="279"/>
                  </a:lnTo>
                  <a:lnTo>
                    <a:pt x="268" y="275"/>
                  </a:lnTo>
                  <a:lnTo>
                    <a:pt x="268" y="274"/>
                  </a:lnTo>
                  <a:lnTo>
                    <a:pt x="270" y="274"/>
                  </a:lnTo>
                  <a:close/>
                  <a:moveTo>
                    <a:pt x="124" y="609"/>
                  </a:moveTo>
                  <a:lnTo>
                    <a:pt x="125" y="612"/>
                  </a:lnTo>
                  <a:lnTo>
                    <a:pt x="127" y="612"/>
                  </a:lnTo>
                  <a:lnTo>
                    <a:pt x="125" y="612"/>
                  </a:lnTo>
                  <a:lnTo>
                    <a:pt x="125" y="614"/>
                  </a:lnTo>
                  <a:lnTo>
                    <a:pt x="127" y="614"/>
                  </a:lnTo>
                  <a:lnTo>
                    <a:pt x="127" y="617"/>
                  </a:lnTo>
                  <a:lnTo>
                    <a:pt x="125" y="617"/>
                  </a:lnTo>
                  <a:lnTo>
                    <a:pt x="127" y="617"/>
                  </a:lnTo>
                  <a:lnTo>
                    <a:pt x="124" y="617"/>
                  </a:lnTo>
                  <a:lnTo>
                    <a:pt x="122" y="617"/>
                  </a:lnTo>
                  <a:lnTo>
                    <a:pt x="125" y="619"/>
                  </a:lnTo>
                  <a:lnTo>
                    <a:pt x="124" y="619"/>
                  </a:lnTo>
                  <a:lnTo>
                    <a:pt x="120" y="619"/>
                  </a:lnTo>
                  <a:lnTo>
                    <a:pt x="119" y="617"/>
                  </a:lnTo>
                  <a:lnTo>
                    <a:pt x="120" y="617"/>
                  </a:lnTo>
                  <a:lnTo>
                    <a:pt x="122" y="617"/>
                  </a:lnTo>
                  <a:lnTo>
                    <a:pt x="119" y="616"/>
                  </a:lnTo>
                  <a:lnTo>
                    <a:pt x="117" y="616"/>
                  </a:lnTo>
                  <a:lnTo>
                    <a:pt x="119" y="616"/>
                  </a:lnTo>
                  <a:lnTo>
                    <a:pt x="117" y="616"/>
                  </a:lnTo>
                  <a:lnTo>
                    <a:pt x="115" y="616"/>
                  </a:lnTo>
                  <a:lnTo>
                    <a:pt x="113" y="616"/>
                  </a:lnTo>
                  <a:lnTo>
                    <a:pt x="115" y="616"/>
                  </a:lnTo>
                  <a:lnTo>
                    <a:pt x="113" y="614"/>
                  </a:lnTo>
                  <a:lnTo>
                    <a:pt x="115" y="614"/>
                  </a:lnTo>
                  <a:lnTo>
                    <a:pt x="115" y="612"/>
                  </a:lnTo>
                  <a:lnTo>
                    <a:pt x="117" y="610"/>
                  </a:lnTo>
                  <a:lnTo>
                    <a:pt x="119" y="612"/>
                  </a:lnTo>
                  <a:lnTo>
                    <a:pt x="119" y="610"/>
                  </a:lnTo>
                  <a:lnTo>
                    <a:pt x="119" y="612"/>
                  </a:lnTo>
                  <a:lnTo>
                    <a:pt x="120" y="609"/>
                  </a:lnTo>
                  <a:lnTo>
                    <a:pt x="120" y="610"/>
                  </a:lnTo>
                  <a:lnTo>
                    <a:pt x="122" y="609"/>
                  </a:lnTo>
                  <a:lnTo>
                    <a:pt x="124" y="609"/>
                  </a:lnTo>
                  <a:close/>
                  <a:moveTo>
                    <a:pt x="20" y="850"/>
                  </a:moveTo>
                  <a:lnTo>
                    <a:pt x="20" y="852"/>
                  </a:lnTo>
                  <a:lnTo>
                    <a:pt x="22" y="852"/>
                  </a:lnTo>
                  <a:lnTo>
                    <a:pt x="22" y="854"/>
                  </a:lnTo>
                  <a:lnTo>
                    <a:pt x="25" y="855"/>
                  </a:lnTo>
                  <a:lnTo>
                    <a:pt x="25" y="857"/>
                  </a:lnTo>
                  <a:lnTo>
                    <a:pt x="27" y="859"/>
                  </a:lnTo>
                  <a:lnTo>
                    <a:pt x="27" y="861"/>
                  </a:lnTo>
                  <a:lnTo>
                    <a:pt x="27" y="862"/>
                  </a:lnTo>
                  <a:lnTo>
                    <a:pt x="27" y="864"/>
                  </a:lnTo>
                  <a:lnTo>
                    <a:pt x="27" y="866"/>
                  </a:lnTo>
                  <a:lnTo>
                    <a:pt x="25" y="866"/>
                  </a:lnTo>
                  <a:lnTo>
                    <a:pt x="25" y="867"/>
                  </a:lnTo>
                  <a:lnTo>
                    <a:pt x="23" y="867"/>
                  </a:lnTo>
                  <a:lnTo>
                    <a:pt x="22" y="867"/>
                  </a:lnTo>
                  <a:lnTo>
                    <a:pt x="22" y="866"/>
                  </a:lnTo>
                  <a:lnTo>
                    <a:pt x="20" y="866"/>
                  </a:lnTo>
                  <a:lnTo>
                    <a:pt x="20" y="864"/>
                  </a:lnTo>
                  <a:lnTo>
                    <a:pt x="20" y="862"/>
                  </a:lnTo>
                  <a:lnTo>
                    <a:pt x="20" y="861"/>
                  </a:lnTo>
                  <a:lnTo>
                    <a:pt x="20" y="864"/>
                  </a:lnTo>
                  <a:lnTo>
                    <a:pt x="20" y="862"/>
                  </a:lnTo>
                  <a:lnTo>
                    <a:pt x="18" y="861"/>
                  </a:lnTo>
                  <a:lnTo>
                    <a:pt x="18" y="859"/>
                  </a:lnTo>
                  <a:lnTo>
                    <a:pt x="18" y="857"/>
                  </a:lnTo>
                  <a:lnTo>
                    <a:pt x="18" y="855"/>
                  </a:lnTo>
                  <a:lnTo>
                    <a:pt x="20" y="855"/>
                  </a:lnTo>
                  <a:lnTo>
                    <a:pt x="20" y="854"/>
                  </a:lnTo>
                  <a:lnTo>
                    <a:pt x="20" y="855"/>
                  </a:lnTo>
                  <a:lnTo>
                    <a:pt x="20" y="854"/>
                  </a:lnTo>
                  <a:lnTo>
                    <a:pt x="18" y="852"/>
                  </a:lnTo>
                  <a:lnTo>
                    <a:pt x="20" y="850"/>
                  </a:lnTo>
                  <a:close/>
                  <a:moveTo>
                    <a:pt x="431" y="119"/>
                  </a:moveTo>
                  <a:lnTo>
                    <a:pt x="433" y="119"/>
                  </a:lnTo>
                  <a:lnTo>
                    <a:pt x="433" y="121"/>
                  </a:lnTo>
                  <a:lnTo>
                    <a:pt x="433" y="122"/>
                  </a:lnTo>
                  <a:lnTo>
                    <a:pt x="431" y="124"/>
                  </a:lnTo>
                  <a:lnTo>
                    <a:pt x="431" y="126"/>
                  </a:lnTo>
                  <a:lnTo>
                    <a:pt x="431" y="129"/>
                  </a:lnTo>
                  <a:lnTo>
                    <a:pt x="431" y="131"/>
                  </a:lnTo>
                  <a:lnTo>
                    <a:pt x="430" y="131"/>
                  </a:lnTo>
                  <a:lnTo>
                    <a:pt x="428" y="131"/>
                  </a:lnTo>
                  <a:lnTo>
                    <a:pt x="426" y="131"/>
                  </a:lnTo>
                  <a:lnTo>
                    <a:pt x="425" y="132"/>
                  </a:lnTo>
                  <a:lnTo>
                    <a:pt x="423" y="132"/>
                  </a:lnTo>
                  <a:lnTo>
                    <a:pt x="423" y="131"/>
                  </a:lnTo>
                  <a:lnTo>
                    <a:pt x="425" y="129"/>
                  </a:lnTo>
                  <a:lnTo>
                    <a:pt x="425" y="127"/>
                  </a:lnTo>
                  <a:lnTo>
                    <a:pt x="425" y="126"/>
                  </a:lnTo>
                  <a:lnTo>
                    <a:pt x="428" y="124"/>
                  </a:lnTo>
                  <a:lnTo>
                    <a:pt x="430" y="122"/>
                  </a:lnTo>
                  <a:lnTo>
                    <a:pt x="431" y="119"/>
                  </a:lnTo>
                  <a:close/>
                  <a:moveTo>
                    <a:pt x="32" y="845"/>
                  </a:moveTo>
                  <a:lnTo>
                    <a:pt x="34" y="845"/>
                  </a:lnTo>
                  <a:lnTo>
                    <a:pt x="34" y="849"/>
                  </a:lnTo>
                  <a:lnTo>
                    <a:pt x="34" y="850"/>
                  </a:lnTo>
                  <a:lnTo>
                    <a:pt x="32" y="852"/>
                  </a:lnTo>
                  <a:lnTo>
                    <a:pt x="30" y="855"/>
                  </a:lnTo>
                  <a:lnTo>
                    <a:pt x="32" y="855"/>
                  </a:lnTo>
                  <a:lnTo>
                    <a:pt x="32" y="857"/>
                  </a:lnTo>
                  <a:lnTo>
                    <a:pt x="30" y="857"/>
                  </a:lnTo>
                  <a:lnTo>
                    <a:pt x="32" y="857"/>
                  </a:lnTo>
                  <a:lnTo>
                    <a:pt x="30" y="857"/>
                  </a:lnTo>
                  <a:lnTo>
                    <a:pt x="30" y="855"/>
                  </a:lnTo>
                  <a:lnTo>
                    <a:pt x="28" y="857"/>
                  </a:lnTo>
                  <a:lnTo>
                    <a:pt x="28" y="859"/>
                  </a:lnTo>
                  <a:lnTo>
                    <a:pt x="27" y="859"/>
                  </a:lnTo>
                  <a:lnTo>
                    <a:pt x="27" y="855"/>
                  </a:lnTo>
                  <a:lnTo>
                    <a:pt x="27" y="852"/>
                  </a:lnTo>
                  <a:lnTo>
                    <a:pt x="25" y="854"/>
                  </a:lnTo>
                  <a:lnTo>
                    <a:pt x="23" y="852"/>
                  </a:lnTo>
                  <a:lnTo>
                    <a:pt x="22" y="852"/>
                  </a:lnTo>
                  <a:lnTo>
                    <a:pt x="22" y="850"/>
                  </a:lnTo>
                  <a:lnTo>
                    <a:pt x="23" y="850"/>
                  </a:lnTo>
                  <a:lnTo>
                    <a:pt x="22" y="850"/>
                  </a:lnTo>
                  <a:lnTo>
                    <a:pt x="23" y="850"/>
                  </a:lnTo>
                  <a:lnTo>
                    <a:pt x="23" y="852"/>
                  </a:lnTo>
                  <a:lnTo>
                    <a:pt x="25" y="850"/>
                  </a:lnTo>
                  <a:lnTo>
                    <a:pt x="25" y="849"/>
                  </a:lnTo>
                  <a:lnTo>
                    <a:pt x="25" y="847"/>
                  </a:lnTo>
                  <a:lnTo>
                    <a:pt x="27" y="847"/>
                  </a:lnTo>
                  <a:lnTo>
                    <a:pt x="28" y="847"/>
                  </a:lnTo>
                  <a:lnTo>
                    <a:pt x="30" y="845"/>
                  </a:lnTo>
                  <a:lnTo>
                    <a:pt x="30" y="847"/>
                  </a:lnTo>
                  <a:lnTo>
                    <a:pt x="32" y="845"/>
                  </a:lnTo>
                  <a:lnTo>
                    <a:pt x="32" y="847"/>
                  </a:lnTo>
                  <a:lnTo>
                    <a:pt x="32" y="845"/>
                  </a:lnTo>
                  <a:close/>
                  <a:moveTo>
                    <a:pt x="270" y="423"/>
                  </a:moveTo>
                  <a:lnTo>
                    <a:pt x="270" y="425"/>
                  </a:lnTo>
                  <a:lnTo>
                    <a:pt x="270" y="427"/>
                  </a:lnTo>
                  <a:lnTo>
                    <a:pt x="268" y="427"/>
                  </a:lnTo>
                  <a:lnTo>
                    <a:pt x="265" y="428"/>
                  </a:lnTo>
                  <a:lnTo>
                    <a:pt x="266" y="428"/>
                  </a:lnTo>
                  <a:lnTo>
                    <a:pt x="265" y="428"/>
                  </a:lnTo>
                  <a:lnTo>
                    <a:pt x="263" y="430"/>
                  </a:lnTo>
                  <a:lnTo>
                    <a:pt x="261" y="432"/>
                  </a:lnTo>
                  <a:lnTo>
                    <a:pt x="260" y="434"/>
                  </a:lnTo>
                  <a:lnTo>
                    <a:pt x="258" y="435"/>
                  </a:lnTo>
                  <a:lnTo>
                    <a:pt x="258" y="437"/>
                  </a:lnTo>
                  <a:lnTo>
                    <a:pt x="256" y="437"/>
                  </a:lnTo>
                  <a:lnTo>
                    <a:pt x="256" y="435"/>
                  </a:lnTo>
                  <a:lnTo>
                    <a:pt x="258" y="435"/>
                  </a:lnTo>
                  <a:lnTo>
                    <a:pt x="260" y="434"/>
                  </a:lnTo>
                  <a:lnTo>
                    <a:pt x="258" y="434"/>
                  </a:lnTo>
                  <a:lnTo>
                    <a:pt x="256" y="434"/>
                  </a:lnTo>
                  <a:lnTo>
                    <a:pt x="255" y="435"/>
                  </a:lnTo>
                  <a:lnTo>
                    <a:pt x="255" y="434"/>
                  </a:lnTo>
                  <a:lnTo>
                    <a:pt x="255" y="435"/>
                  </a:lnTo>
                  <a:lnTo>
                    <a:pt x="255" y="434"/>
                  </a:lnTo>
                  <a:lnTo>
                    <a:pt x="256" y="432"/>
                  </a:lnTo>
                  <a:lnTo>
                    <a:pt x="256" y="430"/>
                  </a:lnTo>
                  <a:lnTo>
                    <a:pt x="258" y="428"/>
                  </a:lnTo>
                  <a:lnTo>
                    <a:pt x="260" y="427"/>
                  </a:lnTo>
                  <a:lnTo>
                    <a:pt x="261" y="425"/>
                  </a:lnTo>
                  <a:lnTo>
                    <a:pt x="265" y="423"/>
                  </a:lnTo>
                  <a:lnTo>
                    <a:pt x="263" y="425"/>
                  </a:lnTo>
                  <a:lnTo>
                    <a:pt x="265" y="425"/>
                  </a:lnTo>
                  <a:lnTo>
                    <a:pt x="263" y="425"/>
                  </a:lnTo>
                  <a:lnTo>
                    <a:pt x="261" y="427"/>
                  </a:lnTo>
                  <a:lnTo>
                    <a:pt x="261" y="428"/>
                  </a:lnTo>
                  <a:lnTo>
                    <a:pt x="263" y="427"/>
                  </a:lnTo>
                  <a:lnTo>
                    <a:pt x="265" y="425"/>
                  </a:lnTo>
                  <a:lnTo>
                    <a:pt x="266" y="425"/>
                  </a:lnTo>
                  <a:lnTo>
                    <a:pt x="268" y="425"/>
                  </a:lnTo>
                  <a:lnTo>
                    <a:pt x="270" y="423"/>
                  </a:lnTo>
                  <a:close/>
                  <a:moveTo>
                    <a:pt x="375" y="206"/>
                  </a:moveTo>
                  <a:lnTo>
                    <a:pt x="377" y="206"/>
                  </a:lnTo>
                  <a:lnTo>
                    <a:pt x="379" y="206"/>
                  </a:lnTo>
                  <a:lnTo>
                    <a:pt x="380" y="207"/>
                  </a:lnTo>
                  <a:lnTo>
                    <a:pt x="382" y="209"/>
                  </a:lnTo>
                  <a:lnTo>
                    <a:pt x="382" y="211"/>
                  </a:lnTo>
                  <a:lnTo>
                    <a:pt x="380" y="211"/>
                  </a:lnTo>
                  <a:lnTo>
                    <a:pt x="379" y="212"/>
                  </a:lnTo>
                  <a:lnTo>
                    <a:pt x="379" y="214"/>
                  </a:lnTo>
                  <a:lnTo>
                    <a:pt x="375" y="216"/>
                  </a:lnTo>
                  <a:lnTo>
                    <a:pt x="375" y="214"/>
                  </a:lnTo>
                  <a:lnTo>
                    <a:pt x="374" y="211"/>
                  </a:lnTo>
                  <a:lnTo>
                    <a:pt x="372" y="207"/>
                  </a:lnTo>
                  <a:lnTo>
                    <a:pt x="372" y="206"/>
                  </a:lnTo>
                  <a:lnTo>
                    <a:pt x="374" y="206"/>
                  </a:lnTo>
                  <a:lnTo>
                    <a:pt x="375" y="209"/>
                  </a:lnTo>
                  <a:lnTo>
                    <a:pt x="377" y="211"/>
                  </a:lnTo>
                  <a:lnTo>
                    <a:pt x="375" y="209"/>
                  </a:lnTo>
                  <a:lnTo>
                    <a:pt x="374" y="207"/>
                  </a:lnTo>
                  <a:lnTo>
                    <a:pt x="375" y="206"/>
                  </a:lnTo>
                  <a:close/>
                  <a:moveTo>
                    <a:pt x="681" y="75"/>
                  </a:moveTo>
                  <a:lnTo>
                    <a:pt x="685" y="75"/>
                  </a:lnTo>
                  <a:lnTo>
                    <a:pt x="685" y="76"/>
                  </a:lnTo>
                  <a:lnTo>
                    <a:pt x="686" y="75"/>
                  </a:lnTo>
                  <a:lnTo>
                    <a:pt x="686" y="76"/>
                  </a:lnTo>
                  <a:lnTo>
                    <a:pt x="686" y="78"/>
                  </a:lnTo>
                  <a:lnTo>
                    <a:pt x="685" y="80"/>
                  </a:lnTo>
                  <a:lnTo>
                    <a:pt x="688" y="80"/>
                  </a:lnTo>
                  <a:lnTo>
                    <a:pt x="688" y="78"/>
                  </a:lnTo>
                  <a:lnTo>
                    <a:pt x="690" y="80"/>
                  </a:lnTo>
                  <a:lnTo>
                    <a:pt x="688" y="80"/>
                  </a:lnTo>
                  <a:lnTo>
                    <a:pt x="688" y="81"/>
                  </a:lnTo>
                  <a:lnTo>
                    <a:pt x="686" y="81"/>
                  </a:lnTo>
                  <a:lnTo>
                    <a:pt x="685" y="83"/>
                  </a:lnTo>
                  <a:lnTo>
                    <a:pt x="683" y="81"/>
                  </a:lnTo>
                  <a:lnTo>
                    <a:pt x="685" y="85"/>
                  </a:lnTo>
                  <a:lnTo>
                    <a:pt x="681" y="87"/>
                  </a:lnTo>
                  <a:lnTo>
                    <a:pt x="681" y="85"/>
                  </a:lnTo>
                  <a:lnTo>
                    <a:pt x="681" y="83"/>
                  </a:lnTo>
                  <a:lnTo>
                    <a:pt x="681" y="81"/>
                  </a:lnTo>
                  <a:lnTo>
                    <a:pt x="683" y="81"/>
                  </a:lnTo>
                  <a:lnTo>
                    <a:pt x="681" y="80"/>
                  </a:lnTo>
                  <a:lnTo>
                    <a:pt x="681" y="78"/>
                  </a:lnTo>
                  <a:lnTo>
                    <a:pt x="680" y="75"/>
                  </a:lnTo>
                  <a:lnTo>
                    <a:pt x="681" y="75"/>
                  </a:lnTo>
                  <a:close/>
                  <a:moveTo>
                    <a:pt x="52" y="680"/>
                  </a:moveTo>
                  <a:lnTo>
                    <a:pt x="54" y="680"/>
                  </a:lnTo>
                  <a:lnTo>
                    <a:pt x="54" y="684"/>
                  </a:lnTo>
                  <a:lnTo>
                    <a:pt x="56" y="685"/>
                  </a:lnTo>
                  <a:lnTo>
                    <a:pt x="57" y="685"/>
                  </a:lnTo>
                  <a:lnTo>
                    <a:pt x="56" y="685"/>
                  </a:lnTo>
                  <a:lnTo>
                    <a:pt x="56" y="687"/>
                  </a:lnTo>
                  <a:lnTo>
                    <a:pt x="54" y="687"/>
                  </a:lnTo>
                  <a:lnTo>
                    <a:pt x="52" y="689"/>
                  </a:lnTo>
                  <a:lnTo>
                    <a:pt x="51" y="690"/>
                  </a:lnTo>
                  <a:lnTo>
                    <a:pt x="51" y="692"/>
                  </a:lnTo>
                  <a:lnTo>
                    <a:pt x="49" y="692"/>
                  </a:lnTo>
                  <a:lnTo>
                    <a:pt x="47" y="692"/>
                  </a:lnTo>
                  <a:lnTo>
                    <a:pt x="45" y="692"/>
                  </a:lnTo>
                  <a:lnTo>
                    <a:pt x="49" y="690"/>
                  </a:lnTo>
                  <a:lnTo>
                    <a:pt x="49" y="689"/>
                  </a:lnTo>
                  <a:lnTo>
                    <a:pt x="47" y="690"/>
                  </a:lnTo>
                  <a:lnTo>
                    <a:pt x="47" y="689"/>
                  </a:lnTo>
                  <a:lnTo>
                    <a:pt x="49" y="687"/>
                  </a:lnTo>
                  <a:lnTo>
                    <a:pt x="47" y="685"/>
                  </a:lnTo>
                  <a:lnTo>
                    <a:pt x="47" y="684"/>
                  </a:lnTo>
                  <a:lnTo>
                    <a:pt x="49" y="680"/>
                  </a:lnTo>
                  <a:lnTo>
                    <a:pt x="52" y="680"/>
                  </a:lnTo>
                  <a:close/>
                  <a:moveTo>
                    <a:pt x="11" y="818"/>
                  </a:moveTo>
                  <a:lnTo>
                    <a:pt x="11" y="820"/>
                  </a:lnTo>
                  <a:lnTo>
                    <a:pt x="13" y="821"/>
                  </a:lnTo>
                  <a:lnTo>
                    <a:pt x="11" y="821"/>
                  </a:lnTo>
                  <a:lnTo>
                    <a:pt x="11" y="823"/>
                  </a:lnTo>
                  <a:lnTo>
                    <a:pt x="13" y="821"/>
                  </a:lnTo>
                  <a:lnTo>
                    <a:pt x="13" y="823"/>
                  </a:lnTo>
                  <a:lnTo>
                    <a:pt x="15" y="827"/>
                  </a:lnTo>
                  <a:lnTo>
                    <a:pt x="15" y="830"/>
                  </a:lnTo>
                  <a:lnTo>
                    <a:pt x="13" y="830"/>
                  </a:lnTo>
                  <a:lnTo>
                    <a:pt x="13" y="828"/>
                  </a:lnTo>
                  <a:lnTo>
                    <a:pt x="13" y="830"/>
                  </a:lnTo>
                  <a:lnTo>
                    <a:pt x="13" y="832"/>
                  </a:lnTo>
                  <a:lnTo>
                    <a:pt x="13" y="830"/>
                  </a:lnTo>
                  <a:lnTo>
                    <a:pt x="15" y="830"/>
                  </a:lnTo>
                  <a:lnTo>
                    <a:pt x="15" y="833"/>
                  </a:lnTo>
                  <a:lnTo>
                    <a:pt x="15" y="835"/>
                  </a:lnTo>
                  <a:lnTo>
                    <a:pt x="15" y="837"/>
                  </a:lnTo>
                  <a:lnTo>
                    <a:pt x="13" y="837"/>
                  </a:lnTo>
                  <a:lnTo>
                    <a:pt x="11" y="833"/>
                  </a:lnTo>
                  <a:lnTo>
                    <a:pt x="11" y="832"/>
                  </a:lnTo>
                  <a:lnTo>
                    <a:pt x="11" y="835"/>
                  </a:lnTo>
                  <a:lnTo>
                    <a:pt x="10" y="833"/>
                  </a:lnTo>
                  <a:lnTo>
                    <a:pt x="10" y="830"/>
                  </a:lnTo>
                  <a:lnTo>
                    <a:pt x="8" y="832"/>
                  </a:lnTo>
                  <a:lnTo>
                    <a:pt x="8" y="830"/>
                  </a:lnTo>
                  <a:lnTo>
                    <a:pt x="8" y="828"/>
                  </a:lnTo>
                  <a:lnTo>
                    <a:pt x="10" y="828"/>
                  </a:lnTo>
                  <a:lnTo>
                    <a:pt x="8" y="828"/>
                  </a:lnTo>
                  <a:lnTo>
                    <a:pt x="10" y="830"/>
                  </a:lnTo>
                  <a:lnTo>
                    <a:pt x="11" y="828"/>
                  </a:lnTo>
                  <a:lnTo>
                    <a:pt x="11" y="830"/>
                  </a:lnTo>
                  <a:lnTo>
                    <a:pt x="13" y="827"/>
                  </a:lnTo>
                  <a:lnTo>
                    <a:pt x="11" y="828"/>
                  </a:lnTo>
                  <a:lnTo>
                    <a:pt x="10" y="825"/>
                  </a:lnTo>
                  <a:lnTo>
                    <a:pt x="10" y="823"/>
                  </a:lnTo>
                  <a:lnTo>
                    <a:pt x="10" y="821"/>
                  </a:lnTo>
                  <a:lnTo>
                    <a:pt x="10" y="820"/>
                  </a:lnTo>
                  <a:lnTo>
                    <a:pt x="10" y="818"/>
                  </a:lnTo>
                  <a:lnTo>
                    <a:pt x="10" y="820"/>
                  </a:lnTo>
                  <a:lnTo>
                    <a:pt x="11" y="820"/>
                  </a:lnTo>
                  <a:lnTo>
                    <a:pt x="11" y="818"/>
                  </a:lnTo>
                  <a:close/>
                  <a:moveTo>
                    <a:pt x="108" y="633"/>
                  </a:moveTo>
                  <a:lnTo>
                    <a:pt x="108" y="634"/>
                  </a:lnTo>
                  <a:lnTo>
                    <a:pt x="110" y="634"/>
                  </a:lnTo>
                  <a:lnTo>
                    <a:pt x="108" y="634"/>
                  </a:lnTo>
                  <a:lnTo>
                    <a:pt x="110" y="634"/>
                  </a:lnTo>
                  <a:lnTo>
                    <a:pt x="108" y="638"/>
                  </a:lnTo>
                  <a:lnTo>
                    <a:pt x="110" y="639"/>
                  </a:lnTo>
                  <a:lnTo>
                    <a:pt x="112" y="641"/>
                  </a:lnTo>
                  <a:lnTo>
                    <a:pt x="110" y="643"/>
                  </a:lnTo>
                  <a:lnTo>
                    <a:pt x="108" y="643"/>
                  </a:lnTo>
                  <a:lnTo>
                    <a:pt x="108" y="644"/>
                  </a:lnTo>
                  <a:lnTo>
                    <a:pt x="105" y="646"/>
                  </a:lnTo>
                  <a:lnTo>
                    <a:pt x="103" y="646"/>
                  </a:lnTo>
                  <a:lnTo>
                    <a:pt x="103" y="644"/>
                  </a:lnTo>
                  <a:lnTo>
                    <a:pt x="102" y="643"/>
                  </a:lnTo>
                  <a:lnTo>
                    <a:pt x="100" y="643"/>
                  </a:lnTo>
                  <a:lnTo>
                    <a:pt x="102" y="641"/>
                  </a:lnTo>
                  <a:lnTo>
                    <a:pt x="103" y="639"/>
                  </a:lnTo>
                  <a:lnTo>
                    <a:pt x="102" y="639"/>
                  </a:lnTo>
                  <a:lnTo>
                    <a:pt x="103" y="639"/>
                  </a:lnTo>
                  <a:lnTo>
                    <a:pt x="102" y="638"/>
                  </a:lnTo>
                  <a:lnTo>
                    <a:pt x="103" y="638"/>
                  </a:lnTo>
                  <a:lnTo>
                    <a:pt x="102" y="638"/>
                  </a:lnTo>
                  <a:lnTo>
                    <a:pt x="103" y="638"/>
                  </a:lnTo>
                  <a:lnTo>
                    <a:pt x="105" y="638"/>
                  </a:lnTo>
                  <a:lnTo>
                    <a:pt x="103" y="638"/>
                  </a:lnTo>
                  <a:lnTo>
                    <a:pt x="105" y="638"/>
                  </a:lnTo>
                  <a:lnTo>
                    <a:pt x="107" y="641"/>
                  </a:lnTo>
                  <a:lnTo>
                    <a:pt x="107" y="639"/>
                  </a:lnTo>
                  <a:lnTo>
                    <a:pt x="107" y="638"/>
                  </a:lnTo>
                  <a:lnTo>
                    <a:pt x="108" y="638"/>
                  </a:lnTo>
                  <a:lnTo>
                    <a:pt x="108" y="636"/>
                  </a:lnTo>
                  <a:lnTo>
                    <a:pt x="107" y="636"/>
                  </a:lnTo>
                  <a:lnTo>
                    <a:pt x="108" y="636"/>
                  </a:lnTo>
                  <a:lnTo>
                    <a:pt x="108" y="634"/>
                  </a:lnTo>
                  <a:lnTo>
                    <a:pt x="107" y="634"/>
                  </a:lnTo>
                  <a:lnTo>
                    <a:pt x="108" y="633"/>
                  </a:lnTo>
                  <a:close/>
                  <a:moveTo>
                    <a:pt x="15" y="891"/>
                  </a:moveTo>
                  <a:lnTo>
                    <a:pt x="17" y="893"/>
                  </a:lnTo>
                  <a:lnTo>
                    <a:pt x="15" y="895"/>
                  </a:lnTo>
                  <a:lnTo>
                    <a:pt x="17" y="896"/>
                  </a:lnTo>
                  <a:lnTo>
                    <a:pt x="15" y="896"/>
                  </a:lnTo>
                  <a:lnTo>
                    <a:pt x="17" y="898"/>
                  </a:lnTo>
                  <a:lnTo>
                    <a:pt x="15" y="898"/>
                  </a:lnTo>
                  <a:lnTo>
                    <a:pt x="17" y="900"/>
                  </a:lnTo>
                  <a:lnTo>
                    <a:pt x="15" y="900"/>
                  </a:lnTo>
                  <a:lnTo>
                    <a:pt x="17" y="901"/>
                  </a:lnTo>
                  <a:lnTo>
                    <a:pt x="17" y="905"/>
                  </a:lnTo>
                  <a:lnTo>
                    <a:pt x="17" y="908"/>
                  </a:lnTo>
                  <a:lnTo>
                    <a:pt x="15" y="908"/>
                  </a:lnTo>
                  <a:lnTo>
                    <a:pt x="15" y="910"/>
                  </a:lnTo>
                  <a:lnTo>
                    <a:pt x="13" y="910"/>
                  </a:lnTo>
                  <a:lnTo>
                    <a:pt x="11" y="910"/>
                  </a:lnTo>
                  <a:lnTo>
                    <a:pt x="11" y="908"/>
                  </a:lnTo>
                  <a:lnTo>
                    <a:pt x="11" y="906"/>
                  </a:lnTo>
                  <a:lnTo>
                    <a:pt x="11" y="905"/>
                  </a:lnTo>
                  <a:lnTo>
                    <a:pt x="11" y="903"/>
                  </a:lnTo>
                  <a:lnTo>
                    <a:pt x="11" y="900"/>
                  </a:lnTo>
                  <a:lnTo>
                    <a:pt x="13" y="900"/>
                  </a:lnTo>
                  <a:lnTo>
                    <a:pt x="13" y="898"/>
                  </a:lnTo>
                  <a:lnTo>
                    <a:pt x="15" y="900"/>
                  </a:lnTo>
                  <a:lnTo>
                    <a:pt x="13" y="898"/>
                  </a:lnTo>
                  <a:lnTo>
                    <a:pt x="11" y="896"/>
                  </a:lnTo>
                  <a:lnTo>
                    <a:pt x="13" y="896"/>
                  </a:lnTo>
                  <a:lnTo>
                    <a:pt x="13" y="895"/>
                  </a:lnTo>
                  <a:lnTo>
                    <a:pt x="11" y="895"/>
                  </a:lnTo>
                  <a:lnTo>
                    <a:pt x="13" y="895"/>
                  </a:lnTo>
                  <a:lnTo>
                    <a:pt x="13" y="896"/>
                  </a:lnTo>
                  <a:lnTo>
                    <a:pt x="13" y="895"/>
                  </a:lnTo>
                  <a:lnTo>
                    <a:pt x="15" y="895"/>
                  </a:lnTo>
                  <a:lnTo>
                    <a:pt x="15" y="893"/>
                  </a:lnTo>
                  <a:lnTo>
                    <a:pt x="15" y="895"/>
                  </a:lnTo>
                  <a:lnTo>
                    <a:pt x="15" y="893"/>
                  </a:lnTo>
                  <a:lnTo>
                    <a:pt x="13" y="895"/>
                  </a:lnTo>
                  <a:lnTo>
                    <a:pt x="13" y="893"/>
                  </a:lnTo>
                  <a:lnTo>
                    <a:pt x="15" y="891"/>
                  </a:lnTo>
                  <a:close/>
                  <a:moveTo>
                    <a:pt x="146" y="585"/>
                  </a:moveTo>
                  <a:lnTo>
                    <a:pt x="146" y="587"/>
                  </a:lnTo>
                  <a:lnTo>
                    <a:pt x="147" y="585"/>
                  </a:lnTo>
                  <a:lnTo>
                    <a:pt x="147" y="588"/>
                  </a:lnTo>
                  <a:lnTo>
                    <a:pt x="147" y="592"/>
                  </a:lnTo>
                  <a:lnTo>
                    <a:pt x="147" y="593"/>
                  </a:lnTo>
                  <a:lnTo>
                    <a:pt x="144" y="593"/>
                  </a:lnTo>
                  <a:lnTo>
                    <a:pt x="142" y="593"/>
                  </a:lnTo>
                  <a:lnTo>
                    <a:pt x="144" y="593"/>
                  </a:lnTo>
                  <a:lnTo>
                    <a:pt x="142" y="593"/>
                  </a:lnTo>
                  <a:lnTo>
                    <a:pt x="141" y="595"/>
                  </a:lnTo>
                  <a:lnTo>
                    <a:pt x="139" y="595"/>
                  </a:lnTo>
                  <a:lnTo>
                    <a:pt x="137" y="595"/>
                  </a:lnTo>
                  <a:lnTo>
                    <a:pt x="136" y="595"/>
                  </a:lnTo>
                  <a:lnTo>
                    <a:pt x="139" y="593"/>
                  </a:lnTo>
                  <a:lnTo>
                    <a:pt x="137" y="593"/>
                  </a:lnTo>
                  <a:lnTo>
                    <a:pt x="136" y="595"/>
                  </a:lnTo>
                  <a:lnTo>
                    <a:pt x="137" y="593"/>
                  </a:lnTo>
                  <a:lnTo>
                    <a:pt x="136" y="593"/>
                  </a:lnTo>
                  <a:lnTo>
                    <a:pt x="134" y="593"/>
                  </a:lnTo>
                  <a:lnTo>
                    <a:pt x="132" y="595"/>
                  </a:lnTo>
                  <a:lnTo>
                    <a:pt x="130" y="595"/>
                  </a:lnTo>
                  <a:lnTo>
                    <a:pt x="132" y="595"/>
                  </a:lnTo>
                  <a:lnTo>
                    <a:pt x="132" y="593"/>
                  </a:lnTo>
                  <a:lnTo>
                    <a:pt x="130" y="593"/>
                  </a:lnTo>
                  <a:lnTo>
                    <a:pt x="130" y="595"/>
                  </a:lnTo>
                  <a:lnTo>
                    <a:pt x="130" y="593"/>
                  </a:lnTo>
                  <a:lnTo>
                    <a:pt x="132" y="593"/>
                  </a:lnTo>
                  <a:lnTo>
                    <a:pt x="130" y="593"/>
                  </a:lnTo>
                  <a:lnTo>
                    <a:pt x="134" y="593"/>
                  </a:lnTo>
                  <a:lnTo>
                    <a:pt x="132" y="593"/>
                  </a:lnTo>
                  <a:lnTo>
                    <a:pt x="134" y="593"/>
                  </a:lnTo>
                  <a:lnTo>
                    <a:pt x="136" y="592"/>
                  </a:lnTo>
                  <a:lnTo>
                    <a:pt x="136" y="593"/>
                  </a:lnTo>
                  <a:lnTo>
                    <a:pt x="136" y="592"/>
                  </a:lnTo>
                  <a:lnTo>
                    <a:pt x="137" y="592"/>
                  </a:lnTo>
                  <a:lnTo>
                    <a:pt x="136" y="592"/>
                  </a:lnTo>
                  <a:lnTo>
                    <a:pt x="136" y="593"/>
                  </a:lnTo>
                  <a:lnTo>
                    <a:pt x="137" y="592"/>
                  </a:lnTo>
                  <a:lnTo>
                    <a:pt x="139" y="592"/>
                  </a:lnTo>
                  <a:lnTo>
                    <a:pt x="141" y="592"/>
                  </a:lnTo>
                  <a:lnTo>
                    <a:pt x="139" y="592"/>
                  </a:lnTo>
                  <a:lnTo>
                    <a:pt x="141" y="590"/>
                  </a:lnTo>
                  <a:lnTo>
                    <a:pt x="142" y="590"/>
                  </a:lnTo>
                  <a:lnTo>
                    <a:pt x="141" y="590"/>
                  </a:lnTo>
                  <a:lnTo>
                    <a:pt x="142" y="590"/>
                  </a:lnTo>
                  <a:lnTo>
                    <a:pt x="144" y="588"/>
                  </a:lnTo>
                  <a:lnTo>
                    <a:pt x="146" y="588"/>
                  </a:lnTo>
                  <a:lnTo>
                    <a:pt x="146" y="587"/>
                  </a:lnTo>
                  <a:lnTo>
                    <a:pt x="146" y="585"/>
                  </a:lnTo>
                  <a:close/>
                  <a:moveTo>
                    <a:pt x="260" y="410"/>
                  </a:moveTo>
                  <a:lnTo>
                    <a:pt x="261" y="413"/>
                  </a:lnTo>
                  <a:lnTo>
                    <a:pt x="261" y="415"/>
                  </a:lnTo>
                  <a:lnTo>
                    <a:pt x="260" y="417"/>
                  </a:lnTo>
                  <a:lnTo>
                    <a:pt x="260" y="418"/>
                  </a:lnTo>
                  <a:lnTo>
                    <a:pt x="261" y="417"/>
                  </a:lnTo>
                  <a:lnTo>
                    <a:pt x="260" y="418"/>
                  </a:lnTo>
                  <a:lnTo>
                    <a:pt x="261" y="418"/>
                  </a:lnTo>
                  <a:lnTo>
                    <a:pt x="263" y="418"/>
                  </a:lnTo>
                  <a:lnTo>
                    <a:pt x="260" y="420"/>
                  </a:lnTo>
                  <a:lnTo>
                    <a:pt x="260" y="422"/>
                  </a:lnTo>
                  <a:lnTo>
                    <a:pt x="256" y="423"/>
                  </a:lnTo>
                  <a:lnTo>
                    <a:pt x="255" y="425"/>
                  </a:lnTo>
                  <a:lnTo>
                    <a:pt x="253" y="425"/>
                  </a:lnTo>
                  <a:lnTo>
                    <a:pt x="253" y="423"/>
                  </a:lnTo>
                  <a:lnTo>
                    <a:pt x="255" y="423"/>
                  </a:lnTo>
                  <a:lnTo>
                    <a:pt x="255" y="422"/>
                  </a:lnTo>
                  <a:lnTo>
                    <a:pt x="256" y="420"/>
                  </a:lnTo>
                  <a:lnTo>
                    <a:pt x="258" y="420"/>
                  </a:lnTo>
                  <a:lnTo>
                    <a:pt x="256" y="422"/>
                  </a:lnTo>
                  <a:lnTo>
                    <a:pt x="256" y="420"/>
                  </a:lnTo>
                  <a:lnTo>
                    <a:pt x="255" y="422"/>
                  </a:lnTo>
                  <a:lnTo>
                    <a:pt x="253" y="422"/>
                  </a:lnTo>
                  <a:lnTo>
                    <a:pt x="253" y="420"/>
                  </a:lnTo>
                  <a:lnTo>
                    <a:pt x="253" y="422"/>
                  </a:lnTo>
                  <a:lnTo>
                    <a:pt x="253" y="420"/>
                  </a:lnTo>
                  <a:lnTo>
                    <a:pt x="255" y="420"/>
                  </a:lnTo>
                  <a:lnTo>
                    <a:pt x="256" y="420"/>
                  </a:lnTo>
                  <a:lnTo>
                    <a:pt x="256" y="418"/>
                  </a:lnTo>
                  <a:lnTo>
                    <a:pt x="258" y="418"/>
                  </a:lnTo>
                  <a:lnTo>
                    <a:pt x="256" y="418"/>
                  </a:lnTo>
                  <a:lnTo>
                    <a:pt x="258" y="418"/>
                  </a:lnTo>
                  <a:lnTo>
                    <a:pt x="258" y="417"/>
                  </a:lnTo>
                  <a:lnTo>
                    <a:pt x="260" y="415"/>
                  </a:lnTo>
                  <a:lnTo>
                    <a:pt x="258" y="415"/>
                  </a:lnTo>
                  <a:lnTo>
                    <a:pt x="260" y="415"/>
                  </a:lnTo>
                  <a:lnTo>
                    <a:pt x="258" y="415"/>
                  </a:lnTo>
                  <a:lnTo>
                    <a:pt x="258" y="413"/>
                  </a:lnTo>
                  <a:lnTo>
                    <a:pt x="255" y="417"/>
                  </a:lnTo>
                  <a:lnTo>
                    <a:pt x="256" y="413"/>
                  </a:lnTo>
                  <a:lnTo>
                    <a:pt x="258" y="413"/>
                  </a:lnTo>
                  <a:lnTo>
                    <a:pt x="256" y="413"/>
                  </a:lnTo>
                  <a:lnTo>
                    <a:pt x="260" y="411"/>
                  </a:lnTo>
                  <a:lnTo>
                    <a:pt x="258" y="411"/>
                  </a:lnTo>
                  <a:lnTo>
                    <a:pt x="260" y="410"/>
                  </a:lnTo>
                  <a:close/>
                  <a:moveTo>
                    <a:pt x="219" y="524"/>
                  </a:moveTo>
                  <a:lnTo>
                    <a:pt x="221" y="527"/>
                  </a:lnTo>
                  <a:lnTo>
                    <a:pt x="222" y="527"/>
                  </a:lnTo>
                  <a:lnTo>
                    <a:pt x="224" y="529"/>
                  </a:lnTo>
                  <a:lnTo>
                    <a:pt x="224" y="532"/>
                  </a:lnTo>
                  <a:lnTo>
                    <a:pt x="227" y="532"/>
                  </a:lnTo>
                  <a:lnTo>
                    <a:pt x="229" y="534"/>
                  </a:lnTo>
                  <a:lnTo>
                    <a:pt x="229" y="536"/>
                  </a:lnTo>
                  <a:lnTo>
                    <a:pt x="229" y="537"/>
                  </a:lnTo>
                  <a:lnTo>
                    <a:pt x="227" y="536"/>
                  </a:lnTo>
                  <a:lnTo>
                    <a:pt x="226" y="537"/>
                  </a:lnTo>
                  <a:lnTo>
                    <a:pt x="224" y="534"/>
                  </a:lnTo>
                  <a:lnTo>
                    <a:pt x="222" y="536"/>
                  </a:lnTo>
                  <a:lnTo>
                    <a:pt x="221" y="534"/>
                  </a:lnTo>
                  <a:lnTo>
                    <a:pt x="219" y="532"/>
                  </a:lnTo>
                  <a:lnTo>
                    <a:pt x="219" y="531"/>
                  </a:lnTo>
                  <a:lnTo>
                    <a:pt x="221" y="531"/>
                  </a:lnTo>
                  <a:lnTo>
                    <a:pt x="221" y="529"/>
                  </a:lnTo>
                  <a:lnTo>
                    <a:pt x="222" y="531"/>
                  </a:lnTo>
                  <a:lnTo>
                    <a:pt x="222" y="529"/>
                  </a:lnTo>
                  <a:lnTo>
                    <a:pt x="219" y="529"/>
                  </a:lnTo>
                  <a:lnTo>
                    <a:pt x="217" y="529"/>
                  </a:lnTo>
                  <a:lnTo>
                    <a:pt x="217" y="525"/>
                  </a:lnTo>
                  <a:lnTo>
                    <a:pt x="219" y="524"/>
                  </a:lnTo>
                  <a:close/>
                  <a:moveTo>
                    <a:pt x="17" y="714"/>
                  </a:moveTo>
                  <a:lnTo>
                    <a:pt x="18" y="716"/>
                  </a:lnTo>
                  <a:lnTo>
                    <a:pt x="20" y="718"/>
                  </a:lnTo>
                  <a:lnTo>
                    <a:pt x="22" y="718"/>
                  </a:lnTo>
                  <a:lnTo>
                    <a:pt x="23" y="718"/>
                  </a:lnTo>
                  <a:lnTo>
                    <a:pt x="25" y="718"/>
                  </a:lnTo>
                  <a:lnTo>
                    <a:pt x="27" y="718"/>
                  </a:lnTo>
                  <a:lnTo>
                    <a:pt x="27" y="719"/>
                  </a:lnTo>
                  <a:lnTo>
                    <a:pt x="23" y="721"/>
                  </a:lnTo>
                  <a:lnTo>
                    <a:pt x="22" y="721"/>
                  </a:lnTo>
                  <a:lnTo>
                    <a:pt x="23" y="719"/>
                  </a:lnTo>
                  <a:lnTo>
                    <a:pt x="23" y="718"/>
                  </a:lnTo>
                  <a:lnTo>
                    <a:pt x="23" y="719"/>
                  </a:lnTo>
                  <a:lnTo>
                    <a:pt x="20" y="721"/>
                  </a:lnTo>
                  <a:lnTo>
                    <a:pt x="18" y="723"/>
                  </a:lnTo>
                  <a:lnTo>
                    <a:pt x="17" y="723"/>
                  </a:lnTo>
                  <a:lnTo>
                    <a:pt x="17" y="724"/>
                  </a:lnTo>
                  <a:lnTo>
                    <a:pt x="17" y="723"/>
                  </a:lnTo>
                  <a:lnTo>
                    <a:pt x="15" y="723"/>
                  </a:lnTo>
                  <a:lnTo>
                    <a:pt x="15" y="721"/>
                  </a:lnTo>
                  <a:lnTo>
                    <a:pt x="17" y="721"/>
                  </a:lnTo>
                  <a:lnTo>
                    <a:pt x="18" y="719"/>
                  </a:lnTo>
                  <a:lnTo>
                    <a:pt x="17" y="719"/>
                  </a:lnTo>
                  <a:lnTo>
                    <a:pt x="15" y="719"/>
                  </a:lnTo>
                  <a:lnTo>
                    <a:pt x="11" y="718"/>
                  </a:lnTo>
                  <a:lnTo>
                    <a:pt x="13" y="716"/>
                  </a:lnTo>
                  <a:lnTo>
                    <a:pt x="15" y="716"/>
                  </a:lnTo>
                  <a:lnTo>
                    <a:pt x="17" y="714"/>
                  </a:lnTo>
                  <a:close/>
                  <a:moveTo>
                    <a:pt x="221" y="502"/>
                  </a:moveTo>
                  <a:lnTo>
                    <a:pt x="219" y="503"/>
                  </a:lnTo>
                  <a:lnTo>
                    <a:pt x="221" y="503"/>
                  </a:lnTo>
                  <a:lnTo>
                    <a:pt x="219" y="503"/>
                  </a:lnTo>
                  <a:lnTo>
                    <a:pt x="221" y="503"/>
                  </a:lnTo>
                  <a:lnTo>
                    <a:pt x="222" y="503"/>
                  </a:lnTo>
                  <a:lnTo>
                    <a:pt x="221" y="503"/>
                  </a:lnTo>
                  <a:lnTo>
                    <a:pt x="221" y="505"/>
                  </a:lnTo>
                  <a:lnTo>
                    <a:pt x="222" y="503"/>
                  </a:lnTo>
                  <a:lnTo>
                    <a:pt x="219" y="505"/>
                  </a:lnTo>
                  <a:lnTo>
                    <a:pt x="222" y="505"/>
                  </a:lnTo>
                  <a:lnTo>
                    <a:pt x="222" y="507"/>
                  </a:lnTo>
                  <a:lnTo>
                    <a:pt x="224" y="507"/>
                  </a:lnTo>
                  <a:lnTo>
                    <a:pt x="224" y="508"/>
                  </a:lnTo>
                  <a:lnTo>
                    <a:pt x="221" y="510"/>
                  </a:lnTo>
                  <a:lnTo>
                    <a:pt x="221" y="512"/>
                  </a:lnTo>
                  <a:lnTo>
                    <a:pt x="219" y="512"/>
                  </a:lnTo>
                  <a:lnTo>
                    <a:pt x="219" y="510"/>
                  </a:lnTo>
                  <a:lnTo>
                    <a:pt x="217" y="512"/>
                  </a:lnTo>
                  <a:lnTo>
                    <a:pt x="219" y="510"/>
                  </a:lnTo>
                  <a:lnTo>
                    <a:pt x="217" y="510"/>
                  </a:lnTo>
                  <a:lnTo>
                    <a:pt x="217" y="508"/>
                  </a:lnTo>
                  <a:lnTo>
                    <a:pt x="217" y="510"/>
                  </a:lnTo>
                  <a:lnTo>
                    <a:pt x="219" y="508"/>
                  </a:lnTo>
                  <a:lnTo>
                    <a:pt x="219" y="507"/>
                  </a:lnTo>
                  <a:lnTo>
                    <a:pt x="217" y="507"/>
                  </a:lnTo>
                  <a:lnTo>
                    <a:pt x="219" y="507"/>
                  </a:lnTo>
                  <a:lnTo>
                    <a:pt x="219" y="505"/>
                  </a:lnTo>
                  <a:lnTo>
                    <a:pt x="217" y="507"/>
                  </a:lnTo>
                  <a:lnTo>
                    <a:pt x="215" y="508"/>
                  </a:lnTo>
                  <a:lnTo>
                    <a:pt x="217" y="507"/>
                  </a:lnTo>
                  <a:lnTo>
                    <a:pt x="217" y="505"/>
                  </a:lnTo>
                  <a:lnTo>
                    <a:pt x="217" y="507"/>
                  </a:lnTo>
                  <a:lnTo>
                    <a:pt x="215" y="507"/>
                  </a:lnTo>
                  <a:lnTo>
                    <a:pt x="215" y="508"/>
                  </a:lnTo>
                  <a:lnTo>
                    <a:pt x="214" y="508"/>
                  </a:lnTo>
                  <a:lnTo>
                    <a:pt x="212" y="510"/>
                  </a:lnTo>
                  <a:lnTo>
                    <a:pt x="210" y="510"/>
                  </a:lnTo>
                  <a:lnTo>
                    <a:pt x="210" y="512"/>
                  </a:lnTo>
                  <a:lnTo>
                    <a:pt x="210" y="510"/>
                  </a:lnTo>
                  <a:lnTo>
                    <a:pt x="212" y="508"/>
                  </a:lnTo>
                  <a:lnTo>
                    <a:pt x="212" y="507"/>
                  </a:lnTo>
                  <a:lnTo>
                    <a:pt x="214" y="507"/>
                  </a:lnTo>
                  <a:lnTo>
                    <a:pt x="215" y="507"/>
                  </a:lnTo>
                  <a:lnTo>
                    <a:pt x="215" y="505"/>
                  </a:lnTo>
                  <a:lnTo>
                    <a:pt x="217" y="505"/>
                  </a:lnTo>
                  <a:lnTo>
                    <a:pt x="217" y="503"/>
                  </a:lnTo>
                  <a:lnTo>
                    <a:pt x="219" y="503"/>
                  </a:lnTo>
                  <a:lnTo>
                    <a:pt x="217" y="503"/>
                  </a:lnTo>
                  <a:lnTo>
                    <a:pt x="219" y="503"/>
                  </a:lnTo>
                  <a:lnTo>
                    <a:pt x="221" y="502"/>
                  </a:lnTo>
                  <a:close/>
                  <a:moveTo>
                    <a:pt x="136" y="622"/>
                  </a:moveTo>
                  <a:lnTo>
                    <a:pt x="136" y="626"/>
                  </a:lnTo>
                  <a:lnTo>
                    <a:pt x="137" y="626"/>
                  </a:lnTo>
                  <a:lnTo>
                    <a:pt x="139" y="629"/>
                  </a:lnTo>
                  <a:lnTo>
                    <a:pt x="137" y="631"/>
                  </a:lnTo>
                  <a:lnTo>
                    <a:pt x="136" y="631"/>
                  </a:lnTo>
                  <a:lnTo>
                    <a:pt x="134" y="631"/>
                  </a:lnTo>
                  <a:lnTo>
                    <a:pt x="132" y="631"/>
                  </a:lnTo>
                  <a:lnTo>
                    <a:pt x="130" y="629"/>
                  </a:lnTo>
                  <a:lnTo>
                    <a:pt x="129" y="627"/>
                  </a:lnTo>
                  <a:lnTo>
                    <a:pt x="129" y="626"/>
                  </a:lnTo>
                  <a:lnTo>
                    <a:pt x="130" y="624"/>
                  </a:lnTo>
                  <a:lnTo>
                    <a:pt x="129" y="622"/>
                  </a:lnTo>
                  <a:lnTo>
                    <a:pt x="130" y="622"/>
                  </a:lnTo>
                  <a:lnTo>
                    <a:pt x="130" y="624"/>
                  </a:lnTo>
                  <a:lnTo>
                    <a:pt x="132" y="622"/>
                  </a:lnTo>
                  <a:lnTo>
                    <a:pt x="134" y="624"/>
                  </a:lnTo>
                  <a:lnTo>
                    <a:pt x="132" y="627"/>
                  </a:lnTo>
                  <a:lnTo>
                    <a:pt x="134" y="627"/>
                  </a:lnTo>
                  <a:lnTo>
                    <a:pt x="134" y="624"/>
                  </a:lnTo>
                  <a:lnTo>
                    <a:pt x="132" y="622"/>
                  </a:lnTo>
                  <a:lnTo>
                    <a:pt x="136" y="622"/>
                  </a:lnTo>
                  <a:close/>
                  <a:moveTo>
                    <a:pt x="350" y="204"/>
                  </a:moveTo>
                  <a:lnTo>
                    <a:pt x="351" y="204"/>
                  </a:lnTo>
                  <a:lnTo>
                    <a:pt x="353" y="206"/>
                  </a:lnTo>
                  <a:lnTo>
                    <a:pt x="357" y="204"/>
                  </a:lnTo>
                  <a:lnTo>
                    <a:pt x="357" y="206"/>
                  </a:lnTo>
                  <a:lnTo>
                    <a:pt x="358" y="204"/>
                  </a:lnTo>
                  <a:lnTo>
                    <a:pt x="358" y="207"/>
                  </a:lnTo>
                  <a:lnTo>
                    <a:pt x="360" y="207"/>
                  </a:lnTo>
                  <a:lnTo>
                    <a:pt x="358" y="207"/>
                  </a:lnTo>
                  <a:lnTo>
                    <a:pt x="360" y="209"/>
                  </a:lnTo>
                  <a:lnTo>
                    <a:pt x="358" y="211"/>
                  </a:lnTo>
                  <a:lnTo>
                    <a:pt x="355" y="211"/>
                  </a:lnTo>
                  <a:lnTo>
                    <a:pt x="353" y="209"/>
                  </a:lnTo>
                  <a:lnTo>
                    <a:pt x="351" y="207"/>
                  </a:lnTo>
                  <a:lnTo>
                    <a:pt x="350" y="206"/>
                  </a:lnTo>
                  <a:lnTo>
                    <a:pt x="350" y="204"/>
                  </a:lnTo>
                  <a:close/>
                  <a:moveTo>
                    <a:pt x="44" y="687"/>
                  </a:moveTo>
                  <a:lnTo>
                    <a:pt x="44" y="690"/>
                  </a:lnTo>
                  <a:lnTo>
                    <a:pt x="47" y="689"/>
                  </a:lnTo>
                  <a:lnTo>
                    <a:pt x="45" y="692"/>
                  </a:lnTo>
                  <a:lnTo>
                    <a:pt x="47" y="694"/>
                  </a:lnTo>
                  <a:lnTo>
                    <a:pt x="45" y="696"/>
                  </a:lnTo>
                  <a:lnTo>
                    <a:pt x="44" y="696"/>
                  </a:lnTo>
                  <a:lnTo>
                    <a:pt x="40" y="696"/>
                  </a:lnTo>
                  <a:lnTo>
                    <a:pt x="39" y="696"/>
                  </a:lnTo>
                  <a:lnTo>
                    <a:pt x="39" y="694"/>
                  </a:lnTo>
                  <a:lnTo>
                    <a:pt x="37" y="692"/>
                  </a:lnTo>
                  <a:lnTo>
                    <a:pt x="39" y="694"/>
                  </a:lnTo>
                  <a:lnTo>
                    <a:pt x="40" y="694"/>
                  </a:lnTo>
                  <a:lnTo>
                    <a:pt x="39" y="692"/>
                  </a:lnTo>
                  <a:lnTo>
                    <a:pt x="37" y="692"/>
                  </a:lnTo>
                  <a:lnTo>
                    <a:pt x="37" y="690"/>
                  </a:lnTo>
                  <a:lnTo>
                    <a:pt x="39" y="690"/>
                  </a:lnTo>
                  <a:lnTo>
                    <a:pt x="39" y="689"/>
                  </a:lnTo>
                  <a:lnTo>
                    <a:pt x="40" y="689"/>
                  </a:lnTo>
                  <a:lnTo>
                    <a:pt x="42" y="689"/>
                  </a:lnTo>
                  <a:lnTo>
                    <a:pt x="44" y="689"/>
                  </a:lnTo>
                  <a:lnTo>
                    <a:pt x="44" y="687"/>
                  </a:lnTo>
                  <a:close/>
                  <a:moveTo>
                    <a:pt x="370" y="211"/>
                  </a:moveTo>
                  <a:lnTo>
                    <a:pt x="370" y="212"/>
                  </a:lnTo>
                  <a:lnTo>
                    <a:pt x="372" y="216"/>
                  </a:lnTo>
                  <a:lnTo>
                    <a:pt x="375" y="216"/>
                  </a:lnTo>
                  <a:lnTo>
                    <a:pt x="375" y="218"/>
                  </a:lnTo>
                  <a:lnTo>
                    <a:pt x="374" y="219"/>
                  </a:lnTo>
                  <a:lnTo>
                    <a:pt x="372" y="219"/>
                  </a:lnTo>
                  <a:lnTo>
                    <a:pt x="370" y="219"/>
                  </a:lnTo>
                  <a:lnTo>
                    <a:pt x="367" y="221"/>
                  </a:lnTo>
                  <a:lnTo>
                    <a:pt x="365" y="221"/>
                  </a:lnTo>
                  <a:lnTo>
                    <a:pt x="367" y="218"/>
                  </a:lnTo>
                  <a:lnTo>
                    <a:pt x="368" y="218"/>
                  </a:lnTo>
                  <a:lnTo>
                    <a:pt x="368" y="216"/>
                  </a:lnTo>
                  <a:lnTo>
                    <a:pt x="368" y="214"/>
                  </a:lnTo>
                  <a:lnTo>
                    <a:pt x="370" y="212"/>
                  </a:lnTo>
                  <a:lnTo>
                    <a:pt x="370" y="211"/>
                  </a:lnTo>
                  <a:close/>
                  <a:moveTo>
                    <a:pt x="275" y="269"/>
                  </a:moveTo>
                  <a:lnTo>
                    <a:pt x="278" y="269"/>
                  </a:lnTo>
                  <a:lnTo>
                    <a:pt x="278" y="270"/>
                  </a:lnTo>
                  <a:lnTo>
                    <a:pt x="277" y="272"/>
                  </a:lnTo>
                  <a:lnTo>
                    <a:pt x="278" y="272"/>
                  </a:lnTo>
                  <a:lnTo>
                    <a:pt x="277" y="274"/>
                  </a:lnTo>
                  <a:lnTo>
                    <a:pt x="278" y="274"/>
                  </a:lnTo>
                  <a:lnTo>
                    <a:pt x="277" y="277"/>
                  </a:lnTo>
                  <a:lnTo>
                    <a:pt x="277" y="279"/>
                  </a:lnTo>
                  <a:lnTo>
                    <a:pt x="277" y="277"/>
                  </a:lnTo>
                  <a:lnTo>
                    <a:pt x="277" y="279"/>
                  </a:lnTo>
                  <a:lnTo>
                    <a:pt x="275" y="279"/>
                  </a:lnTo>
                  <a:lnTo>
                    <a:pt x="273" y="280"/>
                  </a:lnTo>
                  <a:lnTo>
                    <a:pt x="273" y="279"/>
                  </a:lnTo>
                  <a:lnTo>
                    <a:pt x="273" y="277"/>
                  </a:lnTo>
                  <a:lnTo>
                    <a:pt x="273" y="279"/>
                  </a:lnTo>
                  <a:lnTo>
                    <a:pt x="272" y="280"/>
                  </a:lnTo>
                  <a:lnTo>
                    <a:pt x="272" y="277"/>
                  </a:lnTo>
                  <a:lnTo>
                    <a:pt x="272" y="275"/>
                  </a:lnTo>
                  <a:lnTo>
                    <a:pt x="273" y="275"/>
                  </a:lnTo>
                  <a:lnTo>
                    <a:pt x="273" y="274"/>
                  </a:lnTo>
                  <a:lnTo>
                    <a:pt x="275" y="274"/>
                  </a:lnTo>
                  <a:lnTo>
                    <a:pt x="275" y="275"/>
                  </a:lnTo>
                  <a:lnTo>
                    <a:pt x="275" y="272"/>
                  </a:lnTo>
                  <a:lnTo>
                    <a:pt x="275" y="269"/>
                  </a:lnTo>
                  <a:close/>
                  <a:moveTo>
                    <a:pt x="311" y="236"/>
                  </a:moveTo>
                  <a:lnTo>
                    <a:pt x="312" y="236"/>
                  </a:lnTo>
                  <a:lnTo>
                    <a:pt x="314" y="238"/>
                  </a:lnTo>
                  <a:lnTo>
                    <a:pt x="314" y="236"/>
                  </a:lnTo>
                  <a:lnTo>
                    <a:pt x="316" y="238"/>
                  </a:lnTo>
                  <a:lnTo>
                    <a:pt x="317" y="238"/>
                  </a:lnTo>
                  <a:lnTo>
                    <a:pt x="317" y="240"/>
                  </a:lnTo>
                  <a:lnTo>
                    <a:pt x="316" y="241"/>
                  </a:lnTo>
                  <a:lnTo>
                    <a:pt x="314" y="241"/>
                  </a:lnTo>
                  <a:lnTo>
                    <a:pt x="314" y="243"/>
                  </a:lnTo>
                  <a:lnTo>
                    <a:pt x="312" y="241"/>
                  </a:lnTo>
                  <a:lnTo>
                    <a:pt x="311" y="243"/>
                  </a:lnTo>
                  <a:lnTo>
                    <a:pt x="311" y="241"/>
                  </a:lnTo>
                  <a:lnTo>
                    <a:pt x="309" y="241"/>
                  </a:lnTo>
                  <a:lnTo>
                    <a:pt x="309" y="240"/>
                  </a:lnTo>
                  <a:lnTo>
                    <a:pt x="307" y="240"/>
                  </a:lnTo>
                  <a:lnTo>
                    <a:pt x="309" y="236"/>
                  </a:lnTo>
                  <a:lnTo>
                    <a:pt x="311" y="236"/>
                  </a:lnTo>
                  <a:close/>
                  <a:moveTo>
                    <a:pt x="521" y="27"/>
                  </a:moveTo>
                  <a:lnTo>
                    <a:pt x="523" y="27"/>
                  </a:lnTo>
                  <a:lnTo>
                    <a:pt x="523" y="29"/>
                  </a:lnTo>
                  <a:lnTo>
                    <a:pt x="525" y="29"/>
                  </a:lnTo>
                  <a:lnTo>
                    <a:pt x="527" y="29"/>
                  </a:lnTo>
                  <a:lnTo>
                    <a:pt x="525" y="29"/>
                  </a:lnTo>
                  <a:lnTo>
                    <a:pt x="523" y="30"/>
                  </a:lnTo>
                  <a:lnTo>
                    <a:pt x="523" y="32"/>
                  </a:lnTo>
                  <a:lnTo>
                    <a:pt x="525" y="30"/>
                  </a:lnTo>
                  <a:lnTo>
                    <a:pt x="528" y="30"/>
                  </a:lnTo>
                  <a:lnTo>
                    <a:pt x="527" y="32"/>
                  </a:lnTo>
                  <a:lnTo>
                    <a:pt x="528" y="32"/>
                  </a:lnTo>
                  <a:lnTo>
                    <a:pt x="527" y="32"/>
                  </a:lnTo>
                  <a:lnTo>
                    <a:pt x="527" y="34"/>
                  </a:lnTo>
                  <a:lnTo>
                    <a:pt x="525" y="34"/>
                  </a:lnTo>
                  <a:lnTo>
                    <a:pt x="525" y="36"/>
                  </a:lnTo>
                  <a:lnTo>
                    <a:pt x="521" y="36"/>
                  </a:lnTo>
                  <a:lnTo>
                    <a:pt x="521" y="34"/>
                  </a:lnTo>
                  <a:lnTo>
                    <a:pt x="520" y="34"/>
                  </a:lnTo>
                  <a:lnTo>
                    <a:pt x="520" y="30"/>
                  </a:lnTo>
                  <a:lnTo>
                    <a:pt x="521" y="30"/>
                  </a:lnTo>
                  <a:lnTo>
                    <a:pt x="523" y="30"/>
                  </a:lnTo>
                  <a:lnTo>
                    <a:pt x="521" y="30"/>
                  </a:lnTo>
                  <a:lnTo>
                    <a:pt x="520" y="30"/>
                  </a:lnTo>
                  <a:lnTo>
                    <a:pt x="518" y="30"/>
                  </a:lnTo>
                  <a:lnTo>
                    <a:pt x="520" y="30"/>
                  </a:lnTo>
                  <a:lnTo>
                    <a:pt x="520" y="29"/>
                  </a:lnTo>
                  <a:lnTo>
                    <a:pt x="518" y="29"/>
                  </a:lnTo>
                  <a:lnTo>
                    <a:pt x="521" y="27"/>
                  </a:lnTo>
                  <a:close/>
                  <a:moveTo>
                    <a:pt x="243" y="447"/>
                  </a:moveTo>
                  <a:lnTo>
                    <a:pt x="244" y="449"/>
                  </a:lnTo>
                  <a:lnTo>
                    <a:pt x="243" y="449"/>
                  </a:lnTo>
                  <a:lnTo>
                    <a:pt x="244" y="449"/>
                  </a:lnTo>
                  <a:lnTo>
                    <a:pt x="243" y="449"/>
                  </a:lnTo>
                  <a:lnTo>
                    <a:pt x="244" y="449"/>
                  </a:lnTo>
                  <a:lnTo>
                    <a:pt x="244" y="451"/>
                  </a:lnTo>
                  <a:lnTo>
                    <a:pt x="243" y="451"/>
                  </a:lnTo>
                  <a:lnTo>
                    <a:pt x="244" y="451"/>
                  </a:lnTo>
                  <a:lnTo>
                    <a:pt x="243" y="451"/>
                  </a:lnTo>
                  <a:lnTo>
                    <a:pt x="244" y="451"/>
                  </a:lnTo>
                  <a:lnTo>
                    <a:pt x="244" y="452"/>
                  </a:lnTo>
                  <a:lnTo>
                    <a:pt x="244" y="454"/>
                  </a:lnTo>
                  <a:lnTo>
                    <a:pt x="243" y="456"/>
                  </a:lnTo>
                  <a:lnTo>
                    <a:pt x="241" y="457"/>
                  </a:lnTo>
                  <a:lnTo>
                    <a:pt x="241" y="456"/>
                  </a:lnTo>
                  <a:lnTo>
                    <a:pt x="239" y="456"/>
                  </a:lnTo>
                  <a:lnTo>
                    <a:pt x="241" y="456"/>
                  </a:lnTo>
                  <a:lnTo>
                    <a:pt x="239" y="456"/>
                  </a:lnTo>
                  <a:lnTo>
                    <a:pt x="238" y="456"/>
                  </a:lnTo>
                  <a:lnTo>
                    <a:pt x="236" y="456"/>
                  </a:lnTo>
                  <a:lnTo>
                    <a:pt x="238" y="454"/>
                  </a:lnTo>
                  <a:lnTo>
                    <a:pt x="238" y="452"/>
                  </a:lnTo>
                  <a:lnTo>
                    <a:pt x="238" y="451"/>
                  </a:lnTo>
                  <a:lnTo>
                    <a:pt x="239" y="449"/>
                  </a:lnTo>
                  <a:lnTo>
                    <a:pt x="241" y="449"/>
                  </a:lnTo>
                  <a:lnTo>
                    <a:pt x="241" y="447"/>
                  </a:lnTo>
                  <a:lnTo>
                    <a:pt x="241" y="449"/>
                  </a:lnTo>
                  <a:lnTo>
                    <a:pt x="243" y="449"/>
                  </a:lnTo>
                  <a:lnTo>
                    <a:pt x="243" y="447"/>
                  </a:lnTo>
                  <a:close/>
                  <a:moveTo>
                    <a:pt x="306" y="338"/>
                  </a:moveTo>
                  <a:lnTo>
                    <a:pt x="306" y="342"/>
                  </a:lnTo>
                  <a:lnTo>
                    <a:pt x="304" y="342"/>
                  </a:lnTo>
                  <a:lnTo>
                    <a:pt x="304" y="343"/>
                  </a:lnTo>
                  <a:lnTo>
                    <a:pt x="304" y="345"/>
                  </a:lnTo>
                  <a:lnTo>
                    <a:pt x="304" y="349"/>
                  </a:lnTo>
                  <a:lnTo>
                    <a:pt x="304" y="350"/>
                  </a:lnTo>
                  <a:lnTo>
                    <a:pt x="302" y="352"/>
                  </a:lnTo>
                  <a:lnTo>
                    <a:pt x="302" y="350"/>
                  </a:lnTo>
                  <a:lnTo>
                    <a:pt x="302" y="349"/>
                  </a:lnTo>
                  <a:lnTo>
                    <a:pt x="300" y="347"/>
                  </a:lnTo>
                  <a:lnTo>
                    <a:pt x="299" y="345"/>
                  </a:lnTo>
                  <a:lnTo>
                    <a:pt x="299" y="347"/>
                  </a:lnTo>
                  <a:lnTo>
                    <a:pt x="297" y="345"/>
                  </a:lnTo>
                  <a:lnTo>
                    <a:pt x="299" y="343"/>
                  </a:lnTo>
                  <a:lnTo>
                    <a:pt x="299" y="340"/>
                  </a:lnTo>
                  <a:lnTo>
                    <a:pt x="300" y="342"/>
                  </a:lnTo>
                  <a:lnTo>
                    <a:pt x="302" y="343"/>
                  </a:lnTo>
                  <a:lnTo>
                    <a:pt x="302" y="342"/>
                  </a:lnTo>
                  <a:lnTo>
                    <a:pt x="304" y="340"/>
                  </a:lnTo>
                  <a:lnTo>
                    <a:pt x="304" y="338"/>
                  </a:lnTo>
                  <a:lnTo>
                    <a:pt x="306" y="338"/>
                  </a:lnTo>
                  <a:close/>
                  <a:moveTo>
                    <a:pt x="414" y="102"/>
                  </a:moveTo>
                  <a:lnTo>
                    <a:pt x="416" y="104"/>
                  </a:lnTo>
                  <a:lnTo>
                    <a:pt x="414" y="105"/>
                  </a:lnTo>
                  <a:lnTo>
                    <a:pt x="416" y="107"/>
                  </a:lnTo>
                  <a:lnTo>
                    <a:pt x="416" y="109"/>
                  </a:lnTo>
                  <a:lnTo>
                    <a:pt x="416" y="110"/>
                  </a:lnTo>
                  <a:lnTo>
                    <a:pt x="416" y="112"/>
                  </a:lnTo>
                  <a:lnTo>
                    <a:pt x="414" y="112"/>
                  </a:lnTo>
                  <a:lnTo>
                    <a:pt x="414" y="114"/>
                  </a:lnTo>
                  <a:lnTo>
                    <a:pt x="413" y="114"/>
                  </a:lnTo>
                  <a:lnTo>
                    <a:pt x="411" y="112"/>
                  </a:lnTo>
                  <a:lnTo>
                    <a:pt x="409" y="110"/>
                  </a:lnTo>
                  <a:lnTo>
                    <a:pt x="411" y="110"/>
                  </a:lnTo>
                  <a:lnTo>
                    <a:pt x="411" y="109"/>
                  </a:lnTo>
                  <a:lnTo>
                    <a:pt x="413" y="110"/>
                  </a:lnTo>
                  <a:lnTo>
                    <a:pt x="413" y="109"/>
                  </a:lnTo>
                  <a:lnTo>
                    <a:pt x="414" y="107"/>
                  </a:lnTo>
                  <a:lnTo>
                    <a:pt x="413" y="107"/>
                  </a:lnTo>
                  <a:lnTo>
                    <a:pt x="413" y="105"/>
                  </a:lnTo>
                  <a:lnTo>
                    <a:pt x="411" y="104"/>
                  </a:lnTo>
                  <a:lnTo>
                    <a:pt x="413" y="104"/>
                  </a:lnTo>
                  <a:lnTo>
                    <a:pt x="413" y="102"/>
                  </a:lnTo>
                  <a:lnTo>
                    <a:pt x="414" y="104"/>
                  </a:lnTo>
                  <a:lnTo>
                    <a:pt x="414" y="102"/>
                  </a:lnTo>
                  <a:close/>
                  <a:moveTo>
                    <a:pt x="455" y="114"/>
                  </a:moveTo>
                  <a:lnTo>
                    <a:pt x="457" y="114"/>
                  </a:lnTo>
                  <a:lnTo>
                    <a:pt x="459" y="115"/>
                  </a:lnTo>
                  <a:lnTo>
                    <a:pt x="460" y="117"/>
                  </a:lnTo>
                  <a:lnTo>
                    <a:pt x="460" y="115"/>
                  </a:lnTo>
                  <a:lnTo>
                    <a:pt x="464" y="115"/>
                  </a:lnTo>
                  <a:lnTo>
                    <a:pt x="462" y="115"/>
                  </a:lnTo>
                  <a:lnTo>
                    <a:pt x="460" y="117"/>
                  </a:lnTo>
                  <a:lnTo>
                    <a:pt x="460" y="119"/>
                  </a:lnTo>
                  <a:lnTo>
                    <a:pt x="459" y="121"/>
                  </a:lnTo>
                  <a:lnTo>
                    <a:pt x="457" y="121"/>
                  </a:lnTo>
                  <a:lnTo>
                    <a:pt x="455" y="119"/>
                  </a:lnTo>
                  <a:lnTo>
                    <a:pt x="455" y="117"/>
                  </a:lnTo>
                  <a:lnTo>
                    <a:pt x="453" y="115"/>
                  </a:lnTo>
                  <a:lnTo>
                    <a:pt x="455" y="114"/>
                  </a:lnTo>
                  <a:close/>
                  <a:moveTo>
                    <a:pt x="11" y="764"/>
                  </a:moveTo>
                  <a:lnTo>
                    <a:pt x="13" y="765"/>
                  </a:lnTo>
                  <a:lnTo>
                    <a:pt x="11" y="765"/>
                  </a:lnTo>
                  <a:lnTo>
                    <a:pt x="11" y="767"/>
                  </a:lnTo>
                  <a:lnTo>
                    <a:pt x="13" y="769"/>
                  </a:lnTo>
                  <a:lnTo>
                    <a:pt x="13" y="770"/>
                  </a:lnTo>
                  <a:lnTo>
                    <a:pt x="13" y="767"/>
                  </a:lnTo>
                  <a:lnTo>
                    <a:pt x="13" y="765"/>
                  </a:lnTo>
                  <a:lnTo>
                    <a:pt x="13" y="767"/>
                  </a:lnTo>
                  <a:lnTo>
                    <a:pt x="15" y="765"/>
                  </a:lnTo>
                  <a:lnTo>
                    <a:pt x="13" y="764"/>
                  </a:lnTo>
                  <a:lnTo>
                    <a:pt x="15" y="765"/>
                  </a:lnTo>
                  <a:lnTo>
                    <a:pt x="13" y="765"/>
                  </a:lnTo>
                  <a:lnTo>
                    <a:pt x="15" y="767"/>
                  </a:lnTo>
                  <a:lnTo>
                    <a:pt x="15" y="769"/>
                  </a:lnTo>
                  <a:lnTo>
                    <a:pt x="15" y="770"/>
                  </a:lnTo>
                  <a:lnTo>
                    <a:pt x="13" y="772"/>
                  </a:lnTo>
                  <a:lnTo>
                    <a:pt x="11" y="775"/>
                  </a:lnTo>
                  <a:lnTo>
                    <a:pt x="11" y="774"/>
                  </a:lnTo>
                  <a:lnTo>
                    <a:pt x="11" y="772"/>
                  </a:lnTo>
                  <a:lnTo>
                    <a:pt x="11" y="770"/>
                  </a:lnTo>
                  <a:lnTo>
                    <a:pt x="10" y="772"/>
                  </a:lnTo>
                  <a:lnTo>
                    <a:pt x="8" y="775"/>
                  </a:lnTo>
                  <a:lnTo>
                    <a:pt x="8" y="774"/>
                  </a:lnTo>
                  <a:lnTo>
                    <a:pt x="8" y="772"/>
                  </a:lnTo>
                  <a:lnTo>
                    <a:pt x="8" y="770"/>
                  </a:lnTo>
                  <a:lnTo>
                    <a:pt x="8" y="769"/>
                  </a:lnTo>
                  <a:lnTo>
                    <a:pt x="8" y="767"/>
                  </a:lnTo>
                  <a:lnTo>
                    <a:pt x="10" y="767"/>
                  </a:lnTo>
                  <a:lnTo>
                    <a:pt x="10" y="769"/>
                  </a:lnTo>
                  <a:lnTo>
                    <a:pt x="10" y="765"/>
                  </a:lnTo>
                  <a:lnTo>
                    <a:pt x="10" y="767"/>
                  </a:lnTo>
                  <a:lnTo>
                    <a:pt x="10" y="769"/>
                  </a:lnTo>
                  <a:lnTo>
                    <a:pt x="11" y="770"/>
                  </a:lnTo>
                  <a:lnTo>
                    <a:pt x="11" y="769"/>
                  </a:lnTo>
                  <a:lnTo>
                    <a:pt x="11" y="767"/>
                  </a:lnTo>
                  <a:lnTo>
                    <a:pt x="11" y="765"/>
                  </a:lnTo>
                  <a:lnTo>
                    <a:pt x="10" y="765"/>
                  </a:lnTo>
                  <a:lnTo>
                    <a:pt x="11" y="764"/>
                  </a:lnTo>
                  <a:close/>
                  <a:moveTo>
                    <a:pt x="404" y="114"/>
                  </a:moveTo>
                  <a:lnTo>
                    <a:pt x="404" y="115"/>
                  </a:lnTo>
                  <a:lnTo>
                    <a:pt x="406" y="115"/>
                  </a:lnTo>
                  <a:lnTo>
                    <a:pt x="406" y="119"/>
                  </a:lnTo>
                  <a:lnTo>
                    <a:pt x="406" y="117"/>
                  </a:lnTo>
                  <a:lnTo>
                    <a:pt x="408" y="114"/>
                  </a:lnTo>
                  <a:lnTo>
                    <a:pt x="408" y="115"/>
                  </a:lnTo>
                  <a:lnTo>
                    <a:pt x="411" y="117"/>
                  </a:lnTo>
                  <a:lnTo>
                    <a:pt x="409" y="119"/>
                  </a:lnTo>
                  <a:lnTo>
                    <a:pt x="406" y="119"/>
                  </a:lnTo>
                  <a:lnTo>
                    <a:pt x="406" y="121"/>
                  </a:lnTo>
                  <a:lnTo>
                    <a:pt x="406" y="122"/>
                  </a:lnTo>
                  <a:lnTo>
                    <a:pt x="404" y="122"/>
                  </a:lnTo>
                  <a:lnTo>
                    <a:pt x="404" y="124"/>
                  </a:lnTo>
                  <a:lnTo>
                    <a:pt x="402" y="122"/>
                  </a:lnTo>
                  <a:lnTo>
                    <a:pt x="404" y="121"/>
                  </a:lnTo>
                  <a:lnTo>
                    <a:pt x="402" y="121"/>
                  </a:lnTo>
                  <a:lnTo>
                    <a:pt x="402" y="117"/>
                  </a:lnTo>
                  <a:lnTo>
                    <a:pt x="404" y="117"/>
                  </a:lnTo>
                  <a:lnTo>
                    <a:pt x="404" y="114"/>
                  </a:lnTo>
                  <a:close/>
                  <a:moveTo>
                    <a:pt x="71" y="675"/>
                  </a:moveTo>
                  <a:lnTo>
                    <a:pt x="73" y="677"/>
                  </a:lnTo>
                  <a:lnTo>
                    <a:pt x="74" y="675"/>
                  </a:lnTo>
                  <a:lnTo>
                    <a:pt x="74" y="677"/>
                  </a:lnTo>
                  <a:lnTo>
                    <a:pt x="78" y="677"/>
                  </a:lnTo>
                  <a:lnTo>
                    <a:pt x="74" y="679"/>
                  </a:lnTo>
                  <a:lnTo>
                    <a:pt x="73" y="679"/>
                  </a:lnTo>
                  <a:lnTo>
                    <a:pt x="71" y="680"/>
                  </a:lnTo>
                  <a:lnTo>
                    <a:pt x="69" y="680"/>
                  </a:lnTo>
                  <a:lnTo>
                    <a:pt x="68" y="680"/>
                  </a:lnTo>
                  <a:lnTo>
                    <a:pt x="66" y="682"/>
                  </a:lnTo>
                  <a:lnTo>
                    <a:pt x="66" y="680"/>
                  </a:lnTo>
                  <a:lnTo>
                    <a:pt x="64" y="680"/>
                  </a:lnTo>
                  <a:lnTo>
                    <a:pt x="66" y="679"/>
                  </a:lnTo>
                  <a:lnTo>
                    <a:pt x="64" y="679"/>
                  </a:lnTo>
                  <a:lnTo>
                    <a:pt x="62" y="679"/>
                  </a:lnTo>
                  <a:lnTo>
                    <a:pt x="62" y="677"/>
                  </a:lnTo>
                  <a:lnTo>
                    <a:pt x="61" y="677"/>
                  </a:lnTo>
                  <a:lnTo>
                    <a:pt x="62" y="677"/>
                  </a:lnTo>
                  <a:lnTo>
                    <a:pt x="64" y="677"/>
                  </a:lnTo>
                  <a:lnTo>
                    <a:pt x="66" y="677"/>
                  </a:lnTo>
                  <a:lnTo>
                    <a:pt x="68" y="675"/>
                  </a:lnTo>
                  <a:lnTo>
                    <a:pt x="69" y="675"/>
                  </a:lnTo>
                  <a:lnTo>
                    <a:pt x="71" y="675"/>
                  </a:lnTo>
                  <a:close/>
                  <a:moveTo>
                    <a:pt x="455" y="122"/>
                  </a:moveTo>
                  <a:lnTo>
                    <a:pt x="455" y="124"/>
                  </a:lnTo>
                  <a:lnTo>
                    <a:pt x="455" y="126"/>
                  </a:lnTo>
                  <a:lnTo>
                    <a:pt x="457" y="129"/>
                  </a:lnTo>
                  <a:lnTo>
                    <a:pt x="455" y="131"/>
                  </a:lnTo>
                  <a:lnTo>
                    <a:pt x="453" y="132"/>
                  </a:lnTo>
                  <a:lnTo>
                    <a:pt x="452" y="131"/>
                  </a:lnTo>
                  <a:lnTo>
                    <a:pt x="452" y="129"/>
                  </a:lnTo>
                  <a:lnTo>
                    <a:pt x="452" y="127"/>
                  </a:lnTo>
                  <a:lnTo>
                    <a:pt x="452" y="126"/>
                  </a:lnTo>
                  <a:lnTo>
                    <a:pt x="452" y="124"/>
                  </a:lnTo>
                  <a:lnTo>
                    <a:pt x="453" y="124"/>
                  </a:lnTo>
                  <a:lnTo>
                    <a:pt x="455" y="122"/>
                  </a:lnTo>
                  <a:close/>
                  <a:moveTo>
                    <a:pt x="244" y="486"/>
                  </a:moveTo>
                  <a:lnTo>
                    <a:pt x="246" y="488"/>
                  </a:lnTo>
                  <a:lnTo>
                    <a:pt x="246" y="490"/>
                  </a:lnTo>
                  <a:lnTo>
                    <a:pt x="244" y="491"/>
                  </a:lnTo>
                  <a:lnTo>
                    <a:pt x="243" y="493"/>
                  </a:lnTo>
                  <a:lnTo>
                    <a:pt x="244" y="491"/>
                  </a:lnTo>
                  <a:lnTo>
                    <a:pt x="246" y="491"/>
                  </a:lnTo>
                  <a:lnTo>
                    <a:pt x="244" y="493"/>
                  </a:lnTo>
                  <a:lnTo>
                    <a:pt x="243" y="495"/>
                  </a:lnTo>
                  <a:lnTo>
                    <a:pt x="241" y="496"/>
                  </a:lnTo>
                  <a:lnTo>
                    <a:pt x="239" y="498"/>
                  </a:lnTo>
                  <a:lnTo>
                    <a:pt x="238" y="498"/>
                  </a:lnTo>
                  <a:lnTo>
                    <a:pt x="238" y="496"/>
                  </a:lnTo>
                  <a:lnTo>
                    <a:pt x="239" y="495"/>
                  </a:lnTo>
                  <a:lnTo>
                    <a:pt x="241" y="493"/>
                  </a:lnTo>
                  <a:lnTo>
                    <a:pt x="239" y="493"/>
                  </a:lnTo>
                  <a:lnTo>
                    <a:pt x="241" y="491"/>
                  </a:lnTo>
                  <a:lnTo>
                    <a:pt x="241" y="490"/>
                  </a:lnTo>
                  <a:lnTo>
                    <a:pt x="243" y="488"/>
                  </a:lnTo>
                  <a:lnTo>
                    <a:pt x="244" y="486"/>
                  </a:lnTo>
                  <a:close/>
                  <a:moveTo>
                    <a:pt x="8" y="796"/>
                  </a:moveTo>
                  <a:lnTo>
                    <a:pt x="10" y="798"/>
                  </a:lnTo>
                  <a:lnTo>
                    <a:pt x="11" y="798"/>
                  </a:lnTo>
                  <a:lnTo>
                    <a:pt x="11" y="799"/>
                  </a:lnTo>
                  <a:lnTo>
                    <a:pt x="10" y="798"/>
                  </a:lnTo>
                  <a:lnTo>
                    <a:pt x="11" y="798"/>
                  </a:lnTo>
                  <a:lnTo>
                    <a:pt x="13" y="799"/>
                  </a:lnTo>
                  <a:lnTo>
                    <a:pt x="13" y="801"/>
                  </a:lnTo>
                  <a:lnTo>
                    <a:pt x="15" y="803"/>
                  </a:lnTo>
                  <a:lnTo>
                    <a:pt x="17" y="804"/>
                  </a:lnTo>
                  <a:lnTo>
                    <a:pt x="15" y="801"/>
                  </a:lnTo>
                  <a:lnTo>
                    <a:pt x="17" y="804"/>
                  </a:lnTo>
                  <a:lnTo>
                    <a:pt x="18" y="806"/>
                  </a:lnTo>
                  <a:lnTo>
                    <a:pt x="18" y="808"/>
                  </a:lnTo>
                  <a:lnTo>
                    <a:pt x="20" y="809"/>
                  </a:lnTo>
                  <a:lnTo>
                    <a:pt x="18" y="809"/>
                  </a:lnTo>
                  <a:lnTo>
                    <a:pt x="17" y="806"/>
                  </a:lnTo>
                  <a:lnTo>
                    <a:pt x="15" y="806"/>
                  </a:lnTo>
                  <a:lnTo>
                    <a:pt x="15" y="804"/>
                  </a:lnTo>
                  <a:lnTo>
                    <a:pt x="13" y="804"/>
                  </a:lnTo>
                  <a:lnTo>
                    <a:pt x="11" y="804"/>
                  </a:lnTo>
                  <a:lnTo>
                    <a:pt x="11" y="803"/>
                  </a:lnTo>
                  <a:lnTo>
                    <a:pt x="10" y="803"/>
                  </a:lnTo>
                  <a:lnTo>
                    <a:pt x="10" y="801"/>
                  </a:lnTo>
                  <a:lnTo>
                    <a:pt x="8" y="799"/>
                  </a:lnTo>
                  <a:lnTo>
                    <a:pt x="10" y="801"/>
                  </a:lnTo>
                  <a:lnTo>
                    <a:pt x="10" y="799"/>
                  </a:lnTo>
                  <a:lnTo>
                    <a:pt x="8" y="798"/>
                  </a:lnTo>
                  <a:lnTo>
                    <a:pt x="10" y="799"/>
                  </a:lnTo>
                  <a:lnTo>
                    <a:pt x="10" y="798"/>
                  </a:lnTo>
                  <a:lnTo>
                    <a:pt x="8" y="798"/>
                  </a:lnTo>
                  <a:lnTo>
                    <a:pt x="8" y="796"/>
                  </a:lnTo>
                  <a:lnTo>
                    <a:pt x="10" y="798"/>
                  </a:lnTo>
                  <a:lnTo>
                    <a:pt x="10" y="796"/>
                  </a:lnTo>
                  <a:lnTo>
                    <a:pt x="8" y="796"/>
                  </a:lnTo>
                  <a:close/>
                  <a:moveTo>
                    <a:pt x="15" y="859"/>
                  </a:moveTo>
                  <a:lnTo>
                    <a:pt x="17" y="861"/>
                  </a:lnTo>
                  <a:lnTo>
                    <a:pt x="17" y="862"/>
                  </a:lnTo>
                  <a:lnTo>
                    <a:pt x="18" y="862"/>
                  </a:lnTo>
                  <a:lnTo>
                    <a:pt x="17" y="864"/>
                  </a:lnTo>
                  <a:lnTo>
                    <a:pt x="17" y="862"/>
                  </a:lnTo>
                  <a:lnTo>
                    <a:pt x="17" y="864"/>
                  </a:lnTo>
                  <a:lnTo>
                    <a:pt x="18" y="862"/>
                  </a:lnTo>
                  <a:lnTo>
                    <a:pt x="18" y="864"/>
                  </a:lnTo>
                  <a:lnTo>
                    <a:pt x="18" y="866"/>
                  </a:lnTo>
                  <a:lnTo>
                    <a:pt x="20" y="867"/>
                  </a:lnTo>
                  <a:lnTo>
                    <a:pt x="20" y="869"/>
                  </a:lnTo>
                  <a:lnTo>
                    <a:pt x="18" y="867"/>
                  </a:lnTo>
                  <a:lnTo>
                    <a:pt x="18" y="869"/>
                  </a:lnTo>
                  <a:lnTo>
                    <a:pt x="17" y="869"/>
                  </a:lnTo>
                  <a:lnTo>
                    <a:pt x="17" y="867"/>
                  </a:lnTo>
                  <a:lnTo>
                    <a:pt x="15" y="867"/>
                  </a:lnTo>
                  <a:lnTo>
                    <a:pt x="17" y="867"/>
                  </a:lnTo>
                  <a:lnTo>
                    <a:pt x="17" y="866"/>
                  </a:lnTo>
                  <a:lnTo>
                    <a:pt x="15" y="866"/>
                  </a:lnTo>
                  <a:lnTo>
                    <a:pt x="15" y="867"/>
                  </a:lnTo>
                  <a:lnTo>
                    <a:pt x="15" y="866"/>
                  </a:lnTo>
                  <a:lnTo>
                    <a:pt x="13" y="867"/>
                  </a:lnTo>
                  <a:lnTo>
                    <a:pt x="13" y="866"/>
                  </a:lnTo>
                  <a:lnTo>
                    <a:pt x="13" y="864"/>
                  </a:lnTo>
                  <a:lnTo>
                    <a:pt x="13" y="866"/>
                  </a:lnTo>
                  <a:lnTo>
                    <a:pt x="11" y="867"/>
                  </a:lnTo>
                  <a:lnTo>
                    <a:pt x="11" y="866"/>
                  </a:lnTo>
                  <a:lnTo>
                    <a:pt x="11" y="864"/>
                  </a:lnTo>
                  <a:lnTo>
                    <a:pt x="13" y="864"/>
                  </a:lnTo>
                  <a:lnTo>
                    <a:pt x="11" y="862"/>
                  </a:lnTo>
                  <a:lnTo>
                    <a:pt x="13" y="862"/>
                  </a:lnTo>
                  <a:lnTo>
                    <a:pt x="13" y="861"/>
                  </a:lnTo>
                  <a:lnTo>
                    <a:pt x="13" y="862"/>
                  </a:lnTo>
                  <a:lnTo>
                    <a:pt x="13" y="861"/>
                  </a:lnTo>
                  <a:lnTo>
                    <a:pt x="15" y="862"/>
                  </a:lnTo>
                  <a:lnTo>
                    <a:pt x="15" y="861"/>
                  </a:lnTo>
                  <a:lnTo>
                    <a:pt x="13" y="859"/>
                  </a:lnTo>
                  <a:lnTo>
                    <a:pt x="15" y="859"/>
                  </a:lnTo>
                  <a:close/>
                  <a:moveTo>
                    <a:pt x="219" y="502"/>
                  </a:moveTo>
                  <a:lnTo>
                    <a:pt x="217" y="503"/>
                  </a:lnTo>
                  <a:lnTo>
                    <a:pt x="217" y="502"/>
                  </a:lnTo>
                  <a:lnTo>
                    <a:pt x="217" y="503"/>
                  </a:lnTo>
                  <a:lnTo>
                    <a:pt x="215" y="503"/>
                  </a:lnTo>
                  <a:lnTo>
                    <a:pt x="217" y="503"/>
                  </a:lnTo>
                  <a:lnTo>
                    <a:pt x="217" y="505"/>
                  </a:lnTo>
                  <a:lnTo>
                    <a:pt x="214" y="505"/>
                  </a:lnTo>
                  <a:lnTo>
                    <a:pt x="214" y="507"/>
                  </a:lnTo>
                  <a:lnTo>
                    <a:pt x="214" y="505"/>
                  </a:lnTo>
                  <a:lnTo>
                    <a:pt x="212" y="508"/>
                  </a:lnTo>
                  <a:lnTo>
                    <a:pt x="210" y="510"/>
                  </a:lnTo>
                  <a:lnTo>
                    <a:pt x="209" y="510"/>
                  </a:lnTo>
                  <a:lnTo>
                    <a:pt x="207" y="510"/>
                  </a:lnTo>
                  <a:lnTo>
                    <a:pt x="209" y="508"/>
                  </a:lnTo>
                  <a:lnTo>
                    <a:pt x="207" y="510"/>
                  </a:lnTo>
                  <a:lnTo>
                    <a:pt x="209" y="508"/>
                  </a:lnTo>
                  <a:lnTo>
                    <a:pt x="210" y="507"/>
                  </a:lnTo>
                  <a:lnTo>
                    <a:pt x="209" y="508"/>
                  </a:lnTo>
                  <a:lnTo>
                    <a:pt x="209" y="507"/>
                  </a:lnTo>
                  <a:lnTo>
                    <a:pt x="207" y="508"/>
                  </a:lnTo>
                  <a:lnTo>
                    <a:pt x="209" y="508"/>
                  </a:lnTo>
                  <a:lnTo>
                    <a:pt x="207" y="507"/>
                  </a:lnTo>
                  <a:lnTo>
                    <a:pt x="209" y="507"/>
                  </a:lnTo>
                  <a:lnTo>
                    <a:pt x="207" y="507"/>
                  </a:lnTo>
                  <a:lnTo>
                    <a:pt x="209" y="505"/>
                  </a:lnTo>
                  <a:lnTo>
                    <a:pt x="210" y="505"/>
                  </a:lnTo>
                  <a:lnTo>
                    <a:pt x="209" y="507"/>
                  </a:lnTo>
                  <a:lnTo>
                    <a:pt x="210" y="505"/>
                  </a:lnTo>
                  <a:lnTo>
                    <a:pt x="212" y="505"/>
                  </a:lnTo>
                  <a:lnTo>
                    <a:pt x="210" y="505"/>
                  </a:lnTo>
                  <a:lnTo>
                    <a:pt x="210" y="507"/>
                  </a:lnTo>
                  <a:lnTo>
                    <a:pt x="210" y="505"/>
                  </a:lnTo>
                  <a:lnTo>
                    <a:pt x="212" y="503"/>
                  </a:lnTo>
                  <a:lnTo>
                    <a:pt x="214" y="503"/>
                  </a:lnTo>
                  <a:lnTo>
                    <a:pt x="217" y="502"/>
                  </a:lnTo>
                  <a:lnTo>
                    <a:pt x="219" y="502"/>
                  </a:lnTo>
                  <a:close/>
                  <a:moveTo>
                    <a:pt x="125" y="626"/>
                  </a:moveTo>
                  <a:lnTo>
                    <a:pt x="125" y="627"/>
                  </a:lnTo>
                  <a:lnTo>
                    <a:pt x="125" y="631"/>
                  </a:lnTo>
                  <a:lnTo>
                    <a:pt x="127" y="631"/>
                  </a:lnTo>
                  <a:lnTo>
                    <a:pt x="125" y="631"/>
                  </a:lnTo>
                  <a:lnTo>
                    <a:pt x="124" y="631"/>
                  </a:lnTo>
                  <a:lnTo>
                    <a:pt x="120" y="631"/>
                  </a:lnTo>
                  <a:lnTo>
                    <a:pt x="119" y="631"/>
                  </a:lnTo>
                  <a:lnTo>
                    <a:pt x="120" y="631"/>
                  </a:lnTo>
                  <a:lnTo>
                    <a:pt x="119" y="629"/>
                  </a:lnTo>
                  <a:lnTo>
                    <a:pt x="120" y="627"/>
                  </a:lnTo>
                  <a:lnTo>
                    <a:pt x="122" y="627"/>
                  </a:lnTo>
                  <a:lnTo>
                    <a:pt x="122" y="626"/>
                  </a:lnTo>
                  <a:lnTo>
                    <a:pt x="125" y="626"/>
                  </a:lnTo>
                  <a:close/>
                  <a:moveTo>
                    <a:pt x="324" y="279"/>
                  </a:moveTo>
                  <a:lnTo>
                    <a:pt x="324" y="280"/>
                  </a:lnTo>
                  <a:lnTo>
                    <a:pt x="328" y="282"/>
                  </a:lnTo>
                  <a:lnTo>
                    <a:pt x="329" y="282"/>
                  </a:lnTo>
                  <a:lnTo>
                    <a:pt x="328" y="284"/>
                  </a:lnTo>
                  <a:lnTo>
                    <a:pt x="326" y="284"/>
                  </a:lnTo>
                  <a:lnTo>
                    <a:pt x="324" y="284"/>
                  </a:lnTo>
                  <a:lnTo>
                    <a:pt x="323" y="284"/>
                  </a:lnTo>
                  <a:lnTo>
                    <a:pt x="321" y="284"/>
                  </a:lnTo>
                  <a:lnTo>
                    <a:pt x="319" y="286"/>
                  </a:lnTo>
                  <a:lnTo>
                    <a:pt x="321" y="284"/>
                  </a:lnTo>
                  <a:lnTo>
                    <a:pt x="321" y="280"/>
                  </a:lnTo>
                  <a:lnTo>
                    <a:pt x="323" y="280"/>
                  </a:lnTo>
                  <a:lnTo>
                    <a:pt x="323" y="279"/>
                  </a:lnTo>
                  <a:lnTo>
                    <a:pt x="324" y="279"/>
                  </a:lnTo>
                  <a:close/>
                  <a:moveTo>
                    <a:pt x="10" y="806"/>
                  </a:moveTo>
                  <a:lnTo>
                    <a:pt x="11" y="806"/>
                  </a:lnTo>
                  <a:lnTo>
                    <a:pt x="13" y="806"/>
                  </a:lnTo>
                  <a:lnTo>
                    <a:pt x="15" y="808"/>
                  </a:lnTo>
                  <a:lnTo>
                    <a:pt x="17" y="808"/>
                  </a:lnTo>
                  <a:lnTo>
                    <a:pt x="18" y="809"/>
                  </a:lnTo>
                  <a:lnTo>
                    <a:pt x="18" y="811"/>
                  </a:lnTo>
                  <a:lnTo>
                    <a:pt x="20" y="811"/>
                  </a:lnTo>
                  <a:lnTo>
                    <a:pt x="20" y="815"/>
                  </a:lnTo>
                  <a:lnTo>
                    <a:pt x="18" y="815"/>
                  </a:lnTo>
                  <a:lnTo>
                    <a:pt x="17" y="813"/>
                  </a:lnTo>
                  <a:lnTo>
                    <a:pt x="15" y="811"/>
                  </a:lnTo>
                  <a:lnTo>
                    <a:pt x="13" y="811"/>
                  </a:lnTo>
                  <a:lnTo>
                    <a:pt x="11" y="809"/>
                  </a:lnTo>
                  <a:lnTo>
                    <a:pt x="13" y="809"/>
                  </a:lnTo>
                  <a:lnTo>
                    <a:pt x="11" y="809"/>
                  </a:lnTo>
                  <a:lnTo>
                    <a:pt x="11" y="808"/>
                  </a:lnTo>
                  <a:lnTo>
                    <a:pt x="10" y="806"/>
                  </a:lnTo>
                  <a:close/>
                  <a:moveTo>
                    <a:pt x="10" y="809"/>
                  </a:moveTo>
                  <a:lnTo>
                    <a:pt x="11" y="811"/>
                  </a:lnTo>
                  <a:lnTo>
                    <a:pt x="11" y="813"/>
                  </a:lnTo>
                  <a:lnTo>
                    <a:pt x="13" y="813"/>
                  </a:lnTo>
                  <a:lnTo>
                    <a:pt x="13" y="811"/>
                  </a:lnTo>
                  <a:lnTo>
                    <a:pt x="13" y="813"/>
                  </a:lnTo>
                  <a:lnTo>
                    <a:pt x="15" y="813"/>
                  </a:lnTo>
                  <a:lnTo>
                    <a:pt x="17" y="815"/>
                  </a:lnTo>
                  <a:lnTo>
                    <a:pt x="18" y="815"/>
                  </a:lnTo>
                  <a:lnTo>
                    <a:pt x="20" y="818"/>
                  </a:lnTo>
                  <a:lnTo>
                    <a:pt x="18" y="818"/>
                  </a:lnTo>
                  <a:lnTo>
                    <a:pt x="20" y="820"/>
                  </a:lnTo>
                  <a:lnTo>
                    <a:pt x="18" y="821"/>
                  </a:lnTo>
                  <a:lnTo>
                    <a:pt x="17" y="821"/>
                  </a:lnTo>
                  <a:lnTo>
                    <a:pt x="15" y="820"/>
                  </a:lnTo>
                  <a:lnTo>
                    <a:pt x="17" y="820"/>
                  </a:lnTo>
                  <a:lnTo>
                    <a:pt x="17" y="818"/>
                  </a:lnTo>
                  <a:lnTo>
                    <a:pt x="15" y="818"/>
                  </a:lnTo>
                  <a:lnTo>
                    <a:pt x="15" y="816"/>
                  </a:lnTo>
                  <a:lnTo>
                    <a:pt x="13" y="818"/>
                  </a:lnTo>
                  <a:lnTo>
                    <a:pt x="15" y="816"/>
                  </a:lnTo>
                  <a:lnTo>
                    <a:pt x="13" y="816"/>
                  </a:lnTo>
                  <a:lnTo>
                    <a:pt x="13" y="815"/>
                  </a:lnTo>
                  <a:lnTo>
                    <a:pt x="15" y="816"/>
                  </a:lnTo>
                  <a:lnTo>
                    <a:pt x="15" y="815"/>
                  </a:lnTo>
                  <a:lnTo>
                    <a:pt x="15" y="813"/>
                  </a:lnTo>
                  <a:lnTo>
                    <a:pt x="13" y="815"/>
                  </a:lnTo>
                  <a:lnTo>
                    <a:pt x="13" y="813"/>
                  </a:lnTo>
                  <a:lnTo>
                    <a:pt x="11" y="815"/>
                  </a:lnTo>
                  <a:lnTo>
                    <a:pt x="11" y="813"/>
                  </a:lnTo>
                  <a:lnTo>
                    <a:pt x="11" y="811"/>
                  </a:lnTo>
                  <a:lnTo>
                    <a:pt x="10" y="809"/>
                  </a:lnTo>
                  <a:close/>
                  <a:moveTo>
                    <a:pt x="340" y="274"/>
                  </a:moveTo>
                  <a:lnTo>
                    <a:pt x="341" y="275"/>
                  </a:lnTo>
                  <a:lnTo>
                    <a:pt x="345" y="275"/>
                  </a:lnTo>
                  <a:lnTo>
                    <a:pt x="346" y="277"/>
                  </a:lnTo>
                  <a:lnTo>
                    <a:pt x="345" y="279"/>
                  </a:lnTo>
                  <a:lnTo>
                    <a:pt x="341" y="277"/>
                  </a:lnTo>
                  <a:lnTo>
                    <a:pt x="341" y="275"/>
                  </a:lnTo>
                  <a:lnTo>
                    <a:pt x="340" y="277"/>
                  </a:lnTo>
                  <a:lnTo>
                    <a:pt x="341" y="277"/>
                  </a:lnTo>
                  <a:lnTo>
                    <a:pt x="340" y="277"/>
                  </a:lnTo>
                  <a:lnTo>
                    <a:pt x="338" y="279"/>
                  </a:lnTo>
                  <a:lnTo>
                    <a:pt x="336" y="277"/>
                  </a:lnTo>
                  <a:lnTo>
                    <a:pt x="336" y="279"/>
                  </a:lnTo>
                  <a:lnTo>
                    <a:pt x="334" y="277"/>
                  </a:lnTo>
                  <a:lnTo>
                    <a:pt x="334" y="275"/>
                  </a:lnTo>
                  <a:lnTo>
                    <a:pt x="338" y="275"/>
                  </a:lnTo>
                  <a:lnTo>
                    <a:pt x="340" y="275"/>
                  </a:lnTo>
                  <a:lnTo>
                    <a:pt x="340" y="274"/>
                  </a:lnTo>
                  <a:close/>
                  <a:moveTo>
                    <a:pt x="85" y="658"/>
                  </a:moveTo>
                  <a:lnTo>
                    <a:pt x="85" y="661"/>
                  </a:lnTo>
                  <a:lnTo>
                    <a:pt x="83" y="661"/>
                  </a:lnTo>
                  <a:lnTo>
                    <a:pt x="81" y="663"/>
                  </a:lnTo>
                  <a:lnTo>
                    <a:pt x="79" y="663"/>
                  </a:lnTo>
                  <a:lnTo>
                    <a:pt x="76" y="665"/>
                  </a:lnTo>
                  <a:lnTo>
                    <a:pt x="76" y="663"/>
                  </a:lnTo>
                  <a:lnTo>
                    <a:pt x="78" y="661"/>
                  </a:lnTo>
                  <a:lnTo>
                    <a:pt x="76" y="660"/>
                  </a:lnTo>
                  <a:lnTo>
                    <a:pt x="78" y="660"/>
                  </a:lnTo>
                  <a:lnTo>
                    <a:pt x="76" y="660"/>
                  </a:lnTo>
                  <a:lnTo>
                    <a:pt x="79" y="660"/>
                  </a:lnTo>
                  <a:lnTo>
                    <a:pt x="78" y="661"/>
                  </a:lnTo>
                  <a:lnTo>
                    <a:pt x="79" y="660"/>
                  </a:lnTo>
                  <a:lnTo>
                    <a:pt x="81" y="660"/>
                  </a:lnTo>
                  <a:lnTo>
                    <a:pt x="81" y="658"/>
                  </a:lnTo>
                  <a:lnTo>
                    <a:pt x="85" y="658"/>
                  </a:lnTo>
                  <a:close/>
                  <a:moveTo>
                    <a:pt x="382" y="192"/>
                  </a:moveTo>
                  <a:lnTo>
                    <a:pt x="382" y="194"/>
                  </a:lnTo>
                  <a:lnTo>
                    <a:pt x="382" y="197"/>
                  </a:lnTo>
                  <a:lnTo>
                    <a:pt x="380" y="197"/>
                  </a:lnTo>
                  <a:lnTo>
                    <a:pt x="380" y="199"/>
                  </a:lnTo>
                  <a:lnTo>
                    <a:pt x="379" y="201"/>
                  </a:lnTo>
                  <a:lnTo>
                    <a:pt x="377" y="201"/>
                  </a:lnTo>
                  <a:lnTo>
                    <a:pt x="377" y="197"/>
                  </a:lnTo>
                  <a:lnTo>
                    <a:pt x="379" y="194"/>
                  </a:lnTo>
                  <a:lnTo>
                    <a:pt x="380" y="194"/>
                  </a:lnTo>
                  <a:lnTo>
                    <a:pt x="382" y="192"/>
                  </a:lnTo>
                  <a:close/>
                  <a:moveTo>
                    <a:pt x="117" y="634"/>
                  </a:moveTo>
                  <a:lnTo>
                    <a:pt x="117" y="638"/>
                  </a:lnTo>
                  <a:lnTo>
                    <a:pt x="115" y="638"/>
                  </a:lnTo>
                  <a:lnTo>
                    <a:pt x="115" y="639"/>
                  </a:lnTo>
                  <a:lnTo>
                    <a:pt x="113" y="639"/>
                  </a:lnTo>
                  <a:lnTo>
                    <a:pt x="112" y="639"/>
                  </a:lnTo>
                  <a:lnTo>
                    <a:pt x="110" y="639"/>
                  </a:lnTo>
                  <a:lnTo>
                    <a:pt x="110" y="638"/>
                  </a:lnTo>
                  <a:lnTo>
                    <a:pt x="112" y="638"/>
                  </a:lnTo>
                  <a:lnTo>
                    <a:pt x="112" y="636"/>
                  </a:lnTo>
                  <a:lnTo>
                    <a:pt x="113" y="636"/>
                  </a:lnTo>
                  <a:lnTo>
                    <a:pt x="113" y="634"/>
                  </a:lnTo>
                  <a:lnTo>
                    <a:pt x="115" y="634"/>
                  </a:lnTo>
                  <a:lnTo>
                    <a:pt x="117" y="634"/>
                  </a:lnTo>
                  <a:close/>
                  <a:moveTo>
                    <a:pt x="139" y="614"/>
                  </a:moveTo>
                  <a:lnTo>
                    <a:pt x="142" y="616"/>
                  </a:lnTo>
                  <a:lnTo>
                    <a:pt x="142" y="617"/>
                  </a:lnTo>
                  <a:lnTo>
                    <a:pt x="144" y="619"/>
                  </a:lnTo>
                  <a:lnTo>
                    <a:pt x="142" y="619"/>
                  </a:lnTo>
                  <a:lnTo>
                    <a:pt x="139" y="621"/>
                  </a:lnTo>
                  <a:lnTo>
                    <a:pt x="139" y="617"/>
                  </a:lnTo>
                  <a:lnTo>
                    <a:pt x="137" y="617"/>
                  </a:lnTo>
                  <a:lnTo>
                    <a:pt x="139" y="619"/>
                  </a:lnTo>
                  <a:lnTo>
                    <a:pt x="136" y="619"/>
                  </a:lnTo>
                  <a:lnTo>
                    <a:pt x="136" y="617"/>
                  </a:lnTo>
                  <a:lnTo>
                    <a:pt x="137" y="617"/>
                  </a:lnTo>
                  <a:lnTo>
                    <a:pt x="137" y="616"/>
                  </a:lnTo>
                  <a:lnTo>
                    <a:pt x="139" y="614"/>
                  </a:lnTo>
                  <a:close/>
                  <a:moveTo>
                    <a:pt x="229" y="503"/>
                  </a:moveTo>
                  <a:lnTo>
                    <a:pt x="229" y="505"/>
                  </a:lnTo>
                  <a:lnTo>
                    <a:pt x="231" y="505"/>
                  </a:lnTo>
                  <a:lnTo>
                    <a:pt x="231" y="507"/>
                  </a:lnTo>
                  <a:lnTo>
                    <a:pt x="232" y="507"/>
                  </a:lnTo>
                  <a:lnTo>
                    <a:pt x="232" y="508"/>
                  </a:lnTo>
                  <a:lnTo>
                    <a:pt x="231" y="508"/>
                  </a:lnTo>
                  <a:lnTo>
                    <a:pt x="227" y="508"/>
                  </a:lnTo>
                  <a:lnTo>
                    <a:pt x="224" y="510"/>
                  </a:lnTo>
                  <a:lnTo>
                    <a:pt x="224" y="508"/>
                  </a:lnTo>
                  <a:lnTo>
                    <a:pt x="226" y="507"/>
                  </a:lnTo>
                  <a:lnTo>
                    <a:pt x="227" y="505"/>
                  </a:lnTo>
                  <a:lnTo>
                    <a:pt x="229" y="503"/>
                  </a:lnTo>
                  <a:close/>
                  <a:moveTo>
                    <a:pt x="17" y="867"/>
                  </a:moveTo>
                  <a:lnTo>
                    <a:pt x="17" y="871"/>
                  </a:lnTo>
                  <a:lnTo>
                    <a:pt x="15" y="872"/>
                  </a:lnTo>
                  <a:lnTo>
                    <a:pt x="13" y="874"/>
                  </a:lnTo>
                  <a:lnTo>
                    <a:pt x="15" y="874"/>
                  </a:lnTo>
                  <a:lnTo>
                    <a:pt x="15" y="872"/>
                  </a:lnTo>
                  <a:lnTo>
                    <a:pt x="15" y="874"/>
                  </a:lnTo>
                  <a:lnTo>
                    <a:pt x="15" y="876"/>
                  </a:lnTo>
                  <a:lnTo>
                    <a:pt x="15" y="878"/>
                  </a:lnTo>
                  <a:lnTo>
                    <a:pt x="13" y="879"/>
                  </a:lnTo>
                  <a:lnTo>
                    <a:pt x="13" y="878"/>
                  </a:lnTo>
                  <a:lnTo>
                    <a:pt x="13" y="876"/>
                  </a:lnTo>
                  <a:lnTo>
                    <a:pt x="13" y="874"/>
                  </a:lnTo>
                  <a:lnTo>
                    <a:pt x="13" y="872"/>
                  </a:lnTo>
                  <a:lnTo>
                    <a:pt x="13" y="871"/>
                  </a:lnTo>
                  <a:lnTo>
                    <a:pt x="13" y="869"/>
                  </a:lnTo>
                  <a:lnTo>
                    <a:pt x="15" y="869"/>
                  </a:lnTo>
                  <a:lnTo>
                    <a:pt x="15" y="867"/>
                  </a:lnTo>
                  <a:lnTo>
                    <a:pt x="15" y="869"/>
                  </a:lnTo>
                  <a:lnTo>
                    <a:pt x="17" y="867"/>
                  </a:lnTo>
                  <a:close/>
                  <a:moveTo>
                    <a:pt x="239" y="490"/>
                  </a:moveTo>
                  <a:lnTo>
                    <a:pt x="239" y="491"/>
                  </a:lnTo>
                  <a:lnTo>
                    <a:pt x="238" y="493"/>
                  </a:lnTo>
                  <a:lnTo>
                    <a:pt x="234" y="495"/>
                  </a:lnTo>
                  <a:lnTo>
                    <a:pt x="232" y="496"/>
                  </a:lnTo>
                  <a:lnTo>
                    <a:pt x="231" y="496"/>
                  </a:lnTo>
                  <a:lnTo>
                    <a:pt x="231" y="495"/>
                  </a:lnTo>
                  <a:lnTo>
                    <a:pt x="231" y="493"/>
                  </a:lnTo>
                  <a:lnTo>
                    <a:pt x="232" y="493"/>
                  </a:lnTo>
                  <a:lnTo>
                    <a:pt x="232" y="491"/>
                  </a:lnTo>
                  <a:lnTo>
                    <a:pt x="234" y="491"/>
                  </a:lnTo>
                  <a:lnTo>
                    <a:pt x="236" y="491"/>
                  </a:lnTo>
                  <a:lnTo>
                    <a:pt x="238" y="491"/>
                  </a:lnTo>
                  <a:lnTo>
                    <a:pt x="239" y="490"/>
                  </a:lnTo>
                  <a:close/>
                  <a:moveTo>
                    <a:pt x="18" y="706"/>
                  </a:moveTo>
                  <a:lnTo>
                    <a:pt x="20" y="706"/>
                  </a:lnTo>
                  <a:lnTo>
                    <a:pt x="22" y="707"/>
                  </a:lnTo>
                  <a:lnTo>
                    <a:pt x="23" y="706"/>
                  </a:lnTo>
                  <a:lnTo>
                    <a:pt x="23" y="709"/>
                  </a:lnTo>
                  <a:lnTo>
                    <a:pt x="23" y="711"/>
                  </a:lnTo>
                  <a:lnTo>
                    <a:pt x="22" y="714"/>
                  </a:lnTo>
                  <a:lnTo>
                    <a:pt x="18" y="713"/>
                  </a:lnTo>
                  <a:lnTo>
                    <a:pt x="20" y="711"/>
                  </a:lnTo>
                  <a:lnTo>
                    <a:pt x="20" y="713"/>
                  </a:lnTo>
                  <a:lnTo>
                    <a:pt x="20" y="711"/>
                  </a:lnTo>
                  <a:lnTo>
                    <a:pt x="18" y="709"/>
                  </a:lnTo>
                  <a:lnTo>
                    <a:pt x="18" y="706"/>
                  </a:lnTo>
                  <a:close/>
                  <a:moveTo>
                    <a:pt x="226" y="522"/>
                  </a:moveTo>
                  <a:lnTo>
                    <a:pt x="224" y="522"/>
                  </a:lnTo>
                  <a:lnTo>
                    <a:pt x="226" y="522"/>
                  </a:lnTo>
                  <a:lnTo>
                    <a:pt x="226" y="524"/>
                  </a:lnTo>
                  <a:lnTo>
                    <a:pt x="226" y="527"/>
                  </a:lnTo>
                  <a:lnTo>
                    <a:pt x="226" y="529"/>
                  </a:lnTo>
                  <a:lnTo>
                    <a:pt x="224" y="527"/>
                  </a:lnTo>
                  <a:lnTo>
                    <a:pt x="224" y="525"/>
                  </a:lnTo>
                  <a:lnTo>
                    <a:pt x="221" y="525"/>
                  </a:lnTo>
                  <a:lnTo>
                    <a:pt x="222" y="524"/>
                  </a:lnTo>
                  <a:lnTo>
                    <a:pt x="221" y="524"/>
                  </a:lnTo>
                  <a:lnTo>
                    <a:pt x="222" y="522"/>
                  </a:lnTo>
                  <a:lnTo>
                    <a:pt x="224" y="522"/>
                  </a:lnTo>
                  <a:lnTo>
                    <a:pt x="226" y="522"/>
                  </a:lnTo>
                  <a:close/>
                  <a:moveTo>
                    <a:pt x="474" y="83"/>
                  </a:moveTo>
                  <a:lnTo>
                    <a:pt x="476" y="85"/>
                  </a:lnTo>
                  <a:lnTo>
                    <a:pt x="477" y="87"/>
                  </a:lnTo>
                  <a:lnTo>
                    <a:pt x="477" y="90"/>
                  </a:lnTo>
                  <a:lnTo>
                    <a:pt x="477" y="92"/>
                  </a:lnTo>
                  <a:lnTo>
                    <a:pt x="476" y="93"/>
                  </a:lnTo>
                  <a:lnTo>
                    <a:pt x="476" y="92"/>
                  </a:lnTo>
                  <a:lnTo>
                    <a:pt x="474" y="90"/>
                  </a:lnTo>
                  <a:lnTo>
                    <a:pt x="474" y="87"/>
                  </a:lnTo>
                  <a:lnTo>
                    <a:pt x="474" y="85"/>
                  </a:lnTo>
                  <a:lnTo>
                    <a:pt x="474" y="83"/>
                  </a:lnTo>
                  <a:close/>
                  <a:moveTo>
                    <a:pt x="419" y="109"/>
                  </a:moveTo>
                  <a:lnTo>
                    <a:pt x="421" y="110"/>
                  </a:lnTo>
                  <a:lnTo>
                    <a:pt x="425" y="112"/>
                  </a:lnTo>
                  <a:lnTo>
                    <a:pt x="425" y="114"/>
                  </a:lnTo>
                  <a:lnTo>
                    <a:pt x="423" y="114"/>
                  </a:lnTo>
                  <a:lnTo>
                    <a:pt x="419" y="112"/>
                  </a:lnTo>
                  <a:lnTo>
                    <a:pt x="418" y="112"/>
                  </a:lnTo>
                  <a:lnTo>
                    <a:pt x="419" y="109"/>
                  </a:lnTo>
                  <a:close/>
                  <a:moveTo>
                    <a:pt x="61" y="679"/>
                  </a:moveTo>
                  <a:lnTo>
                    <a:pt x="61" y="680"/>
                  </a:lnTo>
                  <a:lnTo>
                    <a:pt x="62" y="680"/>
                  </a:lnTo>
                  <a:lnTo>
                    <a:pt x="66" y="680"/>
                  </a:lnTo>
                  <a:lnTo>
                    <a:pt x="64" y="682"/>
                  </a:lnTo>
                  <a:lnTo>
                    <a:pt x="64" y="680"/>
                  </a:lnTo>
                  <a:lnTo>
                    <a:pt x="64" y="682"/>
                  </a:lnTo>
                  <a:lnTo>
                    <a:pt x="61" y="682"/>
                  </a:lnTo>
                  <a:lnTo>
                    <a:pt x="59" y="682"/>
                  </a:lnTo>
                  <a:lnTo>
                    <a:pt x="57" y="682"/>
                  </a:lnTo>
                  <a:lnTo>
                    <a:pt x="56" y="680"/>
                  </a:lnTo>
                  <a:lnTo>
                    <a:pt x="56" y="679"/>
                  </a:lnTo>
                  <a:lnTo>
                    <a:pt x="57" y="679"/>
                  </a:lnTo>
                  <a:lnTo>
                    <a:pt x="59" y="679"/>
                  </a:lnTo>
                  <a:lnTo>
                    <a:pt x="61" y="679"/>
                  </a:lnTo>
                  <a:close/>
                  <a:moveTo>
                    <a:pt x="297" y="255"/>
                  </a:moveTo>
                  <a:lnTo>
                    <a:pt x="297" y="257"/>
                  </a:lnTo>
                  <a:lnTo>
                    <a:pt x="299" y="257"/>
                  </a:lnTo>
                  <a:lnTo>
                    <a:pt x="300" y="258"/>
                  </a:lnTo>
                  <a:lnTo>
                    <a:pt x="299" y="260"/>
                  </a:lnTo>
                  <a:lnTo>
                    <a:pt x="299" y="262"/>
                  </a:lnTo>
                  <a:lnTo>
                    <a:pt x="295" y="258"/>
                  </a:lnTo>
                  <a:lnTo>
                    <a:pt x="297" y="258"/>
                  </a:lnTo>
                  <a:lnTo>
                    <a:pt x="297" y="257"/>
                  </a:lnTo>
                  <a:lnTo>
                    <a:pt x="295" y="258"/>
                  </a:lnTo>
                  <a:lnTo>
                    <a:pt x="294" y="257"/>
                  </a:lnTo>
                  <a:lnTo>
                    <a:pt x="295" y="257"/>
                  </a:lnTo>
                  <a:lnTo>
                    <a:pt x="295" y="255"/>
                  </a:lnTo>
                  <a:lnTo>
                    <a:pt x="297" y="255"/>
                  </a:lnTo>
                  <a:close/>
                  <a:moveTo>
                    <a:pt x="266" y="405"/>
                  </a:moveTo>
                  <a:lnTo>
                    <a:pt x="268" y="406"/>
                  </a:lnTo>
                  <a:lnTo>
                    <a:pt x="268" y="408"/>
                  </a:lnTo>
                  <a:lnTo>
                    <a:pt x="268" y="410"/>
                  </a:lnTo>
                  <a:lnTo>
                    <a:pt x="266" y="411"/>
                  </a:lnTo>
                  <a:lnTo>
                    <a:pt x="268" y="410"/>
                  </a:lnTo>
                  <a:lnTo>
                    <a:pt x="265" y="411"/>
                  </a:lnTo>
                  <a:lnTo>
                    <a:pt x="265" y="410"/>
                  </a:lnTo>
                  <a:lnTo>
                    <a:pt x="265" y="408"/>
                  </a:lnTo>
                  <a:lnTo>
                    <a:pt x="263" y="408"/>
                  </a:lnTo>
                  <a:lnTo>
                    <a:pt x="265" y="406"/>
                  </a:lnTo>
                  <a:lnTo>
                    <a:pt x="266" y="405"/>
                  </a:lnTo>
                  <a:close/>
                  <a:moveTo>
                    <a:pt x="537" y="17"/>
                  </a:moveTo>
                  <a:lnTo>
                    <a:pt x="538" y="18"/>
                  </a:lnTo>
                  <a:lnTo>
                    <a:pt x="540" y="17"/>
                  </a:lnTo>
                  <a:lnTo>
                    <a:pt x="540" y="18"/>
                  </a:lnTo>
                  <a:lnTo>
                    <a:pt x="540" y="20"/>
                  </a:lnTo>
                  <a:lnTo>
                    <a:pt x="538" y="20"/>
                  </a:lnTo>
                  <a:lnTo>
                    <a:pt x="540" y="22"/>
                  </a:lnTo>
                  <a:lnTo>
                    <a:pt x="540" y="24"/>
                  </a:lnTo>
                  <a:lnTo>
                    <a:pt x="538" y="24"/>
                  </a:lnTo>
                  <a:lnTo>
                    <a:pt x="537" y="22"/>
                  </a:lnTo>
                  <a:lnTo>
                    <a:pt x="535" y="22"/>
                  </a:lnTo>
                  <a:lnTo>
                    <a:pt x="537" y="18"/>
                  </a:lnTo>
                  <a:lnTo>
                    <a:pt x="538" y="20"/>
                  </a:lnTo>
                  <a:lnTo>
                    <a:pt x="538" y="18"/>
                  </a:lnTo>
                  <a:lnTo>
                    <a:pt x="537" y="18"/>
                  </a:lnTo>
                  <a:lnTo>
                    <a:pt x="537" y="17"/>
                  </a:lnTo>
                  <a:close/>
                  <a:moveTo>
                    <a:pt x="42" y="901"/>
                  </a:moveTo>
                  <a:lnTo>
                    <a:pt x="45" y="903"/>
                  </a:lnTo>
                  <a:lnTo>
                    <a:pt x="44" y="905"/>
                  </a:lnTo>
                  <a:lnTo>
                    <a:pt x="42" y="905"/>
                  </a:lnTo>
                  <a:lnTo>
                    <a:pt x="40" y="906"/>
                  </a:lnTo>
                  <a:lnTo>
                    <a:pt x="39" y="905"/>
                  </a:lnTo>
                  <a:lnTo>
                    <a:pt x="39" y="901"/>
                  </a:lnTo>
                  <a:lnTo>
                    <a:pt x="40" y="901"/>
                  </a:lnTo>
                  <a:lnTo>
                    <a:pt x="42" y="901"/>
                  </a:lnTo>
                  <a:close/>
                  <a:moveTo>
                    <a:pt x="455" y="104"/>
                  </a:moveTo>
                  <a:lnTo>
                    <a:pt x="457" y="107"/>
                  </a:lnTo>
                  <a:lnTo>
                    <a:pt x="459" y="109"/>
                  </a:lnTo>
                  <a:lnTo>
                    <a:pt x="457" y="110"/>
                  </a:lnTo>
                  <a:lnTo>
                    <a:pt x="455" y="109"/>
                  </a:lnTo>
                  <a:lnTo>
                    <a:pt x="455" y="107"/>
                  </a:lnTo>
                  <a:lnTo>
                    <a:pt x="455" y="105"/>
                  </a:lnTo>
                  <a:lnTo>
                    <a:pt x="455" y="104"/>
                  </a:lnTo>
                  <a:close/>
                  <a:moveTo>
                    <a:pt x="86" y="651"/>
                  </a:moveTo>
                  <a:lnTo>
                    <a:pt x="86" y="653"/>
                  </a:lnTo>
                  <a:lnTo>
                    <a:pt x="83" y="653"/>
                  </a:lnTo>
                  <a:lnTo>
                    <a:pt x="85" y="655"/>
                  </a:lnTo>
                  <a:lnTo>
                    <a:pt x="85" y="656"/>
                  </a:lnTo>
                  <a:lnTo>
                    <a:pt x="83" y="656"/>
                  </a:lnTo>
                  <a:lnTo>
                    <a:pt x="83" y="655"/>
                  </a:lnTo>
                  <a:lnTo>
                    <a:pt x="81" y="655"/>
                  </a:lnTo>
                  <a:lnTo>
                    <a:pt x="79" y="655"/>
                  </a:lnTo>
                  <a:lnTo>
                    <a:pt x="81" y="653"/>
                  </a:lnTo>
                  <a:lnTo>
                    <a:pt x="79" y="653"/>
                  </a:lnTo>
                  <a:lnTo>
                    <a:pt x="81" y="653"/>
                  </a:lnTo>
                  <a:lnTo>
                    <a:pt x="81" y="651"/>
                  </a:lnTo>
                  <a:lnTo>
                    <a:pt x="83" y="651"/>
                  </a:lnTo>
                  <a:lnTo>
                    <a:pt x="83" y="653"/>
                  </a:lnTo>
                  <a:lnTo>
                    <a:pt x="86" y="651"/>
                  </a:lnTo>
                  <a:close/>
                  <a:moveTo>
                    <a:pt x="17" y="840"/>
                  </a:moveTo>
                  <a:lnTo>
                    <a:pt x="18" y="842"/>
                  </a:lnTo>
                  <a:lnTo>
                    <a:pt x="18" y="844"/>
                  </a:lnTo>
                  <a:lnTo>
                    <a:pt x="18" y="845"/>
                  </a:lnTo>
                  <a:lnTo>
                    <a:pt x="18" y="844"/>
                  </a:lnTo>
                  <a:lnTo>
                    <a:pt x="20" y="845"/>
                  </a:lnTo>
                  <a:lnTo>
                    <a:pt x="20" y="849"/>
                  </a:lnTo>
                  <a:lnTo>
                    <a:pt x="18" y="849"/>
                  </a:lnTo>
                  <a:lnTo>
                    <a:pt x="18" y="850"/>
                  </a:lnTo>
                  <a:lnTo>
                    <a:pt x="18" y="849"/>
                  </a:lnTo>
                  <a:lnTo>
                    <a:pt x="17" y="849"/>
                  </a:lnTo>
                  <a:lnTo>
                    <a:pt x="15" y="847"/>
                  </a:lnTo>
                  <a:lnTo>
                    <a:pt x="17" y="845"/>
                  </a:lnTo>
                  <a:lnTo>
                    <a:pt x="15" y="845"/>
                  </a:lnTo>
                  <a:lnTo>
                    <a:pt x="17" y="844"/>
                  </a:lnTo>
                  <a:lnTo>
                    <a:pt x="17" y="847"/>
                  </a:lnTo>
                  <a:lnTo>
                    <a:pt x="18" y="847"/>
                  </a:lnTo>
                  <a:lnTo>
                    <a:pt x="18" y="845"/>
                  </a:lnTo>
                  <a:lnTo>
                    <a:pt x="17" y="845"/>
                  </a:lnTo>
                  <a:lnTo>
                    <a:pt x="18" y="845"/>
                  </a:lnTo>
                  <a:lnTo>
                    <a:pt x="17" y="844"/>
                  </a:lnTo>
                  <a:lnTo>
                    <a:pt x="17" y="842"/>
                  </a:lnTo>
                  <a:lnTo>
                    <a:pt x="17" y="840"/>
                  </a:lnTo>
                  <a:close/>
                  <a:moveTo>
                    <a:pt x="317" y="257"/>
                  </a:moveTo>
                  <a:lnTo>
                    <a:pt x="319" y="258"/>
                  </a:lnTo>
                  <a:lnTo>
                    <a:pt x="316" y="258"/>
                  </a:lnTo>
                  <a:lnTo>
                    <a:pt x="317" y="258"/>
                  </a:lnTo>
                  <a:lnTo>
                    <a:pt x="317" y="260"/>
                  </a:lnTo>
                  <a:lnTo>
                    <a:pt x="316" y="262"/>
                  </a:lnTo>
                  <a:lnTo>
                    <a:pt x="314" y="260"/>
                  </a:lnTo>
                  <a:lnTo>
                    <a:pt x="314" y="258"/>
                  </a:lnTo>
                  <a:lnTo>
                    <a:pt x="316" y="257"/>
                  </a:lnTo>
                  <a:lnTo>
                    <a:pt x="317" y="257"/>
                  </a:lnTo>
                  <a:close/>
                  <a:moveTo>
                    <a:pt x="45" y="840"/>
                  </a:moveTo>
                  <a:lnTo>
                    <a:pt x="47" y="840"/>
                  </a:lnTo>
                  <a:lnTo>
                    <a:pt x="47" y="842"/>
                  </a:lnTo>
                  <a:lnTo>
                    <a:pt x="45" y="844"/>
                  </a:lnTo>
                  <a:lnTo>
                    <a:pt x="44" y="845"/>
                  </a:lnTo>
                  <a:lnTo>
                    <a:pt x="44" y="847"/>
                  </a:lnTo>
                  <a:lnTo>
                    <a:pt x="44" y="845"/>
                  </a:lnTo>
                  <a:lnTo>
                    <a:pt x="42" y="845"/>
                  </a:lnTo>
                  <a:lnTo>
                    <a:pt x="42" y="844"/>
                  </a:lnTo>
                  <a:lnTo>
                    <a:pt x="42" y="842"/>
                  </a:lnTo>
                  <a:lnTo>
                    <a:pt x="44" y="840"/>
                  </a:lnTo>
                  <a:lnTo>
                    <a:pt x="45" y="840"/>
                  </a:lnTo>
                  <a:close/>
                  <a:moveTo>
                    <a:pt x="314" y="211"/>
                  </a:moveTo>
                  <a:lnTo>
                    <a:pt x="316" y="211"/>
                  </a:lnTo>
                  <a:lnTo>
                    <a:pt x="316" y="214"/>
                  </a:lnTo>
                  <a:lnTo>
                    <a:pt x="314" y="214"/>
                  </a:lnTo>
                  <a:lnTo>
                    <a:pt x="312" y="214"/>
                  </a:lnTo>
                  <a:lnTo>
                    <a:pt x="312" y="212"/>
                  </a:lnTo>
                  <a:lnTo>
                    <a:pt x="312" y="211"/>
                  </a:lnTo>
                  <a:lnTo>
                    <a:pt x="314" y="211"/>
                  </a:lnTo>
                  <a:close/>
                  <a:moveTo>
                    <a:pt x="227" y="525"/>
                  </a:moveTo>
                  <a:lnTo>
                    <a:pt x="227" y="527"/>
                  </a:lnTo>
                  <a:lnTo>
                    <a:pt x="227" y="525"/>
                  </a:lnTo>
                  <a:lnTo>
                    <a:pt x="229" y="529"/>
                  </a:lnTo>
                  <a:lnTo>
                    <a:pt x="231" y="529"/>
                  </a:lnTo>
                  <a:lnTo>
                    <a:pt x="229" y="531"/>
                  </a:lnTo>
                  <a:lnTo>
                    <a:pt x="231" y="531"/>
                  </a:lnTo>
                  <a:lnTo>
                    <a:pt x="229" y="532"/>
                  </a:lnTo>
                  <a:lnTo>
                    <a:pt x="227" y="531"/>
                  </a:lnTo>
                  <a:lnTo>
                    <a:pt x="226" y="531"/>
                  </a:lnTo>
                  <a:lnTo>
                    <a:pt x="227" y="529"/>
                  </a:lnTo>
                  <a:lnTo>
                    <a:pt x="227" y="525"/>
                  </a:lnTo>
                  <a:close/>
                  <a:moveTo>
                    <a:pt x="198" y="906"/>
                  </a:moveTo>
                  <a:lnTo>
                    <a:pt x="200" y="908"/>
                  </a:lnTo>
                  <a:lnTo>
                    <a:pt x="200" y="910"/>
                  </a:lnTo>
                  <a:lnTo>
                    <a:pt x="202" y="910"/>
                  </a:lnTo>
                  <a:lnTo>
                    <a:pt x="202" y="912"/>
                  </a:lnTo>
                  <a:lnTo>
                    <a:pt x="200" y="913"/>
                  </a:lnTo>
                  <a:lnTo>
                    <a:pt x="198" y="913"/>
                  </a:lnTo>
                  <a:lnTo>
                    <a:pt x="198" y="915"/>
                  </a:lnTo>
                  <a:lnTo>
                    <a:pt x="198" y="913"/>
                  </a:lnTo>
                  <a:lnTo>
                    <a:pt x="198" y="912"/>
                  </a:lnTo>
                  <a:lnTo>
                    <a:pt x="198" y="910"/>
                  </a:lnTo>
                  <a:lnTo>
                    <a:pt x="198" y="906"/>
                  </a:lnTo>
                  <a:close/>
                  <a:moveTo>
                    <a:pt x="275" y="405"/>
                  </a:moveTo>
                  <a:lnTo>
                    <a:pt x="277" y="405"/>
                  </a:lnTo>
                  <a:lnTo>
                    <a:pt x="275" y="406"/>
                  </a:lnTo>
                  <a:lnTo>
                    <a:pt x="275" y="408"/>
                  </a:lnTo>
                  <a:lnTo>
                    <a:pt x="273" y="408"/>
                  </a:lnTo>
                  <a:lnTo>
                    <a:pt x="272" y="410"/>
                  </a:lnTo>
                  <a:lnTo>
                    <a:pt x="270" y="410"/>
                  </a:lnTo>
                  <a:lnTo>
                    <a:pt x="272" y="408"/>
                  </a:lnTo>
                  <a:lnTo>
                    <a:pt x="272" y="406"/>
                  </a:lnTo>
                  <a:lnTo>
                    <a:pt x="275" y="405"/>
                  </a:lnTo>
                  <a:close/>
                  <a:moveTo>
                    <a:pt x="129" y="626"/>
                  </a:moveTo>
                  <a:lnTo>
                    <a:pt x="129" y="627"/>
                  </a:lnTo>
                  <a:lnTo>
                    <a:pt x="130" y="629"/>
                  </a:lnTo>
                  <a:lnTo>
                    <a:pt x="130" y="631"/>
                  </a:lnTo>
                  <a:lnTo>
                    <a:pt x="129" y="631"/>
                  </a:lnTo>
                  <a:lnTo>
                    <a:pt x="127" y="631"/>
                  </a:lnTo>
                  <a:lnTo>
                    <a:pt x="127" y="627"/>
                  </a:lnTo>
                  <a:lnTo>
                    <a:pt x="125" y="627"/>
                  </a:lnTo>
                  <a:lnTo>
                    <a:pt x="129" y="626"/>
                  </a:lnTo>
                  <a:close/>
                  <a:moveTo>
                    <a:pt x="307" y="320"/>
                  </a:moveTo>
                  <a:lnTo>
                    <a:pt x="307" y="321"/>
                  </a:lnTo>
                  <a:lnTo>
                    <a:pt x="307" y="323"/>
                  </a:lnTo>
                  <a:lnTo>
                    <a:pt x="306" y="325"/>
                  </a:lnTo>
                  <a:lnTo>
                    <a:pt x="304" y="325"/>
                  </a:lnTo>
                  <a:lnTo>
                    <a:pt x="302" y="325"/>
                  </a:lnTo>
                  <a:lnTo>
                    <a:pt x="304" y="323"/>
                  </a:lnTo>
                  <a:lnTo>
                    <a:pt x="304" y="321"/>
                  </a:lnTo>
                  <a:lnTo>
                    <a:pt x="306" y="321"/>
                  </a:lnTo>
                  <a:lnTo>
                    <a:pt x="307" y="320"/>
                  </a:lnTo>
                  <a:close/>
                  <a:moveTo>
                    <a:pt x="13" y="752"/>
                  </a:moveTo>
                  <a:lnTo>
                    <a:pt x="15" y="753"/>
                  </a:lnTo>
                  <a:lnTo>
                    <a:pt x="17" y="752"/>
                  </a:lnTo>
                  <a:lnTo>
                    <a:pt x="17" y="753"/>
                  </a:lnTo>
                  <a:lnTo>
                    <a:pt x="17" y="755"/>
                  </a:lnTo>
                  <a:lnTo>
                    <a:pt x="15" y="755"/>
                  </a:lnTo>
                  <a:lnTo>
                    <a:pt x="15" y="757"/>
                  </a:lnTo>
                  <a:lnTo>
                    <a:pt x="13" y="755"/>
                  </a:lnTo>
                  <a:lnTo>
                    <a:pt x="13" y="757"/>
                  </a:lnTo>
                  <a:lnTo>
                    <a:pt x="13" y="755"/>
                  </a:lnTo>
                  <a:lnTo>
                    <a:pt x="11" y="755"/>
                  </a:lnTo>
                  <a:lnTo>
                    <a:pt x="11" y="753"/>
                  </a:lnTo>
                  <a:lnTo>
                    <a:pt x="13" y="752"/>
                  </a:lnTo>
                  <a:lnTo>
                    <a:pt x="11" y="752"/>
                  </a:lnTo>
                  <a:lnTo>
                    <a:pt x="13" y="752"/>
                  </a:lnTo>
                  <a:close/>
                  <a:moveTo>
                    <a:pt x="27" y="912"/>
                  </a:moveTo>
                  <a:lnTo>
                    <a:pt x="28" y="912"/>
                  </a:lnTo>
                  <a:lnTo>
                    <a:pt x="27" y="912"/>
                  </a:lnTo>
                  <a:lnTo>
                    <a:pt x="30" y="913"/>
                  </a:lnTo>
                  <a:lnTo>
                    <a:pt x="30" y="912"/>
                  </a:lnTo>
                  <a:lnTo>
                    <a:pt x="32" y="913"/>
                  </a:lnTo>
                  <a:lnTo>
                    <a:pt x="32" y="915"/>
                  </a:lnTo>
                  <a:lnTo>
                    <a:pt x="30" y="917"/>
                  </a:lnTo>
                  <a:lnTo>
                    <a:pt x="30" y="913"/>
                  </a:lnTo>
                  <a:lnTo>
                    <a:pt x="28" y="913"/>
                  </a:lnTo>
                  <a:lnTo>
                    <a:pt x="27" y="913"/>
                  </a:lnTo>
                  <a:lnTo>
                    <a:pt x="27" y="912"/>
                  </a:lnTo>
                  <a:lnTo>
                    <a:pt x="25" y="913"/>
                  </a:lnTo>
                  <a:lnTo>
                    <a:pt x="27" y="912"/>
                  </a:lnTo>
                  <a:close/>
                  <a:moveTo>
                    <a:pt x="314" y="335"/>
                  </a:moveTo>
                  <a:lnTo>
                    <a:pt x="311" y="337"/>
                  </a:lnTo>
                  <a:lnTo>
                    <a:pt x="309" y="337"/>
                  </a:lnTo>
                  <a:lnTo>
                    <a:pt x="307" y="338"/>
                  </a:lnTo>
                  <a:lnTo>
                    <a:pt x="307" y="337"/>
                  </a:lnTo>
                  <a:lnTo>
                    <a:pt x="309" y="335"/>
                  </a:lnTo>
                  <a:lnTo>
                    <a:pt x="311" y="335"/>
                  </a:lnTo>
                  <a:lnTo>
                    <a:pt x="314" y="335"/>
                  </a:lnTo>
                  <a:close/>
                  <a:moveTo>
                    <a:pt x="34" y="864"/>
                  </a:moveTo>
                  <a:lnTo>
                    <a:pt x="34" y="866"/>
                  </a:lnTo>
                  <a:lnTo>
                    <a:pt x="35" y="866"/>
                  </a:lnTo>
                  <a:lnTo>
                    <a:pt x="37" y="867"/>
                  </a:lnTo>
                  <a:lnTo>
                    <a:pt x="37" y="869"/>
                  </a:lnTo>
                  <a:lnTo>
                    <a:pt x="35" y="867"/>
                  </a:lnTo>
                  <a:lnTo>
                    <a:pt x="34" y="871"/>
                  </a:lnTo>
                  <a:lnTo>
                    <a:pt x="34" y="867"/>
                  </a:lnTo>
                  <a:lnTo>
                    <a:pt x="34" y="866"/>
                  </a:lnTo>
                  <a:lnTo>
                    <a:pt x="32" y="866"/>
                  </a:lnTo>
                  <a:lnTo>
                    <a:pt x="30" y="864"/>
                  </a:lnTo>
                  <a:lnTo>
                    <a:pt x="32" y="864"/>
                  </a:lnTo>
                  <a:lnTo>
                    <a:pt x="32" y="866"/>
                  </a:lnTo>
                  <a:lnTo>
                    <a:pt x="34" y="864"/>
                  </a:lnTo>
                  <a:close/>
                  <a:moveTo>
                    <a:pt x="22" y="844"/>
                  </a:moveTo>
                  <a:lnTo>
                    <a:pt x="23" y="845"/>
                  </a:lnTo>
                  <a:lnTo>
                    <a:pt x="23" y="847"/>
                  </a:lnTo>
                  <a:lnTo>
                    <a:pt x="25" y="847"/>
                  </a:lnTo>
                  <a:lnTo>
                    <a:pt x="23" y="847"/>
                  </a:lnTo>
                  <a:lnTo>
                    <a:pt x="25" y="849"/>
                  </a:lnTo>
                  <a:lnTo>
                    <a:pt x="23" y="850"/>
                  </a:lnTo>
                  <a:lnTo>
                    <a:pt x="23" y="849"/>
                  </a:lnTo>
                  <a:lnTo>
                    <a:pt x="22" y="849"/>
                  </a:lnTo>
                  <a:lnTo>
                    <a:pt x="22" y="850"/>
                  </a:lnTo>
                  <a:lnTo>
                    <a:pt x="20" y="849"/>
                  </a:lnTo>
                  <a:lnTo>
                    <a:pt x="22" y="847"/>
                  </a:lnTo>
                  <a:lnTo>
                    <a:pt x="22" y="844"/>
                  </a:lnTo>
                  <a:close/>
                  <a:moveTo>
                    <a:pt x="328" y="275"/>
                  </a:moveTo>
                  <a:lnTo>
                    <a:pt x="328" y="277"/>
                  </a:lnTo>
                  <a:lnTo>
                    <a:pt x="328" y="279"/>
                  </a:lnTo>
                  <a:lnTo>
                    <a:pt x="329" y="279"/>
                  </a:lnTo>
                  <a:lnTo>
                    <a:pt x="329" y="280"/>
                  </a:lnTo>
                  <a:lnTo>
                    <a:pt x="326" y="280"/>
                  </a:lnTo>
                  <a:lnTo>
                    <a:pt x="326" y="279"/>
                  </a:lnTo>
                  <a:lnTo>
                    <a:pt x="328" y="275"/>
                  </a:lnTo>
                  <a:close/>
                  <a:moveTo>
                    <a:pt x="3" y="772"/>
                  </a:moveTo>
                  <a:lnTo>
                    <a:pt x="5" y="774"/>
                  </a:lnTo>
                  <a:lnTo>
                    <a:pt x="3" y="774"/>
                  </a:lnTo>
                  <a:lnTo>
                    <a:pt x="5" y="775"/>
                  </a:lnTo>
                  <a:lnTo>
                    <a:pt x="5" y="779"/>
                  </a:lnTo>
                  <a:lnTo>
                    <a:pt x="3" y="779"/>
                  </a:lnTo>
                  <a:lnTo>
                    <a:pt x="5" y="775"/>
                  </a:lnTo>
                  <a:lnTo>
                    <a:pt x="3" y="775"/>
                  </a:lnTo>
                  <a:lnTo>
                    <a:pt x="3" y="779"/>
                  </a:lnTo>
                  <a:lnTo>
                    <a:pt x="3" y="777"/>
                  </a:lnTo>
                  <a:lnTo>
                    <a:pt x="1" y="775"/>
                  </a:lnTo>
                  <a:lnTo>
                    <a:pt x="3" y="775"/>
                  </a:lnTo>
                  <a:lnTo>
                    <a:pt x="1" y="774"/>
                  </a:lnTo>
                  <a:lnTo>
                    <a:pt x="3" y="774"/>
                  </a:lnTo>
                  <a:lnTo>
                    <a:pt x="1" y="774"/>
                  </a:lnTo>
                  <a:lnTo>
                    <a:pt x="3" y="774"/>
                  </a:lnTo>
                  <a:lnTo>
                    <a:pt x="3" y="772"/>
                  </a:lnTo>
                  <a:close/>
                  <a:moveTo>
                    <a:pt x="414" y="143"/>
                  </a:moveTo>
                  <a:lnTo>
                    <a:pt x="414" y="144"/>
                  </a:lnTo>
                  <a:lnTo>
                    <a:pt x="414" y="146"/>
                  </a:lnTo>
                  <a:lnTo>
                    <a:pt x="414" y="148"/>
                  </a:lnTo>
                  <a:lnTo>
                    <a:pt x="413" y="149"/>
                  </a:lnTo>
                  <a:lnTo>
                    <a:pt x="413" y="146"/>
                  </a:lnTo>
                  <a:lnTo>
                    <a:pt x="411" y="146"/>
                  </a:lnTo>
                  <a:lnTo>
                    <a:pt x="413" y="144"/>
                  </a:lnTo>
                  <a:lnTo>
                    <a:pt x="414" y="143"/>
                  </a:lnTo>
                  <a:close/>
                  <a:moveTo>
                    <a:pt x="13" y="782"/>
                  </a:moveTo>
                  <a:lnTo>
                    <a:pt x="13" y="786"/>
                  </a:lnTo>
                  <a:lnTo>
                    <a:pt x="13" y="787"/>
                  </a:lnTo>
                  <a:lnTo>
                    <a:pt x="15" y="789"/>
                  </a:lnTo>
                  <a:lnTo>
                    <a:pt x="13" y="789"/>
                  </a:lnTo>
                  <a:lnTo>
                    <a:pt x="11" y="789"/>
                  </a:lnTo>
                  <a:lnTo>
                    <a:pt x="11" y="787"/>
                  </a:lnTo>
                  <a:lnTo>
                    <a:pt x="11" y="786"/>
                  </a:lnTo>
                  <a:lnTo>
                    <a:pt x="11" y="782"/>
                  </a:lnTo>
                  <a:lnTo>
                    <a:pt x="13" y="782"/>
                  </a:lnTo>
                  <a:close/>
                  <a:moveTo>
                    <a:pt x="79" y="988"/>
                  </a:moveTo>
                  <a:lnTo>
                    <a:pt x="78" y="990"/>
                  </a:lnTo>
                  <a:lnTo>
                    <a:pt x="79" y="990"/>
                  </a:lnTo>
                  <a:lnTo>
                    <a:pt x="78" y="992"/>
                  </a:lnTo>
                  <a:lnTo>
                    <a:pt x="79" y="992"/>
                  </a:lnTo>
                  <a:lnTo>
                    <a:pt x="78" y="992"/>
                  </a:lnTo>
                  <a:lnTo>
                    <a:pt x="78" y="993"/>
                  </a:lnTo>
                  <a:lnTo>
                    <a:pt x="76" y="995"/>
                  </a:lnTo>
                  <a:lnTo>
                    <a:pt x="74" y="995"/>
                  </a:lnTo>
                  <a:lnTo>
                    <a:pt x="74" y="993"/>
                  </a:lnTo>
                  <a:lnTo>
                    <a:pt x="74" y="992"/>
                  </a:lnTo>
                  <a:lnTo>
                    <a:pt x="76" y="990"/>
                  </a:lnTo>
                  <a:lnTo>
                    <a:pt x="79" y="988"/>
                  </a:lnTo>
                  <a:close/>
                  <a:moveTo>
                    <a:pt x="224" y="585"/>
                  </a:moveTo>
                  <a:lnTo>
                    <a:pt x="222" y="587"/>
                  </a:lnTo>
                  <a:lnTo>
                    <a:pt x="221" y="585"/>
                  </a:lnTo>
                  <a:lnTo>
                    <a:pt x="221" y="587"/>
                  </a:lnTo>
                  <a:lnTo>
                    <a:pt x="217" y="588"/>
                  </a:lnTo>
                  <a:lnTo>
                    <a:pt x="217" y="590"/>
                  </a:lnTo>
                  <a:lnTo>
                    <a:pt x="215" y="590"/>
                  </a:lnTo>
                  <a:lnTo>
                    <a:pt x="217" y="588"/>
                  </a:lnTo>
                  <a:lnTo>
                    <a:pt x="217" y="585"/>
                  </a:lnTo>
                  <a:lnTo>
                    <a:pt x="219" y="587"/>
                  </a:lnTo>
                  <a:lnTo>
                    <a:pt x="221" y="585"/>
                  </a:lnTo>
                  <a:lnTo>
                    <a:pt x="222" y="585"/>
                  </a:lnTo>
                  <a:lnTo>
                    <a:pt x="224" y="585"/>
                  </a:lnTo>
                  <a:close/>
                  <a:moveTo>
                    <a:pt x="438" y="95"/>
                  </a:moveTo>
                  <a:lnTo>
                    <a:pt x="440" y="98"/>
                  </a:lnTo>
                  <a:lnTo>
                    <a:pt x="442" y="98"/>
                  </a:lnTo>
                  <a:lnTo>
                    <a:pt x="442" y="100"/>
                  </a:lnTo>
                  <a:lnTo>
                    <a:pt x="440" y="102"/>
                  </a:lnTo>
                  <a:lnTo>
                    <a:pt x="438" y="102"/>
                  </a:lnTo>
                  <a:lnTo>
                    <a:pt x="438" y="98"/>
                  </a:lnTo>
                  <a:lnTo>
                    <a:pt x="438" y="97"/>
                  </a:lnTo>
                  <a:lnTo>
                    <a:pt x="438" y="95"/>
                  </a:lnTo>
                  <a:close/>
                  <a:moveTo>
                    <a:pt x="18" y="903"/>
                  </a:moveTo>
                  <a:lnTo>
                    <a:pt x="22" y="905"/>
                  </a:lnTo>
                  <a:lnTo>
                    <a:pt x="22" y="906"/>
                  </a:lnTo>
                  <a:lnTo>
                    <a:pt x="20" y="910"/>
                  </a:lnTo>
                  <a:lnTo>
                    <a:pt x="20" y="908"/>
                  </a:lnTo>
                  <a:lnTo>
                    <a:pt x="18" y="906"/>
                  </a:lnTo>
                  <a:lnTo>
                    <a:pt x="18" y="905"/>
                  </a:lnTo>
                  <a:lnTo>
                    <a:pt x="18" y="903"/>
                  </a:lnTo>
                  <a:close/>
                  <a:moveTo>
                    <a:pt x="280" y="369"/>
                  </a:moveTo>
                  <a:lnTo>
                    <a:pt x="282" y="369"/>
                  </a:lnTo>
                  <a:lnTo>
                    <a:pt x="283" y="369"/>
                  </a:lnTo>
                  <a:lnTo>
                    <a:pt x="283" y="371"/>
                  </a:lnTo>
                  <a:lnTo>
                    <a:pt x="282" y="371"/>
                  </a:lnTo>
                  <a:lnTo>
                    <a:pt x="278" y="371"/>
                  </a:lnTo>
                  <a:lnTo>
                    <a:pt x="278" y="372"/>
                  </a:lnTo>
                  <a:lnTo>
                    <a:pt x="278" y="371"/>
                  </a:lnTo>
                  <a:lnTo>
                    <a:pt x="278" y="372"/>
                  </a:lnTo>
                  <a:lnTo>
                    <a:pt x="278" y="371"/>
                  </a:lnTo>
                  <a:lnTo>
                    <a:pt x="280" y="369"/>
                  </a:lnTo>
                  <a:close/>
                  <a:moveTo>
                    <a:pt x="156" y="595"/>
                  </a:moveTo>
                  <a:lnTo>
                    <a:pt x="158" y="595"/>
                  </a:lnTo>
                  <a:lnTo>
                    <a:pt x="156" y="597"/>
                  </a:lnTo>
                  <a:lnTo>
                    <a:pt x="158" y="597"/>
                  </a:lnTo>
                  <a:lnTo>
                    <a:pt x="158" y="595"/>
                  </a:lnTo>
                  <a:lnTo>
                    <a:pt x="158" y="597"/>
                  </a:lnTo>
                  <a:lnTo>
                    <a:pt x="159" y="597"/>
                  </a:lnTo>
                  <a:lnTo>
                    <a:pt x="158" y="597"/>
                  </a:lnTo>
                  <a:lnTo>
                    <a:pt x="156" y="599"/>
                  </a:lnTo>
                  <a:lnTo>
                    <a:pt x="154" y="599"/>
                  </a:lnTo>
                  <a:lnTo>
                    <a:pt x="154" y="597"/>
                  </a:lnTo>
                  <a:lnTo>
                    <a:pt x="154" y="595"/>
                  </a:lnTo>
                  <a:lnTo>
                    <a:pt x="156" y="595"/>
                  </a:lnTo>
                  <a:close/>
                  <a:moveTo>
                    <a:pt x="355" y="269"/>
                  </a:moveTo>
                  <a:lnTo>
                    <a:pt x="357" y="270"/>
                  </a:lnTo>
                  <a:lnTo>
                    <a:pt x="357" y="272"/>
                  </a:lnTo>
                  <a:lnTo>
                    <a:pt x="355" y="272"/>
                  </a:lnTo>
                  <a:lnTo>
                    <a:pt x="353" y="272"/>
                  </a:lnTo>
                  <a:lnTo>
                    <a:pt x="353" y="270"/>
                  </a:lnTo>
                  <a:lnTo>
                    <a:pt x="355" y="269"/>
                  </a:lnTo>
                  <a:close/>
                  <a:moveTo>
                    <a:pt x="477" y="109"/>
                  </a:moveTo>
                  <a:lnTo>
                    <a:pt x="477" y="110"/>
                  </a:lnTo>
                  <a:lnTo>
                    <a:pt x="479" y="112"/>
                  </a:lnTo>
                  <a:lnTo>
                    <a:pt x="479" y="114"/>
                  </a:lnTo>
                  <a:lnTo>
                    <a:pt x="477" y="112"/>
                  </a:lnTo>
                  <a:lnTo>
                    <a:pt x="476" y="112"/>
                  </a:lnTo>
                  <a:lnTo>
                    <a:pt x="476" y="110"/>
                  </a:lnTo>
                  <a:lnTo>
                    <a:pt x="477" y="109"/>
                  </a:lnTo>
                  <a:close/>
                  <a:moveTo>
                    <a:pt x="222" y="918"/>
                  </a:moveTo>
                  <a:lnTo>
                    <a:pt x="222" y="920"/>
                  </a:lnTo>
                  <a:lnTo>
                    <a:pt x="224" y="920"/>
                  </a:lnTo>
                  <a:lnTo>
                    <a:pt x="222" y="922"/>
                  </a:lnTo>
                  <a:lnTo>
                    <a:pt x="222" y="923"/>
                  </a:lnTo>
                  <a:lnTo>
                    <a:pt x="221" y="923"/>
                  </a:lnTo>
                  <a:lnTo>
                    <a:pt x="221" y="922"/>
                  </a:lnTo>
                  <a:lnTo>
                    <a:pt x="221" y="920"/>
                  </a:lnTo>
                  <a:lnTo>
                    <a:pt x="222" y="918"/>
                  </a:lnTo>
                  <a:close/>
                  <a:moveTo>
                    <a:pt x="268" y="393"/>
                  </a:moveTo>
                  <a:lnTo>
                    <a:pt x="268" y="394"/>
                  </a:lnTo>
                  <a:lnTo>
                    <a:pt x="268" y="396"/>
                  </a:lnTo>
                  <a:lnTo>
                    <a:pt x="268" y="398"/>
                  </a:lnTo>
                  <a:lnTo>
                    <a:pt x="268" y="400"/>
                  </a:lnTo>
                  <a:lnTo>
                    <a:pt x="266" y="400"/>
                  </a:lnTo>
                  <a:lnTo>
                    <a:pt x="266" y="398"/>
                  </a:lnTo>
                  <a:lnTo>
                    <a:pt x="268" y="398"/>
                  </a:lnTo>
                  <a:lnTo>
                    <a:pt x="266" y="396"/>
                  </a:lnTo>
                  <a:lnTo>
                    <a:pt x="266" y="394"/>
                  </a:lnTo>
                  <a:lnTo>
                    <a:pt x="268" y="393"/>
                  </a:lnTo>
                  <a:close/>
                  <a:moveTo>
                    <a:pt x="273" y="394"/>
                  </a:moveTo>
                  <a:lnTo>
                    <a:pt x="275" y="396"/>
                  </a:lnTo>
                  <a:lnTo>
                    <a:pt x="273" y="398"/>
                  </a:lnTo>
                  <a:lnTo>
                    <a:pt x="272" y="400"/>
                  </a:lnTo>
                  <a:lnTo>
                    <a:pt x="272" y="396"/>
                  </a:lnTo>
                  <a:lnTo>
                    <a:pt x="273" y="394"/>
                  </a:lnTo>
                  <a:close/>
                  <a:moveTo>
                    <a:pt x="283" y="364"/>
                  </a:moveTo>
                  <a:lnTo>
                    <a:pt x="287" y="366"/>
                  </a:lnTo>
                  <a:lnTo>
                    <a:pt x="285" y="366"/>
                  </a:lnTo>
                  <a:lnTo>
                    <a:pt x="283" y="366"/>
                  </a:lnTo>
                  <a:lnTo>
                    <a:pt x="282" y="367"/>
                  </a:lnTo>
                  <a:lnTo>
                    <a:pt x="282" y="366"/>
                  </a:lnTo>
                  <a:lnTo>
                    <a:pt x="280" y="367"/>
                  </a:lnTo>
                  <a:lnTo>
                    <a:pt x="280" y="366"/>
                  </a:lnTo>
                  <a:lnTo>
                    <a:pt x="282" y="366"/>
                  </a:lnTo>
                  <a:lnTo>
                    <a:pt x="282" y="364"/>
                  </a:lnTo>
                  <a:lnTo>
                    <a:pt x="283" y="364"/>
                  </a:lnTo>
                  <a:close/>
                  <a:moveTo>
                    <a:pt x="521" y="22"/>
                  </a:moveTo>
                  <a:lnTo>
                    <a:pt x="523" y="24"/>
                  </a:lnTo>
                  <a:lnTo>
                    <a:pt x="523" y="22"/>
                  </a:lnTo>
                  <a:lnTo>
                    <a:pt x="523" y="25"/>
                  </a:lnTo>
                  <a:lnTo>
                    <a:pt x="520" y="25"/>
                  </a:lnTo>
                  <a:lnTo>
                    <a:pt x="520" y="24"/>
                  </a:lnTo>
                  <a:lnTo>
                    <a:pt x="521" y="25"/>
                  </a:lnTo>
                  <a:lnTo>
                    <a:pt x="521" y="24"/>
                  </a:lnTo>
                  <a:lnTo>
                    <a:pt x="521" y="22"/>
                  </a:lnTo>
                  <a:close/>
                  <a:moveTo>
                    <a:pt x="10" y="791"/>
                  </a:moveTo>
                  <a:lnTo>
                    <a:pt x="10" y="792"/>
                  </a:lnTo>
                  <a:lnTo>
                    <a:pt x="11" y="794"/>
                  </a:lnTo>
                  <a:lnTo>
                    <a:pt x="11" y="796"/>
                  </a:lnTo>
                  <a:lnTo>
                    <a:pt x="11" y="798"/>
                  </a:lnTo>
                  <a:lnTo>
                    <a:pt x="10" y="796"/>
                  </a:lnTo>
                  <a:lnTo>
                    <a:pt x="8" y="796"/>
                  </a:lnTo>
                  <a:lnTo>
                    <a:pt x="10" y="794"/>
                  </a:lnTo>
                  <a:lnTo>
                    <a:pt x="8" y="794"/>
                  </a:lnTo>
                  <a:lnTo>
                    <a:pt x="8" y="792"/>
                  </a:lnTo>
                  <a:lnTo>
                    <a:pt x="10" y="794"/>
                  </a:lnTo>
                  <a:lnTo>
                    <a:pt x="10" y="792"/>
                  </a:lnTo>
                  <a:lnTo>
                    <a:pt x="10" y="791"/>
                  </a:lnTo>
                  <a:close/>
                  <a:moveTo>
                    <a:pt x="146" y="959"/>
                  </a:moveTo>
                  <a:lnTo>
                    <a:pt x="144" y="961"/>
                  </a:lnTo>
                  <a:lnTo>
                    <a:pt x="144" y="963"/>
                  </a:lnTo>
                  <a:lnTo>
                    <a:pt x="142" y="963"/>
                  </a:lnTo>
                  <a:lnTo>
                    <a:pt x="144" y="963"/>
                  </a:lnTo>
                  <a:lnTo>
                    <a:pt x="144" y="964"/>
                  </a:lnTo>
                  <a:lnTo>
                    <a:pt x="142" y="966"/>
                  </a:lnTo>
                  <a:lnTo>
                    <a:pt x="142" y="964"/>
                  </a:lnTo>
                  <a:lnTo>
                    <a:pt x="141" y="964"/>
                  </a:lnTo>
                  <a:lnTo>
                    <a:pt x="141" y="963"/>
                  </a:lnTo>
                  <a:lnTo>
                    <a:pt x="142" y="963"/>
                  </a:lnTo>
                  <a:lnTo>
                    <a:pt x="142" y="961"/>
                  </a:lnTo>
                  <a:lnTo>
                    <a:pt x="146" y="959"/>
                  </a:lnTo>
                  <a:close/>
                  <a:moveTo>
                    <a:pt x="401" y="134"/>
                  </a:moveTo>
                  <a:lnTo>
                    <a:pt x="402" y="134"/>
                  </a:lnTo>
                  <a:lnTo>
                    <a:pt x="402" y="136"/>
                  </a:lnTo>
                  <a:lnTo>
                    <a:pt x="399" y="138"/>
                  </a:lnTo>
                  <a:lnTo>
                    <a:pt x="399" y="136"/>
                  </a:lnTo>
                  <a:lnTo>
                    <a:pt x="401" y="134"/>
                  </a:lnTo>
                  <a:close/>
                  <a:moveTo>
                    <a:pt x="249" y="464"/>
                  </a:moveTo>
                  <a:lnTo>
                    <a:pt x="249" y="466"/>
                  </a:lnTo>
                  <a:lnTo>
                    <a:pt x="249" y="464"/>
                  </a:lnTo>
                  <a:lnTo>
                    <a:pt x="249" y="466"/>
                  </a:lnTo>
                  <a:lnTo>
                    <a:pt x="251" y="464"/>
                  </a:lnTo>
                  <a:lnTo>
                    <a:pt x="249" y="466"/>
                  </a:lnTo>
                  <a:lnTo>
                    <a:pt x="249" y="464"/>
                  </a:lnTo>
                  <a:lnTo>
                    <a:pt x="249" y="466"/>
                  </a:lnTo>
                  <a:lnTo>
                    <a:pt x="248" y="469"/>
                  </a:lnTo>
                  <a:lnTo>
                    <a:pt x="248" y="468"/>
                  </a:lnTo>
                  <a:lnTo>
                    <a:pt x="249" y="468"/>
                  </a:lnTo>
                  <a:lnTo>
                    <a:pt x="249" y="469"/>
                  </a:lnTo>
                  <a:lnTo>
                    <a:pt x="248" y="469"/>
                  </a:lnTo>
                  <a:lnTo>
                    <a:pt x="248" y="471"/>
                  </a:lnTo>
                  <a:lnTo>
                    <a:pt x="246" y="471"/>
                  </a:lnTo>
                  <a:lnTo>
                    <a:pt x="248" y="469"/>
                  </a:lnTo>
                  <a:lnTo>
                    <a:pt x="246" y="471"/>
                  </a:lnTo>
                  <a:lnTo>
                    <a:pt x="246" y="469"/>
                  </a:lnTo>
                  <a:lnTo>
                    <a:pt x="246" y="468"/>
                  </a:lnTo>
                  <a:lnTo>
                    <a:pt x="248" y="468"/>
                  </a:lnTo>
                  <a:lnTo>
                    <a:pt x="248" y="466"/>
                  </a:lnTo>
                  <a:lnTo>
                    <a:pt x="249" y="466"/>
                  </a:lnTo>
                  <a:lnTo>
                    <a:pt x="248" y="468"/>
                  </a:lnTo>
                  <a:lnTo>
                    <a:pt x="249" y="464"/>
                  </a:lnTo>
                  <a:close/>
                  <a:moveTo>
                    <a:pt x="35" y="906"/>
                  </a:moveTo>
                  <a:lnTo>
                    <a:pt x="37" y="908"/>
                  </a:lnTo>
                  <a:lnTo>
                    <a:pt x="37" y="910"/>
                  </a:lnTo>
                  <a:lnTo>
                    <a:pt x="35" y="910"/>
                  </a:lnTo>
                  <a:lnTo>
                    <a:pt x="35" y="912"/>
                  </a:lnTo>
                  <a:lnTo>
                    <a:pt x="34" y="912"/>
                  </a:lnTo>
                  <a:lnTo>
                    <a:pt x="32" y="908"/>
                  </a:lnTo>
                  <a:lnTo>
                    <a:pt x="34" y="910"/>
                  </a:lnTo>
                  <a:lnTo>
                    <a:pt x="35" y="906"/>
                  </a:lnTo>
                  <a:close/>
                  <a:moveTo>
                    <a:pt x="406" y="109"/>
                  </a:moveTo>
                  <a:lnTo>
                    <a:pt x="408" y="109"/>
                  </a:lnTo>
                  <a:lnTo>
                    <a:pt x="408" y="110"/>
                  </a:lnTo>
                  <a:lnTo>
                    <a:pt x="408" y="112"/>
                  </a:lnTo>
                  <a:lnTo>
                    <a:pt x="404" y="112"/>
                  </a:lnTo>
                  <a:lnTo>
                    <a:pt x="404" y="110"/>
                  </a:lnTo>
                  <a:lnTo>
                    <a:pt x="406" y="110"/>
                  </a:lnTo>
                  <a:lnTo>
                    <a:pt x="406" y="109"/>
                  </a:lnTo>
                  <a:close/>
                  <a:moveTo>
                    <a:pt x="198" y="913"/>
                  </a:moveTo>
                  <a:lnTo>
                    <a:pt x="200" y="915"/>
                  </a:lnTo>
                  <a:lnTo>
                    <a:pt x="200" y="917"/>
                  </a:lnTo>
                  <a:lnTo>
                    <a:pt x="200" y="918"/>
                  </a:lnTo>
                  <a:lnTo>
                    <a:pt x="200" y="920"/>
                  </a:lnTo>
                  <a:lnTo>
                    <a:pt x="200" y="922"/>
                  </a:lnTo>
                  <a:lnTo>
                    <a:pt x="198" y="918"/>
                  </a:lnTo>
                  <a:lnTo>
                    <a:pt x="198" y="915"/>
                  </a:lnTo>
                  <a:lnTo>
                    <a:pt x="198" y="913"/>
                  </a:lnTo>
                  <a:close/>
                  <a:moveTo>
                    <a:pt x="69" y="673"/>
                  </a:moveTo>
                  <a:lnTo>
                    <a:pt x="66" y="675"/>
                  </a:lnTo>
                  <a:lnTo>
                    <a:pt x="62" y="675"/>
                  </a:lnTo>
                  <a:lnTo>
                    <a:pt x="61" y="675"/>
                  </a:lnTo>
                  <a:lnTo>
                    <a:pt x="59" y="675"/>
                  </a:lnTo>
                  <a:lnTo>
                    <a:pt x="62" y="673"/>
                  </a:lnTo>
                  <a:lnTo>
                    <a:pt x="62" y="675"/>
                  </a:lnTo>
                  <a:lnTo>
                    <a:pt x="64" y="673"/>
                  </a:lnTo>
                  <a:lnTo>
                    <a:pt x="66" y="675"/>
                  </a:lnTo>
                  <a:lnTo>
                    <a:pt x="69" y="673"/>
                  </a:lnTo>
                  <a:close/>
                  <a:moveTo>
                    <a:pt x="15" y="849"/>
                  </a:moveTo>
                  <a:lnTo>
                    <a:pt x="17" y="850"/>
                  </a:lnTo>
                  <a:lnTo>
                    <a:pt x="15" y="850"/>
                  </a:lnTo>
                  <a:lnTo>
                    <a:pt x="15" y="852"/>
                  </a:lnTo>
                  <a:lnTo>
                    <a:pt x="13" y="852"/>
                  </a:lnTo>
                  <a:lnTo>
                    <a:pt x="11" y="849"/>
                  </a:lnTo>
                  <a:lnTo>
                    <a:pt x="15" y="849"/>
                  </a:lnTo>
                  <a:close/>
                  <a:moveTo>
                    <a:pt x="272" y="411"/>
                  </a:moveTo>
                  <a:lnTo>
                    <a:pt x="272" y="413"/>
                  </a:lnTo>
                  <a:lnTo>
                    <a:pt x="268" y="415"/>
                  </a:lnTo>
                  <a:lnTo>
                    <a:pt x="268" y="413"/>
                  </a:lnTo>
                  <a:lnTo>
                    <a:pt x="268" y="411"/>
                  </a:lnTo>
                  <a:lnTo>
                    <a:pt x="272" y="411"/>
                  </a:lnTo>
                  <a:close/>
                  <a:moveTo>
                    <a:pt x="260" y="304"/>
                  </a:moveTo>
                  <a:lnTo>
                    <a:pt x="260" y="306"/>
                  </a:lnTo>
                  <a:lnTo>
                    <a:pt x="260" y="308"/>
                  </a:lnTo>
                  <a:lnTo>
                    <a:pt x="260" y="306"/>
                  </a:lnTo>
                  <a:lnTo>
                    <a:pt x="260" y="308"/>
                  </a:lnTo>
                  <a:lnTo>
                    <a:pt x="258" y="306"/>
                  </a:lnTo>
                  <a:lnTo>
                    <a:pt x="258" y="308"/>
                  </a:lnTo>
                  <a:lnTo>
                    <a:pt x="256" y="306"/>
                  </a:lnTo>
                  <a:lnTo>
                    <a:pt x="256" y="309"/>
                  </a:lnTo>
                  <a:lnTo>
                    <a:pt x="256" y="308"/>
                  </a:lnTo>
                  <a:lnTo>
                    <a:pt x="256" y="306"/>
                  </a:lnTo>
                  <a:lnTo>
                    <a:pt x="258" y="304"/>
                  </a:lnTo>
                  <a:lnTo>
                    <a:pt x="260" y="304"/>
                  </a:lnTo>
                  <a:close/>
                  <a:moveTo>
                    <a:pt x="263" y="413"/>
                  </a:moveTo>
                  <a:lnTo>
                    <a:pt x="265" y="413"/>
                  </a:lnTo>
                  <a:lnTo>
                    <a:pt x="265" y="415"/>
                  </a:lnTo>
                  <a:lnTo>
                    <a:pt x="265" y="413"/>
                  </a:lnTo>
                  <a:lnTo>
                    <a:pt x="266" y="415"/>
                  </a:lnTo>
                  <a:lnTo>
                    <a:pt x="265" y="417"/>
                  </a:lnTo>
                  <a:lnTo>
                    <a:pt x="263" y="417"/>
                  </a:lnTo>
                  <a:lnTo>
                    <a:pt x="263" y="413"/>
                  </a:lnTo>
                  <a:close/>
                  <a:moveTo>
                    <a:pt x="57" y="668"/>
                  </a:moveTo>
                  <a:lnTo>
                    <a:pt x="57" y="672"/>
                  </a:lnTo>
                  <a:lnTo>
                    <a:pt x="59" y="673"/>
                  </a:lnTo>
                  <a:lnTo>
                    <a:pt x="57" y="672"/>
                  </a:lnTo>
                  <a:lnTo>
                    <a:pt x="54" y="672"/>
                  </a:lnTo>
                  <a:lnTo>
                    <a:pt x="56" y="672"/>
                  </a:lnTo>
                  <a:lnTo>
                    <a:pt x="54" y="672"/>
                  </a:lnTo>
                  <a:lnTo>
                    <a:pt x="56" y="670"/>
                  </a:lnTo>
                  <a:lnTo>
                    <a:pt x="57" y="670"/>
                  </a:lnTo>
                  <a:lnTo>
                    <a:pt x="56" y="668"/>
                  </a:lnTo>
                  <a:lnTo>
                    <a:pt x="57" y="668"/>
                  </a:lnTo>
                  <a:close/>
                  <a:moveTo>
                    <a:pt x="544" y="20"/>
                  </a:moveTo>
                  <a:lnTo>
                    <a:pt x="545" y="22"/>
                  </a:lnTo>
                  <a:lnTo>
                    <a:pt x="547" y="22"/>
                  </a:lnTo>
                  <a:lnTo>
                    <a:pt x="545" y="24"/>
                  </a:lnTo>
                  <a:lnTo>
                    <a:pt x="547" y="24"/>
                  </a:lnTo>
                  <a:lnTo>
                    <a:pt x="545" y="25"/>
                  </a:lnTo>
                  <a:lnTo>
                    <a:pt x="545" y="24"/>
                  </a:lnTo>
                  <a:lnTo>
                    <a:pt x="544" y="24"/>
                  </a:lnTo>
                  <a:lnTo>
                    <a:pt x="544" y="20"/>
                  </a:lnTo>
                  <a:close/>
                  <a:moveTo>
                    <a:pt x="571" y="41"/>
                  </a:moveTo>
                  <a:lnTo>
                    <a:pt x="571" y="42"/>
                  </a:lnTo>
                  <a:lnTo>
                    <a:pt x="569" y="44"/>
                  </a:lnTo>
                  <a:lnTo>
                    <a:pt x="569" y="42"/>
                  </a:lnTo>
                  <a:lnTo>
                    <a:pt x="571" y="41"/>
                  </a:lnTo>
                  <a:close/>
                  <a:moveTo>
                    <a:pt x="119" y="639"/>
                  </a:moveTo>
                  <a:lnTo>
                    <a:pt x="119" y="641"/>
                  </a:lnTo>
                  <a:lnTo>
                    <a:pt x="120" y="639"/>
                  </a:lnTo>
                  <a:lnTo>
                    <a:pt x="120" y="641"/>
                  </a:lnTo>
                  <a:lnTo>
                    <a:pt x="119" y="643"/>
                  </a:lnTo>
                  <a:lnTo>
                    <a:pt x="117" y="643"/>
                  </a:lnTo>
                  <a:lnTo>
                    <a:pt x="117" y="639"/>
                  </a:lnTo>
                  <a:lnTo>
                    <a:pt x="119" y="639"/>
                  </a:lnTo>
                  <a:close/>
                  <a:moveTo>
                    <a:pt x="96" y="663"/>
                  </a:moveTo>
                  <a:lnTo>
                    <a:pt x="96" y="665"/>
                  </a:lnTo>
                  <a:lnTo>
                    <a:pt x="100" y="665"/>
                  </a:lnTo>
                  <a:lnTo>
                    <a:pt x="98" y="667"/>
                  </a:lnTo>
                  <a:lnTo>
                    <a:pt x="95" y="667"/>
                  </a:lnTo>
                  <a:lnTo>
                    <a:pt x="95" y="665"/>
                  </a:lnTo>
                  <a:lnTo>
                    <a:pt x="96" y="663"/>
                  </a:lnTo>
                  <a:close/>
                  <a:moveTo>
                    <a:pt x="355" y="201"/>
                  </a:moveTo>
                  <a:lnTo>
                    <a:pt x="357" y="201"/>
                  </a:lnTo>
                  <a:lnTo>
                    <a:pt x="357" y="202"/>
                  </a:lnTo>
                  <a:lnTo>
                    <a:pt x="357" y="204"/>
                  </a:lnTo>
                  <a:lnTo>
                    <a:pt x="357" y="202"/>
                  </a:lnTo>
                  <a:lnTo>
                    <a:pt x="355" y="204"/>
                  </a:lnTo>
                  <a:lnTo>
                    <a:pt x="353" y="202"/>
                  </a:lnTo>
                  <a:lnTo>
                    <a:pt x="355" y="201"/>
                  </a:lnTo>
                  <a:close/>
                  <a:moveTo>
                    <a:pt x="8" y="784"/>
                  </a:moveTo>
                  <a:lnTo>
                    <a:pt x="8" y="786"/>
                  </a:lnTo>
                  <a:lnTo>
                    <a:pt x="10" y="784"/>
                  </a:lnTo>
                  <a:lnTo>
                    <a:pt x="10" y="787"/>
                  </a:lnTo>
                  <a:lnTo>
                    <a:pt x="10" y="789"/>
                  </a:lnTo>
                  <a:lnTo>
                    <a:pt x="8" y="787"/>
                  </a:lnTo>
                  <a:lnTo>
                    <a:pt x="8" y="786"/>
                  </a:lnTo>
                  <a:lnTo>
                    <a:pt x="8" y="784"/>
                  </a:lnTo>
                  <a:lnTo>
                    <a:pt x="6" y="784"/>
                  </a:lnTo>
                  <a:lnTo>
                    <a:pt x="8" y="784"/>
                  </a:lnTo>
                  <a:lnTo>
                    <a:pt x="8" y="786"/>
                  </a:lnTo>
                  <a:lnTo>
                    <a:pt x="8" y="784"/>
                  </a:lnTo>
                  <a:close/>
                  <a:moveTo>
                    <a:pt x="219" y="910"/>
                  </a:moveTo>
                  <a:lnTo>
                    <a:pt x="219" y="913"/>
                  </a:lnTo>
                  <a:lnTo>
                    <a:pt x="219" y="915"/>
                  </a:lnTo>
                  <a:lnTo>
                    <a:pt x="217" y="915"/>
                  </a:lnTo>
                  <a:lnTo>
                    <a:pt x="217" y="913"/>
                  </a:lnTo>
                  <a:lnTo>
                    <a:pt x="217" y="912"/>
                  </a:lnTo>
                  <a:lnTo>
                    <a:pt x="217" y="913"/>
                  </a:lnTo>
                  <a:lnTo>
                    <a:pt x="219" y="910"/>
                  </a:lnTo>
                  <a:close/>
                  <a:moveTo>
                    <a:pt x="256" y="447"/>
                  </a:moveTo>
                  <a:lnTo>
                    <a:pt x="256" y="449"/>
                  </a:lnTo>
                  <a:lnTo>
                    <a:pt x="255" y="452"/>
                  </a:lnTo>
                  <a:lnTo>
                    <a:pt x="253" y="452"/>
                  </a:lnTo>
                  <a:lnTo>
                    <a:pt x="253" y="451"/>
                  </a:lnTo>
                  <a:lnTo>
                    <a:pt x="255" y="449"/>
                  </a:lnTo>
                  <a:lnTo>
                    <a:pt x="256" y="447"/>
                  </a:lnTo>
                  <a:close/>
                  <a:moveTo>
                    <a:pt x="207" y="889"/>
                  </a:moveTo>
                  <a:lnTo>
                    <a:pt x="209" y="891"/>
                  </a:lnTo>
                  <a:lnTo>
                    <a:pt x="209" y="893"/>
                  </a:lnTo>
                  <a:lnTo>
                    <a:pt x="209" y="895"/>
                  </a:lnTo>
                  <a:lnTo>
                    <a:pt x="205" y="896"/>
                  </a:lnTo>
                  <a:lnTo>
                    <a:pt x="205" y="895"/>
                  </a:lnTo>
                  <a:lnTo>
                    <a:pt x="207" y="893"/>
                  </a:lnTo>
                  <a:lnTo>
                    <a:pt x="207" y="889"/>
                  </a:lnTo>
                  <a:close/>
                  <a:moveTo>
                    <a:pt x="13" y="777"/>
                  </a:moveTo>
                  <a:lnTo>
                    <a:pt x="15" y="779"/>
                  </a:lnTo>
                  <a:lnTo>
                    <a:pt x="13" y="779"/>
                  </a:lnTo>
                  <a:lnTo>
                    <a:pt x="15" y="779"/>
                  </a:lnTo>
                  <a:lnTo>
                    <a:pt x="15" y="781"/>
                  </a:lnTo>
                  <a:lnTo>
                    <a:pt x="11" y="781"/>
                  </a:lnTo>
                  <a:lnTo>
                    <a:pt x="11" y="777"/>
                  </a:lnTo>
                  <a:lnTo>
                    <a:pt x="11" y="779"/>
                  </a:lnTo>
                  <a:lnTo>
                    <a:pt x="13" y="779"/>
                  </a:lnTo>
                  <a:lnTo>
                    <a:pt x="13" y="777"/>
                  </a:lnTo>
                  <a:close/>
                  <a:moveTo>
                    <a:pt x="37" y="959"/>
                  </a:moveTo>
                  <a:lnTo>
                    <a:pt x="37" y="961"/>
                  </a:lnTo>
                  <a:lnTo>
                    <a:pt x="37" y="963"/>
                  </a:lnTo>
                  <a:lnTo>
                    <a:pt x="35" y="963"/>
                  </a:lnTo>
                  <a:lnTo>
                    <a:pt x="35" y="959"/>
                  </a:lnTo>
                  <a:lnTo>
                    <a:pt x="34" y="961"/>
                  </a:lnTo>
                  <a:lnTo>
                    <a:pt x="34" y="959"/>
                  </a:lnTo>
                  <a:lnTo>
                    <a:pt x="37" y="959"/>
                  </a:lnTo>
                  <a:close/>
                  <a:moveTo>
                    <a:pt x="185" y="566"/>
                  </a:moveTo>
                  <a:lnTo>
                    <a:pt x="187" y="568"/>
                  </a:lnTo>
                  <a:lnTo>
                    <a:pt x="185" y="568"/>
                  </a:lnTo>
                  <a:lnTo>
                    <a:pt x="185" y="570"/>
                  </a:lnTo>
                  <a:lnTo>
                    <a:pt x="183" y="568"/>
                  </a:lnTo>
                  <a:lnTo>
                    <a:pt x="185" y="566"/>
                  </a:lnTo>
                  <a:close/>
                  <a:moveTo>
                    <a:pt x="6" y="770"/>
                  </a:moveTo>
                  <a:lnTo>
                    <a:pt x="6" y="772"/>
                  </a:lnTo>
                  <a:lnTo>
                    <a:pt x="8" y="770"/>
                  </a:lnTo>
                  <a:lnTo>
                    <a:pt x="8" y="774"/>
                  </a:lnTo>
                  <a:lnTo>
                    <a:pt x="8" y="775"/>
                  </a:lnTo>
                  <a:lnTo>
                    <a:pt x="6" y="772"/>
                  </a:lnTo>
                  <a:lnTo>
                    <a:pt x="6" y="774"/>
                  </a:lnTo>
                  <a:lnTo>
                    <a:pt x="6" y="775"/>
                  </a:lnTo>
                  <a:lnTo>
                    <a:pt x="6" y="777"/>
                  </a:lnTo>
                  <a:lnTo>
                    <a:pt x="6" y="775"/>
                  </a:lnTo>
                  <a:lnTo>
                    <a:pt x="6" y="774"/>
                  </a:lnTo>
                  <a:lnTo>
                    <a:pt x="5" y="772"/>
                  </a:lnTo>
                  <a:lnTo>
                    <a:pt x="6" y="770"/>
                  </a:lnTo>
                  <a:close/>
                  <a:moveTo>
                    <a:pt x="564" y="73"/>
                  </a:moveTo>
                  <a:lnTo>
                    <a:pt x="566" y="76"/>
                  </a:lnTo>
                  <a:lnTo>
                    <a:pt x="562" y="78"/>
                  </a:lnTo>
                  <a:lnTo>
                    <a:pt x="562" y="76"/>
                  </a:lnTo>
                  <a:lnTo>
                    <a:pt x="564" y="73"/>
                  </a:lnTo>
                  <a:close/>
                  <a:moveTo>
                    <a:pt x="181" y="568"/>
                  </a:moveTo>
                  <a:lnTo>
                    <a:pt x="181" y="570"/>
                  </a:lnTo>
                  <a:lnTo>
                    <a:pt x="183" y="570"/>
                  </a:lnTo>
                  <a:lnTo>
                    <a:pt x="181" y="571"/>
                  </a:lnTo>
                  <a:lnTo>
                    <a:pt x="181" y="570"/>
                  </a:lnTo>
                  <a:lnTo>
                    <a:pt x="180" y="570"/>
                  </a:lnTo>
                  <a:lnTo>
                    <a:pt x="180" y="568"/>
                  </a:lnTo>
                  <a:lnTo>
                    <a:pt x="181" y="570"/>
                  </a:lnTo>
                  <a:lnTo>
                    <a:pt x="181" y="568"/>
                  </a:lnTo>
                  <a:close/>
                  <a:moveTo>
                    <a:pt x="13" y="721"/>
                  </a:moveTo>
                  <a:lnTo>
                    <a:pt x="15" y="723"/>
                  </a:lnTo>
                  <a:lnTo>
                    <a:pt x="11" y="726"/>
                  </a:lnTo>
                  <a:lnTo>
                    <a:pt x="13" y="724"/>
                  </a:lnTo>
                  <a:lnTo>
                    <a:pt x="10" y="723"/>
                  </a:lnTo>
                  <a:lnTo>
                    <a:pt x="13" y="721"/>
                  </a:lnTo>
                  <a:close/>
                  <a:moveTo>
                    <a:pt x="261" y="383"/>
                  </a:moveTo>
                  <a:lnTo>
                    <a:pt x="261" y="384"/>
                  </a:lnTo>
                  <a:lnTo>
                    <a:pt x="261" y="386"/>
                  </a:lnTo>
                  <a:lnTo>
                    <a:pt x="260" y="388"/>
                  </a:lnTo>
                  <a:lnTo>
                    <a:pt x="261" y="386"/>
                  </a:lnTo>
                  <a:lnTo>
                    <a:pt x="260" y="388"/>
                  </a:lnTo>
                  <a:lnTo>
                    <a:pt x="260" y="386"/>
                  </a:lnTo>
                  <a:lnTo>
                    <a:pt x="261" y="386"/>
                  </a:lnTo>
                  <a:lnTo>
                    <a:pt x="260" y="384"/>
                  </a:lnTo>
                  <a:lnTo>
                    <a:pt x="261" y="383"/>
                  </a:lnTo>
                  <a:close/>
                  <a:moveTo>
                    <a:pt x="460" y="110"/>
                  </a:moveTo>
                  <a:lnTo>
                    <a:pt x="462" y="112"/>
                  </a:lnTo>
                  <a:lnTo>
                    <a:pt x="460" y="114"/>
                  </a:lnTo>
                  <a:lnTo>
                    <a:pt x="462" y="114"/>
                  </a:lnTo>
                  <a:lnTo>
                    <a:pt x="460" y="115"/>
                  </a:lnTo>
                  <a:lnTo>
                    <a:pt x="459" y="114"/>
                  </a:lnTo>
                  <a:lnTo>
                    <a:pt x="460" y="114"/>
                  </a:lnTo>
                  <a:lnTo>
                    <a:pt x="460" y="110"/>
                  </a:lnTo>
                  <a:close/>
                  <a:moveTo>
                    <a:pt x="15" y="821"/>
                  </a:moveTo>
                  <a:lnTo>
                    <a:pt x="17" y="823"/>
                  </a:lnTo>
                  <a:lnTo>
                    <a:pt x="17" y="825"/>
                  </a:lnTo>
                  <a:lnTo>
                    <a:pt x="15" y="825"/>
                  </a:lnTo>
                  <a:lnTo>
                    <a:pt x="15" y="823"/>
                  </a:lnTo>
                  <a:lnTo>
                    <a:pt x="17" y="825"/>
                  </a:lnTo>
                  <a:lnTo>
                    <a:pt x="15" y="827"/>
                  </a:lnTo>
                  <a:lnTo>
                    <a:pt x="15" y="823"/>
                  </a:lnTo>
                  <a:lnTo>
                    <a:pt x="13" y="823"/>
                  </a:lnTo>
                  <a:lnTo>
                    <a:pt x="15" y="823"/>
                  </a:lnTo>
                  <a:lnTo>
                    <a:pt x="15" y="821"/>
                  </a:lnTo>
                  <a:close/>
                  <a:moveTo>
                    <a:pt x="270" y="393"/>
                  </a:moveTo>
                  <a:lnTo>
                    <a:pt x="270" y="394"/>
                  </a:lnTo>
                  <a:lnTo>
                    <a:pt x="270" y="396"/>
                  </a:lnTo>
                  <a:lnTo>
                    <a:pt x="270" y="398"/>
                  </a:lnTo>
                  <a:lnTo>
                    <a:pt x="268" y="394"/>
                  </a:lnTo>
                  <a:lnTo>
                    <a:pt x="268" y="396"/>
                  </a:lnTo>
                  <a:lnTo>
                    <a:pt x="270" y="394"/>
                  </a:lnTo>
                  <a:lnTo>
                    <a:pt x="268" y="393"/>
                  </a:lnTo>
                  <a:lnTo>
                    <a:pt x="270" y="393"/>
                  </a:lnTo>
                  <a:close/>
                  <a:moveTo>
                    <a:pt x="292" y="347"/>
                  </a:moveTo>
                  <a:lnTo>
                    <a:pt x="294" y="349"/>
                  </a:lnTo>
                  <a:lnTo>
                    <a:pt x="292" y="349"/>
                  </a:lnTo>
                  <a:lnTo>
                    <a:pt x="290" y="350"/>
                  </a:lnTo>
                  <a:lnTo>
                    <a:pt x="290" y="347"/>
                  </a:lnTo>
                  <a:lnTo>
                    <a:pt x="292" y="347"/>
                  </a:lnTo>
                  <a:close/>
                  <a:moveTo>
                    <a:pt x="258" y="440"/>
                  </a:moveTo>
                  <a:lnTo>
                    <a:pt x="258" y="442"/>
                  </a:lnTo>
                  <a:lnTo>
                    <a:pt x="256" y="444"/>
                  </a:lnTo>
                  <a:lnTo>
                    <a:pt x="255" y="445"/>
                  </a:lnTo>
                  <a:lnTo>
                    <a:pt x="256" y="444"/>
                  </a:lnTo>
                  <a:lnTo>
                    <a:pt x="256" y="442"/>
                  </a:lnTo>
                  <a:lnTo>
                    <a:pt x="258" y="442"/>
                  </a:lnTo>
                  <a:lnTo>
                    <a:pt x="258" y="440"/>
                  </a:lnTo>
                  <a:close/>
                  <a:moveTo>
                    <a:pt x="147" y="595"/>
                  </a:moveTo>
                  <a:lnTo>
                    <a:pt x="149" y="595"/>
                  </a:lnTo>
                  <a:lnTo>
                    <a:pt x="147" y="595"/>
                  </a:lnTo>
                  <a:lnTo>
                    <a:pt x="149" y="597"/>
                  </a:lnTo>
                  <a:lnTo>
                    <a:pt x="147" y="597"/>
                  </a:lnTo>
                  <a:lnTo>
                    <a:pt x="146" y="597"/>
                  </a:lnTo>
                  <a:lnTo>
                    <a:pt x="144" y="597"/>
                  </a:lnTo>
                  <a:lnTo>
                    <a:pt x="142" y="597"/>
                  </a:lnTo>
                  <a:lnTo>
                    <a:pt x="146" y="597"/>
                  </a:lnTo>
                  <a:lnTo>
                    <a:pt x="146" y="595"/>
                  </a:lnTo>
                  <a:lnTo>
                    <a:pt x="147" y="597"/>
                  </a:lnTo>
                  <a:lnTo>
                    <a:pt x="146" y="595"/>
                  </a:lnTo>
                  <a:lnTo>
                    <a:pt x="147" y="595"/>
                  </a:lnTo>
                  <a:close/>
                  <a:moveTo>
                    <a:pt x="44" y="905"/>
                  </a:moveTo>
                  <a:lnTo>
                    <a:pt x="42" y="908"/>
                  </a:lnTo>
                  <a:lnTo>
                    <a:pt x="40" y="908"/>
                  </a:lnTo>
                  <a:lnTo>
                    <a:pt x="42" y="908"/>
                  </a:lnTo>
                  <a:lnTo>
                    <a:pt x="40" y="906"/>
                  </a:lnTo>
                  <a:lnTo>
                    <a:pt x="42" y="906"/>
                  </a:lnTo>
                  <a:lnTo>
                    <a:pt x="44" y="905"/>
                  </a:lnTo>
                  <a:close/>
                  <a:moveTo>
                    <a:pt x="266" y="386"/>
                  </a:moveTo>
                  <a:lnTo>
                    <a:pt x="268" y="386"/>
                  </a:lnTo>
                  <a:lnTo>
                    <a:pt x="266" y="388"/>
                  </a:lnTo>
                  <a:lnTo>
                    <a:pt x="268" y="388"/>
                  </a:lnTo>
                  <a:lnTo>
                    <a:pt x="266" y="389"/>
                  </a:lnTo>
                  <a:lnTo>
                    <a:pt x="265" y="388"/>
                  </a:lnTo>
                  <a:lnTo>
                    <a:pt x="266" y="388"/>
                  </a:lnTo>
                  <a:lnTo>
                    <a:pt x="265" y="386"/>
                  </a:lnTo>
                  <a:lnTo>
                    <a:pt x="266" y="386"/>
                  </a:lnTo>
                  <a:close/>
                  <a:moveTo>
                    <a:pt x="115" y="633"/>
                  </a:moveTo>
                  <a:lnTo>
                    <a:pt x="117" y="634"/>
                  </a:lnTo>
                  <a:lnTo>
                    <a:pt x="113" y="634"/>
                  </a:lnTo>
                  <a:lnTo>
                    <a:pt x="112" y="634"/>
                  </a:lnTo>
                  <a:lnTo>
                    <a:pt x="115" y="633"/>
                  </a:lnTo>
                  <a:close/>
                  <a:moveTo>
                    <a:pt x="15" y="767"/>
                  </a:moveTo>
                  <a:lnTo>
                    <a:pt x="17" y="767"/>
                  </a:lnTo>
                  <a:lnTo>
                    <a:pt x="18" y="770"/>
                  </a:lnTo>
                  <a:lnTo>
                    <a:pt x="17" y="770"/>
                  </a:lnTo>
                  <a:lnTo>
                    <a:pt x="15" y="770"/>
                  </a:lnTo>
                  <a:lnTo>
                    <a:pt x="15" y="767"/>
                  </a:lnTo>
                  <a:close/>
                  <a:moveTo>
                    <a:pt x="350" y="250"/>
                  </a:moveTo>
                  <a:lnTo>
                    <a:pt x="351" y="250"/>
                  </a:lnTo>
                  <a:lnTo>
                    <a:pt x="351" y="252"/>
                  </a:lnTo>
                  <a:lnTo>
                    <a:pt x="348" y="252"/>
                  </a:lnTo>
                  <a:lnTo>
                    <a:pt x="350" y="250"/>
                  </a:lnTo>
                  <a:close/>
                  <a:moveTo>
                    <a:pt x="62" y="661"/>
                  </a:moveTo>
                  <a:lnTo>
                    <a:pt x="64" y="661"/>
                  </a:lnTo>
                  <a:lnTo>
                    <a:pt x="66" y="663"/>
                  </a:lnTo>
                  <a:lnTo>
                    <a:pt x="66" y="665"/>
                  </a:lnTo>
                  <a:lnTo>
                    <a:pt x="64" y="665"/>
                  </a:lnTo>
                  <a:lnTo>
                    <a:pt x="62" y="661"/>
                  </a:lnTo>
                  <a:close/>
                  <a:moveTo>
                    <a:pt x="39" y="682"/>
                  </a:moveTo>
                  <a:lnTo>
                    <a:pt x="40" y="685"/>
                  </a:lnTo>
                  <a:lnTo>
                    <a:pt x="37" y="685"/>
                  </a:lnTo>
                  <a:lnTo>
                    <a:pt x="37" y="684"/>
                  </a:lnTo>
                  <a:lnTo>
                    <a:pt x="39" y="682"/>
                  </a:lnTo>
                  <a:close/>
                  <a:moveTo>
                    <a:pt x="44" y="684"/>
                  </a:moveTo>
                  <a:lnTo>
                    <a:pt x="44" y="687"/>
                  </a:lnTo>
                  <a:lnTo>
                    <a:pt x="42" y="687"/>
                  </a:lnTo>
                  <a:lnTo>
                    <a:pt x="42" y="685"/>
                  </a:lnTo>
                  <a:lnTo>
                    <a:pt x="44" y="685"/>
                  </a:lnTo>
                  <a:lnTo>
                    <a:pt x="42" y="684"/>
                  </a:lnTo>
                  <a:lnTo>
                    <a:pt x="44" y="684"/>
                  </a:lnTo>
                  <a:close/>
                  <a:moveTo>
                    <a:pt x="467" y="85"/>
                  </a:moveTo>
                  <a:lnTo>
                    <a:pt x="469" y="88"/>
                  </a:lnTo>
                  <a:lnTo>
                    <a:pt x="467" y="90"/>
                  </a:lnTo>
                  <a:lnTo>
                    <a:pt x="467" y="88"/>
                  </a:lnTo>
                  <a:lnTo>
                    <a:pt x="467" y="85"/>
                  </a:lnTo>
                  <a:close/>
                  <a:moveTo>
                    <a:pt x="13" y="728"/>
                  </a:moveTo>
                  <a:lnTo>
                    <a:pt x="13" y="731"/>
                  </a:lnTo>
                  <a:lnTo>
                    <a:pt x="11" y="731"/>
                  </a:lnTo>
                  <a:lnTo>
                    <a:pt x="11" y="730"/>
                  </a:lnTo>
                  <a:lnTo>
                    <a:pt x="11" y="728"/>
                  </a:lnTo>
                  <a:lnTo>
                    <a:pt x="13" y="730"/>
                  </a:lnTo>
                  <a:lnTo>
                    <a:pt x="13" y="728"/>
                  </a:lnTo>
                  <a:lnTo>
                    <a:pt x="11" y="728"/>
                  </a:lnTo>
                  <a:lnTo>
                    <a:pt x="13" y="728"/>
                  </a:lnTo>
                  <a:close/>
                  <a:moveTo>
                    <a:pt x="217" y="917"/>
                  </a:moveTo>
                  <a:lnTo>
                    <a:pt x="217" y="918"/>
                  </a:lnTo>
                  <a:lnTo>
                    <a:pt x="217" y="917"/>
                  </a:lnTo>
                  <a:lnTo>
                    <a:pt x="217" y="918"/>
                  </a:lnTo>
                  <a:lnTo>
                    <a:pt x="217" y="920"/>
                  </a:lnTo>
                  <a:lnTo>
                    <a:pt x="215" y="920"/>
                  </a:lnTo>
                  <a:lnTo>
                    <a:pt x="215" y="918"/>
                  </a:lnTo>
                  <a:lnTo>
                    <a:pt x="217" y="917"/>
                  </a:lnTo>
                  <a:close/>
                  <a:moveTo>
                    <a:pt x="136" y="619"/>
                  </a:moveTo>
                  <a:lnTo>
                    <a:pt x="136" y="621"/>
                  </a:lnTo>
                  <a:lnTo>
                    <a:pt x="132" y="621"/>
                  </a:lnTo>
                  <a:lnTo>
                    <a:pt x="134" y="619"/>
                  </a:lnTo>
                  <a:lnTo>
                    <a:pt x="136" y="619"/>
                  </a:lnTo>
                  <a:close/>
                  <a:moveTo>
                    <a:pt x="69" y="655"/>
                  </a:moveTo>
                  <a:lnTo>
                    <a:pt x="71" y="658"/>
                  </a:lnTo>
                  <a:lnTo>
                    <a:pt x="69" y="660"/>
                  </a:lnTo>
                  <a:lnTo>
                    <a:pt x="68" y="658"/>
                  </a:lnTo>
                  <a:lnTo>
                    <a:pt x="69" y="656"/>
                  </a:lnTo>
                  <a:lnTo>
                    <a:pt x="68" y="656"/>
                  </a:lnTo>
                  <a:lnTo>
                    <a:pt x="69" y="655"/>
                  </a:lnTo>
                  <a:close/>
                  <a:moveTo>
                    <a:pt x="76" y="661"/>
                  </a:moveTo>
                  <a:lnTo>
                    <a:pt x="76" y="665"/>
                  </a:lnTo>
                  <a:lnTo>
                    <a:pt x="73" y="665"/>
                  </a:lnTo>
                  <a:lnTo>
                    <a:pt x="74" y="663"/>
                  </a:lnTo>
                  <a:lnTo>
                    <a:pt x="74" y="661"/>
                  </a:lnTo>
                  <a:lnTo>
                    <a:pt x="76" y="661"/>
                  </a:lnTo>
                  <a:close/>
                  <a:moveTo>
                    <a:pt x="360" y="204"/>
                  </a:moveTo>
                  <a:lnTo>
                    <a:pt x="362" y="204"/>
                  </a:lnTo>
                  <a:lnTo>
                    <a:pt x="360" y="207"/>
                  </a:lnTo>
                  <a:lnTo>
                    <a:pt x="360" y="206"/>
                  </a:lnTo>
                  <a:lnTo>
                    <a:pt x="360" y="204"/>
                  </a:lnTo>
                  <a:close/>
                  <a:moveTo>
                    <a:pt x="453" y="119"/>
                  </a:moveTo>
                  <a:lnTo>
                    <a:pt x="453" y="121"/>
                  </a:lnTo>
                  <a:lnTo>
                    <a:pt x="452" y="121"/>
                  </a:lnTo>
                  <a:lnTo>
                    <a:pt x="452" y="117"/>
                  </a:lnTo>
                  <a:lnTo>
                    <a:pt x="453" y="119"/>
                  </a:lnTo>
                  <a:close/>
                  <a:moveTo>
                    <a:pt x="61" y="661"/>
                  </a:moveTo>
                  <a:lnTo>
                    <a:pt x="62" y="663"/>
                  </a:lnTo>
                  <a:lnTo>
                    <a:pt x="62" y="667"/>
                  </a:lnTo>
                  <a:lnTo>
                    <a:pt x="61" y="665"/>
                  </a:lnTo>
                  <a:lnTo>
                    <a:pt x="59" y="663"/>
                  </a:lnTo>
                  <a:lnTo>
                    <a:pt x="61" y="661"/>
                  </a:lnTo>
                  <a:close/>
                  <a:moveTo>
                    <a:pt x="139" y="600"/>
                  </a:moveTo>
                  <a:lnTo>
                    <a:pt x="141" y="600"/>
                  </a:lnTo>
                  <a:lnTo>
                    <a:pt x="141" y="602"/>
                  </a:lnTo>
                  <a:lnTo>
                    <a:pt x="139" y="602"/>
                  </a:lnTo>
                  <a:lnTo>
                    <a:pt x="137" y="602"/>
                  </a:lnTo>
                  <a:lnTo>
                    <a:pt x="139" y="600"/>
                  </a:lnTo>
                  <a:close/>
                  <a:moveTo>
                    <a:pt x="258" y="437"/>
                  </a:moveTo>
                  <a:lnTo>
                    <a:pt x="258" y="439"/>
                  </a:lnTo>
                  <a:lnTo>
                    <a:pt x="256" y="440"/>
                  </a:lnTo>
                  <a:lnTo>
                    <a:pt x="256" y="439"/>
                  </a:lnTo>
                  <a:lnTo>
                    <a:pt x="256" y="440"/>
                  </a:lnTo>
                  <a:lnTo>
                    <a:pt x="255" y="440"/>
                  </a:lnTo>
                  <a:lnTo>
                    <a:pt x="255" y="437"/>
                  </a:lnTo>
                  <a:lnTo>
                    <a:pt x="256" y="437"/>
                  </a:lnTo>
                  <a:lnTo>
                    <a:pt x="256" y="439"/>
                  </a:lnTo>
                  <a:lnTo>
                    <a:pt x="258" y="439"/>
                  </a:lnTo>
                  <a:lnTo>
                    <a:pt x="258" y="437"/>
                  </a:lnTo>
                  <a:close/>
                  <a:moveTo>
                    <a:pt x="321" y="257"/>
                  </a:moveTo>
                  <a:lnTo>
                    <a:pt x="323" y="257"/>
                  </a:lnTo>
                  <a:lnTo>
                    <a:pt x="321" y="257"/>
                  </a:lnTo>
                  <a:lnTo>
                    <a:pt x="321" y="258"/>
                  </a:lnTo>
                  <a:lnTo>
                    <a:pt x="319" y="258"/>
                  </a:lnTo>
                  <a:lnTo>
                    <a:pt x="319" y="257"/>
                  </a:lnTo>
                  <a:lnTo>
                    <a:pt x="321" y="257"/>
                  </a:lnTo>
                  <a:close/>
                  <a:moveTo>
                    <a:pt x="11" y="859"/>
                  </a:moveTo>
                  <a:lnTo>
                    <a:pt x="13" y="861"/>
                  </a:lnTo>
                  <a:lnTo>
                    <a:pt x="11" y="862"/>
                  </a:lnTo>
                  <a:lnTo>
                    <a:pt x="13" y="861"/>
                  </a:lnTo>
                  <a:lnTo>
                    <a:pt x="11" y="862"/>
                  </a:lnTo>
                  <a:lnTo>
                    <a:pt x="11" y="861"/>
                  </a:lnTo>
                  <a:lnTo>
                    <a:pt x="11" y="859"/>
                  </a:lnTo>
                  <a:close/>
                  <a:moveTo>
                    <a:pt x="57" y="976"/>
                  </a:moveTo>
                  <a:lnTo>
                    <a:pt x="61" y="976"/>
                  </a:lnTo>
                  <a:lnTo>
                    <a:pt x="61" y="980"/>
                  </a:lnTo>
                  <a:lnTo>
                    <a:pt x="59" y="978"/>
                  </a:lnTo>
                  <a:lnTo>
                    <a:pt x="57" y="976"/>
                  </a:lnTo>
                  <a:close/>
                  <a:moveTo>
                    <a:pt x="435" y="105"/>
                  </a:moveTo>
                  <a:lnTo>
                    <a:pt x="436" y="107"/>
                  </a:lnTo>
                  <a:lnTo>
                    <a:pt x="436" y="109"/>
                  </a:lnTo>
                  <a:lnTo>
                    <a:pt x="433" y="107"/>
                  </a:lnTo>
                  <a:lnTo>
                    <a:pt x="435" y="105"/>
                  </a:lnTo>
                  <a:close/>
                  <a:moveTo>
                    <a:pt x="28" y="859"/>
                  </a:moveTo>
                  <a:lnTo>
                    <a:pt x="30" y="861"/>
                  </a:lnTo>
                  <a:lnTo>
                    <a:pt x="28" y="862"/>
                  </a:lnTo>
                  <a:lnTo>
                    <a:pt x="28" y="864"/>
                  </a:lnTo>
                  <a:lnTo>
                    <a:pt x="27" y="861"/>
                  </a:lnTo>
                  <a:lnTo>
                    <a:pt x="28" y="859"/>
                  </a:lnTo>
                  <a:close/>
                  <a:moveTo>
                    <a:pt x="59" y="665"/>
                  </a:moveTo>
                  <a:lnTo>
                    <a:pt x="61" y="667"/>
                  </a:lnTo>
                  <a:lnTo>
                    <a:pt x="61" y="668"/>
                  </a:lnTo>
                  <a:lnTo>
                    <a:pt x="59" y="667"/>
                  </a:lnTo>
                  <a:lnTo>
                    <a:pt x="59" y="665"/>
                  </a:lnTo>
                  <a:close/>
                  <a:moveTo>
                    <a:pt x="392" y="148"/>
                  </a:moveTo>
                  <a:lnTo>
                    <a:pt x="394" y="149"/>
                  </a:lnTo>
                  <a:lnTo>
                    <a:pt x="392" y="151"/>
                  </a:lnTo>
                  <a:lnTo>
                    <a:pt x="391" y="151"/>
                  </a:lnTo>
                  <a:lnTo>
                    <a:pt x="392" y="151"/>
                  </a:lnTo>
                  <a:lnTo>
                    <a:pt x="392" y="149"/>
                  </a:lnTo>
                  <a:lnTo>
                    <a:pt x="391" y="149"/>
                  </a:lnTo>
                  <a:lnTo>
                    <a:pt x="392" y="149"/>
                  </a:lnTo>
                  <a:lnTo>
                    <a:pt x="391" y="149"/>
                  </a:lnTo>
                  <a:lnTo>
                    <a:pt x="392" y="148"/>
                  </a:lnTo>
                  <a:close/>
                  <a:moveTo>
                    <a:pt x="6" y="804"/>
                  </a:moveTo>
                  <a:lnTo>
                    <a:pt x="6" y="806"/>
                  </a:lnTo>
                  <a:lnTo>
                    <a:pt x="6" y="808"/>
                  </a:lnTo>
                  <a:lnTo>
                    <a:pt x="5" y="806"/>
                  </a:lnTo>
                  <a:lnTo>
                    <a:pt x="5" y="808"/>
                  </a:lnTo>
                  <a:lnTo>
                    <a:pt x="5" y="806"/>
                  </a:lnTo>
                  <a:lnTo>
                    <a:pt x="5" y="804"/>
                  </a:lnTo>
                  <a:lnTo>
                    <a:pt x="6" y="804"/>
                  </a:lnTo>
                  <a:close/>
                  <a:moveTo>
                    <a:pt x="394" y="141"/>
                  </a:moveTo>
                  <a:lnTo>
                    <a:pt x="396" y="144"/>
                  </a:lnTo>
                  <a:lnTo>
                    <a:pt x="394" y="144"/>
                  </a:lnTo>
                  <a:lnTo>
                    <a:pt x="392" y="143"/>
                  </a:lnTo>
                  <a:lnTo>
                    <a:pt x="394" y="141"/>
                  </a:lnTo>
                  <a:close/>
                  <a:moveTo>
                    <a:pt x="535" y="25"/>
                  </a:moveTo>
                  <a:lnTo>
                    <a:pt x="537" y="25"/>
                  </a:lnTo>
                  <a:lnTo>
                    <a:pt x="538" y="25"/>
                  </a:lnTo>
                  <a:lnTo>
                    <a:pt x="537" y="27"/>
                  </a:lnTo>
                  <a:lnTo>
                    <a:pt x="535" y="25"/>
                  </a:lnTo>
                  <a:close/>
                  <a:moveTo>
                    <a:pt x="314" y="262"/>
                  </a:moveTo>
                  <a:lnTo>
                    <a:pt x="316" y="263"/>
                  </a:lnTo>
                  <a:lnTo>
                    <a:pt x="314" y="263"/>
                  </a:lnTo>
                  <a:lnTo>
                    <a:pt x="312" y="265"/>
                  </a:lnTo>
                  <a:lnTo>
                    <a:pt x="314" y="262"/>
                  </a:lnTo>
                  <a:close/>
                  <a:moveTo>
                    <a:pt x="406" y="112"/>
                  </a:moveTo>
                  <a:lnTo>
                    <a:pt x="408" y="114"/>
                  </a:lnTo>
                  <a:lnTo>
                    <a:pt x="406" y="117"/>
                  </a:lnTo>
                  <a:lnTo>
                    <a:pt x="406" y="115"/>
                  </a:lnTo>
                  <a:lnTo>
                    <a:pt x="406" y="112"/>
                  </a:lnTo>
                  <a:close/>
                  <a:moveTo>
                    <a:pt x="343" y="265"/>
                  </a:moveTo>
                  <a:lnTo>
                    <a:pt x="343" y="267"/>
                  </a:lnTo>
                  <a:lnTo>
                    <a:pt x="341" y="267"/>
                  </a:lnTo>
                  <a:lnTo>
                    <a:pt x="343" y="265"/>
                  </a:lnTo>
                  <a:close/>
                  <a:moveTo>
                    <a:pt x="34" y="690"/>
                  </a:moveTo>
                  <a:lnTo>
                    <a:pt x="35" y="690"/>
                  </a:lnTo>
                  <a:lnTo>
                    <a:pt x="35" y="692"/>
                  </a:lnTo>
                  <a:lnTo>
                    <a:pt x="35" y="690"/>
                  </a:lnTo>
                  <a:lnTo>
                    <a:pt x="35" y="692"/>
                  </a:lnTo>
                  <a:lnTo>
                    <a:pt x="34" y="692"/>
                  </a:lnTo>
                  <a:lnTo>
                    <a:pt x="32" y="690"/>
                  </a:lnTo>
                  <a:lnTo>
                    <a:pt x="34" y="690"/>
                  </a:lnTo>
                  <a:close/>
                  <a:moveTo>
                    <a:pt x="166" y="593"/>
                  </a:moveTo>
                  <a:lnTo>
                    <a:pt x="166" y="597"/>
                  </a:lnTo>
                  <a:lnTo>
                    <a:pt x="168" y="597"/>
                  </a:lnTo>
                  <a:lnTo>
                    <a:pt x="166" y="595"/>
                  </a:lnTo>
                  <a:lnTo>
                    <a:pt x="166" y="597"/>
                  </a:lnTo>
                  <a:lnTo>
                    <a:pt x="164" y="595"/>
                  </a:lnTo>
                  <a:lnTo>
                    <a:pt x="164" y="597"/>
                  </a:lnTo>
                  <a:lnTo>
                    <a:pt x="164" y="595"/>
                  </a:lnTo>
                  <a:lnTo>
                    <a:pt x="166" y="595"/>
                  </a:lnTo>
                  <a:lnTo>
                    <a:pt x="166" y="593"/>
                  </a:lnTo>
                  <a:close/>
                  <a:moveTo>
                    <a:pt x="222" y="536"/>
                  </a:moveTo>
                  <a:lnTo>
                    <a:pt x="224" y="537"/>
                  </a:lnTo>
                  <a:lnTo>
                    <a:pt x="222" y="537"/>
                  </a:lnTo>
                  <a:lnTo>
                    <a:pt x="222" y="539"/>
                  </a:lnTo>
                  <a:lnTo>
                    <a:pt x="222" y="536"/>
                  </a:lnTo>
                  <a:close/>
                  <a:moveTo>
                    <a:pt x="479" y="117"/>
                  </a:moveTo>
                  <a:lnTo>
                    <a:pt x="481" y="117"/>
                  </a:lnTo>
                  <a:lnTo>
                    <a:pt x="481" y="119"/>
                  </a:lnTo>
                  <a:lnTo>
                    <a:pt x="477" y="117"/>
                  </a:lnTo>
                  <a:lnTo>
                    <a:pt x="479" y="117"/>
                  </a:lnTo>
                  <a:close/>
                  <a:moveTo>
                    <a:pt x="18" y="896"/>
                  </a:moveTo>
                  <a:lnTo>
                    <a:pt x="18" y="898"/>
                  </a:lnTo>
                  <a:lnTo>
                    <a:pt x="18" y="900"/>
                  </a:lnTo>
                  <a:lnTo>
                    <a:pt x="18" y="901"/>
                  </a:lnTo>
                  <a:lnTo>
                    <a:pt x="17" y="900"/>
                  </a:lnTo>
                  <a:lnTo>
                    <a:pt x="17" y="898"/>
                  </a:lnTo>
                  <a:lnTo>
                    <a:pt x="18" y="898"/>
                  </a:lnTo>
                  <a:lnTo>
                    <a:pt x="18" y="896"/>
                  </a:lnTo>
                  <a:close/>
                  <a:moveTo>
                    <a:pt x="20" y="869"/>
                  </a:moveTo>
                  <a:lnTo>
                    <a:pt x="22" y="871"/>
                  </a:lnTo>
                  <a:lnTo>
                    <a:pt x="20" y="871"/>
                  </a:lnTo>
                  <a:lnTo>
                    <a:pt x="20" y="872"/>
                  </a:lnTo>
                  <a:lnTo>
                    <a:pt x="18" y="872"/>
                  </a:lnTo>
                  <a:lnTo>
                    <a:pt x="20" y="871"/>
                  </a:lnTo>
                  <a:lnTo>
                    <a:pt x="20" y="869"/>
                  </a:lnTo>
                  <a:close/>
                  <a:moveTo>
                    <a:pt x="255" y="432"/>
                  </a:moveTo>
                  <a:lnTo>
                    <a:pt x="255" y="434"/>
                  </a:lnTo>
                  <a:lnTo>
                    <a:pt x="255" y="432"/>
                  </a:lnTo>
                  <a:lnTo>
                    <a:pt x="253" y="434"/>
                  </a:lnTo>
                  <a:lnTo>
                    <a:pt x="251" y="435"/>
                  </a:lnTo>
                  <a:lnTo>
                    <a:pt x="253" y="435"/>
                  </a:lnTo>
                  <a:lnTo>
                    <a:pt x="251" y="435"/>
                  </a:lnTo>
                  <a:lnTo>
                    <a:pt x="251" y="437"/>
                  </a:lnTo>
                  <a:lnTo>
                    <a:pt x="251" y="439"/>
                  </a:lnTo>
                  <a:lnTo>
                    <a:pt x="251" y="437"/>
                  </a:lnTo>
                  <a:lnTo>
                    <a:pt x="251" y="435"/>
                  </a:lnTo>
                  <a:lnTo>
                    <a:pt x="253" y="434"/>
                  </a:lnTo>
                  <a:lnTo>
                    <a:pt x="253" y="432"/>
                  </a:lnTo>
                  <a:lnTo>
                    <a:pt x="255" y="432"/>
                  </a:lnTo>
                  <a:close/>
                  <a:moveTo>
                    <a:pt x="255" y="425"/>
                  </a:moveTo>
                  <a:lnTo>
                    <a:pt x="253" y="427"/>
                  </a:lnTo>
                  <a:lnTo>
                    <a:pt x="253" y="428"/>
                  </a:lnTo>
                  <a:lnTo>
                    <a:pt x="251" y="428"/>
                  </a:lnTo>
                  <a:lnTo>
                    <a:pt x="251" y="427"/>
                  </a:lnTo>
                  <a:lnTo>
                    <a:pt x="253" y="427"/>
                  </a:lnTo>
                  <a:lnTo>
                    <a:pt x="255" y="425"/>
                  </a:lnTo>
                  <a:close/>
                  <a:moveTo>
                    <a:pt x="52" y="675"/>
                  </a:moveTo>
                  <a:lnTo>
                    <a:pt x="56" y="675"/>
                  </a:lnTo>
                  <a:lnTo>
                    <a:pt x="54" y="677"/>
                  </a:lnTo>
                  <a:lnTo>
                    <a:pt x="52" y="677"/>
                  </a:lnTo>
                  <a:lnTo>
                    <a:pt x="51" y="677"/>
                  </a:lnTo>
                  <a:lnTo>
                    <a:pt x="52" y="675"/>
                  </a:lnTo>
                  <a:close/>
                  <a:moveTo>
                    <a:pt x="27" y="913"/>
                  </a:moveTo>
                  <a:lnTo>
                    <a:pt x="30" y="915"/>
                  </a:lnTo>
                  <a:lnTo>
                    <a:pt x="28" y="917"/>
                  </a:lnTo>
                  <a:lnTo>
                    <a:pt x="28" y="915"/>
                  </a:lnTo>
                  <a:lnTo>
                    <a:pt x="27" y="915"/>
                  </a:lnTo>
                  <a:lnTo>
                    <a:pt x="27" y="913"/>
                  </a:lnTo>
                  <a:close/>
                  <a:moveTo>
                    <a:pt x="272" y="379"/>
                  </a:moveTo>
                  <a:lnTo>
                    <a:pt x="272" y="383"/>
                  </a:lnTo>
                  <a:lnTo>
                    <a:pt x="270" y="383"/>
                  </a:lnTo>
                  <a:lnTo>
                    <a:pt x="272" y="381"/>
                  </a:lnTo>
                  <a:lnTo>
                    <a:pt x="272" y="379"/>
                  </a:lnTo>
                  <a:close/>
                  <a:moveTo>
                    <a:pt x="433" y="117"/>
                  </a:moveTo>
                  <a:lnTo>
                    <a:pt x="436" y="119"/>
                  </a:lnTo>
                  <a:lnTo>
                    <a:pt x="435" y="119"/>
                  </a:lnTo>
                  <a:lnTo>
                    <a:pt x="433" y="119"/>
                  </a:lnTo>
                  <a:lnTo>
                    <a:pt x="433" y="117"/>
                  </a:lnTo>
                  <a:close/>
                  <a:moveTo>
                    <a:pt x="20" y="738"/>
                  </a:moveTo>
                  <a:lnTo>
                    <a:pt x="22" y="740"/>
                  </a:lnTo>
                  <a:lnTo>
                    <a:pt x="18" y="740"/>
                  </a:lnTo>
                  <a:lnTo>
                    <a:pt x="20" y="738"/>
                  </a:lnTo>
                  <a:close/>
                  <a:moveTo>
                    <a:pt x="246" y="481"/>
                  </a:moveTo>
                  <a:lnTo>
                    <a:pt x="246" y="485"/>
                  </a:lnTo>
                  <a:lnTo>
                    <a:pt x="244" y="483"/>
                  </a:lnTo>
                  <a:lnTo>
                    <a:pt x="246" y="481"/>
                  </a:lnTo>
                  <a:close/>
                  <a:moveTo>
                    <a:pt x="28" y="716"/>
                  </a:moveTo>
                  <a:lnTo>
                    <a:pt x="28" y="718"/>
                  </a:lnTo>
                  <a:lnTo>
                    <a:pt x="27" y="718"/>
                  </a:lnTo>
                  <a:lnTo>
                    <a:pt x="23" y="718"/>
                  </a:lnTo>
                  <a:lnTo>
                    <a:pt x="25" y="716"/>
                  </a:lnTo>
                  <a:lnTo>
                    <a:pt x="28" y="716"/>
                  </a:lnTo>
                  <a:close/>
                  <a:moveTo>
                    <a:pt x="326" y="303"/>
                  </a:moveTo>
                  <a:lnTo>
                    <a:pt x="326" y="304"/>
                  </a:lnTo>
                  <a:lnTo>
                    <a:pt x="323" y="304"/>
                  </a:lnTo>
                  <a:lnTo>
                    <a:pt x="324" y="303"/>
                  </a:lnTo>
                  <a:lnTo>
                    <a:pt x="326" y="303"/>
                  </a:lnTo>
                  <a:close/>
                  <a:moveTo>
                    <a:pt x="273" y="376"/>
                  </a:moveTo>
                  <a:lnTo>
                    <a:pt x="273" y="377"/>
                  </a:lnTo>
                  <a:lnTo>
                    <a:pt x="273" y="379"/>
                  </a:lnTo>
                  <a:lnTo>
                    <a:pt x="272" y="379"/>
                  </a:lnTo>
                  <a:lnTo>
                    <a:pt x="273" y="379"/>
                  </a:lnTo>
                  <a:lnTo>
                    <a:pt x="272" y="379"/>
                  </a:lnTo>
                  <a:lnTo>
                    <a:pt x="273" y="377"/>
                  </a:lnTo>
                  <a:lnTo>
                    <a:pt x="272" y="377"/>
                  </a:lnTo>
                  <a:lnTo>
                    <a:pt x="273" y="377"/>
                  </a:lnTo>
                  <a:lnTo>
                    <a:pt x="273" y="376"/>
                  </a:lnTo>
                  <a:close/>
                  <a:moveTo>
                    <a:pt x="30" y="869"/>
                  </a:moveTo>
                  <a:lnTo>
                    <a:pt x="32" y="869"/>
                  </a:lnTo>
                  <a:lnTo>
                    <a:pt x="34" y="871"/>
                  </a:lnTo>
                  <a:lnTo>
                    <a:pt x="32" y="871"/>
                  </a:lnTo>
                  <a:lnTo>
                    <a:pt x="30" y="871"/>
                  </a:lnTo>
                  <a:lnTo>
                    <a:pt x="30" y="869"/>
                  </a:lnTo>
                  <a:close/>
                  <a:moveTo>
                    <a:pt x="409" y="112"/>
                  </a:moveTo>
                  <a:lnTo>
                    <a:pt x="411" y="114"/>
                  </a:lnTo>
                  <a:lnTo>
                    <a:pt x="411" y="115"/>
                  </a:lnTo>
                  <a:lnTo>
                    <a:pt x="411" y="114"/>
                  </a:lnTo>
                  <a:lnTo>
                    <a:pt x="411" y="115"/>
                  </a:lnTo>
                  <a:lnTo>
                    <a:pt x="409" y="115"/>
                  </a:lnTo>
                  <a:lnTo>
                    <a:pt x="409" y="114"/>
                  </a:lnTo>
                  <a:lnTo>
                    <a:pt x="409" y="112"/>
                  </a:lnTo>
                  <a:close/>
                  <a:moveTo>
                    <a:pt x="428" y="100"/>
                  </a:moveTo>
                  <a:lnTo>
                    <a:pt x="428" y="102"/>
                  </a:lnTo>
                  <a:lnTo>
                    <a:pt x="428" y="104"/>
                  </a:lnTo>
                  <a:lnTo>
                    <a:pt x="426" y="102"/>
                  </a:lnTo>
                  <a:lnTo>
                    <a:pt x="428" y="100"/>
                  </a:lnTo>
                  <a:close/>
                  <a:moveTo>
                    <a:pt x="15" y="838"/>
                  </a:moveTo>
                  <a:lnTo>
                    <a:pt x="15" y="840"/>
                  </a:lnTo>
                  <a:lnTo>
                    <a:pt x="15" y="842"/>
                  </a:lnTo>
                  <a:lnTo>
                    <a:pt x="15" y="844"/>
                  </a:lnTo>
                  <a:lnTo>
                    <a:pt x="15" y="842"/>
                  </a:lnTo>
                  <a:lnTo>
                    <a:pt x="13" y="844"/>
                  </a:lnTo>
                  <a:lnTo>
                    <a:pt x="15" y="842"/>
                  </a:lnTo>
                  <a:lnTo>
                    <a:pt x="13" y="840"/>
                  </a:lnTo>
                  <a:lnTo>
                    <a:pt x="13" y="838"/>
                  </a:lnTo>
                  <a:lnTo>
                    <a:pt x="15" y="840"/>
                  </a:lnTo>
                  <a:lnTo>
                    <a:pt x="15" y="838"/>
                  </a:lnTo>
                  <a:close/>
                  <a:moveTo>
                    <a:pt x="18" y="743"/>
                  </a:moveTo>
                  <a:lnTo>
                    <a:pt x="20" y="743"/>
                  </a:lnTo>
                  <a:lnTo>
                    <a:pt x="22" y="745"/>
                  </a:lnTo>
                  <a:lnTo>
                    <a:pt x="20" y="745"/>
                  </a:lnTo>
                  <a:lnTo>
                    <a:pt x="18" y="745"/>
                  </a:lnTo>
                  <a:lnTo>
                    <a:pt x="18" y="743"/>
                  </a:lnTo>
                  <a:close/>
                  <a:moveTo>
                    <a:pt x="10" y="782"/>
                  </a:moveTo>
                  <a:lnTo>
                    <a:pt x="11" y="784"/>
                  </a:lnTo>
                  <a:lnTo>
                    <a:pt x="11" y="786"/>
                  </a:lnTo>
                  <a:lnTo>
                    <a:pt x="11" y="787"/>
                  </a:lnTo>
                  <a:lnTo>
                    <a:pt x="11" y="786"/>
                  </a:lnTo>
                  <a:lnTo>
                    <a:pt x="10" y="784"/>
                  </a:lnTo>
                  <a:lnTo>
                    <a:pt x="10" y="782"/>
                  </a:lnTo>
                  <a:close/>
                  <a:moveTo>
                    <a:pt x="142" y="588"/>
                  </a:moveTo>
                  <a:lnTo>
                    <a:pt x="144" y="585"/>
                  </a:lnTo>
                  <a:lnTo>
                    <a:pt x="146" y="585"/>
                  </a:lnTo>
                  <a:lnTo>
                    <a:pt x="144" y="587"/>
                  </a:lnTo>
                  <a:lnTo>
                    <a:pt x="146" y="587"/>
                  </a:lnTo>
                  <a:lnTo>
                    <a:pt x="144" y="588"/>
                  </a:lnTo>
                  <a:lnTo>
                    <a:pt x="144" y="587"/>
                  </a:lnTo>
                  <a:lnTo>
                    <a:pt x="142" y="588"/>
                  </a:lnTo>
                  <a:close/>
                  <a:moveTo>
                    <a:pt x="246" y="449"/>
                  </a:moveTo>
                  <a:lnTo>
                    <a:pt x="248" y="451"/>
                  </a:lnTo>
                  <a:lnTo>
                    <a:pt x="244" y="451"/>
                  </a:lnTo>
                  <a:lnTo>
                    <a:pt x="246" y="449"/>
                  </a:lnTo>
                  <a:close/>
                  <a:moveTo>
                    <a:pt x="256" y="490"/>
                  </a:moveTo>
                  <a:lnTo>
                    <a:pt x="258" y="490"/>
                  </a:lnTo>
                  <a:lnTo>
                    <a:pt x="260" y="490"/>
                  </a:lnTo>
                  <a:lnTo>
                    <a:pt x="256" y="491"/>
                  </a:lnTo>
                  <a:lnTo>
                    <a:pt x="256" y="490"/>
                  </a:lnTo>
                  <a:lnTo>
                    <a:pt x="255" y="490"/>
                  </a:lnTo>
                  <a:lnTo>
                    <a:pt x="256" y="490"/>
                  </a:lnTo>
                  <a:close/>
                  <a:moveTo>
                    <a:pt x="39" y="910"/>
                  </a:moveTo>
                  <a:lnTo>
                    <a:pt x="39" y="912"/>
                  </a:lnTo>
                  <a:lnTo>
                    <a:pt x="37" y="913"/>
                  </a:lnTo>
                  <a:lnTo>
                    <a:pt x="35" y="913"/>
                  </a:lnTo>
                  <a:lnTo>
                    <a:pt x="37" y="912"/>
                  </a:lnTo>
                  <a:lnTo>
                    <a:pt x="39" y="910"/>
                  </a:lnTo>
                  <a:close/>
                  <a:moveTo>
                    <a:pt x="5" y="755"/>
                  </a:moveTo>
                  <a:lnTo>
                    <a:pt x="6" y="757"/>
                  </a:lnTo>
                  <a:lnTo>
                    <a:pt x="8" y="757"/>
                  </a:lnTo>
                  <a:lnTo>
                    <a:pt x="8" y="758"/>
                  </a:lnTo>
                  <a:lnTo>
                    <a:pt x="6" y="757"/>
                  </a:lnTo>
                  <a:lnTo>
                    <a:pt x="6" y="758"/>
                  </a:lnTo>
                  <a:lnTo>
                    <a:pt x="6" y="757"/>
                  </a:lnTo>
                  <a:lnTo>
                    <a:pt x="6" y="758"/>
                  </a:lnTo>
                  <a:lnTo>
                    <a:pt x="5" y="757"/>
                  </a:lnTo>
                  <a:lnTo>
                    <a:pt x="5" y="758"/>
                  </a:lnTo>
                  <a:lnTo>
                    <a:pt x="5" y="757"/>
                  </a:lnTo>
                  <a:lnTo>
                    <a:pt x="5" y="755"/>
                  </a:lnTo>
                  <a:lnTo>
                    <a:pt x="5" y="757"/>
                  </a:lnTo>
                  <a:lnTo>
                    <a:pt x="5" y="755"/>
                  </a:lnTo>
                  <a:lnTo>
                    <a:pt x="5" y="757"/>
                  </a:lnTo>
                  <a:lnTo>
                    <a:pt x="5" y="755"/>
                  </a:lnTo>
                  <a:close/>
                  <a:moveTo>
                    <a:pt x="289" y="362"/>
                  </a:moveTo>
                  <a:lnTo>
                    <a:pt x="289" y="366"/>
                  </a:lnTo>
                  <a:lnTo>
                    <a:pt x="287" y="366"/>
                  </a:lnTo>
                  <a:lnTo>
                    <a:pt x="289" y="364"/>
                  </a:lnTo>
                  <a:lnTo>
                    <a:pt x="289" y="362"/>
                  </a:lnTo>
                  <a:close/>
                  <a:moveTo>
                    <a:pt x="8" y="809"/>
                  </a:moveTo>
                  <a:lnTo>
                    <a:pt x="8" y="811"/>
                  </a:lnTo>
                  <a:lnTo>
                    <a:pt x="8" y="813"/>
                  </a:lnTo>
                  <a:lnTo>
                    <a:pt x="6" y="811"/>
                  </a:lnTo>
                  <a:lnTo>
                    <a:pt x="6" y="813"/>
                  </a:lnTo>
                  <a:lnTo>
                    <a:pt x="6" y="811"/>
                  </a:lnTo>
                  <a:lnTo>
                    <a:pt x="6" y="809"/>
                  </a:lnTo>
                  <a:lnTo>
                    <a:pt x="8" y="809"/>
                  </a:lnTo>
                  <a:close/>
                  <a:moveTo>
                    <a:pt x="346" y="219"/>
                  </a:moveTo>
                  <a:lnTo>
                    <a:pt x="350" y="223"/>
                  </a:lnTo>
                  <a:lnTo>
                    <a:pt x="346" y="221"/>
                  </a:lnTo>
                  <a:lnTo>
                    <a:pt x="345" y="219"/>
                  </a:lnTo>
                  <a:lnTo>
                    <a:pt x="346" y="219"/>
                  </a:lnTo>
                  <a:close/>
                  <a:moveTo>
                    <a:pt x="68" y="660"/>
                  </a:moveTo>
                  <a:lnTo>
                    <a:pt x="69" y="661"/>
                  </a:lnTo>
                  <a:lnTo>
                    <a:pt x="68" y="661"/>
                  </a:lnTo>
                  <a:lnTo>
                    <a:pt x="64" y="661"/>
                  </a:lnTo>
                  <a:lnTo>
                    <a:pt x="68" y="660"/>
                  </a:lnTo>
                  <a:close/>
                  <a:moveTo>
                    <a:pt x="18" y="713"/>
                  </a:moveTo>
                  <a:lnTo>
                    <a:pt x="20" y="714"/>
                  </a:lnTo>
                  <a:lnTo>
                    <a:pt x="22" y="716"/>
                  </a:lnTo>
                  <a:lnTo>
                    <a:pt x="20" y="716"/>
                  </a:lnTo>
                  <a:lnTo>
                    <a:pt x="18" y="714"/>
                  </a:lnTo>
                  <a:lnTo>
                    <a:pt x="18" y="713"/>
                  </a:lnTo>
                  <a:close/>
                  <a:moveTo>
                    <a:pt x="47" y="685"/>
                  </a:moveTo>
                  <a:lnTo>
                    <a:pt x="47" y="689"/>
                  </a:lnTo>
                  <a:lnTo>
                    <a:pt x="45" y="689"/>
                  </a:lnTo>
                  <a:lnTo>
                    <a:pt x="45" y="687"/>
                  </a:lnTo>
                  <a:lnTo>
                    <a:pt x="47" y="685"/>
                  </a:lnTo>
                  <a:close/>
                  <a:moveTo>
                    <a:pt x="115" y="641"/>
                  </a:moveTo>
                  <a:lnTo>
                    <a:pt x="115" y="643"/>
                  </a:lnTo>
                  <a:lnTo>
                    <a:pt x="113" y="644"/>
                  </a:lnTo>
                  <a:lnTo>
                    <a:pt x="113" y="643"/>
                  </a:lnTo>
                  <a:lnTo>
                    <a:pt x="115" y="641"/>
                  </a:lnTo>
                  <a:close/>
                  <a:moveTo>
                    <a:pt x="272" y="384"/>
                  </a:moveTo>
                  <a:lnTo>
                    <a:pt x="273" y="386"/>
                  </a:lnTo>
                  <a:lnTo>
                    <a:pt x="272" y="386"/>
                  </a:lnTo>
                  <a:lnTo>
                    <a:pt x="272" y="384"/>
                  </a:lnTo>
                  <a:close/>
                  <a:moveTo>
                    <a:pt x="11" y="735"/>
                  </a:moveTo>
                  <a:lnTo>
                    <a:pt x="13" y="735"/>
                  </a:lnTo>
                  <a:lnTo>
                    <a:pt x="13" y="736"/>
                  </a:lnTo>
                  <a:lnTo>
                    <a:pt x="11" y="736"/>
                  </a:lnTo>
                  <a:lnTo>
                    <a:pt x="10" y="736"/>
                  </a:lnTo>
                  <a:lnTo>
                    <a:pt x="11" y="735"/>
                  </a:lnTo>
                  <a:lnTo>
                    <a:pt x="11" y="736"/>
                  </a:lnTo>
                  <a:lnTo>
                    <a:pt x="11" y="735"/>
                  </a:lnTo>
                  <a:close/>
                  <a:moveTo>
                    <a:pt x="248" y="462"/>
                  </a:moveTo>
                  <a:lnTo>
                    <a:pt x="248" y="464"/>
                  </a:lnTo>
                  <a:lnTo>
                    <a:pt x="249" y="462"/>
                  </a:lnTo>
                  <a:lnTo>
                    <a:pt x="249" y="464"/>
                  </a:lnTo>
                  <a:lnTo>
                    <a:pt x="248" y="466"/>
                  </a:lnTo>
                  <a:lnTo>
                    <a:pt x="246" y="466"/>
                  </a:lnTo>
                  <a:lnTo>
                    <a:pt x="248" y="464"/>
                  </a:lnTo>
                  <a:lnTo>
                    <a:pt x="246" y="466"/>
                  </a:lnTo>
                  <a:lnTo>
                    <a:pt x="248" y="462"/>
                  </a:lnTo>
                  <a:close/>
                  <a:moveTo>
                    <a:pt x="249" y="452"/>
                  </a:moveTo>
                  <a:lnTo>
                    <a:pt x="249" y="454"/>
                  </a:lnTo>
                  <a:lnTo>
                    <a:pt x="248" y="456"/>
                  </a:lnTo>
                  <a:lnTo>
                    <a:pt x="248" y="454"/>
                  </a:lnTo>
                  <a:lnTo>
                    <a:pt x="249" y="454"/>
                  </a:lnTo>
                  <a:lnTo>
                    <a:pt x="249" y="452"/>
                  </a:lnTo>
                  <a:close/>
                  <a:moveTo>
                    <a:pt x="515" y="95"/>
                  </a:moveTo>
                  <a:lnTo>
                    <a:pt x="516" y="95"/>
                  </a:lnTo>
                  <a:lnTo>
                    <a:pt x="515" y="97"/>
                  </a:lnTo>
                  <a:lnTo>
                    <a:pt x="513" y="95"/>
                  </a:lnTo>
                  <a:lnTo>
                    <a:pt x="515" y="95"/>
                  </a:lnTo>
                  <a:close/>
                  <a:moveTo>
                    <a:pt x="467" y="110"/>
                  </a:moveTo>
                  <a:lnTo>
                    <a:pt x="469" y="112"/>
                  </a:lnTo>
                  <a:lnTo>
                    <a:pt x="467" y="112"/>
                  </a:lnTo>
                  <a:lnTo>
                    <a:pt x="465" y="110"/>
                  </a:lnTo>
                  <a:lnTo>
                    <a:pt x="467" y="110"/>
                  </a:lnTo>
                  <a:close/>
                  <a:moveTo>
                    <a:pt x="260" y="439"/>
                  </a:moveTo>
                  <a:lnTo>
                    <a:pt x="261" y="440"/>
                  </a:lnTo>
                  <a:lnTo>
                    <a:pt x="260" y="440"/>
                  </a:lnTo>
                  <a:lnTo>
                    <a:pt x="260" y="442"/>
                  </a:lnTo>
                  <a:lnTo>
                    <a:pt x="260" y="440"/>
                  </a:lnTo>
                  <a:lnTo>
                    <a:pt x="260" y="439"/>
                  </a:lnTo>
                  <a:close/>
                  <a:moveTo>
                    <a:pt x="212" y="500"/>
                  </a:moveTo>
                  <a:lnTo>
                    <a:pt x="210" y="502"/>
                  </a:lnTo>
                  <a:lnTo>
                    <a:pt x="212" y="500"/>
                  </a:lnTo>
                  <a:lnTo>
                    <a:pt x="210" y="502"/>
                  </a:lnTo>
                  <a:lnTo>
                    <a:pt x="212" y="502"/>
                  </a:lnTo>
                  <a:lnTo>
                    <a:pt x="210" y="502"/>
                  </a:lnTo>
                  <a:lnTo>
                    <a:pt x="210" y="503"/>
                  </a:lnTo>
                  <a:lnTo>
                    <a:pt x="210" y="502"/>
                  </a:lnTo>
                  <a:lnTo>
                    <a:pt x="210" y="503"/>
                  </a:lnTo>
                  <a:lnTo>
                    <a:pt x="210" y="502"/>
                  </a:lnTo>
                  <a:lnTo>
                    <a:pt x="209" y="502"/>
                  </a:lnTo>
                  <a:lnTo>
                    <a:pt x="210" y="502"/>
                  </a:lnTo>
                  <a:lnTo>
                    <a:pt x="210" y="500"/>
                  </a:lnTo>
                  <a:lnTo>
                    <a:pt x="212" y="500"/>
                  </a:lnTo>
                  <a:close/>
                  <a:moveTo>
                    <a:pt x="294" y="343"/>
                  </a:moveTo>
                  <a:lnTo>
                    <a:pt x="295" y="345"/>
                  </a:lnTo>
                  <a:lnTo>
                    <a:pt x="294" y="345"/>
                  </a:lnTo>
                  <a:lnTo>
                    <a:pt x="292" y="345"/>
                  </a:lnTo>
                  <a:lnTo>
                    <a:pt x="294" y="343"/>
                  </a:lnTo>
                  <a:close/>
                  <a:moveTo>
                    <a:pt x="219" y="920"/>
                  </a:moveTo>
                  <a:lnTo>
                    <a:pt x="219" y="922"/>
                  </a:lnTo>
                  <a:lnTo>
                    <a:pt x="219" y="923"/>
                  </a:lnTo>
                  <a:lnTo>
                    <a:pt x="219" y="922"/>
                  </a:lnTo>
                  <a:lnTo>
                    <a:pt x="217" y="922"/>
                  </a:lnTo>
                  <a:lnTo>
                    <a:pt x="219" y="920"/>
                  </a:lnTo>
                  <a:close/>
                  <a:moveTo>
                    <a:pt x="312" y="218"/>
                  </a:moveTo>
                  <a:lnTo>
                    <a:pt x="312" y="219"/>
                  </a:lnTo>
                  <a:lnTo>
                    <a:pt x="312" y="221"/>
                  </a:lnTo>
                  <a:lnTo>
                    <a:pt x="312" y="219"/>
                  </a:lnTo>
                  <a:lnTo>
                    <a:pt x="311" y="219"/>
                  </a:lnTo>
                  <a:lnTo>
                    <a:pt x="312" y="218"/>
                  </a:lnTo>
                  <a:close/>
                  <a:moveTo>
                    <a:pt x="27" y="707"/>
                  </a:moveTo>
                  <a:lnTo>
                    <a:pt x="28" y="707"/>
                  </a:lnTo>
                  <a:lnTo>
                    <a:pt x="28" y="709"/>
                  </a:lnTo>
                  <a:lnTo>
                    <a:pt x="27" y="707"/>
                  </a:lnTo>
                  <a:close/>
                  <a:moveTo>
                    <a:pt x="226" y="503"/>
                  </a:moveTo>
                  <a:lnTo>
                    <a:pt x="224" y="505"/>
                  </a:lnTo>
                  <a:lnTo>
                    <a:pt x="226" y="505"/>
                  </a:lnTo>
                  <a:lnTo>
                    <a:pt x="224" y="507"/>
                  </a:lnTo>
                  <a:lnTo>
                    <a:pt x="224" y="505"/>
                  </a:lnTo>
                  <a:lnTo>
                    <a:pt x="226" y="503"/>
                  </a:lnTo>
                  <a:close/>
                  <a:moveTo>
                    <a:pt x="30" y="855"/>
                  </a:moveTo>
                  <a:lnTo>
                    <a:pt x="30" y="857"/>
                  </a:lnTo>
                  <a:lnTo>
                    <a:pt x="30" y="859"/>
                  </a:lnTo>
                  <a:lnTo>
                    <a:pt x="28" y="859"/>
                  </a:lnTo>
                  <a:lnTo>
                    <a:pt x="30" y="855"/>
                  </a:lnTo>
                  <a:close/>
                  <a:moveTo>
                    <a:pt x="166" y="583"/>
                  </a:moveTo>
                  <a:lnTo>
                    <a:pt x="166" y="585"/>
                  </a:lnTo>
                  <a:lnTo>
                    <a:pt x="166" y="587"/>
                  </a:lnTo>
                  <a:lnTo>
                    <a:pt x="164" y="587"/>
                  </a:lnTo>
                  <a:lnTo>
                    <a:pt x="166" y="585"/>
                  </a:lnTo>
                  <a:lnTo>
                    <a:pt x="166" y="583"/>
                  </a:lnTo>
                  <a:close/>
                  <a:moveTo>
                    <a:pt x="153" y="944"/>
                  </a:moveTo>
                  <a:lnTo>
                    <a:pt x="154" y="944"/>
                  </a:lnTo>
                  <a:lnTo>
                    <a:pt x="156" y="944"/>
                  </a:lnTo>
                  <a:lnTo>
                    <a:pt x="156" y="946"/>
                  </a:lnTo>
                  <a:lnTo>
                    <a:pt x="154" y="946"/>
                  </a:lnTo>
                  <a:lnTo>
                    <a:pt x="154" y="944"/>
                  </a:lnTo>
                  <a:lnTo>
                    <a:pt x="153" y="944"/>
                  </a:lnTo>
                  <a:close/>
                  <a:moveTo>
                    <a:pt x="314" y="333"/>
                  </a:moveTo>
                  <a:lnTo>
                    <a:pt x="317" y="335"/>
                  </a:lnTo>
                  <a:lnTo>
                    <a:pt x="316" y="335"/>
                  </a:lnTo>
                  <a:lnTo>
                    <a:pt x="314" y="335"/>
                  </a:lnTo>
                  <a:lnTo>
                    <a:pt x="314" y="333"/>
                  </a:lnTo>
                  <a:close/>
                  <a:moveTo>
                    <a:pt x="469" y="105"/>
                  </a:moveTo>
                  <a:lnTo>
                    <a:pt x="469" y="107"/>
                  </a:lnTo>
                  <a:lnTo>
                    <a:pt x="467" y="107"/>
                  </a:lnTo>
                  <a:lnTo>
                    <a:pt x="469" y="105"/>
                  </a:lnTo>
                  <a:close/>
                  <a:moveTo>
                    <a:pt x="42" y="685"/>
                  </a:moveTo>
                  <a:lnTo>
                    <a:pt x="42" y="687"/>
                  </a:lnTo>
                  <a:lnTo>
                    <a:pt x="40" y="687"/>
                  </a:lnTo>
                  <a:lnTo>
                    <a:pt x="40" y="685"/>
                  </a:lnTo>
                  <a:lnTo>
                    <a:pt x="42" y="685"/>
                  </a:lnTo>
                  <a:close/>
                  <a:moveTo>
                    <a:pt x="127" y="619"/>
                  </a:moveTo>
                  <a:lnTo>
                    <a:pt x="127" y="621"/>
                  </a:lnTo>
                  <a:lnTo>
                    <a:pt x="125" y="621"/>
                  </a:lnTo>
                  <a:lnTo>
                    <a:pt x="125" y="622"/>
                  </a:lnTo>
                  <a:lnTo>
                    <a:pt x="124" y="622"/>
                  </a:lnTo>
                  <a:lnTo>
                    <a:pt x="124" y="621"/>
                  </a:lnTo>
                  <a:lnTo>
                    <a:pt x="127" y="621"/>
                  </a:lnTo>
                  <a:lnTo>
                    <a:pt x="127" y="619"/>
                  </a:lnTo>
                  <a:close/>
                  <a:moveTo>
                    <a:pt x="32" y="694"/>
                  </a:moveTo>
                  <a:lnTo>
                    <a:pt x="34" y="696"/>
                  </a:lnTo>
                  <a:lnTo>
                    <a:pt x="30" y="694"/>
                  </a:lnTo>
                  <a:lnTo>
                    <a:pt x="32" y="694"/>
                  </a:lnTo>
                  <a:close/>
                  <a:moveTo>
                    <a:pt x="253" y="415"/>
                  </a:moveTo>
                  <a:lnTo>
                    <a:pt x="253" y="417"/>
                  </a:lnTo>
                  <a:lnTo>
                    <a:pt x="251" y="418"/>
                  </a:lnTo>
                  <a:lnTo>
                    <a:pt x="253" y="417"/>
                  </a:lnTo>
                  <a:lnTo>
                    <a:pt x="251" y="417"/>
                  </a:lnTo>
                  <a:lnTo>
                    <a:pt x="251" y="418"/>
                  </a:lnTo>
                  <a:lnTo>
                    <a:pt x="251" y="417"/>
                  </a:lnTo>
                  <a:lnTo>
                    <a:pt x="253" y="415"/>
                  </a:lnTo>
                  <a:close/>
                  <a:moveTo>
                    <a:pt x="13" y="740"/>
                  </a:moveTo>
                  <a:lnTo>
                    <a:pt x="15" y="743"/>
                  </a:lnTo>
                  <a:lnTo>
                    <a:pt x="17" y="741"/>
                  </a:lnTo>
                  <a:lnTo>
                    <a:pt x="15" y="743"/>
                  </a:lnTo>
                  <a:lnTo>
                    <a:pt x="13" y="741"/>
                  </a:lnTo>
                  <a:lnTo>
                    <a:pt x="13" y="740"/>
                  </a:lnTo>
                  <a:close/>
                  <a:moveTo>
                    <a:pt x="219" y="918"/>
                  </a:moveTo>
                  <a:lnTo>
                    <a:pt x="219" y="920"/>
                  </a:lnTo>
                  <a:lnTo>
                    <a:pt x="217" y="922"/>
                  </a:lnTo>
                  <a:lnTo>
                    <a:pt x="217" y="920"/>
                  </a:lnTo>
                  <a:lnTo>
                    <a:pt x="219" y="918"/>
                  </a:lnTo>
                  <a:close/>
                  <a:moveTo>
                    <a:pt x="10" y="849"/>
                  </a:moveTo>
                  <a:lnTo>
                    <a:pt x="11" y="849"/>
                  </a:lnTo>
                  <a:lnTo>
                    <a:pt x="11" y="850"/>
                  </a:lnTo>
                  <a:lnTo>
                    <a:pt x="10" y="850"/>
                  </a:lnTo>
                  <a:lnTo>
                    <a:pt x="11" y="849"/>
                  </a:lnTo>
                  <a:lnTo>
                    <a:pt x="10" y="849"/>
                  </a:lnTo>
                  <a:close/>
                  <a:moveTo>
                    <a:pt x="11" y="835"/>
                  </a:moveTo>
                  <a:lnTo>
                    <a:pt x="13" y="835"/>
                  </a:lnTo>
                  <a:lnTo>
                    <a:pt x="13" y="838"/>
                  </a:lnTo>
                  <a:lnTo>
                    <a:pt x="11" y="838"/>
                  </a:lnTo>
                  <a:lnTo>
                    <a:pt x="11" y="835"/>
                  </a:lnTo>
                  <a:close/>
                  <a:moveTo>
                    <a:pt x="124" y="980"/>
                  </a:moveTo>
                  <a:lnTo>
                    <a:pt x="125" y="980"/>
                  </a:lnTo>
                  <a:lnTo>
                    <a:pt x="124" y="981"/>
                  </a:lnTo>
                  <a:lnTo>
                    <a:pt x="122" y="981"/>
                  </a:lnTo>
                  <a:lnTo>
                    <a:pt x="124" y="981"/>
                  </a:lnTo>
                  <a:lnTo>
                    <a:pt x="124" y="980"/>
                  </a:lnTo>
                  <a:close/>
                  <a:moveTo>
                    <a:pt x="251" y="427"/>
                  </a:moveTo>
                  <a:lnTo>
                    <a:pt x="251" y="428"/>
                  </a:lnTo>
                  <a:lnTo>
                    <a:pt x="251" y="430"/>
                  </a:lnTo>
                  <a:lnTo>
                    <a:pt x="249" y="430"/>
                  </a:lnTo>
                  <a:lnTo>
                    <a:pt x="251" y="427"/>
                  </a:lnTo>
                  <a:close/>
                  <a:moveTo>
                    <a:pt x="214" y="500"/>
                  </a:moveTo>
                  <a:lnTo>
                    <a:pt x="214" y="502"/>
                  </a:lnTo>
                  <a:lnTo>
                    <a:pt x="212" y="502"/>
                  </a:lnTo>
                  <a:lnTo>
                    <a:pt x="210" y="503"/>
                  </a:lnTo>
                  <a:lnTo>
                    <a:pt x="210" y="502"/>
                  </a:lnTo>
                  <a:lnTo>
                    <a:pt x="214" y="500"/>
                  </a:lnTo>
                  <a:close/>
                  <a:moveTo>
                    <a:pt x="139" y="964"/>
                  </a:moveTo>
                  <a:lnTo>
                    <a:pt x="139" y="966"/>
                  </a:lnTo>
                  <a:lnTo>
                    <a:pt x="137" y="966"/>
                  </a:lnTo>
                  <a:lnTo>
                    <a:pt x="137" y="964"/>
                  </a:lnTo>
                  <a:lnTo>
                    <a:pt x="139" y="964"/>
                  </a:lnTo>
                  <a:close/>
                  <a:moveTo>
                    <a:pt x="3" y="792"/>
                  </a:moveTo>
                  <a:lnTo>
                    <a:pt x="3" y="794"/>
                  </a:lnTo>
                  <a:lnTo>
                    <a:pt x="3" y="796"/>
                  </a:lnTo>
                  <a:lnTo>
                    <a:pt x="1" y="794"/>
                  </a:lnTo>
                  <a:lnTo>
                    <a:pt x="3" y="794"/>
                  </a:lnTo>
                  <a:lnTo>
                    <a:pt x="1" y="794"/>
                  </a:lnTo>
                  <a:lnTo>
                    <a:pt x="3" y="792"/>
                  </a:lnTo>
                  <a:close/>
                  <a:moveTo>
                    <a:pt x="8" y="813"/>
                  </a:moveTo>
                  <a:lnTo>
                    <a:pt x="10" y="815"/>
                  </a:lnTo>
                  <a:lnTo>
                    <a:pt x="10" y="816"/>
                  </a:lnTo>
                  <a:lnTo>
                    <a:pt x="8" y="816"/>
                  </a:lnTo>
                  <a:lnTo>
                    <a:pt x="8" y="813"/>
                  </a:lnTo>
                  <a:close/>
                  <a:moveTo>
                    <a:pt x="147" y="957"/>
                  </a:moveTo>
                  <a:lnTo>
                    <a:pt x="147" y="959"/>
                  </a:lnTo>
                  <a:lnTo>
                    <a:pt x="146" y="959"/>
                  </a:lnTo>
                  <a:lnTo>
                    <a:pt x="144" y="959"/>
                  </a:lnTo>
                  <a:lnTo>
                    <a:pt x="146" y="957"/>
                  </a:lnTo>
                  <a:lnTo>
                    <a:pt x="147" y="957"/>
                  </a:lnTo>
                  <a:close/>
                  <a:moveTo>
                    <a:pt x="5" y="803"/>
                  </a:moveTo>
                  <a:lnTo>
                    <a:pt x="6" y="804"/>
                  </a:lnTo>
                  <a:lnTo>
                    <a:pt x="5" y="804"/>
                  </a:lnTo>
                  <a:lnTo>
                    <a:pt x="5" y="803"/>
                  </a:lnTo>
                  <a:close/>
                  <a:moveTo>
                    <a:pt x="686" y="75"/>
                  </a:moveTo>
                  <a:lnTo>
                    <a:pt x="688" y="75"/>
                  </a:lnTo>
                  <a:lnTo>
                    <a:pt x="688" y="76"/>
                  </a:lnTo>
                  <a:lnTo>
                    <a:pt x="686" y="76"/>
                  </a:lnTo>
                  <a:lnTo>
                    <a:pt x="686" y="75"/>
                  </a:lnTo>
                  <a:close/>
                  <a:moveTo>
                    <a:pt x="297" y="331"/>
                  </a:moveTo>
                  <a:lnTo>
                    <a:pt x="297" y="333"/>
                  </a:lnTo>
                  <a:lnTo>
                    <a:pt x="295" y="333"/>
                  </a:lnTo>
                  <a:lnTo>
                    <a:pt x="294" y="333"/>
                  </a:lnTo>
                  <a:lnTo>
                    <a:pt x="295" y="333"/>
                  </a:lnTo>
                  <a:lnTo>
                    <a:pt x="295" y="331"/>
                  </a:lnTo>
                  <a:lnTo>
                    <a:pt x="297" y="331"/>
                  </a:lnTo>
                  <a:close/>
                  <a:moveTo>
                    <a:pt x="22" y="903"/>
                  </a:moveTo>
                  <a:lnTo>
                    <a:pt x="23" y="903"/>
                  </a:lnTo>
                  <a:lnTo>
                    <a:pt x="23" y="906"/>
                  </a:lnTo>
                  <a:lnTo>
                    <a:pt x="22" y="906"/>
                  </a:lnTo>
                  <a:lnTo>
                    <a:pt x="22" y="903"/>
                  </a:lnTo>
                  <a:close/>
                  <a:moveTo>
                    <a:pt x="275" y="381"/>
                  </a:moveTo>
                  <a:lnTo>
                    <a:pt x="275" y="383"/>
                  </a:lnTo>
                  <a:lnTo>
                    <a:pt x="273" y="384"/>
                  </a:lnTo>
                  <a:lnTo>
                    <a:pt x="273" y="383"/>
                  </a:lnTo>
                  <a:lnTo>
                    <a:pt x="275" y="381"/>
                  </a:lnTo>
                  <a:close/>
                  <a:moveTo>
                    <a:pt x="57" y="673"/>
                  </a:moveTo>
                  <a:lnTo>
                    <a:pt x="59" y="673"/>
                  </a:lnTo>
                  <a:lnTo>
                    <a:pt x="57" y="675"/>
                  </a:lnTo>
                  <a:lnTo>
                    <a:pt x="56" y="675"/>
                  </a:lnTo>
                  <a:lnTo>
                    <a:pt x="57" y="673"/>
                  </a:lnTo>
                  <a:close/>
                  <a:moveTo>
                    <a:pt x="154" y="593"/>
                  </a:moveTo>
                  <a:lnTo>
                    <a:pt x="156" y="595"/>
                  </a:lnTo>
                  <a:lnTo>
                    <a:pt x="154" y="595"/>
                  </a:lnTo>
                  <a:lnTo>
                    <a:pt x="154" y="593"/>
                  </a:lnTo>
                  <a:close/>
                  <a:moveTo>
                    <a:pt x="18" y="736"/>
                  </a:moveTo>
                  <a:lnTo>
                    <a:pt x="22" y="736"/>
                  </a:lnTo>
                  <a:lnTo>
                    <a:pt x="18" y="736"/>
                  </a:lnTo>
                  <a:close/>
                  <a:moveTo>
                    <a:pt x="399" y="119"/>
                  </a:moveTo>
                  <a:lnTo>
                    <a:pt x="401" y="119"/>
                  </a:lnTo>
                  <a:lnTo>
                    <a:pt x="401" y="122"/>
                  </a:lnTo>
                  <a:lnTo>
                    <a:pt x="399" y="122"/>
                  </a:lnTo>
                  <a:lnTo>
                    <a:pt x="399" y="119"/>
                  </a:lnTo>
                  <a:close/>
                  <a:moveTo>
                    <a:pt x="6" y="808"/>
                  </a:moveTo>
                  <a:lnTo>
                    <a:pt x="6" y="811"/>
                  </a:lnTo>
                  <a:lnTo>
                    <a:pt x="5" y="811"/>
                  </a:lnTo>
                  <a:lnTo>
                    <a:pt x="6" y="808"/>
                  </a:lnTo>
                  <a:close/>
                  <a:moveTo>
                    <a:pt x="168" y="935"/>
                  </a:moveTo>
                  <a:lnTo>
                    <a:pt x="166" y="937"/>
                  </a:lnTo>
                  <a:lnTo>
                    <a:pt x="166" y="935"/>
                  </a:lnTo>
                  <a:lnTo>
                    <a:pt x="164" y="935"/>
                  </a:lnTo>
                  <a:lnTo>
                    <a:pt x="166" y="935"/>
                  </a:lnTo>
                  <a:lnTo>
                    <a:pt x="168" y="935"/>
                  </a:lnTo>
                  <a:close/>
                  <a:moveTo>
                    <a:pt x="40" y="680"/>
                  </a:moveTo>
                  <a:lnTo>
                    <a:pt x="42" y="682"/>
                  </a:lnTo>
                  <a:lnTo>
                    <a:pt x="40" y="682"/>
                  </a:lnTo>
                  <a:lnTo>
                    <a:pt x="40" y="680"/>
                  </a:lnTo>
                  <a:close/>
                  <a:moveTo>
                    <a:pt x="112" y="633"/>
                  </a:moveTo>
                  <a:lnTo>
                    <a:pt x="110" y="633"/>
                  </a:lnTo>
                  <a:lnTo>
                    <a:pt x="112" y="633"/>
                  </a:lnTo>
                  <a:lnTo>
                    <a:pt x="110" y="633"/>
                  </a:lnTo>
                  <a:lnTo>
                    <a:pt x="112" y="633"/>
                  </a:lnTo>
                  <a:close/>
                  <a:moveTo>
                    <a:pt x="22" y="837"/>
                  </a:moveTo>
                  <a:lnTo>
                    <a:pt x="23" y="837"/>
                  </a:lnTo>
                  <a:lnTo>
                    <a:pt x="22" y="840"/>
                  </a:lnTo>
                  <a:lnTo>
                    <a:pt x="20" y="840"/>
                  </a:lnTo>
                  <a:lnTo>
                    <a:pt x="22" y="837"/>
                  </a:lnTo>
                  <a:close/>
                  <a:moveTo>
                    <a:pt x="287" y="360"/>
                  </a:moveTo>
                  <a:lnTo>
                    <a:pt x="289" y="362"/>
                  </a:lnTo>
                  <a:lnTo>
                    <a:pt x="287" y="364"/>
                  </a:lnTo>
                  <a:lnTo>
                    <a:pt x="287" y="362"/>
                  </a:lnTo>
                  <a:lnTo>
                    <a:pt x="287" y="360"/>
                  </a:lnTo>
                  <a:close/>
                  <a:moveTo>
                    <a:pt x="311" y="219"/>
                  </a:moveTo>
                  <a:lnTo>
                    <a:pt x="312" y="221"/>
                  </a:lnTo>
                  <a:lnTo>
                    <a:pt x="309" y="221"/>
                  </a:lnTo>
                  <a:lnTo>
                    <a:pt x="311" y="219"/>
                  </a:lnTo>
                  <a:close/>
                  <a:moveTo>
                    <a:pt x="343" y="212"/>
                  </a:moveTo>
                  <a:lnTo>
                    <a:pt x="343" y="214"/>
                  </a:lnTo>
                  <a:lnTo>
                    <a:pt x="343" y="216"/>
                  </a:lnTo>
                  <a:lnTo>
                    <a:pt x="343" y="214"/>
                  </a:lnTo>
                  <a:lnTo>
                    <a:pt x="343" y="212"/>
                  </a:lnTo>
                  <a:close/>
                  <a:moveTo>
                    <a:pt x="15" y="857"/>
                  </a:moveTo>
                  <a:lnTo>
                    <a:pt x="17" y="859"/>
                  </a:lnTo>
                  <a:lnTo>
                    <a:pt x="18" y="861"/>
                  </a:lnTo>
                  <a:lnTo>
                    <a:pt x="17" y="859"/>
                  </a:lnTo>
                  <a:lnTo>
                    <a:pt x="15" y="857"/>
                  </a:lnTo>
                  <a:close/>
                  <a:moveTo>
                    <a:pt x="309" y="216"/>
                  </a:moveTo>
                  <a:lnTo>
                    <a:pt x="311" y="216"/>
                  </a:lnTo>
                  <a:lnTo>
                    <a:pt x="311" y="219"/>
                  </a:lnTo>
                  <a:lnTo>
                    <a:pt x="309" y="216"/>
                  </a:lnTo>
                  <a:close/>
                  <a:moveTo>
                    <a:pt x="499" y="44"/>
                  </a:moveTo>
                  <a:lnTo>
                    <a:pt x="503" y="46"/>
                  </a:lnTo>
                  <a:lnTo>
                    <a:pt x="499" y="46"/>
                  </a:lnTo>
                  <a:lnTo>
                    <a:pt x="499" y="44"/>
                  </a:lnTo>
                  <a:close/>
                  <a:moveTo>
                    <a:pt x="10" y="772"/>
                  </a:moveTo>
                  <a:lnTo>
                    <a:pt x="11" y="772"/>
                  </a:lnTo>
                  <a:lnTo>
                    <a:pt x="10" y="775"/>
                  </a:lnTo>
                  <a:lnTo>
                    <a:pt x="10" y="772"/>
                  </a:lnTo>
                  <a:close/>
                  <a:moveTo>
                    <a:pt x="11" y="792"/>
                  </a:moveTo>
                  <a:lnTo>
                    <a:pt x="11" y="794"/>
                  </a:lnTo>
                  <a:lnTo>
                    <a:pt x="13" y="796"/>
                  </a:lnTo>
                  <a:lnTo>
                    <a:pt x="11" y="794"/>
                  </a:lnTo>
                  <a:lnTo>
                    <a:pt x="11" y="792"/>
                  </a:lnTo>
                  <a:close/>
                  <a:moveTo>
                    <a:pt x="42" y="852"/>
                  </a:moveTo>
                  <a:lnTo>
                    <a:pt x="42" y="854"/>
                  </a:lnTo>
                  <a:lnTo>
                    <a:pt x="40" y="854"/>
                  </a:lnTo>
                  <a:lnTo>
                    <a:pt x="39" y="854"/>
                  </a:lnTo>
                  <a:lnTo>
                    <a:pt x="40" y="854"/>
                  </a:lnTo>
                  <a:lnTo>
                    <a:pt x="42" y="852"/>
                  </a:lnTo>
                  <a:close/>
                  <a:moveTo>
                    <a:pt x="15" y="765"/>
                  </a:moveTo>
                  <a:lnTo>
                    <a:pt x="17" y="765"/>
                  </a:lnTo>
                  <a:lnTo>
                    <a:pt x="17" y="767"/>
                  </a:lnTo>
                  <a:lnTo>
                    <a:pt x="15" y="767"/>
                  </a:lnTo>
                  <a:lnTo>
                    <a:pt x="15" y="765"/>
                  </a:lnTo>
                  <a:close/>
                  <a:moveTo>
                    <a:pt x="600" y="27"/>
                  </a:moveTo>
                  <a:lnTo>
                    <a:pt x="601" y="27"/>
                  </a:lnTo>
                  <a:lnTo>
                    <a:pt x="601" y="29"/>
                  </a:lnTo>
                  <a:lnTo>
                    <a:pt x="600" y="29"/>
                  </a:lnTo>
                  <a:lnTo>
                    <a:pt x="600" y="27"/>
                  </a:lnTo>
                  <a:close/>
                  <a:moveTo>
                    <a:pt x="110" y="988"/>
                  </a:moveTo>
                  <a:lnTo>
                    <a:pt x="112" y="990"/>
                  </a:lnTo>
                  <a:lnTo>
                    <a:pt x="110" y="990"/>
                  </a:lnTo>
                  <a:lnTo>
                    <a:pt x="110" y="992"/>
                  </a:lnTo>
                  <a:lnTo>
                    <a:pt x="110" y="990"/>
                  </a:lnTo>
                  <a:lnTo>
                    <a:pt x="108" y="990"/>
                  </a:lnTo>
                  <a:lnTo>
                    <a:pt x="110" y="990"/>
                  </a:lnTo>
                  <a:lnTo>
                    <a:pt x="110" y="988"/>
                  </a:lnTo>
                  <a:close/>
                  <a:moveTo>
                    <a:pt x="253" y="400"/>
                  </a:moveTo>
                  <a:lnTo>
                    <a:pt x="253" y="401"/>
                  </a:lnTo>
                  <a:lnTo>
                    <a:pt x="251" y="401"/>
                  </a:lnTo>
                  <a:lnTo>
                    <a:pt x="253" y="400"/>
                  </a:lnTo>
                  <a:close/>
                  <a:moveTo>
                    <a:pt x="1" y="896"/>
                  </a:moveTo>
                  <a:lnTo>
                    <a:pt x="1" y="898"/>
                  </a:lnTo>
                  <a:lnTo>
                    <a:pt x="0" y="896"/>
                  </a:lnTo>
                  <a:lnTo>
                    <a:pt x="1" y="898"/>
                  </a:lnTo>
                  <a:lnTo>
                    <a:pt x="1" y="896"/>
                  </a:lnTo>
                  <a:close/>
                  <a:moveTo>
                    <a:pt x="249" y="427"/>
                  </a:moveTo>
                  <a:lnTo>
                    <a:pt x="251" y="427"/>
                  </a:lnTo>
                  <a:lnTo>
                    <a:pt x="249" y="428"/>
                  </a:lnTo>
                  <a:lnTo>
                    <a:pt x="249" y="427"/>
                  </a:lnTo>
                  <a:close/>
                  <a:moveTo>
                    <a:pt x="482" y="117"/>
                  </a:moveTo>
                  <a:lnTo>
                    <a:pt x="484" y="119"/>
                  </a:lnTo>
                  <a:lnTo>
                    <a:pt x="484" y="121"/>
                  </a:lnTo>
                  <a:lnTo>
                    <a:pt x="482" y="117"/>
                  </a:lnTo>
                  <a:close/>
                  <a:moveTo>
                    <a:pt x="236" y="495"/>
                  </a:moveTo>
                  <a:lnTo>
                    <a:pt x="234" y="496"/>
                  </a:lnTo>
                  <a:lnTo>
                    <a:pt x="236" y="495"/>
                  </a:lnTo>
                  <a:lnTo>
                    <a:pt x="234" y="495"/>
                  </a:lnTo>
                  <a:lnTo>
                    <a:pt x="236" y="495"/>
                  </a:lnTo>
                  <a:close/>
                  <a:moveTo>
                    <a:pt x="409" y="109"/>
                  </a:moveTo>
                  <a:lnTo>
                    <a:pt x="409" y="110"/>
                  </a:lnTo>
                  <a:lnTo>
                    <a:pt x="409" y="109"/>
                  </a:lnTo>
                  <a:close/>
                  <a:moveTo>
                    <a:pt x="229" y="502"/>
                  </a:moveTo>
                  <a:lnTo>
                    <a:pt x="229" y="503"/>
                  </a:lnTo>
                  <a:lnTo>
                    <a:pt x="227" y="503"/>
                  </a:lnTo>
                  <a:lnTo>
                    <a:pt x="229" y="502"/>
                  </a:lnTo>
                  <a:close/>
                  <a:moveTo>
                    <a:pt x="11" y="738"/>
                  </a:moveTo>
                  <a:lnTo>
                    <a:pt x="13" y="738"/>
                  </a:lnTo>
                  <a:lnTo>
                    <a:pt x="11" y="738"/>
                  </a:lnTo>
                  <a:lnTo>
                    <a:pt x="10" y="738"/>
                  </a:lnTo>
                  <a:lnTo>
                    <a:pt x="11" y="738"/>
                  </a:lnTo>
                  <a:close/>
                  <a:moveTo>
                    <a:pt x="209" y="532"/>
                  </a:moveTo>
                  <a:lnTo>
                    <a:pt x="210" y="534"/>
                  </a:lnTo>
                  <a:lnTo>
                    <a:pt x="209" y="534"/>
                  </a:lnTo>
                  <a:lnTo>
                    <a:pt x="209" y="532"/>
                  </a:lnTo>
                  <a:close/>
                  <a:moveTo>
                    <a:pt x="13" y="838"/>
                  </a:moveTo>
                  <a:lnTo>
                    <a:pt x="13" y="840"/>
                  </a:lnTo>
                  <a:lnTo>
                    <a:pt x="11" y="840"/>
                  </a:lnTo>
                  <a:lnTo>
                    <a:pt x="11" y="842"/>
                  </a:lnTo>
                  <a:lnTo>
                    <a:pt x="11" y="840"/>
                  </a:lnTo>
                  <a:lnTo>
                    <a:pt x="13" y="838"/>
                  </a:lnTo>
                  <a:close/>
                  <a:moveTo>
                    <a:pt x="295" y="349"/>
                  </a:moveTo>
                  <a:lnTo>
                    <a:pt x="297" y="349"/>
                  </a:lnTo>
                  <a:lnTo>
                    <a:pt x="297" y="352"/>
                  </a:lnTo>
                  <a:lnTo>
                    <a:pt x="295" y="352"/>
                  </a:lnTo>
                  <a:lnTo>
                    <a:pt x="295" y="349"/>
                  </a:lnTo>
                  <a:close/>
                  <a:moveTo>
                    <a:pt x="207" y="532"/>
                  </a:moveTo>
                  <a:lnTo>
                    <a:pt x="207" y="534"/>
                  </a:lnTo>
                  <a:lnTo>
                    <a:pt x="205" y="534"/>
                  </a:lnTo>
                  <a:lnTo>
                    <a:pt x="207" y="534"/>
                  </a:lnTo>
                  <a:lnTo>
                    <a:pt x="207" y="532"/>
                  </a:lnTo>
                  <a:close/>
                  <a:moveTo>
                    <a:pt x="297" y="342"/>
                  </a:moveTo>
                  <a:lnTo>
                    <a:pt x="295" y="343"/>
                  </a:lnTo>
                  <a:lnTo>
                    <a:pt x="297" y="342"/>
                  </a:lnTo>
                  <a:close/>
                  <a:moveTo>
                    <a:pt x="59" y="677"/>
                  </a:moveTo>
                  <a:lnTo>
                    <a:pt x="62" y="677"/>
                  </a:lnTo>
                  <a:lnTo>
                    <a:pt x="61" y="677"/>
                  </a:lnTo>
                  <a:lnTo>
                    <a:pt x="59" y="677"/>
                  </a:lnTo>
                  <a:close/>
                  <a:moveTo>
                    <a:pt x="18" y="736"/>
                  </a:moveTo>
                  <a:lnTo>
                    <a:pt x="18" y="738"/>
                  </a:lnTo>
                  <a:lnTo>
                    <a:pt x="17" y="738"/>
                  </a:lnTo>
                  <a:lnTo>
                    <a:pt x="18" y="736"/>
                  </a:lnTo>
                  <a:close/>
                  <a:moveTo>
                    <a:pt x="530" y="37"/>
                  </a:moveTo>
                  <a:lnTo>
                    <a:pt x="528" y="39"/>
                  </a:lnTo>
                  <a:lnTo>
                    <a:pt x="530" y="37"/>
                  </a:lnTo>
                  <a:close/>
                  <a:moveTo>
                    <a:pt x="593" y="56"/>
                  </a:moveTo>
                  <a:lnTo>
                    <a:pt x="593" y="58"/>
                  </a:lnTo>
                  <a:lnTo>
                    <a:pt x="593" y="56"/>
                  </a:lnTo>
                  <a:close/>
                  <a:moveTo>
                    <a:pt x="127" y="624"/>
                  </a:moveTo>
                  <a:lnTo>
                    <a:pt x="127" y="626"/>
                  </a:lnTo>
                  <a:lnTo>
                    <a:pt x="125" y="626"/>
                  </a:lnTo>
                  <a:lnTo>
                    <a:pt x="127" y="624"/>
                  </a:lnTo>
                  <a:close/>
                  <a:moveTo>
                    <a:pt x="219" y="498"/>
                  </a:moveTo>
                  <a:lnTo>
                    <a:pt x="219" y="500"/>
                  </a:lnTo>
                  <a:lnTo>
                    <a:pt x="217" y="500"/>
                  </a:lnTo>
                  <a:lnTo>
                    <a:pt x="219" y="498"/>
                  </a:lnTo>
                  <a:close/>
                  <a:moveTo>
                    <a:pt x="370" y="238"/>
                  </a:moveTo>
                  <a:lnTo>
                    <a:pt x="370" y="240"/>
                  </a:lnTo>
                  <a:lnTo>
                    <a:pt x="370" y="238"/>
                  </a:lnTo>
                  <a:close/>
                  <a:moveTo>
                    <a:pt x="57" y="976"/>
                  </a:moveTo>
                  <a:lnTo>
                    <a:pt x="57" y="978"/>
                  </a:lnTo>
                  <a:lnTo>
                    <a:pt x="57" y="976"/>
                  </a:lnTo>
                  <a:close/>
                  <a:moveTo>
                    <a:pt x="107" y="634"/>
                  </a:moveTo>
                  <a:lnTo>
                    <a:pt x="107" y="638"/>
                  </a:lnTo>
                  <a:lnTo>
                    <a:pt x="107" y="634"/>
                  </a:lnTo>
                  <a:close/>
                  <a:moveTo>
                    <a:pt x="700" y="30"/>
                  </a:moveTo>
                  <a:lnTo>
                    <a:pt x="702" y="32"/>
                  </a:lnTo>
                  <a:lnTo>
                    <a:pt x="703" y="32"/>
                  </a:lnTo>
                  <a:lnTo>
                    <a:pt x="702" y="34"/>
                  </a:lnTo>
                  <a:lnTo>
                    <a:pt x="700" y="30"/>
                  </a:lnTo>
                  <a:close/>
                  <a:moveTo>
                    <a:pt x="328" y="306"/>
                  </a:moveTo>
                  <a:lnTo>
                    <a:pt x="329" y="306"/>
                  </a:lnTo>
                  <a:lnTo>
                    <a:pt x="328" y="306"/>
                  </a:lnTo>
                  <a:close/>
                  <a:moveTo>
                    <a:pt x="96" y="660"/>
                  </a:moveTo>
                  <a:lnTo>
                    <a:pt x="98" y="660"/>
                  </a:lnTo>
                  <a:lnTo>
                    <a:pt x="95" y="661"/>
                  </a:lnTo>
                  <a:lnTo>
                    <a:pt x="93" y="661"/>
                  </a:lnTo>
                  <a:lnTo>
                    <a:pt x="95" y="661"/>
                  </a:lnTo>
                  <a:lnTo>
                    <a:pt x="96" y="660"/>
                  </a:lnTo>
                  <a:close/>
                  <a:moveTo>
                    <a:pt x="35" y="901"/>
                  </a:moveTo>
                  <a:lnTo>
                    <a:pt x="37" y="901"/>
                  </a:lnTo>
                  <a:lnTo>
                    <a:pt x="37" y="905"/>
                  </a:lnTo>
                  <a:lnTo>
                    <a:pt x="35" y="903"/>
                  </a:lnTo>
                  <a:lnTo>
                    <a:pt x="35" y="901"/>
                  </a:lnTo>
                  <a:close/>
                  <a:moveTo>
                    <a:pt x="222" y="512"/>
                  </a:moveTo>
                  <a:lnTo>
                    <a:pt x="221" y="514"/>
                  </a:lnTo>
                  <a:lnTo>
                    <a:pt x="221" y="512"/>
                  </a:lnTo>
                  <a:lnTo>
                    <a:pt x="222" y="512"/>
                  </a:lnTo>
                  <a:close/>
                  <a:moveTo>
                    <a:pt x="166" y="932"/>
                  </a:moveTo>
                  <a:lnTo>
                    <a:pt x="168" y="932"/>
                  </a:lnTo>
                  <a:lnTo>
                    <a:pt x="166" y="932"/>
                  </a:lnTo>
                  <a:lnTo>
                    <a:pt x="166" y="934"/>
                  </a:lnTo>
                  <a:lnTo>
                    <a:pt x="166" y="932"/>
                  </a:lnTo>
                  <a:close/>
                  <a:moveTo>
                    <a:pt x="91" y="993"/>
                  </a:moveTo>
                  <a:lnTo>
                    <a:pt x="93" y="995"/>
                  </a:lnTo>
                  <a:lnTo>
                    <a:pt x="93" y="997"/>
                  </a:lnTo>
                  <a:lnTo>
                    <a:pt x="93" y="995"/>
                  </a:lnTo>
                  <a:lnTo>
                    <a:pt x="93" y="997"/>
                  </a:lnTo>
                  <a:lnTo>
                    <a:pt x="91" y="995"/>
                  </a:lnTo>
                  <a:lnTo>
                    <a:pt x="91" y="993"/>
                  </a:lnTo>
                  <a:close/>
                  <a:moveTo>
                    <a:pt x="409" y="146"/>
                  </a:moveTo>
                  <a:lnTo>
                    <a:pt x="409" y="148"/>
                  </a:lnTo>
                  <a:lnTo>
                    <a:pt x="409" y="146"/>
                  </a:lnTo>
                  <a:close/>
                  <a:moveTo>
                    <a:pt x="117" y="617"/>
                  </a:moveTo>
                  <a:lnTo>
                    <a:pt x="119" y="617"/>
                  </a:lnTo>
                  <a:lnTo>
                    <a:pt x="117" y="617"/>
                  </a:lnTo>
                  <a:lnTo>
                    <a:pt x="117" y="619"/>
                  </a:lnTo>
                  <a:lnTo>
                    <a:pt x="115" y="617"/>
                  </a:lnTo>
                  <a:lnTo>
                    <a:pt x="117" y="617"/>
                  </a:lnTo>
                  <a:lnTo>
                    <a:pt x="115" y="617"/>
                  </a:lnTo>
                  <a:lnTo>
                    <a:pt x="117" y="617"/>
                  </a:lnTo>
                  <a:close/>
                  <a:moveTo>
                    <a:pt x="30" y="920"/>
                  </a:moveTo>
                  <a:lnTo>
                    <a:pt x="32" y="920"/>
                  </a:lnTo>
                  <a:lnTo>
                    <a:pt x="30" y="922"/>
                  </a:lnTo>
                  <a:lnTo>
                    <a:pt x="30" y="920"/>
                  </a:lnTo>
                  <a:close/>
                  <a:moveTo>
                    <a:pt x="419" y="115"/>
                  </a:moveTo>
                  <a:lnTo>
                    <a:pt x="421" y="115"/>
                  </a:lnTo>
                  <a:lnTo>
                    <a:pt x="419" y="117"/>
                  </a:lnTo>
                  <a:lnTo>
                    <a:pt x="419" y="115"/>
                  </a:lnTo>
                  <a:close/>
                  <a:moveTo>
                    <a:pt x="168" y="932"/>
                  </a:moveTo>
                  <a:lnTo>
                    <a:pt x="166" y="934"/>
                  </a:lnTo>
                  <a:lnTo>
                    <a:pt x="168" y="932"/>
                  </a:lnTo>
                  <a:close/>
                  <a:moveTo>
                    <a:pt x="158" y="607"/>
                  </a:moveTo>
                  <a:lnTo>
                    <a:pt x="158" y="609"/>
                  </a:lnTo>
                  <a:lnTo>
                    <a:pt x="156" y="609"/>
                  </a:lnTo>
                  <a:lnTo>
                    <a:pt x="156" y="607"/>
                  </a:lnTo>
                  <a:lnTo>
                    <a:pt x="158" y="607"/>
                  </a:lnTo>
                  <a:close/>
                  <a:moveTo>
                    <a:pt x="30" y="918"/>
                  </a:moveTo>
                  <a:lnTo>
                    <a:pt x="32" y="918"/>
                  </a:lnTo>
                  <a:lnTo>
                    <a:pt x="30" y="918"/>
                  </a:lnTo>
                  <a:lnTo>
                    <a:pt x="28" y="918"/>
                  </a:lnTo>
                  <a:lnTo>
                    <a:pt x="30" y="918"/>
                  </a:lnTo>
                  <a:close/>
                  <a:moveTo>
                    <a:pt x="205" y="874"/>
                  </a:moveTo>
                  <a:lnTo>
                    <a:pt x="205" y="876"/>
                  </a:lnTo>
                  <a:lnTo>
                    <a:pt x="205" y="878"/>
                  </a:lnTo>
                  <a:lnTo>
                    <a:pt x="204" y="876"/>
                  </a:lnTo>
                  <a:lnTo>
                    <a:pt x="205" y="874"/>
                  </a:lnTo>
                  <a:close/>
                  <a:moveTo>
                    <a:pt x="8" y="801"/>
                  </a:moveTo>
                  <a:lnTo>
                    <a:pt x="10" y="803"/>
                  </a:lnTo>
                  <a:lnTo>
                    <a:pt x="11" y="804"/>
                  </a:lnTo>
                  <a:lnTo>
                    <a:pt x="10" y="804"/>
                  </a:lnTo>
                  <a:lnTo>
                    <a:pt x="10" y="803"/>
                  </a:lnTo>
                  <a:lnTo>
                    <a:pt x="8" y="803"/>
                  </a:lnTo>
                  <a:lnTo>
                    <a:pt x="8" y="801"/>
                  </a:lnTo>
                  <a:close/>
                  <a:moveTo>
                    <a:pt x="8" y="823"/>
                  </a:moveTo>
                  <a:lnTo>
                    <a:pt x="10" y="825"/>
                  </a:lnTo>
                  <a:lnTo>
                    <a:pt x="8" y="825"/>
                  </a:lnTo>
                  <a:lnTo>
                    <a:pt x="8" y="823"/>
                  </a:lnTo>
                  <a:close/>
                  <a:moveTo>
                    <a:pt x="243" y="316"/>
                  </a:moveTo>
                  <a:lnTo>
                    <a:pt x="244" y="316"/>
                  </a:lnTo>
                  <a:lnTo>
                    <a:pt x="243" y="318"/>
                  </a:lnTo>
                  <a:lnTo>
                    <a:pt x="243" y="316"/>
                  </a:lnTo>
                  <a:close/>
                  <a:moveTo>
                    <a:pt x="164" y="600"/>
                  </a:moveTo>
                  <a:lnTo>
                    <a:pt x="163" y="602"/>
                  </a:lnTo>
                  <a:lnTo>
                    <a:pt x="164" y="600"/>
                  </a:lnTo>
                  <a:close/>
                  <a:moveTo>
                    <a:pt x="5" y="772"/>
                  </a:moveTo>
                  <a:lnTo>
                    <a:pt x="6" y="774"/>
                  </a:lnTo>
                  <a:lnTo>
                    <a:pt x="5" y="775"/>
                  </a:lnTo>
                  <a:lnTo>
                    <a:pt x="5" y="772"/>
                  </a:lnTo>
                  <a:close/>
                  <a:moveTo>
                    <a:pt x="34" y="901"/>
                  </a:moveTo>
                  <a:lnTo>
                    <a:pt x="35" y="901"/>
                  </a:lnTo>
                  <a:lnTo>
                    <a:pt x="35" y="905"/>
                  </a:lnTo>
                  <a:lnTo>
                    <a:pt x="34" y="905"/>
                  </a:lnTo>
                  <a:lnTo>
                    <a:pt x="34" y="901"/>
                  </a:lnTo>
                  <a:close/>
                  <a:moveTo>
                    <a:pt x="513" y="63"/>
                  </a:moveTo>
                  <a:lnTo>
                    <a:pt x="511" y="64"/>
                  </a:lnTo>
                  <a:lnTo>
                    <a:pt x="513" y="63"/>
                  </a:lnTo>
                  <a:close/>
                  <a:moveTo>
                    <a:pt x="448" y="141"/>
                  </a:moveTo>
                  <a:lnTo>
                    <a:pt x="450" y="141"/>
                  </a:lnTo>
                  <a:lnTo>
                    <a:pt x="450" y="143"/>
                  </a:lnTo>
                  <a:lnTo>
                    <a:pt x="448" y="143"/>
                  </a:lnTo>
                  <a:lnTo>
                    <a:pt x="448" y="141"/>
                  </a:lnTo>
                  <a:close/>
                  <a:moveTo>
                    <a:pt x="226" y="514"/>
                  </a:moveTo>
                  <a:lnTo>
                    <a:pt x="226" y="515"/>
                  </a:lnTo>
                  <a:lnTo>
                    <a:pt x="224" y="514"/>
                  </a:lnTo>
                  <a:lnTo>
                    <a:pt x="224" y="515"/>
                  </a:lnTo>
                  <a:lnTo>
                    <a:pt x="222" y="515"/>
                  </a:lnTo>
                  <a:lnTo>
                    <a:pt x="224" y="514"/>
                  </a:lnTo>
                  <a:lnTo>
                    <a:pt x="226" y="514"/>
                  </a:lnTo>
                  <a:close/>
                  <a:moveTo>
                    <a:pt x="22" y="791"/>
                  </a:moveTo>
                  <a:lnTo>
                    <a:pt x="22" y="794"/>
                  </a:lnTo>
                  <a:lnTo>
                    <a:pt x="20" y="794"/>
                  </a:lnTo>
                  <a:lnTo>
                    <a:pt x="22" y="791"/>
                  </a:lnTo>
                  <a:close/>
                  <a:moveTo>
                    <a:pt x="151" y="590"/>
                  </a:moveTo>
                  <a:lnTo>
                    <a:pt x="149" y="592"/>
                  </a:lnTo>
                  <a:lnTo>
                    <a:pt x="149" y="590"/>
                  </a:lnTo>
                  <a:lnTo>
                    <a:pt x="151" y="590"/>
                  </a:lnTo>
                  <a:close/>
                  <a:moveTo>
                    <a:pt x="691" y="80"/>
                  </a:moveTo>
                  <a:lnTo>
                    <a:pt x="690" y="81"/>
                  </a:lnTo>
                  <a:lnTo>
                    <a:pt x="691" y="80"/>
                  </a:lnTo>
                  <a:close/>
                  <a:moveTo>
                    <a:pt x="20" y="832"/>
                  </a:moveTo>
                  <a:lnTo>
                    <a:pt x="18" y="833"/>
                  </a:lnTo>
                  <a:lnTo>
                    <a:pt x="18" y="832"/>
                  </a:lnTo>
                  <a:lnTo>
                    <a:pt x="20" y="832"/>
                  </a:lnTo>
                  <a:close/>
                  <a:moveTo>
                    <a:pt x="32" y="867"/>
                  </a:moveTo>
                  <a:lnTo>
                    <a:pt x="34" y="867"/>
                  </a:lnTo>
                  <a:lnTo>
                    <a:pt x="34" y="869"/>
                  </a:lnTo>
                  <a:lnTo>
                    <a:pt x="32" y="869"/>
                  </a:lnTo>
                  <a:lnTo>
                    <a:pt x="32" y="867"/>
                  </a:lnTo>
                  <a:close/>
                  <a:moveTo>
                    <a:pt x="260" y="423"/>
                  </a:moveTo>
                  <a:lnTo>
                    <a:pt x="258" y="425"/>
                  </a:lnTo>
                  <a:lnTo>
                    <a:pt x="260" y="423"/>
                  </a:lnTo>
                  <a:close/>
                  <a:moveTo>
                    <a:pt x="39" y="906"/>
                  </a:moveTo>
                  <a:lnTo>
                    <a:pt x="40" y="910"/>
                  </a:lnTo>
                  <a:lnTo>
                    <a:pt x="39" y="906"/>
                  </a:lnTo>
                  <a:close/>
                  <a:moveTo>
                    <a:pt x="149" y="587"/>
                  </a:moveTo>
                  <a:lnTo>
                    <a:pt x="149" y="588"/>
                  </a:lnTo>
                  <a:lnTo>
                    <a:pt x="147" y="588"/>
                  </a:lnTo>
                  <a:lnTo>
                    <a:pt x="149" y="587"/>
                  </a:lnTo>
                  <a:close/>
                  <a:moveTo>
                    <a:pt x="255" y="485"/>
                  </a:moveTo>
                  <a:lnTo>
                    <a:pt x="256" y="485"/>
                  </a:lnTo>
                  <a:lnTo>
                    <a:pt x="256" y="486"/>
                  </a:lnTo>
                  <a:lnTo>
                    <a:pt x="255" y="486"/>
                  </a:lnTo>
                  <a:lnTo>
                    <a:pt x="255" y="485"/>
                  </a:lnTo>
                  <a:close/>
                  <a:moveTo>
                    <a:pt x="37" y="922"/>
                  </a:moveTo>
                  <a:lnTo>
                    <a:pt x="39" y="923"/>
                  </a:lnTo>
                  <a:lnTo>
                    <a:pt x="37" y="923"/>
                  </a:lnTo>
                  <a:lnTo>
                    <a:pt x="37" y="922"/>
                  </a:lnTo>
                  <a:close/>
                  <a:moveTo>
                    <a:pt x="124" y="621"/>
                  </a:moveTo>
                  <a:lnTo>
                    <a:pt x="122" y="622"/>
                  </a:lnTo>
                  <a:lnTo>
                    <a:pt x="124" y="621"/>
                  </a:lnTo>
                  <a:close/>
                  <a:moveTo>
                    <a:pt x="283" y="367"/>
                  </a:moveTo>
                  <a:lnTo>
                    <a:pt x="285" y="369"/>
                  </a:lnTo>
                  <a:lnTo>
                    <a:pt x="283" y="369"/>
                  </a:lnTo>
                  <a:lnTo>
                    <a:pt x="282" y="369"/>
                  </a:lnTo>
                  <a:lnTo>
                    <a:pt x="283" y="367"/>
                  </a:lnTo>
                  <a:close/>
                  <a:moveTo>
                    <a:pt x="122" y="619"/>
                  </a:moveTo>
                  <a:lnTo>
                    <a:pt x="120" y="621"/>
                  </a:lnTo>
                  <a:lnTo>
                    <a:pt x="120" y="619"/>
                  </a:lnTo>
                  <a:lnTo>
                    <a:pt x="122" y="619"/>
                  </a:lnTo>
                  <a:close/>
                  <a:moveTo>
                    <a:pt x="61" y="976"/>
                  </a:moveTo>
                  <a:lnTo>
                    <a:pt x="62" y="976"/>
                  </a:lnTo>
                  <a:lnTo>
                    <a:pt x="62" y="980"/>
                  </a:lnTo>
                  <a:lnTo>
                    <a:pt x="61" y="980"/>
                  </a:lnTo>
                  <a:lnTo>
                    <a:pt x="61" y="976"/>
                  </a:lnTo>
                  <a:close/>
                  <a:moveTo>
                    <a:pt x="251" y="430"/>
                  </a:moveTo>
                  <a:lnTo>
                    <a:pt x="249" y="432"/>
                  </a:lnTo>
                  <a:lnTo>
                    <a:pt x="249" y="434"/>
                  </a:lnTo>
                  <a:lnTo>
                    <a:pt x="249" y="432"/>
                  </a:lnTo>
                  <a:lnTo>
                    <a:pt x="249" y="430"/>
                  </a:lnTo>
                  <a:lnTo>
                    <a:pt x="251" y="430"/>
                  </a:lnTo>
                  <a:close/>
                  <a:moveTo>
                    <a:pt x="28" y="895"/>
                  </a:moveTo>
                  <a:lnTo>
                    <a:pt x="28" y="898"/>
                  </a:lnTo>
                  <a:lnTo>
                    <a:pt x="28" y="896"/>
                  </a:lnTo>
                  <a:lnTo>
                    <a:pt x="28" y="895"/>
                  </a:lnTo>
                  <a:close/>
                  <a:moveTo>
                    <a:pt x="6" y="762"/>
                  </a:moveTo>
                  <a:lnTo>
                    <a:pt x="8" y="764"/>
                  </a:lnTo>
                  <a:lnTo>
                    <a:pt x="6" y="764"/>
                  </a:lnTo>
                  <a:lnTo>
                    <a:pt x="6" y="762"/>
                  </a:lnTo>
                  <a:lnTo>
                    <a:pt x="5" y="762"/>
                  </a:lnTo>
                  <a:lnTo>
                    <a:pt x="6" y="762"/>
                  </a:lnTo>
                  <a:close/>
                  <a:moveTo>
                    <a:pt x="209" y="531"/>
                  </a:moveTo>
                  <a:lnTo>
                    <a:pt x="210" y="531"/>
                  </a:lnTo>
                  <a:lnTo>
                    <a:pt x="209" y="531"/>
                  </a:lnTo>
                  <a:close/>
                  <a:moveTo>
                    <a:pt x="255" y="415"/>
                  </a:moveTo>
                  <a:lnTo>
                    <a:pt x="255" y="417"/>
                  </a:lnTo>
                  <a:lnTo>
                    <a:pt x="253" y="418"/>
                  </a:lnTo>
                  <a:lnTo>
                    <a:pt x="255" y="415"/>
                  </a:lnTo>
                  <a:close/>
                  <a:moveTo>
                    <a:pt x="136" y="624"/>
                  </a:moveTo>
                  <a:lnTo>
                    <a:pt x="137" y="624"/>
                  </a:lnTo>
                  <a:lnTo>
                    <a:pt x="137" y="626"/>
                  </a:lnTo>
                  <a:lnTo>
                    <a:pt x="136" y="626"/>
                  </a:lnTo>
                  <a:lnTo>
                    <a:pt x="136" y="624"/>
                  </a:lnTo>
                  <a:close/>
                  <a:moveTo>
                    <a:pt x="224" y="923"/>
                  </a:moveTo>
                  <a:lnTo>
                    <a:pt x="226" y="923"/>
                  </a:lnTo>
                  <a:lnTo>
                    <a:pt x="224" y="925"/>
                  </a:lnTo>
                  <a:lnTo>
                    <a:pt x="222" y="923"/>
                  </a:lnTo>
                  <a:lnTo>
                    <a:pt x="224" y="923"/>
                  </a:lnTo>
                  <a:close/>
                  <a:moveTo>
                    <a:pt x="134" y="600"/>
                  </a:moveTo>
                  <a:lnTo>
                    <a:pt x="134" y="602"/>
                  </a:lnTo>
                  <a:lnTo>
                    <a:pt x="134" y="600"/>
                  </a:lnTo>
                  <a:lnTo>
                    <a:pt x="132" y="600"/>
                  </a:lnTo>
                  <a:lnTo>
                    <a:pt x="134" y="600"/>
                  </a:lnTo>
                  <a:close/>
                  <a:moveTo>
                    <a:pt x="57" y="677"/>
                  </a:moveTo>
                  <a:lnTo>
                    <a:pt x="59" y="679"/>
                  </a:lnTo>
                  <a:lnTo>
                    <a:pt x="56" y="679"/>
                  </a:lnTo>
                  <a:lnTo>
                    <a:pt x="57" y="677"/>
                  </a:lnTo>
                  <a:close/>
                  <a:moveTo>
                    <a:pt x="18" y="906"/>
                  </a:moveTo>
                  <a:lnTo>
                    <a:pt x="20" y="906"/>
                  </a:lnTo>
                  <a:lnTo>
                    <a:pt x="20" y="910"/>
                  </a:lnTo>
                  <a:lnTo>
                    <a:pt x="18" y="908"/>
                  </a:lnTo>
                  <a:lnTo>
                    <a:pt x="18" y="906"/>
                  </a:lnTo>
                  <a:close/>
                  <a:moveTo>
                    <a:pt x="251" y="423"/>
                  </a:moveTo>
                  <a:lnTo>
                    <a:pt x="253" y="425"/>
                  </a:lnTo>
                  <a:lnTo>
                    <a:pt x="251" y="425"/>
                  </a:lnTo>
                  <a:lnTo>
                    <a:pt x="251" y="427"/>
                  </a:lnTo>
                  <a:lnTo>
                    <a:pt x="251" y="425"/>
                  </a:lnTo>
                  <a:lnTo>
                    <a:pt x="251" y="423"/>
                  </a:lnTo>
                  <a:close/>
                  <a:moveTo>
                    <a:pt x="467" y="90"/>
                  </a:moveTo>
                  <a:lnTo>
                    <a:pt x="467" y="92"/>
                  </a:lnTo>
                  <a:lnTo>
                    <a:pt x="467" y="90"/>
                  </a:lnTo>
                  <a:close/>
                  <a:moveTo>
                    <a:pt x="260" y="400"/>
                  </a:moveTo>
                  <a:lnTo>
                    <a:pt x="260" y="401"/>
                  </a:lnTo>
                  <a:lnTo>
                    <a:pt x="258" y="401"/>
                  </a:lnTo>
                  <a:lnTo>
                    <a:pt x="260" y="401"/>
                  </a:lnTo>
                  <a:lnTo>
                    <a:pt x="258" y="401"/>
                  </a:lnTo>
                  <a:lnTo>
                    <a:pt x="260" y="400"/>
                  </a:lnTo>
                  <a:close/>
                  <a:moveTo>
                    <a:pt x="17" y="827"/>
                  </a:moveTo>
                  <a:lnTo>
                    <a:pt x="17" y="828"/>
                  </a:lnTo>
                  <a:lnTo>
                    <a:pt x="15" y="828"/>
                  </a:lnTo>
                  <a:lnTo>
                    <a:pt x="17" y="827"/>
                  </a:lnTo>
                  <a:close/>
                  <a:moveTo>
                    <a:pt x="197" y="913"/>
                  </a:moveTo>
                  <a:lnTo>
                    <a:pt x="198" y="913"/>
                  </a:lnTo>
                  <a:lnTo>
                    <a:pt x="198" y="917"/>
                  </a:lnTo>
                  <a:lnTo>
                    <a:pt x="197" y="917"/>
                  </a:lnTo>
                  <a:lnTo>
                    <a:pt x="197" y="913"/>
                  </a:lnTo>
                  <a:close/>
                  <a:moveTo>
                    <a:pt x="268" y="383"/>
                  </a:moveTo>
                  <a:lnTo>
                    <a:pt x="270" y="383"/>
                  </a:lnTo>
                  <a:lnTo>
                    <a:pt x="270" y="384"/>
                  </a:lnTo>
                  <a:lnTo>
                    <a:pt x="268" y="384"/>
                  </a:lnTo>
                  <a:lnTo>
                    <a:pt x="268" y="383"/>
                  </a:lnTo>
                  <a:close/>
                  <a:moveTo>
                    <a:pt x="207" y="536"/>
                  </a:moveTo>
                  <a:lnTo>
                    <a:pt x="209" y="536"/>
                  </a:lnTo>
                  <a:lnTo>
                    <a:pt x="209" y="537"/>
                  </a:lnTo>
                  <a:lnTo>
                    <a:pt x="207" y="537"/>
                  </a:lnTo>
                  <a:lnTo>
                    <a:pt x="207" y="536"/>
                  </a:lnTo>
                  <a:close/>
                  <a:moveTo>
                    <a:pt x="34" y="913"/>
                  </a:moveTo>
                  <a:lnTo>
                    <a:pt x="35" y="913"/>
                  </a:lnTo>
                  <a:lnTo>
                    <a:pt x="34" y="913"/>
                  </a:lnTo>
                  <a:close/>
                  <a:moveTo>
                    <a:pt x="86" y="993"/>
                  </a:moveTo>
                  <a:lnTo>
                    <a:pt x="88" y="995"/>
                  </a:lnTo>
                  <a:lnTo>
                    <a:pt x="86" y="993"/>
                  </a:lnTo>
                  <a:lnTo>
                    <a:pt x="85" y="995"/>
                  </a:lnTo>
                  <a:lnTo>
                    <a:pt x="86" y="993"/>
                  </a:lnTo>
                  <a:close/>
                  <a:moveTo>
                    <a:pt x="18" y="852"/>
                  </a:moveTo>
                  <a:lnTo>
                    <a:pt x="18" y="855"/>
                  </a:lnTo>
                  <a:lnTo>
                    <a:pt x="17" y="855"/>
                  </a:lnTo>
                  <a:lnTo>
                    <a:pt x="18" y="852"/>
                  </a:lnTo>
                  <a:close/>
                  <a:moveTo>
                    <a:pt x="212" y="910"/>
                  </a:moveTo>
                  <a:lnTo>
                    <a:pt x="214" y="910"/>
                  </a:lnTo>
                  <a:lnTo>
                    <a:pt x="214" y="912"/>
                  </a:lnTo>
                  <a:lnTo>
                    <a:pt x="212" y="912"/>
                  </a:lnTo>
                  <a:lnTo>
                    <a:pt x="212" y="910"/>
                  </a:lnTo>
                  <a:close/>
                  <a:moveTo>
                    <a:pt x="40" y="682"/>
                  </a:moveTo>
                  <a:lnTo>
                    <a:pt x="42" y="684"/>
                  </a:lnTo>
                  <a:lnTo>
                    <a:pt x="40" y="684"/>
                  </a:lnTo>
                  <a:lnTo>
                    <a:pt x="40" y="682"/>
                  </a:lnTo>
                  <a:close/>
                  <a:moveTo>
                    <a:pt x="32" y="801"/>
                  </a:moveTo>
                  <a:lnTo>
                    <a:pt x="34" y="801"/>
                  </a:lnTo>
                  <a:lnTo>
                    <a:pt x="32" y="804"/>
                  </a:lnTo>
                  <a:lnTo>
                    <a:pt x="32" y="801"/>
                  </a:lnTo>
                  <a:close/>
                  <a:moveTo>
                    <a:pt x="323" y="241"/>
                  </a:moveTo>
                  <a:lnTo>
                    <a:pt x="324" y="243"/>
                  </a:lnTo>
                  <a:lnTo>
                    <a:pt x="323" y="243"/>
                  </a:lnTo>
                  <a:lnTo>
                    <a:pt x="323" y="241"/>
                  </a:lnTo>
                  <a:close/>
                  <a:moveTo>
                    <a:pt x="355" y="199"/>
                  </a:moveTo>
                  <a:lnTo>
                    <a:pt x="357" y="199"/>
                  </a:lnTo>
                  <a:lnTo>
                    <a:pt x="357" y="201"/>
                  </a:lnTo>
                  <a:lnTo>
                    <a:pt x="355" y="201"/>
                  </a:lnTo>
                  <a:lnTo>
                    <a:pt x="355" y="199"/>
                  </a:lnTo>
                  <a:close/>
                  <a:moveTo>
                    <a:pt x="119" y="629"/>
                  </a:moveTo>
                  <a:lnTo>
                    <a:pt x="119" y="631"/>
                  </a:lnTo>
                  <a:lnTo>
                    <a:pt x="117" y="631"/>
                  </a:lnTo>
                  <a:lnTo>
                    <a:pt x="119" y="629"/>
                  </a:lnTo>
                  <a:close/>
                  <a:moveTo>
                    <a:pt x="8" y="782"/>
                  </a:moveTo>
                  <a:lnTo>
                    <a:pt x="8" y="784"/>
                  </a:lnTo>
                  <a:lnTo>
                    <a:pt x="6" y="784"/>
                  </a:lnTo>
                  <a:lnTo>
                    <a:pt x="8" y="782"/>
                  </a:lnTo>
                  <a:close/>
                  <a:moveTo>
                    <a:pt x="151" y="610"/>
                  </a:moveTo>
                  <a:lnTo>
                    <a:pt x="149" y="612"/>
                  </a:lnTo>
                  <a:lnTo>
                    <a:pt x="151" y="610"/>
                  </a:lnTo>
                  <a:close/>
                  <a:moveTo>
                    <a:pt x="10" y="753"/>
                  </a:moveTo>
                  <a:lnTo>
                    <a:pt x="11" y="753"/>
                  </a:lnTo>
                  <a:lnTo>
                    <a:pt x="10" y="755"/>
                  </a:lnTo>
                  <a:lnTo>
                    <a:pt x="10" y="753"/>
                  </a:lnTo>
                  <a:close/>
                  <a:moveTo>
                    <a:pt x="261" y="401"/>
                  </a:moveTo>
                  <a:lnTo>
                    <a:pt x="260" y="403"/>
                  </a:lnTo>
                  <a:lnTo>
                    <a:pt x="258" y="403"/>
                  </a:lnTo>
                  <a:lnTo>
                    <a:pt x="260" y="403"/>
                  </a:lnTo>
                  <a:lnTo>
                    <a:pt x="260" y="401"/>
                  </a:lnTo>
                  <a:lnTo>
                    <a:pt x="261" y="401"/>
                  </a:lnTo>
                  <a:close/>
                  <a:moveTo>
                    <a:pt x="6" y="779"/>
                  </a:moveTo>
                  <a:lnTo>
                    <a:pt x="8" y="779"/>
                  </a:lnTo>
                  <a:lnTo>
                    <a:pt x="8" y="781"/>
                  </a:lnTo>
                  <a:lnTo>
                    <a:pt x="6" y="781"/>
                  </a:lnTo>
                  <a:lnTo>
                    <a:pt x="6" y="779"/>
                  </a:lnTo>
                  <a:close/>
                  <a:moveTo>
                    <a:pt x="282" y="359"/>
                  </a:moveTo>
                  <a:lnTo>
                    <a:pt x="283" y="359"/>
                  </a:lnTo>
                  <a:lnTo>
                    <a:pt x="283" y="360"/>
                  </a:lnTo>
                  <a:lnTo>
                    <a:pt x="282" y="360"/>
                  </a:lnTo>
                  <a:lnTo>
                    <a:pt x="282" y="359"/>
                  </a:lnTo>
                  <a:close/>
                  <a:moveTo>
                    <a:pt x="32" y="923"/>
                  </a:moveTo>
                  <a:lnTo>
                    <a:pt x="34" y="923"/>
                  </a:lnTo>
                  <a:lnTo>
                    <a:pt x="34" y="925"/>
                  </a:lnTo>
                  <a:lnTo>
                    <a:pt x="32" y="925"/>
                  </a:lnTo>
                  <a:lnTo>
                    <a:pt x="32" y="923"/>
                  </a:lnTo>
                  <a:close/>
                  <a:moveTo>
                    <a:pt x="222" y="510"/>
                  </a:moveTo>
                  <a:lnTo>
                    <a:pt x="221" y="512"/>
                  </a:lnTo>
                  <a:lnTo>
                    <a:pt x="222" y="510"/>
                  </a:lnTo>
                  <a:close/>
                  <a:moveTo>
                    <a:pt x="244" y="389"/>
                  </a:moveTo>
                  <a:lnTo>
                    <a:pt x="244" y="391"/>
                  </a:lnTo>
                  <a:lnTo>
                    <a:pt x="243" y="391"/>
                  </a:lnTo>
                  <a:lnTo>
                    <a:pt x="244" y="389"/>
                  </a:lnTo>
                  <a:close/>
                  <a:moveTo>
                    <a:pt x="130" y="610"/>
                  </a:moveTo>
                  <a:lnTo>
                    <a:pt x="132" y="610"/>
                  </a:lnTo>
                  <a:lnTo>
                    <a:pt x="132" y="612"/>
                  </a:lnTo>
                  <a:lnTo>
                    <a:pt x="130" y="612"/>
                  </a:lnTo>
                  <a:lnTo>
                    <a:pt x="130" y="610"/>
                  </a:lnTo>
                  <a:close/>
                  <a:moveTo>
                    <a:pt x="200" y="918"/>
                  </a:moveTo>
                  <a:lnTo>
                    <a:pt x="200" y="922"/>
                  </a:lnTo>
                  <a:lnTo>
                    <a:pt x="200" y="918"/>
                  </a:lnTo>
                  <a:close/>
                  <a:moveTo>
                    <a:pt x="13" y="794"/>
                  </a:moveTo>
                  <a:lnTo>
                    <a:pt x="15" y="794"/>
                  </a:lnTo>
                  <a:lnTo>
                    <a:pt x="15" y="796"/>
                  </a:lnTo>
                  <a:lnTo>
                    <a:pt x="13" y="796"/>
                  </a:lnTo>
                  <a:lnTo>
                    <a:pt x="13" y="794"/>
                  </a:lnTo>
                  <a:close/>
                  <a:moveTo>
                    <a:pt x="149" y="954"/>
                  </a:moveTo>
                  <a:lnTo>
                    <a:pt x="151" y="954"/>
                  </a:lnTo>
                  <a:lnTo>
                    <a:pt x="151" y="956"/>
                  </a:lnTo>
                  <a:lnTo>
                    <a:pt x="149" y="956"/>
                  </a:lnTo>
                  <a:lnTo>
                    <a:pt x="149" y="954"/>
                  </a:lnTo>
                  <a:close/>
                  <a:moveTo>
                    <a:pt x="168" y="583"/>
                  </a:moveTo>
                  <a:lnTo>
                    <a:pt x="168" y="585"/>
                  </a:lnTo>
                  <a:lnTo>
                    <a:pt x="170" y="583"/>
                  </a:lnTo>
                  <a:lnTo>
                    <a:pt x="168" y="585"/>
                  </a:lnTo>
                  <a:lnTo>
                    <a:pt x="168" y="583"/>
                  </a:lnTo>
                  <a:close/>
                  <a:moveTo>
                    <a:pt x="6" y="755"/>
                  </a:moveTo>
                  <a:lnTo>
                    <a:pt x="8" y="755"/>
                  </a:lnTo>
                  <a:lnTo>
                    <a:pt x="8" y="757"/>
                  </a:lnTo>
                  <a:lnTo>
                    <a:pt x="6" y="757"/>
                  </a:lnTo>
                  <a:lnTo>
                    <a:pt x="6" y="755"/>
                  </a:lnTo>
                  <a:close/>
                  <a:moveTo>
                    <a:pt x="236" y="451"/>
                  </a:moveTo>
                  <a:lnTo>
                    <a:pt x="238" y="452"/>
                  </a:lnTo>
                  <a:lnTo>
                    <a:pt x="236" y="452"/>
                  </a:lnTo>
                  <a:lnTo>
                    <a:pt x="236" y="451"/>
                  </a:lnTo>
                  <a:close/>
                  <a:moveTo>
                    <a:pt x="306" y="330"/>
                  </a:moveTo>
                  <a:lnTo>
                    <a:pt x="306" y="331"/>
                  </a:lnTo>
                  <a:lnTo>
                    <a:pt x="304" y="331"/>
                  </a:lnTo>
                  <a:lnTo>
                    <a:pt x="306" y="330"/>
                  </a:lnTo>
                  <a:close/>
                  <a:moveTo>
                    <a:pt x="297" y="340"/>
                  </a:moveTo>
                  <a:lnTo>
                    <a:pt x="297" y="342"/>
                  </a:lnTo>
                  <a:lnTo>
                    <a:pt x="297" y="340"/>
                  </a:lnTo>
                  <a:close/>
                  <a:moveTo>
                    <a:pt x="147" y="954"/>
                  </a:moveTo>
                  <a:lnTo>
                    <a:pt x="147" y="957"/>
                  </a:lnTo>
                  <a:lnTo>
                    <a:pt x="147" y="954"/>
                  </a:lnTo>
                  <a:close/>
                  <a:moveTo>
                    <a:pt x="10" y="731"/>
                  </a:moveTo>
                  <a:lnTo>
                    <a:pt x="10" y="733"/>
                  </a:lnTo>
                  <a:lnTo>
                    <a:pt x="10" y="731"/>
                  </a:lnTo>
                  <a:close/>
                  <a:moveTo>
                    <a:pt x="499" y="51"/>
                  </a:moveTo>
                  <a:lnTo>
                    <a:pt x="501" y="53"/>
                  </a:lnTo>
                  <a:lnTo>
                    <a:pt x="499" y="53"/>
                  </a:lnTo>
                  <a:lnTo>
                    <a:pt x="499" y="51"/>
                  </a:lnTo>
                  <a:close/>
                  <a:moveTo>
                    <a:pt x="10" y="855"/>
                  </a:moveTo>
                  <a:lnTo>
                    <a:pt x="11" y="855"/>
                  </a:lnTo>
                  <a:lnTo>
                    <a:pt x="11" y="857"/>
                  </a:lnTo>
                  <a:lnTo>
                    <a:pt x="10" y="857"/>
                  </a:lnTo>
                  <a:lnTo>
                    <a:pt x="10" y="855"/>
                  </a:lnTo>
                  <a:close/>
                  <a:moveTo>
                    <a:pt x="224" y="537"/>
                  </a:moveTo>
                  <a:lnTo>
                    <a:pt x="226" y="537"/>
                  </a:lnTo>
                  <a:lnTo>
                    <a:pt x="226" y="539"/>
                  </a:lnTo>
                  <a:lnTo>
                    <a:pt x="224" y="539"/>
                  </a:lnTo>
                  <a:lnTo>
                    <a:pt x="224" y="537"/>
                  </a:lnTo>
                  <a:close/>
                  <a:moveTo>
                    <a:pt x="147" y="954"/>
                  </a:moveTo>
                  <a:lnTo>
                    <a:pt x="149" y="954"/>
                  </a:lnTo>
                  <a:lnTo>
                    <a:pt x="149" y="956"/>
                  </a:lnTo>
                  <a:lnTo>
                    <a:pt x="147" y="956"/>
                  </a:lnTo>
                  <a:lnTo>
                    <a:pt x="147" y="954"/>
                  </a:lnTo>
                  <a:close/>
                  <a:moveTo>
                    <a:pt x="249" y="461"/>
                  </a:moveTo>
                  <a:lnTo>
                    <a:pt x="248" y="462"/>
                  </a:lnTo>
                  <a:lnTo>
                    <a:pt x="248" y="464"/>
                  </a:lnTo>
                  <a:lnTo>
                    <a:pt x="248" y="462"/>
                  </a:lnTo>
                  <a:lnTo>
                    <a:pt x="249" y="461"/>
                  </a:lnTo>
                  <a:close/>
                  <a:moveTo>
                    <a:pt x="311" y="267"/>
                  </a:moveTo>
                  <a:lnTo>
                    <a:pt x="312" y="267"/>
                  </a:lnTo>
                  <a:lnTo>
                    <a:pt x="312" y="269"/>
                  </a:lnTo>
                  <a:lnTo>
                    <a:pt x="311" y="269"/>
                  </a:lnTo>
                  <a:lnTo>
                    <a:pt x="311" y="267"/>
                  </a:lnTo>
                  <a:close/>
                  <a:moveTo>
                    <a:pt x="18" y="791"/>
                  </a:moveTo>
                  <a:lnTo>
                    <a:pt x="18" y="792"/>
                  </a:lnTo>
                  <a:lnTo>
                    <a:pt x="18" y="791"/>
                  </a:lnTo>
                  <a:close/>
                  <a:moveTo>
                    <a:pt x="275" y="367"/>
                  </a:moveTo>
                  <a:lnTo>
                    <a:pt x="277" y="367"/>
                  </a:lnTo>
                  <a:lnTo>
                    <a:pt x="277" y="369"/>
                  </a:lnTo>
                  <a:lnTo>
                    <a:pt x="275" y="369"/>
                  </a:lnTo>
                  <a:lnTo>
                    <a:pt x="275" y="367"/>
                  </a:lnTo>
                  <a:close/>
                  <a:moveTo>
                    <a:pt x="328" y="253"/>
                  </a:moveTo>
                  <a:lnTo>
                    <a:pt x="326" y="255"/>
                  </a:lnTo>
                  <a:lnTo>
                    <a:pt x="328" y="253"/>
                  </a:lnTo>
                  <a:close/>
                  <a:moveTo>
                    <a:pt x="236" y="498"/>
                  </a:moveTo>
                  <a:lnTo>
                    <a:pt x="234" y="498"/>
                  </a:lnTo>
                  <a:lnTo>
                    <a:pt x="236" y="498"/>
                  </a:lnTo>
                  <a:close/>
                  <a:moveTo>
                    <a:pt x="392" y="146"/>
                  </a:moveTo>
                  <a:lnTo>
                    <a:pt x="394" y="146"/>
                  </a:lnTo>
                  <a:lnTo>
                    <a:pt x="394" y="148"/>
                  </a:lnTo>
                  <a:lnTo>
                    <a:pt x="392" y="148"/>
                  </a:lnTo>
                  <a:lnTo>
                    <a:pt x="392" y="146"/>
                  </a:lnTo>
                  <a:close/>
                  <a:moveTo>
                    <a:pt x="202" y="864"/>
                  </a:moveTo>
                  <a:lnTo>
                    <a:pt x="204" y="864"/>
                  </a:lnTo>
                  <a:lnTo>
                    <a:pt x="204" y="866"/>
                  </a:lnTo>
                  <a:lnTo>
                    <a:pt x="202" y="866"/>
                  </a:lnTo>
                  <a:lnTo>
                    <a:pt x="202" y="864"/>
                  </a:lnTo>
                  <a:close/>
                  <a:moveTo>
                    <a:pt x="360" y="209"/>
                  </a:moveTo>
                  <a:lnTo>
                    <a:pt x="362" y="209"/>
                  </a:lnTo>
                  <a:lnTo>
                    <a:pt x="362" y="211"/>
                  </a:lnTo>
                  <a:lnTo>
                    <a:pt x="360" y="209"/>
                  </a:lnTo>
                  <a:close/>
                  <a:moveTo>
                    <a:pt x="13" y="760"/>
                  </a:moveTo>
                  <a:lnTo>
                    <a:pt x="15" y="760"/>
                  </a:lnTo>
                  <a:lnTo>
                    <a:pt x="15" y="762"/>
                  </a:lnTo>
                  <a:lnTo>
                    <a:pt x="13" y="762"/>
                  </a:lnTo>
                  <a:lnTo>
                    <a:pt x="13" y="760"/>
                  </a:lnTo>
                  <a:close/>
                  <a:moveTo>
                    <a:pt x="17" y="855"/>
                  </a:moveTo>
                  <a:lnTo>
                    <a:pt x="18" y="855"/>
                  </a:lnTo>
                  <a:lnTo>
                    <a:pt x="17" y="857"/>
                  </a:lnTo>
                  <a:lnTo>
                    <a:pt x="17" y="855"/>
                  </a:lnTo>
                  <a:close/>
                  <a:moveTo>
                    <a:pt x="193" y="553"/>
                  </a:moveTo>
                  <a:lnTo>
                    <a:pt x="195" y="553"/>
                  </a:lnTo>
                  <a:lnTo>
                    <a:pt x="195" y="554"/>
                  </a:lnTo>
                  <a:lnTo>
                    <a:pt x="193" y="554"/>
                  </a:lnTo>
                  <a:lnTo>
                    <a:pt x="193" y="553"/>
                  </a:lnTo>
                  <a:close/>
                  <a:moveTo>
                    <a:pt x="11" y="781"/>
                  </a:moveTo>
                  <a:lnTo>
                    <a:pt x="13" y="781"/>
                  </a:lnTo>
                  <a:lnTo>
                    <a:pt x="13" y="782"/>
                  </a:lnTo>
                  <a:lnTo>
                    <a:pt x="11" y="782"/>
                  </a:lnTo>
                  <a:lnTo>
                    <a:pt x="11" y="781"/>
                  </a:lnTo>
                  <a:close/>
                  <a:moveTo>
                    <a:pt x="35" y="685"/>
                  </a:moveTo>
                  <a:lnTo>
                    <a:pt x="37" y="685"/>
                  </a:lnTo>
                  <a:lnTo>
                    <a:pt x="37" y="687"/>
                  </a:lnTo>
                  <a:lnTo>
                    <a:pt x="35" y="687"/>
                  </a:lnTo>
                  <a:lnTo>
                    <a:pt x="35" y="685"/>
                  </a:lnTo>
                  <a:close/>
                  <a:moveTo>
                    <a:pt x="258" y="398"/>
                  </a:moveTo>
                  <a:lnTo>
                    <a:pt x="258" y="400"/>
                  </a:lnTo>
                  <a:lnTo>
                    <a:pt x="260" y="400"/>
                  </a:lnTo>
                  <a:lnTo>
                    <a:pt x="258" y="400"/>
                  </a:lnTo>
                  <a:lnTo>
                    <a:pt x="258" y="398"/>
                  </a:lnTo>
                  <a:close/>
                  <a:moveTo>
                    <a:pt x="11" y="857"/>
                  </a:moveTo>
                  <a:lnTo>
                    <a:pt x="13" y="857"/>
                  </a:lnTo>
                  <a:lnTo>
                    <a:pt x="13" y="859"/>
                  </a:lnTo>
                  <a:lnTo>
                    <a:pt x="11" y="859"/>
                  </a:lnTo>
                  <a:lnTo>
                    <a:pt x="11" y="857"/>
                  </a:lnTo>
                  <a:close/>
                  <a:moveTo>
                    <a:pt x="15" y="799"/>
                  </a:moveTo>
                  <a:lnTo>
                    <a:pt x="15" y="801"/>
                  </a:lnTo>
                  <a:lnTo>
                    <a:pt x="15" y="803"/>
                  </a:lnTo>
                  <a:lnTo>
                    <a:pt x="15" y="799"/>
                  </a:lnTo>
                  <a:close/>
                  <a:moveTo>
                    <a:pt x="362" y="211"/>
                  </a:moveTo>
                  <a:lnTo>
                    <a:pt x="362" y="212"/>
                  </a:lnTo>
                  <a:lnTo>
                    <a:pt x="362" y="211"/>
                  </a:lnTo>
                  <a:close/>
                  <a:moveTo>
                    <a:pt x="197" y="548"/>
                  </a:moveTo>
                  <a:lnTo>
                    <a:pt x="198" y="548"/>
                  </a:lnTo>
                  <a:lnTo>
                    <a:pt x="197" y="548"/>
                  </a:lnTo>
                  <a:close/>
                  <a:moveTo>
                    <a:pt x="209" y="908"/>
                  </a:moveTo>
                  <a:lnTo>
                    <a:pt x="210" y="908"/>
                  </a:lnTo>
                  <a:lnTo>
                    <a:pt x="210" y="910"/>
                  </a:lnTo>
                  <a:lnTo>
                    <a:pt x="209" y="910"/>
                  </a:lnTo>
                  <a:lnTo>
                    <a:pt x="209" y="908"/>
                  </a:lnTo>
                  <a:close/>
                  <a:moveTo>
                    <a:pt x="39" y="922"/>
                  </a:moveTo>
                  <a:lnTo>
                    <a:pt x="40" y="922"/>
                  </a:lnTo>
                  <a:lnTo>
                    <a:pt x="39" y="923"/>
                  </a:lnTo>
                  <a:lnTo>
                    <a:pt x="39" y="922"/>
                  </a:lnTo>
                  <a:close/>
                  <a:moveTo>
                    <a:pt x="387" y="151"/>
                  </a:moveTo>
                  <a:lnTo>
                    <a:pt x="389" y="151"/>
                  </a:lnTo>
                  <a:lnTo>
                    <a:pt x="389" y="153"/>
                  </a:lnTo>
                  <a:lnTo>
                    <a:pt x="387" y="151"/>
                  </a:lnTo>
                  <a:close/>
                  <a:moveTo>
                    <a:pt x="27" y="917"/>
                  </a:moveTo>
                  <a:lnTo>
                    <a:pt x="28" y="917"/>
                  </a:lnTo>
                  <a:lnTo>
                    <a:pt x="28" y="918"/>
                  </a:lnTo>
                  <a:lnTo>
                    <a:pt x="27" y="918"/>
                  </a:lnTo>
                  <a:lnTo>
                    <a:pt x="27" y="917"/>
                  </a:lnTo>
                  <a:close/>
                  <a:moveTo>
                    <a:pt x="171" y="934"/>
                  </a:moveTo>
                  <a:lnTo>
                    <a:pt x="171" y="935"/>
                  </a:lnTo>
                  <a:lnTo>
                    <a:pt x="170" y="937"/>
                  </a:lnTo>
                  <a:lnTo>
                    <a:pt x="168" y="937"/>
                  </a:lnTo>
                  <a:lnTo>
                    <a:pt x="170" y="937"/>
                  </a:lnTo>
                  <a:lnTo>
                    <a:pt x="170" y="935"/>
                  </a:lnTo>
                  <a:lnTo>
                    <a:pt x="171" y="934"/>
                  </a:lnTo>
                  <a:close/>
                  <a:moveTo>
                    <a:pt x="8" y="762"/>
                  </a:moveTo>
                  <a:lnTo>
                    <a:pt x="10" y="762"/>
                  </a:lnTo>
                  <a:lnTo>
                    <a:pt x="10" y="764"/>
                  </a:lnTo>
                  <a:lnTo>
                    <a:pt x="8" y="764"/>
                  </a:lnTo>
                  <a:lnTo>
                    <a:pt x="8" y="762"/>
                  </a:lnTo>
                  <a:close/>
                  <a:moveTo>
                    <a:pt x="6" y="782"/>
                  </a:moveTo>
                  <a:lnTo>
                    <a:pt x="6" y="784"/>
                  </a:lnTo>
                  <a:lnTo>
                    <a:pt x="6" y="782"/>
                  </a:lnTo>
                  <a:close/>
                  <a:moveTo>
                    <a:pt x="8" y="813"/>
                  </a:moveTo>
                  <a:lnTo>
                    <a:pt x="8" y="815"/>
                  </a:lnTo>
                  <a:lnTo>
                    <a:pt x="8" y="813"/>
                  </a:lnTo>
                  <a:close/>
                  <a:moveTo>
                    <a:pt x="181" y="576"/>
                  </a:moveTo>
                  <a:lnTo>
                    <a:pt x="183" y="576"/>
                  </a:lnTo>
                  <a:lnTo>
                    <a:pt x="183" y="578"/>
                  </a:lnTo>
                  <a:lnTo>
                    <a:pt x="181" y="578"/>
                  </a:lnTo>
                  <a:lnTo>
                    <a:pt x="181" y="576"/>
                  </a:lnTo>
                  <a:close/>
                  <a:moveTo>
                    <a:pt x="54" y="673"/>
                  </a:moveTo>
                  <a:lnTo>
                    <a:pt x="56" y="673"/>
                  </a:lnTo>
                  <a:lnTo>
                    <a:pt x="56" y="675"/>
                  </a:lnTo>
                  <a:lnTo>
                    <a:pt x="54" y="675"/>
                  </a:lnTo>
                  <a:lnTo>
                    <a:pt x="54" y="673"/>
                  </a:lnTo>
                  <a:close/>
                  <a:moveTo>
                    <a:pt x="39" y="927"/>
                  </a:moveTo>
                  <a:lnTo>
                    <a:pt x="40" y="927"/>
                  </a:lnTo>
                  <a:lnTo>
                    <a:pt x="40" y="929"/>
                  </a:lnTo>
                  <a:lnTo>
                    <a:pt x="39" y="929"/>
                  </a:lnTo>
                  <a:lnTo>
                    <a:pt x="39" y="927"/>
                  </a:lnTo>
                  <a:close/>
                  <a:moveTo>
                    <a:pt x="8" y="738"/>
                  </a:moveTo>
                  <a:lnTo>
                    <a:pt x="8" y="740"/>
                  </a:lnTo>
                  <a:lnTo>
                    <a:pt x="8" y="738"/>
                  </a:lnTo>
                  <a:close/>
                  <a:moveTo>
                    <a:pt x="212" y="534"/>
                  </a:moveTo>
                  <a:lnTo>
                    <a:pt x="212" y="536"/>
                  </a:lnTo>
                  <a:lnTo>
                    <a:pt x="210" y="534"/>
                  </a:lnTo>
                  <a:lnTo>
                    <a:pt x="212" y="534"/>
                  </a:lnTo>
                  <a:close/>
                  <a:moveTo>
                    <a:pt x="215" y="498"/>
                  </a:moveTo>
                  <a:lnTo>
                    <a:pt x="217" y="498"/>
                  </a:lnTo>
                  <a:lnTo>
                    <a:pt x="215" y="498"/>
                  </a:lnTo>
                  <a:close/>
                  <a:moveTo>
                    <a:pt x="314" y="292"/>
                  </a:moveTo>
                  <a:lnTo>
                    <a:pt x="312" y="294"/>
                  </a:lnTo>
                  <a:lnTo>
                    <a:pt x="314" y="292"/>
                  </a:lnTo>
                  <a:close/>
                  <a:moveTo>
                    <a:pt x="180" y="578"/>
                  </a:moveTo>
                  <a:lnTo>
                    <a:pt x="181" y="578"/>
                  </a:lnTo>
                  <a:lnTo>
                    <a:pt x="181" y="580"/>
                  </a:lnTo>
                  <a:lnTo>
                    <a:pt x="180" y="580"/>
                  </a:lnTo>
                  <a:lnTo>
                    <a:pt x="180" y="578"/>
                  </a:lnTo>
                  <a:close/>
                  <a:moveTo>
                    <a:pt x="285" y="372"/>
                  </a:moveTo>
                  <a:lnTo>
                    <a:pt x="283" y="372"/>
                  </a:lnTo>
                  <a:lnTo>
                    <a:pt x="285" y="372"/>
                  </a:lnTo>
                  <a:close/>
                  <a:moveTo>
                    <a:pt x="319" y="252"/>
                  </a:moveTo>
                  <a:lnTo>
                    <a:pt x="321" y="252"/>
                  </a:lnTo>
                  <a:lnTo>
                    <a:pt x="321" y="253"/>
                  </a:lnTo>
                  <a:lnTo>
                    <a:pt x="319" y="253"/>
                  </a:lnTo>
                  <a:lnTo>
                    <a:pt x="319" y="252"/>
                  </a:lnTo>
                  <a:close/>
                  <a:moveTo>
                    <a:pt x="17" y="861"/>
                  </a:moveTo>
                  <a:lnTo>
                    <a:pt x="17" y="862"/>
                  </a:lnTo>
                  <a:lnTo>
                    <a:pt x="15" y="862"/>
                  </a:lnTo>
                  <a:lnTo>
                    <a:pt x="17" y="861"/>
                  </a:lnTo>
                  <a:close/>
                  <a:moveTo>
                    <a:pt x="51" y="692"/>
                  </a:moveTo>
                  <a:lnTo>
                    <a:pt x="47" y="694"/>
                  </a:lnTo>
                  <a:lnTo>
                    <a:pt x="49" y="692"/>
                  </a:lnTo>
                  <a:lnTo>
                    <a:pt x="51" y="692"/>
                  </a:lnTo>
                  <a:close/>
                  <a:moveTo>
                    <a:pt x="268" y="391"/>
                  </a:moveTo>
                  <a:lnTo>
                    <a:pt x="270" y="391"/>
                  </a:lnTo>
                  <a:lnTo>
                    <a:pt x="268" y="391"/>
                  </a:lnTo>
                  <a:close/>
                  <a:moveTo>
                    <a:pt x="164" y="934"/>
                  </a:moveTo>
                  <a:lnTo>
                    <a:pt x="166" y="934"/>
                  </a:lnTo>
                  <a:lnTo>
                    <a:pt x="166" y="935"/>
                  </a:lnTo>
                  <a:lnTo>
                    <a:pt x="164" y="935"/>
                  </a:lnTo>
                  <a:lnTo>
                    <a:pt x="164" y="934"/>
                  </a:lnTo>
                  <a:close/>
                  <a:moveTo>
                    <a:pt x="392" y="141"/>
                  </a:moveTo>
                  <a:lnTo>
                    <a:pt x="392" y="143"/>
                  </a:lnTo>
                  <a:lnTo>
                    <a:pt x="392" y="141"/>
                  </a:lnTo>
                  <a:close/>
                  <a:moveTo>
                    <a:pt x="224" y="922"/>
                  </a:moveTo>
                  <a:lnTo>
                    <a:pt x="224" y="923"/>
                  </a:lnTo>
                  <a:lnTo>
                    <a:pt x="224" y="922"/>
                  </a:lnTo>
                  <a:close/>
                  <a:moveTo>
                    <a:pt x="311" y="337"/>
                  </a:moveTo>
                  <a:lnTo>
                    <a:pt x="312" y="338"/>
                  </a:lnTo>
                  <a:lnTo>
                    <a:pt x="311" y="338"/>
                  </a:lnTo>
                  <a:lnTo>
                    <a:pt x="311" y="337"/>
                  </a:lnTo>
                  <a:close/>
                  <a:moveTo>
                    <a:pt x="244" y="391"/>
                  </a:moveTo>
                  <a:lnTo>
                    <a:pt x="244" y="393"/>
                  </a:lnTo>
                  <a:lnTo>
                    <a:pt x="244" y="391"/>
                  </a:lnTo>
                  <a:close/>
                  <a:moveTo>
                    <a:pt x="253" y="437"/>
                  </a:moveTo>
                  <a:lnTo>
                    <a:pt x="255" y="437"/>
                  </a:lnTo>
                  <a:lnTo>
                    <a:pt x="255" y="439"/>
                  </a:lnTo>
                  <a:lnTo>
                    <a:pt x="253" y="439"/>
                  </a:lnTo>
                  <a:lnTo>
                    <a:pt x="253" y="437"/>
                  </a:lnTo>
                  <a:close/>
                  <a:moveTo>
                    <a:pt x="154" y="571"/>
                  </a:moveTo>
                  <a:lnTo>
                    <a:pt x="156" y="571"/>
                  </a:lnTo>
                  <a:lnTo>
                    <a:pt x="156" y="573"/>
                  </a:lnTo>
                  <a:lnTo>
                    <a:pt x="154" y="573"/>
                  </a:lnTo>
                  <a:lnTo>
                    <a:pt x="154" y="571"/>
                  </a:lnTo>
                  <a:close/>
                  <a:moveTo>
                    <a:pt x="130" y="604"/>
                  </a:moveTo>
                  <a:lnTo>
                    <a:pt x="132" y="604"/>
                  </a:lnTo>
                  <a:lnTo>
                    <a:pt x="132" y="605"/>
                  </a:lnTo>
                  <a:lnTo>
                    <a:pt x="130" y="605"/>
                  </a:lnTo>
                  <a:lnTo>
                    <a:pt x="130" y="604"/>
                  </a:lnTo>
                  <a:close/>
                  <a:moveTo>
                    <a:pt x="253" y="439"/>
                  </a:moveTo>
                  <a:lnTo>
                    <a:pt x="253" y="440"/>
                  </a:lnTo>
                  <a:lnTo>
                    <a:pt x="253" y="439"/>
                  </a:lnTo>
                  <a:close/>
                  <a:moveTo>
                    <a:pt x="11" y="796"/>
                  </a:moveTo>
                  <a:lnTo>
                    <a:pt x="13" y="796"/>
                  </a:lnTo>
                  <a:lnTo>
                    <a:pt x="13" y="798"/>
                  </a:lnTo>
                  <a:lnTo>
                    <a:pt x="11" y="798"/>
                  </a:lnTo>
                  <a:lnTo>
                    <a:pt x="11" y="796"/>
                  </a:lnTo>
                  <a:close/>
                  <a:moveTo>
                    <a:pt x="270" y="379"/>
                  </a:moveTo>
                  <a:lnTo>
                    <a:pt x="272" y="379"/>
                  </a:lnTo>
                  <a:lnTo>
                    <a:pt x="270" y="379"/>
                  </a:lnTo>
                  <a:close/>
                  <a:moveTo>
                    <a:pt x="204" y="864"/>
                  </a:moveTo>
                  <a:lnTo>
                    <a:pt x="205" y="864"/>
                  </a:lnTo>
                  <a:lnTo>
                    <a:pt x="205" y="866"/>
                  </a:lnTo>
                  <a:lnTo>
                    <a:pt x="204" y="866"/>
                  </a:lnTo>
                  <a:lnTo>
                    <a:pt x="204" y="864"/>
                  </a:lnTo>
                  <a:close/>
                  <a:moveTo>
                    <a:pt x="15" y="799"/>
                  </a:moveTo>
                  <a:lnTo>
                    <a:pt x="17" y="801"/>
                  </a:lnTo>
                  <a:lnTo>
                    <a:pt x="15" y="801"/>
                  </a:lnTo>
                  <a:lnTo>
                    <a:pt x="15" y="799"/>
                  </a:lnTo>
                  <a:close/>
                  <a:moveTo>
                    <a:pt x="153" y="951"/>
                  </a:moveTo>
                  <a:lnTo>
                    <a:pt x="153" y="952"/>
                  </a:lnTo>
                  <a:lnTo>
                    <a:pt x="151" y="952"/>
                  </a:lnTo>
                  <a:lnTo>
                    <a:pt x="153" y="951"/>
                  </a:lnTo>
                  <a:close/>
                  <a:moveTo>
                    <a:pt x="137" y="631"/>
                  </a:moveTo>
                  <a:lnTo>
                    <a:pt x="137" y="633"/>
                  </a:lnTo>
                  <a:lnTo>
                    <a:pt x="136" y="633"/>
                  </a:lnTo>
                  <a:lnTo>
                    <a:pt x="137" y="631"/>
                  </a:lnTo>
                  <a:close/>
                  <a:moveTo>
                    <a:pt x="215" y="508"/>
                  </a:moveTo>
                  <a:lnTo>
                    <a:pt x="217" y="508"/>
                  </a:lnTo>
                  <a:lnTo>
                    <a:pt x="217" y="510"/>
                  </a:lnTo>
                  <a:lnTo>
                    <a:pt x="215" y="510"/>
                  </a:lnTo>
                  <a:lnTo>
                    <a:pt x="215" y="508"/>
                  </a:lnTo>
                  <a:close/>
                  <a:moveTo>
                    <a:pt x="39" y="854"/>
                  </a:moveTo>
                  <a:lnTo>
                    <a:pt x="39" y="855"/>
                  </a:lnTo>
                  <a:lnTo>
                    <a:pt x="37" y="855"/>
                  </a:lnTo>
                  <a:lnTo>
                    <a:pt x="39" y="854"/>
                  </a:lnTo>
                  <a:close/>
                  <a:moveTo>
                    <a:pt x="195" y="548"/>
                  </a:moveTo>
                  <a:lnTo>
                    <a:pt x="197" y="548"/>
                  </a:lnTo>
                  <a:lnTo>
                    <a:pt x="197" y="549"/>
                  </a:lnTo>
                  <a:lnTo>
                    <a:pt x="195" y="549"/>
                  </a:lnTo>
                  <a:lnTo>
                    <a:pt x="195" y="548"/>
                  </a:lnTo>
                  <a:close/>
                  <a:moveTo>
                    <a:pt x="178" y="923"/>
                  </a:moveTo>
                  <a:lnTo>
                    <a:pt x="178" y="925"/>
                  </a:lnTo>
                  <a:lnTo>
                    <a:pt x="178" y="923"/>
                  </a:lnTo>
                  <a:close/>
                  <a:moveTo>
                    <a:pt x="598" y="49"/>
                  </a:moveTo>
                  <a:lnTo>
                    <a:pt x="598" y="51"/>
                  </a:lnTo>
                  <a:lnTo>
                    <a:pt x="598" y="49"/>
                  </a:lnTo>
                  <a:close/>
                  <a:moveTo>
                    <a:pt x="204" y="898"/>
                  </a:moveTo>
                  <a:lnTo>
                    <a:pt x="204" y="900"/>
                  </a:lnTo>
                  <a:lnTo>
                    <a:pt x="204" y="898"/>
                  </a:lnTo>
                  <a:close/>
                  <a:moveTo>
                    <a:pt x="141" y="585"/>
                  </a:moveTo>
                  <a:lnTo>
                    <a:pt x="142" y="585"/>
                  </a:lnTo>
                  <a:lnTo>
                    <a:pt x="142" y="587"/>
                  </a:lnTo>
                  <a:lnTo>
                    <a:pt x="141" y="587"/>
                  </a:lnTo>
                  <a:lnTo>
                    <a:pt x="141" y="585"/>
                  </a:lnTo>
                  <a:close/>
                  <a:moveTo>
                    <a:pt x="18" y="915"/>
                  </a:moveTo>
                  <a:lnTo>
                    <a:pt x="20" y="915"/>
                  </a:lnTo>
                  <a:lnTo>
                    <a:pt x="18" y="917"/>
                  </a:lnTo>
                  <a:lnTo>
                    <a:pt x="18" y="915"/>
                  </a:lnTo>
                  <a:close/>
                  <a:moveTo>
                    <a:pt x="22" y="901"/>
                  </a:moveTo>
                  <a:lnTo>
                    <a:pt x="22" y="903"/>
                  </a:lnTo>
                  <a:lnTo>
                    <a:pt x="22" y="901"/>
                  </a:lnTo>
                  <a:close/>
                  <a:moveTo>
                    <a:pt x="142" y="585"/>
                  </a:moveTo>
                  <a:lnTo>
                    <a:pt x="144" y="585"/>
                  </a:lnTo>
                  <a:lnTo>
                    <a:pt x="144" y="587"/>
                  </a:lnTo>
                  <a:lnTo>
                    <a:pt x="142" y="587"/>
                  </a:lnTo>
                  <a:lnTo>
                    <a:pt x="142" y="585"/>
                  </a:lnTo>
                  <a:close/>
                  <a:moveTo>
                    <a:pt x="20" y="811"/>
                  </a:moveTo>
                  <a:lnTo>
                    <a:pt x="20" y="813"/>
                  </a:lnTo>
                  <a:lnTo>
                    <a:pt x="20" y="811"/>
                  </a:lnTo>
                  <a:close/>
                  <a:moveTo>
                    <a:pt x="226" y="917"/>
                  </a:moveTo>
                  <a:lnTo>
                    <a:pt x="226" y="918"/>
                  </a:lnTo>
                  <a:lnTo>
                    <a:pt x="226" y="917"/>
                  </a:lnTo>
                  <a:close/>
                  <a:moveTo>
                    <a:pt x="8" y="825"/>
                  </a:moveTo>
                  <a:lnTo>
                    <a:pt x="10" y="825"/>
                  </a:lnTo>
                  <a:lnTo>
                    <a:pt x="10" y="827"/>
                  </a:lnTo>
                  <a:lnTo>
                    <a:pt x="8" y="827"/>
                  </a:lnTo>
                  <a:lnTo>
                    <a:pt x="8" y="825"/>
                  </a:lnTo>
                  <a:close/>
                  <a:moveTo>
                    <a:pt x="17" y="869"/>
                  </a:moveTo>
                  <a:lnTo>
                    <a:pt x="17" y="871"/>
                  </a:lnTo>
                  <a:lnTo>
                    <a:pt x="17" y="869"/>
                  </a:lnTo>
                  <a:close/>
                  <a:moveTo>
                    <a:pt x="10" y="833"/>
                  </a:moveTo>
                  <a:lnTo>
                    <a:pt x="10" y="835"/>
                  </a:lnTo>
                  <a:lnTo>
                    <a:pt x="10" y="833"/>
                  </a:lnTo>
                  <a:close/>
                  <a:moveTo>
                    <a:pt x="34" y="855"/>
                  </a:moveTo>
                  <a:lnTo>
                    <a:pt x="34" y="857"/>
                  </a:lnTo>
                  <a:lnTo>
                    <a:pt x="34" y="855"/>
                  </a:lnTo>
                  <a:close/>
                  <a:moveTo>
                    <a:pt x="15" y="872"/>
                  </a:moveTo>
                  <a:lnTo>
                    <a:pt x="17" y="872"/>
                  </a:lnTo>
                  <a:lnTo>
                    <a:pt x="17" y="874"/>
                  </a:lnTo>
                  <a:lnTo>
                    <a:pt x="15" y="874"/>
                  </a:lnTo>
                  <a:lnTo>
                    <a:pt x="15" y="872"/>
                  </a:lnTo>
                  <a:close/>
                  <a:moveTo>
                    <a:pt x="215" y="500"/>
                  </a:moveTo>
                  <a:lnTo>
                    <a:pt x="217" y="500"/>
                  </a:lnTo>
                  <a:lnTo>
                    <a:pt x="217" y="502"/>
                  </a:lnTo>
                  <a:lnTo>
                    <a:pt x="215" y="502"/>
                  </a:lnTo>
                  <a:lnTo>
                    <a:pt x="215" y="500"/>
                  </a:lnTo>
                  <a:close/>
                  <a:moveTo>
                    <a:pt x="212" y="527"/>
                  </a:moveTo>
                  <a:lnTo>
                    <a:pt x="212" y="529"/>
                  </a:lnTo>
                  <a:lnTo>
                    <a:pt x="212" y="527"/>
                  </a:lnTo>
                  <a:close/>
                  <a:moveTo>
                    <a:pt x="212" y="531"/>
                  </a:moveTo>
                  <a:lnTo>
                    <a:pt x="214" y="531"/>
                  </a:lnTo>
                  <a:lnTo>
                    <a:pt x="214" y="532"/>
                  </a:lnTo>
                  <a:lnTo>
                    <a:pt x="212" y="532"/>
                  </a:lnTo>
                  <a:lnTo>
                    <a:pt x="212" y="531"/>
                  </a:lnTo>
                  <a:close/>
                  <a:moveTo>
                    <a:pt x="634" y="46"/>
                  </a:moveTo>
                  <a:lnTo>
                    <a:pt x="634" y="44"/>
                  </a:lnTo>
                  <a:lnTo>
                    <a:pt x="634" y="46"/>
                  </a:lnTo>
                  <a:close/>
                  <a:moveTo>
                    <a:pt x="8" y="769"/>
                  </a:moveTo>
                  <a:lnTo>
                    <a:pt x="8" y="770"/>
                  </a:lnTo>
                  <a:lnTo>
                    <a:pt x="8" y="769"/>
                  </a:lnTo>
                  <a:close/>
                  <a:moveTo>
                    <a:pt x="205" y="537"/>
                  </a:moveTo>
                  <a:lnTo>
                    <a:pt x="205" y="539"/>
                  </a:lnTo>
                  <a:lnTo>
                    <a:pt x="205" y="537"/>
                  </a:lnTo>
                  <a:close/>
                  <a:moveTo>
                    <a:pt x="200" y="908"/>
                  </a:moveTo>
                  <a:lnTo>
                    <a:pt x="202" y="908"/>
                  </a:lnTo>
                  <a:lnTo>
                    <a:pt x="202" y="910"/>
                  </a:lnTo>
                  <a:lnTo>
                    <a:pt x="200" y="910"/>
                  </a:lnTo>
                  <a:lnTo>
                    <a:pt x="200" y="908"/>
                  </a:lnTo>
                  <a:close/>
                  <a:moveTo>
                    <a:pt x="15" y="723"/>
                  </a:moveTo>
                  <a:lnTo>
                    <a:pt x="17" y="723"/>
                  </a:lnTo>
                  <a:lnTo>
                    <a:pt x="15" y="724"/>
                  </a:lnTo>
                  <a:lnTo>
                    <a:pt x="15" y="723"/>
                  </a:lnTo>
                  <a:close/>
                  <a:moveTo>
                    <a:pt x="282" y="357"/>
                  </a:moveTo>
                  <a:lnTo>
                    <a:pt x="282" y="359"/>
                  </a:lnTo>
                  <a:lnTo>
                    <a:pt x="282" y="357"/>
                  </a:lnTo>
                  <a:close/>
                  <a:moveTo>
                    <a:pt x="8" y="789"/>
                  </a:moveTo>
                  <a:lnTo>
                    <a:pt x="10" y="791"/>
                  </a:lnTo>
                  <a:lnTo>
                    <a:pt x="8" y="791"/>
                  </a:lnTo>
                  <a:lnTo>
                    <a:pt x="8" y="789"/>
                  </a:lnTo>
                  <a:close/>
                  <a:moveTo>
                    <a:pt x="215" y="917"/>
                  </a:moveTo>
                  <a:lnTo>
                    <a:pt x="215" y="918"/>
                  </a:lnTo>
                  <a:lnTo>
                    <a:pt x="215" y="917"/>
                  </a:lnTo>
                  <a:close/>
                  <a:moveTo>
                    <a:pt x="22" y="738"/>
                  </a:moveTo>
                  <a:lnTo>
                    <a:pt x="20" y="738"/>
                  </a:lnTo>
                  <a:lnTo>
                    <a:pt x="22" y="738"/>
                  </a:lnTo>
                  <a:close/>
                  <a:moveTo>
                    <a:pt x="61" y="670"/>
                  </a:moveTo>
                  <a:lnTo>
                    <a:pt x="62" y="670"/>
                  </a:lnTo>
                  <a:lnTo>
                    <a:pt x="62" y="672"/>
                  </a:lnTo>
                  <a:lnTo>
                    <a:pt x="61" y="672"/>
                  </a:lnTo>
                  <a:lnTo>
                    <a:pt x="61" y="670"/>
                  </a:lnTo>
                  <a:close/>
                  <a:moveTo>
                    <a:pt x="205" y="600"/>
                  </a:moveTo>
                  <a:lnTo>
                    <a:pt x="205" y="602"/>
                  </a:lnTo>
                  <a:lnTo>
                    <a:pt x="204" y="602"/>
                  </a:lnTo>
                  <a:lnTo>
                    <a:pt x="205" y="600"/>
                  </a:lnTo>
                  <a:close/>
                  <a:moveTo>
                    <a:pt x="270" y="376"/>
                  </a:moveTo>
                  <a:lnTo>
                    <a:pt x="270" y="377"/>
                  </a:lnTo>
                  <a:lnTo>
                    <a:pt x="268" y="377"/>
                  </a:lnTo>
                  <a:lnTo>
                    <a:pt x="270" y="376"/>
                  </a:lnTo>
                  <a:close/>
                  <a:moveTo>
                    <a:pt x="68" y="988"/>
                  </a:moveTo>
                  <a:lnTo>
                    <a:pt x="69" y="988"/>
                  </a:lnTo>
                  <a:lnTo>
                    <a:pt x="69" y="990"/>
                  </a:lnTo>
                  <a:lnTo>
                    <a:pt x="68" y="990"/>
                  </a:lnTo>
                  <a:lnTo>
                    <a:pt x="68" y="988"/>
                  </a:lnTo>
                  <a:close/>
                  <a:moveTo>
                    <a:pt x="287" y="366"/>
                  </a:moveTo>
                  <a:lnTo>
                    <a:pt x="289" y="366"/>
                  </a:lnTo>
                  <a:lnTo>
                    <a:pt x="287" y="366"/>
                  </a:lnTo>
                  <a:close/>
                  <a:moveTo>
                    <a:pt x="10" y="861"/>
                  </a:moveTo>
                  <a:lnTo>
                    <a:pt x="11" y="862"/>
                  </a:lnTo>
                  <a:lnTo>
                    <a:pt x="11" y="864"/>
                  </a:lnTo>
                  <a:lnTo>
                    <a:pt x="10" y="864"/>
                  </a:lnTo>
                  <a:lnTo>
                    <a:pt x="10" y="861"/>
                  </a:lnTo>
                  <a:close/>
                  <a:moveTo>
                    <a:pt x="163" y="595"/>
                  </a:moveTo>
                  <a:lnTo>
                    <a:pt x="164" y="595"/>
                  </a:lnTo>
                  <a:lnTo>
                    <a:pt x="164" y="597"/>
                  </a:lnTo>
                  <a:lnTo>
                    <a:pt x="163" y="597"/>
                  </a:lnTo>
                  <a:lnTo>
                    <a:pt x="163" y="595"/>
                  </a:lnTo>
                  <a:close/>
                  <a:moveTo>
                    <a:pt x="561" y="83"/>
                  </a:moveTo>
                  <a:lnTo>
                    <a:pt x="561" y="85"/>
                  </a:lnTo>
                  <a:lnTo>
                    <a:pt x="561" y="83"/>
                  </a:lnTo>
                  <a:close/>
                  <a:moveTo>
                    <a:pt x="6" y="767"/>
                  </a:moveTo>
                  <a:lnTo>
                    <a:pt x="8" y="767"/>
                  </a:lnTo>
                  <a:lnTo>
                    <a:pt x="6" y="769"/>
                  </a:lnTo>
                  <a:lnTo>
                    <a:pt x="6" y="767"/>
                  </a:lnTo>
                  <a:close/>
                  <a:moveTo>
                    <a:pt x="176" y="580"/>
                  </a:moveTo>
                  <a:lnTo>
                    <a:pt x="175" y="582"/>
                  </a:lnTo>
                  <a:lnTo>
                    <a:pt x="176" y="582"/>
                  </a:lnTo>
                  <a:lnTo>
                    <a:pt x="176" y="580"/>
                  </a:lnTo>
                  <a:close/>
                  <a:moveTo>
                    <a:pt x="222" y="925"/>
                  </a:moveTo>
                  <a:lnTo>
                    <a:pt x="222" y="927"/>
                  </a:lnTo>
                  <a:lnTo>
                    <a:pt x="222" y="925"/>
                  </a:lnTo>
                  <a:close/>
                  <a:moveTo>
                    <a:pt x="11" y="867"/>
                  </a:moveTo>
                  <a:lnTo>
                    <a:pt x="13" y="867"/>
                  </a:lnTo>
                  <a:lnTo>
                    <a:pt x="13" y="869"/>
                  </a:lnTo>
                  <a:lnTo>
                    <a:pt x="11" y="869"/>
                  </a:lnTo>
                  <a:lnTo>
                    <a:pt x="11" y="867"/>
                  </a:lnTo>
                  <a:close/>
                  <a:moveTo>
                    <a:pt x="185" y="558"/>
                  </a:moveTo>
                  <a:lnTo>
                    <a:pt x="187" y="558"/>
                  </a:lnTo>
                  <a:lnTo>
                    <a:pt x="187" y="559"/>
                  </a:lnTo>
                  <a:lnTo>
                    <a:pt x="185" y="559"/>
                  </a:lnTo>
                  <a:lnTo>
                    <a:pt x="185" y="558"/>
                  </a:lnTo>
                  <a:close/>
                  <a:moveTo>
                    <a:pt x="561" y="80"/>
                  </a:moveTo>
                  <a:lnTo>
                    <a:pt x="562" y="80"/>
                  </a:lnTo>
                  <a:lnTo>
                    <a:pt x="561" y="80"/>
                  </a:lnTo>
                  <a:close/>
                  <a:moveTo>
                    <a:pt x="20" y="900"/>
                  </a:moveTo>
                  <a:lnTo>
                    <a:pt x="20" y="901"/>
                  </a:lnTo>
                  <a:lnTo>
                    <a:pt x="20" y="900"/>
                  </a:lnTo>
                  <a:close/>
                  <a:moveTo>
                    <a:pt x="312" y="325"/>
                  </a:moveTo>
                  <a:lnTo>
                    <a:pt x="311" y="326"/>
                  </a:lnTo>
                  <a:lnTo>
                    <a:pt x="312" y="325"/>
                  </a:lnTo>
                  <a:close/>
                  <a:moveTo>
                    <a:pt x="15" y="832"/>
                  </a:moveTo>
                  <a:lnTo>
                    <a:pt x="17" y="833"/>
                  </a:lnTo>
                  <a:lnTo>
                    <a:pt x="15" y="833"/>
                  </a:lnTo>
                  <a:lnTo>
                    <a:pt x="15" y="832"/>
                  </a:lnTo>
                  <a:close/>
                  <a:moveTo>
                    <a:pt x="219" y="517"/>
                  </a:moveTo>
                  <a:lnTo>
                    <a:pt x="221" y="517"/>
                  </a:lnTo>
                  <a:lnTo>
                    <a:pt x="221" y="519"/>
                  </a:lnTo>
                  <a:lnTo>
                    <a:pt x="219" y="519"/>
                  </a:lnTo>
                  <a:lnTo>
                    <a:pt x="219" y="517"/>
                  </a:lnTo>
                  <a:close/>
                  <a:moveTo>
                    <a:pt x="71" y="665"/>
                  </a:moveTo>
                  <a:lnTo>
                    <a:pt x="73" y="665"/>
                  </a:lnTo>
                  <a:lnTo>
                    <a:pt x="71" y="665"/>
                  </a:lnTo>
                  <a:close/>
                  <a:moveTo>
                    <a:pt x="260" y="440"/>
                  </a:moveTo>
                  <a:lnTo>
                    <a:pt x="261" y="440"/>
                  </a:lnTo>
                  <a:lnTo>
                    <a:pt x="261" y="442"/>
                  </a:lnTo>
                  <a:lnTo>
                    <a:pt x="260" y="442"/>
                  </a:lnTo>
                  <a:lnTo>
                    <a:pt x="260" y="440"/>
                  </a:lnTo>
                  <a:close/>
                  <a:moveTo>
                    <a:pt x="255" y="481"/>
                  </a:moveTo>
                  <a:lnTo>
                    <a:pt x="256" y="481"/>
                  </a:lnTo>
                  <a:lnTo>
                    <a:pt x="255" y="481"/>
                  </a:lnTo>
                  <a:close/>
                  <a:moveTo>
                    <a:pt x="357" y="260"/>
                  </a:moveTo>
                  <a:lnTo>
                    <a:pt x="357" y="262"/>
                  </a:lnTo>
                  <a:lnTo>
                    <a:pt x="357" y="260"/>
                  </a:lnTo>
                  <a:close/>
                  <a:moveTo>
                    <a:pt x="200" y="917"/>
                  </a:moveTo>
                  <a:lnTo>
                    <a:pt x="200" y="920"/>
                  </a:lnTo>
                  <a:lnTo>
                    <a:pt x="200" y="917"/>
                  </a:lnTo>
                  <a:close/>
                  <a:moveTo>
                    <a:pt x="6" y="813"/>
                  </a:moveTo>
                  <a:lnTo>
                    <a:pt x="8" y="813"/>
                  </a:lnTo>
                  <a:lnTo>
                    <a:pt x="8" y="815"/>
                  </a:lnTo>
                  <a:lnTo>
                    <a:pt x="6" y="815"/>
                  </a:lnTo>
                  <a:lnTo>
                    <a:pt x="6" y="813"/>
                  </a:lnTo>
                  <a:close/>
                  <a:moveTo>
                    <a:pt x="214" y="508"/>
                  </a:moveTo>
                  <a:lnTo>
                    <a:pt x="215" y="508"/>
                  </a:lnTo>
                  <a:lnTo>
                    <a:pt x="215" y="510"/>
                  </a:lnTo>
                  <a:lnTo>
                    <a:pt x="214" y="510"/>
                  </a:lnTo>
                  <a:lnTo>
                    <a:pt x="214" y="508"/>
                  </a:lnTo>
                  <a:close/>
                  <a:moveTo>
                    <a:pt x="260" y="299"/>
                  </a:moveTo>
                  <a:lnTo>
                    <a:pt x="261" y="299"/>
                  </a:lnTo>
                  <a:lnTo>
                    <a:pt x="261" y="301"/>
                  </a:lnTo>
                  <a:lnTo>
                    <a:pt x="260" y="301"/>
                  </a:lnTo>
                  <a:lnTo>
                    <a:pt x="260" y="299"/>
                  </a:lnTo>
                  <a:close/>
                  <a:moveTo>
                    <a:pt x="295" y="321"/>
                  </a:moveTo>
                  <a:lnTo>
                    <a:pt x="295" y="323"/>
                  </a:lnTo>
                  <a:lnTo>
                    <a:pt x="295" y="321"/>
                  </a:lnTo>
                  <a:close/>
                  <a:moveTo>
                    <a:pt x="248" y="434"/>
                  </a:moveTo>
                  <a:lnTo>
                    <a:pt x="248" y="432"/>
                  </a:lnTo>
                  <a:lnTo>
                    <a:pt x="248" y="434"/>
                  </a:lnTo>
                  <a:close/>
                  <a:moveTo>
                    <a:pt x="73" y="992"/>
                  </a:moveTo>
                  <a:lnTo>
                    <a:pt x="74" y="992"/>
                  </a:lnTo>
                  <a:lnTo>
                    <a:pt x="74" y="993"/>
                  </a:lnTo>
                  <a:lnTo>
                    <a:pt x="73" y="993"/>
                  </a:lnTo>
                  <a:lnTo>
                    <a:pt x="73" y="992"/>
                  </a:lnTo>
                  <a:close/>
                  <a:moveTo>
                    <a:pt x="168" y="934"/>
                  </a:moveTo>
                  <a:lnTo>
                    <a:pt x="170" y="934"/>
                  </a:lnTo>
                  <a:lnTo>
                    <a:pt x="168" y="934"/>
                  </a:lnTo>
                  <a:close/>
                  <a:moveTo>
                    <a:pt x="158" y="571"/>
                  </a:moveTo>
                  <a:lnTo>
                    <a:pt x="159" y="571"/>
                  </a:lnTo>
                  <a:lnTo>
                    <a:pt x="158" y="571"/>
                  </a:lnTo>
                  <a:close/>
                  <a:moveTo>
                    <a:pt x="11" y="842"/>
                  </a:moveTo>
                  <a:lnTo>
                    <a:pt x="13" y="842"/>
                  </a:lnTo>
                  <a:lnTo>
                    <a:pt x="13" y="844"/>
                  </a:lnTo>
                  <a:lnTo>
                    <a:pt x="11" y="844"/>
                  </a:lnTo>
                  <a:lnTo>
                    <a:pt x="11" y="842"/>
                  </a:lnTo>
                  <a:close/>
                  <a:moveTo>
                    <a:pt x="255" y="483"/>
                  </a:moveTo>
                  <a:lnTo>
                    <a:pt x="255" y="485"/>
                  </a:lnTo>
                  <a:lnTo>
                    <a:pt x="255" y="483"/>
                  </a:lnTo>
                  <a:close/>
                  <a:moveTo>
                    <a:pt x="3" y="757"/>
                  </a:moveTo>
                  <a:lnTo>
                    <a:pt x="5" y="757"/>
                  </a:lnTo>
                  <a:lnTo>
                    <a:pt x="3" y="757"/>
                  </a:lnTo>
                  <a:close/>
                  <a:moveTo>
                    <a:pt x="178" y="578"/>
                  </a:moveTo>
                  <a:lnTo>
                    <a:pt x="178" y="580"/>
                  </a:lnTo>
                  <a:lnTo>
                    <a:pt x="178" y="578"/>
                  </a:lnTo>
                  <a:close/>
                  <a:moveTo>
                    <a:pt x="156" y="605"/>
                  </a:moveTo>
                  <a:lnTo>
                    <a:pt x="154" y="607"/>
                  </a:lnTo>
                  <a:lnTo>
                    <a:pt x="156" y="605"/>
                  </a:lnTo>
                  <a:close/>
                  <a:moveTo>
                    <a:pt x="280" y="360"/>
                  </a:moveTo>
                  <a:lnTo>
                    <a:pt x="282" y="360"/>
                  </a:lnTo>
                  <a:lnTo>
                    <a:pt x="280" y="360"/>
                  </a:lnTo>
                  <a:close/>
                  <a:moveTo>
                    <a:pt x="253" y="415"/>
                  </a:moveTo>
                  <a:lnTo>
                    <a:pt x="255" y="415"/>
                  </a:lnTo>
                  <a:lnTo>
                    <a:pt x="253" y="415"/>
                  </a:lnTo>
                  <a:close/>
                  <a:moveTo>
                    <a:pt x="651" y="64"/>
                  </a:moveTo>
                  <a:lnTo>
                    <a:pt x="652" y="64"/>
                  </a:lnTo>
                  <a:lnTo>
                    <a:pt x="651" y="66"/>
                  </a:lnTo>
                  <a:lnTo>
                    <a:pt x="651" y="64"/>
                  </a:lnTo>
                  <a:close/>
                  <a:moveTo>
                    <a:pt x="10" y="765"/>
                  </a:moveTo>
                  <a:lnTo>
                    <a:pt x="10" y="767"/>
                  </a:lnTo>
                  <a:lnTo>
                    <a:pt x="10" y="765"/>
                  </a:lnTo>
                  <a:close/>
                  <a:moveTo>
                    <a:pt x="397" y="136"/>
                  </a:moveTo>
                  <a:lnTo>
                    <a:pt x="399" y="134"/>
                  </a:lnTo>
                  <a:lnTo>
                    <a:pt x="399" y="136"/>
                  </a:lnTo>
                  <a:lnTo>
                    <a:pt x="397" y="138"/>
                  </a:lnTo>
                  <a:lnTo>
                    <a:pt x="397" y="136"/>
                  </a:lnTo>
                  <a:close/>
                  <a:moveTo>
                    <a:pt x="8" y="816"/>
                  </a:moveTo>
                  <a:lnTo>
                    <a:pt x="8" y="818"/>
                  </a:lnTo>
                  <a:lnTo>
                    <a:pt x="8" y="816"/>
                  </a:lnTo>
                  <a:close/>
                  <a:moveTo>
                    <a:pt x="10" y="808"/>
                  </a:moveTo>
                  <a:lnTo>
                    <a:pt x="10" y="809"/>
                  </a:lnTo>
                  <a:lnTo>
                    <a:pt x="10" y="808"/>
                  </a:lnTo>
                  <a:close/>
                  <a:moveTo>
                    <a:pt x="255" y="425"/>
                  </a:moveTo>
                  <a:lnTo>
                    <a:pt x="256" y="425"/>
                  </a:lnTo>
                  <a:lnTo>
                    <a:pt x="256" y="427"/>
                  </a:lnTo>
                  <a:lnTo>
                    <a:pt x="255" y="427"/>
                  </a:lnTo>
                  <a:lnTo>
                    <a:pt x="255" y="425"/>
                  </a:lnTo>
                  <a:close/>
                  <a:moveTo>
                    <a:pt x="559" y="80"/>
                  </a:moveTo>
                  <a:lnTo>
                    <a:pt x="557" y="81"/>
                  </a:lnTo>
                  <a:lnTo>
                    <a:pt x="557" y="80"/>
                  </a:lnTo>
                  <a:lnTo>
                    <a:pt x="559" y="80"/>
                  </a:lnTo>
                  <a:close/>
                  <a:moveTo>
                    <a:pt x="15" y="857"/>
                  </a:moveTo>
                  <a:lnTo>
                    <a:pt x="15" y="859"/>
                  </a:lnTo>
                  <a:lnTo>
                    <a:pt x="15" y="857"/>
                  </a:lnTo>
                  <a:close/>
                  <a:moveTo>
                    <a:pt x="258" y="400"/>
                  </a:moveTo>
                  <a:lnTo>
                    <a:pt x="260" y="400"/>
                  </a:lnTo>
                  <a:lnTo>
                    <a:pt x="260" y="401"/>
                  </a:lnTo>
                  <a:lnTo>
                    <a:pt x="258" y="401"/>
                  </a:lnTo>
                  <a:lnTo>
                    <a:pt x="258" y="400"/>
                  </a:lnTo>
                  <a:close/>
                  <a:moveTo>
                    <a:pt x="171" y="597"/>
                  </a:moveTo>
                  <a:lnTo>
                    <a:pt x="170" y="597"/>
                  </a:lnTo>
                  <a:lnTo>
                    <a:pt x="171" y="597"/>
                  </a:lnTo>
                  <a:close/>
                  <a:moveTo>
                    <a:pt x="193" y="551"/>
                  </a:moveTo>
                  <a:lnTo>
                    <a:pt x="195" y="551"/>
                  </a:lnTo>
                  <a:lnTo>
                    <a:pt x="193" y="551"/>
                  </a:lnTo>
                  <a:close/>
                  <a:moveTo>
                    <a:pt x="207" y="537"/>
                  </a:moveTo>
                  <a:lnTo>
                    <a:pt x="209" y="537"/>
                  </a:lnTo>
                  <a:lnTo>
                    <a:pt x="207" y="537"/>
                  </a:lnTo>
                  <a:close/>
                  <a:moveTo>
                    <a:pt x="34" y="905"/>
                  </a:moveTo>
                  <a:lnTo>
                    <a:pt x="35" y="905"/>
                  </a:lnTo>
                  <a:lnTo>
                    <a:pt x="34" y="905"/>
                  </a:lnTo>
                  <a:close/>
                  <a:moveTo>
                    <a:pt x="596" y="44"/>
                  </a:moveTo>
                  <a:lnTo>
                    <a:pt x="598" y="42"/>
                  </a:lnTo>
                  <a:lnTo>
                    <a:pt x="598" y="44"/>
                  </a:lnTo>
                  <a:lnTo>
                    <a:pt x="596" y="44"/>
                  </a:lnTo>
                  <a:close/>
                  <a:moveTo>
                    <a:pt x="103" y="636"/>
                  </a:moveTo>
                  <a:lnTo>
                    <a:pt x="105" y="636"/>
                  </a:lnTo>
                  <a:lnTo>
                    <a:pt x="105" y="638"/>
                  </a:lnTo>
                  <a:lnTo>
                    <a:pt x="103" y="638"/>
                  </a:lnTo>
                  <a:lnTo>
                    <a:pt x="103" y="636"/>
                  </a:lnTo>
                  <a:close/>
                  <a:moveTo>
                    <a:pt x="238" y="514"/>
                  </a:moveTo>
                  <a:lnTo>
                    <a:pt x="239" y="514"/>
                  </a:lnTo>
                  <a:lnTo>
                    <a:pt x="239" y="515"/>
                  </a:lnTo>
                  <a:lnTo>
                    <a:pt x="238" y="515"/>
                  </a:lnTo>
                  <a:lnTo>
                    <a:pt x="238" y="514"/>
                  </a:lnTo>
                  <a:close/>
                  <a:moveTo>
                    <a:pt x="5" y="808"/>
                  </a:moveTo>
                  <a:lnTo>
                    <a:pt x="5" y="809"/>
                  </a:lnTo>
                  <a:lnTo>
                    <a:pt x="5" y="808"/>
                  </a:lnTo>
                  <a:close/>
                  <a:moveTo>
                    <a:pt x="6" y="782"/>
                  </a:moveTo>
                  <a:lnTo>
                    <a:pt x="8" y="782"/>
                  </a:lnTo>
                  <a:lnTo>
                    <a:pt x="6" y="782"/>
                  </a:lnTo>
                  <a:close/>
                  <a:moveTo>
                    <a:pt x="13" y="823"/>
                  </a:moveTo>
                  <a:lnTo>
                    <a:pt x="15" y="823"/>
                  </a:lnTo>
                  <a:lnTo>
                    <a:pt x="15" y="825"/>
                  </a:lnTo>
                  <a:lnTo>
                    <a:pt x="13" y="825"/>
                  </a:lnTo>
                  <a:lnTo>
                    <a:pt x="13" y="823"/>
                  </a:lnTo>
                  <a:close/>
                  <a:moveTo>
                    <a:pt x="282" y="362"/>
                  </a:moveTo>
                  <a:lnTo>
                    <a:pt x="283" y="362"/>
                  </a:lnTo>
                  <a:lnTo>
                    <a:pt x="282" y="362"/>
                  </a:lnTo>
                  <a:close/>
                  <a:moveTo>
                    <a:pt x="85" y="663"/>
                  </a:moveTo>
                  <a:lnTo>
                    <a:pt x="83" y="663"/>
                  </a:lnTo>
                  <a:lnTo>
                    <a:pt x="85" y="663"/>
                  </a:lnTo>
                  <a:close/>
                  <a:moveTo>
                    <a:pt x="27" y="917"/>
                  </a:moveTo>
                  <a:lnTo>
                    <a:pt x="28" y="917"/>
                  </a:lnTo>
                  <a:lnTo>
                    <a:pt x="28" y="918"/>
                  </a:lnTo>
                  <a:lnTo>
                    <a:pt x="27" y="918"/>
                  </a:lnTo>
                  <a:lnTo>
                    <a:pt x="27" y="917"/>
                  </a:lnTo>
                  <a:close/>
                  <a:moveTo>
                    <a:pt x="207" y="503"/>
                  </a:moveTo>
                  <a:lnTo>
                    <a:pt x="207" y="505"/>
                  </a:lnTo>
                  <a:lnTo>
                    <a:pt x="207" y="503"/>
                  </a:lnTo>
                  <a:close/>
                  <a:moveTo>
                    <a:pt x="261" y="435"/>
                  </a:moveTo>
                  <a:lnTo>
                    <a:pt x="261" y="437"/>
                  </a:lnTo>
                  <a:lnTo>
                    <a:pt x="261" y="435"/>
                  </a:lnTo>
                  <a:close/>
                  <a:moveTo>
                    <a:pt x="217" y="922"/>
                  </a:moveTo>
                  <a:lnTo>
                    <a:pt x="217" y="923"/>
                  </a:lnTo>
                  <a:lnTo>
                    <a:pt x="217" y="922"/>
                  </a:lnTo>
                  <a:close/>
                  <a:moveTo>
                    <a:pt x="11" y="733"/>
                  </a:moveTo>
                  <a:lnTo>
                    <a:pt x="11" y="735"/>
                  </a:lnTo>
                  <a:lnTo>
                    <a:pt x="11" y="733"/>
                  </a:lnTo>
                  <a:close/>
                  <a:moveTo>
                    <a:pt x="219" y="915"/>
                  </a:moveTo>
                  <a:lnTo>
                    <a:pt x="219" y="917"/>
                  </a:lnTo>
                  <a:lnTo>
                    <a:pt x="219" y="915"/>
                  </a:lnTo>
                  <a:close/>
                  <a:moveTo>
                    <a:pt x="256" y="417"/>
                  </a:moveTo>
                  <a:lnTo>
                    <a:pt x="258" y="417"/>
                  </a:lnTo>
                  <a:lnTo>
                    <a:pt x="256" y="417"/>
                  </a:lnTo>
                  <a:close/>
                  <a:moveTo>
                    <a:pt x="8" y="888"/>
                  </a:moveTo>
                  <a:lnTo>
                    <a:pt x="10" y="888"/>
                  </a:lnTo>
                  <a:lnTo>
                    <a:pt x="10" y="889"/>
                  </a:lnTo>
                  <a:lnTo>
                    <a:pt x="8" y="889"/>
                  </a:lnTo>
                  <a:lnTo>
                    <a:pt x="8" y="888"/>
                  </a:lnTo>
                  <a:close/>
                  <a:moveTo>
                    <a:pt x="270" y="384"/>
                  </a:moveTo>
                  <a:lnTo>
                    <a:pt x="272" y="384"/>
                  </a:lnTo>
                  <a:lnTo>
                    <a:pt x="272" y="386"/>
                  </a:lnTo>
                  <a:lnTo>
                    <a:pt x="270" y="386"/>
                  </a:lnTo>
                  <a:lnTo>
                    <a:pt x="270" y="384"/>
                  </a:lnTo>
                  <a:close/>
                  <a:moveTo>
                    <a:pt x="32" y="855"/>
                  </a:moveTo>
                  <a:lnTo>
                    <a:pt x="32" y="857"/>
                  </a:lnTo>
                  <a:lnTo>
                    <a:pt x="32" y="855"/>
                  </a:lnTo>
                  <a:close/>
                  <a:moveTo>
                    <a:pt x="236" y="490"/>
                  </a:moveTo>
                  <a:lnTo>
                    <a:pt x="238" y="490"/>
                  </a:lnTo>
                  <a:lnTo>
                    <a:pt x="236" y="490"/>
                  </a:lnTo>
                  <a:close/>
                  <a:moveTo>
                    <a:pt x="22" y="735"/>
                  </a:moveTo>
                  <a:lnTo>
                    <a:pt x="23" y="735"/>
                  </a:lnTo>
                  <a:lnTo>
                    <a:pt x="23" y="736"/>
                  </a:lnTo>
                  <a:lnTo>
                    <a:pt x="22" y="736"/>
                  </a:lnTo>
                  <a:lnTo>
                    <a:pt x="22" y="735"/>
                  </a:lnTo>
                  <a:close/>
                  <a:moveTo>
                    <a:pt x="204" y="864"/>
                  </a:moveTo>
                  <a:lnTo>
                    <a:pt x="204" y="866"/>
                  </a:lnTo>
                  <a:lnTo>
                    <a:pt x="204" y="864"/>
                  </a:lnTo>
                  <a:close/>
                  <a:moveTo>
                    <a:pt x="120" y="627"/>
                  </a:moveTo>
                  <a:lnTo>
                    <a:pt x="119" y="627"/>
                  </a:lnTo>
                  <a:lnTo>
                    <a:pt x="120" y="627"/>
                  </a:lnTo>
                  <a:close/>
                  <a:moveTo>
                    <a:pt x="238" y="321"/>
                  </a:moveTo>
                  <a:lnTo>
                    <a:pt x="239" y="321"/>
                  </a:lnTo>
                  <a:lnTo>
                    <a:pt x="239" y="323"/>
                  </a:lnTo>
                  <a:lnTo>
                    <a:pt x="238" y="323"/>
                  </a:lnTo>
                  <a:lnTo>
                    <a:pt x="238" y="321"/>
                  </a:lnTo>
                  <a:close/>
                  <a:moveTo>
                    <a:pt x="141" y="597"/>
                  </a:moveTo>
                  <a:lnTo>
                    <a:pt x="142" y="597"/>
                  </a:lnTo>
                  <a:lnTo>
                    <a:pt x="142" y="599"/>
                  </a:lnTo>
                  <a:lnTo>
                    <a:pt x="141" y="597"/>
                  </a:lnTo>
                  <a:close/>
                  <a:moveTo>
                    <a:pt x="23" y="838"/>
                  </a:moveTo>
                  <a:lnTo>
                    <a:pt x="23" y="840"/>
                  </a:lnTo>
                  <a:lnTo>
                    <a:pt x="23" y="838"/>
                  </a:lnTo>
                  <a:close/>
                  <a:moveTo>
                    <a:pt x="294" y="323"/>
                  </a:moveTo>
                  <a:lnTo>
                    <a:pt x="294" y="325"/>
                  </a:lnTo>
                  <a:lnTo>
                    <a:pt x="294" y="323"/>
                  </a:lnTo>
                  <a:close/>
                  <a:moveTo>
                    <a:pt x="243" y="423"/>
                  </a:moveTo>
                  <a:lnTo>
                    <a:pt x="244" y="423"/>
                  </a:lnTo>
                  <a:lnTo>
                    <a:pt x="244" y="425"/>
                  </a:lnTo>
                  <a:lnTo>
                    <a:pt x="243" y="425"/>
                  </a:lnTo>
                  <a:lnTo>
                    <a:pt x="243" y="423"/>
                  </a:lnTo>
                  <a:close/>
                  <a:moveTo>
                    <a:pt x="34" y="917"/>
                  </a:moveTo>
                  <a:lnTo>
                    <a:pt x="34" y="918"/>
                  </a:lnTo>
                  <a:lnTo>
                    <a:pt x="34" y="917"/>
                  </a:lnTo>
                  <a:close/>
                  <a:moveTo>
                    <a:pt x="120" y="607"/>
                  </a:moveTo>
                  <a:lnTo>
                    <a:pt x="120" y="609"/>
                  </a:lnTo>
                  <a:lnTo>
                    <a:pt x="120" y="607"/>
                  </a:lnTo>
                  <a:close/>
                  <a:moveTo>
                    <a:pt x="23" y="838"/>
                  </a:moveTo>
                  <a:lnTo>
                    <a:pt x="23" y="840"/>
                  </a:lnTo>
                  <a:lnTo>
                    <a:pt x="23" y="838"/>
                  </a:lnTo>
                  <a:close/>
                  <a:moveTo>
                    <a:pt x="255" y="464"/>
                  </a:moveTo>
                  <a:lnTo>
                    <a:pt x="253" y="466"/>
                  </a:lnTo>
                  <a:lnTo>
                    <a:pt x="255" y="464"/>
                  </a:lnTo>
                  <a:close/>
                  <a:moveTo>
                    <a:pt x="389" y="151"/>
                  </a:moveTo>
                  <a:lnTo>
                    <a:pt x="391" y="151"/>
                  </a:lnTo>
                  <a:lnTo>
                    <a:pt x="391" y="153"/>
                  </a:lnTo>
                  <a:lnTo>
                    <a:pt x="389" y="153"/>
                  </a:lnTo>
                  <a:lnTo>
                    <a:pt x="389" y="151"/>
                  </a:lnTo>
                  <a:close/>
                  <a:moveTo>
                    <a:pt x="176" y="576"/>
                  </a:moveTo>
                  <a:lnTo>
                    <a:pt x="178" y="576"/>
                  </a:lnTo>
                  <a:lnTo>
                    <a:pt x="178" y="578"/>
                  </a:lnTo>
                  <a:lnTo>
                    <a:pt x="176" y="578"/>
                  </a:lnTo>
                  <a:lnTo>
                    <a:pt x="176" y="576"/>
                  </a:lnTo>
                  <a:close/>
                  <a:moveTo>
                    <a:pt x="192" y="556"/>
                  </a:moveTo>
                  <a:lnTo>
                    <a:pt x="193" y="556"/>
                  </a:lnTo>
                  <a:lnTo>
                    <a:pt x="192" y="556"/>
                  </a:lnTo>
                  <a:close/>
                  <a:moveTo>
                    <a:pt x="306" y="331"/>
                  </a:moveTo>
                  <a:lnTo>
                    <a:pt x="307" y="330"/>
                  </a:lnTo>
                  <a:lnTo>
                    <a:pt x="307" y="331"/>
                  </a:lnTo>
                  <a:lnTo>
                    <a:pt x="306" y="331"/>
                  </a:lnTo>
                  <a:close/>
                  <a:moveTo>
                    <a:pt x="10" y="816"/>
                  </a:moveTo>
                  <a:lnTo>
                    <a:pt x="10" y="818"/>
                  </a:lnTo>
                  <a:lnTo>
                    <a:pt x="10" y="816"/>
                  </a:lnTo>
                  <a:close/>
                  <a:moveTo>
                    <a:pt x="127" y="976"/>
                  </a:moveTo>
                  <a:lnTo>
                    <a:pt x="129" y="976"/>
                  </a:lnTo>
                  <a:lnTo>
                    <a:pt x="129" y="978"/>
                  </a:lnTo>
                  <a:lnTo>
                    <a:pt x="127" y="978"/>
                  </a:lnTo>
                  <a:lnTo>
                    <a:pt x="127" y="976"/>
                  </a:lnTo>
                  <a:close/>
                  <a:moveTo>
                    <a:pt x="244" y="466"/>
                  </a:moveTo>
                  <a:lnTo>
                    <a:pt x="246" y="466"/>
                  </a:lnTo>
                  <a:lnTo>
                    <a:pt x="246" y="468"/>
                  </a:lnTo>
                  <a:lnTo>
                    <a:pt x="244" y="468"/>
                  </a:lnTo>
                  <a:lnTo>
                    <a:pt x="244" y="466"/>
                  </a:lnTo>
                  <a:close/>
                  <a:moveTo>
                    <a:pt x="119" y="634"/>
                  </a:moveTo>
                  <a:lnTo>
                    <a:pt x="120" y="634"/>
                  </a:lnTo>
                  <a:lnTo>
                    <a:pt x="120" y="636"/>
                  </a:lnTo>
                  <a:lnTo>
                    <a:pt x="119" y="636"/>
                  </a:lnTo>
                  <a:lnTo>
                    <a:pt x="119" y="634"/>
                  </a:lnTo>
                  <a:close/>
                  <a:moveTo>
                    <a:pt x="348" y="262"/>
                  </a:moveTo>
                  <a:lnTo>
                    <a:pt x="350" y="262"/>
                  </a:lnTo>
                  <a:lnTo>
                    <a:pt x="348" y="263"/>
                  </a:lnTo>
                  <a:lnTo>
                    <a:pt x="348" y="262"/>
                  </a:lnTo>
                  <a:close/>
                  <a:moveTo>
                    <a:pt x="674" y="63"/>
                  </a:moveTo>
                  <a:lnTo>
                    <a:pt x="676" y="63"/>
                  </a:lnTo>
                  <a:lnTo>
                    <a:pt x="676" y="64"/>
                  </a:lnTo>
                  <a:lnTo>
                    <a:pt x="674" y="63"/>
                  </a:lnTo>
                  <a:close/>
                  <a:moveTo>
                    <a:pt x="486" y="73"/>
                  </a:moveTo>
                  <a:lnTo>
                    <a:pt x="486" y="71"/>
                  </a:lnTo>
                  <a:lnTo>
                    <a:pt x="487" y="73"/>
                  </a:lnTo>
                  <a:lnTo>
                    <a:pt x="486" y="73"/>
                  </a:lnTo>
                  <a:close/>
                  <a:moveTo>
                    <a:pt x="17" y="838"/>
                  </a:moveTo>
                  <a:lnTo>
                    <a:pt x="17" y="840"/>
                  </a:lnTo>
                  <a:lnTo>
                    <a:pt x="17" y="838"/>
                  </a:lnTo>
                  <a:close/>
                  <a:moveTo>
                    <a:pt x="175" y="923"/>
                  </a:moveTo>
                  <a:lnTo>
                    <a:pt x="176" y="923"/>
                  </a:lnTo>
                  <a:lnTo>
                    <a:pt x="175" y="923"/>
                  </a:lnTo>
                  <a:close/>
                  <a:moveTo>
                    <a:pt x="176" y="923"/>
                  </a:moveTo>
                  <a:lnTo>
                    <a:pt x="176" y="925"/>
                  </a:lnTo>
                  <a:lnTo>
                    <a:pt x="176" y="923"/>
                  </a:lnTo>
                  <a:close/>
                  <a:moveTo>
                    <a:pt x="28" y="901"/>
                  </a:moveTo>
                  <a:lnTo>
                    <a:pt x="30" y="901"/>
                  </a:lnTo>
                  <a:lnTo>
                    <a:pt x="30" y="903"/>
                  </a:lnTo>
                  <a:lnTo>
                    <a:pt x="28" y="903"/>
                  </a:lnTo>
                  <a:lnTo>
                    <a:pt x="28" y="901"/>
                  </a:lnTo>
                  <a:close/>
                  <a:moveTo>
                    <a:pt x="197" y="917"/>
                  </a:moveTo>
                  <a:lnTo>
                    <a:pt x="198" y="917"/>
                  </a:lnTo>
                  <a:lnTo>
                    <a:pt x="198" y="918"/>
                  </a:lnTo>
                  <a:lnTo>
                    <a:pt x="197" y="918"/>
                  </a:lnTo>
                  <a:lnTo>
                    <a:pt x="197" y="917"/>
                  </a:lnTo>
                  <a:close/>
                  <a:moveTo>
                    <a:pt x="32" y="801"/>
                  </a:moveTo>
                  <a:lnTo>
                    <a:pt x="34" y="801"/>
                  </a:lnTo>
                  <a:lnTo>
                    <a:pt x="34" y="803"/>
                  </a:lnTo>
                  <a:lnTo>
                    <a:pt x="32" y="803"/>
                  </a:lnTo>
                  <a:lnTo>
                    <a:pt x="32" y="801"/>
                  </a:lnTo>
                  <a:close/>
                  <a:moveTo>
                    <a:pt x="17" y="854"/>
                  </a:moveTo>
                  <a:lnTo>
                    <a:pt x="18" y="854"/>
                  </a:lnTo>
                  <a:lnTo>
                    <a:pt x="18" y="855"/>
                  </a:lnTo>
                  <a:lnTo>
                    <a:pt x="17" y="855"/>
                  </a:lnTo>
                  <a:lnTo>
                    <a:pt x="17" y="854"/>
                  </a:lnTo>
                  <a:close/>
                  <a:moveTo>
                    <a:pt x="13" y="815"/>
                  </a:moveTo>
                  <a:lnTo>
                    <a:pt x="13" y="816"/>
                  </a:lnTo>
                  <a:lnTo>
                    <a:pt x="13" y="815"/>
                  </a:lnTo>
                  <a:close/>
                  <a:moveTo>
                    <a:pt x="15" y="844"/>
                  </a:moveTo>
                  <a:lnTo>
                    <a:pt x="17" y="844"/>
                  </a:lnTo>
                  <a:lnTo>
                    <a:pt x="17" y="845"/>
                  </a:lnTo>
                  <a:lnTo>
                    <a:pt x="15" y="845"/>
                  </a:lnTo>
                  <a:lnTo>
                    <a:pt x="15" y="844"/>
                  </a:lnTo>
                  <a:close/>
                  <a:moveTo>
                    <a:pt x="23" y="845"/>
                  </a:moveTo>
                  <a:lnTo>
                    <a:pt x="25" y="845"/>
                  </a:lnTo>
                  <a:lnTo>
                    <a:pt x="23" y="845"/>
                  </a:lnTo>
                  <a:close/>
                  <a:moveTo>
                    <a:pt x="139" y="599"/>
                  </a:moveTo>
                  <a:lnTo>
                    <a:pt x="141" y="599"/>
                  </a:lnTo>
                  <a:lnTo>
                    <a:pt x="139" y="599"/>
                  </a:lnTo>
                  <a:close/>
                  <a:moveTo>
                    <a:pt x="15" y="799"/>
                  </a:moveTo>
                  <a:lnTo>
                    <a:pt x="15" y="801"/>
                  </a:lnTo>
                  <a:lnTo>
                    <a:pt x="13" y="801"/>
                  </a:lnTo>
                  <a:lnTo>
                    <a:pt x="15" y="799"/>
                  </a:lnTo>
                  <a:close/>
                  <a:moveTo>
                    <a:pt x="198" y="889"/>
                  </a:moveTo>
                  <a:lnTo>
                    <a:pt x="198" y="891"/>
                  </a:lnTo>
                  <a:lnTo>
                    <a:pt x="198" y="889"/>
                  </a:lnTo>
                  <a:close/>
                  <a:moveTo>
                    <a:pt x="164" y="935"/>
                  </a:moveTo>
                  <a:lnTo>
                    <a:pt x="166" y="935"/>
                  </a:lnTo>
                  <a:lnTo>
                    <a:pt x="166" y="937"/>
                  </a:lnTo>
                  <a:lnTo>
                    <a:pt x="164" y="937"/>
                  </a:lnTo>
                  <a:lnTo>
                    <a:pt x="164" y="935"/>
                  </a:lnTo>
                  <a:close/>
                  <a:moveTo>
                    <a:pt x="10" y="803"/>
                  </a:moveTo>
                  <a:lnTo>
                    <a:pt x="11" y="803"/>
                  </a:lnTo>
                  <a:lnTo>
                    <a:pt x="11" y="804"/>
                  </a:lnTo>
                  <a:lnTo>
                    <a:pt x="10" y="804"/>
                  </a:lnTo>
                  <a:lnTo>
                    <a:pt x="10" y="803"/>
                  </a:lnTo>
                  <a:close/>
                  <a:moveTo>
                    <a:pt x="314" y="291"/>
                  </a:moveTo>
                  <a:lnTo>
                    <a:pt x="314" y="292"/>
                  </a:lnTo>
                  <a:lnTo>
                    <a:pt x="314" y="291"/>
                  </a:lnTo>
                  <a:close/>
                  <a:moveTo>
                    <a:pt x="249" y="410"/>
                  </a:moveTo>
                  <a:lnTo>
                    <a:pt x="251" y="410"/>
                  </a:lnTo>
                  <a:lnTo>
                    <a:pt x="249" y="410"/>
                  </a:lnTo>
                  <a:close/>
                  <a:moveTo>
                    <a:pt x="209" y="500"/>
                  </a:moveTo>
                  <a:lnTo>
                    <a:pt x="209" y="502"/>
                  </a:lnTo>
                  <a:lnTo>
                    <a:pt x="209" y="500"/>
                  </a:lnTo>
                  <a:close/>
                  <a:moveTo>
                    <a:pt x="251" y="432"/>
                  </a:moveTo>
                  <a:lnTo>
                    <a:pt x="253" y="432"/>
                  </a:lnTo>
                  <a:lnTo>
                    <a:pt x="253" y="434"/>
                  </a:lnTo>
                  <a:lnTo>
                    <a:pt x="251" y="434"/>
                  </a:lnTo>
                  <a:lnTo>
                    <a:pt x="251" y="432"/>
                  </a:lnTo>
                  <a:close/>
                  <a:moveTo>
                    <a:pt x="120" y="634"/>
                  </a:moveTo>
                  <a:lnTo>
                    <a:pt x="122" y="634"/>
                  </a:lnTo>
                  <a:lnTo>
                    <a:pt x="120" y="634"/>
                  </a:lnTo>
                  <a:close/>
                  <a:moveTo>
                    <a:pt x="251" y="432"/>
                  </a:moveTo>
                  <a:lnTo>
                    <a:pt x="253" y="432"/>
                  </a:lnTo>
                  <a:lnTo>
                    <a:pt x="253" y="434"/>
                  </a:lnTo>
                  <a:lnTo>
                    <a:pt x="251" y="434"/>
                  </a:lnTo>
                  <a:lnTo>
                    <a:pt x="251" y="432"/>
                  </a:lnTo>
                  <a:close/>
                  <a:moveTo>
                    <a:pt x="251" y="430"/>
                  </a:moveTo>
                  <a:lnTo>
                    <a:pt x="253" y="430"/>
                  </a:lnTo>
                  <a:lnTo>
                    <a:pt x="253" y="432"/>
                  </a:lnTo>
                  <a:lnTo>
                    <a:pt x="251" y="432"/>
                  </a:lnTo>
                  <a:lnTo>
                    <a:pt x="251" y="430"/>
                  </a:lnTo>
                  <a:close/>
                  <a:moveTo>
                    <a:pt x="120" y="605"/>
                  </a:moveTo>
                  <a:lnTo>
                    <a:pt x="122" y="605"/>
                  </a:lnTo>
                  <a:lnTo>
                    <a:pt x="120" y="607"/>
                  </a:lnTo>
                  <a:lnTo>
                    <a:pt x="120" y="605"/>
                  </a:lnTo>
                  <a:close/>
                  <a:moveTo>
                    <a:pt x="23" y="738"/>
                  </a:moveTo>
                  <a:lnTo>
                    <a:pt x="25" y="738"/>
                  </a:lnTo>
                  <a:lnTo>
                    <a:pt x="25" y="740"/>
                  </a:lnTo>
                  <a:lnTo>
                    <a:pt x="23" y="740"/>
                  </a:lnTo>
                  <a:lnTo>
                    <a:pt x="23" y="738"/>
                  </a:lnTo>
                  <a:close/>
                  <a:moveTo>
                    <a:pt x="292" y="323"/>
                  </a:moveTo>
                  <a:lnTo>
                    <a:pt x="294" y="323"/>
                  </a:lnTo>
                  <a:lnTo>
                    <a:pt x="294" y="325"/>
                  </a:lnTo>
                  <a:lnTo>
                    <a:pt x="292" y="325"/>
                  </a:lnTo>
                  <a:lnTo>
                    <a:pt x="292" y="323"/>
                  </a:lnTo>
                  <a:close/>
                  <a:moveTo>
                    <a:pt x="243" y="422"/>
                  </a:moveTo>
                  <a:lnTo>
                    <a:pt x="244" y="422"/>
                  </a:lnTo>
                  <a:lnTo>
                    <a:pt x="244" y="423"/>
                  </a:lnTo>
                  <a:lnTo>
                    <a:pt x="243" y="423"/>
                  </a:lnTo>
                  <a:lnTo>
                    <a:pt x="243" y="422"/>
                  </a:lnTo>
                  <a:close/>
                  <a:moveTo>
                    <a:pt x="316" y="286"/>
                  </a:moveTo>
                  <a:lnTo>
                    <a:pt x="317" y="286"/>
                  </a:lnTo>
                  <a:lnTo>
                    <a:pt x="316" y="286"/>
                  </a:lnTo>
                  <a:close/>
                  <a:moveTo>
                    <a:pt x="204" y="876"/>
                  </a:moveTo>
                  <a:lnTo>
                    <a:pt x="204" y="878"/>
                  </a:lnTo>
                  <a:lnTo>
                    <a:pt x="204" y="876"/>
                  </a:lnTo>
                  <a:close/>
                  <a:moveTo>
                    <a:pt x="210" y="502"/>
                  </a:moveTo>
                  <a:lnTo>
                    <a:pt x="212" y="502"/>
                  </a:lnTo>
                  <a:lnTo>
                    <a:pt x="210" y="502"/>
                  </a:lnTo>
                  <a:close/>
                  <a:moveTo>
                    <a:pt x="115" y="986"/>
                  </a:moveTo>
                  <a:lnTo>
                    <a:pt x="115" y="988"/>
                  </a:lnTo>
                  <a:lnTo>
                    <a:pt x="115" y="986"/>
                  </a:lnTo>
                  <a:close/>
                  <a:moveTo>
                    <a:pt x="255" y="371"/>
                  </a:moveTo>
                  <a:lnTo>
                    <a:pt x="256" y="371"/>
                  </a:lnTo>
                  <a:lnTo>
                    <a:pt x="256" y="372"/>
                  </a:lnTo>
                  <a:lnTo>
                    <a:pt x="255" y="372"/>
                  </a:lnTo>
                  <a:lnTo>
                    <a:pt x="255" y="371"/>
                  </a:lnTo>
                  <a:close/>
                  <a:moveTo>
                    <a:pt x="221" y="519"/>
                  </a:moveTo>
                  <a:lnTo>
                    <a:pt x="221" y="520"/>
                  </a:lnTo>
                  <a:lnTo>
                    <a:pt x="221" y="519"/>
                  </a:lnTo>
                  <a:close/>
                  <a:moveTo>
                    <a:pt x="249" y="408"/>
                  </a:moveTo>
                  <a:lnTo>
                    <a:pt x="251" y="408"/>
                  </a:lnTo>
                  <a:lnTo>
                    <a:pt x="251" y="410"/>
                  </a:lnTo>
                  <a:lnTo>
                    <a:pt x="249" y="410"/>
                  </a:lnTo>
                  <a:lnTo>
                    <a:pt x="249" y="408"/>
                  </a:lnTo>
                  <a:close/>
                  <a:moveTo>
                    <a:pt x="195" y="888"/>
                  </a:moveTo>
                  <a:lnTo>
                    <a:pt x="197" y="888"/>
                  </a:lnTo>
                  <a:lnTo>
                    <a:pt x="197" y="889"/>
                  </a:lnTo>
                  <a:lnTo>
                    <a:pt x="195" y="889"/>
                  </a:lnTo>
                  <a:lnTo>
                    <a:pt x="195" y="888"/>
                  </a:lnTo>
                  <a:close/>
                  <a:moveTo>
                    <a:pt x="6" y="792"/>
                  </a:moveTo>
                  <a:lnTo>
                    <a:pt x="8" y="792"/>
                  </a:lnTo>
                  <a:lnTo>
                    <a:pt x="6" y="792"/>
                  </a:lnTo>
                  <a:close/>
                  <a:moveTo>
                    <a:pt x="95" y="660"/>
                  </a:moveTo>
                  <a:lnTo>
                    <a:pt x="95" y="661"/>
                  </a:lnTo>
                  <a:lnTo>
                    <a:pt x="93" y="661"/>
                  </a:lnTo>
                  <a:lnTo>
                    <a:pt x="95" y="660"/>
                  </a:lnTo>
                  <a:close/>
                  <a:moveTo>
                    <a:pt x="176" y="925"/>
                  </a:moveTo>
                  <a:lnTo>
                    <a:pt x="176" y="927"/>
                  </a:lnTo>
                  <a:lnTo>
                    <a:pt x="176" y="925"/>
                  </a:lnTo>
                  <a:close/>
                  <a:moveTo>
                    <a:pt x="122" y="621"/>
                  </a:moveTo>
                  <a:lnTo>
                    <a:pt x="124" y="621"/>
                  </a:lnTo>
                  <a:lnTo>
                    <a:pt x="122" y="621"/>
                  </a:lnTo>
                  <a:close/>
                  <a:moveTo>
                    <a:pt x="93" y="661"/>
                  </a:moveTo>
                  <a:lnTo>
                    <a:pt x="91" y="661"/>
                  </a:lnTo>
                  <a:lnTo>
                    <a:pt x="93" y="661"/>
                  </a:lnTo>
                  <a:close/>
                  <a:moveTo>
                    <a:pt x="244" y="466"/>
                  </a:moveTo>
                  <a:lnTo>
                    <a:pt x="246" y="466"/>
                  </a:lnTo>
                  <a:lnTo>
                    <a:pt x="244" y="466"/>
                  </a:lnTo>
                  <a:close/>
                  <a:moveTo>
                    <a:pt x="287" y="349"/>
                  </a:moveTo>
                  <a:lnTo>
                    <a:pt x="289" y="349"/>
                  </a:lnTo>
                  <a:lnTo>
                    <a:pt x="289" y="350"/>
                  </a:lnTo>
                  <a:lnTo>
                    <a:pt x="287" y="350"/>
                  </a:lnTo>
                  <a:lnTo>
                    <a:pt x="287" y="349"/>
                  </a:lnTo>
                  <a:close/>
                  <a:moveTo>
                    <a:pt x="258" y="401"/>
                  </a:moveTo>
                  <a:lnTo>
                    <a:pt x="260" y="401"/>
                  </a:lnTo>
                  <a:lnTo>
                    <a:pt x="260" y="403"/>
                  </a:lnTo>
                  <a:lnTo>
                    <a:pt x="258" y="403"/>
                  </a:lnTo>
                  <a:lnTo>
                    <a:pt x="258" y="40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13" name="Freeform 43">
              <a:extLst>
                <a:ext uri="{FF2B5EF4-FFF2-40B4-BE49-F238E27FC236}">
                  <a16:creationId xmlns:a16="http://schemas.microsoft.com/office/drawing/2014/main" id="{3EE54714-381A-4231-BD45-AC42B317F7F7}"/>
                </a:ext>
              </a:extLst>
            </p:cNvPr>
            <p:cNvSpPr>
              <a:spLocks/>
            </p:cNvSpPr>
            <p:nvPr/>
          </p:nvSpPr>
          <p:spPr bwMode="gray">
            <a:xfrm>
              <a:off x="5726669" y="6920237"/>
              <a:ext cx="2962" cy="8889"/>
            </a:xfrm>
            <a:custGeom>
              <a:avLst/>
              <a:gdLst>
                <a:gd name="T0" fmla="*/ 1 w 1"/>
                <a:gd name="T1" fmla="*/ 0 h 3"/>
                <a:gd name="T2" fmla="*/ 1 w 1"/>
                <a:gd name="T3" fmla="*/ 3 h 3"/>
                <a:gd name="T4" fmla="*/ 0 w 1"/>
                <a:gd name="T5" fmla="*/ 1 h 3"/>
                <a:gd name="T6" fmla="*/ 0 w 1"/>
                <a:gd name="T7" fmla="*/ 0 h 3"/>
                <a:gd name="T8" fmla="*/ 1 w 1"/>
                <a:gd name="T9" fmla="*/ 0 h 3"/>
                <a:gd name="T10" fmla="*/ 0 w 1"/>
                <a:gd name="T11" fmla="*/ 0 h 3"/>
                <a:gd name="T12" fmla="*/ 1 w 1"/>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 h="3">
                  <a:moveTo>
                    <a:pt x="1" y="0"/>
                  </a:moveTo>
                  <a:lnTo>
                    <a:pt x="1" y="3"/>
                  </a:lnTo>
                  <a:lnTo>
                    <a:pt x="0" y="1"/>
                  </a:lnTo>
                  <a:lnTo>
                    <a:pt x="0" y="0"/>
                  </a:lnTo>
                  <a:lnTo>
                    <a:pt x="1" y="0"/>
                  </a:lnTo>
                  <a:lnTo>
                    <a:pt x="0" y="0"/>
                  </a:lnTo>
                  <a:lnTo>
                    <a:pt x="1"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14" name="Freeform 44">
              <a:extLst>
                <a:ext uri="{FF2B5EF4-FFF2-40B4-BE49-F238E27FC236}">
                  <a16:creationId xmlns:a16="http://schemas.microsoft.com/office/drawing/2014/main" id="{F6515AEF-3998-4366-A880-029EBE6BD78B}"/>
                </a:ext>
              </a:extLst>
            </p:cNvPr>
            <p:cNvSpPr>
              <a:spLocks noEditPoints="1"/>
            </p:cNvSpPr>
            <p:nvPr/>
          </p:nvSpPr>
          <p:spPr bwMode="gray">
            <a:xfrm>
              <a:off x="13500903" y="4787064"/>
              <a:ext cx="666616" cy="367380"/>
            </a:xfrm>
            <a:custGeom>
              <a:avLst/>
              <a:gdLst>
                <a:gd name="T0" fmla="*/ 77 w 225"/>
                <a:gd name="T1" fmla="*/ 3 h 124"/>
                <a:gd name="T2" fmla="*/ 79 w 225"/>
                <a:gd name="T3" fmla="*/ 10 h 124"/>
                <a:gd name="T4" fmla="*/ 84 w 225"/>
                <a:gd name="T5" fmla="*/ 10 h 124"/>
                <a:gd name="T6" fmla="*/ 92 w 225"/>
                <a:gd name="T7" fmla="*/ 10 h 124"/>
                <a:gd name="T8" fmla="*/ 102 w 225"/>
                <a:gd name="T9" fmla="*/ 10 h 124"/>
                <a:gd name="T10" fmla="*/ 113 w 225"/>
                <a:gd name="T11" fmla="*/ 12 h 124"/>
                <a:gd name="T12" fmla="*/ 107 w 225"/>
                <a:gd name="T13" fmla="*/ 24 h 124"/>
                <a:gd name="T14" fmla="*/ 111 w 225"/>
                <a:gd name="T15" fmla="*/ 34 h 124"/>
                <a:gd name="T16" fmla="*/ 123 w 225"/>
                <a:gd name="T17" fmla="*/ 41 h 124"/>
                <a:gd name="T18" fmla="*/ 135 w 225"/>
                <a:gd name="T19" fmla="*/ 41 h 124"/>
                <a:gd name="T20" fmla="*/ 148 w 225"/>
                <a:gd name="T21" fmla="*/ 39 h 124"/>
                <a:gd name="T22" fmla="*/ 152 w 225"/>
                <a:gd name="T23" fmla="*/ 51 h 124"/>
                <a:gd name="T24" fmla="*/ 148 w 225"/>
                <a:gd name="T25" fmla="*/ 60 h 124"/>
                <a:gd name="T26" fmla="*/ 141 w 225"/>
                <a:gd name="T27" fmla="*/ 68 h 124"/>
                <a:gd name="T28" fmla="*/ 155 w 225"/>
                <a:gd name="T29" fmla="*/ 68 h 124"/>
                <a:gd name="T30" fmla="*/ 164 w 225"/>
                <a:gd name="T31" fmla="*/ 71 h 124"/>
                <a:gd name="T32" fmla="*/ 179 w 225"/>
                <a:gd name="T33" fmla="*/ 73 h 124"/>
                <a:gd name="T34" fmla="*/ 189 w 225"/>
                <a:gd name="T35" fmla="*/ 70 h 124"/>
                <a:gd name="T36" fmla="*/ 198 w 225"/>
                <a:gd name="T37" fmla="*/ 68 h 124"/>
                <a:gd name="T38" fmla="*/ 203 w 225"/>
                <a:gd name="T39" fmla="*/ 73 h 124"/>
                <a:gd name="T40" fmla="*/ 199 w 225"/>
                <a:gd name="T41" fmla="*/ 83 h 124"/>
                <a:gd name="T42" fmla="*/ 209 w 225"/>
                <a:gd name="T43" fmla="*/ 87 h 124"/>
                <a:gd name="T44" fmla="*/ 215 w 225"/>
                <a:gd name="T45" fmla="*/ 90 h 124"/>
                <a:gd name="T46" fmla="*/ 211 w 225"/>
                <a:gd name="T47" fmla="*/ 94 h 124"/>
                <a:gd name="T48" fmla="*/ 215 w 225"/>
                <a:gd name="T49" fmla="*/ 97 h 124"/>
                <a:gd name="T50" fmla="*/ 220 w 225"/>
                <a:gd name="T51" fmla="*/ 105 h 124"/>
                <a:gd name="T52" fmla="*/ 221 w 225"/>
                <a:gd name="T53" fmla="*/ 112 h 124"/>
                <a:gd name="T54" fmla="*/ 211 w 225"/>
                <a:gd name="T55" fmla="*/ 117 h 124"/>
                <a:gd name="T56" fmla="*/ 201 w 225"/>
                <a:gd name="T57" fmla="*/ 119 h 124"/>
                <a:gd name="T58" fmla="*/ 191 w 225"/>
                <a:gd name="T59" fmla="*/ 109 h 124"/>
                <a:gd name="T60" fmla="*/ 181 w 225"/>
                <a:gd name="T61" fmla="*/ 100 h 124"/>
                <a:gd name="T62" fmla="*/ 170 w 225"/>
                <a:gd name="T63" fmla="*/ 94 h 124"/>
                <a:gd name="T64" fmla="*/ 158 w 225"/>
                <a:gd name="T65" fmla="*/ 90 h 124"/>
                <a:gd name="T66" fmla="*/ 152 w 225"/>
                <a:gd name="T67" fmla="*/ 100 h 124"/>
                <a:gd name="T68" fmla="*/ 141 w 225"/>
                <a:gd name="T69" fmla="*/ 102 h 124"/>
                <a:gd name="T70" fmla="*/ 133 w 225"/>
                <a:gd name="T71" fmla="*/ 100 h 124"/>
                <a:gd name="T72" fmla="*/ 121 w 225"/>
                <a:gd name="T73" fmla="*/ 94 h 124"/>
                <a:gd name="T74" fmla="*/ 114 w 225"/>
                <a:gd name="T75" fmla="*/ 100 h 124"/>
                <a:gd name="T76" fmla="*/ 106 w 225"/>
                <a:gd name="T77" fmla="*/ 105 h 124"/>
                <a:gd name="T78" fmla="*/ 96 w 225"/>
                <a:gd name="T79" fmla="*/ 100 h 124"/>
                <a:gd name="T80" fmla="*/ 80 w 225"/>
                <a:gd name="T81" fmla="*/ 97 h 124"/>
                <a:gd name="T82" fmla="*/ 65 w 225"/>
                <a:gd name="T83" fmla="*/ 104 h 124"/>
                <a:gd name="T84" fmla="*/ 53 w 225"/>
                <a:gd name="T85" fmla="*/ 109 h 124"/>
                <a:gd name="T86" fmla="*/ 41 w 225"/>
                <a:gd name="T87" fmla="*/ 105 h 124"/>
                <a:gd name="T88" fmla="*/ 36 w 225"/>
                <a:gd name="T89" fmla="*/ 99 h 124"/>
                <a:gd name="T90" fmla="*/ 26 w 225"/>
                <a:gd name="T91" fmla="*/ 88 h 124"/>
                <a:gd name="T92" fmla="*/ 28 w 225"/>
                <a:gd name="T93" fmla="*/ 78 h 124"/>
                <a:gd name="T94" fmla="*/ 24 w 225"/>
                <a:gd name="T95" fmla="*/ 63 h 124"/>
                <a:gd name="T96" fmla="*/ 14 w 225"/>
                <a:gd name="T97" fmla="*/ 54 h 124"/>
                <a:gd name="T98" fmla="*/ 0 w 225"/>
                <a:gd name="T99" fmla="*/ 51 h 124"/>
                <a:gd name="T100" fmla="*/ 9 w 225"/>
                <a:gd name="T101" fmla="*/ 44 h 124"/>
                <a:gd name="T102" fmla="*/ 17 w 225"/>
                <a:gd name="T103" fmla="*/ 36 h 124"/>
                <a:gd name="T104" fmla="*/ 31 w 225"/>
                <a:gd name="T105" fmla="*/ 29 h 124"/>
                <a:gd name="T106" fmla="*/ 38 w 225"/>
                <a:gd name="T107" fmla="*/ 22 h 124"/>
                <a:gd name="T108" fmla="*/ 48 w 225"/>
                <a:gd name="T109" fmla="*/ 15 h 124"/>
                <a:gd name="T110" fmla="*/ 55 w 225"/>
                <a:gd name="T111" fmla="*/ 12 h 124"/>
                <a:gd name="T112" fmla="*/ 63 w 225"/>
                <a:gd name="T113" fmla="*/ 8 h 124"/>
                <a:gd name="T114" fmla="*/ 60 w 225"/>
                <a:gd name="T115" fmla="*/ 7 h 124"/>
                <a:gd name="T116" fmla="*/ 67 w 225"/>
                <a:gd name="T117" fmla="*/ 2 h 124"/>
                <a:gd name="T118" fmla="*/ 79 w 225"/>
                <a:gd name="T119" fmla="*/ 14 h 124"/>
                <a:gd name="T120" fmla="*/ 114 w 225"/>
                <a:gd name="T121" fmla="*/ 95 h 124"/>
                <a:gd name="T122" fmla="*/ 116 w 225"/>
                <a:gd name="T123" fmla="*/ 2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5" h="124">
                  <a:moveTo>
                    <a:pt x="68" y="0"/>
                  </a:moveTo>
                  <a:lnTo>
                    <a:pt x="70" y="0"/>
                  </a:lnTo>
                  <a:lnTo>
                    <a:pt x="72" y="2"/>
                  </a:lnTo>
                  <a:lnTo>
                    <a:pt x="73" y="2"/>
                  </a:lnTo>
                  <a:lnTo>
                    <a:pt x="72" y="5"/>
                  </a:lnTo>
                  <a:lnTo>
                    <a:pt x="73" y="5"/>
                  </a:lnTo>
                  <a:lnTo>
                    <a:pt x="77" y="3"/>
                  </a:lnTo>
                  <a:lnTo>
                    <a:pt x="77" y="2"/>
                  </a:lnTo>
                  <a:lnTo>
                    <a:pt x="77" y="3"/>
                  </a:lnTo>
                  <a:lnTo>
                    <a:pt x="80" y="3"/>
                  </a:lnTo>
                  <a:lnTo>
                    <a:pt x="82" y="3"/>
                  </a:lnTo>
                  <a:lnTo>
                    <a:pt x="82" y="7"/>
                  </a:lnTo>
                  <a:lnTo>
                    <a:pt x="79" y="8"/>
                  </a:lnTo>
                  <a:lnTo>
                    <a:pt x="79" y="10"/>
                  </a:lnTo>
                  <a:lnTo>
                    <a:pt x="79" y="12"/>
                  </a:lnTo>
                  <a:lnTo>
                    <a:pt x="79" y="14"/>
                  </a:lnTo>
                  <a:lnTo>
                    <a:pt x="80" y="12"/>
                  </a:lnTo>
                  <a:lnTo>
                    <a:pt x="82" y="14"/>
                  </a:lnTo>
                  <a:lnTo>
                    <a:pt x="82" y="12"/>
                  </a:lnTo>
                  <a:lnTo>
                    <a:pt x="82" y="8"/>
                  </a:lnTo>
                  <a:lnTo>
                    <a:pt x="84" y="10"/>
                  </a:lnTo>
                  <a:lnTo>
                    <a:pt x="84" y="12"/>
                  </a:lnTo>
                  <a:lnTo>
                    <a:pt x="87" y="10"/>
                  </a:lnTo>
                  <a:lnTo>
                    <a:pt x="87" y="12"/>
                  </a:lnTo>
                  <a:lnTo>
                    <a:pt x="90" y="12"/>
                  </a:lnTo>
                  <a:lnTo>
                    <a:pt x="89" y="10"/>
                  </a:lnTo>
                  <a:lnTo>
                    <a:pt x="90" y="8"/>
                  </a:lnTo>
                  <a:lnTo>
                    <a:pt x="92" y="10"/>
                  </a:lnTo>
                  <a:lnTo>
                    <a:pt x="96" y="10"/>
                  </a:lnTo>
                  <a:lnTo>
                    <a:pt x="96" y="7"/>
                  </a:lnTo>
                  <a:lnTo>
                    <a:pt x="97" y="7"/>
                  </a:lnTo>
                  <a:lnTo>
                    <a:pt x="97" y="8"/>
                  </a:lnTo>
                  <a:lnTo>
                    <a:pt x="99" y="10"/>
                  </a:lnTo>
                  <a:lnTo>
                    <a:pt x="101" y="8"/>
                  </a:lnTo>
                  <a:lnTo>
                    <a:pt x="102" y="10"/>
                  </a:lnTo>
                  <a:lnTo>
                    <a:pt x="104" y="12"/>
                  </a:lnTo>
                  <a:lnTo>
                    <a:pt x="104" y="10"/>
                  </a:lnTo>
                  <a:lnTo>
                    <a:pt x="107" y="12"/>
                  </a:lnTo>
                  <a:lnTo>
                    <a:pt x="107" y="10"/>
                  </a:lnTo>
                  <a:lnTo>
                    <a:pt x="109" y="12"/>
                  </a:lnTo>
                  <a:lnTo>
                    <a:pt x="111" y="10"/>
                  </a:lnTo>
                  <a:lnTo>
                    <a:pt x="113" y="12"/>
                  </a:lnTo>
                  <a:lnTo>
                    <a:pt x="113" y="15"/>
                  </a:lnTo>
                  <a:lnTo>
                    <a:pt x="111" y="15"/>
                  </a:lnTo>
                  <a:lnTo>
                    <a:pt x="113" y="17"/>
                  </a:lnTo>
                  <a:lnTo>
                    <a:pt x="111" y="19"/>
                  </a:lnTo>
                  <a:lnTo>
                    <a:pt x="109" y="20"/>
                  </a:lnTo>
                  <a:lnTo>
                    <a:pt x="109" y="22"/>
                  </a:lnTo>
                  <a:lnTo>
                    <a:pt x="107" y="24"/>
                  </a:lnTo>
                  <a:lnTo>
                    <a:pt x="106" y="25"/>
                  </a:lnTo>
                  <a:lnTo>
                    <a:pt x="107" y="27"/>
                  </a:lnTo>
                  <a:lnTo>
                    <a:pt x="106" y="27"/>
                  </a:lnTo>
                  <a:lnTo>
                    <a:pt x="107" y="29"/>
                  </a:lnTo>
                  <a:lnTo>
                    <a:pt x="107" y="31"/>
                  </a:lnTo>
                  <a:lnTo>
                    <a:pt x="109" y="32"/>
                  </a:lnTo>
                  <a:lnTo>
                    <a:pt x="111" y="34"/>
                  </a:lnTo>
                  <a:lnTo>
                    <a:pt x="113" y="32"/>
                  </a:lnTo>
                  <a:lnTo>
                    <a:pt x="114" y="34"/>
                  </a:lnTo>
                  <a:lnTo>
                    <a:pt x="114" y="36"/>
                  </a:lnTo>
                  <a:lnTo>
                    <a:pt x="116" y="39"/>
                  </a:lnTo>
                  <a:lnTo>
                    <a:pt x="118" y="39"/>
                  </a:lnTo>
                  <a:lnTo>
                    <a:pt x="119" y="39"/>
                  </a:lnTo>
                  <a:lnTo>
                    <a:pt x="123" y="41"/>
                  </a:lnTo>
                  <a:lnTo>
                    <a:pt x="124" y="41"/>
                  </a:lnTo>
                  <a:lnTo>
                    <a:pt x="126" y="39"/>
                  </a:lnTo>
                  <a:lnTo>
                    <a:pt x="126" y="41"/>
                  </a:lnTo>
                  <a:lnTo>
                    <a:pt x="130" y="41"/>
                  </a:lnTo>
                  <a:lnTo>
                    <a:pt x="131" y="42"/>
                  </a:lnTo>
                  <a:lnTo>
                    <a:pt x="133" y="41"/>
                  </a:lnTo>
                  <a:lnTo>
                    <a:pt x="135" y="41"/>
                  </a:lnTo>
                  <a:lnTo>
                    <a:pt x="138" y="41"/>
                  </a:lnTo>
                  <a:lnTo>
                    <a:pt x="140" y="41"/>
                  </a:lnTo>
                  <a:lnTo>
                    <a:pt x="141" y="41"/>
                  </a:lnTo>
                  <a:lnTo>
                    <a:pt x="143" y="39"/>
                  </a:lnTo>
                  <a:lnTo>
                    <a:pt x="145" y="41"/>
                  </a:lnTo>
                  <a:lnTo>
                    <a:pt x="147" y="39"/>
                  </a:lnTo>
                  <a:lnTo>
                    <a:pt x="148" y="39"/>
                  </a:lnTo>
                  <a:lnTo>
                    <a:pt x="148" y="41"/>
                  </a:lnTo>
                  <a:lnTo>
                    <a:pt x="150" y="42"/>
                  </a:lnTo>
                  <a:lnTo>
                    <a:pt x="152" y="42"/>
                  </a:lnTo>
                  <a:lnTo>
                    <a:pt x="152" y="46"/>
                  </a:lnTo>
                  <a:lnTo>
                    <a:pt x="153" y="48"/>
                  </a:lnTo>
                  <a:lnTo>
                    <a:pt x="153" y="49"/>
                  </a:lnTo>
                  <a:lnTo>
                    <a:pt x="152" y="51"/>
                  </a:lnTo>
                  <a:lnTo>
                    <a:pt x="153" y="53"/>
                  </a:lnTo>
                  <a:lnTo>
                    <a:pt x="153" y="54"/>
                  </a:lnTo>
                  <a:lnTo>
                    <a:pt x="153" y="58"/>
                  </a:lnTo>
                  <a:lnTo>
                    <a:pt x="152" y="58"/>
                  </a:lnTo>
                  <a:lnTo>
                    <a:pt x="152" y="61"/>
                  </a:lnTo>
                  <a:lnTo>
                    <a:pt x="150" y="60"/>
                  </a:lnTo>
                  <a:lnTo>
                    <a:pt x="148" y="60"/>
                  </a:lnTo>
                  <a:lnTo>
                    <a:pt x="147" y="61"/>
                  </a:lnTo>
                  <a:lnTo>
                    <a:pt x="145" y="63"/>
                  </a:lnTo>
                  <a:lnTo>
                    <a:pt x="143" y="61"/>
                  </a:lnTo>
                  <a:lnTo>
                    <a:pt x="143" y="63"/>
                  </a:lnTo>
                  <a:lnTo>
                    <a:pt x="141" y="65"/>
                  </a:lnTo>
                  <a:lnTo>
                    <a:pt x="140" y="65"/>
                  </a:lnTo>
                  <a:lnTo>
                    <a:pt x="141" y="68"/>
                  </a:lnTo>
                  <a:lnTo>
                    <a:pt x="143" y="66"/>
                  </a:lnTo>
                  <a:lnTo>
                    <a:pt x="147" y="66"/>
                  </a:lnTo>
                  <a:lnTo>
                    <a:pt x="148" y="66"/>
                  </a:lnTo>
                  <a:lnTo>
                    <a:pt x="152" y="65"/>
                  </a:lnTo>
                  <a:lnTo>
                    <a:pt x="153" y="66"/>
                  </a:lnTo>
                  <a:lnTo>
                    <a:pt x="153" y="68"/>
                  </a:lnTo>
                  <a:lnTo>
                    <a:pt x="155" y="68"/>
                  </a:lnTo>
                  <a:lnTo>
                    <a:pt x="155" y="70"/>
                  </a:lnTo>
                  <a:lnTo>
                    <a:pt x="157" y="70"/>
                  </a:lnTo>
                  <a:lnTo>
                    <a:pt x="157" y="71"/>
                  </a:lnTo>
                  <a:lnTo>
                    <a:pt x="158" y="70"/>
                  </a:lnTo>
                  <a:lnTo>
                    <a:pt x="160" y="71"/>
                  </a:lnTo>
                  <a:lnTo>
                    <a:pt x="162" y="71"/>
                  </a:lnTo>
                  <a:lnTo>
                    <a:pt x="164" y="71"/>
                  </a:lnTo>
                  <a:lnTo>
                    <a:pt x="165" y="70"/>
                  </a:lnTo>
                  <a:lnTo>
                    <a:pt x="169" y="71"/>
                  </a:lnTo>
                  <a:lnTo>
                    <a:pt x="170" y="71"/>
                  </a:lnTo>
                  <a:lnTo>
                    <a:pt x="174" y="73"/>
                  </a:lnTo>
                  <a:lnTo>
                    <a:pt x="175" y="73"/>
                  </a:lnTo>
                  <a:lnTo>
                    <a:pt x="177" y="73"/>
                  </a:lnTo>
                  <a:lnTo>
                    <a:pt x="179" y="73"/>
                  </a:lnTo>
                  <a:lnTo>
                    <a:pt x="181" y="75"/>
                  </a:lnTo>
                  <a:lnTo>
                    <a:pt x="182" y="78"/>
                  </a:lnTo>
                  <a:lnTo>
                    <a:pt x="182" y="75"/>
                  </a:lnTo>
                  <a:lnTo>
                    <a:pt x="186" y="75"/>
                  </a:lnTo>
                  <a:lnTo>
                    <a:pt x="186" y="73"/>
                  </a:lnTo>
                  <a:lnTo>
                    <a:pt x="187" y="70"/>
                  </a:lnTo>
                  <a:lnTo>
                    <a:pt x="189" y="70"/>
                  </a:lnTo>
                  <a:lnTo>
                    <a:pt x="191" y="70"/>
                  </a:lnTo>
                  <a:lnTo>
                    <a:pt x="192" y="68"/>
                  </a:lnTo>
                  <a:lnTo>
                    <a:pt x="194" y="70"/>
                  </a:lnTo>
                  <a:lnTo>
                    <a:pt x="194" y="71"/>
                  </a:lnTo>
                  <a:lnTo>
                    <a:pt x="196" y="71"/>
                  </a:lnTo>
                  <a:lnTo>
                    <a:pt x="196" y="70"/>
                  </a:lnTo>
                  <a:lnTo>
                    <a:pt x="198" y="68"/>
                  </a:lnTo>
                  <a:lnTo>
                    <a:pt x="201" y="68"/>
                  </a:lnTo>
                  <a:lnTo>
                    <a:pt x="203" y="68"/>
                  </a:lnTo>
                  <a:lnTo>
                    <a:pt x="204" y="70"/>
                  </a:lnTo>
                  <a:lnTo>
                    <a:pt x="201" y="70"/>
                  </a:lnTo>
                  <a:lnTo>
                    <a:pt x="201" y="71"/>
                  </a:lnTo>
                  <a:lnTo>
                    <a:pt x="201" y="73"/>
                  </a:lnTo>
                  <a:lnTo>
                    <a:pt x="203" y="73"/>
                  </a:lnTo>
                  <a:lnTo>
                    <a:pt x="204" y="75"/>
                  </a:lnTo>
                  <a:lnTo>
                    <a:pt x="201" y="75"/>
                  </a:lnTo>
                  <a:lnTo>
                    <a:pt x="201" y="77"/>
                  </a:lnTo>
                  <a:lnTo>
                    <a:pt x="201" y="78"/>
                  </a:lnTo>
                  <a:lnTo>
                    <a:pt x="198" y="80"/>
                  </a:lnTo>
                  <a:lnTo>
                    <a:pt x="198" y="82"/>
                  </a:lnTo>
                  <a:lnTo>
                    <a:pt x="199" y="83"/>
                  </a:lnTo>
                  <a:lnTo>
                    <a:pt x="201" y="85"/>
                  </a:lnTo>
                  <a:lnTo>
                    <a:pt x="204" y="85"/>
                  </a:lnTo>
                  <a:lnTo>
                    <a:pt x="206" y="85"/>
                  </a:lnTo>
                  <a:lnTo>
                    <a:pt x="206" y="83"/>
                  </a:lnTo>
                  <a:lnTo>
                    <a:pt x="208" y="85"/>
                  </a:lnTo>
                  <a:lnTo>
                    <a:pt x="209" y="85"/>
                  </a:lnTo>
                  <a:lnTo>
                    <a:pt x="209" y="87"/>
                  </a:lnTo>
                  <a:lnTo>
                    <a:pt x="211" y="87"/>
                  </a:lnTo>
                  <a:lnTo>
                    <a:pt x="211" y="88"/>
                  </a:lnTo>
                  <a:lnTo>
                    <a:pt x="213" y="87"/>
                  </a:lnTo>
                  <a:lnTo>
                    <a:pt x="215" y="88"/>
                  </a:lnTo>
                  <a:lnTo>
                    <a:pt x="216" y="87"/>
                  </a:lnTo>
                  <a:lnTo>
                    <a:pt x="216" y="88"/>
                  </a:lnTo>
                  <a:lnTo>
                    <a:pt x="215" y="90"/>
                  </a:lnTo>
                  <a:lnTo>
                    <a:pt x="216" y="90"/>
                  </a:lnTo>
                  <a:lnTo>
                    <a:pt x="215" y="90"/>
                  </a:lnTo>
                  <a:lnTo>
                    <a:pt x="215" y="92"/>
                  </a:lnTo>
                  <a:lnTo>
                    <a:pt x="215" y="94"/>
                  </a:lnTo>
                  <a:lnTo>
                    <a:pt x="213" y="92"/>
                  </a:lnTo>
                  <a:lnTo>
                    <a:pt x="211" y="92"/>
                  </a:lnTo>
                  <a:lnTo>
                    <a:pt x="211" y="94"/>
                  </a:lnTo>
                  <a:lnTo>
                    <a:pt x="213" y="94"/>
                  </a:lnTo>
                  <a:lnTo>
                    <a:pt x="209" y="94"/>
                  </a:lnTo>
                  <a:lnTo>
                    <a:pt x="208" y="95"/>
                  </a:lnTo>
                  <a:lnTo>
                    <a:pt x="209" y="97"/>
                  </a:lnTo>
                  <a:lnTo>
                    <a:pt x="213" y="95"/>
                  </a:lnTo>
                  <a:lnTo>
                    <a:pt x="213" y="97"/>
                  </a:lnTo>
                  <a:lnTo>
                    <a:pt x="215" y="97"/>
                  </a:lnTo>
                  <a:lnTo>
                    <a:pt x="215" y="99"/>
                  </a:lnTo>
                  <a:lnTo>
                    <a:pt x="218" y="99"/>
                  </a:lnTo>
                  <a:lnTo>
                    <a:pt x="216" y="100"/>
                  </a:lnTo>
                  <a:lnTo>
                    <a:pt x="220" y="100"/>
                  </a:lnTo>
                  <a:lnTo>
                    <a:pt x="218" y="102"/>
                  </a:lnTo>
                  <a:lnTo>
                    <a:pt x="220" y="104"/>
                  </a:lnTo>
                  <a:lnTo>
                    <a:pt x="220" y="105"/>
                  </a:lnTo>
                  <a:lnTo>
                    <a:pt x="220" y="107"/>
                  </a:lnTo>
                  <a:lnTo>
                    <a:pt x="220" y="109"/>
                  </a:lnTo>
                  <a:lnTo>
                    <a:pt x="223" y="109"/>
                  </a:lnTo>
                  <a:lnTo>
                    <a:pt x="223" y="111"/>
                  </a:lnTo>
                  <a:lnTo>
                    <a:pt x="225" y="112"/>
                  </a:lnTo>
                  <a:lnTo>
                    <a:pt x="223" y="112"/>
                  </a:lnTo>
                  <a:lnTo>
                    <a:pt x="221" y="112"/>
                  </a:lnTo>
                  <a:lnTo>
                    <a:pt x="220" y="112"/>
                  </a:lnTo>
                  <a:lnTo>
                    <a:pt x="218" y="114"/>
                  </a:lnTo>
                  <a:lnTo>
                    <a:pt x="216" y="114"/>
                  </a:lnTo>
                  <a:lnTo>
                    <a:pt x="215" y="114"/>
                  </a:lnTo>
                  <a:lnTo>
                    <a:pt x="213" y="114"/>
                  </a:lnTo>
                  <a:lnTo>
                    <a:pt x="213" y="116"/>
                  </a:lnTo>
                  <a:lnTo>
                    <a:pt x="211" y="117"/>
                  </a:lnTo>
                  <a:lnTo>
                    <a:pt x="209" y="121"/>
                  </a:lnTo>
                  <a:lnTo>
                    <a:pt x="208" y="124"/>
                  </a:lnTo>
                  <a:lnTo>
                    <a:pt x="206" y="124"/>
                  </a:lnTo>
                  <a:lnTo>
                    <a:pt x="206" y="122"/>
                  </a:lnTo>
                  <a:lnTo>
                    <a:pt x="204" y="121"/>
                  </a:lnTo>
                  <a:lnTo>
                    <a:pt x="203" y="121"/>
                  </a:lnTo>
                  <a:lnTo>
                    <a:pt x="201" y="119"/>
                  </a:lnTo>
                  <a:lnTo>
                    <a:pt x="199" y="117"/>
                  </a:lnTo>
                  <a:lnTo>
                    <a:pt x="198" y="116"/>
                  </a:lnTo>
                  <a:lnTo>
                    <a:pt x="196" y="114"/>
                  </a:lnTo>
                  <a:lnTo>
                    <a:pt x="194" y="112"/>
                  </a:lnTo>
                  <a:lnTo>
                    <a:pt x="192" y="112"/>
                  </a:lnTo>
                  <a:lnTo>
                    <a:pt x="191" y="111"/>
                  </a:lnTo>
                  <a:lnTo>
                    <a:pt x="191" y="109"/>
                  </a:lnTo>
                  <a:lnTo>
                    <a:pt x="189" y="109"/>
                  </a:lnTo>
                  <a:lnTo>
                    <a:pt x="189" y="107"/>
                  </a:lnTo>
                  <a:lnTo>
                    <a:pt x="186" y="105"/>
                  </a:lnTo>
                  <a:lnTo>
                    <a:pt x="186" y="104"/>
                  </a:lnTo>
                  <a:lnTo>
                    <a:pt x="186" y="102"/>
                  </a:lnTo>
                  <a:lnTo>
                    <a:pt x="184" y="100"/>
                  </a:lnTo>
                  <a:lnTo>
                    <a:pt x="181" y="100"/>
                  </a:lnTo>
                  <a:lnTo>
                    <a:pt x="179" y="100"/>
                  </a:lnTo>
                  <a:lnTo>
                    <a:pt x="177" y="100"/>
                  </a:lnTo>
                  <a:lnTo>
                    <a:pt x="175" y="100"/>
                  </a:lnTo>
                  <a:lnTo>
                    <a:pt x="172" y="100"/>
                  </a:lnTo>
                  <a:lnTo>
                    <a:pt x="170" y="100"/>
                  </a:lnTo>
                  <a:lnTo>
                    <a:pt x="170" y="97"/>
                  </a:lnTo>
                  <a:lnTo>
                    <a:pt x="170" y="94"/>
                  </a:lnTo>
                  <a:lnTo>
                    <a:pt x="169" y="94"/>
                  </a:lnTo>
                  <a:lnTo>
                    <a:pt x="167" y="90"/>
                  </a:lnTo>
                  <a:lnTo>
                    <a:pt x="165" y="88"/>
                  </a:lnTo>
                  <a:lnTo>
                    <a:pt x="164" y="87"/>
                  </a:lnTo>
                  <a:lnTo>
                    <a:pt x="160" y="88"/>
                  </a:lnTo>
                  <a:lnTo>
                    <a:pt x="158" y="88"/>
                  </a:lnTo>
                  <a:lnTo>
                    <a:pt x="158" y="90"/>
                  </a:lnTo>
                  <a:lnTo>
                    <a:pt x="157" y="92"/>
                  </a:lnTo>
                  <a:lnTo>
                    <a:pt x="157" y="94"/>
                  </a:lnTo>
                  <a:lnTo>
                    <a:pt x="153" y="94"/>
                  </a:lnTo>
                  <a:lnTo>
                    <a:pt x="153" y="95"/>
                  </a:lnTo>
                  <a:lnTo>
                    <a:pt x="153" y="97"/>
                  </a:lnTo>
                  <a:lnTo>
                    <a:pt x="153" y="99"/>
                  </a:lnTo>
                  <a:lnTo>
                    <a:pt x="152" y="100"/>
                  </a:lnTo>
                  <a:lnTo>
                    <a:pt x="152" y="102"/>
                  </a:lnTo>
                  <a:lnTo>
                    <a:pt x="150" y="100"/>
                  </a:lnTo>
                  <a:lnTo>
                    <a:pt x="150" y="102"/>
                  </a:lnTo>
                  <a:lnTo>
                    <a:pt x="148" y="100"/>
                  </a:lnTo>
                  <a:lnTo>
                    <a:pt x="145" y="100"/>
                  </a:lnTo>
                  <a:lnTo>
                    <a:pt x="143" y="102"/>
                  </a:lnTo>
                  <a:lnTo>
                    <a:pt x="141" y="102"/>
                  </a:lnTo>
                  <a:lnTo>
                    <a:pt x="140" y="100"/>
                  </a:lnTo>
                  <a:lnTo>
                    <a:pt x="140" y="99"/>
                  </a:lnTo>
                  <a:lnTo>
                    <a:pt x="138" y="99"/>
                  </a:lnTo>
                  <a:lnTo>
                    <a:pt x="136" y="100"/>
                  </a:lnTo>
                  <a:lnTo>
                    <a:pt x="136" y="102"/>
                  </a:lnTo>
                  <a:lnTo>
                    <a:pt x="133" y="104"/>
                  </a:lnTo>
                  <a:lnTo>
                    <a:pt x="133" y="100"/>
                  </a:lnTo>
                  <a:lnTo>
                    <a:pt x="131" y="99"/>
                  </a:lnTo>
                  <a:lnTo>
                    <a:pt x="131" y="97"/>
                  </a:lnTo>
                  <a:lnTo>
                    <a:pt x="128" y="95"/>
                  </a:lnTo>
                  <a:lnTo>
                    <a:pt x="126" y="94"/>
                  </a:lnTo>
                  <a:lnTo>
                    <a:pt x="124" y="94"/>
                  </a:lnTo>
                  <a:lnTo>
                    <a:pt x="123" y="94"/>
                  </a:lnTo>
                  <a:lnTo>
                    <a:pt x="121" y="94"/>
                  </a:lnTo>
                  <a:lnTo>
                    <a:pt x="121" y="95"/>
                  </a:lnTo>
                  <a:lnTo>
                    <a:pt x="119" y="95"/>
                  </a:lnTo>
                  <a:lnTo>
                    <a:pt x="119" y="97"/>
                  </a:lnTo>
                  <a:lnTo>
                    <a:pt x="119" y="99"/>
                  </a:lnTo>
                  <a:lnTo>
                    <a:pt x="118" y="100"/>
                  </a:lnTo>
                  <a:lnTo>
                    <a:pt x="116" y="102"/>
                  </a:lnTo>
                  <a:lnTo>
                    <a:pt x="114" y="100"/>
                  </a:lnTo>
                  <a:lnTo>
                    <a:pt x="114" y="102"/>
                  </a:lnTo>
                  <a:lnTo>
                    <a:pt x="113" y="102"/>
                  </a:lnTo>
                  <a:lnTo>
                    <a:pt x="113" y="104"/>
                  </a:lnTo>
                  <a:lnTo>
                    <a:pt x="111" y="104"/>
                  </a:lnTo>
                  <a:lnTo>
                    <a:pt x="109" y="105"/>
                  </a:lnTo>
                  <a:lnTo>
                    <a:pt x="107" y="104"/>
                  </a:lnTo>
                  <a:lnTo>
                    <a:pt x="106" y="105"/>
                  </a:lnTo>
                  <a:lnTo>
                    <a:pt x="104" y="104"/>
                  </a:lnTo>
                  <a:lnTo>
                    <a:pt x="104" y="102"/>
                  </a:lnTo>
                  <a:lnTo>
                    <a:pt x="101" y="104"/>
                  </a:lnTo>
                  <a:lnTo>
                    <a:pt x="99" y="104"/>
                  </a:lnTo>
                  <a:lnTo>
                    <a:pt x="99" y="102"/>
                  </a:lnTo>
                  <a:lnTo>
                    <a:pt x="97" y="104"/>
                  </a:lnTo>
                  <a:lnTo>
                    <a:pt x="96" y="100"/>
                  </a:lnTo>
                  <a:lnTo>
                    <a:pt x="94" y="100"/>
                  </a:lnTo>
                  <a:lnTo>
                    <a:pt x="92" y="99"/>
                  </a:lnTo>
                  <a:lnTo>
                    <a:pt x="89" y="99"/>
                  </a:lnTo>
                  <a:lnTo>
                    <a:pt x="87" y="97"/>
                  </a:lnTo>
                  <a:lnTo>
                    <a:pt x="85" y="95"/>
                  </a:lnTo>
                  <a:lnTo>
                    <a:pt x="84" y="97"/>
                  </a:lnTo>
                  <a:lnTo>
                    <a:pt x="80" y="97"/>
                  </a:lnTo>
                  <a:lnTo>
                    <a:pt x="79" y="97"/>
                  </a:lnTo>
                  <a:lnTo>
                    <a:pt x="75" y="97"/>
                  </a:lnTo>
                  <a:lnTo>
                    <a:pt x="72" y="99"/>
                  </a:lnTo>
                  <a:lnTo>
                    <a:pt x="70" y="100"/>
                  </a:lnTo>
                  <a:lnTo>
                    <a:pt x="67" y="102"/>
                  </a:lnTo>
                  <a:lnTo>
                    <a:pt x="65" y="102"/>
                  </a:lnTo>
                  <a:lnTo>
                    <a:pt x="65" y="104"/>
                  </a:lnTo>
                  <a:lnTo>
                    <a:pt x="63" y="105"/>
                  </a:lnTo>
                  <a:lnTo>
                    <a:pt x="62" y="105"/>
                  </a:lnTo>
                  <a:lnTo>
                    <a:pt x="60" y="107"/>
                  </a:lnTo>
                  <a:lnTo>
                    <a:pt x="58" y="107"/>
                  </a:lnTo>
                  <a:lnTo>
                    <a:pt x="56" y="109"/>
                  </a:lnTo>
                  <a:lnTo>
                    <a:pt x="55" y="107"/>
                  </a:lnTo>
                  <a:lnTo>
                    <a:pt x="53" y="109"/>
                  </a:lnTo>
                  <a:lnTo>
                    <a:pt x="51" y="107"/>
                  </a:lnTo>
                  <a:lnTo>
                    <a:pt x="50" y="107"/>
                  </a:lnTo>
                  <a:lnTo>
                    <a:pt x="48" y="107"/>
                  </a:lnTo>
                  <a:lnTo>
                    <a:pt x="46" y="109"/>
                  </a:lnTo>
                  <a:lnTo>
                    <a:pt x="43" y="109"/>
                  </a:lnTo>
                  <a:lnTo>
                    <a:pt x="41" y="107"/>
                  </a:lnTo>
                  <a:lnTo>
                    <a:pt x="41" y="105"/>
                  </a:lnTo>
                  <a:lnTo>
                    <a:pt x="43" y="104"/>
                  </a:lnTo>
                  <a:lnTo>
                    <a:pt x="41" y="102"/>
                  </a:lnTo>
                  <a:lnTo>
                    <a:pt x="39" y="102"/>
                  </a:lnTo>
                  <a:lnTo>
                    <a:pt x="38" y="102"/>
                  </a:lnTo>
                  <a:lnTo>
                    <a:pt x="39" y="100"/>
                  </a:lnTo>
                  <a:lnTo>
                    <a:pt x="39" y="99"/>
                  </a:lnTo>
                  <a:lnTo>
                    <a:pt x="36" y="99"/>
                  </a:lnTo>
                  <a:lnTo>
                    <a:pt x="36" y="97"/>
                  </a:lnTo>
                  <a:lnTo>
                    <a:pt x="34" y="97"/>
                  </a:lnTo>
                  <a:lnTo>
                    <a:pt x="31" y="95"/>
                  </a:lnTo>
                  <a:lnTo>
                    <a:pt x="31" y="92"/>
                  </a:lnTo>
                  <a:lnTo>
                    <a:pt x="31" y="90"/>
                  </a:lnTo>
                  <a:lnTo>
                    <a:pt x="29" y="88"/>
                  </a:lnTo>
                  <a:lnTo>
                    <a:pt x="26" y="88"/>
                  </a:lnTo>
                  <a:lnTo>
                    <a:pt x="24" y="88"/>
                  </a:lnTo>
                  <a:lnTo>
                    <a:pt x="26" y="85"/>
                  </a:lnTo>
                  <a:lnTo>
                    <a:pt x="28" y="83"/>
                  </a:lnTo>
                  <a:lnTo>
                    <a:pt x="28" y="82"/>
                  </a:lnTo>
                  <a:lnTo>
                    <a:pt x="29" y="82"/>
                  </a:lnTo>
                  <a:lnTo>
                    <a:pt x="28" y="80"/>
                  </a:lnTo>
                  <a:lnTo>
                    <a:pt x="28" y="78"/>
                  </a:lnTo>
                  <a:lnTo>
                    <a:pt x="28" y="75"/>
                  </a:lnTo>
                  <a:lnTo>
                    <a:pt x="28" y="71"/>
                  </a:lnTo>
                  <a:lnTo>
                    <a:pt x="29" y="70"/>
                  </a:lnTo>
                  <a:lnTo>
                    <a:pt x="28" y="68"/>
                  </a:lnTo>
                  <a:lnTo>
                    <a:pt x="28" y="66"/>
                  </a:lnTo>
                  <a:lnTo>
                    <a:pt x="24" y="65"/>
                  </a:lnTo>
                  <a:lnTo>
                    <a:pt x="24" y="63"/>
                  </a:lnTo>
                  <a:lnTo>
                    <a:pt x="22" y="61"/>
                  </a:lnTo>
                  <a:lnTo>
                    <a:pt x="19" y="61"/>
                  </a:lnTo>
                  <a:lnTo>
                    <a:pt x="19" y="60"/>
                  </a:lnTo>
                  <a:lnTo>
                    <a:pt x="17" y="58"/>
                  </a:lnTo>
                  <a:lnTo>
                    <a:pt x="17" y="56"/>
                  </a:lnTo>
                  <a:lnTo>
                    <a:pt x="16" y="54"/>
                  </a:lnTo>
                  <a:lnTo>
                    <a:pt x="14" y="54"/>
                  </a:lnTo>
                  <a:lnTo>
                    <a:pt x="11" y="54"/>
                  </a:lnTo>
                  <a:lnTo>
                    <a:pt x="9" y="54"/>
                  </a:lnTo>
                  <a:lnTo>
                    <a:pt x="7" y="54"/>
                  </a:lnTo>
                  <a:lnTo>
                    <a:pt x="5" y="54"/>
                  </a:lnTo>
                  <a:lnTo>
                    <a:pt x="4" y="54"/>
                  </a:lnTo>
                  <a:lnTo>
                    <a:pt x="2" y="51"/>
                  </a:lnTo>
                  <a:lnTo>
                    <a:pt x="0" y="51"/>
                  </a:lnTo>
                  <a:lnTo>
                    <a:pt x="0" y="48"/>
                  </a:lnTo>
                  <a:lnTo>
                    <a:pt x="2" y="48"/>
                  </a:lnTo>
                  <a:lnTo>
                    <a:pt x="4" y="46"/>
                  </a:lnTo>
                  <a:lnTo>
                    <a:pt x="4" y="44"/>
                  </a:lnTo>
                  <a:lnTo>
                    <a:pt x="5" y="44"/>
                  </a:lnTo>
                  <a:lnTo>
                    <a:pt x="7" y="44"/>
                  </a:lnTo>
                  <a:lnTo>
                    <a:pt x="9" y="44"/>
                  </a:lnTo>
                  <a:lnTo>
                    <a:pt x="11" y="42"/>
                  </a:lnTo>
                  <a:lnTo>
                    <a:pt x="12" y="42"/>
                  </a:lnTo>
                  <a:lnTo>
                    <a:pt x="14" y="42"/>
                  </a:lnTo>
                  <a:lnTo>
                    <a:pt x="16" y="42"/>
                  </a:lnTo>
                  <a:lnTo>
                    <a:pt x="16" y="41"/>
                  </a:lnTo>
                  <a:lnTo>
                    <a:pt x="16" y="39"/>
                  </a:lnTo>
                  <a:lnTo>
                    <a:pt x="17" y="36"/>
                  </a:lnTo>
                  <a:lnTo>
                    <a:pt x="21" y="36"/>
                  </a:lnTo>
                  <a:lnTo>
                    <a:pt x="22" y="34"/>
                  </a:lnTo>
                  <a:lnTo>
                    <a:pt x="24" y="31"/>
                  </a:lnTo>
                  <a:lnTo>
                    <a:pt x="26" y="31"/>
                  </a:lnTo>
                  <a:lnTo>
                    <a:pt x="28" y="29"/>
                  </a:lnTo>
                  <a:lnTo>
                    <a:pt x="29" y="29"/>
                  </a:lnTo>
                  <a:lnTo>
                    <a:pt x="31" y="29"/>
                  </a:lnTo>
                  <a:lnTo>
                    <a:pt x="31" y="27"/>
                  </a:lnTo>
                  <a:lnTo>
                    <a:pt x="31" y="25"/>
                  </a:lnTo>
                  <a:lnTo>
                    <a:pt x="31" y="24"/>
                  </a:lnTo>
                  <a:lnTo>
                    <a:pt x="33" y="24"/>
                  </a:lnTo>
                  <a:lnTo>
                    <a:pt x="34" y="22"/>
                  </a:lnTo>
                  <a:lnTo>
                    <a:pt x="36" y="24"/>
                  </a:lnTo>
                  <a:lnTo>
                    <a:pt x="38" y="22"/>
                  </a:lnTo>
                  <a:lnTo>
                    <a:pt x="39" y="22"/>
                  </a:lnTo>
                  <a:lnTo>
                    <a:pt x="39" y="20"/>
                  </a:lnTo>
                  <a:lnTo>
                    <a:pt x="41" y="20"/>
                  </a:lnTo>
                  <a:lnTo>
                    <a:pt x="43" y="20"/>
                  </a:lnTo>
                  <a:lnTo>
                    <a:pt x="46" y="20"/>
                  </a:lnTo>
                  <a:lnTo>
                    <a:pt x="48" y="19"/>
                  </a:lnTo>
                  <a:lnTo>
                    <a:pt x="48" y="15"/>
                  </a:lnTo>
                  <a:lnTo>
                    <a:pt x="50" y="15"/>
                  </a:lnTo>
                  <a:lnTo>
                    <a:pt x="50" y="17"/>
                  </a:lnTo>
                  <a:lnTo>
                    <a:pt x="51" y="15"/>
                  </a:lnTo>
                  <a:lnTo>
                    <a:pt x="53" y="17"/>
                  </a:lnTo>
                  <a:lnTo>
                    <a:pt x="51" y="14"/>
                  </a:lnTo>
                  <a:lnTo>
                    <a:pt x="53" y="12"/>
                  </a:lnTo>
                  <a:lnTo>
                    <a:pt x="55" y="12"/>
                  </a:lnTo>
                  <a:lnTo>
                    <a:pt x="56" y="12"/>
                  </a:lnTo>
                  <a:lnTo>
                    <a:pt x="58" y="12"/>
                  </a:lnTo>
                  <a:lnTo>
                    <a:pt x="58" y="10"/>
                  </a:lnTo>
                  <a:lnTo>
                    <a:pt x="62" y="10"/>
                  </a:lnTo>
                  <a:lnTo>
                    <a:pt x="60" y="8"/>
                  </a:lnTo>
                  <a:lnTo>
                    <a:pt x="62" y="10"/>
                  </a:lnTo>
                  <a:lnTo>
                    <a:pt x="63" y="8"/>
                  </a:lnTo>
                  <a:lnTo>
                    <a:pt x="65" y="8"/>
                  </a:lnTo>
                  <a:lnTo>
                    <a:pt x="67" y="8"/>
                  </a:lnTo>
                  <a:lnTo>
                    <a:pt x="65" y="7"/>
                  </a:lnTo>
                  <a:lnTo>
                    <a:pt x="65" y="8"/>
                  </a:lnTo>
                  <a:lnTo>
                    <a:pt x="63" y="8"/>
                  </a:lnTo>
                  <a:lnTo>
                    <a:pt x="62" y="8"/>
                  </a:lnTo>
                  <a:lnTo>
                    <a:pt x="60" y="7"/>
                  </a:lnTo>
                  <a:lnTo>
                    <a:pt x="60" y="5"/>
                  </a:lnTo>
                  <a:lnTo>
                    <a:pt x="60" y="3"/>
                  </a:lnTo>
                  <a:lnTo>
                    <a:pt x="62" y="5"/>
                  </a:lnTo>
                  <a:lnTo>
                    <a:pt x="63" y="3"/>
                  </a:lnTo>
                  <a:lnTo>
                    <a:pt x="67" y="3"/>
                  </a:lnTo>
                  <a:lnTo>
                    <a:pt x="68" y="3"/>
                  </a:lnTo>
                  <a:lnTo>
                    <a:pt x="67" y="2"/>
                  </a:lnTo>
                  <a:lnTo>
                    <a:pt x="68" y="0"/>
                  </a:lnTo>
                  <a:close/>
                  <a:moveTo>
                    <a:pt x="75" y="12"/>
                  </a:moveTo>
                  <a:lnTo>
                    <a:pt x="73" y="15"/>
                  </a:lnTo>
                  <a:lnTo>
                    <a:pt x="75" y="15"/>
                  </a:lnTo>
                  <a:lnTo>
                    <a:pt x="77" y="15"/>
                  </a:lnTo>
                  <a:lnTo>
                    <a:pt x="79" y="15"/>
                  </a:lnTo>
                  <a:lnTo>
                    <a:pt x="79" y="14"/>
                  </a:lnTo>
                  <a:lnTo>
                    <a:pt x="75" y="12"/>
                  </a:lnTo>
                  <a:close/>
                  <a:moveTo>
                    <a:pt x="87" y="14"/>
                  </a:moveTo>
                  <a:lnTo>
                    <a:pt x="89" y="12"/>
                  </a:lnTo>
                  <a:lnTo>
                    <a:pt x="90" y="14"/>
                  </a:lnTo>
                  <a:lnTo>
                    <a:pt x="87" y="15"/>
                  </a:lnTo>
                  <a:lnTo>
                    <a:pt x="87" y="14"/>
                  </a:lnTo>
                  <a:close/>
                  <a:moveTo>
                    <a:pt x="114" y="95"/>
                  </a:moveTo>
                  <a:lnTo>
                    <a:pt x="116" y="95"/>
                  </a:lnTo>
                  <a:lnTo>
                    <a:pt x="118" y="97"/>
                  </a:lnTo>
                  <a:lnTo>
                    <a:pt x="116" y="97"/>
                  </a:lnTo>
                  <a:lnTo>
                    <a:pt x="114" y="95"/>
                  </a:lnTo>
                  <a:close/>
                  <a:moveTo>
                    <a:pt x="113" y="27"/>
                  </a:moveTo>
                  <a:lnTo>
                    <a:pt x="114" y="25"/>
                  </a:lnTo>
                  <a:lnTo>
                    <a:pt x="116" y="27"/>
                  </a:lnTo>
                  <a:lnTo>
                    <a:pt x="118" y="29"/>
                  </a:lnTo>
                  <a:lnTo>
                    <a:pt x="116" y="29"/>
                  </a:lnTo>
                  <a:lnTo>
                    <a:pt x="116" y="32"/>
                  </a:lnTo>
                  <a:lnTo>
                    <a:pt x="113" y="31"/>
                  </a:lnTo>
                  <a:lnTo>
                    <a:pt x="113" y="29"/>
                  </a:lnTo>
                  <a:lnTo>
                    <a:pt x="113" y="2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15" name="Freeform 45">
              <a:extLst>
                <a:ext uri="{FF2B5EF4-FFF2-40B4-BE49-F238E27FC236}">
                  <a16:creationId xmlns:a16="http://schemas.microsoft.com/office/drawing/2014/main" id="{44DB4DF8-84AB-4038-8EFC-C67CB4C6F570}"/>
                </a:ext>
              </a:extLst>
            </p:cNvPr>
            <p:cNvSpPr>
              <a:spLocks/>
            </p:cNvSpPr>
            <p:nvPr/>
          </p:nvSpPr>
          <p:spPr bwMode="gray">
            <a:xfrm>
              <a:off x="10016718" y="5720326"/>
              <a:ext cx="397007" cy="346642"/>
            </a:xfrm>
            <a:custGeom>
              <a:avLst/>
              <a:gdLst>
                <a:gd name="T0" fmla="*/ 95 w 134"/>
                <a:gd name="T1" fmla="*/ 6 h 117"/>
                <a:gd name="T2" fmla="*/ 100 w 134"/>
                <a:gd name="T3" fmla="*/ 13 h 117"/>
                <a:gd name="T4" fmla="*/ 105 w 134"/>
                <a:gd name="T5" fmla="*/ 17 h 117"/>
                <a:gd name="T6" fmla="*/ 112 w 134"/>
                <a:gd name="T7" fmla="*/ 17 h 117"/>
                <a:gd name="T8" fmla="*/ 121 w 134"/>
                <a:gd name="T9" fmla="*/ 18 h 117"/>
                <a:gd name="T10" fmla="*/ 124 w 134"/>
                <a:gd name="T11" fmla="*/ 27 h 117"/>
                <a:gd name="T12" fmla="*/ 129 w 134"/>
                <a:gd name="T13" fmla="*/ 34 h 117"/>
                <a:gd name="T14" fmla="*/ 133 w 134"/>
                <a:gd name="T15" fmla="*/ 39 h 117"/>
                <a:gd name="T16" fmla="*/ 129 w 134"/>
                <a:gd name="T17" fmla="*/ 46 h 117"/>
                <a:gd name="T18" fmla="*/ 133 w 134"/>
                <a:gd name="T19" fmla="*/ 54 h 117"/>
                <a:gd name="T20" fmla="*/ 134 w 134"/>
                <a:gd name="T21" fmla="*/ 63 h 117"/>
                <a:gd name="T22" fmla="*/ 128 w 134"/>
                <a:gd name="T23" fmla="*/ 68 h 117"/>
                <a:gd name="T24" fmla="*/ 124 w 134"/>
                <a:gd name="T25" fmla="*/ 73 h 117"/>
                <a:gd name="T26" fmla="*/ 126 w 134"/>
                <a:gd name="T27" fmla="*/ 80 h 117"/>
                <a:gd name="T28" fmla="*/ 119 w 134"/>
                <a:gd name="T29" fmla="*/ 80 h 117"/>
                <a:gd name="T30" fmla="*/ 116 w 134"/>
                <a:gd name="T31" fmla="*/ 85 h 117"/>
                <a:gd name="T32" fmla="*/ 109 w 134"/>
                <a:gd name="T33" fmla="*/ 86 h 117"/>
                <a:gd name="T34" fmla="*/ 102 w 134"/>
                <a:gd name="T35" fmla="*/ 85 h 117"/>
                <a:gd name="T36" fmla="*/ 94 w 134"/>
                <a:gd name="T37" fmla="*/ 88 h 117"/>
                <a:gd name="T38" fmla="*/ 85 w 134"/>
                <a:gd name="T39" fmla="*/ 90 h 117"/>
                <a:gd name="T40" fmla="*/ 82 w 134"/>
                <a:gd name="T41" fmla="*/ 97 h 117"/>
                <a:gd name="T42" fmla="*/ 78 w 134"/>
                <a:gd name="T43" fmla="*/ 103 h 117"/>
                <a:gd name="T44" fmla="*/ 71 w 134"/>
                <a:gd name="T45" fmla="*/ 109 h 117"/>
                <a:gd name="T46" fmla="*/ 66 w 134"/>
                <a:gd name="T47" fmla="*/ 110 h 117"/>
                <a:gd name="T48" fmla="*/ 58 w 134"/>
                <a:gd name="T49" fmla="*/ 109 h 117"/>
                <a:gd name="T50" fmla="*/ 53 w 134"/>
                <a:gd name="T51" fmla="*/ 114 h 117"/>
                <a:gd name="T52" fmla="*/ 46 w 134"/>
                <a:gd name="T53" fmla="*/ 114 h 117"/>
                <a:gd name="T54" fmla="*/ 36 w 134"/>
                <a:gd name="T55" fmla="*/ 117 h 117"/>
                <a:gd name="T56" fmla="*/ 29 w 134"/>
                <a:gd name="T57" fmla="*/ 114 h 117"/>
                <a:gd name="T58" fmla="*/ 22 w 134"/>
                <a:gd name="T59" fmla="*/ 115 h 117"/>
                <a:gd name="T60" fmla="*/ 14 w 134"/>
                <a:gd name="T61" fmla="*/ 103 h 117"/>
                <a:gd name="T62" fmla="*/ 10 w 134"/>
                <a:gd name="T63" fmla="*/ 98 h 117"/>
                <a:gd name="T64" fmla="*/ 5 w 134"/>
                <a:gd name="T65" fmla="*/ 92 h 117"/>
                <a:gd name="T66" fmla="*/ 7 w 134"/>
                <a:gd name="T67" fmla="*/ 85 h 117"/>
                <a:gd name="T68" fmla="*/ 3 w 134"/>
                <a:gd name="T69" fmla="*/ 76 h 117"/>
                <a:gd name="T70" fmla="*/ 3 w 134"/>
                <a:gd name="T71" fmla="*/ 71 h 117"/>
                <a:gd name="T72" fmla="*/ 2 w 134"/>
                <a:gd name="T73" fmla="*/ 63 h 117"/>
                <a:gd name="T74" fmla="*/ 3 w 134"/>
                <a:gd name="T75" fmla="*/ 54 h 117"/>
                <a:gd name="T76" fmla="*/ 3 w 134"/>
                <a:gd name="T77" fmla="*/ 49 h 117"/>
                <a:gd name="T78" fmla="*/ 10 w 134"/>
                <a:gd name="T79" fmla="*/ 49 h 117"/>
                <a:gd name="T80" fmla="*/ 12 w 134"/>
                <a:gd name="T81" fmla="*/ 40 h 117"/>
                <a:gd name="T82" fmla="*/ 12 w 134"/>
                <a:gd name="T83" fmla="*/ 34 h 117"/>
                <a:gd name="T84" fmla="*/ 19 w 134"/>
                <a:gd name="T85" fmla="*/ 29 h 117"/>
                <a:gd name="T86" fmla="*/ 24 w 134"/>
                <a:gd name="T87" fmla="*/ 25 h 117"/>
                <a:gd name="T88" fmla="*/ 31 w 134"/>
                <a:gd name="T89" fmla="*/ 23 h 117"/>
                <a:gd name="T90" fmla="*/ 37 w 134"/>
                <a:gd name="T91" fmla="*/ 27 h 117"/>
                <a:gd name="T92" fmla="*/ 39 w 134"/>
                <a:gd name="T93" fmla="*/ 22 h 117"/>
                <a:gd name="T94" fmla="*/ 44 w 134"/>
                <a:gd name="T95" fmla="*/ 17 h 117"/>
                <a:gd name="T96" fmla="*/ 48 w 134"/>
                <a:gd name="T97" fmla="*/ 13 h 117"/>
                <a:gd name="T98" fmla="*/ 53 w 134"/>
                <a:gd name="T99" fmla="*/ 13 h 117"/>
                <a:gd name="T100" fmla="*/ 61 w 134"/>
                <a:gd name="T101" fmla="*/ 12 h 117"/>
                <a:gd name="T102" fmla="*/ 66 w 134"/>
                <a:gd name="T103" fmla="*/ 8 h 117"/>
                <a:gd name="T104" fmla="*/ 71 w 134"/>
                <a:gd name="T105" fmla="*/ 6 h 117"/>
                <a:gd name="T106" fmla="*/ 80 w 134"/>
                <a:gd name="T107" fmla="*/ 6 h 117"/>
                <a:gd name="T108" fmla="*/ 83 w 134"/>
                <a:gd name="T109" fmla="*/ 3 h 117"/>
                <a:gd name="T110" fmla="*/ 90 w 134"/>
                <a:gd name="T111" fmla="*/ 3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4" h="117">
                  <a:moveTo>
                    <a:pt x="90" y="3"/>
                  </a:moveTo>
                  <a:lnTo>
                    <a:pt x="92" y="3"/>
                  </a:lnTo>
                  <a:lnTo>
                    <a:pt x="94" y="5"/>
                  </a:lnTo>
                  <a:lnTo>
                    <a:pt x="95" y="6"/>
                  </a:lnTo>
                  <a:lnTo>
                    <a:pt x="97" y="8"/>
                  </a:lnTo>
                  <a:lnTo>
                    <a:pt x="99" y="10"/>
                  </a:lnTo>
                  <a:lnTo>
                    <a:pt x="100" y="10"/>
                  </a:lnTo>
                  <a:lnTo>
                    <a:pt x="100" y="13"/>
                  </a:lnTo>
                  <a:lnTo>
                    <a:pt x="102" y="13"/>
                  </a:lnTo>
                  <a:lnTo>
                    <a:pt x="104" y="15"/>
                  </a:lnTo>
                  <a:lnTo>
                    <a:pt x="105" y="15"/>
                  </a:lnTo>
                  <a:lnTo>
                    <a:pt x="105" y="17"/>
                  </a:lnTo>
                  <a:lnTo>
                    <a:pt x="107" y="17"/>
                  </a:lnTo>
                  <a:lnTo>
                    <a:pt x="109" y="17"/>
                  </a:lnTo>
                  <a:lnTo>
                    <a:pt x="111" y="18"/>
                  </a:lnTo>
                  <a:lnTo>
                    <a:pt x="112" y="17"/>
                  </a:lnTo>
                  <a:lnTo>
                    <a:pt x="114" y="18"/>
                  </a:lnTo>
                  <a:lnTo>
                    <a:pt x="117" y="18"/>
                  </a:lnTo>
                  <a:lnTo>
                    <a:pt x="119" y="20"/>
                  </a:lnTo>
                  <a:lnTo>
                    <a:pt x="121" y="18"/>
                  </a:lnTo>
                  <a:lnTo>
                    <a:pt x="121" y="20"/>
                  </a:lnTo>
                  <a:lnTo>
                    <a:pt x="122" y="22"/>
                  </a:lnTo>
                  <a:lnTo>
                    <a:pt x="122" y="25"/>
                  </a:lnTo>
                  <a:lnTo>
                    <a:pt x="124" y="27"/>
                  </a:lnTo>
                  <a:lnTo>
                    <a:pt x="124" y="29"/>
                  </a:lnTo>
                  <a:lnTo>
                    <a:pt x="126" y="30"/>
                  </a:lnTo>
                  <a:lnTo>
                    <a:pt x="128" y="32"/>
                  </a:lnTo>
                  <a:lnTo>
                    <a:pt x="129" y="34"/>
                  </a:lnTo>
                  <a:lnTo>
                    <a:pt x="129" y="35"/>
                  </a:lnTo>
                  <a:lnTo>
                    <a:pt x="131" y="35"/>
                  </a:lnTo>
                  <a:lnTo>
                    <a:pt x="133" y="37"/>
                  </a:lnTo>
                  <a:lnTo>
                    <a:pt x="133" y="39"/>
                  </a:lnTo>
                  <a:lnTo>
                    <a:pt x="133" y="40"/>
                  </a:lnTo>
                  <a:lnTo>
                    <a:pt x="133" y="42"/>
                  </a:lnTo>
                  <a:lnTo>
                    <a:pt x="131" y="44"/>
                  </a:lnTo>
                  <a:lnTo>
                    <a:pt x="129" y="46"/>
                  </a:lnTo>
                  <a:lnTo>
                    <a:pt x="131" y="49"/>
                  </a:lnTo>
                  <a:lnTo>
                    <a:pt x="133" y="51"/>
                  </a:lnTo>
                  <a:lnTo>
                    <a:pt x="131" y="52"/>
                  </a:lnTo>
                  <a:lnTo>
                    <a:pt x="133" y="54"/>
                  </a:lnTo>
                  <a:lnTo>
                    <a:pt x="133" y="56"/>
                  </a:lnTo>
                  <a:lnTo>
                    <a:pt x="134" y="58"/>
                  </a:lnTo>
                  <a:lnTo>
                    <a:pt x="133" y="61"/>
                  </a:lnTo>
                  <a:lnTo>
                    <a:pt x="134" y="63"/>
                  </a:lnTo>
                  <a:lnTo>
                    <a:pt x="134" y="64"/>
                  </a:lnTo>
                  <a:lnTo>
                    <a:pt x="133" y="66"/>
                  </a:lnTo>
                  <a:lnTo>
                    <a:pt x="129" y="66"/>
                  </a:lnTo>
                  <a:lnTo>
                    <a:pt x="128" y="68"/>
                  </a:lnTo>
                  <a:lnTo>
                    <a:pt x="126" y="68"/>
                  </a:lnTo>
                  <a:lnTo>
                    <a:pt x="124" y="69"/>
                  </a:lnTo>
                  <a:lnTo>
                    <a:pt x="124" y="71"/>
                  </a:lnTo>
                  <a:lnTo>
                    <a:pt x="124" y="73"/>
                  </a:lnTo>
                  <a:lnTo>
                    <a:pt x="124" y="75"/>
                  </a:lnTo>
                  <a:lnTo>
                    <a:pt x="124" y="76"/>
                  </a:lnTo>
                  <a:lnTo>
                    <a:pt x="126" y="78"/>
                  </a:lnTo>
                  <a:lnTo>
                    <a:pt x="126" y="80"/>
                  </a:lnTo>
                  <a:lnTo>
                    <a:pt x="124" y="81"/>
                  </a:lnTo>
                  <a:lnTo>
                    <a:pt x="122" y="81"/>
                  </a:lnTo>
                  <a:lnTo>
                    <a:pt x="121" y="80"/>
                  </a:lnTo>
                  <a:lnTo>
                    <a:pt x="119" y="80"/>
                  </a:lnTo>
                  <a:lnTo>
                    <a:pt x="119" y="81"/>
                  </a:lnTo>
                  <a:lnTo>
                    <a:pt x="119" y="83"/>
                  </a:lnTo>
                  <a:lnTo>
                    <a:pt x="117" y="85"/>
                  </a:lnTo>
                  <a:lnTo>
                    <a:pt x="116" y="85"/>
                  </a:lnTo>
                  <a:lnTo>
                    <a:pt x="114" y="85"/>
                  </a:lnTo>
                  <a:lnTo>
                    <a:pt x="112" y="86"/>
                  </a:lnTo>
                  <a:lnTo>
                    <a:pt x="111" y="86"/>
                  </a:lnTo>
                  <a:lnTo>
                    <a:pt x="109" y="86"/>
                  </a:lnTo>
                  <a:lnTo>
                    <a:pt x="107" y="85"/>
                  </a:lnTo>
                  <a:lnTo>
                    <a:pt x="104" y="86"/>
                  </a:lnTo>
                  <a:lnTo>
                    <a:pt x="104" y="85"/>
                  </a:lnTo>
                  <a:lnTo>
                    <a:pt x="102" y="85"/>
                  </a:lnTo>
                  <a:lnTo>
                    <a:pt x="100" y="85"/>
                  </a:lnTo>
                  <a:lnTo>
                    <a:pt x="97" y="85"/>
                  </a:lnTo>
                  <a:lnTo>
                    <a:pt x="95" y="86"/>
                  </a:lnTo>
                  <a:lnTo>
                    <a:pt x="94" y="88"/>
                  </a:lnTo>
                  <a:lnTo>
                    <a:pt x="90" y="88"/>
                  </a:lnTo>
                  <a:lnTo>
                    <a:pt x="88" y="86"/>
                  </a:lnTo>
                  <a:lnTo>
                    <a:pt x="88" y="88"/>
                  </a:lnTo>
                  <a:lnTo>
                    <a:pt x="85" y="90"/>
                  </a:lnTo>
                  <a:lnTo>
                    <a:pt x="83" y="92"/>
                  </a:lnTo>
                  <a:lnTo>
                    <a:pt x="82" y="93"/>
                  </a:lnTo>
                  <a:lnTo>
                    <a:pt x="83" y="97"/>
                  </a:lnTo>
                  <a:lnTo>
                    <a:pt x="82" y="97"/>
                  </a:lnTo>
                  <a:lnTo>
                    <a:pt x="82" y="98"/>
                  </a:lnTo>
                  <a:lnTo>
                    <a:pt x="80" y="100"/>
                  </a:lnTo>
                  <a:lnTo>
                    <a:pt x="78" y="102"/>
                  </a:lnTo>
                  <a:lnTo>
                    <a:pt x="78" y="103"/>
                  </a:lnTo>
                  <a:lnTo>
                    <a:pt x="77" y="105"/>
                  </a:lnTo>
                  <a:lnTo>
                    <a:pt x="73" y="105"/>
                  </a:lnTo>
                  <a:lnTo>
                    <a:pt x="71" y="105"/>
                  </a:lnTo>
                  <a:lnTo>
                    <a:pt x="71" y="109"/>
                  </a:lnTo>
                  <a:lnTo>
                    <a:pt x="70" y="109"/>
                  </a:lnTo>
                  <a:lnTo>
                    <a:pt x="68" y="112"/>
                  </a:lnTo>
                  <a:lnTo>
                    <a:pt x="66" y="112"/>
                  </a:lnTo>
                  <a:lnTo>
                    <a:pt x="66" y="110"/>
                  </a:lnTo>
                  <a:lnTo>
                    <a:pt x="63" y="109"/>
                  </a:lnTo>
                  <a:lnTo>
                    <a:pt x="61" y="109"/>
                  </a:lnTo>
                  <a:lnTo>
                    <a:pt x="60" y="110"/>
                  </a:lnTo>
                  <a:lnTo>
                    <a:pt x="58" y="109"/>
                  </a:lnTo>
                  <a:lnTo>
                    <a:pt x="58" y="110"/>
                  </a:lnTo>
                  <a:lnTo>
                    <a:pt x="56" y="110"/>
                  </a:lnTo>
                  <a:lnTo>
                    <a:pt x="54" y="112"/>
                  </a:lnTo>
                  <a:lnTo>
                    <a:pt x="53" y="114"/>
                  </a:lnTo>
                  <a:lnTo>
                    <a:pt x="49" y="115"/>
                  </a:lnTo>
                  <a:lnTo>
                    <a:pt x="49" y="114"/>
                  </a:lnTo>
                  <a:lnTo>
                    <a:pt x="48" y="114"/>
                  </a:lnTo>
                  <a:lnTo>
                    <a:pt x="46" y="114"/>
                  </a:lnTo>
                  <a:lnTo>
                    <a:pt x="44" y="115"/>
                  </a:lnTo>
                  <a:lnTo>
                    <a:pt x="43" y="117"/>
                  </a:lnTo>
                  <a:lnTo>
                    <a:pt x="39" y="117"/>
                  </a:lnTo>
                  <a:lnTo>
                    <a:pt x="36" y="117"/>
                  </a:lnTo>
                  <a:lnTo>
                    <a:pt x="34" y="115"/>
                  </a:lnTo>
                  <a:lnTo>
                    <a:pt x="32" y="114"/>
                  </a:lnTo>
                  <a:lnTo>
                    <a:pt x="31" y="114"/>
                  </a:lnTo>
                  <a:lnTo>
                    <a:pt x="29" y="114"/>
                  </a:lnTo>
                  <a:lnTo>
                    <a:pt x="27" y="112"/>
                  </a:lnTo>
                  <a:lnTo>
                    <a:pt x="27" y="115"/>
                  </a:lnTo>
                  <a:lnTo>
                    <a:pt x="26" y="115"/>
                  </a:lnTo>
                  <a:lnTo>
                    <a:pt x="22" y="115"/>
                  </a:lnTo>
                  <a:lnTo>
                    <a:pt x="20" y="114"/>
                  </a:lnTo>
                  <a:lnTo>
                    <a:pt x="19" y="110"/>
                  </a:lnTo>
                  <a:lnTo>
                    <a:pt x="17" y="103"/>
                  </a:lnTo>
                  <a:lnTo>
                    <a:pt x="14" y="103"/>
                  </a:lnTo>
                  <a:lnTo>
                    <a:pt x="12" y="103"/>
                  </a:lnTo>
                  <a:lnTo>
                    <a:pt x="12" y="102"/>
                  </a:lnTo>
                  <a:lnTo>
                    <a:pt x="12" y="100"/>
                  </a:lnTo>
                  <a:lnTo>
                    <a:pt x="10" y="98"/>
                  </a:lnTo>
                  <a:lnTo>
                    <a:pt x="9" y="97"/>
                  </a:lnTo>
                  <a:lnTo>
                    <a:pt x="7" y="95"/>
                  </a:lnTo>
                  <a:lnTo>
                    <a:pt x="7" y="93"/>
                  </a:lnTo>
                  <a:lnTo>
                    <a:pt x="5" y="92"/>
                  </a:lnTo>
                  <a:lnTo>
                    <a:pt x="5" y="88"/>
                  </a:lnTo>
                  <a:lnTo>
                    <a:pt x="3" y="88"/>
                  </a:lnTo>
                  <a:lnTo>
                    <a:pt x="5" y="86"/>
                  </a:lnTo>
                  <a:lnTo>
                    <a:pt x="7" y="85"/>
                  </a:lnTo>
                  <a:lnTo>
                    <a:pt x="7" y="81"/>
                  </a:lnTo>
                  <a:lnTo>
                    <a:pt x="5" y="80"/>
                  </a:lnTo>
                  <a:lnTo>
                    <a:pt x="3" y="80"/>
                  </a:lnTo>
                  <a:lnTo>
                    <a:pt x="3" y="76"/>
                  </a:lnTo>
                  <a:lnTo>
                    <a:pt x="0" y="75"/>
                  </a:lnTo>
                  <a:lnTo>
                    <a:pt x="2" y="73"/>
                  </a:lnTo>
                  <a:lnTo>
                    <a:pt x="0" y="73"/>
                  </a:lnTo>
                  <a:lnTo>
                    <a:pt x="3" y="71"/>
                  </a:lnTo>
                  <a:lnTo>
                    <a:pt x="5" y="69"/>
                  </a:lnTo>
                  <a:lnTo>
                    <a:pt x="3" y="68"/>
                  </a:lnTo>
                  <a:lnTo>
                    <a:pt x="2" y="64"/>
                  </a:lnTo>
                  <a:lnTo>
                    <a:pt x="2" y="63"/>
                  </a:lnTo>
                  <a:lnTo>
                    <a:pt x="2" y="59"/>
                  </a:lnTo>
                  <a:lnTo>
                    <a:pt x="2" y="58"/>
                  </a:lnTo>
                  <a:lnTo>
                    <a:pt x="2" y="56"/>
                  </a:lnTo>
                  <a:lnTo>
                    <a:pt x="3" y="54"/>
                  </a:lnTo>
                  <a:lnTo>
                    <a:pt x="3" y="52"/>
                  </a:lnTo>
                  <a:lnTo>
                    <a:pt x="3" y="51"/>
                  </a:lnTo>
                  <a:lnTo>
                    <a:pt x="2" y="49"/>
                  </a:lnTo>
                  <a:lnTo>
                    <a:pt x="3" y="49"/>
                  </a:lnTo>
                  <a:lnTo>
                    <a:pt x="5" y="51"/>
                  </a:lnTo>
                  <a:lnTo>
                    <a:pt x="7" y="47"/>
                  </a:lnTo>
                  <a:lnTo>
                    <a:pt x="9" y="49"/>
                  </a:lnTo>
                  <a:lnTo>
                    <a:pt x="10" y="49"/>
                  </a:lnTo>
                  <a:lnTo>
                    <a:pt x="12" y="46"/>
                  </a:lnTo>
                  <a:lnTo>
                    <a:pt x="14" y="44"/>
                  </a:lnTo>
                  <a:lnTo>
                    <a:pt x="12" y="42"/>
                  </a:lnTo>
                  <a:lnTo>
                    <a:pt x="12" y="40"/>
                  </a:lnTo>
                  <a:lnTo>
                    <a:pt x="10" y="40"/>
                  </a:lnTo>
                  <a:lnTo>
                    <a:pt x="10" y="37"/>
                  </a:lnTo>
                  <a:lnTo>
                    <a:pt x="10" y="35"/>
                  </a:lnTo>
                  <a:lnTo>
                    <a:pt x="12" y="34"/>
                  </a:lnTo>
                  <a:lnTo>
                    <a:pt x="14" y="32"/>
                  </a:lnTo>
                  <a:lnTo>
                    <a:pt x="15" y="30"/>
                  </a:lnTo>
                  <a:lnTo>
                    <a:pt x="17" y="30"/>
                  </a:lnTo>
                  <a:lnTo>
                    <a:pt x="19" y="29"/>
                  </a:lnTo>
                  <a:lnTo>
                    <a:pt x="19" y="27"/>
                  </a:lnTo>
                  <a:lnTo>
                    <a:pt x="20" y="27"/>
                  </a:lnTo>
                  <a:lnTo>
                    <a:pt x="22" y="27"/>
                  </a:lnTo>
                  <a:lnTo>
                    <a:pt x="24" y="25"/>
                  </a:lnTo>
                  <a:lnTo>
                    <a:pt x="26" y="23"/>
                  </a:lnTo>
                  <a:lnTo>
                    <a:pt x="27" y="22"/>
                  </a:lnTo>
                  <a:lnTo>
                    <a:pt x="31" y="22"/>
                  </a:lnTo>
                  <a:lnTo>
                    <a:pt x="31" y="23"/>
                  </a:lnTo>
                  <a:lnTo>
                    <a:pt x="34" y="25"/>
                  </a:lnTo>
                  <a:lnTo>
                    <a:pt x="34" y="29"/>
                  </a:lnTo>
                  <a:lnTo>
                    <a:pt x="36" y="29"/>
                  </a:lnTo>
                  <a:lnTo>
                    <a:pt x="37" y="27"/>
                  </a:lnTo>
                  <a:lnTo>
                    <a:pt x="39" y="27"/>
                  </a:lnTo>
                  <a:lnTo>
                    <a:pt x="37" y="23"/>
                  </a:lnTo>
                  <a:lnTo>
                    <a:pt x="39" y="23"/>
                  </a:lnTo>
                  <a:lnTo>
                    <a:pt x="39" y="22"/>
                  </a:lnTo>
                  <a:lnTo>
                    <a:pt x="39" y="20"/>
                  </a:lnTo>
                  <a:lnTo>
                    <a:pt x="41" y="18"/>
                  </a:lnTo>
                  <a:lnTo>
                    <a:pt x="41" y="17"/>
                  </a:lnTo>
                  <a:lnTo>
                    <a:pt x="44" y="17"/>
                  </a:lnTo>
                  <a:lnTo>
                    <a:pt x="44" y="15"/>
                  </a:lnTo>
                  <a:lnTo>
                    <a:pt x="44" y="13"/>
                  </a:lnTo>
                  <a:lnTo>
                    <a:pt x="46" y="13"/>
                  </a:lnTo>
                  <a:lnTo>
                    <a:pt x="48" y="13"/>
                  </a:lnTo>
                  <a:lnTo>
                    <a:pt x="48" y="15"/>
                  </a:lnTo>
                  <a:lnTo>
                    <a:pt x="51" y="15"/>
                  </a:lnTo>
                  <a:lnTo>
                    <a:pt x="51" y="13"/>
                  </a:lnTo>
                  <a:lnTo>
                    <a:pt x="53" y="13"/>
                  </a:lnTo>
                  <a:lnTo>
                    <a:pt x="56" y="13"/>
                  </a:lnTo>
                  <a:lnTo>
                    <a:pt x="58" y="15"/>
                  </a:lnTo>
                  <a:lnTo>
                    <a:pt x="60" y="12"/>
                  </a:lnTo>
                  <a:lnTo>
                    <a:pt x="61" y="12"/>
                  </a:lnTo>
                  <a:lnTo>
                    <a:pt x="61" y="10"/>
                  </a:lnTo>
                  <a:lnTo>
                    <a:pt x="63" y="10"/>
                  </a:lnTo>
                  <a:lnTo>
                    <a:pt x="65" y="6"/>
                  </a:lnTo>
                  <a:lnTo>
                    <a:pt x="66" y="8"/>
                  </a:lnTo>
                  <a:lnTo>
                    <a:pt x="68" y="8"/>
                  </a:lnTo>
                  <a:lnTo>
                    <a:pt x="68" y="6"/>
                  </a:lnTo>
                  <a:lnTo>
                    <a:pt x="70" y="5"/>
                  </a:lnTo>
                  <a:lnTo>
                    <a:pt x="71" y="6"/>
                  </a:lnTo>
                  <a:lnTo>
                    <a:pt x="73" y="6"/>
                  </a:lnTo>
                  <a:lnTo>
                    <a:pt x="77" y="6"/>
                  </a:lnTo>
                  <a:lnTo>
                    <a:pt x="78" y="5"/>
                  </a:lnTo>
                  <a:lnTo>
                    <a:pt x="80" y="6"/>
                  </a:lnTo>
                  <a:lnTo>
                    <a:pt x="80" y="5"/>
                  </a:lnTo>
                  <a:lnTo>
                    <a:pt x="82" y="5"/>
                  </a:lnTo>
                  <a:lnTo>
                    <a:pt x="82" y="3"/>
                  </a:lnTo>
                  <a:lnTo>
                    <a:pt x="83" y="3"/>
                  </a:lnTo>
                  <a:lnTo>
                    <a:pt x="85" y="1"/>
                  </a:lnTo>
                  <a:lnTo>
                    <a:pt x="87" y="0"/>
                  </a:lnTo>
                  <a:lnTo>
                    <a:pt x="87" y="1"/>
                  </a:lnTo>
                  <a:lnTo>
                    <a:pt x="90" y="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16" name="Freeform 46">
              <a:extLst>
                <a:ext uri="{FF2B5EF4-FFF2-40B4-BE49-F238E27FC236}">
                  <a16:creationId xmlns:a16="http://schemas.microsoft.com/office/drawing/2014/main" id="{6E4115FB-7523-4382-8D51-F5344C5EF2E2}"/>
                </a:ext>
              </a:extLst>
            </p:cNvPr>
            <p:cNvSpPr>
              <a:spLocks/>
            </p:cNvSpPr>
            <p:nvPr/>
          </p:nvSpPr>
          <p:spPr bwMode="gray">
            <a:xfrm>
              <a:off x="9915985" y="5569227"/>
              <a:ext cx="272572" cy="302199"/>
            </a:xfrm>
            <a:custGeom>
              <a:avLst/>
              <a:gdLst>
                <a:gd name="T0" fmla="*/ 82 w 92"/>
                <a:gd name="T1" fmla="*/ 66 h 102"/>
                <a:gd name="T2" fmla="*/ 78 w 92"/>
                <a:gd name="T3" fmla="*/ 64 h 102"/>
                <a:gd name="T4" fmla="*/ 75 w 92"/>
                <a:gd name="T5" fmla="*/ 68 h 102"/>
                <a:gd name="T6" fmla="*/ 73 w 92"/>
                <a:gd name="T7" fmla="*/ 73 h 102"/>
                <a:gd name="T8" fmla="*/ 73 w 92"/>
                <a:gd name="T9" fmla="*/ 78 h 102"/>
                <a:gd name="T10" fmla="*/ 68 w 92"/>
                <a:gd name="T11" fmla="*/ 80 h 102"/>
                <a:gd name="T12" fmla="*/ 65 w 92"/>
                <a:gd name="T13" fmla="*/ 73 h 102"/>
                <a:gd name="T14" fmla="*/ 58 w 92"/>
                <a:gd name="T15" fmla="*/ 76 h 102"/>
                <a:gd name="T16" fmla="*/ 53 w 92"/>
                <a:gd name="T17" fmla="*/ 78 h 102"/>
                <a:gd name="T18" fmla="*/ 49 w 92"/>
                <a:gd name="T19" fmla="*/ 81 h 102"/>
                <a:gd name="T20" fmla="*/ 44 w 92"/>
                <a:gd name="T21" fmla="*/ 86 h 102"/>
                <a:gd name="T22" fmla="*/ 46 w 92"/>
                <a:gd name="T23" fmla="*/ 91 h 102"/>
                <a:gd name="T24" fmla="*/ 46 w 92"/>
                <a:gd name="T25" fmla="*/ 97 h 102"/>
                <a:gd name="T26" fmla="*/ 41 w 92"/>
                <a:gd name="T27" fmla="*/ 98 h 102"/>
                <a:gd name="T28" fmla="*/ 36 w 92"/>
                <a:gd name="T29" fmla="*/ 97 h 102"/>
                <a:gd name="T30" fmla="*/ 37 w 92"/>
                <a:gd name="T31" fmla="*/ 91 h 102"/>
                <a:gd name="T32" fmla="*/ 34 w 92"/>
                <a:gd name="T33" fmla="*/ 86 h 102"/>
                <a:gd name="T34" fmla="*/ 32 w 92"/>
                <a:gd name="T35" fmla="*/ 80 h 102"/>
                <a:gd name="T36" fmla="*/ 29 w 92"/>
                <a:gd name="T37" fmla="*/ 76 h 102"/>
                <a:gd name="T38" fmla="*/ 24 w 92"/>
                <a:gd name="T39" fmla="*/ 73 h 102"/>
                <a:gd name="T40" fmla="*/ 20 w 92"/>
                <a:gd name="T41" fmla="*/ 69 h 102"/>
                <a:gd name="T42" fmla="*/ 15 w 92"/>
                <a:gd name="T43" fmla="*/ 71 h 102"/>
                <a:gd name="T44" fmla="*/ 12 w 92"/>
                <a:gd name="T45" fmla="*/ 66 h 102"/>
                <a:gd name="T46" fmla="*/ 12 w 92"/>
                <a:gd name="T47" fmla="*/ 61 h 102"/>
                <a:gd name="T48" fmla="*/ 9 w 92"/>
                <a:gd name="T49" fmla="*/ 57 h 102"/>
                <a:gd name="T50" fmla="*/ 3 w 92"/>
                <a:gd name="T51" fmla="*/ 56 h 102"/>
                <a:gd name="T52" fmla="*/ 3 w 92"/>
                <a:gd name="T53" fmla="*/ 51 h 102"/>
                <a:gd name="T54" fmla="*/ 0 w 92"/>
                <a:gd name="T55" fmla="*/ 46 h 102"/>
                <a:gd name="T56" fmla="*/ 2 w 92"/>
                <a:gd name="T57" fmla="*/ 40 h 102"/>
                <a:gd name="T58" fmla="*/ 7 w 92"/>
                <a:gd name="T59" fmla="*/ 40 h 102"/>
                <a:gd name="T60" fmla="*/ 12 w 92"/>
                <a:gd name="T61" fmla="*/ 40 h 102"/>
                <a:gd name="T62" fmla="*/ 14 w 92"/>
                <a:gd name="T63" fmla="*/ 34 h 102"/>
                <a:gd name="T64" fmla="*/ 19 w 92"/>
                <a:gd name="T65" fmla="*/ 32 h 102"/>
                <a:gd name="T66" fmla="*/ 22 w 92"/>
                <a:gd name="T67" fmla="*/ 30 h 102"/>
                <a:gd name="T68" fmla="*/ 22 w 92"/>
                <a:gd name="T69" fmla="*/ 27 h 102"/>
                <a:gd name="T70" fmla="*/ 26 w 92"/>
                <a:gd name="T71" fmla="*/ 22 h 102"/>
                <a:gd name="T72" fmla="*/ 31 w 92"/>
                <a:gd name="T73" fmla="*/ 17 h 102"/>
                <a:gd name="T74" fmla="*/ 31 w 92"/>
                <a:gd name="T75" fmla="*/ 12 h 102"/>
                <a:gd name="T76" fmla="*/ 24 w 92"/>
                <a:gd name="T77" fmla="*/ 6 h 102"/>
                <a:gd name="T78" fmla="*/ 29 w 92"/>
                <a:gd name="T79" fmla="*/ 5 h 102"/>
                <a:gd name="T80" fmla="*/ 34 w 92"/>
                <a:gd name="T81" fmla="*/ 1 h 102"/>
                <a:gd name="T82" fmla="*/ 36 w 92"/>
                <a:gd name="T83" fmla="*/ 1 h 102"/>
                <a:gd name="T84" fmla="*/ 39 w 92"/>
                <a:gd name="T85" fmla="*/ 5 h 102"/>
                <a:gd name="T86" fmla="*/ 39 w 92"/>
                <a:gd name="T87" fmla="*/ 6 h 102"/>
                <a:gd name="T88" fmla="*/ 44 w 92"/>
                <a:gd name="T89" fmla="*/ 10 h 102"/>
                <a:gd name="T90" fmla="*/ 49 w 92"/>
                <a:gd name="T91" fmla="*/ 8 h 102"/>
                <a:gd name="T92" fmla="*/ 53 w 92"/>
                <a:gd name="T93" fmla="*/ 12 h 102"/>
                <a:gd name="T94" fmla="*/ 56 w 92"/>
                <a:gd name="T95" fmla="*/ 15 h 102"/>
                <a:gd name="T96" fmla="*/ 60 w 92"/>
                <a:gd name="T97" fmla="*/ 15 h 102"/>
                <a:gd name="T98" fmla="*/ 61 w 92"/>
                <a:gd name="T99" fmla="*/ 22 h 102"/>
                <a:gd name="T100" fmla="*/ 66 w 92"/>
                <a:gd name="T101" fmla="*/ 23 h 102"/>
                <a:gd name="T102" fmla="*/ 71 w 92"/>
                <a:gd name="T103" fmla="*/ 25 h 102"/>
                <a:gd name="T104" fmla="*/ 70 w 92"/>
                <a:gd name="T105" fmla="*/ 29 h 102"/>
                <a:gd name="T106" fmla="*/ 73 w 92"/>
                <a:gd name="T107" fmla="*/ 32 h 102"/>
                <a:gd name="T108" fmla="*/ 78 w 92"/>
                <a:gd name="T109" fmla="*/ 32 h 102"/>
                <a:gd name="T110" fmla="*/ 83 w 92"/>
                <a:gd name="T111" fmla="*/ 34 h 102"/>
                <a:gd name="T112" fmla="*/ 87 w 92"/>
                <a:gd name="T113" fmla="*/ 34 h 102"/>
                <a:gd name="T114" fmla="*/ 92 w 92"/>
                <a:gd name="T115" fmla="*/ 35 h 102"/>
                <a:gd name="T116" fmla="*/ 90 w 92"/>
                <a:gd name="T117" fmla="*/ 42 h 102"/>
                <a:gd name="T118" fmla="*/ 87 w 92"/>
                <a:gd name="T119" fmla="*/ 49 h 102"/>
                <a:gd name="T120" fmla="*/ 87 w 92"/>
                <a:gd name="T121" fmla="*/ 54 h 102"/>
                <a:gd name="T122" fmla="*/ 83 w 92"/>
                <a:gd name="T123" fmla="*/ 57 h 102"/>
                <a:gd name="T124" fmla="*/ 83 w 92"/>
                <a:gd name="T125" fmla="*/ 6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2" h="102">
                  <a:moveTo>
                    <a:pt x="85" y="64"/>
                  </a:moveTo>
                  <a:lnTo>
                    <a:pt x="85" y="66"/>
                  </a:lnTo>
                  <a:lnTo>
                    <a:pt x="82" y="66"/>
                  </a:lnTo>
                  <a:lnTo>
                    <a:pt x="82" y="64"/>
                  </a:lnTo>
                  <a:lnTo>
                    <a:pt x="80" y="64"/>
                  </a:lnTo>
                  <a:lnTo>
                    <a:pt x="78" y="64"/>
                  </a:lnTo>
                  <a:lnTo>
                    <a:pt x="78" y="66"/>
                  </a:lnTo>
                  <a:lnTo>
                    <a:pt x="78" y="68"/>
                  </a:lnTo>
                  <a:lnTo>
                    <a:pt x="75" y="68"/>
                  </a:lnTo>
                  <a:lnTo>
                    <a:pt x="75" y="69"/>
                  </a:lnTo>
                  <a:lnTo>
                    <a:pt x="73" y="71"/>
                  </a:lnTo>
                  <a:lnTo>
                    <a:pt x="73" y="73"/>
                  </a:lnTo>
                  <a:lnTo>
                    <a:pt x="73" y="74"/>
                  </a:lnTo>
                  <a:lnTo>
                    <a:pt x="71" y="74"/>
                  </a:lnTo>
                  <a:lnTo>
                    <a:pt x="73" y="78"/>
                  </a:lnTo>
                  <a:lnTo>
                    <a:pt x="71" y="78"/>
                  </a:lnTo>
                  <a:lnTo>
                    <a:pt x="70" y="80"/>
                  </a:lnTo>
                  <a:lnTo>
                    <a:pt x="68" y="80"/>
                  </a:lnTo>
                  <a:lnTo>
                    <a:pt x="68" y="76"/>
                  </a:lnTo>
                  <a:lnTo>
                    <a:pt x="65" y="74"/>
                  </a:lnTo>
                  <a:lnTo>
                    <a:pt x="65" y="73"/>
                  </a:lnTo>
                  <a:lnTo>
                    <a:pt x="61" y="73"/>
                  </a:lnTo>
                  <a:lnTo>
                    <a:pt x="60" y="74"/>
                  </a:lnTo>
                  <a:lnTo>
                    <a:pt x="58" y="76"/>
                  </a:lnTo>
                  <a:lnTo>
                    <a:pt x="56" y="78"/>
                  </a:lnTo>
                  <a:lnTo>
                    <a:pt x="54" y="78"/>
                  </a:lnTo>
                  <a:lnTo>
                    <a:pt x="53" y="78"/>
                  </a:lnTo>
                  <a:lnTo>
                    <a:pt x="53" y="80"/>
                  </a:lnTo>
                  <a:lnTo>
                    <a:pt x="51" y="81"/>
                  </a:lnTo>
                  <a:lnTo>
                    <a:pt x="49" y="81"/>
                  </a:lnTo>
                  <a:lnTo>
                    <a:pt x="48" y="83"/>
                  </a:lnTo>
                  <a:lnTo>
                    <a:pt x="46" y="85"/>
                  </a:lnTo>
                  <a:lnTo>
                    <a:pt x="44" y="86"/>
                  </a:lnTo>
                  <a:lnTo>
                    <a:pt x="44" y="88"/>
                  </a:lnTo>
                  <a:lnTo>
                    <a:pt x="44" y="91"/>
                  </a:lnTo>
                  <a:lnTo>
                    <a:pt x="46" y="91"/>
                  </a:lnTo>
                  <a:lnTo>
                    <a:pt x="46" y="93"/>
                  </a:lnTo>
                  <a:lnTo>
                    <a:pt x="48" y="95"/>
                  </a:lnTo>
                  <a:lnTo>
                    <a:pt x="46" y="97"/>
                  </a:lnTo>
                  <a:lnTo>
                    <a:pt x="44" y="100"/>
                  </a:lnTo>
                  <a:lnTo>
                    <a:pt x="43" y="100"/>
                  </a:lnTo>
                  <a:lnTo>
                    <a:pt x="41" y="98"/>
                  </a:lnTo>
                  <a:lnTo>
                    <a:pt x="39" y="102"/>
                  </a:lnTo>
                  <a:lnTo>
                    <a:pt x="37" y="100"/>
                  </a:lnTo>
                  <a:lnTo>
                    <a:pt x="36" y="97"/>
                  </a:lnTo>
                  <a:lnTo>
                    <a:pt x="39" y="95"/>
                  </a:lnTo>
                  <a:lnTo>
                    <a:pt x="39" y="93"/>
                  </a:lnTo>
                  <a:lnTo>
                    <a:pt x="37" y="91"/>
                  </a:lnTo>
                  <a:lnTo>
                    <a:pt x="37" y="90"/>
                  </a:lnTo>
                  <a:lnTo>
                    <a:pt x="36" y="88"/>
                  </a:lnTo>
                  <a:lnTo>
                    <a:pt x="34" y="86"/>
                  </a:lnTo>
                  <a:lnTo>
                    <a:pt x="34" y="85"/>
                  </a:lnTo>
                  <a:lnTo>
                    <a:pt x="34" y="83"/>
                  </a:lnTo>
                  <a:lnTo>
                    <a:pt x="32" y="80"/>
                  </a:lnTo>
                  <a:lnTo>
                    <a:pt x="32" y="78"/>
                  </a:lnTo>
                  <a:lnTo>
                    <a:pt x="31" y="76"/>
                  </a:lnTo>
                  <a:lnTo>
                    <a:pt x="29" y="76"/>
                  </a:lnTo>
                  <a:lnTo>
                    <a:pt x="29" y="74"/>
                  </a:lnTo>
                  <a:lnTo>
                    <a:pt x="27" y="73"/>
                  </a:lnTo>
                  <a:lnTo>
                    <a:pt x="24" y="73"/>
                  </a:lnTo>
                  <a:lnTo>
                    <a:pt x="24" y="71"/>
                  </a:lnTo>
                  <a:lnTo>
                    <a:pt x="20" y="71"/>
                  </a:lnTo>
                  <a:lnTo>
                    <a:pt x="20" y="69"/>
                  </a:lnTo>
                  <a:lnTo>
                    <a:pt x="19" y="71"/>
                  </a:lnTo>
                  <a:lnTo>
                    <a:pt x="17" y="71"/>
                  </a:lnTo>
                  <a:lnTo>
                    <a:pt x="15" y="71"/>
                  </a:lnTo>
                  <a:lnTo>
                    <a:pt x="15" y="69"/>
                  </a:lnTo>
                  <a:lnTo>
                    <a:pt x="15" y="68"/>
                  </a:lnTo>
                  <a:lnTo>
                    <a:pt x="12" y="66"/>
                  </a:lnTo>
                  <a:lnTo>
                    <a:pt x="14" y="63"/>
                  </a:lnTo>
                  <a:lnTo>
                    <a:pt x="12" y="63"/>
                  </a:lnTo>
                  <a:lnTo>
                    <a:pt x="12" y="61"/>
                  </a:lnTo>
                  <a:lnTo>
                    <a:pt x="10" y="61"/>
                  </a:lnTo>
                  <a:lnTo>
                    <a:pt x="9" y="59"/>
                  </a:lnTo>
                  <a:lnTo>
                    <a:pt x="9" y="57"/>
                  </a:lnTo>
                  <a:lnTo>
                    <a:pt x="7" y="57"/>
                  </a:lnTo>
                  <a:lnTo>
                    <a:pt x="5" y="57"/>
                  </a:lnTo>
                  <a:lnTo>
                    <a:pt x="3" y="56"/>
                  </a:lnTo>
                  <a:lnTo>
                    <a:pt x="5" y="54"/>
                  </a:lnTo>
                  <a:lnTo>
                    <a:pt x="3" y="52"/>
                  </a:lnTo>
                  <a:lnTo>
                    <a:pt x="3" y="51"/>
                  </a:lnTo>
                  <a:lnTo>
                    <a:pt x="5" y="49"/>
                  </a:lnTo>
                  <a:lnTo>
                    <a:pt x="3" y="47"/>
                  </a:lnTo>
                  <a:lnTo>
                    <a:pt x="0" y="46"/>
                  </a:lnTo>
                  <a:lnTo>
                    <a:pt x="0" y="44"/>
                  </a:lnTo>
                  <a:lnTo>
                    <a:pt x="0" y="40"/>
                  </a:lnTo>
                  <a:lnTo>
                    <a:pt x="2" y="40"/>
                  </a:lnTo>
                  <a:lnTo>
                    <a:pt x="3" y="40"/>
                  </a:lnTo>
                  <a:lnTo>
                    <a:pt x="5" y="40"/>
                  </a:lnTo>
                  <a:lnTo>
                    <a:pt x="7" y="40"/>
                  </a:lnTo>
                  <a:lnTo>
                    <a:pt x="9" y="42"/>
                  </a:lnTo>
                  <a:lnTo>
                    <a:pt x="10" y="40"/>
                  </a:lnTo>
                  <a:lnTo>
                    <a:pt x="12" y="40"/>
                  </a:lnTo>
                  <a:lnTo>
                    <a:pt x="12" y="39"/>
                  </a:lnTo>
                  <a:lnTo>
                    <a:pt x="10" y="35"/>
                  </a:lnTo>
                  <a:lnTo>
                    <a:pt x="14" y="34"/>
                  </a:lnTo>
                  <a:lnTo>
                    <a:pt x="14" y="35"/>
                  </a:lnTo>
                  <a:lnTo>
                    <a:pt x="15" y="34"/>
                  </a:lnTo>
                  <a:lnTo>
                    <a:pt x="19" y="32"/>
                  </a:lnTo>
                  <a:lnTo>
                    <a:pt x="20" y="34"/>
                  </a:lnTo>
                  <a:lnTo>
                    <a:pt x="20" y="32"/>
                  </a:lnTo>
                  <a:lnTo>
                    <a:pt x="22" y="30"/>
                  </a:lnTo>
                  <a:lnTo>
                    <a:pt x="24" y="29"/>
                  </a:lnTo>
                  <a:lnTo>
                    <a:pt x="22" y="29"/>
                  </a:lnTo>
                  <a:lnTo>
                    <a:pt x="22" y="27"/>
                  </a:lnTo>
                  <a:lnTo>
                    <a:pt x="22" y="25"/>
                  </a:lnTo>
                  <a:lnTo>
                    <a:pt x="24" y="23"/>
                  </a:lnTo>
                  <a:lnTo>
                    <a:pt x="26" y="22"/>
                  </a:lnTo>
                  <a:lnTo>
                    <a:pt x="26" y="20"/>
                  </a:lnTo>
                  <a:lnTo>
                    <a:pt x="29" y="20"/>
                  </a:lnTo>
                  <a:lnTo>
                    <a:pt x="31" y="17"/>
                  </a:lnTo>
                  <a:lnTo>
                    <a:pt x="29" y="15"/>
                  </a:lnTo>
                  <a:lnTo>
                    <a:pt x="31" y="15"/>
                  </a:lnTo>
                  <a:lnTo>
                    <a:pt x="31" y="12"/>
                  </a:lnTo>
                  <a:lnTo>
                    <a:pt x="27" y="10"/>
                  </a:lnTo>
                  <a:lnTo>
                    <a:pt x="26" y="8"/>
                  </a:lnTo>
                  <a:lnTo>
                    <a:pt x="24" y="6"/>
                  </a:lnTo>
                  <a:lnTo>
                    <a:pt x="26" y="6"/>
                  </a:lnTo>
                  <a:lnTo>
                    <a:pt x="27" y="5"/>
                  </a:lnTo>
                  <a:lnTo>
                    <a:pt x="29" y="5"/>
                  </a:lnTo>
                  <a:lnTo>
                    <a:pt x="31" y="3"/>
                  </a:lnTo>
                  <a:lnTo>
                    <a:pt x="32" y="3"/>
                  </a:lnTo>
                  <a:lnTo>
                    <a:pt x="34" y="1"/>
                  </a:lnTo>
                  <a:lnTo>
                    <a:pt x="34" y="0"/>
                  </a:lnTo>
                  <a:lnTo>
                    <a:pt x="36" y="0"/>
                  </a:lnTo>
                  <a:lnTo>
                    <a:pt x="36" y="1"/>
                  </a:lnTo>
                  <a:lnTo>
                    <a:pt x="37" y="1"/>
                  </a:lnTo>
                  <a:lnTo>
                    <a:pt x="39" y="3"/>
                  </a:lnTo>
                  <a:lnTo>
                    <a:pt x="39" y="5"/>
                  </a:lnTo>
                  <a:lnTo>
                    <a:pt x="37" y="5"/>
                  </a:lnTo>
                  <a:lnTo>
                    <a:pt x="37" y="6"/>
                  </a:lnTo>
                  <a:lnTo>
                    <a:pt x="39" y="6"/>
                  </a:lnTo>
                  <a:lnTo>
                    <a:pt x="39" y="8"/>
                  </a:lnTo>
                  <a:lnTo>
                    <a:pt x="43" y="8"/>
                  </a:lnTo>
                  <a:lnTo>
                    <a:pt x="44" y="10"/>
                  </a:lnTo>
                  <a:lnTo>
                    <a:pt x="46" y="8"/>
                  </a:lnTo>
                  <a:lnTo>
                    <a:pt x="49" y="10"/>
                  </a:lnTo>
                  <a:lnTo>
                    <a:pt x="49" y="8"/>
                  </a:lnTo>
                  <a:lnTo>
                    <a:pt x="51" y="8"/>
                  </a:lnTo>
                  <a:lnTo>
                    <a:pt x="53" y="8"/>
                  </a:lnTo>
                  <a:lnTo>
                    <a:pt x="53" y="12"/>
                  </a:lnTo>
                  <a:lnTo>
                    <a:pt x="54" y="12"/>
                  </a:lnTo>
                  <a:lnTo>
                    <a:pt x="54" y="15"/>
                  </a:lnTo>
                  <a:lnTo>
                    <a:pt x="56" y="15"/>
                  </a:lnTo>
                  <a:lnTo>
                    <a:pt x="56" y="17"/>
                  </a:lnTo>
                  <a:lnTo>
                    <a:pt x="56" y="15"/>
                  </a:lnTo>
                  <a:lnTo>
                    <a:pt x="60" y="15"/>
                  </a:lnTo>
                  <a:lnTo>
                    <a:pt x="60" y="17"/>
                  </a:lnTo>
                  <a:lnTo>
                    <a:pt x="60" y="20"/>
                  </a:lnTo>
                  <a:lnTo>
                    <a:pt x="61" y="22"/>
                  </a:lnTo>
                  <a:lnTo>
                    <a:pt x="61" y="23"/>
                  </a:lnTo>
                  <a:lnTo>
                    <a:pt x="65" y="22"/>
                  </a:lnTo>
                  <a:lnTo>
                    <a:pt x="66" y="23"/>
                  </a:lnTo>
                  <a:lnTo>
                    <a:pt x="68" y="23"/>
                  </a:lnTo>
                  <a:lnTo>
                    <a:pt x="70" y="23"/>
                  </a:lnTo>
                  <a:lnTo>
                    <a:pt x="71" y="25"/>
                  </a:lnTo>
                  <a:lnTo>
                    <a:pt x="70" y="27"/>
                  </a:lnTo>
                  <a:lnTo>
                    <a:pt x="71" y="29"/>
                  </a:lnTo>
                  <a:lnTo>
                    <a:pt x="70" y="29"/>
                  </a:lnTo>
                  <a:lnTo>
                    <a:pt x="71" y="30"/>
                  </a:lnTo>
                  <a:lnTo>
                    <a:pt x="70" y="32"/>
                  </a:lnTo>
                  <a:lnTo>
                    <a:pt x="73" y="32"/>
                  </a:lnTo>
                  <a:lnTo>
                    <a:pt x="75" y="32"/>
                  </a:lnTo>
                  <a:lnTo>
                    <a:pt x="77" y="32"/>
                  </a:lnTo>
                  <a:lnTo>
                    <a:pt x="78" y="32"/>
                  </a:lnTo>
                  <a:lnTo>
                    <a:pt x="80" y="32"/>
                  </a:lnTo>
                  <a:lnTo>
                    <a:pt x="80" y="34"/>
                  </a:lnTo>
                  <a:lnTo>
                    <a:pt x="83" y="34"/>
                  </a:lnTo>
                  <a:lnTo>
                    <a:pt x="85" y="35"/>
                  </a:lnTo>
                  <a:lnTo>
                    <a:pt x="85" y="34"/>
                  </a:lnTo>
                  <a:lnTo>
                    <a:pt x="87" y="34"/>
                  </a:lnTo>
                  <a:lnTo>
                    <a:pt x="88" y="32"/>
                  </a:lnTo>
                  <a:lnTo>
                    <a:pt x="90" y="35"/>
                  </a:lnTo>
                  <a:lnTo>
                    <a:pt x="92" y="35"/>
                  </a:lnTo>
                  <a:lnTo>
                    <a:pt x="90" y="37"/>
                  </a:lnTo>
                  <a:lnTo>
                    <a:pt x="88" y="39"/>
                  </a:lnTo>
                  <a:lnTo>
                    <a:pt x="90" y="42"/>
                  </a:lnTo>
                  <a:lnTo>
                    <a:pt x="88" y="44"/>
                  </a:lnTo>
                  <a:lnTo>
                    <a:pt x="88" y="46"/>
                  </a:lnTo>
                  <a:lnTo>
                    <a:pt x="87" y="49"/>
                  </a:lnTo>
                  <a:lnTo>
                    <a:pt x="85" y="51"/>
                  </a:lnTo>
                  <a:lnTo>
                    <a:pt x="87" y="52"/>
                  </a:lnTo>
                  <a:lnTo>
                    <a:pt x="87" y="54"/>
                  </a:lnTo>
                  <a:lnTo>
                    <a:pt x="87" y="56"/>
                  </a:lnTo>
                  <a:lnTo>
                    <a:pt x="85" y="56"/>
                  </a:lnTo>
                  <a:lnTo>
                    <a:pt x="83" y="57"/>
                  </a:lnTo>
                  <a:lnTo>
                    <a:pt x="82" y="57"/>
                  </a:lnTo>
                  <a:lnTo>
                    <a:pt x="82" y="61"/>
                  </a:lnTo>
                  <a:lnTo>
                    <a:pt x="83" y="61"/>
                  </a:lnTo>
                  <a:lnTo>
                    <a:pt x="83" y="63"/>
                  </a:lnTo>
                  <a:lnTo>
                    <a:pt x="85" y="6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17" name="Freeform 47">
              <a:extLst>
                <a:ext uri="{FF2B5EF4-FFF2-40B4-BE49-F238E27FC236}">
                  <a16:creationId xmlns:a16="http://schemas.microsoft.com/office/drawing/2014/main" id="{4D23996D-1C61-4E69-8585-072363C18E7B}"/>
                </a:ext>
              </a:extLst>
            </p:cNvPr>
            <p:cNvSpPr>
              <a:spLocks noEditPoints="1"/>
            </p:cNvSpPr>
            <p:nvPr/>
          </p:nvSpPr>
          <p:spPr bwMode="gray">
            <a:xfrm>
              <a:off x="9655264" y="4982605"/>
              <a:ext cx="699207" cy="782163"/>
            </a:xfrm>
            <a:custGeom>
              <a:avLst/>
              <a:gdLst>
                <a:gd name="T0" fmla="*/ 78 w 236"/>
                <a:gd name="T1" fmla="*/ 14 h 264"/>
                <a:gd name="T2" fmla="*/ 93 w 236"/>
                <a:gd name="T3" fmla="*/ 26 h 264"/>
                <a:gd name="T4" fmla="*/ 98 w 236"/>
                <a:gd name="T5" fmla="*/ 38 h 264"/>
                <a:gd name="T6" fmla="*/ 108 w 236"/>
                <a:gd name="T7" fmla="*/ 51 h 264"/>
                <a:gd name="T8" fmla="*/ 125 w 236"/>
                <a:gd name="T9" fmla="*/ 58 h 264"/>
                <a:gd name="T10" fmla="*/ 136 w 236"/>
                <a:gd name="T11" fmla="*/ 68 h 264"/>
                <a:gd name="T12" fmla="*/ 141 w 236"/>
                <a:gd name="T13" fmla="*/ 80 h 264"/>
                <a:gd name="T14" fmla="*/ 142 w 236"/>
                <a:gd name="T15" fmla="*/ 87 h 264"/>
                <a:gd name="T16" fmla="*/ 159 w 236"/>
                <a:gd name="T17" fmla="*/ 94 h 264"/>
                <a:gd name="T18" fmla="*/ 176 w 236"/>
                <a:gd name="T19" fmla="*/ 104 h 264"/>
                <a:gd name="T20" fmla="*/ 187 w 236"/>
                <a:gd name="T21" fmla="*/ 84 h 264"/>
                <a:gd name="T22" fmla="*/ 204 w 236"/>
                <a:gd name="T23" fmla="*/ 96 h 264"/>
                <a:gd name="T24" fmla="*/ 195 w 236"/>
                <a:gd name="T25" fmla="*/ 104 h 264"/>
                <a:gd name="T26" fmla="*/ 204 w 236"/>
                <a:gd name="T27" fmla="*/ 121 h 264"/>
                <a:gd name="T28" fmla="*/ 195 w 236"/>
                <a:gd name="T29" fmla="*/ 140 h 264"/>
                <a:gd name="T30" fmla="*/ 204 w 236"/>
                <a:gd name="T31" fmla="*/ 160 h 264"/>
                <a:gd name="T32" fmla="*/ 216 w 236"/>
                <a:gd name="T33" fmla="*/ 174 h 264"/>
                <a:gd name="T34" fmla="*/ 234 w 236"/>
                <a:gd name="T35" fmla="*/ 184 h 264"/>
                <a:gd name="T36" fmla="*/ 229 w 236"/>
                <a:gd name="T37" fmla="*/ 199 h 264"/>
                <a:gd name="T38" fmla="*/ 217 w 236"/>
                <a:gd name="T39" fmla="*/ 210 h 264"/>
                <a:gd name="T40" fmla="*/ 214 w 236"/>
                <a:gd name="T41" fmla="*/ 227 h 264"/>
                <a:gd name="T42" fmla="*/ 217 w 236"/>
                <a:gd name="T43" fmla="*/ 245 h 264"/>
                <a:gd name="T44" fmla="*/ 204 w 236"/>
                <a:gd name="T45" fmla="*/ 252 h 264"/>
                <a:gd name="T46" fmla="*/ 188 w 236"/>
                <a:gd name="T47" fmla="*/ 257 h 264"/>
                <a:gd name="T48" fmla="*/ 171 w 236"/>
                <a:gd name="T49" fmla="*/ 259 h 264"/>
                <a:gd name="T50" fmla="*/ 176 w 236"/>
                <a:gd name="T51" fmla="*/ 242 h 264"/>
                <a:gd name="T52" fmla="*/ 168 w 236"/>
                <a:gd name="T53" fmla="*/ 232 h 264"/>
                <a:gd name="T54" fmla="*/ 159 w 236"/>
                <a:gd name="T55" fmla="*/ 223 h 264"/>
                <a:gd name="T56" fmla="*/ 144 w 236"/>
                <a:gd name="T57" fmla="*/ 215 h 264"/>
                <a:gd name="T58" fmla="*/ 131 w 236"/>
                <a:gd name="T59" fmla="*/ 206 h 264"/>
                <a:gd name="T60" fmla="*/ 122 w 236"/>
                <a:gd name="T61" fmla="*/ 199 h 264"/>
                <a:gd name="T62" fmla="*/ 117 w 236"/>
                <a:gd name="T63" fmla="*/ 213 h 264"/>
                <a:gd name="T64" fmla="*/ 108 w 236"/>
                <a:gd name="T65" fmla="*/ 230 h 264"/>
                <a:gd name="T66" fmla="*/ 91 w 236"/>
                <a:gd name="T67" fmla="*/ 223 h 264"/>
                <a:gd name="T68" fmla="*/ 74 w 236"/>
                <a:gd name="T69" fmla="*/ 218 h 264"/>
                <a:gd name="T70" fmla="*/ 57 w 236"/>
                <a:gd name="T71" fmla="*/ 210 h 264"/>
                <a:gd name="T72" fmla="*/ 46 w 236"/>
                <a:gd name="T73" fmla="*/ 198 h 264"/>
                <a:gd name="T74" fmla="*/ 44 w 236"/>
                <a:gd name="T75" fmla="*/ 186 h 264"/>
                <a:gd name="T76" fmla="*/ 52 w 236"/>
                <a:gd name="T77" fmla="*/ 176 h 264"/>
                <a:gd name="T78" fmla="*/ 35 w 236"/>
                <a:gd name="T79" fmla="*/ 159 h 264"/>
                <a:gd name="T80" fmla="*/ 54 w 236"/>
                <a:gd name="T81" fmla="*/ 155 h 264"/>
                <a:gd name="T82" fmla="*/ 42 w 236"/>
                <a:gd name="T83" fmla="*/ 145 h 264"/>
                <a:gd name="T84" fmla="*/ 27 w 236"/>
                <a:gd name="T85" fmla="*/ 135 h 264"/>
                <a:gd name="T86" fmla="*/ 30 w 236"/>
                <a:gd name="T87" fmla="*/ 116 h 264"/>
                <a:gd name="T88" fmla="*/ 35 w 236"/>
                <a:gd name="T89" fmla="*/ 97 h 264"/>
                <a:gd name="T90" fmla="*/ 17 w 236"/>
                <a:gd name="T91" fmla="*/ 97 h 264"/>
                <a:gd name="T92" fmla="*/ 20 w 236"/>
                <a:gd name="T93" fmla="*/ 89 h 264"/>
                <a:gd name="T94" fmla="*/ 25 w 236"/>
                <a:gd name="T95" fmla="*/ 75 h 264"/>
                <a:gd name="T96" fmla="*/ 27 w 236"/>
                <a:gd name="T97" fmla="*/ 72 h 264"/>
                <a:gd name="T98" fmla="*/ 10 w 236"/>
                <a:gd name="T99" fmla="*/ 62 h 264"/>
                <a:gd name="T100" fmla="*/ 6 w 236"/>
                <a:gd name="T101" fmla="*/ 53 h 264"/>
                <a:gd name="T102" fmla="*/ 5 w 236"/>
                <a:gd name="T103" fmla="*/ 41 h 264"/>
                <a:gd name="T104" fmla="*/ 5 w 236"/>
                <a:gd name="T105" fmla="*/ 36 h 264"/>
                <a:gd name="T106" fmla="*/ 5 w 236"/>
                <a:gd name="T107" fmla="*/ 26 h 264"/>
                <a:gd name="T108" fmla="*/ 15 w 236"/>
                <a:gd name="T109" fmla="*/ 19 h 264"/>
                <a:gd name="T110" fmla="*/ 29 w 236"/>
                <a:gd name="T111" fmla="*/ 7 h 264"/>
                <a:gd name="T112" fmla="*/ 46 w 236"/>
                <a:gd name="T113" fmla="*/ 4 h 264"/>
                <a:gd name="T114" fmla="*/ 64 w 236"/>
                <a:gd name="T115" fmla="*/ 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6" h="264">
                  <a:moveTo>
                    <a:pt x="66" y="2"/>
                  </a:moveTo>
                  <a:lnTo>
                    <a:pt x="68" y="4"/>
                  </a:lnTo>
                  <a:lnTo>
                    <a:pt x="66" y="4"/>
                  </a:lnTo>
                  <a:lnTo>
                    <a:pt x="66" y="5"/>
                  </a:lnTo>
                  <a:lnTo>
                    <a:pt x="68" y="5"/>
                  </a:lnTo>
                  <a:lnTo>
                    <a:pt x="69" y="5"/>
                  </a:lnTo>
                  <a:lnTo>
                    <a:pt x="71" y="7"/>
                  </a:lnTo>
                  <a:lnTo>
                    <a:pt x="71" y="11"/>
                  </a:lnTo>
                  <a:lnTo>
                    <a:pt x="74" y="12"/>
                  </a:lnTo>
                  <a:lnTo>
                    <a:pt x="76" y="12"/>
                  </a:lnTo>
                  <a:lnTo>
                    <a:pt x="78" y="14"/>
                  </a:lnTo>
                  <a:lnTo>
                    <a:pt x="80" y="16"/>
                  </a:lnTo>
                  <a:lnTo>
                    <a:pt x="81" y="17"/>
                  </a:lnTo>
                  <a:lnTo>
                    <a:pt x="83" y="16"/>
                  </a:lnTo>
                  <a:lnTo>
                    <a:pt x="85" y="19"/>
                  </a:lnTo>
                  <a:lnTo>
                    <a:pt x="86" y="19"/>
                  </a:lnTo>
                  <a:lnTo>
                    <a:pt x="88" y="21"/>
                  </a:lnTo>
                  <a:lnTo>
                    <a:pt x="88" y="22"/>
                  </a:lnTo>
                  <a:lnTo>
                    <a:pt x="90" y="22"/>
                  </a:lnTo>
                  <a:lnTo>
                    <a:pt x="90" y="26"/>
                  </a:lnTo>
                  <a:lnTo>
                    <a:pt x="91" y="26"/>
                  </a:lnTo>
                  <a:lnTo>
                    <a:pt x="93" y="26"/>
                  </a:lnTo>
                  <a:lnTo>
                    <a:pt x="95" y="26"/>
                  </a:lnTo>
                  <a:lnTo>
                    <a:pt x="95" y="22"/>
                  </a:lnTo>
                  <a:lnTo>
                    <a:pt x="97" y="22"/>
                  </a:lnTo>
                  <a:lnTo>
                    <a:pt x="97" y="26"/>
                  </a:lnTo>
                  <a:lnTo>
                    <a:pt x="97" y="29"/>
                  </a:lnTo>
                  <a:lnTo>
                    <a:pt x="97" y="31"/>
                  </a:lnTo>
                  <a:lnTo>
                    <a:pt x="97" y="33"/>
                  </a:lnTo>
                  <a:lnTo>
                    <a:pt x="95" y="34"/>
                  </a:lnTo>
                  <a:lnTo>
                    <a:pt x="97" y="38"/>
                  </a:lnTo>
                  <a:lnTo>
                    <a:pt x="97" y="36"/>
                  </a:lnTo>
                  <a:lnTo>
                    <a:pt x="98" y="38"/>
                  </a:lnTo>
                  <a:lnTo>
                    <a:pt x="100" y="39"/>
                  </a:lnTo>
                  <a:lnTo>
                    <a:pt x="98" y="41"/>
                  </a:lnTo>
                  <a:lnTo>
                    <a:pt x="97" y="43"/>
                  </a:lnTo>
                  <a:lnTo>
                    <a:pt x="97" y="45"/>
                  </a:lnTo>
                  <a:lnTo>
                    <a:pt x="100" y="45"/>
                  </a:lnTo>
                  <a:lnTo>
                    <a:pt x="102" y="45"/>
                  </a:lnTo>
                  <a:lnTo>
                    <a:pt x="103" y="46"/>
                  </a:lnTo>
                  <a:lnTo>
                    <a:pt x="102" y="46"/>
                  </a:lnTo>
                  <a:lnTo>
                    <a:pt x="105" y="48"/>
                  </a:lnTo>
                  <a:lnTo>
                    <a:pt x="107" y="50"/>
                  </a:lnTo>
                  <a:lnTo>
                    <a:pt x="108" y="51"/>
                  </a:lnTo>
                  <a:lnTo>
                    <a:pt x="110" y="51"/>
                  </a:lnTo>
                  <a:lnTo>
                    <a:pt x="110" y="53"/>
                  </a:lnTo>
                  <a:lnTo>
                    <a:pt x="114" y="53"/>
                  </a:lnTo>
                  <a:lnTo>
                    <a:pt x="115" y="55"/>
                  </a:lnTo>
                  <a:lnTo>
                    <a:pt x="117" y="53"/>
                  </a:lnTo>
                  <a:lnTo>
                    <a:pt x="119" y="51"/>
                  </a:lnTo>
                  <a:lnTo>
                    <a:pt x="120" y="55"/>
                  </a:lnTo>
                  <a:lnTo>
                    <a:pt x="120" y="56"/>
                  </a:lnTo>
                  <a:lnTo>
                    <a:pt x="122" y="56"/>
                  </a:lnTo>
                  <a:lnTo>
                    <a:pt x="124" y="56"/>
                  </a:lnTo>
                  <a:lnTo>
                    <a:pt x="125" y="58"/>
                  </a:lnTo>
                  <a:lnTo>
                    <a:pt x="125" y="56"/>
                  </a:lnTo>
                  <a:lnTo>
                    <a:pt x="127" y="56"/>
                  </a:lnTo>
                  <a:lnTo>
                    <a:pt x="129" y="58"/>
                  </a:lnTo>
                  <a:lnTo>
                    <a:pt x="131" y="56"/>
                  </a:lnTo>
                  <a:lnTo>
                    <a:pt x="132" y="58"/>
                  </a:lnTo>
                  <a:lnTo>
                    <a:pt x="136" y="58"/>
                  </a:lnTo>
                  <a:lnTo>
                    <a:pt x="137" y="60"/>
                  </a:lnTo>
                  <a:lnTo>
                    <a:pt x="137" y="62"/>
                  </a:lnTo>
                  <a:lnTo>
                    <a:pt x="136" y="63"/>
                  </a:lnTo>
                  <a:lnTo>
                    <a:pt x="136" y="65"/>
                  </a:lnTo>
                  <a:lnTo>
                    <a:pt x="136" y="68"/>
                  </a:lnTo>
                  <a:lnTo>
                    <a:pt x="136" y="70"/>
                  </a:lnTo>
                  <a:lnTo>
                    <a:pt x="134" y="70"/>
                  </a:lnTo>
                  <a:lnTo>
                    <a:pt x="131" y="72"/>
                  </a:lnTo>
                  <a:lnTo>
                    <a:pt x="132" y="73"/>
                  </a:lnTo>
                  <a:lnTo>
                    <a:pt x="134" y="73"/>
                  </a:lnTo>
                  <a:lnTo>
                    <a:pt x="136" y="75"/>
                  </a:lnTo>
                  <a:lnTo>
                    <a:pt x="137" y="75"/>
                  </a:lnTo>
                  <a:lnTo>
                    <a:pt x="139" y="77"/>
                  </a:lnTo>
                  <a:lnTo>
                    <a:pt x="141" y="77"/>
                  </a:lnTo>
                  <a:lnTo>
                    <a:pt x="142" y="79"/>
                  </a:lnTo>
                  <a:lnTo>
                    <a:pt x="141" y="80"/>
                  </a:lnTo>
                  <a:lnTo>
                    <a:pt x="139" y="82"/>
                  </a:lnTo>
                  <a:lnTo>
                    <a:pt x="137" y="82"/>
                  </a:lnTo>
                  <a:lnTo>
                    <a:pt x="136" y="82"/>
                  </a:lnTo>
                  <a:lnTo>
                    <a:pt x="134" y="82"/>
                  </a:lnTo>
                  <a:lnTo>
                    <a:pt x="132" y="85"/>
                  </a:lnTo>
                  <a:lnTo>
                    <a:pt x="134" y="87"/>
                  </a:lnTo>
                  <a:lnTo>
                    <a:pt x="136" y="89"/>
                  </a:lnTo>
                  <a:lnTo>
                    <a:pt x="137" y="89"/>
                  </a:lnTo>
                  <a:lnTo>
                    <a:pt x="139" y="87"/>
                  </a:lnTo>
                  <a:lnTo>
                    <a:pt x="141" y="87"/>
                  </a:lnTo>
                  <a:lnTo>
                    <a:pt x="142" y="87"/>
                  </a:lnTo>
                  <a:lnTo>
                    <a:pt x="146" y="89"/>
                  </a:lnTo>
                  <a:lnTo>
                    <a:pt x="148" y="90"/>
                  </a:lnTo>
                  <a:lnTo>
                    <a:pt x="148" y="92"/>
                  </a:lnTo>
                  <a:lnTo>
                    <a:pt x="148" y="94"/>
                  </a:lnTo>
                  <a:lnTo>
                    <a:pt x="149" y="94"/>
                  </a:lnTo>
                  <a:lnTo>
                    <a:pt x="151" y="94"/>
                  </a:lnTo>
                  <a:lnTo>
                    <a:pt x="153" y="94"/>
                  </a:lnTo>
                  <a:lnTo>
                    <a:pt x="154" y="94"/>
                  </a:lnTo>
                  <a:lnTo>
                    <a:pt x="156" y="94"/>
                  </a:lnTo>
                  <a:lnTo>
                    <a:pt x="158" y="94"/>
                  </a:lnTo>
                  <a:lnTo>
                    <a:pt x="159" y="94"/>
                  </a:lnTo>
                  <a:lnTo>
                    <a:pt x="161" y="94"/>
                  </a:lnTo>
                  <a:lnTo>
                    <a:pt x="163" y="94"/>
                  </a:lnTo>
                  <a:lnTo>
                    <a:pt x="165" y="94"/>
                  </a:lnTo>
                  <a:lnTo>
                    <a:pt x="166" y="94"/>
                  </a:lnTo>
                  <a:lnTo>
                    <a:pt x="168" y="96"/>
                  </a:lnTo>
                  <a:lnTo>
                    <a:pt x="170" y="96"/>
                  </a:lnTo>
                  <a:lnTo>
                    <a:pt x="170" y="97"/>
                  </a:lnTo>
                  <a:lnTo>
                    <a:pt x="170" y="99"/>
                  </a:lnTo>
                  <a:lnTo>
                    <a:pt x="171" y="101"/>
                  </a:lnTo>
                  <a:lnTo>
                    <a:pt x="173" y="102"/>
                  </a:lnTo>
                  <a:lnTo>
                    <a:pt x="176" y="104"/>
                  </a:lnTo>
                  <a:lnTo>
                    <a:pt x="178" y="102"/>
                  </a:lnTo>
                  <a:lnTo>
                    <a:pt x="178" y="101"/>
                  </a:lnTo>
                  <a:lnTo>
                    <a:pt x="178" y="99"/>
                  </a:lnTo>
                  <a:lnTo>
                    <a:pt x="180" y="97"/>
                  </a:lnTo>
                  <a:lnTo>
                    <a:pt x="180" y="94"/>
                  </a:lnTo>
                  <a:lnTo>
                    <a:pt x="182" y="92"/>
                  </a:lnTo>
                  <a:lnTo>
                    <a:pt x="182" y="90"/>
                  </a:lnTo>
                  <a:lnTo>
                    <a:pt x="183" y="87"/>
                  </a:lnTo>
                  <a:lnTo>
                    <a:pt x="185" y="87"/>
                  </a:lnTo>
                  <a:lnTo>
                    <a:pt x="187" y="85"/>
                  </a:lnTo>
                  <a:lnTo>
                    <a:pt x="187" y="84"/>
                  </a:lnTo>
                  <a:lnTo>
                    <a:pt x="190" y="84"/>
                  </a:lnTo>
                  <a:lnTo>
                    <a:pt x="192" y="85"/>
                  </a:lnTo>
                  <a:lnTo>
                    <a:pt x="193" y="87"/>
                  </a:lnTo>
                  <a:lnTo>
                    <a:pt x="195" y="87"/>
                  </a:lnTo>
                  <a:lnTo>
                    <a:pt x="195" y="89"/>
                  </a:lnTo>
                  <a:lnTo>
                    <a:pt x="199" y="89"/>
                  </a:lnTo>
                  <a:lnTo>
                    <a:pt x="200" y="89"/>
                  </a:lnTo>
                  <a:lnTo>
                    <a:pt x="202" y="89"/>
                  </a:lnTo>
                  <a:lnTo>
                    <a:pt x="205" y="92"/>
                  </a:lnTo>
                  <a:lnTo>
                    <a:pt x="205" y="94"/>
                  </a:lnTo>
                  <a:lnTo>
                    <a:pt x="204" y="96"/>
                  </a:lnTo>
                  <a:lnTo>
                    <a:pt x="202" y="96"/>
                  </a:lnTo>
                  <a:lnTo>
                    <a:pt x="200" y="94"/>
                  </a:lnTo>
                  <a:lnTo>
                    <a:pt x="199" y="94"/>
                  </a:lnTo>
                  <a:lnTo>
                    <a:pt x="197" y="94"/>
                  </a:lnTo>
                  <a:lnTo>
                    <a:pt x="197" y="96"/>
                  </a:lnTo>
                  <a:lnTo>
                    <a:pt x="197" y="97"/>
                  </a:lnTo>
                  <a:lnTo>
                    <a:pt x="197" y="99"/>
                  </a:lnTo>
                  <a:lnTo>
                    <a:pt x="195" y="101"/>
                  </a:lnTo>
                  <a:lnTo>
                    <a:pt x="192" y="101"/>
                  </a:lnTo>
                  <a:lnTo>
                    <a:pt x="192" y="102"/>
                  </a:lnTo>
                  <a:lnTo>
                    <a:pt x="195" y="104"/>
                  </a:lnTo>
                  <a:lnTo>
                    <a:pt x="195" y="107"/>
                  </a:lnTo>
                  <a:lnTo>
                    <a:pt x="197" y="109"/>
                  </a:lnTo>
                  <a:lnTo>
                    <a:pt x="199" y="111"/>
                  </a:lnTo>
                  <a:lnTo>
                    <a:pt x="202" y="113"/>
                  </a:lnTo>
                  <a:lnTo>
                    <a:pt x="204" y="111"/>
                  </a:lnTo>
                  <a:lnTo>
                    <a:pt x="205" y="113"/>
                  </a:lnTo>
                  <a:lnTo>
                    <a:pt x="205" y="114"/>
                  </a:lnTo>
                  <a:lnTo>
                    <a:pt x="205" y="116"/>
                  </a:lnTo>
                  <a:lnTo>
                    <a:pt x="204" y="118"/>
                  </a:lnTo>
                  <a:lnTo>
                    <a:pt x="204" y="119"/>
                  </a:lnTo>
                  <a:lnTo>
                    <a:pt x="204" y="121"/>
                  </a:lnTo>
                  <a:lnTo>
                    <a:pt x="204" y="124"/>
                  </a:lnTo>
                  <a:lnTo>
                    <a:pt x="205" y="128"/>
                  </a:lnTo>
                  <a:lnTo>
                    <a:pt x="204" y="130"/>
                  </a:lnTo>
                  <a:lnTo>
                    <a:pt x="200" y="130"/>
                  </a:lnTo>
                  <a:lnTo>
                    <a:pt x="200" y="131"/>
                  </a:lnTo>
                  <a:lnTo>
                    <a:pt x="197" y="133"/>
                  </a:lnTo>
                  <a:lnTo>
                    <a:pt x="195" y="133"/>
                  </a:lnTo>
                  <a:lnTo>
                    <a:pt x="195" y="135"/>
                  </a:lnTo>
                  <a:lnTo>
                    <a:pt x="195" y="136"/>
                  </a:lnTo>
                  <a:lnTo>
                    <a:pt x="195" y="138"/>
                  </a:lnTo>
                  <a:lnTo>
                    <a:pt x="195" y="140"/>
                  </a:lnTo>
                  <a:lnTo>
                    <a:pt x="195" y="143"/>
                  </a:lnTo>
                  <a:lnTo>
                    <a:pt x="195" y="145"/>
                  </a:lnTo>
                  <a:lnTo>
                    <a:pt x="195" y="148"/>
                  </a:lnTo>
                  <a:lnTo>
                    <a:pt x="197" y="150"/>
                  </a:lnTo>
                  <a:lnTo>
                    <a:pt x="197" y="152"/>
                  </a:lnTo>
                  <a:lnTo>
                    <a:pt x="197" y="153"/>
                  </a:lnTo>
                  <a:lnTo>
                    <a:pt x="199" y="155"/>
                  </a:lnTo>
                  <a:lnTo>
                    <a:pt x="200" y="157"/>
                  </a:lnTo>
                  <a:lnTo>
                    <a:pt x="202" y="157"/>
                  </a:lnTo>
                  <a:lnTo>
                    <a:pt x="204" y="159"/>
                  </a:lnTo>
                  <a:lnTo>
                    <a:pt x="204" y="160"/>
                  </a:lnTo>
                  <a:lnTo>
                    <a:pt x="204" y="162"/>
                  </a:lnTo>
                  <a:lnTo>
                    <a:pt x="204" y="164"/>
                  </a:lnTo>
                  <a:lnTo>
                    <a:pt x="205" y="165"/>
                  </a:lnTo>
                  <a:lnTo>
                    <a:pt x="205" y="167"/>
                  </a:lnTo>
                  <a:lnTo>
                    <a:pt x="207" y="169"/>
                  </a:lnTo>
                  <a:lnTo>
                    <a:pt x="207" y="170"/>
                  </a:lnTo>
                  <a:lnTo>
                    <a:pt x="210" y="170"/>
                  </a:lnTo>
                  <a:lnTo>
                    <a:pt x="210" y="172"/>
                  </a:lnTo>
                  <a:lnTo>
                    <a:pt x="212" y="172"/>
                  </a:lnTo>
                  <a:lnTo>
                    <a:pt x="214" y="172"/>
                  </a:lnTo>
                  <a:lnTo>
                    <a:pt x="216" y="174"/>
                  </a:lnTo>
                  <a:lnTo>
                    <a:pt x="219" y="174"/>
                  </a:lnTo>
                  <a:lnTo>
                    <a:pt x="221" y="174"/>
                  </a:lnTo>
                  <a:lnTo>
                    <a:pt x="222" y="176"/>
                  </a:lnTo>
                  <a:lnTo>
                    <a:pt x="224" y="177"/>
                  </a:lnTo>
                  <a:lnTo>
                    <a:pt x="226" y="179"/>
                  </a:lnTo>
                  <a:lnTo>
                    <a:pt x="226" y="181"/>
                  </a:lnTo>
                  <a:lnTo>
                    <a:pt x="227" y="181"/>
                  </a:lnTo>
                  <a:lnTo>
                    <a:pt x="227" y="182"/>
                  </a:lnTo>
                  <a:lnTo>
                    <a:pt x="229" y="184"/>
                  </a:lnTo>
                  <a:lnTo>
                    <a:pt x="231" y="184"/>
                  </a:lnTo>
                  <a:lnTo>
                    <a:pt x="234" y="184"/>
                  </a:lnTo>
                  <a:lnTo>
                    <a:pt x="236" y="186"/>
                  </a:lnTo>
                  <a:lnTo>
                    <a:pt x="234" y="187"/>
                  </a:lnTo>
                  <a:lnTo>
                    <a:pt x="236" y="187"/>
                  </a:lnTo>
                  <a:lnTo>
                    <a:pt x="236" y="189"/>
                  </a:lnTo>
                  <a:lnTo>
                    <a:pt x="234" y="191"/>
                  </a:lnTo>
                  <a:lnTo>
                    <a:pt x="234" y="193"/>
                  </a:lnTo>
                  <a:lnTo>
                    <a:pt x="233" y="194"/>
                  </a:lnTo>
                  <a:lnTo>
                    <a:pt x="231" y="196"/>
                  </a:lnTo>
                  <a:lnTo>
                    <a:pt x="231" y="198"/>
                  </a:lnTo>
                  <a:lnTo>
                    <a:pt x="229" y="198"/>
                  </a:lnTo>
                  <a:lnTo>
                    <a:pt x="229" y="199"/>
                  </a:lnTo>
                  <a:lnTo>
                    <a:pt x="229" y="201"/>
                  </a:lnTo>
                  <a:lnTo>
                    <a:pt x="226" y="201"/>
                  </a:lnTo>
                  <a:lnTo>
                    <a:pt x="226" y="204"/>
                  </a:lnTo>
                  <a:lnTo>
                    <a:pt x="227" y="206"/>
                  </a:lnTo>
                  <a:lnTo>
                    <a:pt x="226" y="206"/>
                  </a:lnTo>
                  <a:lnTo>
                    <a:pt x="226" y="210"/>
                  </a:lnTo>
                  <a:lnTo>
                    <a:pt x="224" y="210"/>
                  </a:lnTo>
                  <a:lnTo>
                    <a:pt x="222" y="211"/>
                  </a:lnTo>
                  <a:lnTo>
                    <a:pt x="221" y="210"/>
                  </a:lnTo>
                  <a:lnTo>
                    <a:pt x="219" y="210"/>
                  </a:lnTo>
                  <a:lnTo>
                    <a:pt x="217" y="210"/>
                  </a:lnTo>
                  <a:lnTo>
                    <a:pt x="217" y="211"/>
                  </a:lnTo>
                  <a:lnTo>
                    <a:pt x="216" y="211"/>
                  </a:lnTo>
                  <a:lnTo>
                    <a:pt x="214" y="213"/>
                  </a:lnTo>
                  <a:lnTo>
                    <a:pt x="212" y="215"/>
                  </a:lnTo>
                  <a:lnTo>
                    <a:pt x="210" y="216"/>
                  </a:lnTo>
                  <a:lnTo>
                    <a:pt x="212" y="218"/>
                  </a:lnTo>
                  <a:lnTo>
                    <a:pt x="214" y="220"/>
                  </a:lnTo>
                  <a:lnTo>
                    <a:pt x="216" y="221"/>
                  </a:lnTo>
                  <a:lnTo>
                    <a:pt x="216" y="223"/>
                  </a:lnTo>
                  <a:lnTo>
                    <a:pt x="214" y="225"/>
                  </a:lnTo>
                  <a:lnTo>
                    <a:pt x="214" y="227"/>
                  </a:lnTo>
                  <a:lnTo>
                    <a:pt x="214" y="228"/>
                  </a:lnTo>
                  <a:lnTo>
                    <a:pt x="214" y="232"/>
                  </a:lnTo>
                  <a:lnTo>
                    <a:pt x="214" y="233"/>
                  </a:lnTo>
                  <a:lnTo>
                    <a:pt x="216" y="233"/>
                  </a:lnTo>
                  <a:lnTo>
                    <a:pt x="217" y="235"/>
                  </a:lnTo>
                  <a:lnTo>
                    <a:pt x="221" y="237"/>
                  </a:lnTo>
                  <a:lnTo>
                    <a:pt x="221" y="238"/>
                  </a:lnTo>
                  <a:lnTo>
                    <a:pt x="221" y="240"/>
                  </a:lnTo>
                  <a:lnTo>
                    <a:pt x="221" y="244"/>
                  </a:lnTo>
                  <a:lnTo>
                    <a:pt x="221" y="245"/>
                  </a:lnTo>
                  <a:lnTo>
                    <a:pt x="217" y="245"/>
                  </a:lnTo>
                  <a:lnTo>
                    <a:pt x="219" y="247"/>
                  </a:lnTo>
                  <a:lnTo>
                    <a:pt x="217" y="247"/>
                  </a:lnTo>
                  <a:lnTo>
                    <a:pt x="217" y="250"/>
                  </a:lnTo>
                  <a:lnTo>
                    <a:pt x="216" y="250"/>
                  </a:lnTo>
                  <a:lnTo>
                    <a:pt x="214" y="252"/>
                  </a:lnTo>
                  <a:lnTo>
                    <a:pt x="212" y="252"/>
                  </a:lnTo>
                  <a:lnTo>
                    <a:pt x="209" y="250"/>
                  </a:lnTo>
                  <a:lnTo>
                    <a:pt x="209" y="249"/>
                  </a:lnTo>
                  <a:lnTo>
                    <a:pt x="207" y="250"/>
                  </a:lnTo>
                  <a:lnTo>
                    <a:pt x="205" y="252"/>
                  </a:lnTo>
                  <a:lnTo>
                    <a:pt x="204" y="252"/>
                  </a:lnTo>
                  <a:lnTo>
                    <a:pt x="204" y="254"/>
                  </a:lnTo>
                  <a:lnTo>
                    <a:pt x="202" y="254"/>
                  </a:lnTo>
                  <a:lnTo>
                    <a:pt x="202" y="255"/>
                  </a:lnTo>
                  <a:lnTo>
                    <a:pt x="200" y="254"/>
                  </a:lnTo>
                  <a:lnTo>
                    <a:pt x="199" y="255"/>
                  </a:lnTo>
                  <a:lnTo>
                    <a:pt x="195" y="255"/>
                  </a:lnTo>
                  <a:lnTo>
                    <a:pt x="193" y="255"/>
                  </a:lnTo>
                  <a:lnTo>
                    <a:pt x="192" y="254"/>
                  </a:lnTo>
                  <a:lnTo>
                    <a:pt x="190" y="255"/>
                  </a:lnTo>
                  <a:lnTo>
                    <a:pt x="190" y="257"/>
                  </a:lnTo>
                  <a:lnTo>
                    <a:pt x="188" y="257"/>
                  </a:lnTo>
                  <a:lnTo>
                    <a:pt x="187" y="255"/>
                  </a:lnTo>
                  <a:lnTo>
                    <a:pt x="185" y="259"/>
                  </a:lnTo>
                  <a:lnTo>
                    <a:pt x="183" y="259"/>
                  </a:lnTo>
                  <a:lnTo>
                    <a:pt x="183" y="261"/>
                  </a:lnTo>
                  <a:lnTo>
                    <a:pt x="182" y="261"/>
                  </a:lnTo>
                  <a:lnTo>
                    <a:pt x="180" y="264"/>
                  </a:lnTo>
                  <a:lnTo>
                    <a:pt x="178" y="262"/>
                  </a:lnTo>
                  <a:lnTo>
                    <a:pt x="175" y="262"/>
                  </a:lnTo>
                  <a:lnTo>
                    <a:pt x="173" y="262"/>
                  </a:lnTo>
                  <a:lnTo>
                    <a:pt x="171" y="261"/>
                  </a:lnTo>
                  <a:lnTo>
                    <a:pt x="171" y="259"/>
                  </a:lnTo>
                  <a:lnTo>
                    <a:pt x="170" y="259"/>
                  </a:lnTo>
                  <a:lnTo>
                    <a:pt x="170" y="255"/>
                  </a:lnTo>
                  <a:lnTo>
                    <a:pt x="171" y="255"/>
                  </a:lnTo>
                  <a:lnTo>
                    <a:pt x="173" y="254"/>
                  </a:lnTo>
                  <a:lnTo>
                    <a:pt x="175" y="254"/>
                  </a:lnTo>
                  <a:lnTo>
                    <a:pt x="175" y="252"/>
                  </a:lnTo>
                  <a:lnTo>
                    <a:pt x="175" y="250"/>
                  </a:lnTo>
                  <a:lnTo>
                    <a:pt x="173" y="249"/>
                  </a:lnTo>
                  <a:lnTo>
                    <a:pt x="175" y="247"/>
                  </a:lnTo>
                  <a:lnTo>
                    <a:pt x="176" y="244"/>
                  </a:lnTo>
                  <a:lnTo>
                    <a:pt x="176" y="242"/>
                  </a:lnTo>
                  <a:lnTo>
                    <a:pt x="178" y="240"/>
                  </a:lnTo>
                  <a:lnTo>
                    <a:pt x="176" y="237"/>
                  </a:lnTo>
                  <a:lnTo>
                    <a:pt x="178" y="235"/>
                  </a:lnTo>
                  <a:lnTo>
                    <a:pt x="180" y="233"/>
                  </a:lnTo>
                  <a:lnTo>
                    <a:pt x="178" y="233"/>
                  </a:lnTo>
                  <a:lnTo>
                    <a:pt x="176" y="230"/>
                  </a:lnTo>
                  <a:lnTo>
                    <a:pt x="175" y="232"/>
                  </a:lnTo>
                  <a:lnTo>
                    <a:pt x="173" y="232"/>
                  </a:lnTo>
                  <a:lnTo>
                    <a:pt x="173" y="233"/>
                  </a:lnTo>
                  <a:lnTo>
                    <a:pt x="171" y="232"/>
                  </a:lnTo>
                  <a:lnTo>
                    <a:pt x="168" y="232"/>
                  </a:lnTo>
                  <a:lnTo>
                    <a:pt x="168" y="230"/>
                  </a:lnTo>
                  <a:lnTo>
                    <a:pt x="166" y="230"/>
                  </a:lnTo>
                  <a:lnTo>
                    <a:pt x="165" y="230"/>
                  </a:lnTo>
                  <a:lnTo>
                    <a:pt x="163" y="230"/>
                  </a:lnTo>
                  <a:lnTo>
                    <a:pt x="161" y="230"/>
                  </a:lnTo>
                  <a:lnTo>
                    <a:pt x="158" y="230"/>
                  </a:lnTo>
                  <a:lnTo>
                    <a:pt x="159" y="228"/>
                  </a:lnTo>
                  <a:lnTo>
                    <a:pt x="158" y="227"/>
                  </a:lnTo>
                  <a:lnTo>
                    <a:pt x="159" y="227"/>
                  </a:lnTo>
                  <a:lnTo>
                    <a:pt x="158" y="225"/>
                  </a:lnTo>
                  <a:lnTo>
                    <a:pt x="159" y="223"/>
                  </a:lnTo>
                  <a:lnTo>
                    <a:pt x="158" y="221"/>
                  </a:lnTo>
                  <a:lnTo>
                    <a:pt x="156" y="221"/>
                  </a:lnTo>
                  <a:lnTo>
                    <a:pt x="154" y="221"/>
                  </a:lnTo>
                  <a:lnTo>
                    <a:pt x="153" y="220"/>
                  </a:lnTo>
                  <a:lnTo>
                    <a:pt x="149" y="221"/>
                  </a:lnTo>
                  <a:lnTo>
                    <a:pt x="149" y="220"/>
                  </a:lnTo>
                  <a:lnTo>
                    <a:pt x="148" y="218"/>
                  </a:lnTo>
                  <a:lnTo>
                    <a:pt x="148" y="215"/>
                  </a:lnTo>
                  <a:lnTo>
                    <a:pt x="148" y="213"/>
                  </a:lnTo>
                  <a:lnTo>
                    <a:pt x="144" y="213"/>
                  </a:lnTo>
                  <a:lnTo>
                    <a:pt x="144" y="215"/>
                  </a:lnTo>
                  <a:lnTo>
                    <a:pt x="144" y="213"/>
                  </a:lnTo>
                  <a:lnTo>
                    <a:pt x="142" y="213"/>
                  </a:lnTo>
                  <a:lnTo>
                    <a:pt x="142" y="210"/>
                  </a:lnTo>
                  <a:lnTo>
                    <a:pt x="141" y="210"/>
                  </a:lnTo>
                  <a:lnTo>
                    <a:pt x="141" y="206"/>
                  </a:lnTo>
                  <a:lnTo>
                    <a:pt x="139" y="206"/>
                  </a:lnTo>
                  <a:lnTo>
                    <a:pt x="137" y="206"/>
                  </a:lnTo>
                  <a:lnTo>
                    <a:pt x="137" y="208"/>
                  </a:lnTo>
                  <a:lnTo>
                    <a:pt x="134" y="206"/>
                  </a:lnTo>
                  <a:lnTo>
                    <a:pt x="132" y="208"/>
                  </a:lnTo>
                  <a:lnTo>
                    <a:pt x="131" y="206"/>
                  </a:lnTo>
                  <a:lnTo>
                    <a:pt x="127" y="206"/>
                  </a:lnTo>
                  <a:lnTo>
                    <a:pt x="127" y="204"/>
                  </a:lnTo>
                  <a:lnTo>
                    <a:pt x="125" y="204"/>
                  </a:lnTo>
                  <a:lnTo>
                    <a:pt x="125" y="203"/>
                  </a:lnTo>
                  <a:lnTo>
                    <a:pt x="127" y="203"/>
                  </a:lnTo>
                  <a:lnTo>
                    <a:pt x="127" y="201"/>
                  </a:lnTo>
                  <a:lnTo>
                    <a:pt x="125" y="199"/>
                  </a:lnTo>
                  <a:lnTo>
                    <a:pt x="124" y="199"/>
                  </a:lnTo>
                  <a:lnTo>
                    <a:pt x="124" y="198"/>
                  </a:lnTo>
                  <a:lnTo>
                    <a:pt x="122" y="198"/>
                  </a:lnTo>
                  <a:lnTo>
                    <a:pt x="122" y="199"/>
                  </a:lnTo>
                  <a:lnTo>
                    <a:pt x="120" y="201"/>
                  </a:lnTo>
                  <a:lnTo>
                    <a:pt x="119" y="201"/>
                  </a:lnTo>
                  <a:lnTo>
                    <a:pt x="117" y="203"/>
                  </a:lnTo>
                  <a:lnTo>
                    <a:pt x="115" y="203"/>
                  </a:lnTo>
                  <a:lnTo>
                    <a:pt x="114" y="204"/>
                  </a:lnTo>
                  <a:lnTo>
                    <a:pt x="112" y="204"/>
                  </a:lnTo>
                  <a:lnTo>
                    <a:pt x="114" y="206"/>
                  </a:lnTo>
                  <a:lnTo>
                    <a:pt x="115" y="208"/>
                  </a:lnTo>
                  <a:lnTo>
                    <a:pt x="119" y="210"/>
                  </a:lnTo>
                  <a:lnTo>
                    <a:pt x="119" y="213"/>
                  </a:lnTo>
                  <a:lnTo>
                    <a:pt x="117" y="213"/>
                  </a:lnTo>
                  <a:lnTo>
                    <a:pt x="119" y="215"/>
                  </a:lnTo>
                  <a:lnTo>
                    <a:pt x="117" y="218"/>
                  </a:lnTo>
                  <a:lnTo>
                    <a:pt x="114" y="218"/>
                  </a:lnTo>
                  <a:lnTo>
                    <a:pt x="114" y="220"/>
                  </a:lnTo>
                  <a:lnTo>
                    <a:pt x="112" y="221"/>
                  </a:lnTo>
                  <a:lnTo>
                    <a:pt x="110" y="223"/>
                  </a:lnTo>
                  <a:lnTo>
                    <a:pt x="110" y="225"/>
                  </a:lnTo>
                  <a:lnTo>
                    <a:pt x="110" y="227"/>
                  </a:lnTo>
                  <a:lnTo>
                    <a:pt x="112" y="227"/>
                  </a:lnTo>
                  <a:lnTo>
                    <a:pt x="110" y="228"/>
                  </a:lnTo>
                  <a:lnTo>
                    <a:pt x="108" y="230"/>
                  </a:lnTo>
                  <a:lnTo>
                    <a:pt x="108" y="232"/>
                  </a:lnTo>
                  <a:lnTo>
                    <a:pt x="107" y="230"/>
                  </a:lnTo>
                  <a:lnTo>
                    <a:pt x="103" y="232"/>
                  </a:lnTo>
                  <a:lnTo>
                    <a:pt x="103" y="230"/>
                  </a:lnTo>
                  <a:lnTo>
                    <a:pt x="102" y="227"/>
                  </a:lnTo>
                  <a:lnTo>
                    <a:pt x="100" y="227"/>
                  </a:lnTo>
                  <a:lnTo>
                    <a:pt x="98" y="227"/>
                  </a:lnTo>
                  <a:lnTo>
                    <a:pt x="97" y="225"/>
                  </a:lnTo>
                  <a:lnTo>
                    <a:pt x="95" y="225"/>
                  </a:lnTo>
                  <a:lnTo>
                    <a:pt x="93" y="225"/>
                  </a:lnTo>
                  <a:lnTo>
                    <a:pt x="91" y="223"/>
                  </a:lnTo>
                  <a:lnTo>
                    <a:pt x="90" y="225"/>
                  </a:lnTo>
                  <a:lnTo>
                    <a:pt x="88" y="223"/>
                  </a:lnTo>
                  <a:lnTo>
                    <a:pt x="86" y="221"/>
                  </a:lnTo>
                  <a:lnTo>
                    <a:pt x="85" y="220"/>
                  </a:lnTo>
                  <a:lnTo>
                    <a:pt x="83" y="220"/>
                  </a:lnTo>
                  <a:lnTo>
                    <a:pt x="81" y="218"/>
                  </a:lnTo>
                  <a:lnTo>
                    <a:pt x="81" y="215"/>
                  </a:lnTo>
                  <a:lnTo>
                    <a:pt x="80" y="216"/>
                  </a:lnTo>
                  <a:lnTo>
                    <a:pt x="80" y="218"/>
                  </a:lnTo>
                  <a:lnTo>
                    <a:pt x="76" y="216"/>
                  </a:lnTo>
                  <a:lnTo>
                    <a:pt x="74" y="218"/>
                  </a:lnTo>
                  <a:lnTo>
                    <a:pt x="74" y="216"/>
                  </a:lnTo>
                  <a:lnTo>
                    <a:pt x="71" y="216"/>
                  </a:lnTo>
                  <a:lnTo>
                    <a:pt x="71" y="213"/>
                  </a:lnTo>
                  <a:lnTo>
                    <a:pt x="69" y="213"/>
                  </a:lnTo>
                  <a:lnTo>
                    <a:pt x="68" y="213"/>
                  </a:lnTo>
                  <a:lnTo>
                    <a:pt x="66" y="213"/>
                  </a:lnTo>
                  <a:lnTo>
                    <a:pt x="64" y="213"/>
                  </a:lnTo>
                  <a:lnTo>
                    <a:pt x="64" y="211"/>
                  </a:lnTo>
                  <a:lnTo>
                    <a:pt x="63" y="210"/>
                  </a:lnTo>
                  <a:lnTo>
                    <a:pt x="61" y="210"/>
                  </a:lnTo>
                  <a:lnTo>
                    <a:pt x="57" y="210"/>
                  </a:lnTo>
                  <a:lnTo>
                    <a:pt x="57" y="206"/>
                  </a:lnTo>
                  <a:lnTo>
                    <a:pt x="57" y="204"/>
                  </a:lnTo>
                  <a:lnTo>
                    <a:pt x="56" y="204"/>
                  </a:lnTo>
                  <a:lnTo>
                    <a:pt x="54" y="204"/>
                  </a:lnTo>
                  <a:lnTo>
                    <a:pt x="52" y="203"/>
                  </a:lnTo>
                  <a:lnTo>
                    <a:pt x="52" y="201"/>
                  </a:lnTo>
                  <a:lnTo>
                    <a:pt x="52" y="199"/>
                  </a:lnTo>
                  <a:lnTo>
                    <a:pt x="51" y="199"/>
                  </a:lnTo>
                  <a:lnTo>
                    <a:pt x="49" y="198"/>
                  </a:lnTo>
                  <a:lnTo>
                    <a:pt x="47" y="199"/>
                  </a:lnTo>
                  <a:lnTo>
                    <a:pt x="46" y="198"/>
                  </a:lnTo>
                  <a:lnTo>
                    <a:pt x="44" y="198"/>
                  </a:lnTo>
                  <a:lnTo>
                    <a:pt x="42" y="196"/>
                  </a:lnTo>
                  <a:lnTo>
                    <a:pt x="39" y="194"/>
                  </a:lnTo>
                  <a:lnTo>
                    <a:pt x="39" y="193"/>
                  </a:lnTo>
                  <a:lnTo>
                    <a:pt x="39" y="191"/>
                  </a:lnTo>
                  <a:lnTo>
                    <a:pt x="40" y="191"/>
                  </a:lnTo>
                  <a:lnTo>
                    <a:pt x="40" y="189"/>
                  </a:lnTo>
                  <a:lnTo>
                    <a:pt x="40" y="187"/>
                  </a:lnTo>
                  <a:lnTo>
                    <a:pt x="40" y="186"/>
                  </a:lnTo>
                  <a:lnTo>
                    <a:pt x="42" y="186"/>
                  </a:lnTo>
                  <a:lnTo>
                    <a:pt x="44" y="186"/>
                  </a:lnTo>
                  <a:lnTo>
                    <a:pt x="46" y="184"/>
                  </a:lnTo>
                  <a:lnTo>
                    <a:pt x="47" y="186"/>
                  </a:lnTo>
                  <a:lnTo>
                    <a:pt x="47" y="187"/>
                  </a:lnTo>
                  <a:lnTo>
                    <a:pt x="51" y="186"/>
                  </a:lnTo>
                  <a:lnTo>
                    <a:pt x="52" y="186"/>
                  </a:lnTo>
                  <a:lnTo>
                    <a:pt x="54" y="186"/>
                  </a:lnTo>
                  <a:lnTo>
                    <a:pt x="52" y="184"/>
                  </a:lnTo>
                  <a:lnTo>
                    <a:pt x="52" y="182"/>
                  </a:lnTo>
                  <a:lnTo>
                    <a:pt x="54" y="179"/>
                  </a:lnTo>
                  <a:lnTo>
                    <a:pt x="52" y="179"/>
                  </a:lnTo>
                  <a:lnTo>
                    <a:pt x="52" y="176"/>
                  </a:lnTo>
                  <a:lnTo>
                    <a:pt x="51" y="176"/>
                  </a:lnTo>
                  <a:lnTo>
                    <a:pt x="49" y="174"/>
                  </a:lnTo>
                  <a:lnTo>
                    <a:pt x="47" y="172"/>
                  </a:lnTo>
                  <a:lnTo>
                    <a:pt x="47" y="170"/>
                  </a:lnTo>
                  <a:lnTo>
                    <a:pt x="46" y="172"/>
                  </a:lnTo>
                  <a:lnTo>
                    <a:pt x="44" y="169"/>
                  </a:lnTo>
                  <a:lnTo>
                    <a:pt x="42" y="167"/>
                  </a:lnTo>
                  <a:lnTo>
                    <a:pt x="40" y="165"/>
                  </a:lnTo>
                  <a:lnTo>
                    <a:pt x="39" y="162"/>
                  </a:lnTo>
                  <a:lnTo>
                    <a:pt x="37" y="162"/>
                  </a:lnTo>
                  <a:lnTo>
                    <a:pt x="35" y="159"/>
                  </a:lnTo>
                  <a:lnTo>
                    <a:pt x="35" y="157"/>
                  </a:lnTo>
                  <a:lnTo>
                    <a:pt x="37" y="159"/>
                  </a:lnTo>
                  <a:lnTo>
                    <a:pt x="39" y="159"/>
                  </a:lnTo>
                  <a:lnTo>
                    <a:pt x="42" y="159"/>
                  </a:lnTo>
                  <a:lnTo>
                    <a:pt x="44" y="160"/>
                  </a:lnTo>
                  <a:lnTo>
                    <a:pt x="46" y="160"/>
                  </a:lnTo>
                  <a:lnTo>
                    <a:pt x="47" y="160"/>
                  </a:lnTo>
                  <a:lnTo>
                    <a:pt x="49" y="160"/>
                  </a:lnTo>
                  <a:lnTo>
                    <a:pt x="51" y="160"/>
                  </a:lnTo>
                  <a:lnTo>
                    <a:pt x="52" y="157"/>
                  </a:lnTo>
                  <a:lnTo>
                    <a:pt x="54" y="155"/>
                  </a:lnTo>
                  <a:lnTo>
                    <a:pt x="54" y="152"/>
                  </a:lnTo>
                  <a:lnTo>
                    <a:pt x="52" y="150"/>
                  </a:lnTo>
                  <a:lnTo>
                    <a:pt x="52" y="153"/>
                  </a:lnTo>
                  <a:lnTo>
                    <a:pt x="51" y="152"/>
                  </a:lnTo>
                  <a:lnTo>
                    <a:pt x="49" y="150"/>
                  </a:lnTo>
                  <a:lnTo>
                    <a:pt x="47" y="148"/>
                  </a:lnTo>
                  <a:lnTo>
                    <a:pt x="46" y="148"/>
                  </a:lnTo>
                  <a:lnTo>
                    <a:pt x="47" y="147"/>
                  </a:lnTo>
                  <a:lnTo>
                    <a:pt x="46" y="148"/>
                  </a:lnTo>
                  <a:lnTo>
                    <a:pt x="44" y="147"/>
                  </a:lnTo>
                  <a:lnTo>
                    <a:pt x="42" y="145"/>
                  </a:lnTo>
                  <a:lnTo>
                    <a:pt x="40" y="145"/>
                  </a:lnTo>
                  <a:lnTo>
                    <a:pt x="40" y="143"/>
                  </a:lnTo>
                  <a:lnTo>
                    <a:pt x="39" y="142"/>
                  </a:lnTo>
                  <a:lnTo>
                    <a:pt x="37" y="138"/>
                  </a:lnTo>
                  <a:lnTo>
                    <a:pt x="35" y="138"/>
                  </a:lnTo>
                  <a:lnTo>
                    <a:pt x="34" y="140"/>
                  </a:lnTo>
                  <a:lnTo>
                    <a:pt x="32" y="138"/>
                  </a:lnTo>
                  <a:lnTo>
                    <a:pt x="30" y="138"/>
                  </a:lnTo>
                  <a:lnTo>
                    <a:pt x="29" y="136"/>
                  </a:lnTo>
                  <a:lnTo>
                    <a:pt x="27" y="136"/>
                  </a:lnTo>
                  <a:lnTo>
                    <a:pt x="27" y="135"/>
                  </a:lnTo>
                  <a:lnTo>
                    <a:pt x="27" y="133"/>
                  </a:lnTo>
                  <a:lnTo>
                    <a:pt x="25" y="133"/>
                  </a:lnTo>
                  <a:lnTo>
                    <a:pt x="25" y="131"/>
                  </a:lnTo>
                  <a:lnTo>
                    <a:pt x="27" y="130"/>
                  </a:lnTo>
                  <a:lnTo>
                    <a:pt x="27" y="126"/>
                  </a:lnTo>
                  <a:lnTo>
                    <a:pt x="25" y="124"/>
                  </a:lnTo>
                  <a:lnTo>
                    <a:pt x="25" y="123"/>
                  </a:lnTo>
                  <a:lnTo>
                    <a:pt x="29" y="121"/>
                  </a:lnTo>
                  <a:lnTo>
                    <a:pt x="29" y="119"/>
                  </a:lnTo>
                  <a:lnTo>
                    <a:pt x="29" y="118"/>
                  </a:lnTo>
                  <a:lnTo>
                    <a:pt x="30" y="116"/>
                  </a:lnTo>
                  <a:lnTo>
                    <a:pt x="30" y="114"/>
                  </a:lnTo>
                  <a:lnTo>
                    <a:pt x="30" y="113"/>
                  </a:lnTo>
                  <a:lnTo>
                    <a:pt x="32" y="111"/>
                  </a:lnTo>
                  <a:lnTo>
                    <a:pt x="32" y="109"/>
                  </a:lnTo>
                  <a:lnTo>
                    <a:pt x="34" y="109"/>
                  </a:lnTo>
                  <a:lnTo>
                    <a:pt x="32" y="107"/>
                  </a:lnTo>
                  <a:lnTo>
                    <a:pt x="34" y="106"/>
                  </a:lnTo>
                  <a:lnTo>
                    <a:pt x="34" y="102"/>
                  </a:lnTo>
                  <a:lnTo>
                    <a:pt x="34" y="99"/>
                  </a:lnTo>
                  <a:lnTo>
                    <a:pt x="34" y="97"/>
                  </a:lnTo>
                  <a:lnTo>
                    <a:pt x="35" y="97"/>
                  </a:lnTo>
                  <a:lnTo>
                    <a:pt x="34" y="96"/>
                  </a:lnTo>
                  <a:lnTo>
                    <a:pt x="32" y="94"/>
                  </a:lnTo>
                  <a:lnTo>
                    <a:pt x="29" y="94"/>
                  </a:lnTo>
                  <a:lnTo>
                    <a:pt x="27" y="96"/>
                  </a:lnTo>
                  <a:lnTo>
                    <a:pt x="25" y="94"/>
                  </a:lnTo>
                  <a:lnTo>
                    <a:pt x="22" y="96"/>
                  </a:lnTo>
                  <a:lnTo>
                    <a:pt x="22" y="97"/>
                  </a:lnTo>
                  <a:lnTo>
                    <a:pt x="20" y="97"/>
                  </a:lnTo>
                  <a:lnTo>
                    <a:pt x="20" y="99"/>
                  </a:lnTo>
                  <a:lnTo>
                    <a:pt x="17" y="99"/>
                  </a:lnTo>
                  <a:lnTo>
                    <a:pt x="17" y="97"/>
                  </a:lnTo>
                  <a:lnTo>
                    <a:pt x="15" y="97"/>
                  </a:lnTo>
                  <a:lnTo>
                    <a:pt x="15" y="96"/>
                  </a:lnTo>
                  <a:lnTo>
                    <a:pt x="17" y="96"/>
                  </a:lnTo>
                  <a:lnTo>
                    <a:pt x="20" y="96"/>
                  </a:lnTo>
                  <a:lnTo>
                    <a:pt x="20" y="94"/>
                  </a:lnTo>
                  <a:lnTo>
                    <a:pt x="22" y="92"/>
                  </a:lnTo>
                  <a:lnTo>
                    <a:pt x="23" y="92"/>
                  </a:lnTo>
                  <a:lnTo>
                    <a:pt x="22" y="90"/>
                  </a:lnTo>
                  <a:lnTo>
                    <a:pt x="20" y="90"/>
                  </a:lnTo>
                  <a:lnTo>
                    <a:pt x="18" y="90"/>
                  </a:lnTo>
                  <a:lnTo>
                    <a:pt x="20" y="89"/>
                  </a:lnTo>
                  <a:lnTo>
                    <a:pt x="20" y="85"/>
                  </a:lnTo>
                  <a:lnTo>
                    <a:pt x="18" y="85"/>
                  </a:lnTo>
                  <a:lnTo>
                    <a:pt x="20" y="84"/>
                  </a:lnTo>
                  <a:lnTo>
                    <a:pt x="18" y="82"/>
                  </a:lnTo>
                  <a:lnTo>
                    <a:pt x="18" y="79"/>
                  </a:lnTo>
                  <a:lnTo>
                    <a:pt x="20" y="80"/>
                  </a:lnTo>
                  <a:lnTo>
                    <a:pt x="22" y="79"/>
                  </a:lnTo>
                  <a:lnTo>
                    <a:pt x="23" y="77"/>
                  </a:lnTo>
                  <a:lnTo>
                    <a:pt x="23" y="75"/>
                  </a:lnTo>
                  <a:lnTo>
                    <a:pt x="22" y="75"/>
                  </a:lnTo>
                  <a:lnTo>
                    <a:pt x="25" y="75"/>
                  </a:lnTo>
                  <a:lnTo>
                    <a:pt x="27" y="75"/>
                  </a:lnTo>
                  <a:lnTo>
                    <a:pt x="27" y="73"/>
                  </a:lnTo>
                  <a:lnTo>
                    <a:pt x="29" y="73"/>
                  </a:lnTo>
                  <a:lnTo>
                    <a:pt x="30" y="75"/>
                  </a:lnTo>
                  <a:lnTo>
                    <a:pt x="32" y="75"/>
                  </a:lnTo>
                  <a:lnTo>
                    <a:pt x="34" y="75"/>
                  </a:lnTo>
                  <a:lnTo>
                    <a:pt x="35" y="73"/>
                  </a:lnTo>
                  <a:lnTo>
                    <a:pt x="34" y="70"/>
                  </a:lnTo>
                  <a:lnTo>
                    <a:pt x="32" y="72"/>
                  </a:lnTo>
                  <a:lnTo>
                    <a:pt x="30" y="72"/>
                  </a:lnTo>
                  <a:lnTo>
                    <a:pt x="27" y="72"/>
                  </a:lnTo>
                  <a:lnTo>
                    <a:pt x="25" y="72"/>
                  </a:lnTo>
                  <a:lnTo>
                    <a:pt x="25" y="68"/>
                  </a:lnTo>
                  <a:lnTo>
                    <a:pt x="23" y="70"/>
                  </a:lnTo>
                  <a:lnTo>
                    <a:pt x="22" y="70"/>
                  </a:lnTo>
                  <a:lnTo>
                    <a:pt x="18" y="68"/>
                  </a:lnTo>
                  <a:lnTo>
                    <a:pt x="17" y="68"/>
                  </a:lnTo>
                  <a:lnTo>
                    <a:pt x="17" y="65"/>
                  </a:lnTo>
                  <a:lnTo>
                    <a:pt x="15" y="65"/>
                  </a:lnTo>
                  <a:lnTo>
                    <a:pt x="13" y="65"/>
                  </a:lnTo>
                  <a:lnTo>
                    <a:pt x="10" y="63"/>
                  </a:lnTo>
                  <a:lnTo>
                    <a:pt x="10" y="62"/>
                  </a:lnTo>
                  <a:lnTo>
                    <a:pt x="13" y="60"/>
                  </a:lnTo>
                  <a:lnTo>
                    <a:pt x="12" y="60"/>
                  </a:lnTo>
                  <a:lnTo>
                    <a:pt x="10" y="58"/>
                  </a:lnTo>
                  <a:lnTo>
                    <a:pt x="10" y="56"/>
                  </a:lnTo>
                  <a:lnTo>
                    <a:pt x="10" y="55"/>
                  </a:lnTo>
                  <a:lnTo>
                    <a:pt x="12" y="55"/>
                  </a:lnTo>
                  <a:lnTo>
                    <a:pt x="15" y="55"/>
                  </a:lnTo>
                  <a:lnTo>
                    <a:pt x="15" y="53"/>
                  </a:lnTo>
                  <a:lnTo>
                    <a:pt x="12" y="51"/>
                  </a:lnTo>
                  <a:lnTo>
                    <a:pt x="10" y="51"/>
                  </a:lnTo>
                  <a:lnTo>
                    <a:pt x="6" y="53"/>
                  </a:lnTo>
                  <a:lnTo>
                    <a:pt x="6" y="51"/>
                  </a:lnTo>
                  <a:lnTo>
                    <a:pt x="5" y="50"/>
                  </a:lnTo>
                  <a:lnTo>
                    <a:pt x="5" y="48"/>
                  </a:lnTo>
                  <a:lnTo>
                    <a:pt x="6" y="48"/>
                  </a:lnTo>
                  <a:lnTo>
                    <a:pt x="6" y="46"/>
                  </a:lnTo>
                  <a:lnTo>
                    <a:pt x="5" y="48"/>
                  </a:lnTo>
                  <a:lnTo>
                    <a:pt x="6" y="46"/>
                  </a:lnTo>
                  <a:lnTo>
                    <a:pt x="6" y="45"/>
                  </a:lnTo>
                  <a:lnTo>
                    <a:pt x="8" y="45"/>
                  </a:lnTo>
                  <a:lnTo>
                    <a:pt x="6" y="43"/>
                  </a:lnTo>
                  <a:lnTo>
                    <a:pt x="5" y="41"/>
                  </a:lnTo>
                  <a:lnTo>
                    <a:pt x="8" y="41"/>
                  </a:lnTo>
                  <a:lnTo>
                    <a:pt x="8" y="39"/>
                  </a:lnTo>
                  <a:lnTo>
                    <a:pt x="5" y="41"/>
                  </a:lnTo>
                  <a:lnTo>
                    <a:pt x="5" y="39"/>
                  </a:lnTo>
                  <a:lnTo>
                    <a:pt x="6" y="39"/>
                  </a:lnTo>
                  <a:lnTo>
                    <a:pt x="8" y="38"/>
                  </a:lnTo>
                  <a:lnTo>
                    <a:pt x="6" y="36"/>
                  </a:lnTo>
                  <a:lnTo>
                    <a:pt x="5" y="38"/>
                  </a:lnTo>
                  <a:lnTo>
                    <a:pt x="1" y="38"/>
                  </a:lnTo>
                  <a:lnTo>
                    <a:pt x="1" y="36"/>
                  </a:lnTo>
                  <a:lnTo>
                    <a:pt x="5" y="36"/>
                  </a:lnTo>
                  <a:lnTo>
                    <a:pt x="3" y="33"/>
                  </a:lnTo>
                  <a:lnTo>
                    <a:pt x="1" y="34"/>
                  </a:lnTo>
                  <a:lnTo>
                    <a:pt x="0" y="34"/>
                  </a:lnTo>
                  <a:lnTo>
                    <a:pt x="1" y="33"/>
                  </a:lnTo>
                  <a:lnTo>
                    <a:pt x="0" y="31"/>
                  </a:lnTo>
                  <a:lnTo>
                    <a:pt x="3" y="29"/>
                  </a:lnTo>
                  <a:lnTo>
                    <a:pt x="1" y="28"/>
                  </a:lnTo>
                  <a:lnTo>
                    <a:pt x="3" y="26"/>
                  </a:lnTo>
                  <a:lnTo>
                    <a:pt x="1" y="26"/>
                  </a:lnTo>
                  <a:lnTo>
                    <a:pt x="1" y="24"/>
                  </a:lnTo>
                  <a:lnTo>
                    <a:pt x="5" y="26"/>
                  </a:lnTo>
                  <a:lnTo>
                    <a:pt x="6" y="24"/>
                  </a:lnTo>
                  <a:lnTo>
                    <a:pt x="6" y="26"/>
                  </a:lnTo>
                  <a:lnTo>
                    <a:pt x="6" y="22"/>
                  </a:lnTo>
                  <a:lnTo>
                    <a:pt x="8" y="22"/>
                  </a:lnTo>
                  <a:lnTo>
                    <a:pt x="10" y="22"/>
                  </a:lnTo>
                  <a:lnTo>
                    <a:pt x="10" y="19"/>
                  </a:lnTo>
                  <a:lnTo>
                    <a:pt x="10" y="17"/>
                  </a:lnTo>
                  <a:lnTo>
                    <a:pt x="12" y="16"/>
                  </a:lnTo>
                  <a:lnTo>
                    <a:pt x="13" y="19"/>
                  </a:lnTo>
                  <a:lnTo>
                    <a:pt x="17" y="19"/>
                  </a:lnTo>
                  <a:lnTo>
                    <a:pt x="15" y="19"/>
                  </a:lnTo>
                  <a:lnTo>
                    <a:pt x="18" y="19"/>
                  </a:lnTo>
                  <a:lnTo>
                    <a:pt x="20" y="19"/>
                  </a:lnTo>
                  <a:lnTo>
                    <a:pt x="20" y="17"/>
                  </a:lnTo>
                  <a:lnTo>
                    <a:pt x="22" y="16"/>
                  </a:lnTo>
                  <a:lnTo>
                    <a:pt x="23" y="14"/>
                  </a:lnTo>
                  <a:lnTo>
                    <a:pt x="23" y="16"/>
                  </a:lnTo>
                  <a:lnTo>
                    <a:pt x="25" y="14"/>
                  </a:lnTo>
                  <a:lnTo>
                    <a:pt x="27" y="12"/>
                  </a:lnTo>
                  <a:lnTo>
                    <a:pt x="29" y="11"/>
                  </a:lnTo>
                  <a:lnTo>
                    <a:pt x="30" y="9"/>
                  </a:lnTo>
                  <a:lnTo>
                    <a:pt x="29" y="7"/>
                  </a:lnTo>
                  <a:lnTo>
                    <a:pt x="30" y="5"/>
                  </a:lnTo>
                  <a:lnTo>
                    <a:pt x="32" y="5"/>
                  </a:lnTo>
                  <a:lnTo>
                    <a:pt x="32" y="4"/>
                  </a:lnTo>
                  <a:lnTo>
                    <a:pt x="34" y="4"/>
                  </a:lnTo>
                  <a:lnTo>
                    <a:pt x="35" y="4"/>
                  </a:lnTo>
                  <a:lnTo>
                    <a:pt x="37" y="2"/>
                  </a:lnTo>
                  <a:lnTo>
                    <a:pt x="39" y="2"/>
                  </a:lnTo>
                  <a:lnTo>
                    <a:pt x="40" y="4"/>
                  </a:lnTo>
                  <a:lnTo>
                    <a:pt x="42" y="5"/>
                  </a:lnTo>
                  <a:lnTo>
                    <a:pt x="44" y="5"/>
                  </a:lnTo>
                  <a:lnTo>
                    <a:pt x="46" y="4"/>
                  </a:lnTo>
                  <a:lnTo>
                    <a:pt x="47" y="4"/>
                  </a:lnTo>
                  <a:lnTo>
                    <a:pt x="49" y="2"/>
                  </a:lnTo>
                  <a:lnTo>
                    <a:pt x="52" y="2"/>
                  </a:lnTo>
                  <a:lnTo>
                    <a:pt x="54" y="0"/>
                  </a:lnTo>
                  <a:lnTo>
                    <a:pt x="56" y="4"/>
                  </a:lnTo>
                  <a:lnTo>
                    <a:pt x="56" y="2"/>
                  </a:lnTo>
                  <a:lnTo>
                    <a:pt x="57" y="0"/>
                  </a:lnTo>
                  <a:lnTo>
                    <a:pt x="59" y="2"/>
                  </a:lnTo>
                  <a:lnTo>
                    <a:pt x="63" y="0"/>
                  </a:lnTo>
                  <a:lnTo>
                    <a:pt x="63" y="2"/>
                  </a:lnTo>
                  <a:lnTo>
                    <a:pt x="64" y="4"/>
                  </a:lnTo>
                  <a:lnTo>
                    <a:pt x="66" y="2"/>
                  </a:lnTo>
                  <a:lnTo>
                    <a:pt x="66" y="4"/>
                  </a:lnTo>
                  <a:lnTo>
                    <a:pt x="66" y="2"/>
                  </a:lnTo>
                  <a:close/>
                  <a:moveTo>
                    <a:pt x="47" y="187"/>
                  </a:moveTo>
                  <a:lnTo>
                    <a:pt x="49" y="187"/>
                  </a:lnTo>
                  <a:lnTo>
                    <a:pt x="49" y="189"/>
                  </a:lnTo>
                  <a:lnTo>
                    <a:pt x="47" y="189"/>
                  </a:lnTo>
                  <a:lnTo>
                    <a:pt x="47" y="18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18" name="Freeform 48">
              <a:extLst>
                <a:ext uri="{FF2B5EF4-FFF2-40B4-BE49-F238E27FC236}">
                  <a16:creationId xmlns:a16="http://schemas.microsoft.com/office/drawing/2014/main" id="{41DBF88B-8D14-432A-9A30-71BF624299FC}"/>
                </a:ext>
              </a:extLst>
            </p:cNvPr>
            <p:cNvSpPr>
              <a:spLocks noEditPoints="1"/>
            </p:cNvSpPr>
            <p:nvPr/>
          </p:nvSpPr>
          <p:spPr bwMode="gray">
            <a:xfrm>
              <a:off x="9219742" y="5225549"/>
              <a:ext cx="595510" cy="539219"/>
            </a:xfrm>
            <a:custGeom>
              <a:avLst/>
              <a:gdLst>
                <a:gd name="T0" fmla="*/ 174 w 201"/>
                <a:gd name="T1" fmla="*/ 14 h 182"/>
                <a:gd name="T2" fmla="*/ 181 w 201"/>
                <a:gd name="T3" fmla="*/ 20 h 182"/>
                <a:gd name="T4" fmla="*/ 177 w 201"/>
                <a:gd name="T5" fmla="*/ 32 h 182"/>
                <a:gd name="T6" fmla="*/ 174 w 201"/>
                <a:gd name="T7" fmla="*/ 44 h 182"/>
                <a:gd name="T8" fmla="*/ 176 w 201"/>
                <a:gd name="T9" fmla="*/ 54 h 182"/>
                <a:gd name="T10" fmla="*/ 187 w 201"/>
                <a:gd name="T11" fmla="*/ 61 h 182"/>
                <a:gd name="T12" fmla="*/ 194 w 201"/>
                <a:gd name="T13" fmla="*/ 66 h 182"/>
                <a:gd name="T14" fmla="*/ 199 w 201"/>
                <a:gd name="T15" fmla="*/ 75 h 182"/>
                <a:gd name="T16" fmla="*/ 186 w 201"/>
                <a:gd name="T17" fmla="*/ 77 h 182"/>
                <a:gd name="T18" fmla="*/ 189 w 201"/>
                <a:gd name="T19" fmla="*/ 85 h 182"/>
                <a:gd name="T20" fmla="*/ 199 w 201"/>
                <a:gd name="T21" fmla="*/ 94 h 182"/>
                <a:gd name="T22" fmla="*/ 198 w 201"/>
                <a:gd name="T23" fmla="*/ 104 h 182"/>
                <a:gd name="T24" fmla="*/ 187 w 201"/>
                <a:gd name="T25" fmla="*/ 105 h 182"/>
                <a:gd name="T26" fmla="*/ 181 w 201"/>
                <a:gd name="T27" fmla="*/ 111 h 182"/>
                <a:gd name="T28" fmla="*/ 170 w 201"/>
                <a:gd name="T29" fmla="*/ 114 h 182"/>
                <a:gd name="T30" fmla="*/ 179 w 201"/>
                <a:gd name="T31" fmla="*/ 122 h 182"/>
                <a:gd name="T32" fmla="*/ 174 w 201"/>
                <a:gd name="T33" fmla="*/ 126 h 182"/>
                <a:gd name="T34" fmla="*/ 164 w 201"/>
                <a:gd name="T35" fmla="*/ 129 h 182"/>
                <a:gd name="T36" fmla="*/ 160 w 201"/>
                <a:gd name="T37" fmla="*/ 145 h 182"/>
                <a:gd name="T38" fmla="*/ 155 w 201"/>
                <a:gd name="T39" fmla="*/ 151 h 182"/>
                <a:gd name="T40" fmla="*/ 153 w 201"/>
                <a:gd name="T41" fmla="*/ 163 h 182"/>
                <a:gd name="T42" fmla="*/ 160 w 201"/>
                <a:gd name="T43" fmla="*/ 175 h 182"/>
                <a:gd name="T44" fmla="*/ 150 w 201"/>
                <a:gd name="T45" fmla="*/ 179 h 182"/>
                <a:gd name="T46" fmla="*/ 138 w 201"/>
                <a:gd name="T47" fmla="*/ 175 h 182"/>
                <a:gd name="T48" fmla="*/ 125 w 201"/>
                <a:gd name="T49" fmla="*/ 168 h 182"/>
                <a:gd name="T50" fmla="*/ 113 w 201"/>
                <a:gd name="T51" fmla="*/ 162 h 182"/>
                <a:gd name="T52" fmla="*/ 108 w 201"/>
                <a:gd name="T53" fmla="*/ 160 h 182"/>
                <a:gd name="T54" fmla="*/ 109 w 201"/>
                <a:gd name="T55" fmla="*/ 151 h 182"/>
                <a:gd name="T56" fmla="*/ 99 w 201"/>
                <a:gd name="T57" fmla="*/ 145 h 182"/>
                <a:gd name="T58" fmla="*/ 92 w 201"/>
                <a:gd name="T59" fmla="*/ 138 h 182"/>
                <a:gd name="T60" fmla="*/ 87 w 201"/>
                <a:gd name="T61" fmla="*/ 124 h 182"/>
                <a:gd name="T62" fmla="*/ 74 w 201"/>
                <a:gd name="T63" fmla="*/ 119 h 182"/>
                <a:gd name="T64" fmla="*/ 62 w 201"/>
                <a:gd name="T65" fmla="*/ 107 h 182"/>
                <a:gd name="T66" fmla="*/ 51 w 201"/>
                <a:gd name="T67" fmla="*/ 99 h 182"/>
                <a:gd name="T68" fmla="*/ 41 w 201"/>
                <a:gd name="T69" fmla="*/ 90 h 182"/>
                <a:gd name="T70" fmla="*/ 31 w 201"/>
                <a:gd name="T71" fmla="*/ 80 h 182"/>
                <a:gd name="T72" fmla="*/ 28 w 201"/>
                <a:gd name="T73" fmla="*/ 68 h 182"/>
                <a:gd name="T74" fmla="*/ 24 w 201"/>
                <a:gd name="T75" fmla="*/ 60 h 182"/>
                <a:gd name="T76" fmla="*/ 17 w 201"/>
                <a:gd name="T77" fmla="*/ 49 h 182"/>
                <a:gd name="T78" fmla="*/ 6 w 201"/>
                <a:gd name="T79" fmla="*/ 44 h 182"/>
                <a:gd name="T80" fmla="*/ 2 w 201"/>
                <a:gd name="T81" fmla="*/ 32 h 182"/>
                <a:gd name="T82" fmla="*/ 2 w 201"/>
                <a:gd name="T83" fmla="*/ 19 h 182"/>
                <a:gd name="T84" fmla="*/ 7 w 201"/>
                <a:gd name="T85" fmla="*/ 7 h 182"/>
                <a:gd name="T86" fmla="*/ 16 w 201"/>
                <a:gd name="T87" fmla="*/ 12 h 182"/>
                <a:gd name="T88" fmla="*/ 26 w 201"/>
                <a:gd name="T89" fmla="*/ 20 h 182"/>
                <a:gd name="T90" fmla="*/ 34 w 201"/>
                <a:gd name="T91" fmla="*/ 12 h 182"/>
                <a:gd name="T92" fmla="*/ 41 w 201"/>
                <a:gd name="T93" fmla="*/ 5 h 182"/>
                <a:gd name="T94" fmla="*/ 53 w 201"/>
                <a:gd name="T95" fmla="*/ 5 h 182"/>
                <a:gd name="T96" fmla="*/ 57 w 201"/>
                <a:gd name="T97" fmla="*/ 2 h 182"/>
                <a:gd name="T98" fmla="*/ 62 w 201"/>
                <a:gd name="T99" fmla="*/ 2 h 182"/>
                <a:gd name="T100" fmla="*/ 70 w 201"/>
                <a:gd name="T101" fmla="*/ 7 h 182"/>
                <a:gd name="T102" fmla="*/ 79 w 201"/>
                <a:gd name="T103" fmla="*/ 7 h 182"/>
                <a:gd name="T104" fmla="*/ 89 w 201"/>
                <a:gd name="T105" fmla="*/ 7 h 182"/>
                <a:gd name="T106" fmla="*/ 101 w 201"/>
                <a:gd name="T107" fmla="*/ 8 h 182"/>
                <a:gd name="T108" fmla="*/ 109 w 201"/>
                <a:gd name="T109" fmla="*/ 5 h 182"/>
                <a:gd name="T110" fmla="*/ 119 w 201"/>
                <a:gd name="T111" fmla="*/ 7 h 182"/>
                <a:gd name="T112" fmla="*/ 131 w 201"/>
                <a:gd name="T113" fmla="*/ 3 h 182"/>
                <a:gd name="T114" fmla="*/ 140 w 201"/>
                <a:gd name="T115" fmla="*/ 5 h 182"/>
                <a:gd name="T116" fmla="*/ 147 w 201"/>
                <a:gd name="T117" fmla="*/ 3 h 182"/>
                <a:gd name="T118" fmla="*/ 153 w 201"/>
                <a:gd name="T119" fmla="*/ 14 h 182"/>
                <a:gd name="T120" fmla="*/ 162 w 201"/>
                <a:gd name="T121" fmla="*/ 19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1" h="182">
                  <a:moveTo>
                    <a:pt x="164" y="17"/>
                  </a:moveTo>
                  <a:lnTo>
                    <a:pt x="167" y="17"/>
                  </a:lnTo>
                  <a:lnTo>
                    <a:pt x="167" y="15"/>
                  </a:lnTo>
                  <a:lnTo>
                    <a:pt x="169" y="15"/>
                  </a:lnTo>
                  <a:lnTo>
                    <a:pt x="169" y="14"/>
                  </a:lnTo>
                  <a:lnTo>
                    <a:pt x="172" y="12"/>
                  </a:lnTo>
                  <a:lnTo>
                    <a:pt x="174" y="14"/>
                  </a:lnTo>
                  <a:lnTo>
                    <a:pt x="176" y="12"/>
                  </a:lnTo>
                  <a:lnTo>
                    <a:pt x="179" y="12"/>
                  </a:lnTo>
                  <a:lnTo>
                    <a:pt x="181" y="14"/>
                  </a:lnTo>
                  <a:lnTo>
                    <a:pt x="182" y="15"/>
                  </a:lnTo>
                  <a:lnTo>
                    <a:pt x="181" y="15"/>
                  </a:lnTo>
                  <a:lnTo>
                    <a:pt x="181" y="17"/>
                  </a:lnTo>
                  <a:lnTo>
                    <a:pt x="181" y="20"/>
                  </a:lnTo>
                  <a:lnTo>
                    <a:pt x="181" y="24"/>
                  </a:lnTo>
                  <a:lnTo>
                    <a:pt x="179" y="25"/>
                  </a:lnTo>
                  <a:lnTo>
                    <a:pt x="181" y="27"/>
                  </a:lnTo>
                  <a:lnTo>
                    <a:pt x="179" y="27"/>
                  </a:lnTo>
                  <a:lnTo>
                    <a:pt x="179" y="29"/>
                  </a:lnTo>
                  <a:lnTo>
                    <a:pt x="177" y="31"/>
                  </a:lnTo>
                  <a:lnTo>
                    <a:pt x="177" y="32"/>
                  </a:lnTo>
                  <a:lnTo>
                    <a:pt x="177" y="34"/>
                  </a:lnTo>
                  <a:lnTo>
                    <a:pt x="176" y="36"/>
                  </a:lnTo>
                  <a:lnTo>
                    <a:pt x="176" y="37"/>
                  </a:lnTo>
                  <a:lnTo>
                    <a:pt x="176" y="39"/>
                  </a:lnTo>
                  <a:lnTo>
                    <a:pt x="172" y="41"/>
                  </a:lnTo>
                  <a:lnTo>
                    <a:pt x="172" y="42"/>
                  </a:lnTo>
                  <a:lnTo>
                    <a:pt x="174" y="44"/>
                  </a:lnTo>
                  <a:lnTo>
                    <a:pt x="174" y="48"/>
                  </a:lnTo>
                  <a:lnTo>
                    <a:pt x="172" y="49"/>
                  </a:lnTo>
                  <a:lnTo>
                    <a:pt x="172" y="51"/>
                  </a:lnTo>
                  <a:lnTo>
                    <a:pt x="174" y="51"/>
                  </a:lnTo>
                  <a:lnTo>
                    <a:pt x="174" y="53"/>
                  </a:lnTo>
                  <a:lnTo>
                    <a:pt x="174" y="54"/>
                  </a:lnTo>
                  <a:lnTo>
                    <a:pt x="176" y="54"/>
                  </a:lnTo>
                  <a:lnTo>
                    <a:pt x="177" y="56"/>
                  </a:lnTo>
                  <a:lnTo>
                    <a:pt x="179" y="56"/>
                  </a:lnTo>
                  <a:lnTo>
                    <a:pt x="181" y="58"/>
                  </a:lnTo>
                  <a:lnTo>
                    <a:pt x="182" y="56"/>
                  </a:lnTo>
                  <a:lnTo>
                    <a:pt x="184" y="56"/>
                  </a:lnTo>
                  <a:lnTo>
                    <a:pt x="186" y="60"/>
                  </a:lnTo>
                  <a:lnTo>
                    <a:pt x="187" y="61"/>
                  </a:lnTo>
                  <a:lnTo>
                    <a:pt x="187" y="63"/>
                  </a:lnTo>
                  <a:lnTo>
                    <a:pt x="189" y="63"/>
                  </a:lnTo>
                  <a:lnTo>
                    <a:pt x="191" y="65"/>
                  </a:lnTo>
                  <a:lnTo>
                    <a:pt x="193" y="66"/>
                  </a:lnTo>
                  <a:lnTo>
                    <a:pt x="194" y="65"/>
                  </a:lnTo>
                  <a:lnTo>
                    <a:pt x="193" y="66"/>
                  </a:lnTo>
                  <a:lnTo>
                    <a:pt x="194" y="66"/>
                  </a:lnTo>
                  <a:lnTo>
                    <a:pt x="196" y="68"/>
                  </a:lnTo>
                  <a:lnTo>
                    <a:pt x="198" y="70"/>
                  </a:lnTo>
                  <a:lnTo>
                    <a:pt x="199" y="71"/>
                  </a:lnTo>
                  <a:lnTo>
                    <a:pt x="199" y="68"/>
                  </a:lnTo>
                  <a:lnTo>
                    <a:pt x="201" y="70"/>
                  </a:lnTo>
                  <a:lnTo>
                    <a:pt x="201" y="73"/>
                  </a:lnTo>
                  <a:lnTo>
                    <a:pt x="199" y="75"/>
                  </a:lnTo>
                  <a:lnTo>
                    <a:pt x="198" y="78"/>
                  </a:lnTo>
                  <a:lnTo>
                    <a:pt x="196" y="78"/>
                  </a:lnTo>
                  <a:lnTo>
                    <a:pt x="194" y="78"/>
                  </a:lnTo>
                  <a:lnTo>
                    <a:pt x="193" y="78"/>
                  </a:lnTo>
                  <a:lnTo>
                    <a:pt x="191" y="78"/>
                  </a:lnTo>
                  <a:lnTo>
                    <a:pt x="189" y="77"/>
                  </a:lnTo>
                  <a:lnTo>
                    <a:pt x="186" y="77"/>
                  </a:lnTo>
                  <a:lnTo>
                    <a:pt x="184" y="77"/>
                  </a:lnTo>
                  <a:lnTo>
                    <a:pt x="182" y="75"/>
                  </a:lnTo>
                  <a:lnTo>
                    <a:pt x="182" y="77"/>
                  </a:lnTo>
                  <a:lnTo>
                    <a:pt x="184" y="80"/>
                  </a:lnTo>
                  <a:lnTo>
                    <a:pt x="186" y="80"/>
                  </a:lnTo>
                  <a:lnTo>
                    <a:pt x="187" y="83"/>
                  </a:lnTo>
                  <a:lnTo>
                    <a:pt x="189" y="85"/>
                  </a:lnTo>
                  <a:lnTo>
                    <a:pt x="191" y="87"/>
                  </a:lnTo>
                  <a:lnTo>
                    <a:pt x="193" y="90"/>
                  </a:lnTo>
                  <a:lnTo>
                    <a:pt x="194" y="88"/>
                  </a:lnTo>
                  <a:lnTo>
                    <a:pt x="194" y="90"/>
                  </a:lnTo>
                  <a:lnTo>
                    <a:pt x="196" y="92"/>
                  </a:lnTo>
                  <a:lnTo>
                    <a:pt x="198" y="94"/>
                  </a:lnTo>
                  <a:lnTo>
                    <a:pt x="199" y="94"/>
                  </a:lnTo>
                  <a:lnTo>
                    <a:pt x="199" y="97"/>
                  </a:lnTo>
                  <a:lnTo>
                    <a:pt x="201" y="97"/>
                  </a:lnTo>
                  <a:lnTo>
                    <a:pt x="199" y="100"/>
                  </a:lnTo>
                  <a:lnTo>
                    <a:pt x="199" y="102"/>
                  </a:lnTo>
                  <a:lnTo>
                    <a:pt x="201" y="104"/>
                  </a:lnTo>
                  <a:lnTo>
                    <a:pt x="199" y="104"/>
                  </a:lnTo>
                  <a:lnTo>
                    <a:pt x="198" y="104"/>
                  </a:lnTo>
                  <a:lnTo>
                    <a:pt x="194" y="105"/>
                  </a:lnTo>
                  <a:lnTo>
                    <a:pt x="194" y="104"/>
                  </a:lnTo>
                  <a:lnTo>
                    <a:pt x="193" y="102"/>
                  </a:lnTo>
                  <a:lnTo>
                    <a:pt x="191" y="104"/>
                  </a:lnTo>
                  <a:lnTo>
                    <a:pt x="189" y="104"/>
                  </a:lnTo>
                  <a:lnTo>
                    <a:pt x="187" y="104"/>
                  </a:lnTo>
                  <a:lnTo>
                    <a:pt x="187" y="105"/>
                  </a:lnTo>
                  <a:lnTo>
                    <a:pt x="187" y="107"/>
                  </a:lnTo>
                  <a:lnTo>
                    <a:pt x="187" y="109"/>
                  </a:lnTo>
                  <a:lnTo>
                    <a:pt x="186" y="109"/>
                  </a:lnTo>
                  <a:lnTo>
                    <a:pt x="186" y="111"/>
                  </a:lnTo>
                  <a:lnTo>
                    <a:pt x="184" y="109"/>
                  </a:lnTo>
                  <a:lnTo>
                    <a:pt x="182" y="111"/>
                  </a:lnTo>
                  <a:lnTo>
                    <a:pt x="181" y="111"/>
                  </a:lnTo>
                  <a:lnTo>
                    <a:pt x="179" y="112"/>
                  </a:lnTo>
                  <a:lnTo>
                    <a:pt x="177" y="112"/>
                  </a:lnTo>
                  <a:lnTo>
                    <a:pt x="177" y="111"/>
                  </a:lnTo>
                  <a:lnTo>
                    <a:pt x="174" y="109"/>
                  </a:lnTo>
                  <a:lnTo>
                    <a:pt x="174" y="111"/>
                  </a:lnTo>
                  <a:lnTo>
                    <a:pt x="172" y="112"/>
                  </a:lnTo>
                  <a:lnTo>
                    <a:pt x="170" y="114"/>
                  </a:lnTo>
                  <a:lnTo>
                    <a:pt x="172" y="112"/>
                  </a:lnTo>
                  <a:lnTo>
                    <a:pt x="174" y="114"/>
                  </a:lnTo>
                  <a:lnTo>
                    <a:pt x="174" y="116"/>
                  </a:lnTo>
                  <a:lnTo>
                    <a:pt x="176" y="117"/>
                  </a:lnTo>
                  <a:lnTo>
                    <a:pt x="177" y="117"/>
                  </a:lnTo>
                  <a:lnTo>
                    <a:pt x="177" y="121"/>
                  </a:lnTo>
                  <a:lnTo>
                    <a:pt x="179" y="122"/>
                  </a:lnTo>
                  <a:lnTo>
                    <a:pt x="181" y="124"/>
                  </a:lnTo>
                  <a:lnTo>
                    <a:pt x="181" y="126"/>
                  </a:lnTo>
                  <a:lnTo>
                    <a:pt x="179" y="126"/>
                  </a:lnTo>
                  <a:lnTo>
                    <a:pt x="177" y="129"/>
                  </a:lnTo>
                  <a:lnTo>
                    <a:pt x="174" y="128"/>
                  </a:lnTo>
                  <a:lnTo>
                    <a:pt x="174" y="124"/>
                  </a:lnTo>
                  <a:lnTo>
                    <a:pt x="174" y="126"/>
                  </a:lnTo>
                  <a:lnTo>
                    <a:pt x="172" y="122"/>
                  </a:lnTo>
                  <a:lnTo>
                    <a:pt x="170" y="124"/>
                  </a:lnTo>
                  <a:lnTo>
                    <a:pt x="169" y="124"/>
                  </a:lnTo>
                  <a:lnTo>
                    <a:pt x="169" y="126"/>
                  </a:lnTo>
                  <a:lnTo>
                    <a:pt x="167" y="128"/>
                  </a:lnTo>
                  <a:lnTo>
                    <a:pt x="165" y="128"/>
                  </a:lnTo>
                  <a:lnTo>
                    <a:pt x="164" y="129"/>
                  </a:lnTo>
                  <a:lnTo>
                    <a:pt x="162" y="133"/>
                  </a:lnTo>
                  <a:lnTo>
                    <a:pt x="162" y="134"/>
                  </a:lnTo>
                  <a:lnTo>
                    <a:pt x="160" y="136"/>
                  </a:lnTo>
                  <a:lnTo>
                    <a:pt x="160" y="138"/>
                  </a:lnTo>
                  <a:lnTo>
                    <a:pt x="160" y="139"/>
                  </a:lnTo>
                  <a:lnTo>
                    <a:pt x="160" y="141"/>
                  </a:lnTo>
                  <a:lnTo>
                    <a:pt x="160" y="145"/>
                  </a:lnTo>
                  <a:lnTo>
                    <a:pt x="162" y="146"/>
                  </a:lnTo>
                  <a:lnTo>
                    <a:pt x="160" y="148"/>
                  </a:lnTo>
                  <a:lnTo>
                    <a:pt x="159" y="148"/>
                  </a:lnTo>
                  <a:lnTo>
                    <a:pt x="157" y="148"/>
                  </a:lnTo>
                  <a:lnTo>
                    <a:pt x="155" y="148"/>
                  </a:lnTo>
                  <a:lnTo>
                    <a:pt x="155" y="150"/>
                  </a:lnTo>
                  <a:lnTo>
                    <a:pt x="155" y="151"/>
                  </a:lnTo>
                  <a:lnTo>
                    <a:pt x="153" y="153"/>
                  </a:lnTo>
                  <a:lnTo>
                    <a:pt x="153" y="155"/>
                  </a:lnTo>
                  <a:lnTo>
                    <a:pt x="153" y="158"/>
                  </a:lnTo>
                  <a:lnTo>
                    <a:pt x="155" y="158"/>
                  </a:lnTo>
                  <a:lnTo>
                    <a:pt x="153" y="160"/>
                  </a:lnTo>
                  <a:lnTo>
                    <a:pt x="153" y="162"/>
                  </a:lnTo>
                  <a:lnTo>
                    <a:pt x="153" y="163"/>
                  </a:lnTo>
                  <a:lnTo>
                    <a:pt x="153" y="165"/>
                  </a:lnTo>
                  <a:lnTo>
                    <a:pt x="153" y="168"/>
                  </a:lnTo>
                  <a:lnTo>
                    <a:pt x="155" y="168"/>
                  </a:lnTo>
                  <a:lnTo>
                    <a:pt x="155" y="170"/>
                  </a:lnTo>
                  <a:lnTo>
                    <a:pt x="159" y="170"/>
                  </a:lnTo>
                  <a:lnTo>
                    <a:pt x="159" y="172"/>
                  </a:lnTo>
                  <a:lnTo>
                    <a:pt x="160" y="175"/>
                  </a:lnTo>
                  <a:lnTo>
                    <a:pt x="159" y="177"/>
                  </a:lnTo>
                  <a:lnTo>
                    <a:pt x="159" y="180"/>
                  </a:lnTo>
                  <a:lnTo>
                    <a:pt x="157" y="180"/>
                  </a:lnTo>
                  <a:lnTo>
                    <a:pt x="155" y="182"/>
                  </a:lnTo>
                  <a:lnTo>
                    <a:pt x="153" y="182"/>
                  </a:lnTo>
                  <a:lnTo>
                    <a:pt x="152" y="180"/>
                  </a:lnTo>
                  <a:lnTo>
                    <a:pt x="150" y="179"/>
                  </a:lnTo>
                  <a:lnTo>
                    <a:pt x="148" y="179"/>
                  </a:lnTo>
                  <a:lnTo>
                    <a:pt x="147" y="180"/>
                  </a:lnTo>
                  <a:lnTo>
                    <a:pt x="143" y="180"/>
                  </a:lnTo>
                  <a:lnTo>
                    <a:pt x="142" y="179"/>
                  </a:lnTo>
                  <a:lnTo>
                    <a:pt x="142" y="177"/>
                  </a:lnTo>
                  <a:lnTo>
                    <a:pt x="140" y="177"/>
                  </a:lnTo>
                  <a:lnTo>
                    <a:pt x="138" y="175"/>
                  </a:lnTo>
                  <a:lnTo>
                    <a:pt x="136" y="175"/>
                  </a:lnTo>
                  <a:lnTo>
                    <a:pt x="135" y="173"/>
                  </a:lnTo>
                  <a:lnTo>
                    <a:pt x="133" y="172"/>
                  </a:lnTo>
                  <a:lnTo>
                    <a:pt x="130" y="172"/>
                  </a:lnTo>
                  <a:lnTo>
                    <a:pt x="130" y="170"/>
                  </a:lnTo>
                  <a:lnTo>
                    <a:pt x="126" y="168"/>
                  </a:lnTo>
                  <a:lnTo>
                    <a:pt x="125" y="168"/>
                  </a:lnTo>
                  <a:lnTo>
                    <a:pt x="125" y="167"/>
                  </a:lnTo>
                  <a:lnTo>
                    <a:pt x="123" y="165"/>
                  </a:lnTo>
                  <a:lnTo>
                    <a:pt x="121" y="162"/>
                  </a:lnTo>
                  <a:lnTo>
                    <a:pt x="119" y="162"/>
                  </a:lnTo>
                  <a:lnTo>
                    <a:pt x="118" y="163"/>
                  </a:lnTo>
                  <a:lnTo>
                    <a:pt x="116" y="162"/>
                  </a:lnTo>
                  <a:lnTo>
                    <a:pt x="113" y="162"/>
                  </a:lnTo>
                  <a:lnTo>
                    <a:pt x="111" y="163"/>
                  </a:lnTo>
                  <a:lnTo>
                    <a:pt x="109" y="163"/>
                  </a:lnTo>
                  <a:lnTo>
                    <a:pt x="108" y="162"/>
                  </a:lnTo>
                  <a:lnTo>
                    <a:pt x="106" y="162"/>
                  </a:lnTo>
                  <a:lnTo>
                    <a:pt x="108" y="162"/>
                  </a:lnTo>
                  <a:lnTo>
                    <a:pt x="109" y="162"/>
                  </a:lnTo>
                  <a:lnTo>
                    <a:pt x="108" y="160"/>
                  </a:lnTo>
                  <a:lnTo>
                    <a:pt x="109" y="160"/>
                  </a:lnTo>
                  <a:lnTo>
                    <a:pt x="111" y="158"/>
                  </a:lnTo>
                  <a:lnTo>
                    <a:pt x="114" y="158"/>
                  </a:lnTo>
                  <a:lnTo>
                    <a:pt x="113" y="156"/>
                  </a:lnTo>
                  <a:lnTo>
                    <a:pt x="111" y="155"/>
                  </a:lnTo>
                  <a:lnTo>
                    <a:pt x="111" y="153"/>
                  </a:lnTo>
                  <a:lnTo>
                    <a:pt x="109" y="151"/>
                  </a:lnTo>
                  <a:lnTo>
                    <a:pt x="109" y="150"/>
                  </a:lnTo>
                  <a:lnTo>
                    <a:pt x="108" y="150"/>
                  </a:lnTo>
                  <a:lnTo>
                    <a:pt x="106" y="148"/>
                  </a:lnTo>
                  <a:lnTo>
                    <a:pt x="104" y="148"/>
                  </a:lnTo>
                  <a:lnTo>
                    <a:pt x="102" y="146"/>
                  </a:lnTo>
                  <a:lnTo>
                    <a:pt x="101" y="146"/>
                  </a:lnTo>
                  <a:lnTo>
                    <a:pt x="99" y="145"/>
                  </a:lnTo>
                  <a:lnTo>
                    <a:pt x="97" y="145"/>
                  </a:lnTo>
                  <a:lnTo>
                    <a:pt x="97" y="143"/>
                  </a:lnTo>
                  <a:lnTo>
                    <a:pt x="97" y="141"/>
                  </a:lnTo>
                  <a:lnTo>
                    <a:pt x="96" y="139"/>
                  </a:lnTo>
                  <a:lnTo>
                    <a:pt x="94" y="139"/>
                  </a:lnTo>
                  <a:lnTo>
                    <a:pt x="92" y="139"/>
                  </a:lnTo>
                  <a:lnTo>
                    <a:pt x="92" y="138"/>
                  </a:lnTo>
                  <a:lnTo>
                    <a:pt x="91" y="136"/>
                  </a:lnTo>
                  <a:lnTo>
                    <a:pt x="89" y="134"/>
                  </a:lnTo>
                  <a:lnTo>
                    <a:pt x="89" y="133"/>
                  </a:lnTo>
                  <a:lnTo>
                    <a:pt x="87" y="131"/>
                  </a:lnTo>
                  <a:lnTo>
                    <a:pt x="87" y="129"/>
                  </a:lnTo>
                  <a:lnTo>
                    <a:pt x="89" y="128"/>
                  </a:lnTo>
                  <a:lnTo>
                    <a:pt x="87" y="124"/>
                  </a:lnTo>
                  <a:lnTo>
                    <a:pt x="85" y="124"/>
                  </a:lnTo>
                  <a:lnTo>
                    <a:pt x="82" y="124"/>
                  </a:lnTo>
                  <a:lnTo>
                    <a:pt x="80" y="124"/>
                  </a:lnTo>
                  <a:lnTo>
                    <a:pt x="79" y="122"/>
                  </a:lnTo>
                  <a:lnTo>
                    <a:pt x="79" y="121"/>
                  </a:lnTo>
                  <a:lnTo>
                    <a:pt x="77" y="121"/>
                  </a:lnTo>
                  <a:lnTo>
                    <a:pt x="74" y="119"/>
                  </a:lnTo>
                  <a:lnTo>
                    <a:pt x="72" y="119"/>
                  </a:lnTo>
                  <a:lnTo>
                    <a:pt x="72" y="116"/>
                  </a:lnTo>
                  <a:lnTo>
                    <a:pt x="68" y="114"/>
                  </a:lnTo>
                  <a:lnTo>
                    <a:pt x="67" y="112"/>
                  </a:lnTo>
                  <a:lnTo>
                    <a:pt x="65" y="111"/>
                  </a:lnTo>
                  <a:lnTo>
                    <a:pt x="63" y="109"/>
                  </a:lnTo>
                  <a:lnTo>
                    <a:pt x="62" y="107"/>
                  </a:lnTo>
                  <a:lnTo>
                    <a:pt x="58" y="107"/>
                  </a:lnTo>
                  <a:lnTo>
                    <a:pt x="58" y="104"/>
                  </a:lnTo>
                  <a:lnTo>
                    <a:pt x="57" y="104"/>
                  </a:lnTo>
                  <a:lnTo>
                    <a:pt x="57" y="100"/>
                  </a:lnTo>
                  <a:lnTo>
                    <a:pt x="55" y="100"/>
                  </a:lnTo>
                  <a:lnTo>
                    <a:pt x="53" y="99"/>
                  </a:lnTo>
                  <a:lnTo>
                    <a:pt x="51" y="99"/>
                  </a:lnTo>
                  <a:lnTo>
                    <a:pt x="50" y="95"/>
                  </a:lnTo>
                  <a:lnTo>
                    <a:pt x="48" y="94"/>
                  </a:lnTo>
                  <a:lnTo>
                    <a:pt x="46" y="94"/>
                  </a:lnTo>
                  <a:lnTo>
                    <a:pt x="45" y="92"/>
                  </a:lnTo>
                  <a:lnTo>
                    <a:pt x="45" y="90"/>
                  </a:lnTo>
                  <a:lnTo>
                    <a:pt x="43" y="90"/>
                  </a:lnTo>
                  <a:lnTo>
                    <a:pt x="41" y="90"/>
                  </a:lnTo>
                  <a:lnTo>
                    <a:pt x="41" y="87"/>
                  </a:lnTo>
                  <a:lnTo>
                    <a:pt x="40" y="87"/>
                  </a:lnTo>
                  <a:lnTo>
                    <a:pt x="38" y="87"/>
                  </a:lnTo>
                  <a:lnTo>
                    <a:pt x="36" y="83"/>
                  </a:lnTo>
                  <a:lnTo>
                    <a:pt x="34" y="83"/>
                  </a:lnTo>
                  <a:lnTo>
                    <a:pt x="33" y="82"/>
                  </a:lnTo>
                  <a:lnTo>
                    <a:pt x="31" y="80"/>
                  </a:lnTo>
                  <a:lnTo>
                    <a:pt x="28" y="78"/>
                  </a:lnTo>
                  <a:lnTo>
                    <a:pt x="29" y="77"/>
                  </a:lnTo>
                  <a:lnTo>
                    <a:pt x="28" y="75"/>
                  </a:lnTo>
                  <a:lnTo>
                    <a:pt x="28" y="73"/>
                  </a:lnTo>
                  <a:lnTo>
                    <a:pt x="28" y="71"/>
                  </a:lnTo>
                  <a:lnTo>
                    <a:pt x="28" y="70"/>
                  </a:lnTo>
                  <a:lnTo>
                    <a:pt x="28" y="68"/>
                  </a:lnTo>
                  <a:lnTo>
                    <a:pt x="26" y="66"/>
                  </a:lnTo>
                  <a:lnTo>
                    <a:pt x="24" y="66"/>
                  </a:lnTo>
                  <a:lnTo>
                    <a:pt x="23" y="65"/>
                  </a:lnTo>
                  <a:lnTo>
                    <a:pt x="26" y="65"/>
                  </a:lnTo>
                  <a:lnTo>
                    <a:pt x="24" y="63"/>
                  </a:lnTo>
                  <a:lnTo>
                    <a:pt x="23" y="61"/>
                  </a:lnTo>
                  <a:lnTo>
                    <a:pt x="24" y="60"/>
                  </a:lnTo>
                  <a:lnTo>
                    <a:pt x="23" y="58"/>
                  </a:lnTo>
                  <a:lnTo>
                    <a:pt x="21" y="56"/>
                  </a:lnTo>
                  <a:lnTo>
                    <a:pt x="19" y="56"/>
                  </a:lnTo>
                  <a:lnTo>
                    <a:pt x="17" y="54"/>
                  </a:lnTo>
                  <a:lnTo>
                    <a:pt x="16" y="53"/>
                  </a:lnTo>
                  <a:lnTo>
                    <a:pt x="19" y="51"/>
                  </a:lnTo>
                  <a:lnTo>
                    <a:pt x="17" y="49"/>
                  </a:lnTo>
                  <a:lnTo>
                    <a:pt x="17" y="48"/>
                  </a:lnTo>
                  <a:lnTo>
                    <a:pt x="14" y="46"/>
                  </a:lnTo>
                  <a:lnTo>
                    <a:pt x="12" y="44"/>
                  </a:lnTo>
                  <a:lnTo>
                    <a:pt x="11" y="42"/>
                  </a:lnTo>
                  <a:lnTo>
                    <a:pt x="9" y="41"/>
                  </a:lnTo>
                  <a:lnTo>
                    <a:pt x="7" y="44"/>
                  </a:lnTo>
                  <a:lnTo>
                    <a:pt x="6" y="44"/>
                  </a:lnTo>
                  <a:lnTo>
                    <a:pt x="4" y="42"/>
                  </a:lnTo>
                  <a:lnTo>
                    <a:pt x="2" y="39"/>
                  </a:lnTo>
                  <a:lnTo>
                    <a:pt x="0" y="37"/>
                  </a:lnTo>
                  <a:lnTo>
                    <a:pt x="2" y="36"/>
                  </a:lnTo>
                  <a:lnTo>
                    <a:pt x="4" y="34"/>
                  </a:lnTo>
                  <a:lnTo>
                    <a:pt x="2" y="34"/>
                  </a:lnTo>
                  <a:lnTo>
                    <a:pt x="2" y="32"/>
                  </a:lnTo>
                  <a:lnTo>
                    <a:pt x="0" y="29"/>
                  </a:lnTo>
                  <a:lnTo>
                    <a:pt x="0" y="27"/>
                  </a:lnTo>
                  <a:lnTo>
                    <a:pt x="2" y="25"/>
                  </a:lnTo>
                  <a:lnTo>
                    <a:pt x="2" y="24"/>
                  </a:lnTo>
                  <a:lnTo>
                    <a:pt x="2" y="22"/>
                  </a:lnTo>
                  <a:lnTo>
                    <a:pt x="0" y="20"/>
                  </a:lnTo>
                  <a:lnTo>
                    <a:pt x="2" y="19"/>
                  </a:lnTo>
                  <a:lnTo>
                    <a:pt x="2" y="15"/>
                  </a:lnTo>
                  <a:lnTo>
                    <a:pt x="0" y="12"/>
                  </a:lnTo>
                  <a:lnTo>
                    <a:pt x="2" y="10"/>
                  </a:lnTo>
                  <a:lnTo>
                    <a:pt x="4" y="10"/>
                  </a:lnTo>
                  <a:lnTo>
                    <a:pt x="4" y="8"/>
                  </a:lnTo>
                  <a:lnTo>
                    <a:pt x="7" y="8"/>
                  </a:lnTo>
                  <a:lnTo>
                    <a:pt x="7" y="7"/>
                  </a:lnTo>
                  <a:lnTo>
                    <a:pt x="9" y="8"/>
                  </a:lnTo>
                  <a:lnTo>
                    <a:pt x="11" y="7"/>
                  </a:lnTo>
                  <a:lnTo>
                    <a:pt x="12" y="8"/>
                  </a:lnTo>
                  <a:lnTo>
                    <a:pt x="14" y="8"/>
                  </a:lnTo>
                  <a:lnTo>
                    <a:pt x="12" y="10"/>
                  </a:lnTo>
                  <a:lnTo>
                    <a:pt x="14" y="10"/>
                  </a:lnTo>
                  <a:lnTo>
                    <a:pt x="16" y="12"/>
                  </a:lnTo>
                  <a:lnTo>
                    <a:pt x="17" y="14"/>
                  </a:lnTo>
                  <a:lnTo>
                    <a:pt x="17" y="15"/>
                  </a:lnTo>
                  <a:lnTo>
                    <a:pt x="19" y="17"/>
                  </a:lnTo>
                  <a:lnTo>
                    <a:pt x="21" y="17"/>
                  </a:lnTo>
                  <a:lnTo>
                    <a:pt x="23" y="20"/>
                  </a:lnTo>
                  <a:lnTo>
                    <a:pt x="24" y="20"/>
                  </a:lnTo>
                  <a:lnTo>
                    <a:pt x="26" y="20"/>
                  </a:lnTo>
                  <a:lnTo>
                    <a:pt x="28" y="22"/>
                  </a:lnTo>
                  <a:lnTo>
                    <a:pt x="31" y="22"/>
                  </a:lnTo>
                  <a:lnTo>
                    <a:pt x="31" y="20"/>
                  </a:lnTo>
                  <a:lnTo>
                    <a:pt x="33" y="19"/>
                  </a:lnTo>
                  <a:lnTo>
                    <a:pt x="33" y="15"/>
                  </a:lnTo>
                  <a:lnTo>
                    <a:pt x="33" y="14"/>
                  </a:lnTo>
                  <a:lnTo>
                    <a:pt x="34" y="12"/>
                  </a:lnTo>
                  <a:lnTo>
                    <a:pt x="36" y="12"/>
                  </a:lnTo>
                  <a:lnTo>
                    <a:pt x="36" y="10"/>
                  </a:lnTo>
                  <a:lnTo>
                    <a:pt x="36" y="8"/>
                  </a:lnTo>
                  <a:lnTo>
                    <a:pt x="36" y="7"/>
                  </a:lnTo>
                  <a:lnTo>
                    <a:pt x="38" y="5"/>
                  </a:lnTo>
                  <a:lnTo>
                    <a:pt x="40" y="5"/>
                  </a:lnTo>
                  <a:lnTo>
                    <a:pt x="41" y="5"/>
                  </a:lnTo>
                  <a:lnTo>
                    <a:pt x="43" y="5"/>
                  </a:lnTo>
                  <a:lnTo>
                    <a:pt x="45" y="7"/>
                  </a:lnTo>
                  <a:lnTo>
                    <a:pt x="46" y="7"/>
                  </a:lnTo>
                  <a:lnTo>
                    <a:pt x="48" y="5"/>
                  </a:lnTo>
                  <a:lnTo>
                    <a:pt x="50" y="7"/>
                  </a:lnTo>
                  <a:lnTo>
                    <a:pt x="53" y="7"/>
                  </a:lnTo>
                  <a:lnTo>
                    <a:pt x="53" y="5"/>
                  </a:lnTo>
                  <a:lnTo>
                    <a:pt x="53" y="3"/>
                  </a:lnTo>
                  <a:lnTo>
                    <a:pt x="55" y="5"/>
                  </a:lnTo>
                  <a:lnTo>
                    <a:pt x="55" y="3"/>
                  </a:lnTo>
                  <a:lnTo>
                    <a:pt x="55" y="2"/>
                  </a:lnTo>
                  <a:lnTo>
                    <a:pt x="57" y="2"/>
                  </a:lnTo>
                  <a:lnTo>
                    <a:pt x="55" y="2"/>
                  </a:lnTo>
                  <a:lnTo>
                    <a:pt x="57" y="2"/>
                  </a:lnTo>
                  <a:lnTo>
                    <a:pt x="58" y="0"/>
                  </a:lnTo>
                  <a:lnTo>
                    <a:pt x="58" y="2"/>
                  </a:lnTo>
                  <a:lnTo>
                    <a:pt x="58" y="3"/>
                  </a:lnTo>
                  <a:lnTo>
                    <a:pt x="60" y="3"/>
                  </a:lnTo>
                  <a:lnTo>
                    <a:pt x="60" y="2"/>
                  </a:lnTo>
                  <a:lnTo>
                    <a:pt x="62" y="3"/>
                  </a:lnTo>
                  <a:lnTo>
                    <a:pt x="62" y="2"/>
                  </a:lnTo>
                  <a:lnTo>
                    <a:pt x="62" y="3"/>
                  </a:lnTo>
                  <a:lnTo>
                    <a:pt x="63" y="3"/>
                  </a:lnTo>
                  <a:lnTo>
                    <a:pt x="63" y="5"/>
                  </a:lnTo>
                  <a:lnTo>
                    <a:pt x="65" y="5"/>
                  </a:lnTo>
                  <a:lnTo>
                    <a:pt x="67" y="5"/>
                  </a:lnTo>
                  <a:lnTo>
                    <a:pt x="68" y="7"/>
                  </a:lnTo>
                  <a:lnTo>
                    <a:pt x="70" y="7"/>
                  </a:lnTo>
                  <a:lnTo>
                    <a:pt x="72" y="7"/>
                  </a:lnTo>
                  <a:lnTo>
                    <a:pt x="74" y="7"/>
                  </a:lnTo>
                  <a:lnTo>
                    <a:pt x="75" y="5"/>
                  </a:lnTo>
                  <a:lnTo>
                    <a:pt x="75" y="3"/>
                  </a:lnTo>
                  <a:lnTo>
                    <a:pt x="75" y="5"/>
                  </a:lnTo>
                  <a:lnTo>
                    <a:pt x="79" y="5"/>
                  </a:lnTo>
                  <a:lnTo>
                    <a:pt x="79" y="7"/>
                  </a:lnTo>
                  <a:lnTo>
                    <a:pt x="82" y="7"/>
                  </a:lnTo>
                  <a:lnTo>
                    <a:pt x="84" y="5"/>
                  </a:lnTo>
                  <a:lnTo>
                    <a:pt x="84" y="7"/>
                  </a:lnTo>
                  <a:lnTo>
                    <a:pt x="87" y="7"/>
                  </a:lnTo>
                  <a:lnTo>
                    <a:pt x="85" y="8"/>
                  </a:lnTo>
                  <a:lnTo>
                    <a:pt x="89" y="8"/>
                  </a:lnTo>
                  <a:lnTo>
                    <a:pt x="89" y="7"/>
                  </a:lnTo>
                  <a:lnTo>
                    <a:pt x="89" y="8"/>
                  </a:lnTo>
                  <a:lnTo>
                    <a:pt x="92" y="8"/>
                  </a:lnTo>
                  <a:lnTo>
                    <a:pt x="94" y="7"/>
                  </a:lnTo>
                  <a:lnTo>
                    <a:pt x="96" y="7"/>
                  </a:lnTo>
                  <a:lnTo>
                    <a:pt x="97" y="7"/>
                  </a:lnTo>
                  <a:lnTo>
                    <a:pt x="99" y="8"/>
                  </a:lnTo>
                  <a:lnTo>
                    <a:pt x="101" y="8"/>
                  </a:lnTo>
                  <a:lnTo>
                    <a:pt x="102" y="10"/>
                  </a:lnTo>
                  <a:lnTo>
                    <a:pt x="104" y="12"/>
                  </a:lnTo>
                  <a:lnTo>
                    <a:pt x="106" y="10"/>
                  </a:lnTo>
                  <a:lnTo>
                    <a:pt x="108" y="10"/>
                  </a:lnTo>
                  <a:lnTo>
                    <a:pt x="109" y="8"/>
                  </a:lnTo>
                  <a:lnTo>
                    <a:pt x="108" y="7"/>
                  </a:lnTo>
                  <a:lnTo>
                    <a:pt x="109" y="5"/>
                  </a:lnTo>
                  <a:lnTo>
                    <a:pt x="111" y="3"/>
                  </a:lnTo>
                  <a:lnTo>
                    <a:pt x="113" y="5"/>
                  </a:lnTo>
                  <a:lnTo>
                    <a:pt x="114" y="3"/>
                  </a:lnTo>
                  <a:lnTo>
                    <a:pt x="116" y="5"/>
                  </a:lnTo>
                  <a:lnTo>
                    <a:pt x="114" y="5"/>
                  </a:lnTo>
                  <a:lnTo>
                    <a:pt x="118" y="7"/>
                  </a:lnTo>
                  <a:lnTo>
                    <a:pt x="119" y="7"/>
                  </a:lnTo>
                  <a:lnTo>
                    <a:pt x="121" y="7"/>
                  </a:lnTo>
                  <a:lnTo>
                    <a:pt x="123" y="5"/>
                  </a:lnTo>
                  <a:lnTo>
                    <a:pt x="121" y="3"/>
                  </a:lnTo>
                  <a:lnTo>
                    <a:pt x="125" y="2"/>
                  </a:lnTo>
                  <a:lnTo>
                    <a:pt x="126" y="3"/>
                  </a:lnTo>
                  <a:lnTo>
                    <a:pt x="128" y="5"/>
                  </a:lnTo>
                  <a:lnTo>
                    <a:pt x="131" y="3"/>
                  </a:lnTo>
                  <a:lnTo>
                    <a:pt x="133" y="3"/>
                  </a:lnTo>
                  <a:lnTo>
                    <a:pt x="133" y="5"/>
                  </a:lnTo>
                  <a:lnTo>
                    <a:pt x="135" y="7"/>
                  </a:lnTo>
                  <a:lnTo>
                    <a:pt x="138" y="7"/>
                  </a:lnTo>
                  <a:lnTo>
                    <a:pt x="140" y="5"/>
                  </a:lnTo>
                  <a:lnTo>
                    <a:pt x="138" y="3"/>
                  </a:lnTo>
                  <a:lnTo>
                    <a:pt x="140" y="5"/>
                  </a:lnTo>
                  <a:lnTo>
                    <a:pt x="140" y="3"/>
                  </a:lnTo>
                  <a:lnTo>
                    <a:pt x="142" y="5"/>
                  </a:lnTo>
                  <a:lnTo>
                    <a:pt x="143" y="3"/>
                  </a:lnTo>
                  <a:lnTo>
                    <a:pt x="142" y="5"/>
                  </a:lnTo>
                  <a:lnTo>
                    <a:pt x="145" y="5"/>
                  </a:lnTo>
                  <a:lnTo>
                    <a:pt x="145" y="3"/>
                  </a:lnTo>
                  <a:lnTo>
                    <a:pt x="147" y="3"/>
                  </a:lnTo>
                  <a:lnTo>
                    <a:pt x="145" y="5"/>
                  </a:lnTo>
                  <a:lnTo>
                    <a:pt x="148" y="7"/>
                  </a:lnTo>
                  <a:lnTo>
                    <a:pt x="148" y="8"/>
                  </a:lnTo>
                  <a:lnTo>
                    <a:pt x="148" y="10"/>
                  </a:lnTo>
                  <a:lnTo>
                    <a:pt x="150" y="8"/>
                  </a:lnTo>
                  <a:lnTo>
                    <a:pt x="152" y="10"/>
                  </a:lnTo>
                  <a:lnTo>
                    <a:pt x="153" y="14"/>
                  </a:lnTo>
                  <a:lnTo>
                    <a:pt x="150" y="14"/>
                  </a:lnTo>
                  <a:lnTo>
                    <a:pt x="152" y="15"/>
                  </a:lnTo>
                  <a:lnTo>
                    <a:pt x="153" y="17"/>
                  </a:lnTo>
                  <a:lnTo>
                    <a:pt x="155" y="19"/>
                  </a:lnTo>
                  <a:lnTo>
                    <a:pt x="159" y="19"/>
                  </a:lnTo>
                  <a:lnTo>
                    <a:pt x="160" y="19"/>
                  </a:lnTo>
                  <a:lnTo>
                    <a:pt x="162" y="19"/>
                  </a:lnTo>
                  <a:lnTo>
                    <a:pt x="164" y="17"/>
                  </a:lnTo>
                  <a:close/>
                  <a:moveTo>
                    <a:pt x="194" y="105"/>
                  </a:moveTo>
                  <a:lnTo>
                    <a:pt x="196" y="105"/>
                  </a:lnTo>
                  <a:lnTo>
                    <a:pt x="196" y="107"/>
                  </a:lnTo>
                  <a:lnTo>
                    <a:pt x="194" y="107"/>
                  </a:lnTo>
                  <a:lnTo>
                    <a:pt x="194" y="10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19" name="Freeform 49">
              <a:extLst>
                <a:ext uri="{FF2B5EF4-FFF2-40B4-BE49-F238E27FC236}">
                  <a16:creationId xmlns:a16="http://schemas.microsoft.com/office/drawing/2014/main" id="{E53DA9DE-92C1-4BBD-99C6-D8AFD8445ED1}"/>
                </a:ext>
              </a:extLst>
            </p:cNvPr>
            <p:cNvSpPr>
              <a:spLocks/>
            </p:cNvSpPr>
            <p:nvPr/>
          </p:nvSpPr>
          <p:spPr bwMode="gray">
            <a:xfrm>
              <a:off x="8736814" y="5536636"/>
              <a:ext cx="14813" cy="20740"/>
            </a:xfrm>
            <a:custGeom>
              <a:avLst/>
              <a:gdLst>
                <a:gd name="T0" fmla="*/ 5 w 5"/>
                <a:gd name="T1" fmla="*/ 0 h 7"/>
                <a:gd name="T2" fmla="*/ 5 w 5"/>
                <a:gd name="T3" fmla="*/ 2 h 7"/>
                <a:gd name="T4" fmla="*/ 5 w 5"/>
                <a:gd name="T5" fmla="*/ 4 h 7"/>
                <a:gd name="T6" fmla="*/ 5 w 5"/>
                <a:gd name="T7" fmla="*/ 6 h 7"/>
                <a:gd name="T8" fmla="*/ 4 w 5"/>
                <a:gd name="T9" fmla="*/ 7 h 7"/>
                <a:gd name="T10" fmla="*/ 2 w 5"/>
                <a:gd name="T11" fmla="*/ 6 h 7"/>
                <a:gd name="T12" fmla="*/ 0 w 5"/>
                <a:gd name="T13" fmla="*/ 6 h 7"/>
                <a:gd name="T14" fmla="*/ 0 w 5"/>
                <a:gd name="T15" fmla="*/ 4 h 7"/>
                <a:gd name="T16" fmla="*/ 0 w 5"/>
                <a:gd name="T17" fmla="*/ 2 h 7"/>
                <a:gd name="T18" fmla="*/ 2 w 5"/>
                <a:gd name="T19" fmla="*/ 2 h 7"/>
                <a:gd name="T20" fmla="*/ 4 w 5"/>
                <a:gd name="T21" fmla="*/ 0 h 7"/>
                <a:gd name="T22" fmla="*/ 5 w 5"/>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7">
                  <a:moveTo>
                    <a:pt x="5" y="0"/>
                  </a:moveTo>
                  <a:lnTo>
                    <a:pt x="5" y="2"/>
                  </a:lnTo>
                  <a:lnTo>
                    <a:pt x="5" y="4"/>
                  </a:lnTo>
                  <a:lnTo>
                    <a:pt x="5" y="6"/>
                  </a:lnTo>
                  <a:lnTo>
                    <a:pt x="4" y="7"/>
                  </a:lnTo>
                  <a:lnTo>
                    <a:pt x="2" y="6"/>
                  </a:lnTo>
                  <a:lnTo>
                    <a:pt x="0" y="6"/>
                  </a:lnTo>
                  <a:lnTo>
                    <a:pt x="0" y="4"/>
                  </a:lnTo>
                  <a:lnTo>
                    <a:pt x="0" y="2"/>
                  </a:lnTo>
                  <a:lnTo>
                    <a:pt x="2" y="2"/>
                  </a:lnTo>
                  <a:lnTo>
                    <a:pt x="4" y="0"/>
                  </a:lnTo>
                  <a:lnTo>
                    <a:pt x="5"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20" name="Freeform 51">
              <a:extLst>
                <a:ext uri="{FF2B5EF4-FFF2-40B4-BE49-F238E27FC236}">
                  <a16:creationId xmlns:a16="http://schemas.microsoft.com/office/drawing/2014/main" id="{25545E61-3C26-4D21-9350-FE2081C82348}"/>
                </a:ext>
              </a:extLst>
            </p:cNvPr>
            <p:cNvSpPr>
              <a:spLocks/>
            </p:cNvSpPr>
            <p:nvPr/>
          </p:nvSpPr>
          <p:spPr bwMode="gray">
            <a:xfrm>
              <a:off x="7051015" y="5744028"/>
              <a:ext cx="53329" cy="50368"/>
            </a:xfrm>
            <a:custGeom>
              <a:avLst/>
              <a:gdLst>
                <a:gd name="T0" fmla="*/ 15 w 18"/>
                <a:gd name="T1" fmla="*/ 12 h 17"/>
                <a:gd name="T2" fmla="*/ 13 w 18"/>
                <a:gd name="T3" fmla="*/ 14 h 17"/>
                <a:gd name="T4" fmla="*/ 12 w 18"/>
                <a:gd name="T5" fmla="*/ 12 h 17"/>
                <a:gd name="T6" fmla="*/ 12 w 18"/>
                <a:gd name="T7" fmla="*/ 14 h 17"/>
                <a:gd name="T8" fmla="*/ 8 w 18"/>
                <a:gd name="T9" fmla="*/ 14 h 17"/>
                <a:gd name="T10" fmla="*/ 7 w 18"/>
                <a:gd name="T11" fmla="*/ 15 h 17"/>
                <a:gd name="T12" fmla="*/ 7 w 18"/>
                <a:gd name="T13" fmla="*/ 14 h 17"/>
                <a:gd name="T14" fmla="*/ 5 w 18"/>
                <a:gd name="T15" fmla="*/ 15 h 17"/>
                <a:gd name="T16" fmla="*/ 3 w 18"/>
                <a:gd name="T17" fmla="*/ 17 h 17"/>
                <a:gd name="T18" fmla="*/ 3 w 18"/>
                <a:gd name="T19" fmla="*/ 15 h 17"/>
                <a:gd name="T20" fmla="*/ 0 w 18"/>
                <a:gd name="T21" fmla="*/ 15 h 17"/>
                <a:gd name="T22" fmla="*/ 0 w 18"/>
                <a:gd name="T23" fmla="*/ 12 h 17"/>
                <a:gd name="T24" fmla="*/ 1 w 18"/>
                <a:gd name="T25" fmla="*/ 10 h 17"/>
                <a:gd name="T26" fmla="*/ 1 w 18"/>
                <a:gd name="T27" fmla="*/ 9 h 17"/>
                <a:gd name="T28" fmla="*/ 0 w 18"/>
                <a:gd name="T29" fmla="*/ 9 h 17"/>
                <a:gd name="T30" fmla="*/ 1 w 18"/>
                <a:gd name="T31" fmla="*/ 7 h 17"/>
                <a:gd name="T32" fmla="*/ 0 w 18"/>
                <a:gd name="T33" fmla="*/ 5 h 17"/>
                <a:gd name="T34" fmla="*/ 1 w 18"/>
                <a:gd name="T35" fmla="*/ 4 h 17"/>
                <a:gd name="T36" fmla="*/ 3 w 18"/>
                <a:gd name="T37" fmla="*/ 4 h 17"/>
                <a:gd name="T38" fmla="*/ 3 w 18"/>
                <a:gd name="T39" fmla="*/ 0 h 17"/>
                <a:gd name="T40" fmla="*/ 5 w 18"/>
                <a:gd name="T41" fmla="*/ 2 h 17"/>
                <a:gd name="T42" fmla="*/ 7 w 18"/>
                <a:gd name="T43" fmla="*/ 0 h 17"/>
                <a:gd name="T44" fmla="*/ 8 w 18"/>
                <a:gd name="T45" fmla="*/ 2 h 17"/>
                <a:gd name="T46" fmla="*/ 10 w 18"/>
                <a:gd name="T47" fmla="*/ 4 h 17"/>
                <a:gd name="T48" fmla="*/ 12 w 18"/>
                <a:gd name="T49" fmla="*/ 4 h 17"/>
                <a:gd name="T50" fmla="*/ 13 w 18"/>
                <a:gd name="T51" fmla="*/ 4 h 17"/>
                <a:gd name="T52" fmla="*/ 17 w 18"/>
                <a:gd name="T53" fmla="*/ 5 h 17"/>
                <a:gd name="T54" fmla="*/ 15 w 18"/>
                <a:gd name="T55" fmla="*/ 7 h 17"/>
                <a:gd name="T56" fmla="*/ 18 w 18"/>
                <a:gd name="T57" fmla="*/ 7 h 17"/>
                <a:gd name="T58" fmla="*/ 17 w 18"/>
                <a:gd name="T59" fmla="*/ 9 h 17"/>
                <a:gd name="T60" fmla="*/ 15 w 18"/>
                <a:gd name="T6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 h="17">
                  <a:moveTo>
                    <a:pt x="15" y="12"/>
                  </a:moveTo>
                  <a:lnTo>
                    <a:pt x="13" y="14"/>
                  </a:lnTo>
                  <a:lnTo>
                    <a:pt x="12" y="12"/>
                  </a:lnTo>
                  <a:lnTo>
                    <a:pt x="12" y="14"/>
                  </a:lnTo>
                  <a:lnTo>
                    <a:pt x="8" y="14"/>
                  </a:lnTo>
                  <a:lnTo>
                    <a:pt x="7" y="15"/>
                  </a:lnTo>
                  <a:lnTo>
                    <a:pt x="7" y="14"/>
                  </a:lnTo>
                  <a:lnTo>
                    <a:pt x="5" y="15"/>
                  </a:lnTo>
                  <a:lnTo>
                    <a:pt x="3" y="17"/>
                  </a:lnTo>
                  <a:lnTo>
                    <a:pt x="3" y="15"/>
                  </a:lnTo>
                  <a:lnTo>
                    <a:pt x="0" y="15"/>
                  </a:lnTo>
                  <a:lnTo>
                    <a:pt x="0" y="12"/>
                  </a:lnTo>
                  <a:lnTo>
                    <a:pt x="1" y="10"/>
                  </a:lnTo>
                  <a:lnTo>
                    <a:pt x="1" y="9"/>
                  </a:lnTo>
                  <a:lnTo>
                    <a:pt x="0" y="9"/>
                  </a:lnTo>
                  <a:lnTo>
                    <a:pt x="1" y="7"/>
                  </a:lnTo>
                  <a:lnTo>
                    <a:pt x="0" y="5"/>
                  </a:lnTo>
                  <a:lnTo>
                    <a:pt x="1" y="4"/>
                  </a:lnTo>
                  <a:lnTo>
                    <a:pt x="3" y="4"/>
                  </a:lnTo>
                  <a:lnTo>
                    <a:pt x="3" y="0"/>
                  </a:lnTo>
                  <a:lnTo>
                    <a:pt x="5" y="2"/>
                  </a:lnTo>
                  <a:lnTo>
                    <a:pt x="7" y="0"/>
                  </a:lnTo>
                  <a:lnTo>
                    <a:pt x="8" y="2"/>
                  </a:lnTo>
                  <a:lnTo>
                    <a:pt x="10" y="4"/>
                  </a:lnTo>
                  <a:lnTo>
                    <a:pt x="12" y="4"/>
                  </a:lnTo>
                  <a:lnTo>
                    <a:pt x="13" y="4"/>
                  </a:lnTo>
                  <a:lnTo>
                    <a:pt x="17" y="5"/>
                  </a:lnTo>
                  <a:lnTo>
                    <a:pt x="15" y="7"/>
                  </a:lnTo>
                  <a:lnTo>
                    <a:pt x="18" y="7"/>
                  </a:lnTo>
                  <a:lnTo>
                    <a:pt x="17" y="9"/>
                  </a:lnTo>
                  <a:lnTo>
                    <a:pt x="15" y="1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21" name="Freeform 52">
              <a:extLst>
                <a:ext uri="{FF2B5EF4-FFF2-40B4-BE49-F238E27FC236}">
                  <a16:creationId xmlns:a16="http://schemas.microsoft.com/office/drawing/2014/main" id="{12AB2255-2277-4B38-AECC-F15CA23FE986}"/>
                </a:ext>
              </a:extLst>
            </p:cNvPr>
            <p:cNvSpPr>
              <a:spLocks/>
            </p:cNvSpPr>
            <p:nvPr/>
          </p:nvSpPr>
          <p:spPr bwMode="gray">
            <a:xfrm>
              <a:off x="8298328" y="4858170"/>
              <a:ext cx="26664" cy="44442"/>
            </a:xfrm>
            <a:custGeom>
              <a:avLst/>
              <a:gdLst>
                <a:gd name="T0" fmla="*/ 7 w 9"/>
                <a:gd name="T1" fmla="*/ 15 h 15"/>
                <a:gd name="T2" fmla="*/ 4 w 9"/>
                <a:gd name="T3" fmla="*/ 15 h 15"/>
                <a:gd name="T4" fmla="*/ 0 w 9"/>
                <a:gd name="T5" fmla="*/ 15 h 15"/>
                <a:gd name="T6" fmla="*/ 2 w 9"/>
                <a:gd name="T7" fmla="*/ 13 h 15"/>
                <a:gd name="T8" fmla="*/ 2 w 9"/>
                <a:gd name="T9" fmla="*/ 12 h 15"/>
                <a:gd name="T10" fmla="*/ 2 w 9"/>
                <a:gd name="T11" fmla="*/ 10 h 15"/>
                <a:gd name="T12" fmla="*/ 2 w 9"/>
                <a:gd name="T13" fmla="*/ 7 h 15"/>
                <a:gd name="T14" fmla="*/ 0 w 9"/>
                <a:gd name="T15" fmla="*/ 7 h 15"/>
                <a:gd name="T16" fmla="*/ 2 w 9"/>
                <a:gd name="T17" fmla="*/ 3 h 15"/>
                <a:gd name="T18" fmla="*/ 2 w 9"/>
                <a:gd name="T19" fmla="*/ 1 h 15"/>
                <a:gd name="T20" fmla="*/ 4 w 9"/>
                <a:gd name="T21" fmla="*/ 0 h 15"/>
                <a:gd name="T22" fmla="*/ 5 w 9"/>
                <a:gd name="T23" fmla="*/ 1 h 15"/>
                <a:gd name="T24" fmla="*/ 4 w 9"/>
                <a:gd name="T25" fmla="*/ 3 h 15"/>
                <a:gd name="T26" fmla="*/ 5 w 9"/>
                <a:gd name="T27" fmla="*/ 5 h 15"/>
                <a:gd name="T28" fmla="*/ 5 w 9"/>
                <a:gd name="T29" fmla="*/ 7 h 15"/>
                <a:gd name="T30" fmla="*/ 7 w 9"/>
                <a:gd name="T31" fmla="*/ 8 h 15"/>
                <a:gd name="T32" fmla="*/ 9 w 9"/>
                <a:gd name="T33" fmla="*/ 10 h 15"/>
                <a:gd name="T34" fmla="*/ 7 w 9"/>
                <a:gd name="T35" fmla="*/ 12 h 15"/>
                <a:gd name="T36" fmla="*/ 9 w 9"/>
                <a:gd name="T37" fmla="*/ 13 h 15"/>
                <a:gd name="T38" fmla="*/ 7 w 9"/>
                <a:gd name="T39" fmla="*/ 13 h 15"/>
                <a:gd name="T40" fmla="*/ 7 w 9"/>
                <a:gd name="T41"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 h="15">
                  <a:moveTo>
                    <a:pt x="7" y="15"/>
                  </a:moveTo>
                  <a:lnTo>
                    <a:pt x="4" y="15"/>
                  </a:lnTo>
                  <a:lnTo>
                    <a:pt x="0" y="15"/>
                  </a:lnTo>
                  <a:lnTo>
                    <a:pt x="2" y="13"/>
                  </a:lnTo>
                  <a:lnTo>
                    <a:pt x="2" y="12"/>
                  </a:lnTo>
                  <a:lnTo>
                    <a:pt x="2" y="10"/>
                  </a:lnTo>
                  <a:lnTo>
                    <a:pt x="2" y="7"/>
                  </a:lnTo>
                  <a:lnTo>
                    <a:pt x="0" y="7"/>
                  </a:lnTo>
                  <a:lnTo>
                    <a:pt x="2" y="3"/>
                  </a:lnTo>
                  <a:lnTo>
                    <a:pt x="2" y="1"/>
                  </a:lnTo>
                  <a:lnTo>
                    <a:pt x="4" y="0"/>
                  </a:lnTo>
                  <a:lnTo>
                    <a:pt x="5" y="1"/>
                  </a:lnTo>
                  <a:lnTo>
                    <a:pt x="4" y="3"/>
                  </a:lnTo>
                  <a:lnTo>
                    <a:pt x="5" y="5"/>
                  </a:lnTo>
                  <a:lnTo>
                    <a:pt x="5" y="7"/>
                  </a:lnTo>
                  <a:lnTo>
                    <a:pt x="7" y="8"/>
                  </a:lnTo>
                  <a:lnTo>
                    <a:pt x="9" y="10"/>
                  </a:lnTo>
                  <a:lnTo>
                    <a:pt x="7" y="12"/>
                  </a:lnTo>
                  <a:lnTo>
                    <a:pt x="9" y="13"/>
                  </a:lnTo>
                  <a:lnTo>
                    <a:pt x="7" y="13"/>
                  </a:lnTo>
                  <a:lnTo>
                    <a:pt x="7" y="1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22" name="Freeform 53">
              <a:extLst>
                <a:ext uri="{FF2B5EF4-FFF2-40B4-BE49-F238E27FC236}">
                  <a16:creationId xmlns:a16="http://schemas.microsoft.com/office/drawing/2014/main" id="{03866496-41B3-4421-B60F-9DF3FDD68AAF}"/>
                </a:ext>
              </a:extLst>
            </p:cNvPr>
            <p:cNvSpPr>
              <a:spLocks/>
            </p:cNvSpPr>
            <p:nvPr/>
          </p:nvSpPr>
          <p:spPr bwMode="gray">
            <a:xfrm>
              <a:off x="7806513" y="4238956"/>
              <a:ext cx="103695" cy="151101"/>
            </a:xfrm>
            <a:custGeom>
              <a:avLst/>
              <a:gdLst>
                <a:gd name="T0" fmla="*/ 18 w 35"/>
                <a:gd name="T1" fmla="*/ 6 h 51"/>
                <a:gd name="T2" fmla="*/ 18 w 35"/>
                <a:gd name="T3" fmla="*/ 8 h 51"/>
                <a:gd name="T4" fmla="*/ 18 w 35"/>
                <a:gd name="T5" fmla="*/ 11 h 51"/>
                <a:gd name="T6" fmla="*/ 20 w 35"/>
                <a:gd name="T7" fmla="*/ 15 h 51"/>
                <a:gd name="T8" fmla="*/ 20 w 35"/>
                <a:gd name="T9" fmla="*/ 15 h 51"/>
                <a:gd name="T10" fmla="*/ 22 w 35"/>
                <a:gd name="T11" fmla="*/ 17 h 51"/>
                <a:gd name="T12" fmla="*/ 22 w 35"/>
                <a:gd name="T13" fmla="*/ 20 h 51"/>
                <a:gd name="T14" fmla="*/ 25 w 35"/>
                <a:gd name="T15" fmla="*/ 22 h 51"/>
                <a:gd name="T16" fmla="*/ 25 w 35"/>
                <a:gd name="T17" fmla="*/ 25 h 51"/>
                <a:gd name="T18" fmla="*/ 29 w 35"/>
                <a:gd name="T19" fmla="*/ 27 h 51"/>
                <a:gd name="T20" fmla="*/ 32 w 35"/>
                <a:gd name="T21" fmla="*/ 27 h 51"/>
                <a:gd name="T22" fmla="*/ 35 w 35"/>
                <a:gd name="T23" fmla="*/ 27 h 51"/>
                <a:gd name="T24" fmla="*/ 34 w 35"/>
                <a:gd name="T25" fmla="*/ 30 h 51"/>
                <a:gd name="T26" fmla="*/ 34 w 35"/>
                <a:gd name="T27" fmla="*/ 34 h 51"/>
                <a:gd name="T28" fmla="*/ 30 w 35"/>
                <a:gd name="T29" fmla="*/ 37 h 51"/>
                <a:gd name="T30" fmla="*/ 29 w 35"/>
                <a:gd name="T31" fmla="*/ 40 h 51"/>
                <a:gd name="T32" fmla="*/ 27 w 35"/>
                <a:gd name="T33" fmla="*/ 44 h 51"/>
                <a:gd name="T34" fmla="*/ 27 w 35"/>
                <a:gd name="T35" fmla="*/ 49 h 51"/>
                <a:gd name="T36" fmla="*/ 24 w 35"/>
                <a:gd name="T37" fmla="*/ 51 h 51"/>
                <a:gd name="T38" fmla="*/ 20 w 35"/>
                <a:gd name="T39" fmla="*/ 47 h 51"/>
                <a:gd name="T40" fmla="*/ 17 w 35"/>
                <a:gd name="T41" fmla="*/ 49 h 51"/>
                <a:gd name="T42" fmla="*/ 15 w 35"/>
                <a:gd name="T43" fmla="*/ 51 h 51"/>
                <a:gd name="T44" fmla="*/ 12 w 35"/>
                <a:gd name="T45" fmla="*/ 51 h 51"/>
                <a:gd name="T46" fmla="*/ 8 w 35"/>
                <a:gd name="T47" fmla="*/ 49 h 51"/>
                <a:gd name="T48" fmla="*/ 5 w 35"/>
                <a:gd name="T49" fmla="*/ 47 h 51"/>
                <a:gd name="T50" fmla="*/ 3 w 35"/>
                <a:gd name="T51" fmla="*/ 45 h 51"/>
                <a:gd name="T52" fmla="*/ 1 w 35"/>
                <a:gd name="T53" fmla="*/ 44 h 51"/>
                <a:gd name="T54" fmla="*/ 3 w 35"/>
                <a:gd name="T55" fmla="*/ 40 h 51"/>
                <a:gd name="T56" fmla="*/ 7 w 35"/>
                <a:gd name="T57" fmla="*/ 37 h 51"/>
                <a:gd name="T58" fmla="*/ 5 w 35"/>
                <a:gd name="T59" fmla="*/ 35 h 51"/>
                <a:gd name="T60" fmla="*/ 5 w 35"/>
                <a:gd name="T61" fmla="*/ 32 h 51"/>
                <a:gd name="T62" fmla="*/ 3 w 35"/>
                <a:gd name="T63" fmla="*/ 30 h 51"/>
                <a:gd name="T64" fmla="*/ 0 w 35"/>
                <a:gd name="T65" fmla="*/ 27 h 51"/>
                <a:gd name="T66" fmla="*/ 0 w 35"/>
                <a:gd name="T67" fmla="*/ 22 h 51"/>
                <a:gd name="T68" fmla="*/ 0 w 35"/>
                <a:gd name="T69" fmla="*/ 18 h 51"/>
                <a:gd name="T70" fmla="*/ 1 w 35"/>
                <a:gd name="T71" fmla="*/ 17 h 51"/>
                <a:gd name="T72" fmla="*/ 5 w 35"/>
                <a:gd name="T73" fmla="*/ 13 h 51"/>
                <a:gd name="T74" fmla="*/ 7 w 35"/>
                <a:gd name="T75" fmla="*/ 10 h 51"/>
                <a:gd name="T76" fmla="*/ 7 w 35"/>
                <a:gd name="T77" fmla="*/ 6 h 51"/>
                <a:gd name="T78" fmla="*/ 10 w 35"/>
                <a:gd name="T79" fmla="*/ 3 h 51"/>
                <a:gd name="T80" fmla="*/ 13 w 35"/>
                <a:gd name="T81" fmla="*/ 0 h 51"/>
                <a:gd name="T82" fmla="*/ 15 w 35"/>
                <a:gd name="T83" fmla="*/ 3 h 51"/>
                <a:gd name="T84" fmla="*/ 18 w 35"/>
                <a:gd name="T85" fmla="*/ 3 h 51"/>
                <a:gd name="T86" fmla="*/ 18 w 35"/>
                <a:gd name="T87" fmla="*/ 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 h="51">
                  <a:moveTo>
                    <a:pt x="18" y="5"/>
                  </a:moveTo>
                  <a:lnTo>
                    <a:pt x="18" y="6"/>
                  </a:lnTo>
                  <a:lnTo>
                    <a:pt x="17" y="8"/>
                  </a:lnTo>
                  <a:lnTo>
                    <a:pt x="18" y="8"/>
                  </a:lnTo>
                  <a:lnTo>
                    <a:pt x="17" y="8"/>
                  </a:lnTo>
                  <a:lnTo>
                    <a:pt x="18" y="11"/>
                  </a:lnTo>
                  <a:lnTo>
                    <a:pt x="18" y="13"/>
                  </a:lnTo>
                  <a:lnTo>
                    <a:pt x="20" y="15"/>
                  </a:lnTo>
                  <a:lnTo>
                    <a:pt x="20" y="17"/>
                  </a:lnTo>
                  <a:lnTo>
                    <a:pt x="20" y="15"/>
                  </a:lnTo>
                  <a:lnTo>
                    <a:pt x="20" y="17"/>
                  </a:lnTo>
                  <a:lnTo>
                    <a:pt x="22" y="17"/>
                  </a:lnTo>
                  <a:lnTo>
                    <a:pt x="22" y="18"/>
                  </a:lnTo>
                  <a:lnTo>
                    <a:pt x="22" y="20"/>
                  </a:lnTo>
                  <a:lnTo>
                    <a:pt x="24" y="22"/>
                  </a:lnTo>
                  <a:lnTo>
                    <a:pt x="25" y="22"/>
                  </a:lnTo>
                  <a:lnTo>
                    <a:pt x="25" y="23"/>
                  </a:lnTo>
                  <a:lnTo>
                    <a:pt x="25" y="25"/>
                  </a:lnTo>
                  <a:lnTo>
                    <a:pt x="27" y="23"/>
                  </a:lnTo>
                  <a:lnTo>
                    <a:pt x="29" y="27"/>
                  </a:lnTo>
                  <a:lnTo>
                    <a:pt x="30" y="27"/>
                  </a:lnTo>
                  <a:lnTo>
                    <a:pt x="32" y="27"/>
                  </a:lnTo>
                  <a:lnTo>
                    <a:pt x="34" y="28"/>
                  </a:lnTo>
                  <a:lnTo>
                    <a:pt x="35" y="27"/>
                  </a:lnTo>
                  <a:lnTo>
                    <a:pt x="34" y="28"/>
                  </a:lnTo>
                  <a:lnTo>
                    <a:pt x="34" y="30"/>
                  </a:lnTo>
                  <a:lnTo>
                    <a:pt x="34" y="32"/>
                  </a:lnTo>
                  <a:lnTo>
                    <a:pt x="34" y="34"/>
                  </a:lnTo>
                  <a:lnTo>
                    <a:pt x="32" y="35"/>
                  </a:lnTo>
                  <a:lnTo>
                    <a:pt x="30" y="37"/>
                  </a:lnTo>
                  <a:lnTo>
                    <a:pt x="30" y="39"/>
                  </a:lnTo>
                  <a:lnTo>
                    <a:pt x="29" y="40"/>
                  </a:lnTo>
                  <a:lnTo>
                    <a:pt x="27" y="42"/>
                  </a:lnTo>
                  <a:lnTo>
                    <a:pt x="27" y="44"/>
                  </a:lnTo>
                  <a:lnTo>
                    <a:pt x="27" y="47"/>
                  </a:lnTo>
                  <a:lnTo>
                    <a:pt x="27" y="49"/>
                  </a:lnTo>
                  <a:lnTo>
                    <a:pt x="27" y="51"/>
                  </a:lnTo>
                  <a:lnTo>
                    <a:pt x="24" y="51"/>
                  </a:lnTo>
                  <a:lnTo>
                    <a:pt x="24" y="49"/>
                  </a:lnTo>
                  <a:lnTo>
                    <a:pt x="20" y="47"/>
                  </a:lnTo>
                  <a:lnTo>
                    <a:pt x="18" y="47"/>
                  </a:lnTo>
                  <a:lnTo>
                    <a:pt x="17" y="49"/>
                  </a:lnTo>
                  <a:lnTo>
                    <a:pt x="15" y="49"/>
                  </a:lnTo>
                  <a:lnTo>
                    <a:pt x="15" y="51"/>
                  </a:lnTo>
                  <a:lnTo>
                    <a:pt x="13" y="51"/>
                  </a:lnTo>
                  <a:lnTo>
                    <a:pt x="12" y="51"/>
                  </a:lnTo>
                  <a:lnTo>
                    <a:pt x="8" y="51"/>
                  </a:lnTo>
                  <a:lnTo>
                    <a:pt x="8" y="49"/>
                  </a:lnTo>
                  <a:lnTo>
                    <a:pt x="7" y="47"/>
                  </a:lnTo>
                  <a:lnTo>
                    <a:pt x="5" y="47"/>
                  </a:lnTo>
                  <a:lnTo>
                    <a:pt x="3" y="47"/>
                  </a:lnTo>
                  <a:lnTo>
                    <a:pt x="3" y="45"/>
                  </a:lnTo>
                  <a:lnTo>
                    <a:pt x="3" y="44"/>
                  </a:lnTo>
                  <a:lnTo>
                    <a:pt x="1" y="44"/>
                  </a:lnTo>
                  <a:lnTo>
                    <a:pt x="5" y="42"/>
                  </a:lnTo>
                  <a:lnTo>
                    <a:pt x="3" y="40"/>
                  </a:lnTo>
                  <a:lnTo>
                    <a:pt x="5" y="39"/>
                  </a:lnTo>
                  <a:lnTo>
                    <a:pt x="7" y="37"/>
                  </a:lnTo>
                  <a:lnTo>
                    <a:pt x="7" y="35"/>
                  </a:lnTo>
                  <a:lnTo>
                    <a:pt x="5" y="35"/>
                  </a:lnTo>
                  <a:lnTo>
                    <a:pt x="7" y="34"/>
                  </a:lnTo>
                  <a:lnTo>
                    <a:pt x="5" y="32"/>
                  </a:lnTo>
                  <a:lnTo>
                    <a:pt x="3" y="32"/>
                  </a:lnTo>
                  <a:lnTo>
                    <a:pt x="3" y="30"/>
                  </a:lnTo>
                  <a:lnTo>
                    <a:pt x="1" y="27"/>
                  </a:lnTo>
                  <a:lnTo>
                    <a:pt x="0" y="27"/>
                  </a:lnTo>
                  <a:lnTo>
                    <a:pt x="0" y="23"/>
                  </a:lnTo>
                  <a:lnTo>
                    <a:pt x="0" y="22"/>
                  </a:lnTo>
                  <a:lnTo>
                    <a:pt x="1" y="20"/>
                  </a:lnTo>
                  <a:lnTo>
                    <a:pt x="0" y="18"/>
                  </a:lnTo>
                  <a:lnTo>
                    <a:pt x="1" y="18"/>
                  </a:lnTo>
                  <a:lnTo>
                    <a:pt x="1" y="17"/>
                  </a:lnTo>
                  <a:lnTo>
                    <a:pt x="1" y="15"/>
                  </a:lnTo>
                  <a:lnTo>
                    <a:pt x="5" y="13"/>
                  </a:lnTo>
                  <a:lnTo>
                    <a:pt x="3" y="11"/>
                  </a:lnTo>
                  <a:lnTo>
                    <a:pt x="7" y="10"/>
                  </a:lnTo>
                  <a:lnTo>
                    <a:pt x="5" y="8"/>
                  </a:lnTo>
                  <a:lnTo>
                    <a:pt x="7" y="6"/>
                  </a:lnTo>
                  <a:lnTo>
                    <a:pt x="8" y="5"/>
                  </a:lnTo>
                  <a:lnTo>
                    <a:pt x="10" y="3"/>
                  </a:lnTo>
                  <a:lnTo>
                    <a:pt x="12" y="1"/>
                  </a:lnTo>
                  <a:lnTo>
                    <a:pt x="13" y="0"/>
                  </a:lnTo>
                  <a:lnTo>
                    <a:pt x="13" y="1"/>
                  </a:lnTo>
                  <a:lnTo>
                    <a:pt x="15" y="3"/>
                  </a:lnTo>
                  <a:lnTo>
                    <a:pt x="17" y="1"/>
                  </a:lnTo>
                  <a:lnTo>
                    <a:pt x="18" y="3"/>
                  </a:lnTo>
                  <a:lnTo>
                    <a:pt x="17" y="3"/>
                  </a:lnTo>
                  <a:lnTo>
                    <a:pt x="18" y="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23" name="Freeform 54">
              <a:extLst>
                <a:ext uri="{FF2B5EF4-FFF2-40B4-BE49-F238E27FC236}">
                  <a16:creationId xmlns:a16="http://schemas.microsoft.com/office/drawing/2014/main" id="{CE133D24-2058-4C58-A241-8252F0940497}"/>
                </a:ext>
              </a:extLst>
            </p:cNvPr>
            <p:cNvSpPr>
              <a:spLocks/>
            </p:cNvSpPr>
            <p:nvPr/>
          </p:nvSpPr>
          <p:spPr bwMode="gray">
            <a:xfrm>
              <a:off x="9317511" y="4277473"/>
              <a:ext cx="755498" cy="423673"/>
            </a:xfrm>
            <a:custGeom>
              <a:avLst/>
              <a:gdLst>
                <a:gd name="T0" fmla="*/ 251 w 255"/>
                <a:gd name="T1" fmla="*/ 31 h 143"/>
                <a:gd name="T2" fmla="*/ 250 w 255"/>
                <a:gd name="T3" fmla="*/ 44 h 143"/>
                <a:gd name="T4" fmla="*/ 243 w 255"/>
                <a:gd name="T5" fmla="*/ 56 h 143"/>
                <a:gd name="T6" fmla="*/ 243 w 255"/>
                <a:gd name="T7" fmla="*/ 70 h 143"/>
                <a:gd name="T8" fmla="*/ 234 w 255"/>
                <a:gd name="T9" fmla="*/ 73 h 143"/>
                <a:gd name="T10" fmla="*/ 224 w 255"/>
                <a:gd name="T11" fmla="*/ 73 h 143"/>
                <a:gd name="T12" fmla="*/ 216 w 255"/>
                <a:gd name="T13" fmla="*/ 67 h 143"/>
                <a:gd name="T14" fmla="*/ 207 w 255"/>
                <a:gd name="T15" fmla="*/ 63 h 143"/>
                <a:gd name="T16" fmla="*/ 195 w 255"/>
                <a:gd name="T17" fmla="*/ 70 h 143"/>
                <a:gd name="T18" fmla="*/ 182 w 255"/>
                <a:gd name="T19" fmla="*/ 67 h 143"/>
                <a:gd name="T20" fmla="*/ 168 w 255"/>
                <a:gd name="T21" fmla="*/ 72 h 143"/>
                <a:gd name="T22" fmla="*/ 163 w 255"/>
                <a:gd name="T23" fmla="*/ 87 h 143"/>
                <a:gd name="T24" fmla="*/ 153 w 255"/>
                <a:gd name="T25" fmla="*/ 94 h 143"/>
                <a:gd name="T26" fmla="*/ 143 w 255"/>
                <a:gd name="T27" fmla="*/ 104 h 143"/>
                <a:gd name="T28" fmla="*/ 137 w 255"/>
                <a:gd name="T29" fmla="*/ 101 h 143"/>
                <a:gd name="T30" fmla="*/ 126 w 255"/>
                <a:gd name="T31" fmla="*/ 101 h 143"/>
                <a:gd name="T32" fmla="*/ 120 w 255"/>
                <a:gd name="T33" fmla="*/ 111 h 143"/>
                <a:gd name="T34" fmla="*/ 110 w 255"/>
                <a:gd name="T35" fmla="*/ 112 h 143"/>
                <a:gd name="T36" fmla="*/ 98 w 255"/>
                <a:gd name="T37" fmla="*/ 116 h 143"/>
                <a:gd name="T38" fmla="*/ 93 w 255"/>
                <a:gd name="T39" fmla="*/ 123 h 143"/>
                <a:gd name="T40" fmla="*/ 95 w 255"/>
                <a:gd name="T41" fmla="*/ 131 h 143"/>
                <a:gd name="T42" fmla="*/ 83 w 255"/>
                <a:gd name="T43" fmla="*/ 138 h 143"/>
                <a:gd name="T44" fmla="*/ 69 w 255"/>
                <a:gd name="T45" fmla="*/ 141 h 143"/>
                <a:gd name="T46" fmla="*/ 56 w 255"/>
                <a:gd name="T47" fmla="*/ 141 h 143"/>
                <a:gd name="T48" fmla="*/ 39 w 255"/>
                <a:gd name="T49" fmla="*/ 138 h 143"/>
                <a:gd name="T50" fmla="*/ 27 w 255"/>
                <a:gd name="T51" fmla="*/ 129 h 143"/>
                <a:gd name="T52" fmla="*/ 13 w 255"/>
                <a:gd name="T53" fmla="*/ 128 h 143"/>
                <a:gd name="T54" fmla="*/ 12 w 255"/>
                <a:gd name="T55" fmla="*/ 119 h 143"/>
                <a:gd name="T56" fmla="*/ 5 w 255"/>
                <a:gd name="T57" fmla="*/ 111 h 143"/>
                <a:gd name="T58" fmla="*/ 0 w 255"/>
                <a:gd name="T59" fmla="*/ 99 h 143"/>
                <a:gd name="T60" fmla="*/ 3 w 255"/>
                <a:gd name="T61" fmla="*/ 82 h 143"/>
                <a:gd name="T62" fmla="*/ 10 w 255"/>
                <a:gd name="T63" fmla="*/ 70 h 143"/>
                <a:gd name="T64" fmla="*/ 22 w 255"/>
                <a:gd name="T65" fmla="*/ 70 h 143"/>
                <a:gd name="T66" fmla="*/ 30 w 255"/>
                <a:gd name="T67" fmla="*/ 68 h 143"/>
                <a:gd name="T68" fmla="*/ 44 w 255"/>
                <a:gd name="T69" fmla="*/ 60 h 143"/>
                <a:gd name="T70" fmla="*/ 51 w 255"/>
                <a:gd name="T71" fmla="*/ 51 h 143"/>
                <a:gd name="T72" fmla="*/ 54 w 255"/>
                <a:gd name="T73" fmla="*/ 39 h 143"/>
                <a:gd name="T74" fmla="*/ 63 w 255"/>
                <a:gd name="T75" fmla="*/ 29 h 143"/>
                <a:gd name="T76" fmla="*/ 69 w 255"/>
                <a:gd name="T77" fmla="*/ 17 h 143"/>
                <a:gd name="T78" fmla="*/ 83 w 255"/>
                <a:gd name="T79" fmla="*/ 14 h 143"/>
                <a:gd name="T80" fmla="*/ 88 w 255"/>
                <a:gd name="T81" fmla="*/ 21 h 143"/>
                <a:gd name="T82" fmla="*/ 98 w 255"/>
                <a:gd name="T83" fmla="*/ 17 h 143"/>
                <a:gd name="T84" fmla="*/ 107 w 255"/>
                <a:gd name="T85" fmla="*/ 5 h 143"/>
                <a:gd name="T86" fmla="*/ 114 w 255"/>
                <a:gd name="T87" fmla="*/ 10 h 143"/>
                <a:gd name="T88" fmla="*/ 122 w 255"/>
                <a:gd name="T89" fmla="*/ 17 h 143"/>
                <a:gd name="T90" fmla="*/ 127 w 255"/>
                <a:gd name="T91" fmla="*/ 24 h 143"/>
                <a:gd name="T92" fmla="*/ 132 w 255"/>
                <a:gd name="T93" fmla="*/ 31 h 143"/>
                <a:gd name="T94" fmla="*/ 143 w 255"/>
                <a:gd name="T95" fmla="*/ 27 h 143"/>
                <a:gd name="T96" fmla="*/ 148 w 255"/>
                <a:gd name="T97" fmla="*/ 17 h 143"/>
                <a:gd name="T98" fmla="*/ 153 w 255"/>
                <a:gd name="T99" fmla="*/ 14 h 143"/>
                <a:gd name="T100" fmla="*/ 165 w 255"/>
                <a:gd name="T101" fmla="*/ 10 h 143"/>
                <a:gd name="T102" fmla="*/ 173 w 255"/>
                <a:gd name="T103" fmla="*/ 14 h 143"/>
                <a:gd name="T104" fmla="*/ 183 w 255"/>
                <a:gd name="T105" fmla="*/ 10 h 143"/>
                <a:gd name="T106" fmla="*/ 190 w 255"/>
                <a:gd name="T107" fmla="*/ 7 h 143"/>
                <a:gd name="T108" fmla="*/ 202 w 255"/>
                <a:gd name="T109" fmla="*/ 4 h 143"/>
                <a:gd name="T110" fmla="*/ 216 w 255"/>
                <a:gd name="T111" fmla="*/ 4 h 143"/>
                <a:gd name="T112" fmla="*/ 224 w 255"/>
                <a:gd name="T113" fmla="*/ 5 h 143"/>
                <a:gd name="T114" fmla="*/ 233 w 255"/>
                <a:gd name="T115" fmla="*/ 14 h 143"/>
                <a:gd name="T116" fmla="*/ 245 w 255"/>
                <a:gd name="T117" fmla="*/ 1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5" h="143">
                  <a:moveTo>
                    <a:pt x="255" y="19"/>
                  </a:moveTo>
                  <a:lnTo>
                    <a:pt x="255" y="22"/>
                  </a:lnTo>
                  <a:lnTo>
                    <a:pt x="255" y="24"/>
                  </a:lnTo>
                  <a:lnTo>
                    <a:pt x="255" y="26"/>
                  </a:lnTo>
                  <a:lnTo>
                    <a:pt x="251" y="26"/>
                  </a:lnTo>
                  <a:lnTo>
                    <a:pt x="251" y="27"/>
                  </a:lnTo>
                  <a:lnTo>
                    <a:pt x="251" y="31"/>
                  </a:lnTo>
                  <a:lnTo>
                    <a:pt x="251" y="34"/>
                  </a:lnTo>
                  <a:lnTo>
                    <a:pt x="250" y="34"/>
                  </a:lnTo>
                  <a:lnTo>
                    <a:pt x="250" y="38"/>
                  </a:lnTo>
                  <a:lnTo>
                    <a:pt x="250" y="39"/>
                  </a:lnTo>
                  <a:lnTo>
                    <a:pt x="250" y="41"/>
                  </a:lnTo>
                  <a:lnTo>
                    <a:pt x="250" y="43"/>
                  </a:lnTo>
                  <a:lnTo>
                    <a:pt x="250" y="44"/>
                  </a:lnTo>
                  <a:lnTo>
                    <a:pt x="250" y="46"/>
                  </a:lnTo>
                  <a:lnTo>
                    <a:pt x="250" y="48"/>
                  </a:lnTo>
                  <a:lnTo>
                    <a:pt x="248" y="49"/>
                  </a:lnTo>
                  <a:lnTo>
                    <a:pt x="246" y="51"/>
                  </a:lnTo>
                  <a:lnTo>
                    <a:pt x="246" y="53"/>
                  </a:lnTo>
                  <a:lnTo>
                    <a:pt x="243" y="55"/>
                  </a:lnTo>
                  <a:lnTo>
                    <a:pt x="243" y="56"/>
                  </a:lnTo>
                  <a:lnTo>
                    <a:pt x="243" y="58"/>
                  </a:lnTo>
                  <a:lnTo>
                    <a:pt x="243" y="60"/>
                  </a:lnTo>
                  <a:lnTo>
                    <a:pt x="243" y="63"/>
                  </a:lnTo>
                  <a:lnTo>
                    <a:pt x="243" y="67"/>
                  </a:lnTo>
                  <a:lnTo>
                    <a:pt x="243" y="68"/>
                  </a:lnTo>
                  <a:lnTo>
                    <a:pt x="245" y="68"/>
                  </a:lnTo>
                  <a:lnTo>
                    <a:pt x="243" y="70"/>
                  </a:lnTo>
                  <a:lnTo>
                    <a:pt x="241" y="72"/>
                  </a:lnTo>
                  <a:lnTo>
                    <a:pt x="241" y="70"/>
                  </a:lnTo>
                  <a:lnTo>
                    <a:pt x="239" y="72"/>
                  </a:lnTo>
                  <a:lnTo>
                    <a:pt x="238" y="70"/>
                  </a:lnTo>
                  <a:lnTo>
                    <a:pt x="236" y="72"/>
                  </a:lnTo>
                  <a:lnTo>
                    <a:pt x="234" y="72"/>
                  </a:lnTo>
                  <a:lnTo>
                    <a:pt x="234" y="73"/>
                  </a:lnTo>
                  <a:lnTo>
                    <a:pt x="233" y="73"/>
                  </a:lnTo>
                  <a:lnTo>
                    <a:pt x="231" y="75"/>
                  </a:lnTo>
                  <a:lnTo>
                    <a:pt x="231" y="73"/>
                  </a:lnTo>
                  <a:lnTo>
                    <a:pt x="229" y="77"/>
                  </a:lnTo>
                  <a:lnTo>
                    <a:pt x="228" y="77"/>
                  </a:lnTo>
                  <a:lnTo>
                    <a:pt x="226" y="77"/>
                  </a:lnTo>
                  <a:lnTo>
                    <a:pt x="224" y="73"/>
                  </a:lnTo>
                  <a:lnTo>
                    <a:pt x="222" y="73"/>
                  </a:lnTo>
                  <a:lnTo>
                    <a:pt x="222" y="72"/>
                  </a:lnTo>
                  <a:lnTo>
                    <a:pt x="219" y="70"/>
                  </a:lnTo>
                  <a:lnTo>
                    <a:pt x="219" y="68"/>
                  </a:lnTo>
                  <a:lnTo>
                    <a:pt x="219" y="67"/>
                  </a:lnTo>
                  <a:lnTo>
                    <a:pt x="217" y="65"/>
                  </a:lnTo>
                  <a:lnTo>
                    <a:pt x="216" y="67"/>
                  </a:lnTo>
                  <a:lnTo>
                    <a:pt x="214" y="65"/>
                  </a:lnTo>
                  <a:lnTo>
                    <a:pt x="214" y="63"/>
                  </a:lnTo>
                  <a:lnTo>
                    <a:pt x="212" y="63"/>
                  </a:lnTo>
                  <a:lnTo>
                    <a:pt x="211" y="63"/>
                  </a:lnTo>
                  <a:lnTo>
                    <a:pt x="209" y="61"/>
                  </a:lnTo>
                  <a:lnTo>
                    <a:pt x="209" y="63"/>
                  </a:lnTo>
                  <a:lnTo>
                    <a:pt x="207" y="63"/>
                  </a:lnTo>
                  <a:lnTo>
                    <a:pt x="207" y="65"/>
                  </a:lnTo>
                  <a:lnTo>
                    <a:pt x="204" y="65"/>
                  </a:lnTo>
                  <a:lnTo>
                    <a:pt x="204" y="67"/>
                  </a:lnTo>
                  <a:lnTo>
                    <a:pt x="202" y="67"/>
                  </a:lnTo>
                  <a:lnTo>
                    <a:pt x="200" y="67"/>
                  </a:lnTo>
                  <a:lnTo>
                    <a:pt x="197" y="68"/>
                  </a:lnTo>
                  <a:lnTo>
                    <a:pt x="195" y="70"/>
                  </a:lnTo>
                  <a:lnTo>
                    <a:pt x="194" y="68"/>
                  </a:lnTo>
                  <a:lnTo>
                    <a:pt x="190" y="68"/>
                  </a:lnTo>
                  <a:lnTo>
                    <a:pt x="188" y="70"/>
                  </a:lnTo>
                  <a:lnTo>
                    <a:pt x="188" y="68"/>
                  </a:lnTo>
                  <a:lnTo>
                    <a:pt x="185" y="67"/>
                  </a:lnTo>
                  <a:lnTo>
                    <a:pt x="183" y="68"/>
                  </a:lnTo>
                  <a:lnTo>
                    <a:pt x="182" y="67"/>
                  </a:lnTo>
                  <a:lnTo>
                    <a:pt x="180" y="67"/>
                  </a:lnTo>
                  <a:lnTo>
                    <a:pt x="177" y="68"/>
                  </a:lnTo>
                  <a:lnTo>
                    <a:pt x="173" y="68"/>
                  </a:lnTo>
                  <a:lnTo>
                    <a:pt x="173" y="70"/>
                  </a:lnTo>
                  <a:lnTo>
                    <a:pt x="171" y="72"/>
                  </a:lnTo>
                  <a:lnTo>
                    <a:pt x="170" y="72"/>
                  </a:lnTo>
                  <a:lnTo>
                    <a:pt x="168" y="72"/>
                  </a:lnTo>
                  <a:lnTo>
                    <a:pt x="166" y="72"/>
                  </a:lnTo>
                  <a:lnTo>
                    <a:pt x="168" y="75"/>
                  </a:lnTo>
                  <a:lnTo>
                    <a:pt x="166" y="77"/>
                  </a:lnTo>
                  <a:lnTo>
                    <a:pt x="166" y="78"/>
                  </a:lnTo>
                  <a:lnTo>
                    <a:pt x="165" y="80"/>
                  </a:lnTo>
                  <a:lnTo>
                    <a:pt x="165" y="84"/>
                  </a:lnTo>
                  <a:lnTo>
                    <a:pt x="163" y="87"/>
                  </a:lnTo>
                  <a:lnTo>
                    <a:pt x="161" y="89"/>
                  </a:lnTo>
                  <a:lnTo>
                    <a:pt x="161" y="90"/>
                  </a:lnTo>
                  <a:lnTo>
                    <a:pt x="160" y="92"/>
                  </a:lnTo>
                  <a:lnTo>
                    <a:pt x="158" y="92"/>
                  </a:lnTo>
                  <a:lnTo>
                    <a:pt x="156" y="94"/>
                  </a:lnTo>
                  <a:lnTo>
                    <a:pt x="154" y="94"/>
                  </a:lnTo>
                  <a:lnTo>
                    <a:pt x="153" y="94"/>
                  </a:lnTo>
                  <a:lnTo>
                    <a:pt x="153" y="95"/>
                  </a:lnTo>
                  <a:lnTo>
                    <a:pt x="151" y="97"/>
                  </a:lnTo>
                  <a:lnTo>
                    <a:pt x="151" y="99"/>
                  </a:lnTo>
                  <a:lnTo>
                    <a:pt x="149" y="101"/>
                  </a:lnTo>
                  <a:lnTo>
                    <a:pt x="146" y="101"/>
                  </a:lnTo>
                  <a:lnTo>
                    <a:pt x="144" y="104"/>
                  </a:lnTo>
                  <a:lnTo>
                    <a:pt x="143" y="104"/>
                  </a:lnTo>
                  <a:lnTo>
                    <a:pt x="144" y="102"/>
                  </a:lnTo>
                  <a:lnTo>
                    <a:pt x="143" y="101"/>
                  </a:lnTo>
                  <a:lnTo>
                    <a:pt x="141" y="101"/>
                  </a:lnTo>
                  <a:lnTo>
                    <a:pt x="141" y="102"/>
                  </a:lnTo>
                  <a:lnTo>
                    <a:pt x="139" y="102"/>
                  </a:lnTo>
                  <a:lnTo>
                    <a:pt x="137" y="102"/>
                  </a:lnTo>
                  <a:lnTo>
                    <a:pt x="137" y="101"/>
                  </a:lnTo>
                  <a:lnTo>
                    <a:pt x="136" y="99"/>
                  </a:lnTo>
                  <a:lnTo>
                    <a:pt x="132" y="101"/>
                  </a:lnTo>
                  <a:lnTo>
                    <a:pt x="132" y="97"/>
                  </a:lnTo>
                  <a:lnTo>
                    <a:pt x="129" y="97"/>
                  </a:lnTo>
                  <a:lnTo>
                    <a:pt x="129" y="99"/>
                  </a:lnTo>
                  <a:lnTo>
                    <a:pt x="127" y="101"/>
                  </a:lnTo>
                  <a:lnTo>
                    <a:pt x="126" y="101"/>
                  </a:lnTo>
                  <a:lnTo>
                    <a:pt x="124" y="104"/>
                  </a:lnTo>
                  <a:lnTo>
                    <a:pt x="126" y="106"/>
                  </a:lnTo>
                  <a:lnTo>
                    <a:pt x="124" y="106"/>
                  </a:lnTo>
                  <a:lnTo>
                    <a:pt x="124" y="107"/>
                  </a:lnTo>
                  <a:lnTo>
                    <a:pt x="124" y="109"/>
                  </a:lnTo>
                  <a:lnTo>
                    <a:pt x="122" y="109"/>
                  </a:lnTo>
                  <a:lnTo>
                    <a:pt x="120" y="111"/>
                  </a:lnTo>
                  <a:lnTo>
                    <a:pt x="120" y="109"/>
                  </a:lnTo>
                  <a:lnTo>
                    <a:pt x="119" y="111"/>
                  </a:lnTo>
                  <a:lnTo>
                    <a:pt x="115" y="111"/>
                  </a:lnTo>
                  <a:lnTo>
                    <a:pt x="114" y="111"/>
                  </a:lnTo>
                  <a:lnTo>
                    <a:pt x="114" y="112"/>
                  </a:lnTo>
                  <a:lnTo>
                    <a:pt x="112" y="112"/>
                  </a:lnTo>
                  <a:lnTo>
                    <a:pt x="110" y="112"/>
                  </a:lnTo>
                  <a:lnTo>
                    <a:pt x="109" y="112"/>
                  </a:lnTo>
                  <a:lnTo>
                    <a:pt x="105" y="112"/>
                  </a:lnTo>
                  <a:lnTo>
                    <a:pt x="105" y="114"/>
                  </a:lnTo>
                  <a:lnTo>
                    <a:pt x="103" y="112"/>
                  </a:lnTo>
                  <a:lnTo>
                    <a:pt x="102" y="114"/>
                  </a:lnTo>
                  <a:lnTo>
                    <a:pt x="100" y="114"/>
                  </a:lnTo>
                  <a:lnTo>
                    <a:pt x="98" y="116"/>
                  </a:lnTo>
                  <a:lnTo>
                    <a:pt x="97" y="114"/>
                  </a:lnTo>
                  <a:lnTo>
                    <a:pt x="95" y="116"/>
                  </a:lnTo>
                  <a:lnTo>
                    <a:pt x="93" y="118"/>
                  </a:lnTo>
                  <a:lnTo>
                    <a:pt x="95" y="118"/>
                  </a:lnTo>
                  <a:lnTo>
                    <a:pt x="95" y="119"/>
                  </a:lnTo>
                  <a:lnTo>
                    <a:pt x="92" y="121"/>
                  </a:lnTo>
                  <a:lnTo>
                    <a:pt x="93" y="123"/>
                  </a:lnTo>
                  <a:lnTo>
                    <a:pt x="92" y="126"/>
                  </a:lnTo>
                  <a:lnTo>
                    <a:pt x="92" y="128"/>
                  </a:lnTo>
                  <a:lnTo>
                    <a:pt x="93" y="129"/>
                  </a:lnTo>
                  <a:lnTo>
                    <a:pt x="95" y="129"/>
                  </a:lnTo>
                  <a:lnTo>
                    <a:pt x="97" y="131"/>
                  </a:lnTo>
                  <a:lnTo>
                    <a:pt x="97" y="133"/>
                  </a:lnTo>
                  <a:lnTo>
                    <a:pt x="95" y="131"/>
                  </a:lnTo>
                  <a:lnTo>
                    <a:pt x="92" y="133"/>
                  </a:lnTo>
                  <a:lnTo>
                    <a:pt x="92" y="135"/>
                  </a:lnTo>
                  <a:lnTo>
                    <a:pt x="90" y="136"/>
                  </a:lnTo>
                  <a:lnTo>
                    <a:pt x="88" y="138"/>
                  </a:lnTo>
                  <a:lnTo>
                    <a:pt x="86" y="138"/>
                  </a:lnTo>
                  <a:lnTo>
                    <a:pt x="85" y="138"/>
                  </a:lnTo>
                  <a:lnTo>
                    <a:pt x="83" y="138"/>
                  </a:lnTo>
                  <a:lnTo>
                    <a:pt x="81" y="138"/>
                  </a:lnTo>
                  <a:lnTo>
                    <a:pt x="80" y="138"/>
                  </a:lnTo>
                  <a:lnTo>
                    <a:pt x="78" y="138"/>
                  </a:lnTo>
                  <a:lnTo>
                    <a:pt x="76" y="140"/>
                  </a:lnTo>
                  <a:lnTo>
                    <a:pt x="75" y="140"/>
                  </a:lnTo>
                  <a:lnTo>
                    <a:pt x="71" y="141"/>
                  </a:lnTo>
                  <a:lnTo>
                    <a:pt x="69" y="141"/>
                  </a:lnTo>
                  <a:lnTo>
                    <a:pt x="68" y="141"/>
                  </a:lnTo>
                  <a:lnTo>
                    <a:pt x="66" y="141"/>
                  </a:lnTo>
                  <a:lnTo>
                    <a:pt x="64" y="141"/>
                  </a:lnTo>
                  <a:lnTo>
                    <a:pt x="63" y="140"/>
                  </a:lnTo>
                  <a:lnTo>
                    <a:pt x="59" y="141"/>
                  </a:lnTo>
                  <a:lnTo>
                    <a:pt x="58" y="141"/>
                  </a:lnTo>
                  <a:lnTo>
                    <a:pt x="56" y="141"/>
                  </a:lnTo>
                  <a:lnTo>
                    <a:pt x="52" y="143"/>
                  </a:lnTo>
                  <a:lnTo>
                    <a:pt x="49" y="143"/>
                  </a:lnTo>
                  <a:lnTo>
                    <a:pt x="47" y="143"/>
                  </a:lnTo>
                  <a:lnTo>
                    <a:pt x="44" y="143"/>
                  </a:lnTo>
                  <a:lnTo>
                    <a:pt x="44" y="141"/>
                  </a:lnTo>
                  <a:lnTo>
                    <a:pt x="41" y="140"/>
                  </a:lnTo>
                  <a:lnTo>
                    <a:pt x="39" y="138"/>
                  </a:lnTo>
                  <a:lnTo>
                    <a:pt x="37" y="140"/>
                  </a:lnTo>
                  <a:lnTo>
                    <a:pt x="35" y="136"/>
                  </a:lnTo>
                  <a:lnTo>
                    <a:pt x="34" y="136"/>
                  </a:lnTo>
                  <a:lnTo>
                    <a:pt x="32" y="135"/>
                  </a:lnTo>
                  <a:lnTo>
                    <a:pt x="30" y="133"/>
                  </a:lnTo>
                  <a:lnTo>
                    <a:pt x="29" y="131"/>
                  </a:lnTo>
                  <a:lnTo>
                    <a:pt x="27" y="129"/>
                  </a:lnTo>
                  <a:lnTo>
                    <a:pt x="25" y="128"/>
                  </a:lnTo>
                  <a:lnTo>
                    <a:pt x="22" y="128"/>
                  </a:lnTo>
                  <a:lnTo>
                    <a:pt x="20" y="126"/>
                  </a:lnTo>
                  <a:lnTo>
                    <a:pt x="18" y="126"/>
                  </a:lnTo>
                  <a:lnTo>
                    <a:pt x="17" y="128"/>
                  </a:lnTo>
                  <a:lnTo>
                    <a:pt x="15" y="126"/>
                  </a:lnTo>
                  <a:lnTo>
                    <a:pt x="13" y="128"/>
                  </a:lnTo>
                  <a:lnTo>
                    <a:pt x="12" y="126"/>
                  </a:lnTo>
                  <a:lnTo>
                    <a:pt x="13" y="126"/>
                  </a:lnTo>
                  <a:lnTo>
                    <a:pt x="12" y="124"/>
                  </a:lnTo>
                  <a:lnTo>
                    <a:pt x="13" y="124"/>
                  </a:lnTo>
                  <a:lnTo>
                    <a:pt x="12" y="123"/>
                  </a:lnTo>
                  <a:lnTo>
                    <a:pt x="13" y="121"/>
                  </a:lnTo>
                  <a:lnTo>
                    <a:pt x="12" y="119"/>
                  </a:lnTo>
                  <a:lnTo>
                    <a:pt x="10" y="119"/>
                  </a:lnTo>
                  <a:lnTo>
                    <a:pt x="8" y="118"/>
                  </a:lnTo>
                  <a:lnTo>
                    <a:pt x="7" y="118"/>
                  </a:lnTo>
                  <a:lnTo>
                    <a:pt x="7" y="116"/>
                  </a:lnTo>
                  <a:lnTo>
                    <a:pt x="7" y="114"/>
                  </a:lnTo>
                  <a:lnTo>
                    <a:pt x="5" y="112"/>
                  </a:lnTo>
                  <a:lnTo>
                    <a:pt x="5" y="111"/>
                  </a:lnTo>
                  <a:lnTo>
                    <a:pt x="3" y="109"/>
                  </a:lnTo>
                  <a:lnTo>
                    <a:pt x="3" y="107"/>
                  </a:lnTo>
                  <a:lnTo>
                    <a:pt x="1" y="106"/>
                  </a:lnTo>
                  <a:lnTo>
                    <a:pt x="0" y="106"/>
                  </a:lnTo>
                  <a:lnTo>
                    <a:pt x="0" y="102"/>
                  </a:lnTo>
                  <a:lnTo>
                    <a:pt x="0" y="101"/>
                  </a:lnTo>
                  <a:lnTo>
                    <a:pt x="0" y="99"/>
                  </a:lnTo>
                  <a:lnTo>
                    <a:pt x="1" y="95"/>
                  </a:lnTo>
                  <a:lnTo>
                    <a:pt x="1" y="94"/>
                  </a:lnTo>
                  <a:lnTo>
                    <a:pt x="3" y="90"/>
                  </a:lnTo>
                  <a:lnTo>
                    <a:pt x="3" y="89"/>
                  </a:lnTo>
                  <a:lnTo>
                    <a:pt x="3" y="87"/>
                  </a:lnTo>
                  <a:lnTo>
                    <a:pt x="3" y="84"/>
                  </a:lnTo>
                  <a:lnTo>
                    <a:pt x="3" y="82"/>
                  </a:lnTo>
                  <a:lnTo>
                    <a:pt x="5" y="80"/>
                  </a:lnTo>
                  <a:lnTo>
                    <a:pt x="5" y="78"/>
                  </a:lnTo>
                  <a:lnTo>
                    <a:pt x="7" y="75"/>
                  </a:lnTo>
                  <a:lnTo>
                    <a:pt x="8" y="73"/>
                  </a:lnTo>
                  <a:lnTo>
                    <a:pt x="8" y="72"/>
                  </a:lnTo>
                  <a:lnTo>
                    <a:pt x="8" y="70"/>
                  </a:lnTo>
                  <a:lnTo>
                    <a:pt x="10" y="70"/>
                  </a:lnTo>
                  <a:lnTo>
                    <a:pt x="12" y="67"/>
                  </a:lnTo>
                  <a:lnTo>
                    <a:pt x="13" y="67"/>
                  </a:lnTo>
                  <a:lnTo>
                    <a:pt x="15" y="68"/>
                  </a:lnTo>
                  <a:lnTo>
                    <a:pt x="17" y="68"/>
                  </a:lnTo>
                  <a:lnTo>
                    <a:pt x="18" y="68"/>
                  </a:lnTo>
                  <a:lnTo>
                    <a:pt x="20" y="70"/>
                  </a:lnTo>
                  <a:lnTo>
                    <a:pt x="22" y="70"/>
                  </a:lnTo>
                  <a:lnTo>
                    <a:pt x="24" y="70"/>
                  </a:lnTo>
                  <a:lnTo>
                    <a:pt x="25" y="68"/>
                  </a:lnTo>
                  <a:lnTo>
                    <a:pt x="27" y="70"/>
                  </a:lnTo>
                  <a:lnTo>
                    <a:pt x="27" y="68"/>
                  </a:lnTo>
                  <a:lnTo>
                    <a:pt x="29" y="70"/>
                  </a:lnTo>
                  <a:lnTo>
                    <a:pt x="29" y="68"/>
                  </a:lnTo>
                  <a:lnTo>
                    <a:pt x="30" y="68"/>
                  </a:lnTo>
                  <a:lnTo>
                    <a:pt x="32" y="67"/>
                  </a:lnTo>
                  <a:lnTo>
                    <a:pt x="34" y="67"/>
                  </a:lnTo>
                  <a:lnTo>
                    <a:pt x="35" y="65"/>
                  </a:lnTo>
                  <a:lnTo>
                    <a:pt x="37" y="63"/>
                  </a:lnTo>
                  <a:lnTo>
                    <a:pt x="39" y="61"/>
                  </a:lnTo>
                  <a:lnTo>
                    <a:pt x="42" y="60"/>
                  </a:lnTo>
                  <a:lnTo>
                    <a:pt x="44" y="60"/>
                  </a:lnTo>
                  <a:lnTo>
                    <a:pt x="44" y="58"/>
                  </a:lnTo>
                  <a:lnTo>
                    <a:pt x="44" y="56"/>
                  </a:lnTo>
                  <a:lnTo>
                    <a:pt x="44" y="55"/>
                  </a:lnTo>
                  <a:lnTo>
                    <a:pt x="44" y="53"/>
                  </a:lnTo>
                  <a:lnTo>
                    <a:pt x="47" y="53"/>
                  </a:lnTo>
                  <a:lnTo>
                    <a:pt x="49" y="53"/>
                  </a:lnTo>
                  <a:lnTo>
                    <a:pt x="51" y="51"/>
                  </a:lnTo>
                  <a:lnTo>
                    <a:pt x="52" y="49"/>
                  </a:lnTo>
                  <a:lnTo>
                    <a:pt x="52" y="48"/>
                  </a:lnTo>
                  <a:lnTo>
                    <a:pt x="52" y="46"/>
                  </a:lnTo>
                  <a:lnTo>
                    <a:pt x="52" y="44"/>
                  </a:lnTo>
                  <a:lnTo>
                    <a:pt x="52" y="43"/>
                  </a:lnTo>
                  <a:lnTo>
                    <a:pt x="52" y="41"/>
                  </a:lnTo>
                  <a:lnTo>
                    <a:pt x="54" y="39"/>
                  </a:lnTo>
                  <a:lnTo>
                    <a:pt x="52" y="36"/>
                  </a:lnTo>
                  <a:lnTo>
                    <a:pt x="54" y="34"/>
                  </a:lnTo>
                  <a:lnTo>
                    <a:pt x="56" y="32"/>
                  </a:lnTo>
                  <a:lnTo>
                    <a:pt x="58" y="32"/>
                  </a:lnTo>
                  <a:lnTo>
                    <a:pt x="59" y="31"/>
                  </a:lnTo>
                  <a:lnTo>
                    <a:pt x="61" y="31"/>
                  </a:lnTo>
                  <a:lnTo>
                    <a:pt x="63" y="29"/>
                  </a:lnTo>
                  <a:lnTo>
                    <a:pt x="64" y="27"/>
                  </a:lnTo>
                  <a:lnTo>
                    <a:pt x="63" y="24"/>
                  </a:lnTo>
                  <a:lnTo>
                    <a:pt x="66" y="24"/>
                  </a:lnTo>
                  <a:lnTo>
                    <a:pt x="68" y="22"/>
                  </a:lnTo>
                  <a:lnTo>
                    <a:pt x="68" y="21"/>
                  </a:lnTo>
                  <a:lnTo>
                    <a:pt x="69" y="19"/>
                  </a:lnTo>
                  <a:lnTo>
                    <a:pt x="69" y="17"/>
                  </a:lnTo>
                  <a:lnTo>
                    <a:pt x="71" y="15"/>
                  </a:lnTo>
                  <a:lnTo>
                    <a:pt x="73" y="17"/>
                  </a:lnTo>
                  <a:lnTo>
                    <a:pt x="75" y="15"/>
                  </a:lnTo>
                  <a:lnTo>
                    <a:pt x="76" y="15"/>
                  </a:lnTo>
                  <a:lnTo>
                    <a:pt x="78" y="15"/>
                  </a:lnTo>
                  <a:lnTo>
                    <a:pt x="81" y="14"/>
                  </a:lnTo>
                  <a:lnTo>
                    <a:pt x="83" y="14"/>
                  </a:lnTo>
                  <a:lnTo>
                    <a:pt x="85" y="14"/>
                  </a:lnTo>
                  <a:lnTo>
                    <a:pt x="86" y="14"/>
                  </a:lnTo>
                  <a:lnTo>
                    <a:pt x="88" y="14"/>
                  </a:lnTo>
                  <a:lnTo>
                    <a:pt x="88" y="15"/>
                  </a:lnTo>
                  <a:lnTo>
                    <a:pt x="88" y="17"/>
                  </a:lnTo>
                  <a:lnTo>
                    <a:pt x="90" y="19"/>
                  </a:lnTo>
                  <a:lnTo>
                    <a:pt x="88" y="21"/>
                  </a:lnTo>
                  <a:lnTo>
                    <a:pt x="90" y="22"/>
                  </a:lnTo>
                  <a:lnTo>
                    <a:pt x="92" y="21"/>
                  </a:lnTo>
                  <a:lnTo>
                    <a:pt x="93" y="19"/>
                  </a:lnTo>
                  <a:lnTo>
                    <a:pt x="95" y="21"/>
                  </a:lnTo>
                  <a:lnTo>
                    <a:pt x="97" y="21"/>
                  </a:lnTo>
                  <a:lnTo>
                    <a:pt x="100" y="19"/>
                  </a:lnTo>
                  <a:lnTo>
                    <a:pt x="98" y="17"/>
                  </a:lnTo>
                  <a:lnTo>
                    <a:pt x="100" y="15"/>
                  </a:lnTo>
                  <a:lnTo>
                    <a:pt x="100" y="12"/>
                  </a:lnTo>
                  <a:lnTo>
                    <a:pt x="102" y="10"/>
                  </a:lnTo>
                  <a:lnTo>
                    <a:pt x="103" y="10"/>
                  </a:lnTo>
                  <a:lnTo>
                    <a:pt x="105" y="10"/>
                  </a:lnTo>
                  <a:lnTo>
                    <a:pt x="105" y="7"/>
                  </a:lnTo>
                  <a:lnTo>
                    <a:pt x="107" y="5"/>
                  </a:lnTo>
                  <a:lnTo>
                    <a:pt x="109" y="5"/>
                  </a:lnTo>
                  <a:lnTo>
                    <a:pt x="109" y="4"/>
                  </a:lnTo>
                  <a:lnTo>
                    <a:pt x="110" y="4"/>
                  </a:lnTo>
                  <a:lnTo>
                    <a:pt x="110" y="5"/>
                  </a:lnTo>
                  <a:lnTo>
                    <a:pt x="112" y="5"/>
                  </a:lnTo>
                  <a:lnTo>
                    <a:pt x="114" y="9"/>
                  </a:lnTo>
                  <a:lnTo>
                    <a:pt x="114" y="10"/>
                  </a:lnTo>
                  <a:lnTo>
                    <a:pt x="115" y="12"/>
                  </a:lnTo>
                  <a:lnTo>
                    <a:pt x="115" y="14"/>
                  </a:lnTo>
                  <a:lnTo>
                    <a:pt x="117" y="14"/>
                  </a:lnTo>
                  <a:lnTo>
                    <a:pt x="119" y="14"/>
                  </a:lnTo>
                  <a:lnTo>
                    <a:pt x="119" y="15"/>
                  </a:lnTo>
                  <a:lnTo>
                    <a:pt x="119" y="17"/>
                  </a:lnTo>
                  <a:lnTo>
                    <a:pt x="122" y="17"/>
                  </a:lnTo>
                  <a:lnTo>
                    <a:pt x="124" y="15"/>
                  </a:lnTo>
                  <a:lnTo>
                    <a:pt x="126" y="15"/>
                  </a:lnTo>
                  <a:lnTo>
                    <a:pt x="126" y="17"/>
                  </a:lnTo>
                  <a:lnTo>
                    <a:pt x="127" y="19"/>
                  </a:lnTo>
                  <a:lnTo>
                    <a:pt x="127" y="21"/>
                  </a:lnTo>
                  <a:lnTo>
                    <a:pt x="127" y="22"/>
                  </a:lnTo>
                  <a:lnTo>
                    <a:pt x="127" y="24"/>
                  </a:lnTo>
                  <a:lnTo>
                    <a:pt x="129" y="24"/>
                  </a:lnTo>
                  <a:lnTo>
                    <a:pt x="127" y="26"/>
                  </a:lnTo>
                  <a:lnTo>
                    <a:pt x="127" y="27"/>
                  </a:lnTo>
                  <a:lnTo>
                    <a:pt x="127" y="29"/>
                  </a:lnTo>
                  <a:lnTo>
                    <a:pt x="129" y="29"/>
                  </a:lnTo>
                  <a:lnTo>
                    <a:pt x="131" y="31"/>
                  </a:lnTo>
                  <a:lnTo>
                    <a:pt x="132" y="31"/>
                  </a:lnTo>
                  <a:lnTo>
                    <a:pt x="132" y="27"/>
                  </a:lnTo>
                  <a:lnTo>
                    <a:pt x="134" y="27"/>
                  </a:lnTo>
                  <a:lnTo>
                    <a:pt x="136" y="27"/>
                  </a:lnTo>
                  <a:lnTo>
                    <a:pt x="139" y="29"/>
                  </a:lnTo>
                  <a:lnTo>
                    <a:pt x="141" y="31"/>
                  </a:lnTo>
                  <a:lnTo>
                    <a:pt x="141" y="29"/>
                  </a:lnTo>
                  <a:lnTo>
                    <a:pt x="143" y="27"/>
                  </a:lnTo>
                  <a:lnTo>
                    <a:pt x="141" y="26"/>
                  </a:lnTo>
                  <a:lnTo>
                    <a:pt x="143" y="24"/>
                  </a:lnTo>
                  <a:lnTo>
                    <a:pt x="143" y="21"/>
                  </a:lnTo>
                  <a:lnTo>
                    <a:pt x="144" y="21"/>
                  </a:lnTo>
                  <a:lnTo>
                    <a:pt x="144" y="19"/>
                  </a:lnTo>
                  <a:lnTo>
                    <a:pt x="146" y="17"/>
                  </a:lnTo>
                  <a:lnTo>
                    <a:pt x="148" y="17"/>
                  </a:lnTo>
                  <a:lnTo>
                    <a:pt x="149" y="17"/>
                  </a:lnTo>
                  <a:lnTo>
                    <a:pt x="151" y="17"/>
                  </a:lnTo>
                  <a:lnTo>
                    <a:pt x="151" y="14"/>
                  </a:lnTo>
                  <a:lnTo>
                    <a:pt x="149" y="14"/>
                  </a:lnTo>
                  <a:lnTo>
                    <a:pt x="149" y="12"/>
                  </a:lnTo>
                  <a:lnTo>
                    <a:pt x="153" y="12"/>
                  </a:lnTo>
                  <a:lnTo>
                    <a:pt x="153" y="14"/>
                  </a:lnTo>
                  <a:lnTo>
                    <a:pt x="154" y="12"/>
                  </a:lnTo>
                  <a:lnTo>
                    <a:pt x="154" y="10"/>
                  </a:lnTo>
                  <a:lnTo>
                    <a:pt x="156" y="10"/>
                  </a:lnTo>
                  <a:lnTo>
                    <a:pt x="158" y="12"/>
                  </a:lnTo>
                  <a:lnTo>
                    <a:pt x="161" y="14"/>
                  </a:lnTo>
                  <a:lnTo>
                    <a:pt x="163" y="10"/>
                  </a:lnTo>
                  <a:lnTo>
                    <a:pt x="165" y="10"/>
                  </a:lnTo>
                  <a:lnTo>
                    <a:pt x="166" y="9"/>
                  </a:lnTo>
                  <a:lnTo>
                    <a:pt x="168" y="9"/>
                  </a:lnTo>
                  <a:lnTo>
                    <a:pt x="170" y="10"/>
                  </a:lnTo>
                  <a:lnTo>
                    <a:pt x="170" y="12"/>
                  </a:lnTo>
                  <a:lnTo>
                    <a:pt x="173" y="12"/>
                  </a:lnTo>
                  <a:lnTo>
                    <a:pt x="171" y="14"/>
                  </a:lnTo>
                  <a:lnTo>
                    <a:pt x="173" y="14"/>
                  </a:lnTo>
                  <a:lnTo>
                    <a:pt x="175" y="14"/>
                  </a:lnTo>
                  <a:lnTo>
                    <a:pt x="177" y="15"/>
                  </a:lnTo>
                  <a:lnTo>
                    <a:pt x="177" y="14"/>
                  </a:lnTo>
                  <a:lnTo>
                    <a:pt x="178" y="15"/>
                  </a:lnTo>
                  <a:lnTo>
                    <a:pt x="182" y="15"/>
                  </a:lnTo>
                  <a:lnTo>
                    <a:pt x="182" y="14"/>
                  </a:lnTo>
                  <a:lnTo>
                    <a:pt x="183" y="10"/>
                  </a:lnTo>
                  <a:lnTo>
                    <a:pt x="185" y="10"/>
                  </a:lnTo>
                  <a:lnTo>
                    <a:pt x="185" y="9"/>
                  </a:lnTo>
                  <a:lnTo>
                    <a:pt x="183" y="7"/>
                  </a:lnTo>
                  <a:lnTo>
                    <a:pt x="185" y="5"/>
                  </a:lnTo>
                  <a:lnTo>
                    <a:pt x="187" y="5"/>
                  </a:lnTo>
                  <a:lnTo>
                    <a:pt x="188" y="7"/>
                  </a:lnTo>
                  <a:lnTo>
                    <a:pt x="190" y="7"/>
                  </a:lnTo>
                  <a:lnTo>
                    <a:pt x="190" y="4"/>
                  </a:lnTo>
                  <a:lnTo>
                    <a:pt x="192" y="2"/>
                  </a:lnTo>
                  <a:lnTo>
                    <a:pt x="195" y="2"/>
                  </a:lnTo>
                  <a:lnTo>
                    <a:pt x="197" y="4"/>
                  </a:lnTo>
                  <a:lnTo>
                    <a:pt x="199" y="4"/>
                  </a:lnTo>
                  <a:lnTo>
                    <a:pt x="200" y="5"/>
                  </a:lnTo>
                  <a:lnTo>
                    <a:pt x="202" y="4"/>
                  </a:lnTo>
                  <a:lnTo>
                    <a:pt x="204" y="4"/>
                  </a:lnTo>
                  <a:lnTo>
                    <a:pt x="204" y="2"/>
                  </a:lnTo>
                  <a:lnTo>
                    <a:pt x="207" y="2"/>
                  </a:lnTo>
                  <a:lnTo>
                    <a:pt x="209" y="0"/>
                  </a:lnTo>
                  <a:lnTo>
                    <a:pt x="211" y="2"/>
                  </a:lnTo>
                  <a:lnTo>
                    <a:pt x="212" y="2"/>
                  </a:lnTo>
                  <a:lnTo>
                    <a:pt x="216" y="4"/>
                  </a:lnTo>
                  <a:lnTo>
                    <a:pt x="216" y="5"/>
                  </a:lnTo>
                  <a:lnTo>
                    <a:pt x="217" y="4"/>
                  </a:lnTo>
                  <a:lnTo>
                    <a:pt x="219" y="4"/>
                  </a:lnTo>
                  <a:lnTo>
                    <a:pt x="219" y="5"/>
                  </a:lnTo>
                  <a:lnTo>
                    <a:pt x="221" y="4"/>
                  </a:lnTo>
                  <a:lnTo>
                    <a:pt x="222" y="5"/>
                  </a:lnTo>
                  <a:lnTo>
                    <a:pt x="224" y="5"/>
                  </a:lnTo>
                  <a:lnTo>
                    <a:pt x="226" y="7"/>
                  </a:lnTo>
                  <a:lnTo>
                    <a:pt x="228" y="9"/>
                  </a:lnTo>
                  <a:lnTo>
                    <a:pt x="229" y="9"/>
                  </a:lnTo>
                  <a:lnTo>
                    <a:pt x="229" y="10"/>
                  </a:lnTo>
                  <a:lnTo>
                    <a:pt x="229" y="14"/>
                  </a:lnTo>
                  <a:lnTo>
                    <a:pt x="231" y="14"/>
                  </a:lnTo>
                  <a:lnTo>
                    <a:pt x="233" y="14"/>
                  </a:lnTo>
                  <a:lnTo>
                    <a:pt x="234" y="14"/>
                  </a:lnTo>
                  <a:lnTo>
                    <a:pt x="236" y="15"/>
                  </a:lnTo>
                  <a:lnTo>
                    <a:pt x="238" y="14"/>
                  </a:lnTo>
                  <a:lnTo>
                    <a:pt x="239" y="17"/>
                  </a:lnTo>
                  <a:lnTo>
                    <a:pt x="241" y="17"/>
                  </a:lnTo>
                  <a:lnTo>
                    <a:pt x="243" y="17"/>
                  </a:lnTo>
                  <a:lnTo>
                    <a:pt x="245" y="15"/>
                  </a:lnTo>
                  <a:lnTo>
                    <a:pt x="246" y="17"/>
                  </a:lnTo>
                  <a:lnTo>
                    <a:pt x="248" y="19"/>
                  </a:lnTo>
                  <a:lnTo>
                    <a:pt x="250" y="19"/>
                  </a:lnTo>
                  <a:lnTo>
                    <a:pt x="251" y="19"/>
                  </a:lnTo>
                  <a:lnTo>
                    <a:pt x="255" y="1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24" name="Freeform 55">
              <a:extLst>
                <a:ext uri="{FF2B5EF4-FFF2-40B4-BE49-F238E27FC236}">
                  <a16:creationId xmlns:a16="http://schemas.microsoft.com/office/drawing/2014/main" id="{A35A5741-0C11-4F8E-9B66-2283046DAA0F}"/>
                </a:ext>
              </a:extLst>
            </p:cNvPr>
            <p:cNvSpPr>
              <a:spLocks/>
            </p:cNvSpPr>
            <p:nvPr/>
          </p:nvSpPr>
          <p:spPr bwMode="gray">
            <a:xfrm>
              <a:off x="8650896" y="4055266"/>
              <a:ext cx="912524" cy="521442"/>
            </a:xfrm>
            <a:custGeom>
              <a:avLst/>
              <a:gdLst>
                <a:gd name="T0" fmla="*/ 128 w 308"/>
                <a:gd name="T1" fmla="*/ 5 h 176"/>
                <a:gd name="T2" fmla="*/ 133 w 308"/>
                <a:gd name="T3" fmla="*/ 2 h 176"/>
                <a:gd name="T4" fmla="*/ 143 w 308"/>
                <a:gd name="T5" fmla="*/ 12 h 176"/>
                <a:gd name="T6" fmla="*/ 155 w 308"/>
                <a:gd name="T7" fmla="*/ 16 h 176"/>
                <a:gd name="T8" fmla="*/ 167 w 308"/>
                <a:gd name="T9" fmla="*/ 22 h 176"/>
                <a:gd name="T10" fmla="*/ 175 w 308"/>
                <a:gd name="T11" fmla="*/ 26 h 176"/>
                <a:gd name="T12" fmla="*/ 187 w 308"/>
                <a:gd name="T13" fmla="*/ 22 h 176"/>
                <a:gd name="T14" fmla="*/ 186 w 308"/>
                <a:gd name="T15" fmla="*/ 34 h 176"/>
                <a:gd name="T16" fmla="*/ 189 w 308"/>
                <a:gd name="T17" fmla="*/ 41 h 176"/>
                <a:gd name="T18" fmla="*/ 201 w 308"/>
                <a:gd name="T19" fmla="*/ 55 h 176"/>
                <a:gd name="T20" fmla="*/ 215 w 308"/>
                <a:gd name="T21" fmla="*/ 50 h 176"/>
                <a:gd name="T22" fmla="*/ 216 w 308"/>
                <a:gd name="T23" fmla="*/ 41 h 176"/>
                <a:gd name="T24" fmla="*/ 220 w 308"/>
                <a:gd name="T25" fmla="*/ 36 h 176"/>
                <a:gd name="T26" fmla="*/ 235 w 308"/>
                <a:gd name="T27" fmla="*/ 41 h 176"/>
                <a:gd name="T28" fmla="*/ 247 w 308"/>
                <a:gd name="T29" fmla="*/ 43 h 176"/>
                <a:gd name="T30" fmla="*/ 252 w 308"/>
                <a:gd name="T31" fmla="*/ 48 h 176"/>
                <a:gd name="T32" fmla="*/ 254 w 308"/>
                <a:gd name="T33" fmla="*/ 56 h 176"/>
                <a:gd name="T34" fmla="*/ 267 w 308"/>
                <a:gd name="T35" fmla="*/ 56 h 176"/>
                <a:gd name="T36" fmla="*/ 277 w 308"/>
                <a:gd name="T37" fmla="*/ 62 h 176"/>
                <a:gd name="T38" fmla="*/ 291 w 308"/>
                <a:gd name="T39" fmla="*/ 63 h 176"/>
                <a:gd name="T40" fmla="*/ 296 w 308"/>
                <a:gd name="T41" fmla="*/ 75 h 176"/>
                <a:gd name="T42" fmla="*/ 306 w 308"/>
                <a:gd name="T43" fmla="*/ 85 h 176"/>
                <a:gd name="T44" fmla="*/ 296 w 308"/>
                <a:gd name="T45" fmla="*/ 90 h 176"/>
                <a:gd name="T46" fmla="*/ 286 w 308"/>
                <a:gd name="T47" fmla="*/ 106 h 176"/>
                <a:gd name="T48" fmla="*/ 277 w 308"/>
                <a:gd name="T49" fmla="*/ 119 h 176"/>
                <a:gd name="T50" fmla="*/ 269 w 308"/>
                <a:gd name="T51" fmla="*/ 131 h 176"/>
                <a:gd name="T52" fmla="*/ 255 w 308"/>
                <a:gd name="T53" fmla="*/ 143 h 176"/>
                <a:gd name="T54" fmla="*/ 243 w 308"/>
                <a:gd name="T55" fmla="*/ 143 h 176"/>
                <a:gd name="T56" fmla="*/ 232 w 308"/>
                <a:gd name="T57" fmla="*/ 150 h 176"/>
                <a:gd name="T58" fmla="*/ 223 w 308"/>
                <a:gd name="T59" fmla="*/ 155 h 176"/>
                <a:gd name="T60" fmla="*/ 209 w 308"/>
                <a:gd name="T61" fmla="*/ 150 h 176"/>
                <a:gd name="T62" fmla="*/ 196 w 308"/>
                <a:gd name="T63" fmla="*/ 155 h 176"/>
                <a:gd name="T64" fmla="*/ 177 w 308"/>
                <a:gd name="T65" fmla="*/ 150 h 176"/>
                <a:gd name="T66" fmla="*/ 164 w 308"/>
                <a:gd name="T67" fmla="*/ 147 h 176"/>
                <a:gd name="T68" fmla="*/ 148 w 308"/>
                <a:gd name="T69" fmla="*/ 145 h 176"/>
                <a:gd name="T70" fmla="*/ 136 w 308"/>
                <a:gd name="T71" fmla="*/ 140 h 176"/>
                <a:gd name="T72" fmla="*/ 135 w 308"/>
                <a:gd name="T73" fmla="*/ 157 h 176"/>
                <a:gd name="T74" fmla="*/ 128 w 308"/>
                <a:gd name="T75" fmla="*/ 162 h 176"/>
                <a:gd name="T76" fmla="*/ 119 w 308"/>
                <a:gd name="T77" fmla="*/ 169 h 176"/>
                <a:gd name="T78" fmla="*/ 107 w 308"/>
                <a:gd name="T79" fmla="*/ 174 h 176"/>
                <a:gd name="T80" fmla="*/ 94 w 308"/>
                <a:gd name="T81" fmla="*/ 167 h 176"/>
                <a:gd name="T82" fmla="*/ 82 w 308"/>
                <a:gd name="T83" fmla="*/ 157 h 176"/>
                <a:gd name="T84" fmla="*/ 68 w 308"/>
                <a:gd name="T85" fmla="*/ 148 h 176"/>
                <a:gd name="T86" fmla="*/ 55 w 308"/>
                <a:gd name="T87" fmla="*/ 138 h 176"/>
                <a:gd name="T88" fmla="*/ 41 w 308"/>
                <a:gd name="T89" fmla="*/ 123 h 176"/>
                <a:gd name="T90" fmla="*/ 26 w 308"/>
                <a:gd name="T91" fmla="*/ 114 h 176"/>
                <a:gd name="T92" fmla="*/ 19 w 308"/>
                <a:gd name="T93" fmla="*/ 99 h 176"/>
                <a:gd name="T94" fmla="*/ 21 w 308"/>
                <a:gd name="T95" fmla="*/ 87 h 176"/>
                <a:gd name="T96" fmla="*/ 12 w 308"/>
                <a:gd name="T97" fmla="*/ 77 h 176"/>
                <a:gd name="T98" fmla="*/ 5 w 308"/>
                <a:gd name="T99" fmla="*/ 65 h 176"/>
                <a:gd name="T100" fmla="*/ 5 w 308"/>
                <a:gd name="T101" fmla="*/ 56 h 176"/>
                <a:gd name="T102" fmla="*/ 11 w 308"/>
                <a:gd name="T103" fmla="*/ 62 h 176"/>
                <a:gd name="T104" fmla="*/ 21 w 308"/>
                <a:gd name="T105" fmla="*/ 50 h 176"/>
                <a:gd name="T106" fmla="*/ 36 w 308"/>
                <a:gd name="T107" fmla="*/ 46 h 176"/>
                <a:gd name="T108" fmla="*/ 48 w 308"/>
                <a:gd name="T109" fmla="*/ 41 h 176"/>
                <a:gd name="T110" fmla="*/ 58 w 308"/>
                <a:gd name="T111" fmla="*/ 33 h 176"/>
                <a:gd name="T112" fmla="*/ 70 w 308"/>
                <a:gd name="T113" fmla="*/ 26 h 176"/>
                <a:gd name="T114" fmla="*/ 80 w 308"/>
                <a:gd name="T115" fmla="*/ 19 h 176"/>
                <a:gd name="T116" fmla="*/ 99 w 308"/>
                <a:gd name="T117" fmla="*/ 11 h 176"/>
                <a:gd name="T118" fmla="*/ 96 w 308"/>
                <a:gd name="T119" fmla="*/ 2 h 176"/>
                <a:gd name="T120" fmla="*/ 104 w 308"/>
                <a:gd name="T121" fmla="*/ 2 h 176"/>
                <a:gd name="T122" fmla="*/ 111 w 308"/>
                <a:gd name="T123" fmla="*/ 11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 h="176">
                  <a:moveTo>
                    <a:pt x="119" y="12"/>
                  </a:moveTo>
                  <a:lnTo>
                    <a:pt x="121" y="11"/>
                  </a:lnTo>
                  <a:lnTo>
                    <a:pt x="123" y="12"/>
                  </a:lnTo>
                  <a:lnTo>
                    <a:pt x="123" y="11"/>
                  </a:lnTo>
                  <a:lnTo>
                    <a:pt x="124" y="12"/>
                  </a:lnTo>
                  <a:lnTo>
                    <a:pt x="128" y="11"/>
                  </a:lnTo>
                  <a:lnTo>
                    <a:pt x="128" y="9"/>
                  </a:lnTo>
                  <a:lnTo>
                    <a:pt x="126" y="7"/>
                  </a:lnTo>
                  <a:lnTo>
                    <a:pt x="128" y="5"/>
                  </a:lnTo>
                  <a:lnTo>
                    <a:pt x="128" y="4"/>
                  </a:lnTo>
                  <a:lnTo>
                    <a:pt x="126" y="4"/>
                  </a:lnTo>
                  <a:lnTo>
                    <a:pt x="124" y="4"/>
                  </a:lnTo>
                  <a:lnTo>
                    <a:pt x="126" y="2"/>
                  </a:lnTo>
                  <a:lnTo>
                    <a:pt x="128" y="0"/>
                  </a:lnTo>
                  <a:lnTo>
                    <a:pt x="130" y="0"/>
                  </a:lnTo>
                  <a:lnTo>
                    <a:pt x="131" y="0"/>
                  </a:lnTo>
                  <a:lnTo>
                    <a:pt x="131" y="2"/>
                  </a:lnTo>
                  <a:lnTo>
                    <a:pt x="133" y="2"/>
                  </a:lnTo>
                  <a:lnTo>
                    <a:pt x="135" y="0"/>
                  </a:lnTo>
                  <a:lnTo>
                    <a:pt x="135" y="2"/>
                  </a:lnTo>
                  <a:lnTo>
                    <a:pt x="136" y="2"/>
                  </a:lnTo>
                  <a:lnTo>
                    <a:pt x="138" y="2"/>
                  </a:lnTo>
                  <a:lnTo>
                    <a:pt x="140" y="4"/>
                  </a:lnTo>
                  <a:lnTo>
                    <a:pt x="138" y="5"/>
                  </a:lnTo>
                  <a:lnTo>
                    <a:pt x="140" y="9"/>
                  </a:lnTo>
                  <a:lnTo>
                    <a:pt x="141" y="11"/>
                  </a:lnTo>
                  <a:lnTo>
                    <a:pt x="143" y="12"/>
                  </a:lnTo>
                  <a:lnTo>
                    <a:pt x="143" y="14"/>
                  </a:lnTo>
                  <a:lnTo>
                    <a:pt x="143" y="16"/>
                  </a:lnTo>
                  <a:lnTo>
                    <a:pt x="145" y="16"/>
                  </a:lnTo>
                  <a:lnTo>
                    <a:pt x="147" y="14"/>
                  </a:lnTo>
                  <a:lnTo>
                    <a:pt x="148" y="16"/>
                  </a:lnTo>
                  <a:lnTo>
                    <a:pt x="150" y="16"/>
                  </a:lnTo>
                  <a:lnTo>
                    <a:pt x="152" y="16"/>
                  </a:lnTo>
                  <a:lnTo>
                    <a:pt x="153" y="16"/>
                  </a:lnTo>
                  <a:lnTo>
                    <a:pt x="155" y="16"/>
                  </a:lnTo>
                  <a:lnTo>
                    <a:pt x="157" y="17"/>
                  </a:lnTo>
                  <a:lnTo>
                    <a:pt x="158" y="17"/>
                  </a:lnTo>
                  <a:lnTo>
                    <a:pt x="160" y="17"/>
                  </a:lnTo>
                  <a:lnTo>
                    <a:pt x="162" y="17"/>
                  </a:lnTo>
                  <a:lnTo>
                    <a:pt x="164" y="16"/>
                  </a:lnTo>
                  <a:lnTo>
                    <a:pt x="164" y="19"/>
                  </a:lnTo>
                  <a:lnTo>
                    <a:pt x="165" y="19"/>
                  </a:lnTo>
                  <a:lnTo>
                    <a:pt x="165" y="22"/>
                  </a:lnTo>
                  <a:lnTo>
                    <a:pt x="167" y="22"/>
                  </a:lnTo>
                  <a:lnTo>
                    <a:pt x="169" y="21"/>
                  </a:lnTo>
                  <a:lnTo>
                    <a:pt x="170" y="21"/>
                  </a:lnTo>
                  <a:lnTo>
                    <a:pt x="172" y="21"/>
                  </a:lnTo>
                  <a:lnTo>
                    <a:pt x="172" y="24"/>
                  </a:lnTo>
                  <a:lnTo>
                    <a:pt x="174" y="24"/>
                  </a:lnTo>
                  <a:lnTo>
                    <a:pt x="172" y="24"/>
                  </a:lnTo>
                  <a:lnTo>
                    <a:pt x="172" y="26"/>
                  </a:lnTo>
                  <a:lnTo>
                    <a:pt x="174" y="26"/>
                  </a:lnTo>
                  <a:lnTo>
                    <a:pt x="175" y="26"/>
                  </a:lnTo>
                  <a:lnTo>
                    <a:pt x="175" y="24"/>
                  </a:lnTo>
                  <a:lnTo>
                    <a:pt x="177" y="22"/>
                  </a:lnTo>
                  <a:lnTo>
                    <a:pt x="181" y="22"/>
                  </a:lnTo>
                  <a:lnTo>
                    <a:pt x="181" y="24"/>
                  </a:lnTo>
                  <a:lnTo>
                    <a:pt x="182" y="24"/>
                  </a:lnTo>
                  <a:lnTo>
                    <a:pt x="182" y="21"/>
                  </a:lnTo>
                  <a:lnTo>
                    <a:pt x="184" y="21"/>
                  </a:lnTo>
                  <a:lnTo>
                    <a:pt x="187" y="21"/>
                  </a:lnTo>
                  <a:lnTo>
                    <a:pt x="187" y="22"/>
                  </a:lnTo>
                  <a:lnTo>
                    <a:pt x="189" y="22"/>
                  </a:lnTo>
                  <a:lnTo>
                    <a:pt x="191" y="24"/>
                  </a:lnTo>
                  <a:lnTo>
                    <a:pt x="192" y="26"/>
                  </a:lnTo>
                  <a:lnTo>
                    <a:pt x="191" y="28"/>
                  </a:lnTo>
                  <a:lnTo>
                    <a:pt x="191" y="31"/>
                  </a:lnTo>
                  <a:lnTo>
                    <a:pt x="189" y="31"/>
                  </a:lnTo>
                  <a:lnTo>
                    <a:pt x="189" y="33"/>
                  </a:lnTo>
                  <a:lnTo>
                    <a:pt x="187" y="33"/>
                  </a:lnTo>
                  <a:lnTo>
                    <a:pt x="186" y="34"/>
                  </a:lnTo>
                  <a:lnTo>
                    <a:pt x="184" y="34"/>
                  </a:lnTo>
                  <a:lnTo>
                    <a:pt x="184" y="36"/>
                  </a:lnTo>
                  <a:lnTo>
                    <a:pt x="182" y="36"/>
                  </a:lnTo>
                  <a:lnTo>
                    <a:pt x="182" y="38"/>
                  </a:lnTo>
                  <a:lnTo>
                    <a:pt x="184" y="39"/>
                  </a:lnTo>
                  <a:lnTo>
                    <a:pt x="186" y="39"/>
                  </a:lnTo>
                  <a:lnTo>
                    <a:pt x="186" y="41"/>
                  </a:lnTo>
                  <a:lnTo>
                    <a:pt x="187" y="41"/>
                  </a:lnTo>
                  <a:lnTo>
                    <a:pt x="189" y="41"/>
                  </a:lnTo>
                  <a:lnTo>
                    <a:pt x="191" y="43"/>
                  </a:lnTo>
                  <a:lnTo>
                    <a:pt x="191" y="45"/>
                  </a:lnTo>
                  <a:lnTo>
                    <a:pt x="194" y="45"/>
                  </a:lnTo>
                  <a:lnTo>
                    <a:pt x="196" y="46"/>
                  </a:lnTo>
                  <a:lnTo>
                    <a:pt x="196" y="48"/>
                  </a:lnTo>
                  <a:lnTo>
                    <a:pt x="198" y="48"/>
                  </a:lnTo>
                  <a:lnTo>
                    <a:pt x="199" y="50"/>
                  </a:lnTo>
                  <a:lnTo>
                    <a:pt x="199" y="51"/>
                  </a:lnTo>
                  <a:lnTo>
                    <a:pt x="201" y="55"/>
                  </a:lnTo>
                  <a:lnTo>
                    <a:pt x="203" y="56"/>
                  </a:lnTo>
                  <a:lnTo>
                    <a:pt x="204" y="58"/>
                  </a:lnTo>
                  <a:lnTo>
                    <a:pt x="208" y="58"/>
                  </a:lnTo>
                  <a:lnTo>
                    <a:pt x="208" y="56"/>
                  </a:lnTo>
                  <a:lnTo>
                    <a:pt x="209" y="55"/>
                  </a:lnTo>
                  <a:lnTo>
                    <a:pt x="211" y="53"/>
                  </a:lnTo>
                  <a:lnTo>
                    <a:pt x="213" y="51"/>
                  </a:lnTo>
                  <a:lnTo>
                    <a:pt x="215" y="51"/>
                  </a:lnTo>
                  <a:lnTo>
                    <a:pt x="215" y="50"/>
                  </a:lnTo>
                  <a:lnTo>
                    <a:pt x="218" y="50"/>
                  </a:lnTo>
                  <a:lnTo>
                    <a:pt x="218" y="48"/>
                  </a:lnTo>
                  <a:lnTo>
                    <a:pt x="220" y="50"/>
                  </a:lnTo>
                  <a:lnTo>
                    <a:pt x="221" y="48"/>
                  </a:lnTo>
                  <a:lnTo>
                    <a:pt x="220" y="46"/>
                  </a:lnTo>
                  <a:lnTo>
                    <a:pt x="220" y="45"/>
                  </a:lnTo>
                  <a:lnTo>
                    <a:pt x="220" y="43"/>
                  </a:lnTo>
                  <a:lnTo>
                    <a:pt x="216" y="43"/>
                  </a:lnTo>
                  <a:lnTo>
                    <a:pt x="216" y="41"/>
                  </a:lnTo>
                  <a:lnTo>
                    <a:pt x="215" y="39"/>
                  </a:lnTo>
                  <a:lnTo>
                    <a:pt x="215" y="38"/>
                  </a:lnTo>
                  <a:lnTo>
                    <a:pt x="211" y="36"/>
                  </a:lnTo>
                  <a:lnTo>
                    <a:pt x="213" y="34"/>
                  </a:lnTo>
                  <a:lnTo>
                    <a:pt x="215" y="34"/>
                  </a:lnTo>
                  <a:lnTo>
                    <a:pt x="216" y="34"/>
                  </a:lnTo>
                  <a:lnTo>
                    <a:pt x="216" y="36"/>
                  </a:lnTo>
                  <a:lnTo>
                    <a:pt x="218" y="34"/>
                  </a:lnTo>
                  <a:lnTo>
                    <a:pt x="220" y="36"/>
                  </a:lnTo>
                  <a:lnTo>
                    <a:pt x="223" y="36"/>
                  </a:lnTo>
                  <a:lnTo>
                    <a:pt x="225" y="38"/>
                  </a:lnTo>
                  <a:lnTo>
                    <a:pt x="226" y="36"/>
                  </a:lnTo>
                  <a:lnTo>
                    <a:pt x="228" y="38"/>
                  </a:lnTo>
                  <a:lnTo>
                    <a:pt x="230" y="39"/>
                  </a:lnTo>
                  <a:lnTo>
                    <a:pt x="232" y="41"/>
                  </a:lnTo>
                  <a:lnTo>
                    <a:pt x="235" y="39"/>
                  </a:lnTo>
                  <a:lnTo>
                    <a:pt x="233" y="41"/>
                  </a:lnTo>
                  <a:lnTo>
                    <a:pt x="235" y="41"/>
                  </a:lnTo>
                  <a:lnTo>
                    <a:pt x="233" y="43"/>
                  </a:lnTo>
                  <a:lnTo>
                    <a:pt x="235" y="45"/>
                  </a:lnTo>
                  <a:lnTo>
                    <a:pt x="237" y="43"/>
                  </a:lnTo>
                  <a:lnTo>
                    <a:pt x="238" y="43"/>
                  </a:lnTo>
                  <a:lnTo>
                    <a:pt x="238" y="45"/>
                  </a:lnTo>
                  <a:lnTo>
                    <a:pt x="242" y="43"/>
                  </a:lnTo>
                  <a:lnTo>
                    <a:pt x="243" y="43"/>
                  </a:lnTo>
                  <a:lnTo>
                    <a:pt x="245" y="43"/>
                  </a:lnTo>
                  <a:lnTo>
                    <a:pt x="247" y="43"/>
                  </a:lnTo>
                  <a:lnTo>
                    <a:pt x="249" y="43"/>
                  </a:lnTo>
                  <a:lnTo>
                    <a:pt x="249" y="41"/>
                  </a:lnTo>
                  <a:lnTo>
                    <a:pt x="249" y="38"/>
                  </a:lnTo>
                  <a:lnTo>
                    <a:pt x="250" y="39"/>
                  </a:lnTo>
                  <a:lnTo>
                    <a:pt x="252" y="39"/>
                  </a:lnTo>
                  <a:lnTo>
                    <a:pt x="252" y="43"/>
                  </a:lnTo>
                  <a:lnTo>
                    <a:pt x="254" y="45"/>
                  </a:lnTo>
                  <a:lnTo>
                    <a:pt x="254" y="46"/>
                  </a:lnTo>
                  <a:lnTo>
                    <a:pt x="252" y="48"/>
                  </a:lnTo>
                  <a:lnTo>
                    <a:pt x="250" y="48"/>
                  </a:lnTo>
                  <a:lnTo>
                    <a:pt x="249" y="50"/>
                  </a:lnTo>
                  <a:lnTo>
                    <a:pt x="247" y="50"/>
                  </a:lnTo>
                  <a:lnTo>
                    <a:pt x="247" y="51"/>
                  </a:lnTo>
                  <a:lnTo>
                    <a:pt x="249" y="53"/>
                  </a:lnTo>
                  <a:lnTo>
                    <a:pt x="250" y="55"/>
                  </a:lnTo>
                  <a:lnTo>
                    <a:pt x="252" y="53"/>
                  </a:lnTo>
                  <a:lnTo>
                    <a:pt x="254" y="55"/>
                  </a:lnTo>
                  <a:lnTo>
                    <a:pt x="254" y="56"/>
                  </a:lnTo>
                  <a:lnTo>
                    <a:pt x="255" y="60"/>
                  </a:lnTo>
                  <a:lnTo>
                    <a:pt x="257" y="60"/>
                  </a:lnTo>
                  <a:lnTo>
                    <a:pt x="257" y="62"/>
                  </a:lnTo>
                  <a:lnTo>
                    <a:pt x="260" y="62"/>
                  </a:lnTo>
                  <a:lnTo>
                    <a:pt x="262" y="62"/>
                  </a:lnTo>
                  <a:lnTo>
                    <a:pt x="264" y="60"/>
                  </a:lnTo>
                  <a:lnTo>
                    <a:pt x="266" y="58"/>
                  </a:lnTo>
                  <a:lnTo>
                    <a:pt x="267" y="60"/>
                  </a:lnTo>
                  <a:lnTo>
                    <a:pt x="267" y="56"/>
                  </a:lnTo>
                  <a:lnTo>
                    <a:pt x="266" y="56"/>
                  </a:lnTo>
                  <a:lnTo>
                    <a:pt x="267" y="55"/>
                  </a:lnTo>
                  <a:lnTo>
                    <a:pt x="269" y="56"/>
                  </a:lnTo>
                  <a:lnTo>
                    <a:pt x="269" y="58"/>
                  </a:lnTo>
                  <a:lnTo>
                    <a:pt x="271" y="60"/>
                  </a:lnTo>
                  <a:lnTo>
                    <a:pt x="272" y="60"/>
                  </a:lnTo>
                  <a:lnTo>
                    <a:pt x="274" y="58"/>
                  </a:lnTo>
                  <a:lnTo>
                    <a:pt x="276" y="60"/>
                  </a:lnTo>
                  <a:lnTo>
                    <a:pt x="277" y="62"/>
                  </a:lnTo>
                  <a:lnTo>
                    <a:pt x="279" y="63"/>
                  </a:lnTo>
                  <a:lnTo>
                    <a:pt x="281" y="63"/>
                  </a:lnTo>
                  <a:lnTo>
                    <a:pt x="283" y="63"/>
                  </a:lnTo>
                  <a:lnTo>
                    <a:pt x="281" y="62"/>
                  </a:lnTo>
                  <a:lnTo>
                    <a:pt x="283" y="62"/>
                  </a:lnTo>
                  <a:lnTo>
                    <a:pt x="286" y="62"/>
                  </a:lnTo>
                  <a:lnTo>
                    <a:pt x="286" y="63"/>
                  </a:lnTo>
                  <a:lnTo>
                    <a:pt x="288" y="63"/>
                  </a:lnTo>
                  <a:lnTo>
                    <a:pt x="291" y="63"/>
                  </a:lnTo>
                  <a:lnTo>
                    <a:pt x="291" y="62"/>
                  </a:lnTo>
                  <a:lnTo>
                    <a:pt x="291" y="65"/>
                  </a:lnTo>
                  <a:lnTo>
                    <a:pt x="294" y="67"/>
                  </a:lnTo>
                  <a:lnTo>
                    <a:pt x="293" y="68"/>
                  </a:lnTo>
                  <a:lnTo>
                    <a:pt x="294" y="70"/>
                  </a:lnTo>
                  <a:lnTo>
                    <a:pt x="294" y="72"/>
                  </a:lnTo>
                  <a:lnTo>
                    <a:pt x="294" y="73"/>
                  </a:lnTo>
                  <a:lnTo>
                    <a:pt x="296" y="73"/>
                  </a:lnTo>
                  <a:lnTo>
                    <a:pt x="296" y="75"/>
                  </a:lnTo>
                  <a:lnTo>
                    <a:pt x="298" y="77"/>
                  </a:lnTo>
                  <a:lnTo>
                    <a:pt x="300" y="77"/>
                  </a:lnTo>
                  <a:lnTo>
                    <a:pt x="301" y="79"/>
                  </a:lnTo>
                  <a:lnTo>
                    <a:pt x="303" y="77"/>
                  </a:lnTo>
                  <a:lnTo>
                    <a:pt x="305" y="79"/>
                  </a:lnTo>
                  <a:lnTo>
                    <a:pt x="305" y="80"/>
                  </a:lnTo>
                  <a:lnTo>
                    <a:pt x="306" y="82"/>
                  </a:lnTo>
                  <a:lnTo>
                    <a:pt x="306" y="84"/>
                  </a:lnTo>
                  <a:lnTo>
                    <a:pt x="306" y="85"/>
                  </a:lnTo>
                  <a:lnTo>
                    <a:pt x="308" y="87"/>
                  </a:lnTo>
                  <a:lnTo>
                    <a:pt x="306" y="89"/>
                  </a:lnTo>
                  <a:lnTo>
                    <a:pt x="308" y="89"/>
                  </a:lnTo>
                  <a:lnTo>
                    <a:pt x="306" y="89"/>
                  </a:lnTo>
                  <a:lnTo>
                    <a:pt x="303" y="90"/>
                  </a:lnTo>
                  <a:lnTo>
                    <a:pt x="301" y="90"/>
                  </a:lnTo>
                  <a:lnTo>
                    <a:pt x="300" y="90"/>
                  </a:lnTo>
                  <a:lnTo>
                    <a:pt x="298" y="92"/>
                  </a:lnTo>
                  <a:lnTo>
                    <a:pt x="296" y="90"/>
                  </a:lnTo>
                  <a:lnTo>
                    <a:pt x="294" y="92"/>
                  </a:lnTo>
                  <a:lnTo>
                    <a:pt x="294" y="94"/>
                  </a:lnTo>
                  <a:lnTo>
                    <a:pt x="293" y="96"/>
                  </a:lnTo>
                  <a:lnTo>
                    <a:pt x="293" y="97"/>
                  </a:lnTo>
                  <a:lnTo>
                    <a:pt x="291" y="99"/>
                  </a:lnTo>
                  <a:lnTo>
                    <a:pt x="288" y="99"/>
                  </a:lnTo>
                  <a:lnTo>
                    <a:pt x="289" y="102"/>
                  </a:lnTo>
                  <a:lnTo>
                    <a:pt x="288" y="104"/>
                  </a:lnTo>
                  <a:lnTo>
                    <a:pt x="286" y="106"/>
                  </a:lnTo>
                  <a:lnTo>
                    <a:pt x="284" y="106"/>
                  </a:lnTo>
                  <a:lnTo>
                    <a:pt x="283" y="107"/>
                  </a:lnTo>
                  <a:lnTo>
                    <a:pt x="281" y="107"/>
                  </a:lnTo>
                  <a:lnTo>
                    <a:pt x="279" y="109"/>
                  </a:lnTo>
                  <a:lnTo>
                    <a:pt x="277" y="111"/>
                  </a:lnTo>
                  <a:lnTo>
                    <a:pt x="279" y="114"/>
                  </a:lnTo>
                  <a:lnTo>
                    <a:pt x="277" y="116"/>
                  </a:lnTo>
                  <a:lnTo>
                    <a:pt x="277" y="118"/>
                  </a:lnTo>
                  <a:lnTo>
                    <a:pt x="277" y="119"/>
                  </a:lnTo>
                  <a:lnTo>
                    <a:pt x="277" y="121"/>
                  </a:lnTo>
                  <a:lnTo>
                    <a:pt x="277" y="123"/>
                  </a:lnTo>
                  <a:lnTo>
                    <a:pt x="277" y="124"/>
                  </a:lnTo>
                  <a:lnTo>
                    <a:pt x="276" y="126"/>
                  </a:lnTo>
                  <a:lnTo>
                    <a:pt x="274" y="128"/>
                  </a:lnTo>
                  <a:lnTo>
                    <a:pt x="272" y="128"/>
                  </a:lnTo>
                  <a:lnTo>
                    <a:pt x="269" y="128"/>
                  </a:lnTo>
                  <a:lnTo>
                    <a:pt x="269" y="130"/>
                  </a:lnTo>
                  <a:lnTo>
                    <a:pt x="269" y="131"/>
                  </a:lnTo>
                  <a:lnTo>
                    <a:pt x="269" y="133"/>
                  </a:lnTo>
                  <a:lnTo>
                    <a:pt x="269" y="135"/>
                  </a:lnTo>
                  <a:lnTo>
                    <a:pt x="267" y="135"/>
                  </a:lnTo>
                  <a:lnTo>
                    <a:pt x="264" y="136"/>
                  </a:lnTo>
                  <a:lnTo>
                    <a:pt x="262" y="138"/>
                  </a:lnTo>
                  <a:lnTo>
                    <a:pt x="260" y="140"/>
                  </a:lnTo>
                  <a:lnTo>
                    <a:pt x="259" y="142"/>
                  </a:lnTo>
                  <a:lnTo>
                    <a:pt x="257" y="142"/>
                  </a:lnTo>
                  <a:lnTo>
                    <a:pt x="255" y="143"/>
                  </a:lnTo>
                  <a:lnTo>
                    <a:pt x="254" y="143"/>
                  </a:lnTo>
                  <a:lnTo>
                    <a:pt x="254" y="145"/>
                  </a:lnTo>
                  <a:lnTo>
                    <a:pt x="252" y="143"/>
                  </a:lnTo>
                  <a:lnTo>
                    <a:pt x="252" y="145"/>
                  </a:lnTo>
                  <a:lnTo>
                    <a:pt x="250" y="143"/>
                  </a:lnTo>
                  <a:lnTo>
                    <a:pt x="249" y="145"/>
                  </a:lnTo>
                  <a:lnTo>
                    <a:pt x="247" y="145"/>
                  </a:lnTo>
                  <a:lnTo>
                    <a:pt x="245" y="145"/>
                  </a:lnTo>
                  <a:lnTo>
                    <a:pt x="243" y="143"/>
                  </a:lnTo>
                  <a:lnTo>
                    <a:pt x="242" y="143"/>
                  </a:lnTo>
                  <a:lnTo>
                    <a:pt x="240" y="143"/>
                  </a:lnTo>
                  <a:lnTo>
                    <a:pt x="238" y="142"/>
                  </a:lnTo>
                  <a:lnTo>
                    <a:pt x="237" y="142"/>
                  </a:lnTo>
                  <a:lnTo>
                    <a:pt x="235" y="145"/>
                  </a:lnTo>
                  <a:lnTo>
                    <a:pt x="233" y="145"/>
                  </a:lnTo>
                  <a:lnTo>
                    <a:pt x="233" y="147"/>
                  </a:lnTo>
                  <a:lnTo>
                    <a:pt x="233" y="148"/>
                  </a:lnTo>
                  <a:lnTo>
                    <a:pt x="232" y="150"/>
                  </a:lnTo>
                  <a:lnTo>
                    <a:pt x="230" y="153"/>
                  </a:lnTo>
                  <a:lnTo>
                    <a:pt x="230" y="155"/>
                  </a:lnTo>
                  <a:lnTo>
                    <a:pt x="228" y="157"/>
                  </a:lnTo>
                  <a:lnTo>
                    <a:pt x="228" y="159"/>
                  </a:lnTo>
                  <a:lnTo>
                    <a:pt x="228" y="162"/>
                  </a:lnTo>
                  <a:lnTo>
                    <a:pt x="226" y="160"/>
                  </a:lnTo>
                  <a:lnTo>
                    <a:pt x="226" y="157"/>
                  </a:lnTo>
                  <a:lnTo>
                    <a:pt x="225" y="153"/>
                  </a:lnTo>
                  <a:lnTo>
                    <a:pt x="223" y="155"/>
                  </a:lnTo>
                  <a:lnTo>
                    <a:pt x="221" y="155"/>
                  </a:lnTo>
                  <a:lnTo>
                    <a:pt x="220" y="155"/>
                  </a:lnTo>
                  <a:lnTo>
                    <a:pt x="218" y="155"/>
                  </a:lnTo>
                  <a:lnTo>
                    <a:pt x="216" y="153"/>
                  </a:lnTo>
                  <a:lnTo>
                    <a:pt x="215" y="155"/>
                  </a:lnTo>
                  <a:lnTo>
                    <a:pt x="215" y="152"/>
                  </a:lnTo>
                  <a:lnTo>
                    <a:pt x="213" y="150"/>
                  </a:lnTo>
                  <a:lnTo>
                    <a:pt x="211" y="152"/>
                  </a:lnTo>
                  <a:lnTo>
                    <a:pt x="209" y="150"/>
                  </a:lnTo>
                  <a:lnTo>
                    <a:pt x="208" y="148"/>
                  </a:lnTo>
                  <a:lnTo>
                    <a:pt x="208" y="150"/>
                  </a:lnTo>
                  <a:lnTo>
                    <a:pt x="204" y="150"/>
                  </a:lnTo>
                  <a:lnTo>
                    <a:pt x="203" y="152"/>
                  </a:lnTo>
                  <a:lnTo>
                    <a:pt x="203" y="153"/>
                  </a:lnTo>
                  <a:lnTo>
                    <a:pt x="203" y="155"/>
                  </a:lnTo>
                  <a:lnTo>
                    <a:pt x="201" y="155"/>
                  </a:lnTo>
                  <a:lnTo>
                    <a:pt x="199" y="155"/>
                  </a:lnTo>
                  <a:lnTo>
                    <a:pt x="196" y="155"/>
                  </a:lnTo>
                  <a:lnTo>
                    <a:pt x="194" y="155"/>
                  </a:lnTo>
                  <a:lnTo>
                    <a:pt x="192" y="155"/>
                  </a:lnTo>
                  <a:lnTo>
                    <a:pt x="191" y="155"/>
                  </a:lnTo>
                  <a:lnTo>
                    <a:pt x="187" y="155"/>
                  </a:lnTo>
                  <a:lnTo>
                    <a:pt x="186" y="155"/>
                  </a:lnTo>
                  <a:lnTo>
                    <a:pt x="182" y="153"/>
                  </a:lnTo>
                  <a:lnTo>
                    <a:pt x="181" y="152"/>
                  </a:lnTo>
                  <a:lnTo>
                    <a:pt x="181" y="150"/>
                  </a:lnTo>
                  <a:lnTo>
                    <a:pt x="177" y="150"/>
                  </a:lnTo>
                  <a:lnTo>
                    <a:pt x="179" y="150"/>
                  </a:lnTo>
                  <a:lnTo>
                    <a:pt x="175" y="148"/>
                  </a:lnTo>
                  <a:lnTo>
                    <a:pt x="175" y="147"/>
                  </a:lnTo>
                  <a:lnTo>
                    <a:pt x="172" y="148"/>
                  </a:lnTo>
                  <a:lnTo>
                    <a:pt x="172" y="150"/>
                  </a:lnTo>
                  <a:lnTo>
                    <a:pt x="169" y="150"/>
                  </a:lnTo>
                  <a:lnTo>
                    <a:pt x="167" y="148"/>
                  </a:lnTo>
                  <a:lnTo>
                    <a:pt x="165" y="147"/>
                  </a:lnTo>
                  <a:lnTo>
                    <a:pt x="164" y="147"/>
                  </a:lnTo>
                  <a:lnTo>
                    <a:pt x="162" y="147"/>
                  </a:lnTo>
                  <a:lnTo>
                    <a:pt x="160" y="147"/>
                  </a:lnTo>
                  <a:lnTo>
                    <a:pt x="160" y="145"/>
                  </a:lnTo>
                  <a:lnTo>
                    <a:pt x="158" y="143"/>
                  </a:lnTo>
                  <a:lnTo>
                    <a:pt x="155" y="143"/>
                  </a:lnTo>
                  <a:lnTo>
                    <a:pt x="153" y="142"/>
                  </a:lnTo>
                  <a:lnTo>
                    <a:pt x="150" y="142"/>
                  </a:lnTo>
                  <a:lnTo>
                    <a:pt x="148" y="142"/>
                  </a:lnTo>
                  <a:lnTo>
                    <a:pt x="148" y="145"/>
                  </a:lnTo>
                  <a:lnTo>
                    <a:pt x="147" y="143"/>
                  </a:lnTo>
                  <a:lnTo>
                    <a:pt x="145" y="145"/>
                  </a:lnTo>
                  <a:lnTo>
                    <a:pt x="143" y="145"/>
                  </a:lnTo>
                  <a:lnTo>
                    <a:pt x="145" y="143"/>
                  </a:lnTo>
                  <a:lnTo>
                    <a:pt x="143" y="142"/>
                  </a:lnTo>
                  <a:lnTo>
                    <a:pt x="141" y="142"/>
                  </a:lnTo>
                  <a:lnTo>
                    <a:pt x="140" y="142"/>
                  </a:lnTo>
                  <a:lnTo>
                    <a:pt x="140" y="140"/>
                  </a:lnTo>
                  <a:lnTo>
                    <a:pt x="136" y="140"/>
                  </a:lnTo>
                  <a:lnTo>
                    <a:pt x="136" y="142"/>
                  </a:lnTo>
                  <a:lnTo>
                    <a:pt x="135" y="143"/>
                  </a:lnTo>
                  <a:lnTo>
                    <a:pt x="135" y="147"/>
                  </a:lnTo>
                  <a:lnTo>
                    <a:pt x="136" y="148"/>
                  </a:lnTo>
                  <a:lnTo>
                    <a:pt x="135" y="150"/>
                  </a:lnTo>
                  <a:lnTo>
                    <a:pt x="136" y="153"/>
                  </a:lnTo>
                  <a:lnTo>
                    <a:pt x="135" y="153"/>
                  </a:lnTo>
                  <a:lnTo>
                    <a:pt x="136" y="153"/>
                  </a:lnTo>
                  <a:lnTo>
                    <a:pt x="135" y="157"/>
                  </a:lnTo>
                  <a:lnTo>
                    <a:pt x="136" y="159"/>
                  </a:lnTo>
                  <a:lnTo>
                    <a:pt x="135" y="159"/>
                  </a:lnTo>
                  <a:lnTo>
                    <a:pt x="133" y="159"/>
                  </a:lnTo>
                  <a:lnTo>
                    <a:pt x="131" y="159"/>
                  </a:lnTo>
                  <a:lnTo>
                    <a:pt x="131" y="157"/>
                  </a:lnTo>
                  <a:lnTo>
                    <a:pt x="130" y="157"/>
                  </a:lnTo>
                  <a:lnTo>
                    <a:pt x="128" y="159"/>
                  </a:lnTo>
                  <a:lnTo>
                    <a:pt x="128" y="160"/>
                  </a:lnTo>
                  <a:lnTo>
                    <a:pt x="128" y="162"/>
                  </a:lnTo>
                  <a:lnTo>
                    <a:pt x="126" y="164"/>
                  </a:lnTo>
                  <a:lnTo>
                    <a:pt x="124" y="164"/>
                  </a:lnTo>
                  <a:lnTo>
                    <a:pt x="124" y="167"/>
                  </a:lnTo>
                  <a:lnTo>
                    <a:pt x="124" y="170"/>
                  </a:lnTo>
                  <a:lnTo>
                    <a:pt x="124" y="172"/>
                  </a:lnTo>
                  <a:lnTo>
                    <a:pt x="123" y="172"/>
                  </a:lnTo>
                  <a:lnTo>
                    <a:pt x="123" y="170"/>
                  </a:lnTo>
                  <a:lnTo>
                    <a:pt x="121" y="170"/>
                  </a:lnTo>
                  <a:lnTo>
                    <a:pt x="119" y="169"/>
                  </a:lnTo>
                  <a:lnTo>
                    <a:pt x="118" y="170"/>
                  </a:lnTo>
                  <a:lnTo>
                    <a:pt x="114" y="170"/>
                  </a:lnTo>
                  <a:lnTo>
                    <a:pt x="113" y="169"/>
                  </a:lnTo>
                  <a:lnTo>
                    <a:pt x="113" y="170"/>
                  </a:lnTo>
                  <a:lnTo>
                    <a:pt x="113" y="172"/>
                  </a:lnTo>
                  <a:lnTo>
                    <a:pt x="109" y="172"/>
                  </a:lnTo>
                  <a:lnTo>
                    <a:pt x="109" y="174"/>
                  </a:lnTo>
                  <a:lnTo>
                    <a:pt x="107" y="176"/>
                  </a:lnTo>
                  <a:lnTo>
                    <a:pt x="107" y="174"/>
                  </a:lnTo>
                  <a:lnTo>
                    <a:pt x="104" y="174"/>
                  </a:lnTo>
                  <a:lnTo>
                    <a:pt x="102" y="174"/>
                  </a:lnTo>
                  <a:lnTo>
                    <a:pt x="101" y="172"/>
                  </a:lnTo>
                  <a:lnTo>
                    <a:pt x="97" y="172"/>
                  </a:lnTo>
                  <a:lnTo>
                    <a:pt x="96" y="172"/>
                  </a:lnTo>
                  <a:lnTo>
                    <a:pt x="94" y="170"/>
                  </a:lnTo>
                  <a:lnTo>
                    <a:pt x="92" y="170"/>
                  </a:lnTo>
                  <a:lnTo>
                    <a:pt x="94" y="169"/>
                  </a:lnTo>
                  <a:lnTo>
                    <a:pt x="94" y="167"/>
                  </a:lnTo>
                  <a:lnTo>
                    <a:pt x="92" y="165"/>
                  </a:lnTo>
                  <a:lnTo>
                    <a:pt x="89" y="165"/>
                  </a:lnTo>
                  <a:lnTo>
                    <a:pt x="89" y="164"/>
                  </a:lnTo>
                  <a:lnTo>
                    <a:pt x="87" y="162"/>
                  </a:lnTo>
                  <a:lnTo>
                    <a:pt x="85" y="162"/>
                  </a:lnTo>
                  <a:lnTo>
                    <a:pt x="84" y="160"/>
                  </a:lnTo>
                  <a:lnTo>
                    <a:pt x="82" y="160"/>
                  </a:lnTo>
                  <a:lnTo>
                    <a:pt x="82" y="159"/>
                  </a:lnTo>
                  <a:lnTo>
                    <a:pt x="82" y="157"/>
                  </a:lnTo>
                  <a:lnTo>
                    <a:pt x="80" y="157"/>
                  </a:lnTo>
                  <a:lnTo>
                    <a:pt x="79" y="155"/>
                  </a:lnTo>
                  <a:lnTo>
                    <a:pt x="79" y="153"/>
                  </a:lnTo>
                  <a:lnTo>
                    <a:pt x="75" y="153"/>
                  </a:lnTo>
                  <a:lnTo>
                    <a:pt x="73" y="150"/>
                  </a:lnTo>
                  <a:lnTo>
                    <a:pt x="73" y="148"/>
                  </a:lnTo>
                  <a:lnTo>
                    <a:pt x="73" y="150"/>
                  </a:lnTo>
                  <a:lnTo>
                    <a:pt x="72" y="148"/>
                  </a:lnTo>
                  <a:lnTo>
                    <a:pt x="68" y="148"/>
                  </a:lnTo>
                  <a:lnTo>
                    <a:pt x="67" y="150"/>
                  </a:lnTo>
                  <a:lnTo>
                    <a:pt x="63" y="148"/>
                  </a:lnTo>
                  <a:lnTo>
                    <a:pt x="63" y="147"/>
                  </a:lnTo>
                  <a:lnTo>
                    <a:pt x="62" y="143"/>
                  </a:lnTo>
                  <a:lnTo>
                    <a:pt x="63" y="143"/>
                  </a:lnTo>
                  <a:lnTo>
                    <a:pt x="62" y="142"/>
                  </a:lnTo>
                  <a:lnTo>
                    <a:pt x="60" y="140"/>
                  </a:lnTo>
                  <a:lnTo>
                    <a:pt x="56" y="138"/>
                  </a:lnTo>
                  <a:lnTo>
                    <a:pt x="55" y="138"/>
                  </a:lnTo>
                  <a:lnTo>
                    <a:pt x="53" y="136"/>
                  </a:lnTo>
                  <a:lnTo>
                    <a:pt x="51" y="135"/>
                  </a:lnTo>
                  <a:lnTo>
                    <a:pt x="50" y="133"/>
                  </a:lnTo>
                  <a:lnTo>
                    <a:pt x="50" y="131"/>
                  </a:lnTo>
                  <a:lnTo>
                    <a:pt x="48" y="130"/>
                  </a:lnTo>
                  <a:lnTo>
                    <a:pt x="45" y="128"/>
                  </a:lnTo>
                  <a:lnTo>
                    <a:pt x="45" y="126"/>
                  </a:lnTo>
                  <a:lnTo>
                    <a:pt x="43" y="123"/>
                  </a:lnTo>
                  <a:lnTo>
                    <a:pt x="41" y="123"/>
                  </a:lnTo>
                  <a:lnTo>
                    <a:pt x="38" y="123"/>
                  </a:lnTo>
                  <a:lnTo>
                    <a:pt x="38" y="124"/>
                  </a:lnTo>
                  <a:lnTo>
                    <a:pt x="36" y="123"/>
                  </a:lnTo>
                  <a:lnTo>
                    <a:pt x="34" y="123"/>
                  </a:lnTo>
                  <a:lnTo>
                    <a:pt x="33" y="121"/>
                  </a:lnTo>
                  <a:lnTo>
                    <a:pt x="33" y="119"/>
                  </a:lnTo>
                  <a:lnTo>
                    <a:pt x="29" y="118"/>
                  </a:lnTo>
                  <a:lnTo>
                    <a:pt x="28" y="118"/>
                  </a:lnTo>
                  <a:lnTo>
                    <a:pt x="26" y="114"/>
                  </a:lnTo>
                  <a:lnTo>
                    <a:pt x="28" y="114"/>
                  </a:lnTo>
                  <a:lnTo>
                    <a:pt x="28" y="111"/>
                  </a:lnTo>
                  <a:lnTo>
                    <a:pt x="24" y="109"/>
                  </a:lnTo>
                  <a:lnTo>
                    <a:pt x="24" y="106"/>
                  </a:lnTo>
                  <a:lnTo>
                    <a:pt x="22" y="104"/>
                  </a:lnTo>
                  <a:lnTo>
                    <a:pt x="21" y="104"/>
                  </a:lnTo>
                  <a:lnTo>
                    <a:pt x="21" y="102"/>
                  </a:lnTo>
                  <a:lnTo>
                    <a:pt x="21" y="99"/>
                  </a:lnTo>
                  <a:lnTo>
                    <a:pt x="19" y="99"/>
                  </a:lnTo>
                  <a:lnTo>
                    <a:pt x="17" y="99"/>
                  </a:lnTo>
                  <a:lnTo>
                    <a:pt x="16" y="96"/>
                  </a:lnTo>
                  <a:lnTo>
                    <a:pt x="16" y="94"/>
                  </a:lnTo>
                  <a:lnTo>
                    <a:pt x="17" y="92"/>
                  </a:lnTo>
                  <a:lnTo>
                    <a:pt x="19" y="92"/>
                  </a:lnTo>
                  <a:lnTo>
                    <a:pt x="17" y="90"/>
                  </a:lnTo>
                  <a:lnTo>
                    <a:pt x="19" y="89"/>
                  </a:lnTo>
                  <a:lnTo>
                    <a:pt x="19" y="87"/>
                  </a:lnTo>
                  <a:lnTo>
                    <a:pt x="21" y="87"/>
                  </a:lnTo>
                  <a:lnTo>
                    <a:pt x="21" y="85"/>
                  </a:lnTo>
                  <a:lnTo>
                    <a:pt x="21" y="84"/>
                  </a:lnTo>
                  <a:lnTo>
                    <a:pt x="19" y="82"/>
                  </a:lnTo>
                  <a:lnTo>
                    <a:pt x="17" y="82"/>
                  </a:lnTo>
                  <a:lnTo>
                    <a:pt x="19" y="79"/>
                  </a:lnTo>
                  <a:lnTo>
                    <a:pt x="17" y="79"/>
                  </a:lnTo>
                  <a:lnTo>
                    <a:pt x="16" y="79"/>
                  </a:lnTo>
                  <a:lnTo>
                    <a:pt x="16" y="77"/>
                  </a:lnTo>
                  <a:lnTo>
                    <a:pt x="12" y="77"/>
                  </a:lnTo>
                  <a:lnTo>
                    <a:pt x="12" y="75"/>
                  </a:lnTo>
                  <a:lnTo>
                    <a:pt x="11" y="75"/>
                  </a:lnTo>
                  <a:lnTo>
                    <a:pt x="11" y="73"/>
                  </a:lnTo>
                  <a:lnTo>
                    <a:pt x="9" y="73"/>
                  </a:lnTo>
                  <a:lnTo>
                    <a:pt x="7" y="72"/>
                  </a:lnTo>
                  <a:lnTo>
                    <a:pt x="5" y="70"/>
                  </a:lnTo>
                  <a:lnTo>
                    <a:pt x="5" y="68"/>
                  </a:lnTo>
                  <a:lnTo>
                    <a:pt x="5" y="67"/>
                  </a:lnTo>
                  <a:lnTo>
                    <a:pt x="5" y="65"/>
                  </a:lnTo>
                  <a:lnTo>
                    <a:pt x="4" y="63"/>
                  </a:lnTo>
                  <a:lnTo>
                    <a:pt x="2" y="62"/>
                  </a:lnTo>
                  <a:lnTo>
                    <a:pt x="0" y="62"/>
                  </a:lnTo>
                  <a:lnTo>
                    <a:pt x="2" y="58"/>
                  </a:lnTo>
                  <a:lnTo>
                    <a:pt x="2" y="56"/>
                  </a:lnTo>
                  <a:lnTo>
                    <a:pt x="0" y="56"/>
                  </a:lnTo>
                  <a:lnTo>
                    <a:pt x="2" y="56"/>
                  </a:lnTo>
                  <a:lnTo>
                    <a:pt x="4" y="56"/>
                  </a:lnTo>
                  <a:lnTo>
                    <a:pt x="5" y="56"/>
                  </a:lnTo>
                  <a:lnTo>
                    <a:pt x="5" y="60"/>
                  </a:lnTo>
                  <a:lnTo>
                    <a:pt x="7" y="60"/>
                  </a:lnTo>
                  <a:lnTo>
                    <a:pt x="7" y="62"/>
                  </a:lnTo>
                  <a:lnTo>
                    <a:pt x="9" y="63"/>
                  </a:lnTo>
                  <a:lnTo>
                    <a:pt x="9" y="65"/>
                  </a:lnTo>
                  <a:lnTo>
                    <a:pt x="11" y="67"/>
                  </a:lnTo>
                  <a:lnTo>
                    <a:pt x="11" y="65"/>
                  </a:lnTo>
                  <a:lnTo>
                    <a:pt x="11" y="63"/>
                  </a:lnTo>
                  <a:lnTo>
                    <a:pt x="11" y="62"/>
                  </a:lnTo>
                  <a:lnTo>
                    <a:pt x="12" y="62"/>
                  </a:lnTo>
                  <a:lnTo>
                    <a:pt x="12" y="58"/>
                  </a:lnTo>
                  <a:lnTo>
                    <a:pt x="14" y="58"/>
                  </a:lnTo>
                  <a:lnTo>
                    <a:pt x="14" y="55"/>
                  </a:lnTo>
                  <a:lnTo>
                    <a:pt x="16" y="55"/>
                  </a:lnTo>
                  <a:lnTo>
                    <a:pt x="17" y="53"/>
                  </a:lnTo>
                  <a:lnTo>
                    <a:pt x="17" y="51"/>
                  </a:lnTo>
                  <a:lnTo>
                    <a:pt x="19" y="50"/>
                  </a:lnTo>
                  <a:lnTo>
                    <a:pt x="21" y="50"/>
                  </a:lnTo>
                  <a:lnTo>
                    <a:pt x="22" y="50"/>
                  </a:lnTo>
                  <a:lnTo>
                    <a:pt x="22" y="48"/>
                  </a:lnTo>
                  <a:lnTo>
                    <a:pt x="26" y="48"/>
                  </a:lnTo>
                  <a:lnTo>
                    <a:pt x="28" y="50"/>
                  </a:lnTo>
                  <a:lnTo>
                    <a:pt x="29" y="48"/>
                  </a:lnTo>
                  <a:lnTo>
                    <a:pt x="31" y="46"/>
                  </a:lnTo>
                  <a:lnTo>
                    <a:pt x="33" y="45"/>
                  </a:lnTo>
                  <a:lnTo>
                    <a:pt x="33" y="46"/>
                  </a:lnTo>
                  <a:lnTo>
                    <a:pt x="36" y="46"/>
                  </a:lnTo>
                  <a:lnTo>
                    <a:pt x="36" y="48"/>
                  </a:lnTo>
                  <a:lnTo>
                    <a:pt x="38" y="48"/>
                  </a:lnTo>
                  <a:lnTo>
                    <a:pt x="39" y="48"/>
                  </a:lnTo>
                  <a:lnTo>
                    <a:pt x="41" y="46"/>
                  </a:lnTo>
                  <a:lnTo>
                    <a:pt x="41" y="45"/>
                  </a:lnTo>
                  <a:lnTo>
                    <a:pt x="41" y="41"/>
                  </a:lnTo>
                  <a:lnTo>
                    <a:pt x="45" y="41"/>
                  </a:lnTo>
                  <a:lnTo>
                    <a:pt x="46" y="41"/>
                  </a:lnTo>
                  <a:lnTo>
                    <a:pt x="48" y="41"/>
                  </a:lnTo>
                  <a:lnTo>
                    <a:pt x="50" y="38"/>
                  </a:lnTo>
                  <a:lnTo>
                    <a:pt x="51" y="34"/>
                  </a:lnTo>
                  <a:lnTo>
                    <a:pt x="53" y="34"/>
                  </a:lnTo>
                  <a:lnTo>
                    <a:pt x="53" y="36"/>
                  </a:lnTo>
                  <a:lnTo>
                    <a:pt x="55" y="36"/>
                  </a:lnTo>
                  <a:lnTo>
                    <a:pt x="55" y="34"/>
                  </a:lnTo>
                  <a:lnTo>
                    <a:pt x="56" y="33"/>
                  </a:lnTo>
                  <a:lnTo>
                    <a:pt x="56" y="31"/>
                  </a:lnTo>
                  <a:lnTo>
                    <a:pt x="58" y="33"/>
                  </a:lnTo>
                  <a:lnTo>
                    <a:pt x="60" y="34"/>
                  </a:lnTo>
                  <a:lnTo>
                    <a:pt x="62" y="31"/>
                  </a:lnTo>
                  <a:lnTo>
                    <a:pt x="63" y="31"/>
                  </a:lnTo>
                  <a:lnTo>
                    <a:pt x="62" y="29"/>
                  </a:lnTo>
                  <a:lnTo>
                    <a:pt x="63" y="28"/>
                  </a:lnTo>
                  <a:lnTo>
                    <a:pt x="63" y="26"/>
                  </a:lnTo>
                  <a:lnTo>
                    <a:pt x="67" y="26"/>
                  </a:lnTo>
                  <a:lnTo>
                    <a:pt x="68" y="24"/>
                  </a:lnTo>
                  <a:lnTo>
                    <a:pt x="70" y="26"/>
                  </a:lnTo>
                  <a:lnTo>
                    <a:pt x="72" y="24"/>
                  </a:lnTo>
                  <a:lnTo>
                    <a:pt x="73" y="24"/>
                  </a:lnTo>
                  <a:lnTo>
                    <a:pt x="75" y="24"/>
                  </a:lnTo>
                  <a:lnTo>
                    <a:pt x="77" y="24"/>
                  </a:lnTo>
                  <a:lnTo>
                    <a:pt x="77" y="22"/>
                  </a:lnTo>
                  <a:lnTo>
                    <a:pt x="79" y="22"/>
                  </a:lnTo>
                  <a:lnTo>
                    <a:pt x="79" y="21"/>
                  </a:lnTo>
                  <a:lnTo>
                    <a:pt x="79" y="19"/>
                  </a:lnTo>
                  <a:lnTo>
                    <a:pt x="80" y="19"/>
                  </a:lnTo>
                  <a:lnTo>
                    <a:pt x="82" y="17"/>
                  </a:lnTo>
                  <a:lnTo>
                    <a:pt x="85" y="19"/>
                  </a:lnTo>
                  <a:lnTo>
                    <a:pt x="87" y="17"/>
                  </a:lnTo>
                  <a:lnTo>
                    <a:pt x="89" y="16"/>
                  </a:lnTo>
                  <a:lnTo>
                    <a:pt x="90" y="16"/>
                  </a:lnTo>
                  <a:lnTo>
                    <a:pt x="92" y="14"/>
                  </a:lnTo>
                  <a:lnTo>
                    <a:pt x="94" y="12"/>
                  </a:lnTo>
                  <a:lnTo>
                    <a:pt x="96" y="12"/>
                  </a:lnTo>
                  <a:lnTo>
                    <a:pt x="99" y="11"/>
                  </a:lnTo>
                  <a:lnTo>
                    <a:pt x="101" y="11"/>
                  </a:lnTo>
                  <a:lnTo>
                    <a:pt x="101" y="9"/>
                  </a:lnTo>
                  <a:lnTo>
                    <a:pt x="99" y="7"/>
                  </a:lnTo>
                  <a:lnTo>
                    <a:pt x="99" y="9"/>
                  </a:lnTo>
                  <a:lnTo>
                    <a:pt x="96" y="7"/>
                  </a:lnTo>
                  <a:lnTo>
                    <a:pt x="97" y="5"/>
                  </a:lnTo>
                  <a:lnTo>
                    <a:pt x="96" y="5"/>
                  </a:lnTo>
                  <a:lnTo>
                    <a:pt x="94" y="5"/>
                  </a:lnTo>
                  <a:lnTo>
                    <a:pt x="96" y="2"/>
                  </a:lnTo>
                  <a:lnTo>
                    <a:pt x="94" y="2"/>
                  </a:lnTo>
                  <a:lnTo>
                    <a:pt x="96" y="0"/>
                  </a:lnTo>
                  <a:lnTo>
                    <a:pt x="97" y="2"/>
                  </a:lnTo>
                  <a:lnTo>
                    <a:pt x="99" y="2"/>
                  </a:lnTo>
                  <a:lnTo>
                    <a:pt x="101" y="2"/>
                  </a:lnTo>
                  <a:lnTo>
                    <a:pt x="102" y="2"/>
                  </a:lnTo>
                  <a:lnTo>
                    <a:pt x="104" y="2"/>
                  </a:lnTo>
                  <a:lnTo>
                    <a:pt x="104" y="0"/>
                  </a:lnTo>
                  <a:lnTo>
                    <a:pt x="104" y="2"/>
                  </a:lnTo>
                  <a:lnTo>
                    <a:pt x="106" y="4"/>
                  </a:lnTo>
                  <a:lnTo>
                    <a:pt x="107" y="2"/>
                  </a:lnTo>
                  <a:lnTo>
                    <a:pt x="109" y="5"/>
                  </a:lnTo>
                  <a:lnTo>
                    <a:pt x="109" y="7"/>
                  </a:lnTo>
                  <a:lnTo>
                    <a:pt x="107" y="9"/>
                  </a:lnTo>
                  <a:lnTo>
                    <a:pt x="109" y="9"/>
                  </a:lnTo>
                  <a:lnTo>
                    <a:pt x="111" y="7"/>
                  </a:lnTo>
                  <a:lnTo>
                    <a:pt x="111" y="9"/>
                  </a:lnTo>
                  <a:lnTo>
                    <a:pt x="111" y="11"/>
                  </a:lnTo>
                  <a:lnTo>
                    <a:pt x="111" y="14"/>
                  </a:lnTo>
                  <a:lnTo>
                    <a:pt x="113" y="14"/>
                  </a:lnTo>
                  <a:lnTo>
                    <a:pt x="114" y="14"/>
                  </a:lnTo>
                  <a:lnTo>
                    <a:pt x="114" y="16"/>
                  </a:lnTo>
                  <a:lnTo>
                    <a:pt x="118" y="16"/>
                  </a:lnTo>
                  <a:lnTo>
                    <a:pt x="119" y="14"/>
                  </a:lnTo>
                  <a:lnTo>
                    <a:pt x="119" y="1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25" name="Freeform 56">
              <a:extLst>
                <a:ext uri="{FF2B5EF4-FFF2-40B4-BE49-F238E27FC236}">
                  <a16:creationId xmlns:a16="http://schemas.microsoft.com/office/drawing/2014/main" id="{721A80BA-0942-405B-B28E-27EBC52A440A}"/>
                </a:ext>
              </a:extLst>
            </p:cNvPr>
            <p:cNvSpPr>
              <a:spLocks/>
            </p:cNvSpPr>
            <p:nvPr/>
          </p:nvSpPr>
          <p:spPr bwMode="gray">
            <a:xfrm>
              <a:off x="8310179" y="4470050"/>
              <a:ext cx="1057698" cy="554033"/>
            </a:xfrm>
            <a:custGeom>
              <a:avLst/>
              <a:gdLst>
                <a:gd name="T0" fmla="*/ 343 w 357"/>
                <a:gd name="T1" fmla="*/ 42 h 187"/>
                <a:gd name="T2" fmla="*/ 352 w 357"/>
                <a:gd name="T3" fmla="*/ 58 h 187"/>
                <a:gd name="T4" fmla="*/ 353 w 357"/>
                <a:gd name="T5" fmla="*/ 68 h 187"/>
                <a:gd name="T6" fmla="*/ 353 w 357"/>
                <a:gd name="T7" fmla="*/ 85 h 187"/>
                <a:gd name="T8" fmla="*/ 333 w 357"/>
                <a:gd name="T9" fmla="*/ 81 h 187"/>
                <a:gd name="T10" fmla="*/ 335 w 357"/>
                <a:gd name="T11" fmla="*/ 92 h 187"/>
                <a:gd name="T12" fmla="*/ 331 w 357"/>
                <a:gd name="T13" fmla="*/ 107 h 187"/>
                <a:gd name="T14" fmla="*/ 328 w 357"/>
                <a:gd name="T15" fmla="*/ 121 h 187"/>
                <a:gd name="T16" fmla="*/ 330 w 357"/>
                <a:gd name="T17" fmla="*/ 134 h 187"/>
                <a:gd name="T18" fmla="*/ 323 w 357"/>
                <a:gd name="T19" fmla="*/ 136 h 187"/>
                <a:gd name="T20" fmla="*/ 311 w 357"/>
                <a:gd name="T21" fmla="*/ 149 h 187"/>
                <a:gd name="T22" fmla="*/ 306 w 357"/>
                <a:gd name="T23" fmla="*/ 158 h 187"/>
                <a:gd name="T24" fmla="*/ 289 w 357"/>
                <a:gd name="T25" fmla="*/ 165 h 187"/>
                <a:gd name="T26" fmla="*/ 268 w 357"/>
                <a:gd name="T27" fmla="*/ 167 h 187"/>
                <a:gd name="T28" fmla="*/ 255 w 357"/>
                <a:gd name="T29" fmla="*/ 172 h 187"/>
                <a:gd name="T30" fmla="*/ 243 w 357"/>
                <a:gd name="T31" fmla="*/ 187 h 187"/>
                <a:gd name="T32" fmla="*/ 224 w 357"/>
                <a:gd name="T33" fmla="*/ 184 h 187"/>
                <a:gd name="T34" fmla="*/ 204 w 357"/>
                <a:gd name="T35" fmla="*/ 178 h 187"/>
                <a:gd name="T36" fmla="*/ 185 w 357"/>
                <a:gd name="T37" fmla="*/ 177 h 187"/>
                <a:gd name="T38" fmla="*/ 165 w 357"/>
                <a:gd name="T39" fmla="*/ 175 h 187"/>
                <a:gd name="T40" fmla="*/ 141 w 357"/>
                <a:gd name="T41" fmla="*/ 170 h 187"/>
                <a:gd name="T42" fmla="*/ 127 w 357"/>
                <a:gd name="T43" fmla="*/ 158 h 187"/>
                <a:gd name="T44" fmla="*/ 126 w 357"/>
                <a:gd name="T45" fmla="*/ 143 h 187"/>
                <a:gd name="T46" fmla="*/ 107 w 357"/>
                <a:gd name="T47" fmla="*/ 149 h 187"/>
                <a:gd name="T48" fmla="*/ 85 w 357"/>
                <a:gd name="T49" fmla="*/ 149 h 187"/>
                <a:gd name="T50" fmla="*/ 71 w 357"/>
                <a:gd name="T51" fmla="*/ 163 h 187"/>
                <a:gd name="T52" fmla="*/ 58 w 357"/>
                <a:gd name="T53" fmla="*/ 161 h 187"/>
                <a:gd name="T54" fmla="*/ 46 w 357"/>
                <a:gd name="T55" fmla="*/ 156 h 187"/>
                <a:gd name="T56" fmla="*/ 32 w 357"/>
                <a:gd name="T57" fmla="*/ 158 h 187"/>
                <a:gd name="T58" fmla="*/ 15 w 357"/>
                <a:gd name="T59" fmla="*/ 153 h 187"/>
                <a:gd name="T60" fmla="*/ 5 w 357"/>
                <a:gd name="T61" fmla="*/ 144 h 187"/>
                <a:gd name="T62" fmla="*/ 3 w 357"/>
                <a:gd name="T63" fmla="*/ 126 h 187"/>
                <a:gd name="T64" fmla="*/ 7 w 357"/>
                <a:gd name="T65" fmla="*/ 115 h 187"/>
                <a:gd name="T66" fmla="*/ 20 w 357"/>
                <a:gd name="T67" fmla="*/ 112 h 187"/>
                <a:gd name="T68" fmla="*/ 30 w 357"/>
                <a:gd name="T69" fmla="*/ 122 h 187"/>
                <a:gd name="T70" fmla="*/ 39 w 357"/>
                <a:gd name="T71" fmla="*/ 126 h 187"/>
                <a:gd name="T72" fmla="*/ 44 w 357"/>
                <a:gd name="T73" fmla="*/ 110 h 187"/>
                <a:gd name="T74" fmla="*/ 64 w 357"/>
                <a:gd name="T75" fmla="*/ 112 h 187"/>
                <a:gd name="T76" fmla="*/ 75 w 357"/>
                <a:gd name="T77" fmla="*/ 122 h 187"/>
                <a:gd name="T78" fmla="*/ 90 w 357"/>
                <a:gd name="T79" fmla="*/ 119 h 187"/>
                <a:gd name="T80" fmla="*/ 105 w 357"/>
                <a:gd name="T81" fmla="*/ 107 h 187"/>
                <a:gd name="T82" fmla="*/ 126 w 357"/>
                <a:gd name="T83" fmla="*/ 105 h 187"/>
                <a:gd name="T84" fmla="*/ 134 w 357"/>
                <a:gd name="T85" fmla="*/ 100 h 187"/>
                <a:gd name="T86" fmla="*/ 148 w 357"/>
                <a:gd name="T87" fmla="*/ 100 h 187"/>
                <a:gd name="T88" fmla="*/ 160 w 357"/>
                <a:gd name="T89" fmla="*/ 112 h 187"/>
                <a:gd name="T90" fmla="*/ 165 w 357"/>
                <a:gd name="T91" fmla="*/ 97 h 187"/>
                <a:gd name="T92" fmla="*/ 160 w 357"/>
                <a:gd name="T93" fmla="*/ 83 h 187"/>
                <a:gd name="T94" fmla="*/ 153 w 357"/>
                <a:gd name="T95" fmla="*/ 68 h 187"/>
                <a:gd name="T96" fmla="*/ 175 w 357"/>
                <a:gd name="T97" fmla="*/ 54 h 187"/>
                <a:gd name="T98" fmla="*/ 183 w 357"/>
                <a:gd name="T99" fmla="*/ 34 h 187"/>
                <a:gd name="T100" fmla="*/ 197 w 357"/>
                <a:gd name="T101" fmla="*/ 34 h 187"/>
                <a:gd name="T102" fmla="*/ 204 w 357"/>
                <a:gd name="T103" fmla="*/ 25 h 187"/>
                <a:gd name="T104" fmla="*/ 222 w 357"/>
                <a:gd name="T105" fmla="*/ 34 h 187"/>
                <a:gd name="T106" fmla="*/ 238 w 357"/>
                <a:gd name="T107" fmla="*/ 30 h 187"/>
                <a:gd name="T108" fmla="*/ 246 w 357"/>
                <a:gd name="T109" fmla="*/ 17 h 187"/>
                <a:gd name="T110" fmla="*/ 250 w 357"/>
                <a:gd name="T111" fmla="*/ 7 h 187"/>
                <a:gd name="T112" fmla="*/ 262 w 357"/>
                <a:gd name="T113" fmla="*/ 3 h 187"/>
                <a:gd name="T114" fmla="*/ 280 w 357"/>
                <a:gd name="T115" fmla="*/ 7 h 187"/>
                <a:gd name="T116" fmla="*/ 297 w 357"/>
                <a:gd name="T117" fmla="*/ 13 h 187"/>
                <a:gd name="T118" fmla="*/ 318 w 357"/>
                <a:gd name="T119" fmla="*/ 12 h 187"/>
                <a:gd name="T120" fmla="*/ 335 w 357"/>
                <a:gd name="T121" fmla="*/ 1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7" h="187">
                  <a:moveTo>
                    <a:pt x="343" y="22"/>
                  </a:moveTo>
                  <a:lnTo>
                    <a:pt x="343" y="24"/>
                  </a:lnTo>
                  <a:lnTo>
                    <a:pt x="343" y="25"/>
                  </a:lnTo>
                  <a:lnTo>
                    <a:pt x="341" y="29"/>
                  </a:lnTo>
                  <a:lnTo>
                    <a:pt x="341" y="30"/>
                  </a:lnTo>
                  <a:lnTo>
                    <a:pt x="340" y="34"/>
                  </a:lnTo>
                  <a:lnTo>
                    <a:pt x="340" y="36"/>
                  </a:lnTo>
                  <a:lnTo>
                    <a:pt x="340" y="37"/>
                  </a:lnTo>
                  <a:lnTo>
                    <a:pt x="340" y="41"/>
                  </a:lnTo>
                  <a:lnTo>
                    <a:pt x="341" y="41"/>
                  </a:lnTo>
                  <a:lnTo>
                    <a:pt x="343" y="42"/>
                  </a:lnTo>
                  <a:lnTo>
                    <a:pt x="343" y="44"/>
                  </a:lnTo>
                  <a:lnTo>
                    <a:pt x="345" y="46"/>
                  </a:lnTo>
                  <a:lnTo>
                    <a:pt x="345" y="47"/>
                  </a:lnTo>
                  <a:lnTo>
                    <a:pt x="347" y="49"/>
                  </a:lnTo>
                  <a:lnTo>
                    <a:pt x="347" y="51"/>
                  </a:lnTo>
                  <a:lnTo>
                    <a:pt x="347" y="53"/>
                  </a:lnTo>
                  <a:lnTo>
                    <a:pt x="348" y="53"/>
                  </a:lnTo>
                  <a:lnTo>
                    <a:pt x="350" y="54"/>
                  </a:lnTo>
                  <a:lnTo>
                    <a:pt x="352" y="54"/>
                  </a:lnTo>
                  <a:lnTo>
                    <a:pt x="353" y="56"/>
                  </a:lnTo>
                  <a:lnTo>
                    <a:pt x="352" y="58"/>
                  </a:lnTo>
                  <a:lnTo>
                    <a:pt x="353" y="59"/>
                  </a:lnTo>
                  <a:lnTo>
                    <a:pt x="352" y="59"/>
                  </a:lnTo>
                  <a:lnTo>
                    <a:pt x="353" y="61"/>
                  </a:lnTo>
                  <a:lnTo>
                    <a:pt x="352" y="61"/>
                  </a:lnTo>
                  <a:lnTo>
                    <a:pt x="353" y="63"/>
                  </a:lnTo>
                  <a:lnTo>
                    <a:pt x="355" y="61"/>
                  </a:lnTo>
                  <a:lnTo>
                    <a:pt x="357" y="63"/>
                  </a:lnTo>
                  <a:lnTo>
                    <a:pt x="355" y="64"/>
                  </a:lnTo>
                  <a:lnTo>
                    <a:pt x="353" y="66"/>
                  </a:lnTo>
                  <a:lnTo>
                    <a:pt x="355" y="66"/>
                  </a:lnTo>
                  <a:lnTo>
                    <a:pt x="353" y="68"/>
                  </a:lnTo>
                  <a:lnTo>
                    <a:pt x="355" y="68"/>
                  </a:lnTo>
                  <a:lnTo>
                    <a:pt x="355" y="70"/>
                  </a:lnTo>
                  <a:lnTo>
                    <a:pt x="355" y="73"/>
                  </a:lnTo>
                  <a:lnTo>
                    <a:pt x="353" y="71"/>
                  </a:lnTo>
                  <a:lnTo>
                    <a:pt x="352" y="73"/>
                  </a:lnTo>
                  <a:lnTo>
                    <a:pt x="353" y="75"/>
                  </a:lnTo>
                  <a:lnTo>
                    <a:pt x="355" y="76"/>
                  </a:lnTo>
                  <a:lnTo>
                    <a:pt x="353" y="78"/>
                  </a:lnTo>
                  <a:lnTo>
                    <a:pt x="353" y="80"/>
                  </a:lnTo>
                  <a:lnTo>
                    <a:pt x="355" y="83"/>
                  </a:lnTo>
                  <a:lnTo>
                    <a:pt x="353" y="85"/>
                  </a:lnTo>
                  <a:lnTo>
                    <a:pt x="350" y="85"/>
                  </a:lnTo>
                  <a:lnTo>
                    <a:pt x="348" y="87"/>
                  </a:lnTo>
                  <a:lnTo>
                    <a:pt x="345" y="87"/>
                  </a:lnTo>
                  <a:lnTo>
                    <a:pt x="345" y="83"/>
                  </a:lnTo>
                  <a:lnTo>
                    <a:pt x="343" y="85"/>
                  </a:lnTo>
                  <a:lnTo>
                    <a:pt x="343" y="87"/>
                  </a:lnTo>
                  <a:lnTo>
                    <a:pt x="340" y="87"/>
                  </a:lnTo>
                  <a:lnTo>
                    <a:pt x="338" y="85"/>
                  </a:lnTo>
                  <a:lnTo>
                    <a:pt x="338" y="83"/>
                  </a:lnTo>
                  <a:lnTo>
                    <a:pt x="335" y="83"/>
                  </a:lnTo>
                  <a:lnTo>
                    <a:pt x="333" y="81"/>
                  </a:lnTo>
                  <a:lnTo>
                    <a:pt x="330" y="83"/>
                  </a:lnTo>
                  <a:lnTo>
                    <a:pt x="330" y="85"/>
                  </a:lnTo>
                  <a:lnTo>
                    <a:pt x="330" y="87"/>
                  </a:lnTo>
                  <a:lnTo>
                    <a:pt x="328" y="87"/>
                  </a:lnTo>
                  <a:lnTo>
                    <a:pt x="326" y="88"/>
                  </a:lnTo>
                  <a:lnTo>
                    <a:pt x="324" y="90"/>
                  </a:lnTo>
                  <a:lnTo>
                    <a:pt x="328" y="90"/>
                  </a:lnTo>
                  <a:lnTo>
                    <a:pt x="328" y="92"/>
                  </a:lnTo>
                  <a:lnTo>
                    <a:pt x="330" y="90"/>
                  </a:lnTo>
                  <a:lnTo>
                    <a:pt x="331" y="92"/>
                  </a:lnTo>
                  <a:lnTo>
                    <a:pt x="335" y="92"/>
                  </a:lnTo>
                  <a:lnTo>
                    <a:pt x="336" y="92"/>
                  </a:lnTo>
                  <a:lnTo>
                    <a:pt x="336" y="93"/>
                  </a:lnTo>
                  <a:lnTo>
                    <a:pt x="336" y="95"/>
                  </a:lnTo>
                  <a:lnTo>
                    <a:pt x="340" y="97"/>
                  </a:lnTo>
                  <a:lnTo>
                    <a:pt x="338" y="100"/>
                  </a:lnTo>
                  <a:lnTo>
                    <a:pt x="336" y="100"/>
                  </a:lnTo>
                  <a:lnTo>
                    <a:pt x="338" y="102"/>
                  </a:lnTo>
                  <a:lnTo>
                    <a:pt x="336" y="104"/>
                  </a:lnTo>
                  <a:lnTo>
                    <a:pt x="335" y="105"/>
                  </a:lnTo>
                  <a:lnTo>
                    <a:pt x="333" y="107"/>
                  </a:lnTo>
                  <a:lnTo>
                    <a:pt x="331" y="107"/>
                  </a:lnTo>
                  <a:lnTo>
                    <a:pt x="330" y="109"/>
                  </a:lnTo>
                  <a:lnTo>
                    <a:pt x="330" y="107"/>
                  </a:lnTo>
                  <a:lnTo>
                    <a:pt x="328" y="107"/>
                  </a:lnTo>
                  <a:lnTo>
                    <a:pt x="328" y="109"/>
                  </a:lnTo>
                  <a:lnTo>
                    <a:pt x="328" y="112"/>
                  </a:lnTo>
                  <a:lnTo>
                    <a:pt x="328" y="114"/>
                  </a:lnTo>
                  <a:lnTo>
                    <a:pt x="330" y="114"/>
                  </a:lnTo>
                  <a:lnTo>
                    <a:pt x="330" y="117"/>
                  </a:lnTo>
                  <a:lnTo>
                    <a:pt x="330" y="119"/>
                  </a:lnTo>
                  <a:lnTo>
                    <a:pt x="328" y="119"/>
                  </a:lnTo>
                  <a:lnTo>
                    <a:pt x="328" y="121"/>
                  </a:lnTo>
                  <a:lnTo>
                    <a:pt x="328" y="122"/>
                  </a:lnTo>
                  <a:lnTo>
                    <a:pt x="330" y="122"/>
                  </a:lnTo>
                  <a:lnTo>
                    <a:pt x="330" y="124"/>
                  </a:lnTo>
                  <a:lnTo>
                    <a:pt x="330" y="126"/>
                  </a:lnTo>
                  <a:lnTo>
                    <a:pt x="333" y="126"/>
                  </a:lnTo>
                  <a:lnTo>
                    <a:pt x="333" y="127"/>
                  </a:lnTo>
                  <a:lnTo>
                    <a:pt x="331" y="127"/>
                  </a:lnTo>
                  <a:lnTo>
                    <a:pt x="330" y="129"/>
                  </a:lnTo>
                  <a:lnTo>
                    <a:pt x="331" y="131"/>
                  </a:lnTo>
                  <a:lnTo>
                    <a:pt x="333" y="132"/>
                  </a:lnTo>
                  <a:lnTo>
                    <a:pt x="330" y="134"/>
                  </a:lnTo>
                  <a:lnTo>
                    <a:pt x="331" y="134"/>
                  </a:lnTo>
                  <a:lnTo>
                    <a:pt x="331" y="136"/>
                  </a:lnTo>
                  <a:lnTo>
                    <a:pt x="333" y="136"/>
                  </a:lnTo>
                  <a:lnTo>
                    <a:pt x="331" y="136"/>
                  </a:lnTo>
                  <a:lnTo>
                    <a:pt x="330" y="136"/>
                  </a:lnTo>
                  <a:lnTo>
                    <a:pt x="328" y="136"/>
                  </a:lnTo>
                  <a:lnTo>
                    <a:pt x="326" y="136"/>
                  </a:lnTo>
                  <a:lnTo>
                    <a:pt x="324" y="136"/>
                  </a:lnTo>
                  <a:lnTo>
                    <a:pt x="324" y="138"/>
                  </a:lnTo>
                  <a:lnTo>
                    <a:pt x="323" y="138"/>
                  </a:lnTo>
                  <a:lnTo>
                    <a:pt x="323" y="136"/>
                  </a:lnTo>
                  <a:lnTo>
                    <a:pt x="321" y="138"/>
                  </a:lnTo>
                  <a:lnTo>
                    <a:pt x="323" y="139"/>
                  </a:lnTo>
                  <a:lnTo>
                    <a:pt x="321" y="139"/>
                  </a:lnTo>
                  <a:lnTo>
                    <a:pt x="319" y="141"/>
                  </a:lnTo>
                  <a:lnTo>
                    <a:pt x="318" y="141"/>
                  </a:lnTo>
                  <a:lnTo>
                    <a:pt x="318" y="144"/>
                  </a:lnTo>
                  <a:lnTo>
                    <a:pt x="316" y="146"/>
                  </a:lnTo>
                  <a:lnTo>
                    <a:pt x="314" y="146"/>
                  </a:lnTo>
                  <a:lnTo>
                    <a:pt x="314" y="148"/>
                  </a:lnTo>
                  <a:lnTo>
                    <a:pt x="313" y="149"/>
                  </a:lnTo>
                  <a:lnTo>
                    <a:pt x="311" y="149"/>
                  </a:lnTo>
                  <a:lnTo>
                    <a:pt x="309" y="149"/>
                  </a:lnTo>
                  <a:lnTo>
                    <a:pt x="309" y="151"/>
                  </a:lnTo>
                  <a:lnTo>
                    <a:pt x="309" y="153"/>
                  </a:lnTo>
                  <a:lnTo>
                    <a:pt x="309" y="155"/>
                  </a:lnTo>
                  <a:lnTo>
                    <a:pt x="309" y="156"/>
                  </a:lnTo>
                  <a:lnTo>
                    <a:pt x="311" y="158"/>
                  </a:lnTo>
                  <a:lnTo>
                    <a:pt x="313" y="160"/>
                  </a:lnTo>
                  <a:lnTo>
                    <a:pt x="313" y="161"/>
                  </a:lnTo>
                  <a:lnTo>
                    <a:pt x="311" y="160"/>
                  </a:lnTo>
                  <a:lnTo>
                    <a:pt x="307" y="160"/>
                  </a:lnTo>
                  <a:lnTo>
                    <a:pt x="306" y="158"/>
                  </a:lnTo>
                  <a:lnTo>
                    <a:pt x="304" y="158"/>
                  </a:lnTo>
                  <a:lnTo>
                    <a:pt x="302" y="158"/>
                  </a:lnTo>
                  <a:lnTo>
                    <a:pt x="301" y="158"/>
                  </a:lnTo>
                  <a:lnTo>
                    <a:pt x="299" y="160"/>
                  </a:lnTo>
                  <a:lnTo>
                    <a:pt x="297" y="160"/>
                  </a:lnTo>
                  <a:lnTo>
                    <a:pt x="296" y="160"/>
                  </a:lnTo>
                  <a:lnTo>
                    <a:pt x="294" y="160"/>
                  </a:lnTo>
                  <a:lnTo>
                    <a:pt x="292" y="161"/>
                  </a:lnTo>
                  <a:lnTo>
                    <a:pt x="290" y="161"/>
                  </a:lnTo>
                  <a:lnTo>
                    <a:pt x="289" y="163"/>
                  </a:lnTo>
                  <a:lnTo>
                    <a:pt x="289" y="165"/>
                  </a:lnTo>
                  <a:lnTo>
                    <a:pt x="287" y="167"/>
                  </a:lnTo>
                  <a:lnTo>
                    <a:pt x="285" y="167"/>
                  </a:lnTo>
                  <a:lnTo>
                    <a:pt x="285" y="165"/>
                  </a:lnTo>
                  <a:lnTo>
                    <a:pt x="282" y="165"/>
                  </a:lnTo>
                  <a:lnTo>
                    <a:pt x="280" y="165"/>
                  </a:lnTo>
                  <a:lnTo>
                    <a:pt x="279" y="165"/>
                  </a:lnTo>
                  <a:lnTo>
                    <a:pt x="277" y="165"/>
                  </a:lnTo>
                  <a:lnTo>
                    <a:pt x="273" y="167"/>
                  </a:lnTo>
                  <a:lnTo>
                    <a:pt x="272" y="165"/>
                  </a:lnTo>
                  <a:lnTo>
                    <a:pt x="270" y="165"/>
                  </a:lnTo>
                  <a:lnTo>
                    <a:pt x="268" y="167"/>
                  </a:lnTo>
                  <a:lnTo>
                    <a:pt x="268" y="165"/>
                  </a:lnTo>
                  <a:lnTo>
                    <a:pt x="267" y="167"/>
                  </a:lnTo>
                  <a:lnTo>
                    <a:pt x="265" y="167"/>
                  </a:lnTo>
                  <a:lnTo>
                    <a:pt x="263" y="167"/>
                  </a:lnTo>
                  <a:lnTo>
                    <a:pt x="263" y="168"/>
                  </a:lnTo>
                  <a:lnTo>
                    <a:pt x="262" y="170"/>
                  </a:lnTo>
                  <a:lnTo>
                    <a:pt x="260" y="168"/>
                  </a:lnTo>
                  <a:lnTo>
                    <a:pt x="258" y="168"/>
                  </a:lnTo>
                  <a:lnTo>
                    <a:pt x="258" y="170"/>
                  </a:lnTo>
                  <a:lnTo>
                    <a:pt x="256" y="170"/>
                  </a:lnTo>
                  <a:lnTo>
                    <a:pt x="255" y="172"/>
                  </a:lnTo>
                  <a:lnTo>
                    <a:pt x="255" y="173"/>
                  </a:lnTo>
                  <a:lnTo>
                    <a:pt x="255" y="177"/>
                  </a:lnTo>
                  <a:lnTo>
                    <a:pt x="253" y="177"/>
                  </a:lnTo>
                  <a:lnTo>
                    <a:pt x="251" y="177"/>
                  </a:lnTo>
                  <a:lnTo>
                    <a:pt x="250" y="178"/>
                  </a:lnTo>
                  <a:lnTo>
                    <a:pt x="250" y="180"/>
                  </a:lnTo>
                  <a:lnTo>
                    <a:pt x="248" y="180"/>
                  </a:lnTo>
                  <a:lnTo>
                    <a:pt x="248" y="182"/>
                  </a:lnTo>
                  <a:lnTo>
                    <a:pt x="245" y="182"/>
                  </a:lnTo>
                  <a:lnTo>
                    <a:pt x="243" y="184"/>
                  </a:lnTo>
                  <a:lnTo>
                    <a:pt x="243" y="187"/>
                  </a:lnTo>
                  <a:lnTo>
                    <a:pt x="241" y="185"/>
                  </a:lnTo>
                  <a:lnTo>
                    <a:pt x="241" y="184"/>
                  </a:lnTo>
                  <a:lnTo>
                    <a:pt x="238" y="185"/>
                  </a:lnTo>
                  <a:lnTo>
                    <a:pt x="236" y="184"/>
                  </a:lnTo>
                  <a:lnTo>
                    <a:pt x="236" y="182"/>
                  </a:lnTo>
                  <a:lnTo>
                    <a:pt x="234" y="184"/>
                  </a:lnTo>
                  <a:lnTo>
                    <a:pt x="233" y="184"/>
                  </a:lnTo>
                  <a:lnTo>
                    <a:pt x="231" y="184"/>
                  </a:lnTo>
                  <a:lnTo>
                    <a:pt x="229" y="184"/>
                  </a:lnTo>
                  <a:lnTo>
                    <a:pt x="228" y="184"/>
                  </a:lnTo>
                  <a:lnTo>
                    <a:pt x="224" y="184"/>
                  </a:lnTo>
                  <a:lnTo>
                    <a:pt x="222" y="184"/>
                  </a:lnTo>
                  <a:lnTo>
                    <a:pt x="221" y="182"/>
                  </a:lnTo>
                  <a:lnTo>
                    <a:pt x="219" y="180"/>
                  </a:lnTo>
                  <a:lnTo>
                    <a:pt x="217" y="180"/>
                  </a:lnTo>
                  <a:lnTo>
                    <a:pt x="216" y="182"/>
                  </a:lnTo>
                  <a:lnTo>
                    <a:pt x="214" y="180"/>
                  </a:lnTo>
                  <a:lnTo>
                    <a:pt x="212" y="178"/>
                  </a:lnTo>
                  <a:lnTo>
                    <a:pt x="211" y="178"/>
                  </a:lnTo>
                  <a:lnTo>
                    <a:pt x="207" y="178"/>
                  </a:lnTo>
                  <a:lnTo>
                    <a:pt x="205" y="180"/>
                  </a:lnTo>
                  <a:lnTo>
                    <a:pt x="204" y="178"/>
                  </a:lnTo>
                  <a:lnTo>
                    <a:pt x="200" y="178"/>
                  </a:lnTo>
                  <a:lnTo>
                    <a:pt x="199" y="178"/>
                  </a:lnTo>
                  <a:lnTo>
                    <a:pt x="197" y="178"/>
                  </a:lnTo>
                  <a:lnTo>
                    <a:pt x="195" y="177"/>
                  </a:lnTo>
                  <a:lnTo>
                    <a:pt x="194" y="178"/>
                  </a:lnTo>
                  <a:lnTo>
                    <a:pt x="194" y="177"/>
                  </a:lnTo>
                  <a:lnTo>
                    <a:pt x="192" y="178"/>
                  </a:lnTo>
                  <a:lnTo>
                    <a:pt x="190" y="177"/>
                  </a:lnTo>
                  <a:lnTo>
                    <a:pt x="187" y="177"/>
                  </a:lnTo>
                  <a:lnTo>
                    <a:pt x="185" y="175"/>
                  </a:lnTo>
                  <a:lnTo>
                    <a:pt x="185" y="177"/>
                  </a:lnTo>
                  <a:lnTo>
                    <a:pt x="183" y="177"/>
                  </a:lnTo>
                  <a:lnTo>
                    <a:pt x="182" y="178"/>
                  </a:lnTo>
                  <a:lnTo>
                    <a:pt x="180" y="177"/>
                  </a:lnTo>
                  <a:lnTo>
                    <a:pt x="178" y="178"/>
                  </a:lnTo>
                  <a:lnTo>
                    <a:pt x="177" y="177"/>
                  </a:lnTo>
                  <a:lnTo>
                    <a:pt x="175" y="175"/>
                  </a:lnTo>
                  <a:lnTo>
                    <a:pt x="173" y="175"/>
                  </a:lnTo>
                  <a:lnTo>
                    <a:pt x="171" y="175"/>
                  </a:lnTo>
                  <a:lnTo>
                    <a:pt x="170" y="175"/>
                  </a:lnTo>
                  <a:lnTo>
                    <a:pt x="168" y="175"/>
                  </a:lnTo>
                  <a:lnTo>
                    <a:pt x="165" y="175"/>
                  </a:lnTo>
                  <a:lnTo>
                    <a:pt x="163" y="175"/>
                  </a:lnTo>
                  <a:lnTo>
                    <a:pt x="160" y="175"/>
                  </a:lnTo>
                  <a:lnTo>
                    <a:pt x="158" y="173"/>
                  </a:lnTo>
                  <a:lnTo>
                    <a:pt x="156" y="172"/>
                  </a:lnTo>
                  <a:lnTo>
                    <a:pt x="153" y="173"/>
                  </a:lnTo>
                  <a:lnTo>
                    <a:pt x="151" y="172"/>
                  </a:lnTo>
                  <a:lnTo>
                    <a:pt x="149" y="172"/>
                  </a:lnTo>
                  <a:lnTo>
                    <a:pt x="148" y="172"/>
                  </a:lnTo>
                  <a:lnTo>
                    <a:pt x="146" y="172"/>
                  </a:lnTo>
                  <a:lnTo>
                    <a:pt x="143" y="170"/>
                  </a:lnTo>
                  <a:lnTo>
                    <a:pt x="141" y="170"/>
                  </a:lnTo>
                  <a:lnTo>
                    <a:pt x="139" y="170"/>
                  </a:lnTo>
                  <a:lnTo>
                    <a:pt x="136" y="168"/>
                  </a:lnTo>
                  <a:lnTo>
                    <a:pt x="136" y="167"/>
                  </a:lnTo>
                  <a:lnTo>
                    <a:pt x="136" y="163"/>
                  </a:lnTo>
                  <a:lnTo>
                    <a:pt x="132" y="163"/>
                  </a:lnTo>
                  <a:lnTo>
                    <a:pt x="131" y="163"/>
                  </a:lnTo>
                  <a:lnTo>
                    <a:pt x="131" y="161"/>
                  </a:lnTo>
                  <a:lnTo>
                    <a:pt x="132" y="160"/>
                  </a:lnTo>
                  <a:lnTo>
                    <a:pt x="131" y="156"/>
                  </a:lnTo>
                  <a:lnTo>
                    <a:pt x="129" y="156"/>
                  </a:lnTo>
                  <a:lnTo>
                    <a:pt x="127" y="158"/>
                  </a:lnTo>
                  <a:lnTo>
                    <a:pt x="127" y="155"/>
                  </a:lnTo>
                  <a:lnTo>
                    <a:pt x="124" y="155"/>
                  </a:lnTo>
                  <a:lnTo>
                    <a:pt x="126" y="153"/>
                  </a:lnTo>
                  <a:lnTo>
                    <a:pt x="124" y="151"/>
                  </a:lnTo>
                  <a:lnTo>
                    <a:pt x="124" y="149"/>
                  </a:lnTo>
                  <a:lnTo>
                    <a:pt x="124" y="148"/>
                  </a:lnTo>
                  <a:lnTo>
                    <a:pt x="124" y="146"/>
                  </a:lnTo>
                  <a:lnTo>
                    <a:pt x="127" y="146"/>
                  </a:lnTo>
                  <a:lnTo>
                    <a:pt x="127" y="144"/>
                  </a:lnTo>
                  <a:lnTo>
                    <a:pt x="129" y="143"/>
                  </a:lnTo>
                  <a:lnTo>
                    <a:pt x="126" y="143"/>
                  </a:lnTo>
                  <a:lnTo>
                    <a:pt x="122" y="143"/>
                  </a:lnTo>
                  <a:lnTo>
                    <a:pt x="120" y="144"/>
                  </a:lnTo>
                  <a:lnTo>
                    <a:pt x="119" y="144"/>
                  </a:lnTo>
                  <a:lnTo>
                    <a:pt x="119" y="146"/>
                  </a:lnTo>
                  <a:lnTo>
                    <a:pt x="117" y="144"/>
                  </a:lnTo>
                  <a:lnTo>
                    <a:pt x="115" y="146"/>
                  </a:lnTo>
                  <a:lnTo>
                    <a:pt x="114" y="146"/>
                  </a:lnTo>
                  <a:lnTo>
                    <a:pt x="112" y="148"/>
                  </a:lnTo>
                  <a:lnTo>
                    <a:pt x="110" y="148"/>
                  </a:lnTo>
                  <a:lnTo>
                    <a:pt x="110" y="149"/>
                  </a:lnTo>
                  <a:lnTo>
                    <a:pt x="107" y="149"/>
                  </a:lnTo>
                  <a:lnTo>
                    <a:pt x="105" y="151"/>
                  </a:lnTo>
                  <a:lnTo>
                    <a:pt x="103" y="149"/>
                  </a:lnTo>
                  <a:lnTo>
                    <a:pt x="102" y="149"/>
                  </a:lnTo>
                  <a:lnTo>
                    <a:pt x="100" y="148"/>
                  </a:lnTo>
                  <a:lnTo>
                    <a:pt x="98" y="149"/>
                  </a:lnTo>
                  <a:lnTo>
                    <a:pt x="95" y="149"/>
                  </a:lnTo>
                  <a:lnTo>
                    <a:pt x="93" y="149"/>
                  </a:lnTo>
                  <a:lnTo>
                    <a:pt x="93" y="148"/>
                  </a:lnTo>
                  <a:lnTo>
                    <a:pt x="90" y="151"/>
                  </a:lnTo>
                  <a:lnTo>
                    <a:pt x="86" y="149"/>
                  </a:lnTo>
                  <a:lnTo>
                    <a:pt x="85" y="149"/>
                  </a:lnTo>
                  <a:lnTo>
                    <a:pt x="85" y="151"/>
                  </a:lnTo>
                  <a:lnTo>
                    <a:pt x="81" y="151"/>
                  </a:lnTo>
                  <a:lnTo>
                    <a:pt x="80" y="153"/>
                  </a:lnTo>
                  <a:lnTo>
                    <a:pt x="78" y="151"/>
                  </a:lnTo>
                  <a:lnTo>
                    <a:pt x="78" y="153"/>
                  </a:lnTo>
                  <a:lnTo>
                    <a:pt x="75" y="155"/>
                  </a:lnTo>
                  <a:lnTo>
                    <a:pt x="75" y="156"/>
                  </a:lnTo>
                  <a:lnTo>
                    <a:pt x="75" y="158"/>
                  </a:lnTo>
                  <a:lnTo>
                    <a:pt x="73" y="160"/>
                  </a:lnTo>
                  <a:lnTo>
                    <a:pt x="75" y="161"/>
                  </a:lnTo>
                  <a:lnTo>
                    <a:pt x="71" y="163"/>
                  </a:lnTo>
                  <a:lnTo>
                    <a:pt x="71" y="167"/>
                  </a:lnTo>
                  <a:lnTo>
                    <a:pt x="71" y="165"/>
                  </a:lnTo>
                  <a:lnTo>
                    <a:pt x="69" y="167"/>
                  </a:lnTo>
                  <a:lnTo>
                    <a:pt x="68" y="165"/>
                  </a:lnTo>
                  <a:lnTo>
                    <a:pt x="66" y="165"/>
                  </a:lnTo>
                  <a:lnTo>
                    <a:pt x="64" y="167"/>
                  </a:lnTo>
                  <a:lnTo>
                    <a:pt x="63" y="165"/>
                  </a:lnTo>
                  <a:lnTo>
                    <a:pt x="61" y="165"/>
                  </a:lnTo>
                  <a:lnTo>
                    <a:pt x="59" y="165"/>
                  </a:lnTo>
                  <a:lnTo>
                    <a:pt x="58" y="165"/>
                  </a:lnTo>
                  <a:lnTo>
                    <a:pt x="58" y="161"/>
                  </a:lnTo>
                  <a:lnTo>
                    <a:pt x="56" y="161"/>
                  </a:lnTo>
                  <a:lnTo>
                    <a:pt x="56" y="160"/>
                  </a:lnTo>
                  <a:lnTo>
                    <a:pt x="54" y="158"/>
                  </a:lnTo>
                  <a:lnTo>
                    <a:pt x="52" y="160"/>
                  </a:lnTo>
                  <a:lnTo>
                    <a:pt x="51" y="160"/>
                  </a:lnTo>
                  <a:lnTo>
                    <a:pt x="47" y="161"/>
                  </a:lnTo>
                  <a:lnTo>
                    <a:pt x="47" y="160"/>
                  </a:lnTo>
                  <a:lnTo>
                    <a:pt x="47" y="161"/>
                  </a:lnTo>
                  <a:lnTo>
                    <a:pt x="44" y="160"/>
                  </a:lnTo>
                  <a:lnTo>
                    <a:pt x="44" y="158"/>
                  </a:lnTo>
                  <a:lnTo>
                    <a:pt x="46" y="156"/>
                  </a:lnTo>
                  <a:lnTo>
                    <a:pt x="46" y="155"/>
                  </a:lnTo>
                  <a:lnTo>
                    <a:pt x="44" y="153"/>
                  </a:lnTo>
                  <a:lnTo>
                    <a:pt x="42" y="153"/>
                  </a:lnTo>
                  <a:lnTo>
                    <a:pt x="42" y="151"/>
                  </a:lnTo>
                  <a:lnTo>
                    <a:pt x="41" y="149"/>
                  </a:lnTo>
                  <a:lnTo>
                    <a:pt x="39" y="151"/>
                  </a:lnTo>
                  <a:lnTo>
                    <a:pt x="37" y="153"/>
                  </a:lnTo>
                  <a:lnTo>
                    <a:pt x="37" y="155"/>
                  </a:lnTo>
                  <a:lnTo>
                    <a:pt x="35" y="156"/>
                  </a:lnTo>
                  <a:lnTo>
                    <a:pt x="34" y="155"/>
                  </a:lnTo>
                  <a:lnTo>
                    <a:pt x="32" y="158"/>
                  </a:lnTo>
                  <a:lnTo>
                    <a:pt x="32" y="160"/>
                  </a:lnTo>
                  <a:lnTo>
                    <a:pt x="30" y="160"/>
                  </a:lnTo>
                  <a:lnTo>
                    <a:pt x="27" y="161"/>
                  </a:lnTo>
                  <a:lnTo>
                    <a:pt x="25" y="160"/>
                  </a:lnTo>
                  <a:lnTo>
                    <a:pt x="24" y="160"/>
                  </a:lnTo>
                  <a:lnTo>
                    <a:pt x="22" y="156"/>
                  </a:lnTo>
                  <a:lnTo>
                    <a:pt x="20" y="156"/>
                  </a:lnTo>
                  <a:lnTo>
                    <a:pt x="18" y="156"/>
                  </a:lnTo>
                  <a:lnTo>
                    <a:pt x="17" y="155"/>
                  </a:lnTo>
                  <a:lnTo>
                    <a:pt x="15" y="155"/>
                  </a:lnTo>
                  <a:lnTo>
                    <a:pt x="15" y="153"/>
                  </a:lnTo>
                  <a:lnTo>
                    <a:pt x="17" y="151"/>
                  </a:lnTo>
                  <a:lnTo>
                    <a:pt x="15" y="148"/>
                  </a:lnTo>
                  <a:lnTo>
                    <a:pt x="13" y="149"/>
                  </a:lnTo>
                  <a:lnTo>
                    <a:pt x="12" y="148"/>
                  </a:lnTo>
                  <a:lnTo>
                    <a:pt x="10" y="148"/>
                  </a:lnTo>
                  <a:lnTo>
                    <a:pt x="8" y="146"/>
                  </a:lnTo>
                  <a:lnTo>
                    <a:pt x="7" y="146"/>
                  </a:lnTo>
                  <a:lnTo>
                    <a:pt x="5" y="146"/>
                  </a:lnTo>
                  <a:lnTo>
                    <a:pt x="3" y="146"/>
                  </a:lnTo>
                  <a:lnTo>
                    <a:pt x="3" y="144"/>
                  </a:lnTo>
                  <a:lnTo>
                    <a:pt x="5" y="144"/>
                  </a:lnTo>
                  <a:lnTo>
                    <a:pt x="3" y="143"/>
                  </a:lnTo>
                  <a:lnTo>
                    <a:pt x="5" y="141"/>
                  </a:lnTo>
                  <a:lnTo>
                    <a:pt x="3" y="139"/>
                  </a:lnTo>
                  <a:lnTo>
                    <a:pt x="1" y="138"/>
                  </a:lnTo>
                  <a:lnTo>
                    <a:pt x="1" y="136"/>
                  </a:lnTo>
                  <a:lnTo>
                    <a:pt x="0" y="134"/>
                  </a:lnTo>
                  <a:lnTo>
                    <a:pt x="1" y="132"/>
                  </a:lnTo>
                  <a:lnTo>
                    <a:pt x="0" y="131"/>
                  </a:lnTo>
                  <a:lnTo>
                    <a:pt x="0" y="129"/>
                  </a:lnTo>
                  <a:lnTo>
                    <a:pt x="1" y="127"/>
                  </a:lnTo>
                  <a:lnTo>
                    <a:pt x="3" y="126"/>
                  </a:lnTo>
                  <a:lnTo>
                    <a:pt x="5" y="124"/>
                  </a:lnTo>
                  <a:lnTo>
                    <a:pt x="7" y="122"/>
                  </a:lnTo>
                  <a:lnTo>
                    <a:pt x="5" y="122"/>
                  </a:lnTo>
                  <a:lnTo>
                    <a:pt x="5" y="119"/>
                  </a:lnTo>
                  <a:lnTo>
                    <a:pt x="3" y="117"/>
                  </a:lnTo>
                  <a:lnTo>
                    <a:pt x="1" y="115"/>
                  </a:lnTo>
                  <a:lnTo>
                    <a:pt x="3" y="115"/>
                  </a:lnTo>
                  <a:lnTo>
                    <a:pt x="5" y="114"/>
                  </a:lnTo>
                  <a:lnTo>
                    <a:pt x="5" y="115"/>
                  </a:lnTo>
                  <a:lnTo>
                    <a:pt x="5" y="114"/>
                  </a:lnTo>
                  <a:lnTo>
                    <a:pt x="7" y="115"/>
                  </a:lnTo>
                  <a:lnTo>
                    <a:pt x="8" y="114"/>
                  </a:lnTo>
                  <a:lnTo>
                    <a:pt x="10" y="114"/>
                  </a:lnTo>
                  <a:lnTo>
                    <a:pt x="8" y="112"/>
                  </a:lnTo>
                  <a:lnTo>
                    <a:pt x="10" y="110"/>
                  </a:lnTo>
                  <a:lnTo>
                    <a:pt x="12" y="109"/>
                  </a:lnTo>
                  <a:lnTo>
                    <a:pt x="13" y="109"/>
                  </a:lnTo>
                  <a:lnTo>
                    <a:pt x="13" y="112"/>
                  </a:lnTo>
                  <a:lnTo>
                    <a:pt x="15" y="112"/>
                  </a:lnTo>
                  <a:lnTo>
                    <a:pt x="17" y="112"/>
                  </a:lnTo>
                  <a:lnTo>
                    <a:pt x="18" y="112"/>
                  </a:lnTo>
                  <a:lnTo>
                    <a:pt x="20" y="112"/>
                  </a:lnTo>
                  <a:lnTo>
                    <a:pt x="20" y="114"/>
                  </a:lnTo>
                  <a:lnTo>
                    <a:pt x="22" y="115"/>
                  </a:lnTo>
                  <a:lnTo>
                    <a:pt x="24" y="115"/>
                  </a:lnTo>
                  <a:lnTo>
                    <a:pt x="25" y="117"/>
                  </a:lnTo>
                  <a:lnTo>
                    <a:pt x="27" y="121"/>
                  </a:lnTo>
                  <a:lnTo>
                    <a:pt x="25" y="121"/>
                  </a:lnTo>
                  <a:lnTo>
                    <a:pt x="25" y="122"/>
                  </a:lnTo>
                  <a:lnTo>
                    <a:pt x="27" y="126"/>
                  </a:lnTo>
                  <a:lnTo>
                    <a:pt x="27" y="124"/>
                  </a:lnTo>
                  <a:lnTo>
                    <a:pt x="30" y="124"/>
                  </a:lnTo>
                  <a:lnTo>
                    <a:pt x="30" y="122"/>
                  </a:lnTo>
                  <a:lnTo>
                    <a:pt x="32" y="124"/>
                  </a:lnTo>
                  <a:lnTo>
                    <a:pt x="34" y="124"/>
                  </a:lnTo>
                  <a:lnTo>
                    <a:pt x="32" y="126"/>
                  </a:lnTo>
                  <a:lnTo>
                    <a:pt x="30" y="127"/>
                  </a:lnTo>
                  <a:lnTo>
                    <a:pt x="32" y="127"/>
                  </a:lnTo>
                  <a:lnTo>
                    <a:pt x="30" y="129"/>
                  </a:lnTo>
                  <a:lnTo>
                    <a:pt x="30" y="131"/>
                  </a:lnTo>
                  <a:lnTo>
                    <a:pt x="32" y="131"/>
                  </a:lnTo>
                  <a:lnTo>
                    <a:pt x="35" y="129"/>
                  </a:lnTo>
                  <a:lnTo>
                    <a:pt x="37" y="129"/>
                  </a:lnTo>
                  <a:lnTo>
                    <a:pt x="39" y="126"/>
                  </a:lnTo>
                  <a:lnTo>
                    <a:pt x="41" y="126"/>
                  </a:lnTo>
                  <a:lnTo>
                    <a:pt x="41" y="124"/>
                  </a:lnTo>
                  <a:lnTo>
                    <a:pt x="42" y="124"/>
                  </a:lnTo>
                  <a:lnTo>
                    <a:pt x="42" y="121"/>
                  </a:lnTo>
                  <a:lnTo>
                    <a:pt x="44" y="119"/>
                  </a:lnTo>
                  <a:lnTo>
                    <a:pt x="44" y="117"/>
                  </a:lnTo>
                  <a:lnTo>
                    <a:pt x="42" y="114"/>
                  </a:lnTo>
                  <a:lnTo>
                    <a:pt x="44" y="110"/>
                  </a:lnTo>
                  <a:lnTo>
                    <a:pt x="42" y="109"/>
                  </a:lnTo>
                  <a:lnTo>
                    <a:pt x="44" y="109"/>
                  </a:lnTo>
                  <a:lnTo>
                    <a:pt x="44" y="110"/>
                  </a:lnTo>
                  <a:lnTo>
                    <a:pt x="46" y="112"/>
                  </a:lnTo>
                  <a:lnTo>
                    <a:pt x="47" y="112"/>
                  </a:lnTo>
                  <a:lnTo>
                    <a:pt x="49" y="112"/>
                  </a:lnTo>
                  <a:lnTo>
                    <a:pt x="51" y="110"/>
                  </a:lnTo>
                  <a:lnTo>
                    <a:pt x="52" y="110"/>
                  </a:lnTo>
                  <a:lnTo>
                    <a:pt x="54" y="110"/>
                  </a:lnTo>
                  <a:lnTo>
                    <a:pt x="54" y="112"/>
                  </a:lnTo>
                  <a:lnTo>
                    <a:pt x="58" y="112"/>
                  </a:lnTo>
                  <a:lnTo>
                    <a:pt x="59" y="114"/>
                  </a:lnTo>
                  <a:lnTo>
                    <a:pt x="61" y="112"/>
                  </a:lnTo>
                  <a:lnTo>
                    <a:pt x="64" y="112"/>
                  </a:lnTo>
                  <a:lnTo>
                    <a:pt x="64" y="114"/>
                  </a:lnTo>
                  <a:lnTo>
                    <a:pt x="63" y="114"/>
                  </a:lnTo>
                  <a:lnTo>
                    <a:pt x="63" y="115"/>
                  </a:lnTo>
                  <a:lnTo>
                    <a:pt x="66" y="115"/>
                  </a:lnTo>
                  <a:lnTo>
                    <a:pt x="66" y="117"/>
                  </a:lnTo>
                  <a:lnTo>
                    <a:pt x="68" y="117"/>
                  </a:lnTo>
                  <a:lnTo>
                    <a:pt x="68" y="119"/>
                  </a:lnTo>
                  <a:lnTo>
                    <a:pt x="68" y="122"/>
                  </a:lnTo>
                  <a:lnTo>
                    <a:pt x="71" y="122"/>
                  </a:lnTo>
                  <a:lnTo>
                    <a:pt x="73" y="122"/>
                  </a:lnTo>
                  <a:lnTo>
                    <a:pt x="75" y="122"/>
                  </a:lnTo>
                  <a:lnTo>
                    <a:pt x="75" y="121"/>
                  </a:lnTo>
                  <a:lnTo>
                    <a:pt x="76" y="121"/>
                  </a:lnTo>
                  <a:lnTo>
                    <a:pt x="78" y="119"/>
                  </a:lnTo>
                  <a:lnTo>
                    <a:pt x="80" y="119"/>
                  </a:lnTo>
                  <a:lnTo>
                    <a:pt x="81" y="119"/>
                  </a:lnTo>
                  <a:lnTo>
                    <a:pt x="80" y="122"/>
                  </a:lnTo>
                  <a:lnTo>
                    <a:pt x="81" y="122"/>
                  </a:lnTo>
                  <a:lnTo>
                    <a:pt x="83" y="119"/>
                  </a:lnTo>
                  <a:lnTo>
                    <a:pt x="85" y="117"/>
                  </a:lnTo>
                  <a:lnTo>
                    <a:pt x="86" y="119"/>
                  </a:lnTo>
                  <a:lnTo>
                    <a:pt x="90" y="119"/>
                  </a:lnTo>
                  <a:lnTo>
                    <a:pt x="88" y="115"/>
                  </a:lnTo>
                  <a:lnTo>
                    <a:pt x="90" y="114"/>
                  </a:lnTo>
                  <a:lnTo>
                    <a:pt x="93" y="114"/>
                  </a:lnTo>
                  <a:lnTo>
                    <a:pt x="97" y="114"/>
                  </a:lnTo>
                  <a:lnTo>
                    <a:pt x="97" y="112"/>
                  </a:lnTo>
                  <a:lnTo>
                    <a:pt x="97" y="110"/>
                  </a:lnTo>
                  <a:lnTo>
                    <a:pt x="98" y="109"/>
                  </a:lnTo>
                  <a:lnTo>
                    <a:pt x="98" y="107"/>
                  </a:lnTo>
                  <a:lnTo>
                    <a:pt x="100" y="109"/>
                  </a:lnTo>
                  <a:lnTo>
                    <a:pt x="102" y="107"/>
                  </a:lnTo>
                  <a:lnTo>
                    <a:pt x="105" y="107"/>
                  </a:lnTo>
                  <a:lnTo>
                    <a:pt x="109" y="109"/>
                  </a:lnTo>
                  <a:lnTo>
                    <a:pt x="109" y="107"/>
                  </a:lnTo>
                  <a:lnTo>
                    <a:pt x="112" y="105"/>
                  </a:lnTo>
                  <a:lnTo>
                    <a:pt x="115" y="105"/>
                  </a:lnTo>
                  <a:lnTo>
                    <a:pt x="117" y="105"/>
                  </a:lnTo>
                  <a:lnTo>
                    <a:pt x="119" y="105"/>
                  </a:lnTo>
                  <a:lnTo>
                    <a:pt x="120" y="105"/>
                  </a:lnTo>
                  <a:lnTo>
                    <a:pt x="122" y="105"/>
                  </a:lnTo>
                  <a:lnTo>
                    <a:pt x="124" y="105"/>
                  </a:lnTo>
                  <a:lnTo>
                    <a:pt x="124" y="107"/>
                  </a:lnTo>
                  <a:lnTo>
                    <a:pt x="126" y="105"/>
                  </a:lnTo>
                  <a:lnTo>
                    <a:pt x="126" y="104"/>
                  </a:lnTo>
                  <a:lnTo>
                    <a:pt x="124" y="100"/>
                  </a:lnTo>
                  <a:lnTo>
                    <a:pt x="124" y="98"/>
                  </a:lnTo>
                  <a:lnTo>
                    <a:pt x="126" y="98"/>
                  </a:lnTo>
                  <a:lnTo>
                    <a:pt x="127" y="98"/>
                  </a:lnTo>
                  <a:lnTo>
                    <a:pt x="127" y="97"/>
                  </a:lnTo>
                  <a:lnTo>
                    <a:pt x="129" y="97"/>
                  </a:lnTo>
                  <a:lnTo>
                    <a:pt x="127" y="100"/>
                  </a:lnTo>
                  <a:lnTo>
                    <a:pt x="129" y="100"/>
                  </a:lnTo>
                  <a:lnTo>
                    <a:pt x="132" y="98"/>
                  </a:lnTo>
                  <a:lnTo>
                    <a:pt x="134" y="100"/>
                  </a:lnTo>
                  <a:lnTo>
                    <a:pt x="136" y="100"/>
                  </a:lnTo>
                  <a:lnTo>
                    <a:pt x="137" y="98"/>
                  </a:lnTo>
                  <a:lnTo>
                    <a:pt x="137" y="100"/>
                  </a:lnTo>
                  <a:lnTo>
                    <a:pt x="137" y="102"/>
                  </a:lnTo>
                  <a:lnTo>
                    <a:pt x="139" y="104"/>
                  </a:lnTo>
                  <a:lnTo>
                    <a:pt x="141" y="104"/>
                  </a:lnTo>
                  <a:lnTo>
                    <a:pt x="143" y="104"/>
                  </a:lnTo>
                  <a:lnTo>
                    <a:pt x="144" y="102"/>
                  </a:lnTo>
                  <a:lnTo>
                    <a:pt x="144" y="100"/>
                  </a:lnTo>
                  <a:lnTo>
                    <a:pt x="146" y="100"/>
                  </a:lnTo>
                  <a:lnTo>
                    <a:pt x="148" y="100"/>
                  </a:lnTo>
                  <a:lnTo>
                    <a:pt x="151" y="100"/>
                  </a:lnTo>
                  <a:lnTo>
                    <a:pt x="153" y="100"/>
                  </a:lnTo>
                  <a:lnTo>
                    <a:pt x="153" y="102"/>
                  </a:lnTo>
                  <a:lnTo>
                    <a:pt x="153" y="104"/>
                  </a:lnTo>
                  <a:lnTo>
                    <a:pt x="154" y="104"/>
                  </a:lnTo>
                  <a:lnTo>
                    <a:pt x="153" y="107"/>
                  </a:lnTo>
                  <a:lnTo>
                    <a:pt x="154" y="109"/>
                  </a:lnTo>
                  <a:lnTo>
                    <a:pt x="156" y="109"/>
                  </a:lnTo>
                  <a:lnTo>
                    <a:pt x="156" y="110"/>
                  </a:lnTo>
                  <a:lnTo>
                    <a:pt x="158" y="110"/>
                  </a:lnTo>
                  <a:lnTo>
                    <a:pt x="160" y="112"/>
                  </a:lnTo>
                  <a:lnTo>
                    <a:pt x="161" y="114"/>
                  </a:lnTo>
                  <a:lnTo>
                    <a:pt x="163" y="114"/>
                  </a:lnTo>
                  <a:lnTo>
                    <a:pt x="165" y="114"/>
                  </a:lnTo>
                  <a:lnTo>
                    <a:pt x="166" y="112"/>
                  </a:lnTo>
                  <a:lnTo>
                    <a:pt x="165" y="110"/>
                  </a:lnTo>
                  <a:lnTo>
                    <a:pt x="166" y="107"/>
                  </a:lnTo>
                  <a:lnTo>
                    <a:pt x="166" y="105"/>
                  </a:lnTo>
                  <a:lnTo>
                    <a:pt x="168" y="102"/>
                  </a:lnTo>
                  <a:lnTo>
                    <a:pt x="166" y="100"/>
                  </a:lnTo>
                  <a:lnTo>
                    <a:pt x="166" y="98"/>
                  </a:lnTo>
                  <a:lnTo>
                    <a:pt x="165" y="97"/>
                  </a:lnTo>
                  <a:lnTo>
                    <a:pt x="163" y="97"/>
                  </a:lnTo>
                  <a:lnTo>
                    <a:pt x="161" y="97"/>
                  </a:lnTo>
                  <a:lnTo>
                    <a:pt x="160" y="97"/>
                  </a:lnTo>
                  <a:lnTo>
                    <a:pt x="160" y="95"/>
                  </a:lnTo>
                  <a:lnTo>
                    <a:pt x="161" y="93"/>
                  </a:lnTo>
                  <a:lnTo>
                    <a:pt x="160" y="93"/>
                  </a:lnTo>
                  <a:lnTo>
                    <a:pt x="161" y="92"/>
                  </a:lnTo>
                  <a:lnTo>
                    <a:pt x="163" y="88"/>
                  </a:lnTo>
                  <a:lnTo>
                    <a:pt x="161" y="85"/>
                  </a:lnTo>
                  <a:lnTo>
                    <a:pt x="161" y="83"/>
                  </a:lnTo>
                  <a:lnTo>
                    <a:pt x="160" y="83"/>
                  </a:lnTo>
                  <a:lnTo>
                    <a:pt x="160" y="81"/>
                  </a:lnTo>
                  <a:lnTo>
                    <a:pt x="158" y="80"/>
                  </a:lnTo>
                  <a:lnTo>
                    <a:pt x="156" y="80"/>
                  </a:lnTo>
                  <a:lnTo>
                    <a:pt x="156" y="76"/>
                  </a:lnTo>
                  <a:lnTo>
                    <a:pt x="154" y="75"/>
                  </a:lnTo>
                  <a:lnTo>
                    <a:pt x="153" y="73"/>
                  </a:lnTo>
                  <a:lnTo>
                    <a:pt x="151" y="73"/>
                  </a:lnTo>
                  <a:lnTo>
                    <a:pt x="151" y="71"/>
                  </a:lnTo>
                  <a:lnTo>
                    <a:pt x="151" y="70"/>
                  </a:lnTo>
                  <a:lnTo>
                    <a:pt x="151" y="68"/>
                  </a:lnTo>
                  <a:lnTo>
                    <a:pt x="153" y="68"/>
                  </a:lnTo>
                  <a:lnTo>
                    <a:pt x="154" y="66"/>
                  </a:lnTo>
                  <a:lnTo>
                    <a:pt x="156" y="63"/>
                  </a:lnTo>
                  <a:lnTo>
                    <a:pt x="158" y="63"/>
                  </a:lnTo>
                  <a:lnTo>
                    <a:pt x="160" y="63"/>
                  </a:lnTo>
                  <a:lnTo>
                    <a:pt x="161" y="61"/>
                  </a:lnTo>
                  <a:lnTo>
                    <a:pt x="163" y="59"/>
                  </a:lnTo>
                  <a:lnTo>
                    <a:pt x="165" y="58"/>
                  </a:lnTo>
                  <a:lnTo>
                    <a:pt x="168" y="58"/>
                  </a:lnTo>
                  <a:lnTo>
                    <a:pt x="170" y="56"/>
                  </a:lnTo>
                  <a:lnTo>
                    <a:pt x="173" y="56"/>
                  </a:lnTo>
                  <a:lnTo>
                    <a:pt x="175" y="54"/>
                  </a:lnTo>
                  <a:lnTo>
                    <a:pt x="177" y="54"/>
                  </a:lnTo>
                  <a:lnTo>
                    <a:pt x="178" y="51"/>
                  </a:lnTo>
                  <a:lnTo>
                    <a:pt x="180" y="49"/>
                  </a:lnTo>
                  <a:lnTo>
                    <a:pt x="180" y="47"/>
                  </a:lnTo>
                  <a:lnTo>
                    <a:pt x="182" y="46"/>
                  </a:lnTo>
                  <a:lnTo>
                    <a:pt x="182" y="44"/>
                  </a:lnTo>
                  <a:lnTo>
                    <a:pt x="182" y="41"/>
                  </a:lnTo>
                  <a:lnTo>
                    <a:pt x="182" y="39"/>
                  </a:lnTo>
                  <a:lnTo>
                    <a:pt x="182" y="37"/>
                  </a:lnTo>
                  <a:lnTo>
                    <a:pt x="183" y="37"/>
                  </a:lnTo>
                  <a:lnTo>
                    <a:pt x="183" y="34"/>
                  </a:lnTo>
                  <a:lnTo>
                    <a:pt x="185" y="34"/>
                  </a:lnTo>
                  <a:lnTo>
                    <a:pt x="187" y="36"/>
                  </a:lnTo>
                  <a:lnTo>
                    <a:pt x="188" y="36"/>
                  </a:lnTo>
                  <a:lnTo>
                    <a:pt x="190" y="37"/>
                  </a:lnTo>
                  <a:lnTo>
                    <a:pt x="192" y="37"/>
                  </a:lnTo>
                  <a:lnTo>
                    <a:pt x="194" y="39"/>
                  </a:lnTo>
                  <a:lnTo>
                    <a:pt x="195" y="39"/>
                  </a:lnTo>
                  <a:lnTo>
                    <a:pt x="195" y="36"/>
                  </a:lnTo>
                  <a:lnTo>
                    <a:pt x="197" y="37"/>
                  </a:lnTo>
                  <a:lnTo>
                    <a:pt x="197" y="36"/>
                  </a:lnTo>
                  <a:lnTo>
                    <a:pt x="197" y="34"/>
                  </a:lnTo>
                  <a:lnTo>
                    <a:pt x="199" y="32"/>
                  </a:lnTo>
                  <a:lnTo>
                    <a:pt x="199" y="29"/>
                  </a:lnTo>
                  <a:lnTo>
                    <a:pt x="199" y="27"/>
                  </a:lnTo>
                  <a:lnTo>
                    <a:pt x="199" y="25"/>
                  </a:lnTo>
                  <a:lnTo>
                    <a:pt x="197" y="25"/>
                  </a:lnTo>
                  <a:lnTo>
                    <a:pt x="199" y="24"/>
                  </a:lnTo>
                  <a:lnTo>
                    <a:pt x="199" y="20"/>
                  </a:lnTo>
                  <a:lnTo>
                    <a:pt x="200" y="22"/>
                  </a:lnTo>
                  <a:lnTo>
                    <a:pt x="202" y="22"/>
                  </a:lnTo>
                  <a:lnTo>
                    <a:pt x="204" y="24"/>
                  </a:lnTo>
                  <a:lnTo>
                    <a:pt x="204" y="25"/>
                  </a:lnTo>
                  <a:lnTo>
                    <a:pt x="207" y="25"/>
                  </a:lnTo>
                  <a:lnTo>
                    <a:pt x="209" y="27"/>
                  </a:lnTo>
                  <a:lnTo>
                    <a:pt x="209" y="29"/>
                  </a:lnTo>
                  <a:lnTo>
                    <a:pt x="207" y="30"/>
                  </a:lnTo>
                  <a:lnTo>
                    <a:pt x="209" y="30"/>
                  </a:lnTo>
                  <a:lnTo>
                    <a:pt x="211" y="32"/>
                  </a:lnTo>
                  <a:lnTo>
                    <a:pt x="212" y="32"/>
                  </a:lnTo>
                  <a:lnTo>
                    <a:pt x="216" y="32"/>
                  </a:lnTo>
                  <a:lnTo>
                    <a:pt x="217" y="34"/>
                  </a:lnTo>
                  <a:lnTo>
                    <a:pt x="219" y="34"/>
                  </a:lnTo>
                  <a:lnTo>
                    <a:pt x="222" y="34"/>
                  </a:lnTo>
                  <a:lnTo>
                    <a:pt x="222" y="36"/>
                  </a:lnTo>
                  <a:lnTo>
                    <a:pt x="224" y="34"/>
                  </a:lnTo>
                  <a:lnTo>
                    <a:pt x="224" y="32"/>
                  </a:lnTo>
                  <a:lnTo>
                    <a:pt x="228" y="32"/>
                  </a:lnTo>
                  <a:lnTo>
                    <a:pt x="228" y="30"/>
                  </a:lnTo>
                  <a:lnTo>
                    <a:pt x="228" y="29"/>
                  </a:lnTo>
                  <a:lnTo>
                    <a:pt x="229" y="30"/>
                  </a:lnTo>
                  <a:lnTo>
                    <a:pt x="233" y="30"/>
                  </a:lnTo>
                  <a:lnTo>
                    <a:pt x="234" y="29"/>
                  </a:lnTo>
                  <a:lnTo>
                    <a:pt x="236" y="30"/>
                  </a:lnTo>
                  <a:lnTo>
                    <a:pt x="238" y="30"/>
                  </a:lnTo>
                  <a:lnTo>
                    <a:pt x="238" y="32"/>
                  </a:lnTo>
                  <a:lnTo>
                    <a:pt x="239" y="32"/>
                  </a:lnTo>
                  <a:lnTo>
                    <a:pt x="239" y="30"/>
                  </a:lnTo>
                  <a:lnTo>
                    <a:pt x="239" y="27"/>
                  </a:lnTo>
                  <a:lnTo>
                    <a:pt x="239" y="24"/>
                  </a:lnTo>
                  <a:lnTo>
                    <a:pt x="241" y="24"/>
                  </a:lnTo>
                  <a:lnTo>
                    <a:pt x="243" y="22"/>
                  </a:lnTo>
                  <a:lnTo>
                    <a:pt x="243" y="20"/>
                  </a:lnTo>
                  <a:lnTo>
                    <a:pt x="243" y="19"/>
                  </a:lnTo>
                  <a:lnTo>
                    <a:pt x="245" y="17"/>
                  </a:lnTo>
                  <a:lnTo>
                    <a:pt x="246" y="17"/>
                  </a:lnTo>
                  <a:lnTo>
                    <a:pt x="246" y="19"/>
                  </a:lnTo>
                  <a:lnTo>
                    <a:pt x="248" y="19"/>
                  </a:lnTo>
                  <a:lnTo>
                    <a:pt x="250" y="19"/>
                  </a:lnTo>
                  <a:lnTo>
                    <a:pt x="251" y="19"/>
                  </a:lnTo>
                  <a:lnTo>
                    <a:pt x="250" y="17"/>
                  </a:lnTo>
                  <a:lnTo>
                    <a:pt x="251" y="13"/>
                  </a:lnTo>
                  <a:lnTo>
                    <a:pt x="250" y="13"/>
                  </a:lnTo>
                  <a:lnTo>
                    <a:pt x="251" y="13"/>
                  </a:lnTo>
                  <a:lnTo>
                    <a:pt x="250" y="10"/>
                  </a:lnTo>
                  <a:lnTo>
                    <a:pt x="251" y="8"/>
                  </a:lnTo>
                  <a:lnTo>
                    <a:pt x="250" y="7"/>
                  </a:lnTo>
                  <a:lnTo>
                    <a:pt x="250" y="3"/>
                  </a:lnTo>
                  <a:lnTo>
                    <a:pt x="251" y="2"/>
                  </a:lnTo>
                  <a:lnTo>
                    <a:pt x="251" y="0"/>
                  </a:lnTo>
                  <a:lnTo>
                    <a:pt x="255" y="0"/>
                  </a:lnTo>
                  <a:lnTo>
                    <a:pt x="255" y="2"/>
                  </a:lnTo>
                  <a:lnTo>
                    <a:pt x="256" y="2"/>
                  </a:lnTo>
                  <a:lnTo>
                    <a:pt x="258" y="2"/>
                  </a:lnTo>
                  <a:lnTo>
                    <a:pt x="260" y="3"/>
                  </a:lnTo>
                  <a:lnTo>
                    <a:pt x="258" y="5"/>
                  </a:lnTo>
                  <a:lnTo>
                    <a:pt x="260" y="5"/>
                  </a:lnTo>
                  <a:lnTo>
                    <a:pt x="262" y="3"/>
                  </a:lnTo>
                  <a:lnTo>
                    <a:pt x="263" y="5"/>
                  </a:lnTo>
                  <a:lnTo>
                    <a:pt x="263" y="2"/>
                  </a:lnTo>
                  <a:lnTo>
                    <a:pt x="265" y="2"/>
                  </a:lnTo>
                  <a:lnTo>
                    <a:pt x="268" y="2"/>
                  </a:lnTo>
                  <a:lnTo>
                    <a:pt x="270" y="3"/>
                  </a:lnTo>
                  <a:lnTo>
                    <a:pt x="273" y="3"/>
                  </a:lnTo>
                  <a:lnTo>
                    <a:pt x="275" y="5"/>
                  </a:lnTo>
                  <a:lnTo>
                    <a:pt x="275" y="7"/>
                  </a:lnTo>
                  <a:lnTo>
                    <a:pt x="277" y="7"/>
                  </a:lnTo>
                  <a:lnTo>
                    <a:pt x="279" y="7"/>
                  </a:lnTo>
                  <a:lnTo>
                    <a:pt x="280" y="7"/>
                  </a:lnTo>
                  <a:lnTo>
                    <a:pt x="282" y="8"/>
                  </a:lnTo>
                  <a:lnTo>
                    <a:pt x="284" y="10"/>
                  </a:lnTo>
                  <a:lnTo>
                    <a:pt x="287" y="10"/>
                  </a:lnTo>
                  <a:lnTo>
                    <a:pt x="287" y="8"/>
                  </a:lnTo>
                  <a:lnTo>
                    <a:pt x="290" y="7"/>
                  </a:lnTo>
                  <a:lnTo>
                    <a:pt x="290" y="8"/>
                  </a:lnTo>
                  <a:lnTo>
                    <a:pt x="294" y="10"/>
                  </a:lnTo>
                  <a:lnTo>
                    <a:pt x="292" y="10"/>
                  </a:lnTo>
                  <a:lnTo>
                    <a:pt x="296" y="10"/>
                  </a:lnTo>
                  <a:lnTo>
                    <a:pt x="296" y="12"/>
                  </a:lnTo>
                  <a:lnTo>
                    <a:pt x="297" y="13"/>
                  </a:lnTo>
                  <a:lnTo>
                    <a:pt x="301" y="15"/>
                  </a:lnTo>
                  <a:lnTo>
                    <a:pt x="302" y="15"/>
                  </a:lnTo>
                  <a:lnTo>
                    <a:pt x="306" y="15"/>
                  </a:lnTo>
                  <a:lnTo>
                    <a:pt x="307" y="15"/>
                  </a:lnTo>
                  <a:lnTo>
                    <a:pt x="309" y="15"/>
                  </a:lnTo>
                  <a:lnTo>
                    <a:pt x="311" y="15"/>
                  </a:lnTo>
                  <a:lnTo>
                    <a:pt x="314" y="15"/>
                  </a:lnTo>
                  <a:lnTo>
                    <a:pt x="316" y="15"/>
                  </a:lnTo>
                  <a:lnTo>
                    <a:pt x="318" y="15"/>
                  </a:lnTo>
                  <a:lnTo>
                    <a:pt x="318" y="13"/>
                  </a:lnTo>
                  <a:lnTo>
                    <a:pt x="318" y="12"/>
                  </a:lnTo>
                  <a:lnTo>
                    <a:pt x="319" y="10"/>
                  </a:lnTo>
                  <a:lnTo>
                    <a:pt x="323" y="10"/>
                  </a:lnTo>
                  <a:lnTo>
                    <a:pt x="323" y="8"/>
                  </a:lnTo>
                  <a:lnTo>
                    <a:pt x="324" y="10"/>
                  </a:lnTo>
                  <a:lnTo>
                    <a:pt x="326" y="12"/>
                  </a:lnTo>
                  <a:lnTo>
                    <a:pt x="328" y="10"/>
                  </a:lnTo>
                  <a:lnTo>
                    <a:pt x="330" y="12"/>
                  </a:lnTo>
                  <a:lnTo>
                    <a:pt x="330" y="15"/>
                  </a:lnTo>
                  <a:lnTo>
                    <a:pt x="331" y="13"/>
                  </a:lnTo>
                  <a:lnTo>
                    <a:pt x="333" y="15"/>
                  </a:lnTo>
                  <a:lnTo>
                    <a:pt x="335" y="15"/>
                  </a:lnTo>
                  <a:lnTo>
                    <a:pt x="336" y="15"/>
                  </a:lnTo>
                  <a:lnTo>
                    <a:pt x="338" y="15"/>
                  </a:lnTo>
                  <a:lnTo>
                    <a:pt x="340" y="13"/>
                  </a:lnTo>
                  <a:lnTo>
                    <a:pt x="341" y="17"/>
                  </a:lnTo>
                  <a:lnTo>
                    <a:pt x="341" y="20"/>
                  </a:lnTo>
                  <a:lnTo>
                    <a:pt x="343" y="22"/>
                  </a:lnTo>
                  <a:close/>
                </a:path>
              </a:pathLst>
            </a:custGeom>
            <a:solidFill>
              <a:schemeClr val="accent4"/>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26" name="Freeform 57">
              <a:extLst>
                <a:ext uri="{FF2B5EF4-FFF2-40B4-BE49-F238E27FC236}">
                  <a16:creationId xmlns:a16="http://schemas.microsoft.com/office/drawing/2014/main" id="{98EC17BB-9482-4FE5-BA63-570BB05EADB7}"/>
                </a:ext>
              </a:extLst>
            </p:cNvPr>
            <p:cNvSpPr>
              <a:spLocks/>
            </p:cNvSpPr>
            <p:nvPr/>
          </p:nvSpPr>
          <p:spPr bwMode="gray">
            <a:xfrm>
              <a:off x="8858287" y="4902610"/>
              <a:ext cx="462188" cy="322940"/>
            </a:xfrm>
            <a:custGeom>
              <a:avLst/>
              <a:gdLst>
                <a:gd name="T0" fmla="*/ 148 w 156"/>
                <a:gd name="T1" fmla="*/ 24 h 109"/>
                <a:gd name="T2" fmla="*/ 139 w 156"/>
                <a:gd name="T3" fmla="*/ 24 h 109"/>
                <a:gd name="T4" fmla="*/ 141 w 156"/>
                <a:gd name="T5" fmla="*/ 34 h 109"/>
                <a:gd name="T6" fmla="*/ 129 w 156"/>
                <a:gd name="T7" fmla="*/ 34 h 109"/>
                <a:gd name="T8" fmla="*/ 124 w 156"/>
                <a:gd name="T9" fmla="*/ 43 h 109"/>
                <a:gd name="T10" fmla="*/ 117 w 156"/>
                <a:gd name="T11" fmla="*/ 48 h 109"/>
                <a:gd name="T12" fmla="*/ 111 w 156"/>
                <a:gd name="T13" fmla="*/ 53 h 109"/>
                <a:gd name="T14" fmla="*/ 116 w 156"/>
                <a:gd name="T15" fmla="*/ 60 h 109"/>
                <a:gd name="T16" fmla="*/ 116 w 156"/>
                <a:gd name="T17" fmla="*/ 72 h 109"/>
                <a:gd name="T18" fmla="*/ 109 w 156"/>
                <a:gd name="T19" fmla="*/ 73 h 109"/>
                <a:gd name="T20" fmla="*/ 105 w 156"/>
                <a:gd name="T21" fmla="*/ 78 h 109"/>
                <a:gd name="T22" fmla="*/ 95 w 156"/>
                <a:gd name="T23" fmla="*/ 85 h 109"/>
                <a:gd name="T24" fmla="*/ 99 w 156"/>
                <a:gd name="T25" fmla="*/ 87 h 109"/>
                <a:gd name="T26" fmla="*/ 97 w 156"/>
                <a:gd name="T27" fmla="*/ 90 h 109"/>
                <a:gd name="T28" fmla="*/ 102 w 156"/>
                <a:gd name="T29" fmla="*/ 100 h 109"/>
                <a:gd name="T30" fmla="*/ 94 w 156"/>
                <a:gd name="T31" fmla="*/ 104 h 109"/>
                <a:gd name="T32" fmla="*/ 83 w 156"/>
                <a:gd name="T33" fmla="*/ 100 h 109"/>
                <a:gd name="T34" fmla="*/ 75 w 156"/>
                <a:gd name="T35" fmla="*/ 104 h 109"/>
                <a:gd name="T36" fmla="*/ 66 w 156"/>
                <a:gd name="T37" fmla="*/ 95 h 109"/>
                <a:gd name="T38" fmla="*/ 60 w 156"/>
                <a:gd name="T39" fmla="*/ 94 h 109"/>
                <a:gd name="T40" fmla="*/ 54 w 156"/>
                <a:gd name="T41" fmla="*/ 102 h 109"/>
                <a:gd name="T42" fmla="*/ 44 w 156"/>
                <a:gd name="T43" fmla="*/ 104 h 109"/>
                <a:gd name="T44" fmla="*/ 36 w 156"/>
                <a:gd name="T45" fmla="*/ 104 h 109"/>
                <a:gd name="T46" fmla="*/ 32 w 156"/>
                <a:gd name="T47" fmla="*/ 107 h 109"/>
                <a:gd name="T48" fmla="*/ 22 w 156"/>
                <a:gd name="T49" fmla="*/ 107 h 109"/>
                <a:gd name="T50" fmla="*/ 14 w 156"/>
                <a:gd name="T51" fmla="*/ 104 h 109"/>
                <a:gd name="T52" fmla="*/ 20 w 156"/>
                <a:gd name="T53" fmla="*/ 102 h 109"/>
                <a:gd name="T54" fmla="*/ 26 w 156"/>
                <a:gd name="T55" fmla="*/ 99 h 109"/>
                <a:gd name="T56" fmla="*/ 24 w 156"/>
                <a:gd name="T57" fmla="*/ 89 h 109"/>
                <a:gd name="T58" fmla="*/ 17 w 156"/>
                <a:gd name="T59" fmla="*/ 83 h 109"/>
                <a:gd name="T60" fmla="*/ 15 w 156"/>
                <a:gd name="T61" fmla="*/ 75 h 109"/>
                <a:gd name="T62" fmla="*/ 7 w 156"/>
                <a:gd name="T63" fmla="*/ 70 h 109"/>
                <a:gd name="T64" fmla="*/ 12 w 156"/>
                <a:gd name="T65" fmla="*/ 61 h 109"/>
                <a:gd name="T66" fmla="*/ 9 w 156"/>
                <a:gd name="T67" fmla="*/ 55 h 109"/>
                <a:gd name="T68" fmla="*/ 2 w 156"/>
                <a:gd name="T69" fmla="*/ 53 h 109"/>
                <a:gd name="T70" fmla="*/ 5 w 156"/>
                <a:gd name="T71" fmla="*/ 44 h 109"/>
                <a:gd name="T72" fmla="*/ 15 w 156"/>
                <a:gd name="T73" fmla="*/ 39 h 109"/>
                <a:gd name="T74" fmla="*/ 26 w 156"/>
                <a:gd name="T75" fmla="*/ 32 h 109"/>
                <a:gd name="T76" fmla="*/ 36 w 156"/>
                <a:gd name="T77" fmla="*/ 36 h 109"/>
                <a:gd name="T78" fmla="*/ 48 w 156"/>
                <a:gd name="T79" fmla="*/ 38 h 109"/>
                <a:gd name="T80" fmla="*/ 56 w 156"/>
                <a:gd name="T81" fmla="*/ 39 h 109"/>
                <a:gd name="T82" fmla="*/ 65 w 156"/>
                <a:gd name="T83" fmla="*/ 34 h 109"/>
                <a:gd name="T84" fmla="*/ 70 w 156"/>
                <a:gd name="T85" fmla="*/ 26 h 109"/>
                <a:gd name="T86" fmla="*/ 78 w 156"/>
                <a:gd name="T87" fmla="*/ 22 h 109"/>
                <a:gd name="T88" fmla="*/ 85 w 156"/>
                <a:gd name="T89" fmla="*/ 19 h 109"/>
                <a:gd name="T90" fmla="*/ 97 w 156"/>
                <a:gd name="T91" fmla="*/ 19 h 109"/>
                <a:gd name="T92" fmla="*/ 105 w 156"/>
                <a:gd name="T93" fmla="*/ 15 h 109"/>
                <a:gd name="T94" fmla="*/ 116 w 156"/>
                <a:gd name="T95" fmla="*/ 12 h 109"/>
                <a:gd name="T96" fmla="*/ 128 w 156"/>
                <a:gd name="T97" fmla="*/ 15 h 109"/>
                <a:gd name="T98" fmla="*/ 124 w 156"/>
                <a:gd name="T99" fmla="*/ 5 h 109"/>
                <a:gd name="T100" fmla="*/ 133 w 156"/>
                <a:gd name="T101" fmla="*/ 2 h 109"/>
                <a:gd name="T102" fmla="*/ 139 w 156"/>
                <a:gd name="T103" fmla="*/ 5 h 109"/>
                <a:gd name="T104" fmla="*/ 143 w 156"/>
                <a:gd name="T105" fmla="*/ 12 h 109"/>
                <a:gd name="T106" fmla="*/ 148 w 156"/>
                <a:gd name="T107" fmla="*/ 17 h 109"/>
                <a:gd name="T108" fmla="*/ 155 w 156"/>
                <a:gd name="T109" fmla="*/ 2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6" h="109">
                  <a:moveTo>
                    <a:pt x="156" y="27"/>
                  </a:moveTo>
                  <a:lnTo>
                    <a:pt x="155" y="27"/>
                  </a:lnTo>
                  <a:lnTo>
                    <a:pt x="153" y="26"/>
                  </a:lnTo>
                  <a:lnTo>
                    <a:pt x="151" y="27"/>
                  </a:lnTo>
                  <a:lnTo>
                    <a:pt x="151" y="26"/>
                  </a:lnTo>
                  <a:lnTo>
                    <a:pt x="148" y="24"/>
                  </a:lnTo>
                  <a:lnTo>
                    <a:pt x="146" y="24"/>
                  </a:lnTo>
                  <a:lnTo>
                    <a:pt x="145" y="22"/>
                  </a:lnTo>
                  <a:lnTo>
                    <a:pt x="143" y="22"/>
                  </a:lnTo>
                  <a:lnTo>
                    <a:pt x="143" y="24"/>
                  </a:lnTo>
                  <a:lnTo>
                    <a:pt x="141" y="26"/>
                  </a:lnTo>
                  <a:lnTo>
                    <a:pt x="139" y="24"/>
                  </a:lnTo>
                  <a:lnTo>
                    <a:pt x="138" y="26"/>
                  </a:lnTo>
                  <a:lnTo>
                    <a:pt x="139" y="29"/>
                  </a:lnTo>
                  <a:lnTo>
                    <a:pt x="139" y="31"/>
                  </a:lnTo>
                  <a:lnTo>
                    <a:pt x="139" y="32"/>
                  </a:lnTo>
                  <a:lnTo>
                    <a:pt x="141" y="32"/>
                  </a:lnTo>
                  <a:lnTo>
                    <a:pt x="141" y="34"/>
                  </a:lnTo>
                  <a:lnTo>
                    <a:pt x="139" y="34"/>
                  </a:lnTo>
                  <a:lnTo>
                    <a:pt x="138" y="34"/>
                  </a:lnTo>
                  <a:lnTo>
                    <a:pt x="136" y="34"/>
                  </a:lnTo>
                  <a:lnTo>
                    <a:pt x="134" y="32"/>
                  </a:lnTo>
                  <a:lnTo>
                    <a:pt x="131" y="34"/>
                  </a:lnTo>
                  <a:lnTo>
                    <a:pt x="129" y="34"/>
                  </a:lnTo>
                  <a:lnTo>
                    <a:pt x="129" y="36"/>
                  </a:lnTo>
                  <a:lnTo>
                    <a:pt x="131" y="38"/>
                  </a:lnTo>
                  <a:lnTo>
                    <a:pt x="129" y="38"/>
                  </a:lnTo>
                  <a:lnTo>
                    <a:pt x="128" y="41"/>
                  </a:lnTo>
                  <a:lnTo>
                    <a:pt x="126" y="41"/>
                  </a:lnTo>
                  <a:lnTo>
                    <a:pt x="124" y="43"/>
                  </a:lnTo>
                  <a:lnTo>
                    <a:pt x="122" y="43"/>
                  </a:lnTo>
                  <a:lnTo>
                    <a:pt x="121" y="44"/>
                  </a:lnTo>
                  <a:lnTo>
                    <a:pt x="119" y="44"/>
                  </a:lnTo>
                  <a:lnTo>
                    <a:pt x="117" y="44"/>
                  </a:lnTo>
                  <a:lnTo>
                    <a:pt x="119" y="46"/>
                  </a:lnTo>
                  <a:lnTo>
                    <a:pt x="117" y="48"/>
                  </a:lnTo>
                  <a:lnTo>
                    <a:pt x="116" y="48"/>
                  </a:lnTo>
                  <a:lnTo>
                    <a:pt x="112" y="48"/>
                  </a:lnTo>
                  <a:lnTo>
                    <a:pt x="111" y="48"/>
                  </a:lnTo>
                  <a:lnTo>
                    <a:pt x="111" y="49"/>
                  </a:lnTo>
                  <a:lnTo>
                    <a:pt x="109" y="51"/>
                  </a:lnTo>
                  <a:lnTo>
                    <a:pt x="111" y="53"/>
                  </a:lnTo>
                  <a:lnTo>
                    <a:pt x="109" y="53"/>
                  </a:lnTo>
                  <a:lnTo>
                    <a:pt x="111" y="55"/>
                  </a:lnTo>
                  <a:lnTo>
                    <a:pt x="111" y="58"/>
                  </a:lnTo>
                  <a:lnTo>
                    <a:pt x="112" y="58"/>
                  </a:lnTo>
                  <a:lnTo>
                    <a:pt x="114" y="58"/>
                  </a:lnTo>
                  <a:lnTo>
                    <a:pt x="116" y="60"/>
                  </a:lnTo>
                  <a:lnTo>
                    <a:pt x="116" y="61"/>
                  </a:lnTo>
                  <a:lnTo>
                    <a:pt x="116" y="63"/>
                  </a:lnTo>
                  <a:lnTo>
                    <a:pt x="116" y="66"/>
                  </a:lnTo>
                  <a:lnTo>
                    <a:pt x="116" y="68"/>
                  </a:lnTo>
                  <a:lnTo>
                    <a:pt x="114" y="70"/>
                  </a:lnTo>
                  <a:lnTo>
                    <a:pt x="116" y="72"/>
                  </a:lnTo>
                  <a:lnTo>
                    <a:pt x="114" y="73"/>
                  </a:lnTo>
                  <a:lnTo>
                    <a:pt x="116" y="73"/>
                  </a:lnTo>
                  <a:lnTo>
                    <a:pt x="114" y="75"/>
                  </a:lnTo>
                  <a:lnTo>
                    <a:pt x="112" y="77"/>
                  </a:lnTo>
                  <a:lnTo>
                    <a:pt x="112" y="75"/>
                  </a:lnTo>
                  <a:lnTo>
                    <a:pt x="109" y="73"/>
                  </a:lnTo>
                  <a:lnTo>
                    <a:pt x="109" y="75"/>
                  </a:lnTo>
                  <a:lnTo>
                    <a:pt x="107" y="75"/>
                  </a:lnTo>
                  <a:lnTo>
                    <a:pt x="107" y="77"/>
                  </a:lnTo>
                  <a:lnTo>
                    <a:pt x="105" y="77"/>
                  </a:lnTo>
                  <a:lnTo>
                    <a:pt x="104" y="77"/>
                  </a:lnTo>
                  <a:lnTo>
                    <a:pt x="105" y="78"/>
                  </a:lnTo>
                  <a:lnTo>
                    <a:pt x="102" y="78"/>
                  </a:lnTo>
                  <a:lnTo>
                    <a:pt x="100" y="80"/>
                  </a:lnTo>
                  <a:lnTo>
                    <a:pt x="99" y="80"/>
                  </a:lnTo>
                  <a:lnTo>
                    <a:pt x="97" y="82"/>
                  </a:lnTo>
                  <a:lnTo>
                    <a:pt x="95" y="83"/>
                  </a:lnTo>
                  <a:lnTo>
                    <a:pt x="95" y="85"/>
                  </a:lnTo>
                  <a:lnTo>
                    <a:pt x="97" y="87"/>
                  </a:lnTo>
                  <a:lnTo>
                    <a:pt x="97" y="85"/>
                  </a:lnTo>
                  <a:lnTo>
                    <a:pt x="99" y="87"/>
                  </a:lnTo>
                  <a:lnTo>
                    <a:pt x="99" y="85"/>
                  </a:lnTo>
                  <a:lnTo>
                    <a:pt x="100" y="85"/>
                  </a:lnTo>
                  <a:lnTo>
                    <a:pt x="99" y="87"/>
                  </a:lnTo>
                  <a:lnTo>
                    <a:pt x="100" y="87"/>
                  </a:lnTo>
                  <a:lnTo>
                    <a:pt x="102" y="89"/>
                  </a:lnTo>
                  <a:lnTo>
                    <a:pt x="102" y="90"/>
                  </a:lnTo>
                  <a:lnTo>
                    <a:pt x="99" y="90"/>
                  </a:lnTo>
                  <a:lnTo>
                    <a:pt x="100" y="90"/>
                  </a:lnTo>
                  <a:lnTo>
                    <a:pt x="97" y="90"/>
                  </a:lnTo>
                  <a:lnTo>
                    <a:pt x="97" y="92"/>
                  </a:lnTo>
                  <a:lnTo>
                    <a:pt x="97" y="94"/>
                  </a:lnTo>
                  <a:lnTo>
                    <a:pt x="97" y="97"/>
                  </a:lnTo>
                  <a:lnTo>
                    <a:pt x="99" y="97"/>
                  </a:lnTo>
                  <a:lnTo>
                    <a:pt x="99" y="99"/>
                  </a:lnTo>
                  <a:lnTo>
                    <a:pt x="102" y="100"/>
                  </a:lnTo>
                  <a:lnTo>
                    <a:pt x="100" y="102"/>
                  </a:lnTo>
                  <a:lnTo>
                    <a:pt x="100" y="104"/>
                  </a:lnTo>
                  <a:lnTo>
                    <a:pt x="97" y="102"/>
                  </a:lnTo>
                  <a:lnTo>
                    <a:pt x="95" y="104"/>
                  </a:lnTo>
                  <a:lnTo>
                    <a:pt x="95" y="106"/>
                  </a:lnTo>
                  <a:lnTo>
                    <a:pt x="94" y="104"/>
                  </a:lnTo>
                  <a:lnTo>
                    <a:pt x="92" y="106"/>
                  </a:lnTo>
                  <a:lnTo>
                    <a:pt x="90" y="104"/>
                  </a:lnTo>
                  <a:lnTo>
                    <a:pt x="87" y="102"/>
                  </a:lnTo>
                  <a:lnTo>
                    <a:pt x="85" y="100"/>
                  </a:lnTo>
                  <a:lnTo>
                    <a:pt x="85" y="102"/>
                  </a:lnTo>
                  <a:lnTo>
                    <a:pt x="83" y="100"/>
                  </a:lnTo>
                  <a:lnTo>
                    <a:pt x="82" y="100"/>
                  </a:lnTo>
                  <a:lnTo>
                    <a:pt x="80" y="99"/>
                  </a:lnTo>
                  <a:lnTo>
                    <a:pt x="78" y="100"/>
                  </a:lnTo>
                  <a:lnTo>
                    <a:pt x="78" y="102"/>
                  </a:lnTo>
                  <a:lnTo>
                    <a:pt x="77" y="104"/>
                  </a:lnTo>
                  <a:lnTo>
                    <a:pt x="75" y="104"/>
                  </a:lnTo>
                  <a:lnTo>
                    <a:pt x="73" y="102"/>
                  </a:lnTo>
                  <a:lnTo>
                    <a:pt x="71" y="100"/>
                  </a:lnTo>
                  <a:lnTo>
                    <a:pt x="70" y="99"/>
                  </a:lnTo>
                  <a:lnTo>
                    <a:pt x="68" y="100"/>
                  </a:lnTo>
                  <a:lnTo>
                    <a:pt x="68" y="97"/>
                  </a:lnTo>
                  <a:lnTo>
                    <a:pt x="66" y="95"/>
                  </a:lnTo>
                  <a:lnTo>
                    <a:pt x="65" y="94"/>
                  </a:lnTo>
                  <a:lnTo>
                    <a:pt x="63" y="94"/>
                  </a:lnTo>
                  <a:lnTo>
                    <a:pt x="63" y="90"/>
                  </a:lnTo>
                  <a:lnTo>
                    <a:pt x="61" y="90"/>
                  </a:lnTo>
                  <a:lnTo>
                    <a:pt x="61" y="92"/>
                  </a:lnTo>
                  <a:lnTo>
                    <a:pt x="60" y="94"/>
                  </a:lnTo>
                  <a:lnTo>
                    <a:pt x="58" y="95"/>
                  </a:lnTo>
                  <a:lnTo>
                    <a:pt x="58" y="97"/>
                  </a:lnTo>
                  <a:lnTo>
                    <a:pt x="58" y="99"/>
                  </a:lnTo>
                  <a:lnTo>
                    <a:pt x="58" y="100"/>
                  </a:lnTo>
                  <a:lnTo>
                    <a:pt x="56" y="102"/>
                  </a:lnTo>
                  <a:lnTo>
                    <a:pt x="54" y="102"/>
                  </a:lnTo>
                  <a:lnTo>
                    <a:pt x="53" y="104"/>
                  </a:lnTo>
                  <a:lnTo>
                    <a:pt x="51" y="104"/>
                  </a:lnTo>
                  <a:lnTo>
                    <a:pt x="49" y="106"/>
                  </a:lnTo>
                  <a:lnTo>
                    <a:pt x="48" y="104"/>
                  </a:lnTo>
                  <a:lnTo>
                    <a:pt x="46" y="102"/>
                  </a:lnTo>
                  <a:lnTo>
                    <a:pt x="44" y="104"/>
                  </a:lnTo>
                  <a:lnTo>
                    <a:pt x="44" y="106"/>
                  </a:lnTo>
                  <a:lnTo>
                    <a:pt x="43" y="106"/>
                  </a:lnTo>
                  <a:lnTo>
                    <a:pt x="41" y="106"/>
                  </a:lnTo>
                  <a:lnTo>
                    <a:pt x="39" y="106"/>
                  </a:lnTo>
                  <a:lnTo>
                    <a:pt x="37" y="106"/>
                  </a:lnTo>
                  <a:lnTo>
                    <a:pt x="36" y="104"/>
                  </a:lnTo>
                  <a:lnTo>
                    <a:pt x="34" y="102"/>
                  </a:lnTo>
                  <a:lnTo>
                    <a:pt x="34" y="104"/>
                  </a:lnTo>
                  <a:lnTo>
                    <a:pt x="32" y="104"/>
                  </a:lnTo>
                  <a:lnTo>
                    <a:pt x="34" y="106"/>
                  </a:lnTo>
                  <a:lnTo>
                    <a:pt x="34" y="107"/>
                  </a:lnTo>
                  <a:lnTo>
                    <a:pt x="32" y="107"/>
                  </a:lnTo>
                  <a:lnTo>
                    <a:pt x="31" y="107"/>
                  </a:lnTo>
                  <a:lnTo>
                    <a:pt x="29" y="109"/>
                  </a:lnTo>
                  <a:lnTo>
                    <a:pt x="27" y="109"/>
                  </a:lnTo>
                  <a:lnTo>
                    <a:pt x="26" y="109"/>
                  </a:lnTo>
                  <a:lnTo>
                    <a:pt x="24" y="107"/>
                  </a:lnTo>
                  <a:lnTo>
                    <a:pt x="22" y="107"/>
                  </a:lnTo>
                  <a:lnTo>
                    <a:pt x="20" y="107"/>
                  </a:lnTo>
                  <a:lnTo>
                    <a:pt x="19" y="109"/>
                  </a:lnTo>
                  <a:lnTo>
                    <a:pt x="17" y="109"/>
                  </a:lnTo>
                  <a:lnTo>
                    <a:pt x="15" y="107"/>
                  </a:lnTo>
                  <a:lnTo>
                    <a:pt x="14" y="107"/>
                  </a:lnTo>
                  <a:lnTo>
                    <a:pt x="14" y="104"/>
                  </a:lnTo>
                  <a:lnTo>
                    <a:pt x="12" y="102"/>
                  </a:lnTo>
                  <a:lnTo>
                    <a:pt x="14" y="104"/>
                  </a:lnTo>
                  <a:lnTo>
                    <a:pt x="15" y="102"/>
                  </a:lnTo>
                  <a:lnTo>
                    <a:pt x="17" y="102"/>
                  </a:lnTo>
                  <a:lnTo>
                    <a:pt x="19" y="102"/>
                  </a:lnTo>
                  <a:lnTo>
                    <a:pt x="20" y="102"/>
                  </a:lnTo>
                  <a:lnTo>
                    <a:pt x="20" y="100"/>
                  </a:lnTo>
                  <a:lnTo>
                    <a:pt x="19" y="99"/>
                  </a:lnTo>
                  <a:lnTo>
                    <a:pt x="20" y="99"/>
                  </a:lnTo>
                  <a:lnTo>
                    <a:pt x="20" y="97"/>
                  </a:lnTo>
                  <a:lnTo>
                    <a:pt x="24" y="99"/>
                  </a:lnTo>
                  <a:lnTo>
                    <a:pt x="26" y="99"/>
                  </a:lnTo>
                  <a:lnTo>
                    <a:pt x="27" y="97"/>
                  </a:lnTo>
                  <a:lnTo>
                    <a:pt x="29" y="95"/>
                  </a:lnTo>
                  <a:lnTo>
                    <a:pt x="27" y="94"/>
                  </a:lnTo>
                  <a:lnTo>
                    <a:pt x="26" y="92"/>
                  </a:lnTo>
                  <a:lnTo>
                    <a:pt x="26" y="90"/>
                  </a:lnTo>
                  <a:lnTo>
                    <a:pt x="24" y="89"/>
                  </a:lnTo>
                  <a:lnTo>
                    <a:pt x="22" y="87"/>
                  </a:lnTo>
                  <a:lnTo>
                    <a:pt x="20" y="87"/>
                  </a:lnTo>
                  <a:lnTo>
                    <a:pt x="19" y="85"/>
                  </a:lnTo>
                  <a:lnTo>
                    <a:pt x="17" y="83"/>
                  </a:lnTo>
                  <a:lnTo>
                    <a:pt x="17" y="85"/>
                  </a:lnTo>
                  <a:lnTo>
                    <a:pt x="17" y="83"/>
                  </a:lnTo>
                  <a:lnTo>
                    <a:pt x="14" y="83"/>
                  </a:lnTo>
                  <a:lnTo>
                    <a:pt x="14" y="82"/>
                  </a:lnTo>
                  <a:lnTo>
                    <a:pt x="12" y="80"/>
                  </a:lnTo>
                  <a:lnTo>
                    <a:pt x="12" y="77"/>
                  </a:lnTo>
                  <a:lnTo>
                    <a:pt x="14" y="77"/>
                  </a:lnTo>
                  <a:lnTo>
                    <a:pt x="15" y="75"/>
                  </a:lnTo>
                  <a:lnTo>
                    <a:pt x="14" y="73"/>
                  </a:lnTo>
                  <a:lnTo>
                    <a:pt x="15" y="72"/>
                  </a:lnTo>
                  <a:lnTo>
                    <a:pt x="12" y="70"/>
                  </a:lnTo>
                  <a:lnTo>
                    <a:pt x="10" y="73"/>
                  </a:lnTo>
                  <a:lnTo>
                    <a:pt x="9" y="72"/>
                  </a:lnTo>
                  <a:lnTo>
                    <a:pt x="7" y="70"/>
                  </a:lnTo>
                  <a:lnTo>
                    <a:pt x="9" y="68"/>
                  </a:lnTo>
                  <a:lnTo>
                    <a:pt x="7" y="66"/>
                  </a:lnTo>
                  <a:lnTo>
                    <a:pt x="10" y="65"/>
                  </a:lnTo>
                  <a:lnTo>
                    <a:pt x="10" y="63"/>
                  </a:lnTo>
                  <a:lnTo>
                    <a:pt x="12" y="63"/>
                  </a:lnTo>
                  <a:lnTo>
                    <a:pt x="12" y="61"/>
                  </a:lnTo>
                  <a:lnTo>
                    <a:pt x="14" y="60"/>
                  </a:lnTo>
                  <a:lnTo>
                    <a:pt x="15" y="58"/>
                  </a:lnTo>
                  <a:lnTo>
                    <a:pt x="14" y="56"/>
                  </a:lnTo>
                  <a:lnTo>
                    <a:pt x="12" y="56"/>
                  </a:lnTo>
                  <a:lnTo>
                    <a:pt x="10" y="56"/>
                  </a:lnTo>
                  <a:lnTo>
                    <a:pt x="9" y="55"/>
                  </a:lnTo>
                  <a:lnTo>
                    <a:pt x="7" y="55"/>
                  </a:lnTo>
                  <a:lnTo>
                    <a:pt x="3" y="55"/>
                  </a:lnTo>
                  <a:lnTo>
                    <a:pt x="3" y="56"/>
                  </a:lnTo>
                  <a:lnTo>
                    <a:pt x="2" y="55"/>
                  </a:lnTo>
                  <a:lnTo>
                    <a:pt x="3" y="55"/>
                  </a:lnTo>
                  <a:lnTo>
                    <a:pt x="2" y="53"/>
                  </a:lnTo>
                  <a:lnTo>
                    <a:pt x="2" y="51"/>
                  </a:lnTo>
                  <a:lnTo>
                    <a:pt x="0" y="49"/>
                  </a:lnTo>
                  <a:lnTo>
                    <a:pt x="2" y="49"/>
                  </a:lnTo>
                  <a:lnTo>
                    <a:pt x="3" y="48"/>
                  </a:lnTo>
                  <a:lnTo>
                    <a:pt x="3" y="44"/>
                  </a:lnTo>
                  <a:lnTo>
                    <a:pt x="5" y="44"/>
                  </a:lnTo>
                  <a:lnTo>
                    <a:pt x="7" y="44"/>
                  </a:lnTo>
                  <a:lnTo>
                    <a:pt x="7" y="43"/>
                  </a:lnTo>
                  <a:lnTo>
                    <a:pt x="10" y="43"/>
                  </a:lnTo>
                  <a:lnTo>
                    <a:pt x="10" y="39"/>
                  </a:lnTo>
                  <a:lnTo>
                    <a:pt x="14" y="38"/>
                  </a:lnTo>
                  <a:lnTo>
                    <a:pt x="15" y="39"/>
                  </a:lnTo>
                  <a:lnTo>
                    <a:pt x="15" y="36"/>
                  </a:lnTo>
                  <a:lnTo>
                    <a:pt x="15" y="32"/>
                  </a:lnTo>
                  <a:lnTo>
                    <a:pt x="19" y="32"/>
                  </a:lnTo>
                  <a:lnTo>
                    <a:pt x="20" y="34"/>
                  </a:lnTo>
                  <a:lnTo>
                    <a:pt x="22" y="32"/>
                  </a:lnTo>
                  <a:lnTo>
                    <a:pt x="26" y="32"/>
                  </a:lnTo>
                  <a:lnTo>
                    <a:pt x="27" y="32"/>
                  </a:lnTo>
                  <a:lnTo>
                    <a:pt x="29" y="34"/>
                  </a:lnTo>
                  <a:lnTo>
                    <a:pt x="31" y="36"/>
                  </a:lnTo>
                  <a:lnTo>
                    <a:pt x="32" y="34"/>
                  </a:lnTo>
                  <a:lnTo>
                    <a:pt x="34" y="34"/>
                  </a:lnTo>
                  <a:lnTo>
                    <a:pt x="36" y="36"/>
                  </a:lnTo>
                  <a:lnTo>
                    <a:pt x="37" y="38"/>
                  </a:lnTo>
                  <a:lnTo>
                    <a:pt x="39" y="38"/>
                  </a:lnTo>
                  <a:lnTo>
                    <a:pt x="43" y="38"/>
                  </a:lnTo>
                  <a:lnTo>
                    <a:pt x="44" y="38"/>
                  </a:lnTo>
                  <a:lnTo>
                    <a:pt x="46" y="38"/>
                  </a:lnTo>
                  <a:lnTo>
                    <a:pt x="48" y="38"/>
                  </a:lnTo>
                  <a:lnTo>
                    <a:pt x="49" y="38"/>
                  </a:lnTo>
                  <a:lnTo>
                    <a:pt x="51" y="36"/>
                  </a:lnTo>
                  <a:lnTo>
                    <a:pt x="51" y="38"/>
                  </a:lnTo>
                  <a:lnTo>
                    <a:pt x="53" y="39"/>
                  </a:lnTo>
                  <a:lnTo>
                    <a:pt x="56" y="38"/>
                  </a:lnTo>
                  <a:lnTo>
                    <a:pt x="56" y="39"/>
                  </a:lnTo>
                  <a:lnTo>
                    <a:pt x="58" y="41"/>
                  </a:lnTo>
                  <a:lnTo>
                    <a:pt x="58" y="38"/>
                  </a:lnTo>
                  <a:lnTo>
                    <a:pt x="60" y="36"/>
                  </a:lnTo>
                  <a:lnTo>
                    <a:pt x="63" y="36"/>
                  </a:lnTo>
                  <a:lnTo>
                    <a:pt x="63" y="34"/>
                  </a:lnTo>
                  <a:lnTo>
                    <a:pt x="65" y="34"/>
                  </a:lnTo>
                  <a:lnTo>
                    <a:pt x="65" y="32"/>
                  </a:lnTo>
                  <a:lnTo>
                    <a:pt x="66" y="31"/>
                  </a:lnTo>
                  <a:lnTo>
                    <a:pt x="68" y="31"/>
                  </a:lnTo>
                  <a:lnTo>
                    <a:pt x="70" y="31"/>
                  </a:lnTo>
                  <a:lnTo>
                    <a:pt x="70" y="27"/>
                  </a:lnTo>
                  <a:lnTo>
                    <a:pt x="70" y="26"/>
                  </a:lnTo>
                  <a:lnTo>
                    <a:pt x="71" y="24"/>
                  </a:lnTo>
                  <a:lnTo>
                    <a:pt x="73" y="24"/>
                  </a:lnTo>
                  <a:lnTo>
                    <a:pt x="73" y="22"/>
                  </a:lnTo>
                  <a:lnTo>
                    <a:pt x="75" y="22"/>
                  </a:lnTo>
                  <a:lnTo>
                    <a:pt x="77" y="24"/>
                  </a:lnTo>
                  <a:lnTo>
                    <a:pt x="78" y="22"/>
                  </a:lnTo>
                  <a:lnTo>
                    <a:pt x="78" y="21"/>
                  </a:lnTo>
                  <a:lnTo>
                    <a:pt x="80" y="21"/>
                  </a:lnTo>
                  <a:lnTo>
                    <a:pt x="82" y="21"/>
                  </a:lnTo>
                  <a:lnTo>
                    <a:pt x="83" y="19"/>
                  </a:lnTo>
                  <a:lnTo>
                    <a:pt x="83" y="21"/>
                  </a:lnTo>
                  <a:lnTo>
                    <a:pt x="85" y="19"/>
                  </a:lnTo>
                  <a:lnTo>
                    <a:pt x="87" y="19"/>
                  </a:lnTo>
                  <a:lnTo>
                    <a:pt x="88" y="21"/>
                  </a:lnTo>
                  <a:lnTo>
                    <a:pt x="92" y="19"/>
                  </a:lnTo>
                  <a:lnTo>
                    <a:pt x="94" y="19"/>
                  </a:lnTo>
                  <a:lnTo>
                    <a:pt x="95" y="19"/>
                  </a:lnTo>
                  <a:lnTo>
                    <a:pt x="97" y="19"/>
                  </a:lnTo>
                  <a:lnTo>
                    <a:pt x="100" y="19"/>
                  </a:lnTo>
                  <a:lnTo>
                    <a:pt x="100" y="21"/>
                  </a:lnTo>
                  <a:lnTo>
                    <a:pt x="102" y="21"/>
                  </a:lnTo>
                  <a:lnTo>
                    <a:pt x="104" y="19"/>
                  </a:lnTo>
                  <a:lnTo>
                    <a:pt x="104" y="17"/>
                  </a:lnTo>
                  <a:lnTo>
                    <a:pt x="105" y="15"/>
                  </a:lnTo>
                  <a:lnTo>
                    <a:pt x="107" y="15"/>
                  </a:lnTo>
                  <a:lnTo>
                    <a:pt x="109" y="14"/>
                  </a:lnTo>
                  <a:lnTo>
                    <a:pt x="111" y="14"/>
                  </a:lnTo>
                  <a:lnTo>
                    <a:pt x="112" y="14"/>
                  </a:lnTo>
                  <a:lnTo>
                    <a:pt x="114" y="14"/>
                  </a:lnTo>
                  <a:lnTo>
                    <a:pt x="116" y="12"/>
                  </a:lnTo>
                  <a:lnTo>
                    <a:pt x="117" y="12"/>
                  </a:lnTo>
                  <a:lnTo>
                    <a:pt x="119" y="12"/>
                  </a:lnTo>
                  <a:lnTo>
                    <a:pt x="121" y="12"/>
                  </a:lnTo>
                  <a:lnTo>
                    <a:pt x="122" y="14"/>
                  </a:lnTo>
                  <a:lnTo>
                    <a:pt x="126" y="14"/>
                  </a:lnTo>
                  <a:lnTo>
                    <a:pt x="128" y="15"/>
                  </a:lnTo>
                  <a:lnTo>
                    <a:pt x="128" y="14"/>
                  </a:lnTo>
                  <a:lnTo>
                    <a:pt x="126" y="12"/>
                  </a:lnTo>
                  <a:lnTo>
                    <a:pt x="124" y="10"/>
                  </a:lnTo>
                  <a:lnTo>
                    <a:pt x="124" y="9"/>
                  </a:lnTo>
                  <a:lnTo>
                    <a:pt x="124" y="7"/>
                  </a:lnTo>
                  <a:lnTo>
                    <a:pt x="124" y="5"/>
                  </a:lnTo>
                  <a:lnTo>
                    <a:pt x="124" y="3"/>
                  </a:lnTo>
                  <a:lnTo>
                    <a:pt x="126" y="3"/>
                  </a:lnTo>
                  <a:lnTo>
                    <a:pt x="128" y="3"/>
                  </a:lnTo>
                  <a:lnTo>
                    <a:pt x="129" y="2"/>
                  </a:lnTo>
                  <a:lnTo>
                    <a:pt x="129" y="0"/>
                  </a:lnTo>
                  <a:lnTo>
                    <a:pt x="133" y="2"/>
                  </a:lnTo>
                  <a:lnTo>
                    <a:pt x="136" y="0"/>
                  </a:lnTo>
                  <a:lnTo>
                    <a:pt x="138" y="0"/>
                  </a:lnTo>
                  <a:lnTo>
                    <a:pt x="139" y="0"/>
                  </a:lnTo>
                  <a:lnTo>
                    <a:pt x="141" y="2"/>
                  </a:lnTo>
                  <a:lnTo>
                    <a:pt x="141" y="3"/>
                  </a:lnTo>
                  <a:lnTo>
                    <a:pt x="139" y="5"/>
                  </a:lnTo>
                  <a:lnTo>
                    <a:pt x="139" y="7"/>
                  </a:lnTo>
                  <a:lnTo>
                    <a:pt x="141" y="7"/>
                  </a:lnTo>
                  <a:lnTo>
                    <a:pt x="139" y="9"/>
                  </a:lnTo>
                  <a:lnTo>
                    <a:pt x="141" y="9"/>
                  </a:lnTo>
                  <a:lnTo>
                    <a:pt x="143" y="10"/>
                  </a:lnTo>
                  <a:lnTo>
                    <a:pt x="143" y="12"/>
                  </a:lnTo>
                  <a:lnTo>
                    <a:pt x="146" y="12"/>
                  </a:lnTo>
                  <a:lnTo>
                    <a:pt x="146" y="14"/>
                  </a:lnTo>
                  <a:lnTo>
                    <a:pt x="145" y="14"/>
                  </a:lnTo>
                  <a:lnTo>
                    <a:pt x="145" y="15"/>
                  </a:lnTo>
                  <a:lnTo>
                    <a:pt x="146" y="17"/>
                  </a:lnTo>
                  <a:lnTo>
                    <a:pt x="148" y="17"/>
                  </a:lnTo>
                  <a:lnTo>
                    <a:pt x="150" y="19"/>
                  </a:lnTo>
                  <a:lnTo>
                    <a:pt x="150" y="21"/>
                  </a:lnTo>
                  <a:lnTo>
                    <a:pt x="151" y="21"/>
                  </a:lnTo>
                  <a:lnTo>
                    <a:pt x="151" y="22"/>
                  </a:lnTo>
                  <a:lnTo>
                    <a:pt x="151" y="24"/>
                  </a:lnTo>
                  <a:lnTo>
                    <a:pt x="155" y="26"/>
                  </a:lnTo>
                  <a:lnTo>
                    <a:pt x="156" y="2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27" name="Freeform 58">
              <a:extLst>
                <a:ext uri="{FF2B5EF4-FFF2-40B4-BE49-F238E27FC236}">
                  <a16:creationId xmlns:a16="http://schemas.microsoft.com/office/drawing/2014/main" id="{0A839315-6610-4BD8-A8E6-1F6704335060}"/>
                </a:ext>
              </a:extLst>
            </p:cNvPr>
            <p:cNvSpPr>
              <a:spLocks/>
            </p:cNvSpPr>
            <p:nvPr/>
          </p:nvSpPr>
          <p:spPr bwMode="gray">
            <a:xfrm>
              <a:off x="9240480" y="4458199"/>
              <a:ext cx="918450" cy="651803"/>
            </a:xfrm>
            <a:custGeom>
              <a:avLst/>
              <a:gdLst>
                <a:gd name="T0" fmla="*/ 282 w 310"/>
                <a:gd name="T1" fmla="*/ 17 h 220"/>
                <a:gd name="T2" fmla="*/ 298 w 310"/>
                <a:gd name="T3" fmla="*/ 26 h 220"/>
                <a:gd name="T4" fmla="*/ 308 w 310"/>
                <a:gd name="T5" fmla="*/ 28 h 220"/>
                <a:gd name="T6" fmla="*/ 306 w 310"/>
                <a:gd name="T7" fmla="*/ 41 h 220"/>
                <a:gd name="T8" fmla="*/ 289 w 310"/>
                <a:gd name="T9" fmla="*/ 51 h 220"/>
                <a:gd name="T10" fmla="*/ 281 w 310"/>
                <a:gd name="T11" fmla="*/ 63 h 220"/>
                <a:gd name="T12" fmla="*/ 276 w 310"/>
                <a:gd name="T13" fmla="*/ 79 h 220"/>
                <a:gd name="T14" fmla="*/ 269 w 310"/>
                <a:gd name="T15" fmla="*/ 92 h 220"/>
                <a:gd name="T16" fmla="*/ 262 w 310"/>
                <a:gd name="T17" fmla="*/ 106 h 220"/>
                <a:gd name="T18" fmla="*/ 260 w 310"/>
                <a:gd name="T19" fmla="*/ 119 h 220"/>
                <a:gd name="T20" fmla="*/ 255 w 310"/>
                <a:gd name="T21" fmla="*/ 135 h 220"/>
                <a:gd name="T22" fmla="*/ 252 w 310"/>
                <a:gd name="T23" fmla="*/ 148 h 220"/>
                <a:gd name="T24" fmla="*/ 248 w 310"/>
                <a:gd name="T25" fmla="*/ 160 h 220"/>
                <a:gd name="T26" fmla="*/ 237 w 310"/>
                <a:gd name="T27" fmla="*/ 165 h 220"/>
                <a:gd name="T28" fmla="*/ 225 w 310"/>
                <a:gd name="T29" fmla="*/ 176 h 220"/>
                <a:gd name="T30" fmla="*/ 213 w 310"/>
                <a:gd name="T31" fmla="*/ 177 h 220"/>
                <a:gd name="T32" fmla="*/ 203 w 310"/>
                <a:gd name="T33" fmla="*/ 177 h 220"/>
                <a:gd name="T34" fmla="*/ 186 w 310"/>
                <a:gd name="T35" fmla="*/ 181 h 220"/>
                <a:gd name="T36" fmla="*/ 172 w 310"/>
                <a:gd name="T37" fmla="*/ 182 h 220"/>
                <a:gd name="T38" fmla="*/ 162 w 310"/>
                <a:gd name="T39" fmla="*/ 193 h 220"/>
                <a:gd name="T40" fmla="*/ 150 w 310"/>
                <a:gd name="T41" fmla="*/ 196 h 220"/>
                <a:gd name="T42" fmla="*/ 140 w 310"/>
                <a:gd name="T43" fmla="*/ 203 h 220"/>
                <a:gd name="T44" fmla="*/ 131 w 310"/>
                <a:gd name="T45" fmla="*/ 208 h 220"/>
                <a:gd name="T46" fmla="*/ 119 w 310"/>
                <a:gd name="T47" fmla="*/ 218 h 220"/>
                <a:gd name="T48" fmla="*/ 104 w 310"/>
                <a:gd name="T49" fmla="*/ 218 h 220"/>
                <a:gd name="T50" fmla="*/ 90 w 310"/>
                <a:gd name="T51" fmla="*/ 218 h 220"/>
                <a:gd name="T52" fmla="*/ 75 w 310"/>
                <a:gd name="T53" fmla="*/ 210 h 220"/>
                <a:gd name="T54" fmla="*/ 67 w 310"/>
                <a:gd name="T55" fmla="*/ 208 h 220"/>
                <a:gd name="T56" fmla="*/ 63 w 310"/>
                <a:gd name="T57" fmla="*/ 205 h 220"/>
                <a:gd name="T58" fmla="*/ 56 w 310"/>
                <a:gd name="T59" fmla="*/ 199 h 220"/>
                <a:gd name="T60" fmla="*/ 46 w 310"/>
                <a:gd name="T61" fmla="*/ 193 h 220"/>
                <a:gd name="T62" fmla="*/ 38 w 310"/>
                <a:gd name="T63" fmla="*/ 182 h 220"/>
                <a:gd name="T64" fmla="*/ 27 w 310"/>
                <a:gd name="T65" fmla="*/ 177 h 220"/>
                <a:gd name="T66" fmla="*/ 16 w 310"/>
                <a:gd name="T67" fmla="*/ 165 h 220"/>
                <a:gd name="T68" fmla="*/ 10 w 310"/>
                <a:gd name="T69" fmla="*/ 157 h 220"/>
                <a:gd name="T70" fmla="*/ 2 w 310"/>
                <a:gd name="T71" fmla="*/ 150 h 220"/>
                <a:gd name="T72" fmla="*/ 10 w 310"/>
                <a:gd name="T73" fmla="*/ 142 h 220"/>
                <a:gd name="T74" fmla="*/ 16 w 310"/>
                <a:gd name="T75" fmla="*/ 138 h 220"/>
                <a:gd name="T76" fmla="*/ 16 w 310"/>
                <a:gd name="T77" fmla="*/ 126 h 220"/>
                <a:gd name="T78" fmla="*/ 14 w 310"/>
                <a:gd name="T79" fmla="*/ 113 h 220"/>
                <a:gd name="T80" fmla="*/ 22 w 310"/>
                <a:gd name="T81" fmla="*/ 104 h 220"/>
                <a:gd name="T82" fmla="*/ 14 w 310"/>
                <a:gd name="T83" fmla="*/ 96 h 220"/>
                <a:gd name="T84" fmla="*/ 21 w 310"/>
                <a:gd name="T85" fmla="*/ 87 h 220"/>
                <a:gd name="T86" fmla="*/ 36 w 310"/>
                <a:gd name="T87" fmla="*/ 89 h 220"/>
                <a:gd name="T88" fmla="*/ 41 w 310"/>
                <a:gd name="T89" fmla="*/ 77 h 220"/>
                <a:gd name="T90" fmla="*/ 46 w 310"/>
                <a:gd name="T91" fmla="*/ 65 h 220"/>
                <a:gd name="T92" fmla="*/ 63 w 310"/>
                <a:gd name="T93" fmla="*/ 79 h 220"/>
                <a:gd name="T94" fmla="*/ 84 w 310"/>
                <a:gd name="T95" fmla="*/ 80 h 220"/>
                <a:gd name="T96" fmla="*/ 102 w 310"/>
                <a:gd name="T97" fmla="*/ 79 h 220"/>
                <a:gd name="T98" fmla="*/ 118 w 310"/>
                <a:gd name="T99" fmla="*/ 74 h 220"/>
                <a:gd name="T100" fmla="*/ 119 w 310"/>
                <a:gd name="T101" fmla="*/ 62 h 220"/>
                <a:gd name="T102" fmla="*/ 128 w 310"/>
                <a:gd name="T103" fmla="*/ 53 h 220"/>
                <a:gd name="T104" fmla="*/ 141 w 310"/>
                <a:gd name="T105" fmla="*/ 50 h 220"/>
                <a:gd name="T106" fmla="*/ 150 w 310"/>
                <a:gd name="T107" fmla="*/ 43 h 220"/>
                <a:gd name="T108" fmla="*/ 163 w 310"/>
                <a:gd name="T109" fmla="*/ 41 h 220"/>
                <a:gd name="T110" fmla="*/ 175 w 310"/>
                <a:gd name="T111" fmla="*/ 40 h 220"/>
                <a:gd name="T112" fmla="*/ 187 w 310"/>
                <a:gd name="T113" fmla="*/ 29 h 220"/>
                <a:gd name="T114" fmla="*/ 194 w 310"/>
                <a:gd name="T115" fmla="*/ 11 h 220"/>
                <a:gd name="T116" fmla="*/ 211 w 310"/>
                <a:gd name="T117" fmla="*/ 6 h 220"/>
                <a:gd name="T118" fmla="*/ 230 w 310"/>
                <a:gd name="T119" fmla="*/ 6 h 220"/>
                <a:gd name="T120" fmla="*/ 240 w 310"/>
                <a:gd name="T121" fmla="*/ 4 h 220"/>
                <a:gd name="T122" fmla="*/ 252 w 310"/>
                <a:gd name="T123" fmla="*/ 16 h 220"/>
                <a:gd name="T124" fmla="*/ 264 w 310"/>
                <a:gd name="T125" fmla="*/ 9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0" h="220">
                  <a:moveTo>
                    <a:pt x="271" y="7"/>
                  </a:moveTo>
                  <a:lnTo>
                    <a:pt x="272" y="6"/>
                  </a:lnTo>
                  <a:lnTo>
                    <a:pt x="276" y="7"/>
                  </a:lnTo>
                  <a:lnTo>
                    <a:pt x="274" y="9"/>
                  </a:lnTo>
                  <a:lnTo>
                    <a:pt x="276" y="11"/>
                  </a:lnTo>
                  <a:lnTo>
                    <a:pt x="279" y="11"/>
                  </a:lnTo>
                  <a:lnTo>
                    <a:pt x="279" y="12"/>
                  </a:lnTo>
                  <a:lnTo>
                    <a:pt x="281" y="16"/>
                  </a:lnTo>
                  <a:lnTo>
                    <a:pt x="282" y="17"/>
                  </a:lnTo>
                  <a:lnTo>
                    <a:pt x="284" y="17"/>
                  </a:lnTo>
                  <a:lnTo>
                    <a:pt x="286" y="17"/>
                  </a:lnTo>
                  <a:lnTo>
                    <a:pt x="288" y="16"/>
                  </a:lnTo>
                  <a:lnTo>
                    <a:pt x="289" y="19"/>
                  </a:lnTo>
                  <a:lnTo>
                    <a:pt x="291" y="19"/>
                  </a:lnTo>
                  <a:lnTo>
                    <a:pt x="294" y="23"/>
                  </a:lnTo>
                  <a:lnTo>
                    <a:pt x="294" y="24"/>
                  </a:lnTo>
                  <a:lnTo>
                    <a:pt x="296" y="26"/>
                  </a:lnTo>
                  <a:lnTo>
                    <a:pt x="298" y="26"/>
                  </a:lnTo>
                  <a:lnTo>
                    <a:pt x="299" y="24"/>
                  </a:lnTo>
                  <a:lnTo>
                    <a:pt x="301" y="23"/>
                  </a:lnTo>
                  <a:lnTo>
                    <a:pt x="303" y="23"/>
                  </a:lnTo>
                  <a:lnTo>
                    <a:pt x="301" y="23"/>
                  </a:lnTo>
                  <a:lnTo>
                    <a:pt x="303" y="23"/>
                  </a:lnTo>
                  <a:lnTo>
                    <a:pt x="305" y="23"/>
                  </a:lnTo>
                  <a:lnTo>
                    <a:pt x="306" y="24"/>
                  </a:lnTo>
                  <a:lnTo>
                    <a:pt x="308" y="26"/>
                  </a:lnTo>
                  <a:lnTo>
                    <a:pt x="308" y="28"/>
                  </a:lnTo>
                  <a:lnTo>
                    <a:pt x="308" y="29"/>
                  </a:lnTo>
                  <a:lnTo>
                    <a:pt x="306" y="31"/>
                  </a:lnTo>
                  <a:lnTo>
                    <a:pt x="310" y="33"/>
                  </a:lnTo>
                  <a:lnTo>
                    <a:pt x="310" y="34"/>
                  </a:lnTo>
                  <a:lnTo>
                    <a:pt x="308" y="36"/>
                  </a:lnTo>
                  <a:lnTo>
                    <a:pt x="306" y="38"/>
                  </a:lnTo>
                  <a:lnTo>
                    <a:pt x="305" y="38"/>
                  </a:lnTo>
                  <a:lnTo>
                    <a:pt x="305" y="40"/>
                  </a:lnTo>
                  <a:lnTo>
                    <a:pt x="306" y="41"/>
                  </a:lnTo>
                  <a:lnTo>
                    <a:pt x="303" y="43"/>
                  </a:lnTo>
                  <a:lnTo>
                    <a:pt x="301" y="46"/>
                  </a:lnTo>
                  <a:lnTo>
                    <a:pt x="299" y="48"/>
                  </a:lnTo>
                  <a:lnTo>
                    <a:pt x="296" y="48"/>
                  </a:lnTo>
                  <a:lnTo>
                    <a:pt x="293" y="46"/>
                  </a:lnTo>
                  <a:lnTo>
                    <a:pt x="291" y="46"/>
                  </a:lnTo>
                  <a:lnTo>
                    <a:pt x="291" y="50"/>
                  </a:lnTo>
                  <a:lnTo>
                    <a:pt x="291" y="51"/>
                  </a:lnTo>
                  <a:lnTo>
                    <a:pt x="289" y="51"/>
                  </a:lnTo>
                  <a:lnTo>
                    <a:pt x="288" y="51"/>
                  </a:lnTo>
                  <a:lnTo>
                    <a:pt x="286" y="51"/>
                  </a:lnTo>
                  <a:lnTo>
                    <a:pt x="282" y="53"/>
                  </a:lnTo>
                  <a:lnTo>
                    <a:pt x="284" y="57"/>
                  </a:lnTo>
                  <a:lnTo>
                    <a:pt x="282" y="57"/>
                  </a:lnTo>
                  <a:lnTo>
                    <a:pt x="282" y="58"/>
                  </a:lnTo>
                  <a:lnTo>
                    <a:pt x="281" y="60"/>
                  </a:lnTo>
                  <a:lnTo>
                    <a:pt x="281" y="62"/>
                  </a:lnTo>
                  <a:lnTo>
                    <a:pt x="281" y="63"/>
                  </a:lnTo>
                  <a:lnTo>
                    <a:pt x="279" y="63"/>
                  </a:lnTo>
                  <a:lnTo>
                    <a:pt x="279" y="65"/>
                  </a:lnTo>
                  <a:lnTo>
                    <a:pt x="277" y="67"/>
                  </a:lnTo>
                  <a:lnTo>
                    <a:pt x="276" y="68"/>
                  </a:lnTo>
                  <a:lnTo>
                    <a:pt x="274" y="70"/>
                  </a:lnTo>
                  <a:lnTo>
                    <a:pt x="274" y="72"/>
                  </a:lnTo>
                  <a:lnTo>
                    <a:pt x="276" y="75"/>
                  </a:lnTo>
                  <a:lnTo>
                    <a:pt x="276" y="77"/>
                  </a:lnTo>
                  <a:lnTo>
                    <a:pt x="276" y="79"/>
                  </a:lnTo>
                  <a:lnTo>
                    <a:pt x="276" y="80"/>
                  </a:lnTo>
                  <a:lnTo>
                    <a:pt x="274" y="80"/>
                  </a:lnTo>
                  <a:lnTo>
                    <a:pt x="272" y="80"/>
                  </a:lnTo>
                  <a:lnTo>
                    <a:pt x="272" y="84"/>
                  </a:lnTo>
                  <a:lnTo>
                    <a:pt x="271" y="85"/>
                  </a:lnTo>
                  <a:lnTo>
                    <a:pt x="271" y="87"/>
                  </a:lnTo>
                  <a:lnTo>
                    <a:pt x="271" y="89"/>
                  </a:lnTo>
                  <a:lnTo>
                    <a:pt x="271" y="91"/>
                  </a:lnTo>
                  <a:lnTo>
                    <a:pt x="269" y="92"/>
                  </a:lnTo>
                  <a:lnTo>
                    <a:pt x="271" y="94"/>
                  </a:lnTo>
                  <a:lnTo>
                    <a:pt x="269" y="96"/>
                  </a:lnTo>
                  <a:lnTo>
                    <a:pt x="269" y="99"/>
                  </a:lnTo>
                  <a:lnTo>
                    <a:pt x="269" y="101"/>
                  </a:lnTo>
                  <a:lnTo>
                    <a:pt x="267" y="101"/>
                  </a:lnTo>
                  <a:lnTo>
                    <a:pt x="265" y="101"/>
                  </a:lnTo>
                  <a:lnTo>
                    <a:pt x="265" y="102"/>
                  </a:lnTo>
                  <a:lnTo>
                    <a:pt x="264" y="106"/>
                  </a:lnTo>
                  <a:lnTo>
                    <a:pt x="262" y="106"/>
                  </a:lnTo>
                  <a:lnTo>
                    <a:pt x="264" y="108"/>
                  </a:lnTo>
                  <a:lnTo>
                    <a:pt x="265" y="109"/>
                  </a:lnTo>
                  <a:lnTo>
                    <a:pt x="264" y="111"/>
                  </a:lnTo>
                  <a:lnTo>
                    <a:pt x="265" y="111"/>
                  </a:lnTo>
                  <a:lnTo>
                    <a:pt x="264" y="114"/>
                  </a:lnTo>
                  <a:lnTo>
                    <a:pt x="262" y="114"/>
                  </a:lnTo>
                  <a:lnTo>
                    <a:pt x="262" y="118"/>
                  </a:lnTo>
                  <a:lnTo>
                    <a:pt x="262" y="119"/>
                  </a:lnTo>
                  <a:lnTo>
                    <a:pt x="260" y="119"/>
                  </a:lnTo>
                  <a:lnTo>
                    <a:pt x="259" y="121"/>
                  </a:lnTo>
                  <a:lnTo>
                    <a:pt x="259" y="125"/>
                  </a:lnTo>
                  <a:lnTo>
                    <a:pt x="257" y="126"/>
                  </a:lnTo>
                  <a:lnTo>
                    <a:pt x="260" y="128"/>
                  </a:lnTo>
                  <a:lnTo>
                    <a:pt x="260" y="130"/>
                  </a:lnTo>
                  <a:lnTo>
                    <a:pt x="259" y="131"/>
                  </a:lnTo>
                  <a:lnTo>
                    <a:pt x="255" y="131"/>
                  </a:lnTo>
                  <a:lnTo>
                    <a:pt x="257" y="135"/>
                  </a:lnTo>
                  <a:lnTo>
                    <a:pt x="255" y="135"/>
                  </a:lnTo>
                  <a:lnTo>
                    <a:pt x="255" y="136"/>
                  </a:lnTo>
                  <a:lnTo>
                    <a:pt x="254" y="136"/>
                  </a:lnTo>
                  <a:lnTo>
                    <a:pt x="252" y="138"/>
                  </a:lnTo>
                  <a:lnTo>
                    <a:pt x="250" y="140"/>
                  </a:lnTo>
                  <a:lnTo>
                    <a:pt x="252" y="140"/>
                  </a:lnTo>
                  <a:lnTo>
                    <a:pt x="250" y="143"/>
                  </a:lnTo>
                  <a:lnTo>
                    <a:pt x="250" y="147"/>
                  </a:lnTo>
                  <a:lnTo>
                    <a:pt x="250" y="148"/>
                  </a:lnTo>
                  <a:lnTo>
                    <a:pt x="252" y="148"/>
                  </a:lnTo>
                  <a:lnTo>
                    <a:pt x="254" y="150"/>
                  </a:lnTo>
                  <a:lnTo>
                    <a:pt x="252" y="152"/>
                  </a:lnTo>
                  <a:lnTo>
                    <a:pt x="254" y="153"/>
                  </a:lnTo>
                  <a:lnTo>
                    <a:pt x="252" y="153"/>
                  </a:lnTo>
                  <a:lnTo>
                    <a:pt x="248" y="153"/>
                  </a:lnTo>
                  <a:lnTo>
                    <a:pt x="248" y="155"/>
                  </a:lnTo>
                  <a:lnTo>
                    <a:pt x="248" y="157"/>
                  </a:lnTo>
                  <a:lnTo>
                    <a:pt x="248" y="159"/>
                  </a:lnTo>
                  <a:lnTo>
                    <a:pt x="248" y="160"/>
                  </a:lnTo>
                  <a:lnTo>
                    <a:pt x="248" y="162"/>
                  </a:lnTo>
                  <a:lnTo>
                    <a:pt x="245" y="162"/>
                  </a:lnTo>
                  <a:lnTo>
                    <a:pt x="245" y="164"/>
                  </a:lnTo>
                  <a:lnTo>
                    <a:pt x="243" y="165"/>
                  </a:lnTo>
                  <a:lnTo>
                    <a:pt x="242" y="165"/>
                  </a:lnTo>
                  <a:lnTo>
                    <a:pt x="240" y="165"/>
                  </a:lnTo>
                  <a:lnTo>
                    <a:pt x="238" y="165"/>
                  </a:lnTo>
                  <a:lnTo>
                    <a:pt x="237" y="164"/>
                  </a:lnTo>
                  <a:lnTo>
                    <a:pt x="237" y="165"/>
                  </a:lnTo>
                  <a:lnTo>
                    <a:pt x="233" y="164"/>
                  </a:lnTo>
                  <a:lnTo>
                    <a:pt x="231" y="165"/>
                  </a:lnTo>
                  <a:lnTo>
                    <a:pt x="230" y="165"/>
                  </a:lnTo>
                  <a:lnTo>
                    <a:pt x="228" y="167"/>
                  </a:lnTo>
                  <a:lnTo>
                    <a:pt x="230" y="171"/>
                  </a:lnTo>
                  <a:lnTo>
                    <a:pt x="228" y="171"/>
                  </a:lnTo>
                  <a:lnTo>
                    <a:pt x="228" y="174"/>
                  </a:lnTo>
                  <a:lnTo>
                    <a:pt x="226" y="176"/>
                  </a:lnTo>
                  <a:lnTo>
                    <a:pt x="225" y="176"/>
                  </a:lnTo>
                  <a:lnTo>
                    <a:pt x="225" y="177"/>
                  </a:lnTo>
                  <a:lnTo>
                    <a:pt x="223" y="176"/>
                  </a:lnTo>
                  <a:lnTo>
                    <a:pt x="221" y="176"/>
                  </a:lnTo>
                  <a:lnTo>
                    <a:pt x="220" y="174"/>
                  </a:lnTo>
                  <a:lnTo>
                    <a:pt x="216" y="174"/>
                  </a:lnTo>
                  <a:lnTo>
                    <a:pt x="216" y="176"/>
                  </a:lnTo>
                  <a:lnTo>
                    <a:pt x="216" y="177"/>
                  </a:lnTo>
                  <a:lnTo>
                    <a:pt x="214" y="177"/>
                  </a:lnTo>
                  <a:lnTo>
                    <a:pt x="213" y="177"/>
                  </a:lnTo>
                  <a:lnTo>
                    <a:pt x="211" y="177"/>
                  </a:lnTo>
                  <a:lnTo>
                    <a:pt x="209" y="176"/>
                  </a:lnTo>
                  <a:lnTo>
                    <a:pt x="208" y="177"/>
                  </a:lnTo>
                  <a:lnTo>
                    <a:pt x="206" y="179"/>
                  </a:lnTo>
                  <a:lnTo>
                    <a:pt x="206" y="181"/>
                  </a:lnTo>
                  <a:lnTo>
                    <a:pt x="206" y="179"/>
                  </a:lnTo>
                  <a:lnTo>
                    <a:pt x="204" y="181"/>
                  </a:lnTo>
                  <a:lnTo>
                    <a:pt x="203" y="179"/>
                  </a:lnTo>
                  <a:lnTo>
                    <a:pt x="203" y="177"/>
                  </a:lnTo>
                  <a:lnTo>
                    <a:pt x="199" y="179"/>
                  </a:lnTo>
                  <a:lnTo>
                    <a:pt x="197" y="177"/>
                  </a:lnTo>
                  <a:lnTo>
                    <a:pt x="196" y="179"/>
                  </a:lnTo>
                  <a:lnTo>
                    <a:pt x="196" y="181"/>
                  </a:lnTo>
                  <a:lnTo>
                    <a:pt x="194" y="177"/>
                  </a:lnTo>
                  <a:lnTo>
                    <a:pt x="192" y="179"/>
                  </a:lnTo>
                  <a:lnTo>
                    <a:pt x="189" y="179"/>
                  </a:lnTo>
                  <a:lnTo>
                    <a:pt x="187" y="181"/>
                  </a:lnTo>
                  <a:lnTo>
                    <a:pt x="186" y="181"/>
                  </a:lnTo>
                  <a:lnTo>
                    <a:pt x="184" y="182"/>
                  </a:lnTo>
                  <a:lnTo>
                    <a:pt x="182" y="182"/>
                  </a:lnTo>
                  <a:lnTo>
                    <a:pt x="180" y="181"/>
                  </a:lnTo>
                  <a:lnTo>
                    <a:pt x="179" y="179"/>
                  </a:lnTo>
                  <a:lnTo>
                    <a:pt x="177" y="179"/>
                  </a:lnTo>
                  <a:lnTo>
                    <a:pt x="175" y="181"/>
                  </a:lnTo>
                  <a:lnTo>
                    <a:pt x="174" y="181"/>
                  </a:lnTo>
                  <a:lnTo>
                    <a:pt x="172" y="181"/>
                  </a:lnTo>
                  <a:lnTo>
                    <a:pt x="172" y="182"/>
                  </a:lnTo>
                  <a:lnTo>
                    <a:pt x="170" y="182"/>
                  </a:lnTo>
                  <a:lnTo>
                    <a:pt x="169" y="184"/>
                  </a:lnTo>
                  <a:lnTo>
                    <a:pt x="170" y="186"/>
                  </a:lnTo>
                  <a:lnTo>
                    <a:pt x="169" y="188"/>
                  </a:lnTo>
                  <a:lnTo>
                    <a:pt x="167" y="189"/>
                  </a:lnTo>
                  <a:lnTo>
                    <a:pt x="165" y="191"/>
                  </a:lnTo>
                  <a:lnTo>
                    <a:pt x="163" y="193"/>
                  </a:lnTo>
                  <a:lnTo>
                    <a:pt x="163" y="191"/>
                  </a:lnTo>
                  <a:lnTo>
                    <a:pt x="162" y="193"/>
                  </a:lnTo>
                  <a:lnTo>
                    <a:pt x="160" y="194"/>
                  </a:lnTo>
                  <a:lnTo>
                    <a:pt x="160" y="196"/>
                  </a:lnTo>
                  <a:lnTo>
                    <a:pt x="158" y="196"/>
                  </a:lnTo>
                  <a:lnTo>
                    <a:pt x="155" y="196"/>
                  </a:lnTo>
                  <a:lnTo>
                    <a:pt x="157" y="196"/>
                  </a:lnTo>
                  <a:lnTo>
                    <a:pt x="153" y="196"/>
                  </a:lnTo>
                  <a:lnTo>
                    <a:pt x="152" y="193"/>
                  </a:lnTo>
                  <a:lnTo>
                    <a:pt x="150" y="194"/>
                  </a:lnTo>
                  <a:lnTo>
                    <a:pt x="150" y="196"/>
                  </a:lnTo>
                  <a:lnTo>
                    <a:pt x="150" y="199"/>
                  </a:lnTo>
                  <a:lnTo>
                    <a:pt x="148" y="199"/>
                  </a:lnTo>
                  <a:lnTo>
                    <a:pt x="146" y="199"/>
                  </a:lnTo>
                  <a:lnTo>
                    <a:pt x="146" y="203"/>
                  </a:lnTo>
                  <a:lnTo>
                    <a:pt x="146" y="201"/>
                  </a:lnTo>
                  <a:lnTo>
                    <a:pt x="145" y="203"/>
                  </a:lnTo>
                  <a:lnTo>
                    <a:pt x="141" y="201"/>
                  </a:lnTo>
                  <a:lnTo>
                    <a:pt x="141" y="203"/>
                  </a:lnTo>
                  <a:lnTo>
                    <a:pt x="140" y="203"/>
                  </a:lnTo>
                  <a:lnTo>
                    <a:pt x="141" y="205"/>
                  </a:lnTo>
                  <a:lnTo>
                    <a:pt x="138" y="205"/>
                  </a:lnTo>
                  <a:lnTo>
                    <a:pt x="138" y="206"/>
                  </a:lnTo>
                  <a:lnTo>
                    <a:pt x="135" y="205"/>
                  </a:lnTo>
                  <a:lnTo>
                    <a:pt x="133" y="205"/>
                  </a:lnTo>
                  <a:lnTo>
                    <a:pt x="131" y="205"/>
                  </a:lnTo>
                  <a:lnTo>
                    <a:pt x="131" y="206"/>
                  </a:lnTo>
                  <a:lnTo>
                    <a:pt x="129" y="206"/>
                  </a:lnTo>
                  <a:lnTo>
                    <a:pt x="131" y="208"/>
                  </a:lnTo>
                  <a:lnTo>
                    <a:pt x="129" y="208"/>
                  </a:lnTo>
                  <a:lnTo>
                    <a:pt x="129" y="210"/>
                  </a:lnTo>
                  <a:lnTo>
                    <a:pt x="128" y="213"/>
                  </a:lnTo>
                  <a:lnTo>
                    <a:pt x="124" y="215"/>
                  </a:lnTo>
                  <a:lnTo>
                    <a:pt x="123" y="215"/>
                  </a:lnTo>
                  <a:lnTo>
                    <a:pt x="123" y="216"/>
                  </a:lnTo>
                  <a:lnTo>
                    <a:pt x="121" y="216"/>
                  </a:lnTo>
                  <a:lnTo>
                    <a:pt x="121" y="218"/>
                  </a:lnTo>
                  <a:lnTo>
                    <a:pt x="119" y="218"/>
                  </a:lnTo>
                  <a:lnTo>
                    <a:pt x="118" y="216"/>
                  </a:lnTo>
                  <a:lnTo>
                    <a:pt x="116" y="218"/>
                  </a:lnTo>
                  <a:lnTo>
                    <a:pt x="114" y="218"/>
                  </a:lnTo>
                  <a:lnTo>
                    <a:pt x="112" y="218"/>
                  </a:lnTo>
                  <a:lnTo>
                    <a:pt x="111" y="216"/>
                  </a:lnTo>
                  <a:lnTo>
                    <a:pt x="109" y="216"/>
                  </a:lnTo>
                  <a:lnTo>
                    <a:pt x="107" y="218"/>
                  </a:lnTo>
                  <a:lnTo>
                    <a:pt x="106" y="216"/>
                  </a:lnTo>
                  <a:lnTo>
                    <a:pt x="104" y="218"/>
                  </a:lnTo>
                  <a:lnTo>
                    <a:pt x="101" y="218"/>
                  </a:lnTo>
                  <a:lnTo>
                    <a:pt x="99" y="216"/>
                  </a:lnTo>
                  <a:lnTo>
                    <a:pt x="99" y="218"/>
                  </a:lnTo>
                  <a:lnTo>
                    <a:pt x="95" y="218"/>
                  </a:lnTo>
                  <a:lnTo>
                    <a:pt x="94" y="218"/>
                  </a:lnTo>
                  <a:lnTo>
                    <a:pt x="92" y="220"/>
                  </a:lnTo>
                  <a:lnTo>
                    <a:pt x="90" y="218"/>
                  </a:lnTo>
                  <a:lnTo>
                    <a:pt x="90" y="216"/>
                  </a:lnTo>
                  <a:lnTo>
                    <a:pt x="90" y="218"/>
                  </a:lnTo>
                  <a:lnTo>
                    <a:pt x="87" y="216"/>
                  </a:lnTo>
                  <a:lnTo>
                    <a:pt x="85" y="216"/>
                  </a:lnTo>
                  <a:lnTo>
                    <a:pt x="84" y="215"/>
                  </a:lnTo>
                  <a:lnTo>
                    <a:pt x="82" y="216"/>
                  </a:lnTo>
                  <a:lnTo>
                    <a:pt x="82" y="215"/>
                  </a:lnTo>
                  <a:lnTo>
                    <a:pt x="82" y="213"/>
                  </a:lnTo>
                  <a:lnTo>
                    <a:pt x="80" y="211"/>
                  </a:lnTo>
                  <a:lnTo>
                    <a:pt x="77" y="210"/>
                  </a:lnTo>
                  <a:lnTo>
                    <a:pt x="75" y="210"/>
                  </a:lnTo>
                  <a:lnTo>
                    <a:pt x="72" y="210"/>
                  </a:lnTo>
                  <a:lnTo>
                    <a:pt x="70" y="210"/>
                  </a:lnTo>
                  <a:lnTo>
                    <a:pt x="70" y="211"/>
                  </a:lnTo>
                  <a:lnTo>
                    <a:pt x="70" y="210"/>
                  </a:lnTo>
                  <a:lnTo>
                    <a:pt x="68" y="211"/>
                  </a:lnTo>
                  <a:lnTo>
                    <a:pt x="68" y="210"/>
                  </a:lnTo>
                  <a:lnTo>
                    <a:pt x="67" y="210"/>
                  </a:lnTo>
                  <a:lnTo>
                    <a:pt x="68" y="208"/>
                  </a:lnTo>
                  <a:lnTo>
                    <a:pt x="67" y="208"/>
                  </a:lnTo>
                  <a:lnTo>
                    <a:pt x="67" y="206"/>
                  </a:lnTo>
                  <a:lnTo>
                    <a:pt x="67" y="208"/>
                  </a:lnTo>
                  <a:lnTo>
                    <a:pt x="65" y="206"/>
                  </a:lnTo>
                  <a:lnTo>
                    <a:pt x="65" y="208"/>
                  </a:lnTo>
                  <a:lnTo>
                    <a:pt x="65" y="206"/>
                  </a:lnTo>
                  <a:lnTo>
                    <a:pt x="63" y="208"/>
                  </a:lnTo>
                  <a:lnTo>
                    <a:pt x="63" y="206"/>
                  </a:lnTo>
                  <a:lnTo>
                    <a:pt x="61" y="206"/>
                  </a:lnTo>
                  <a:lnTo>
                    <a:pt x="63" y="205"/>
                  </a:lnTo>
                  <a:lnTo>
                    <a:pt x="61" y="205"/>
                  </a:lnTo>
                  <a:lnTo>
                    <a:pt x="61" y="203"/>
                  </a:lnTo>
                  <a:lnTo>
                    <a:pt x="60" y="203"/>
                  </a:lnTo>
                  <a:lnTo>
                    <a:pt x="61" y="201"/>
                  </a:lnTo>
                  <a:lnTo>
                    <a:pt x="60" y="201"/>
                  </a:lnTo>
                  <a:lnTo>
                    <a:pt x="58" y="201"/>
                  </a:lnTo>
                  <a:lnTo>
                    <a:pt x="60" y="199"/>
                  </a:lnTo>
                  <a:lnTo>
                    <a:pt x="58" y="199"/>
                  </a:lnTo>
                  <a:lnTo>
                    <a:pt x="56" y="199"/>
                  </a:lnTo>
                  <a:lnTo>
                    <a:pt x="56" y="198"/>
                  </a:lnTo>
                  <a:lnTo>
                    <a:pt x="56" y="194"/>
                  </a:lnTo>
                  <a:lnTo>
                    <a:pt x="55" y="196"/>
                  </a:lnTo>
                  <a:lnTo>
                    <a:pt x="53" y="194"/>
                  </a:lnTo>
                  <a:lnTo>
                    <a:pt x="51" y="194"/>
                  </a:lnTo>
                  <a:lnTo>
                    <a:pt x="51" y="193"/>
                  </a:lnTo>
                  <a:lnTo>
                    <a:pt x="50" y="193"/>
                  </a:lnTo>
                  <a:lnTo>
                    <a:pt x="48" y="193"/>
                  </a:lnTo>
                  <a:lnTo>
                    <a:pt x="46" y="193"/>
                  </a:lnTo>
                  <a:lnTo>
                    <a:pt x="46" y="191"/>
                  </a:lnTo>
                  <a:lnTo>
                    <a:pt x="44" y="191"/>
                  </a:lnTo>
                  <a:lnTo>
                    <a:pt x="43" y="189"/>
                  </a:lnTo>
                  <a:lnTo>
                    <a:pt x="41" y="189"/>
                  </a:lnTo>
                  <a:lnTo>
                    <a:pt x="41" y="188"/>
                  </a:lnTo>
                  <a:lnTo>
                    <a:pt x="41" y="186"/>
                  </a:lnTo>
                  <a:lnTo>
                    <a:pt x="41" y="184"/>
                  </a:lnTo>
                  <a:lnTo>
                    <a:pt x="39" y="182"/>
                  </a:lnTo>
                  <a:lnTo>
                    <a:pt x="38" y="182"/>
                  </a:lnTo>
                  <a:lnTo>
                    <a:pt x="36" y="181"/>
                  </a:lnTo>
                  <a:lnTo>
                    <a:pt x="34" y="182"/>
                  </a:lnTo>
                  <a:lnTo>
                    <a:pt x="33" y="181"/>
                  </a:lnTo>
                  <a:lnTo>
                    <a:pt x="33" y="182"/>
                  </a:lnTo>
                  <a:lnTo>
                    <a:pt x="33" y="181"/>
                  </a:lnTo>
                  <a:lnTo>
                    <a:pt x="31" y="179"/>
                  </a:lnTo>
                  <a:lnTo>
                    <a:pt x="31" y="177"/>
                  </a:lnTo>
                  <a:lnTo>
                    <a:pt x="29" y="177"/>
                  </a:lnTo>
                  <a:lnTo>
                    <a:pt x="27" y="177"/>
                  </a:lnTo>
                  <a:lnTo>
                    <a:pt x="26" y="176"/>
                  </a:lnTo>
                  <a:lnTo>
                    <a:pt x="22" y="174"/>
                  </a:lnTo>
                  <a:lnTo>
                    <a:pt x="22" y="172"/>
                  </a:lnTo>
                  <a:lnTo>
                    <a:pt x="22" y="171"/>
                  </a:lnTo>
                  <a:lnTo>
                    <a:pt x="21" y="171"/>
                  </a:lnTo>
                  <a:lnTo>
                    <a:pt x="21" y="169"/>
                  </a:lnTo>
                  <a:lnTo>
                    <a:pt x="19" y="167"/>
                  </a:lnTo>
                  <a:lnTo>
                    <a:pt x="17" y="167"/>
                  </a:lnTo>
                  <a:lnTo>
                    <a:pt x="16" y="165"/>
                  </a:lnTo>
                  <a:lnTo>
                    <a:pt x="16" y="164"/>
                  </a:lnTo>
                  <a:lnTo>
                    <a:pt x="17" y="164"/>
                  </a:lnTo>
                  <a:lnTo>
                    <a:pt x="17" y="162"/>
                  </a:lnTo>
                  <a:lnTo>
                    <a:pt x="14" y="162"/>
                  </a:lnTo>
                  <a:lnTo>
                    <a:pt x="14" y="160"/>
                  </a:lnTo>
                  <a:lnTo>
                    <a:pt x="12" y="159"/>
                  </a:lnTo>
                  <a:lnTo>
                    <a:pt x="10" y="159"/>
                  </a:lnTo>
                  <a:lnTo>
                    <a:pt x="12" y="157"/>
                  </a:lnTo>
                  <a:lnTo>
                    <a:pt x="10" y="157"/>
                  </a:lnTo>
                  <a:lnTo>
                    <a:pt x="10" y="155"/>
                  </a:lnTo>
                  <a:lnTo>
                    <a:pt x="12" y="153"/>
                  </a:lnTo>
                  <a:lnTo>
                    <a:pt x="12" y="152"/>
                  </a:lnTo>
                  <a:lnTo>
                    <a:pt x="10" y="150"/>
                  </a:lnTo>
                  <a:lnTo>
                    <a:pt x="9" y="150"/>
                  </a:lnTo>
                  <a:lnTo>
                    <a:pt x="7" y="150"/>
                  </a:lnTo>
                  <a:lnTo>
                    <a:pt x="4" y="152"/>
                  </a:lnTo>
                  <a:lnTo>
                    <a:pt x="0" y="150"/>
                  </a:lnTo>
                  <a:lnTo>
                    <a:pt x="2" y="150"/>
                  </a:lnTo>
                  <a:lnTo>
                    <a:pt x="4" y="148"/>
                  </a:lnTo>
                  <a:lnTo>
                    <a:pt x="4" y="145"/>
                  </a:lnTo>
                  <a:lnTo>
                    <a:pt x="5" y="145"/>
                  </a:lnTo>
                  <a:lnTo>
                    <a:pt x="7" y="143"/>
                  </a:lnTo>
                  <a:lnTo>
                    <a:pt x="9" y="143"/>
                  </a:lnTo>
                  <a:lnTo>
                    <a:pt x="7" y="142"/>
                  </a:lnTo>
                  <a:lnTo>
                    <a:pt x="9" y="140"/>
                  </a:lnTo>
                  <a:lnTo>
                    <a:pt x="9" y="142"/>
                  </a:lnTo>
                  <a:lnTo>
                    <a:pt x="10" y="142"/>
                  </a:lnTo>
                  <a:lnTo>
                    <a:pt x="10" y="140"/>
                  </a:lnTo>
                  <a:lnTo>
                    <a:pt x="12" y="140"/>
                  </a:lnTo>
                  <a:lnTo>
                    <a:pt x="14" y="140"/>
                  </a:lnTo>
                  <a:lnTo>
                    <a:pt x="16" y="140"/>
                  </a:lnTo>
                  <a:lnTo>
                    <a:pt x="17" y="140"/>
                  </a:lnTo>
                  <a:lnTo>
                    <a:pt x="19" y="140"/>
                  </a:lnTo>
                  <a:lnTo>
                    <a:pt x="17" y="140"/>
                  </a:lnTo>
                  <a:lnTo>
                    <a:pt x="17" y="138"/>
                  </a:lnTo>
                  <a:lnTo>
                    <a:pt x="16" y="138"/>
                  </a:lnTo>
                  <a:lnTo>
                    <a:pt x="19" y="136"/>
                  </a:lnTo>
                  <a:lnTo>
                    <a:pt x="17" y="135"/>
                  </a:lnTo>
                  <a:lnTo>
                    <a:pt x="16" y="133"/>
                  </a:lnTo>
                  <a:lnTo>
                    <a:pt x="17" y="131"/>
                  </a:lnTo>
                  <a:lnTo>
                    <a:pt x="19" y="131"/>
                  </a:lnTo>
                  <a:lnTo>
                    <a:pt x="19" y="130"/>
                  </a:lnTo>
                  <a:lnTo>
                    <a:pt x="16" y="130"/>
                  </a:lnTo>
                  <a:lnTo>
                    <a:pt x="16" y="128"/>
                  </a:lnTo>
                  <a:lnTo>
                    <a:pt x="16" y="126"/>
                  </a:lnTo>
                  <a:lnTo>
                    <a:pt x="14" y="126"/>
                  </a:lnTo>
                  <a:lnTo>
                    <a:pt x="14" y="125"/>
                  </a:lnTo>
                  <a:lnTo>
                    <a:pt x="14" y="123"/>
                  </a:lnTo>
                  <a:lnTo>
                    <a:pt x="16" y="123"/>
                  </a:lnTo>
                  <a:lnTo>
                    <a:pt x="16" y="121"/>
                  </a:lnTo>
                  <a:lnTo>
                    <a:pt x="16" y="118"/>
                  </a:lnTo>
                  <a:lnTo>
                    <a:pt x="14" y="118"/>
                  </a:lnTo>
                  <a:lnTo>
                    <a:pt x="14" y="116"/>
                  </a:lnTo>
                  <a:lnTo>
                    <a:pt x="14" y="113"/>
                  </a:lnTo>
                  <a:lnTo>
                    <a:pt x="14" y="111"/>
                  </a:lnTo>
                  <a:lnTo>
                    <a:pt x="16" y="111"/>
                  </a:lnTo>
                  <a:lnTo>
                    <a:pt x="16" y="113"/>
                  </a:lnTo>
                  <a:lnTo>
                    <a:pt x="17" y="111"/>
                  </a:lnTo>
                  <a:lnTo>
                    <a:pt x="19" y="111"/>
                  </a:lnTo>
                  <a:lnTo>
                    <a:pt x="21" y="109"/>
                  </a:lnTo>
                  <a:lnTo>
                    <a:pt x="22" y="108"/>
                  </a:lnTo>
                  <a:lnTo>
                    <a:pt x="24" y="106"/>
                  </a:lnTo>
                  <a:lnTo>
                    <a:pt x="22" y="104"/>
                  </a:lnTo>
                  <a:lnTo>
                    <a:pt x="24" y="104"/>
                  </a:lnTo>
                  <a:lnTo>
                    <a:pt x="26" y="101"/>
                  </a:lnTo>
                  <a:lnTo>
                    <a:pt x="22" y="99"/>
                  </a:lnTo>
                  <a:lnTo>
                    <a:pt x="22" y="97"/>
                  </a:lnTo>
                  <a:lnTo>
                    <a:pt x="22" y="96"/>
                  </a:lnTo>
                  <a:lnTo>
                    <a:pt x="21" y="96"/>
                  </a:lnTo>
                  <a:lnTo>
                    <a:pt x="17" y="96"/>
                  </a:lnTo>
                  <a:lnTo>
                    <a:pt x="16" y="94"/>
                  </a:lnTo>
                  <a:lnTo>
                    <a:pt x="14" y="96"/>
                  </a:lnTo>
                  <a:lnTo>
                    <a:pt x="14" y="94"/>
                  </a:lnTo>
                  <a:lnTo>
                    <a:pt x="10" y="94"/>
                  </a:lnTo>
                  <a:lnTo>
                    <a:pt x="12" y="92"/>
                  </a:lnTo>
                  <a:lnTo>
                    <a:pt x="14" y="91"/>
                  </a:lnTo>
                  <a:lnTo>
                    <a:pt x="16" y="91"/>
                  </a:lnTo>
                  <a:lnTo>
                    <a:pt x="16" y="89"/>
                  </a:lnTo>
                  <a:lnTo>
                    <a:pt x="16" y="87"/>
                  </a:lnTo>
                  <a:lnTo>
                    <a:pt x="19" y="85"/>
                  </a:lnTo>
                  <a:lnTo>
                    <a:pt x="21" y="87"/>
                  </a:lnTo>
                  <a:lnTo>
                    <a:pt x="24" y="87"/>
                  </a:lnTo>
                  <a:lnTo>
                    <a:pt x="24" y="89"/>
                  </a:lnTo>
                  <a:lnTo>
                    <a:pt x="26" y="91"/>
                  </a:lnTo>
                  <a:lnTo>
                    <a:pt x="29" y="91"/>
                  </a:lnTo>
                  <a:lnTo>
                    <a:pt x="29" y="89"/>
                  </a:lnTo>
                  <a:lnTo>
                    <a:pt x="31" y="87"/>
                  </a:lnTo>
                  <a:lnTo>
                    <a:pt x="31" y="91"/>
                  </a:lnTo>
                  <a:lnTo>
                    <a:pt x="34" y="91"/>
                  </a:lnTo>
                  <a:lnTo>
                    <a:pt x="36" y="89"/>
                  </a:lnTo>
                  <a:lnTo>
                    <a:pt x="39" y="89"/>
                  </a:lnTo>
                  <a:lnTo>
                    <a:pt x="41" y="87"/>
                  </a:lnTo>
                  <a:lnTo>
                    <a:pt x="39" y="84"/>
                  </a:lnTo>
                  <a:lnTo>
                    <a:pt x="39" y="82"/>
                  </a:lnTo>
                  <a:lnTo>
                    <a:pt x="41" y="80"/>
                  </a:lnTo>
                  <a:lnTo>
                    <a:pt x="39" y="79"/>
                  </a:lnTo>
                  <a:lnTo>
                    <a:pt x="38" y="77"/>
                  </a:lnTo>
                  <a:lnTo>
                    <a:pt x="39" y="75"/>
                  </a:lnTo>
                  <a:lnTo>
                    <a:pt x="41" y="77"/>
                  </a:lnTo>
                  <a:lnTo>
                    <a:pt x="41" y="74"/>
                  </a:lnTo>
                  <a:lnTo>
                    <a:pt x="41" y="72"/>
                  </a:lnTo>
                  <a:lnTo>
                    <a:pt x="39" y="72"/>
                  </a:lnTo>
                  <a:lnTo>
                    <a:pt x="41" y="70"/>
                  </a:lnTo>
                  <a:lnTo>
                    <a:pt x="39" y="70"/>
                  </a:lnTo>
                  <a:lnTo>
                    <a:pt x="41" y="68"/>
                  </a:lnTo>
                  <a:lnTo>
                    <a:pt x="43" y="67"/>
                  </a:lnTo>
                  <a:lnTo>
                    <a:pt x="44" y="65"/>
                  </a:lnTo>
                  <a:lnTo>
                    <a:pt x="46" y="65"/>
                  </a:lnTo>
                  <a:lnTo>
                    <a:pt x="48" y="67"/>
                  </a:lnTo>
                  <a:lnTo>
                    <a:pt x="51" y="67"/>
                  </a:lnTo>
                  <a:lnTo>
                    <a:pt x="53" y="68"/>
                  </a:lnTo>
                  <a:lnTo>
                    <a:pt x="55" y="70"/>
                  </a:lnTo>
                  <a:lnTo>
                    <a:pt x="56" y="72"/>
                  </a:lnTo>
                  <a:lnTo>
                    <a:pt x="58" y="74"/>
                  </a:lnTo>
                  <a:lnTo>
                    <a:pt x="60" y="75"/>
                  </a:lnTo>
                  <a:lnTo>
                    <a:pt x="61" y="75"/>
                  </a:lnTo>
                  <a:lnTo>
                    <a:pt x="63" y="79"/>
                  </a:lnTo>
                  <a:lnTo>
                    <a:pt x="65" y="77"/>
                  </a:lnTo>
                  <a:lnTo>
                    <a:pt x="67" y="79"/>
                  </a:lnTo>
                  <a:lnTo>
                    <a:pt x="70" y="80"/>
                  </a:lnTo>
                  <a:lnTo>
                    <a:pt x="70" y="82"/>
                  </a:lnTo>
                  <a:lnTo>
                    <a:pt x="73" y="82"/>
                  </a:lnTo>
                  <a:lnTo>
                    <a:pt x="75" y="82"/>
                  </a:lnTo>
                  <a:lnTo>
                    <a:pt x="78" y="82"/>
                  </a:lnTo>
                  <a:lnTo>
                    <a:pt x="82" y="80"/>
                  </a:lnTo>
                  <a:lnTo>
                    <a:pt x="84" y="80"/>
                  </a:lnTo>
                  <a:lnTo>
                    <a:pt x="85" y="80"/>
                  </a:lnTo>
                  <a:lnTo>
                    <a:pt x="89" y="79"/>
                  </a:lnTo>
                  <a:lnTo>
                    <a:pt x="90" y="80"/>
                  </a:lnTo>
                  <a:lnTo>
                    <a:pt x="92" y="80"/>
                  </a:lnTo>
                  <a:lnTo>
                    <a:pt x="94" y="80"/>
                  </a:lnTo>
                  <a:lnTo>
                    <a:pt x="95" y="80"/>
                  </a:lnTo>
                  <a:lnTo>
                    <a:pt x="97" y="80"/>
                  </a:lnTo>
                  <a:lnTo>
                    <a:pt x="101" y="79"/>
                  </a:lnTo>
                  <a:lnTo>
                    <a:pt x="102" y="79"/>
                  </a:lnTo>
                  <a:lnTo>
                    <a:pt x="104" y="77"/>
                  </a:lnTo>
                  <a:lnTo>
                    <a:pt x="106" y="77"/>
                  </a:lnTo>
                  <a:lnTo>
                    <a:pt x="107" y="77"/>
                  </a:lnTo>
                  <a:lnTo>
                    <a:pt x="109" y="77"/>
                  </a:lnTo>
                  <a:lnTo>
                    <a:pt x="111" y="77"/>
                  </a:lnTo>
                  <a:lnTo>
                    <a:pt x="112" y="77"/>
                  </a:lnTo>
                  <a:lnTo>
                    <a:pt x="114" y="77"/>
                  </a:lnTo>
                  <a:lnTo>
                    <a:pt x="116" y="75"/>
                  </a:lnTo>
                  <a:lnTo>
                    <a:pt x="118" y="74"/>
                  </a:lnTo>
                  <a:lnTo>
                    <a:pt x="118" y="72"/>
                  </a:lnTo>
                  <a:lnTo>
                    <a:pt x="121" y="70"/>
                  </a:lnTo>
                  <a:lnTo>
                    <a:pt x="123" y="72"/>
                  </a:lnTo>
                  <a:lnTo>
                    <a:pt x="123" y="70"/>
                  </a:lnTo>
                  <a:lnTo>
                    <a:pt x="121" y="68"/>
                  </a:lnTo>
                  <a:lnTo>
                    <a:pt x="119" y="68"/>
                  </a:lnTo>
                  <a:lnTo>
                    <a:pt x="118" y="67"/>
                  </a:lnTo>
                  <a:lnTo>
                    <a:pt x="118" y="65"/>
                  </a:lnTo>
                  <a:lnTo>
                    <a:pt x="119" y="62"/>
                  </a:lnTo>
                  <a:lnTo>
                    <a:pt x="118" y="60"/>
                  </a:lnTo>
                  <a:lnTo>
                    <a:pt x="121" y="58"/>
                  </a:lnTo>
                  <a:lnTo>
                    <a:pt x="121" y="57"/>
                  </a:lnTo>
                  <a:lnTo>
                    <a:pt x="119" y="57"/>
                  </a:lnTo>
                  <a:lnTo>
                    <a:pt x="121" y="55"/>
                  </a:lnTo>
                  <a:lnTo>
                    <a:pt x="123" y="53"/>
                  </a:lnTo>
                  <a:lnTo>
                    <a:pt x="124" y="55"/>
                  </a:lnTo>
                  <a:lnTo>
                    <a:pt x="126" y="53"/>
                  </a:lnTo>
                  <a:lnTo>
                    <a:pt x="128" y="53"/>
                  </a:lnTo>
                  <a:lnTo>
                    <a:pt x="129" y="51"/>
                  </a:lnTo>
                  <a:lnTo>
                    <a:pt x="131" y="53"/>
                  </a:lnTo>
                  <a:lnTo>
                    <a:pt x="131" y="51"/>
                  </a:lnTo>
                  <a:lnTo>
                    <a:pt x="135" y="51"/>
                  </a:lnTo>
                  <a:lnTo>
                    <a:pt x="136" y="51"/>
                  </a:lnTo>
                  <a:lnTo>
                    <a:pt x="138" y="51"/>
                  </a:lnTo>
                  <a:lnTo>
                    <a:pt x="140" y="51"/>
                  </a:lnTo>
                  <a:lnTo>
                    <a:pt x="140" y="50"/>
                  </a:lnTo>
                  <a:lnTo>
                    <a:pt x="141" y="50"/>
                  </a:lnTo>
                  <a:lnTo>
                    <a:pt x="145" y="50"/>
                  </a:lnTo>
                  <a:lnTo>
                    <a:pt x="146" y="48"/>
                  </a:lnTo>
                  <a:lnTo>
                    <a:pt x="146" y="50"/>
                  </a:lnTo>
                  <a:lnTo>
                    <a:pt x="148" y="48"/>
                  </a:lnTo>
                  <a:lnTo>
                    <a:pt x="150" y="48"/>
                  </a:lnTo>
                  <a:lnTo>
                    <a:pt x="150" y="46"/>
                  </a:lnTo>
                  <a:lnTo>
                    <a:pt x="150" y="45"/>
                  </a:lnTo>
                  <a:lnTo>
                    <a:pt x="152" y="45"/>
                  </a:lnTo>
                  <a:lnTo>
                    <a:pt x="150" y="43"/>
                  </a:lnTo>
                  <a:lnTo>
                    <a:pt x="152" y="40"/>
                  </a:lnTo>
                  <a:lnTo>
                    <a:pt x="153" y="40"/>
                  </a:lnTo>
                  <a:lnTo>
                    <a:pt x="155" y="38"/>
                  </a:lnTo>
                  <a:lnTo>
                    <a:pt x="155" y="36"/>
                  </a:lnTo>
                  <a:lnTo>
                    <a:pt x="158" y="36"/>
                  </a:lnTo>
                  <a:lnTo>
                    <a:pt x="158" y="40"/>
                  </a:lnTo>
                  <a:lnTo>
                    <a:pt x="162" y="38"/>
                  </a:lnTo>
                  <a:lnTo>
                    <a:pt x="163" y="40"/>
                  </a:lnTo>
                  <a:lnTo>
                    <a:pt x="163" y="41"/>
                  </a:lnTo>
                  <a:lnTo>
                    <a:pt x="165" y="41"/>
                  </a:lnTo>
                  <a:lnTo>
                    <a:pt x="167" y="41"/>
                  </a:lnTo>
                  <a:lnTo>
                    <a:pt x="167" y="40"/>
                  </a:lnTo>
                  <a:lnTo>
                    <a:pt x="169" y="40"/>
                  </a:lnTo>
                  <a:lnTo>
                    <a:pt x="170" y="41"/>
                  </a:lnTo>
                  <a:lnTo>
                    <a:pt x="169" y="43"/>
                  </a:lnTo>
                  <a:lnTo>
                    <a:pt x="170" y="43"/>
                  </a:lnTo>
                  <a:lnTo>
                    <a:pt x="172" y="40"/>
                  </a:lnTo>
                  <a:lnTo>
                    <a:pt x="175" y="40"/>
                  </a:lnTo>
                  <a:lnTo>
                    <a:pt x="177" y="38"/>
                  </a:lnTo>
                  <a:lnTo>
                    <a:pt x="177" y="36"/>
                  </a:lnTo>
                  <a:lnTo>
                    <a:pt x="179" y="34"/>
                  </a:lnTo>
                  <a:lnTo>
                    <a:pt x="179" y="33"/>
                  </a:lnTo>
                  <a:lnTo>
                    <a:pt x="180" y="33"/>
                  </a:lnTo>
                  <a:lnTo>
                    <a:pt x="182" y="33"/>
                  </a:lnTo>
                  <a:lnTo>
                    <a:pt x="184" y="31"/>
                  </a:lnTo>
                  <a:lnTo>
                    <a:pt x="186" y="31"/>
                  </a:lnTo>
                  <a:lnTo>
                    <a:pt x="187" y="29"/>
                  </a:lnTo>
                  <a:lnTo>
                    <a:pt x="187" y="28"/>
                  </a:lnTo>
                  <a:lnTo>
                    <a:pt x="189" y="26"/>
                  </a:lnTo>
                  <a:lnTo>
                    <a:pt x="191" y="23"/>
                  </a:lnTo>
                  <a:lnTo>
                    <a:pt x="191" y="19"/>
                  </a:lnTo>
                  <a:lnTo>
                    <a:pt x="192" y="17"/>
                  </a:lnTo>
                  <a:lnTo>
                    <a:pt x="192" y="16"/>
                  </a:lnTo>
                  <a:lnTo>
                    <a:pt x="194" y="14"/>
                  </a:lnTo>
                  <a:lnTo>
                    <a:pt x="192" y="11"/>
                  </a:lnTo>
                  <a:lnTo>
                    <a:pt x="194" y="11"/>
                  </a:lnTo>
                  <a:lnTo>
                    <a:pt x="196" y="11"/>
                  </a:lnTo>
                  <a:lnTo>
                    <a:pt x="197" y="11"/>
                  </a:lnTo>
                  <a:lnTo>
                    <a:pt x="199" y="9"/>
                  </a:lnTo>
                  <a:lnTo>
                    <a:pt x="199" y="7"/>
                  </a:lnTo>
                  <a:lnTo>
                    <a:pt x="203" y="7"/>
                  </a:lnTo>
                  <a:lnTo>
                    <a:pt x="206" y="6"/>
                  </a:lnTo>
                  <a:lnTo>
                    <a:pt x="208" y="6"/>
                  </a:lnTo>
                  <a:lnTo>
                    <a:pt x="209" y="7"/>
                  </a:lnTo>
                  <a:lnTo>
                    <a:pt x="211" y="6"/>
                  </a:lnTo>
                  <a:lnTo>
                    <a:pt x="214" y="7"/>
                  </a:lnTo>
                  <a:lnTo>
                    <a:pt x="214" y="9"/>
                  </a:lnTo>
                  <a:lnTo>
                    <a:pt x="216" y="7"/>
                  </a:lnTo>
                  <a:lnTo>
                    <a:pt x="220" y="7"/>
                  </a:lnTo>
                  <a:lnTo>
                    <a:pt x="221" y="9"/>
                  </a:lnTo>
                  <a:lnTo>
                    <a:pt x="223" y="7"/>
                  </a:lnTo>
                  <a:lnTo>
                    <a:pt x="226" y="6"/>
                  </a:lnTo>
                  <a:lnTo>
                    <a:pt x="228" y="6"/>
                  </a:lnTo>
                  <a:lnTo>
                    <a:pt x="230" y="6"/>
                  </a:lnTo>
                  <a:lnTo>
                    <a:pt x="230" y="4"/>
                  </a:lnTo>
                  <a:lnTo>
                    <a:pt x="233" y="4"/>
                  </a:lnTo>
                  <a:lnTo>
                    <a:pt x="233" y="2"/>
                  </a:lnTo>
                  <a:lnTo>
                    <a:pt x="235" y="2"/>
                  </a:lnTo>
                  <a:lnTo>
                    <a:pt x="235" y="0"/>
                  </a:lnTo>
                  <a:lnTo>
                    <a:pt x="237" y="2"/>
                  </a:lnTo>
                  <a:lnTo>
                    <a:pt x="238" y="2"/>
                  </a:lnTo>
                  <a:lnTo>
                    <a:pt x="240" y="2"/>
                  </a:lnTo>
                  <a:lnTo>
                    <a:pt x="240" y="4"/>
                  </a:lnTo>
                  <a:lnTo>
                    <a:pt x="242" y="6"/>
                  </a:lnTo>
                  <a:lnTo>
                    <a:pt x="243" y="4"/>
                  </a:lnTo>
                  <a:lnTo>
                    <a:pt x="245" y="6"/>
                  </a:lnTo>
                  <a:lnTo>
                    <a:pt x="245" y="7"/>
                  </a:lnTo>
                  <a:lnTo>
                    <a:pt x="245" y="9"/>
                  </a:lnTo>
                  <a:lnTo>
                    <a:pt x="248" y="11"/>
                  </a:lnTo>
                  <a:lnTo>
                    <a:pt x="248" y="12"/>
                  </a:lnTo>
                  <a:lnTo>
                    <a:pt x="250" y="12"/>
                  </a:lnTo>
                  <a:lnTo>
                    <a:pt x="252" y="16"/>
                  </a:lnTo>
                  <a:lnTo>
                    <a:pt x="254" y="16"/>
                  </a:lnTo>
                  <a:lnTo>
                    <a:pt x="255" y="16"/>
                  </a:lnTo>
                  <a:lnTo>
                    <a:pt x="257" y="12"/>
                  </a:lnTo>
                  <a:lnTo>
                    <a:pt x="257" y="14"/>
                  </a:lnTo>
                  <a:lnTo>
                    <a:pt x="259" y="12"/>
                  </a:lnTo>
                  <a:lnTo>
                    <a:pt x="260" y="12"/>
                  </a:lnTo>
                  <a:lnTo>
                    <a:pt x="260" y="11"/>
                  </a:lnTo>
                  <a:lnTo>
                    <a:pt x="262" y="11"/>
                  </a:lnTo>
                  <a:lnTo>
                    <a:pt x="264" y="9"/>
                  </a:lnTo>
                  <a:lnTo>
                    <a:pt x="265" y="11"/>
                  </a:lnTo>
                  <a:lnTo>
                    <a:pt x="267" y="9"/>
                  </a:lnTo>
                  <a:lnTo>
                    <a:pt x="267" y="11"/>
                  </a:lnTo>
                  <a:lnTo>
                    <a:pt x="269" y="9"/>
                  </a:lnTo>
                  <a:lnTo>
                    <a:pt x="271" y="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28" name="Freeform 59">
              <a:extLst>
                <a:ext uri="{FF2B5EF4-FFF2-40B4-BE49-F238E27FC236}">
                  <a16:creationId xmlns:a16="http://schemas.microsoft.com/office/drawing/2014/main" id="{CAE0224C-328B-43DF-860E-DCA1C66A86AE}"/>
                </a:ext>
              </a:extLst>
            </p:cNvPr>
            <p:cNvSpPr>
              <a:spLocks/>
            </p:cNvSpPr>
            <p:nvPr/>
          </p:nvSpPr>
          <p:spPr bwMode="gray">
            <a:xfrm>
              <a:off x="9850805" y="4384131"/>
              <a:ext cx="1389525" cy="1022146"/>
            </a:xfrm>
            <a:custGeom>
              <a:avLst/>
              <a:gdLst>
                <a:gd name="T0" fmla="*/ 415 w 469"/>
                <a:gd name="T1" fmla="*/ 184 h 345"/>
                <a:gd name="T2" fmla="*/ 430 w 469"/>
                <a:gd name="T3" fmla="*/ 173 h 345"/>
                <a:gd name="T4" fmla="*/ 454 w 469"/>
                <a:gd name="T5" fmla="*/ 160 h 345"/>
                <a:gd name="T6" fmla="*/ 469 w 469"/>
                <a:gd name="T7" fmla="*/ 175 h 345"/>
                <a:gd name="T8" fmla="*/ 469 w 469"/>
                <a:gd name="T9" fmla="*/ 201 h 345"/>
                <a:gd name="T10" fmla="*/ 454 w 469"/>
                <a:gd name="T11" fmla="*/ 206 h 345"/>
                <a:gd name="T12" fmla="*/ 440 w 469"/>
                <a:gd name="T13" fmla="*/ 226 h 345"/>
                <a:gd name="T14" fmla="*/ 432 w 469"/>
                <a:gd name="T15" fmla="*/ 247 h 345"/>
                <a:gd name="T16" fmla="*/ 437 w 469"/>
                <a:gd name="T17" fmla="*/ 258 h 345"/>
                <a:gd name="T18" fmla="*/ 439 w 469"/>
                <a:gd name="T19" fmla="*/ 275 h 345"/>
                <a:gd name="T20" fmla="*/ 433 w 469"/>
                <a:gd name="T21" fmla="*/ 289 h 345"/>
                <a:gd name="T22" fmla="*/ 406 w 469"/>
                <a:gd name="T23" fmla="*/ 281 h 345"/>
                <a:gd name="T24" fmla="*/ 388 w 469"/>
                <a:gd name="T25" fmla="*/ 281 h 345"/>
                <a:gd name="T26" fmla="*/ 359 w 469"/>
                <a:gd name="T27" fmla="*/ 279 h 345"/>
                <a:gd name="T28" fmla="*/ 333 w 469"/>
                <a:gd name="T29" fmla="*/ 291 h 345"/>
                <a:gd name="T30" fmla="*/ 313 w 469"/>
                <a:gd name="T31" fmla="*/ 303 h 345"/>
                <a:gd name="T32" fmla="*/ 296 w 469"/>
                <a:gd name="T33" fmla="*/ 326 h 345"/>
                <a:gd name="T34" fmla="*/ 265 w 469"/>
                <a:gd name="T35" fmla="*/ 332 h 345"/>
                <a:gd name="T36" fmla="*/ 236 w 469"/>
                <a:gd name="T37" fmla="*/ 333 h 345"/>
                <a:gd name="T38" fmla="*/ 209 w 469"/>
                <a:gd name="T39" fmla="*/ 340 h 345"/>
                <a:gd name="T40" fmla="*/ 173 w 469"/>
                <a:gd name="T41" fmla="*/ 338 h 345"/>
                <a:gd name="T42" fmla="*/ 153 w 469"/>
                <a:gd name="T43" fmla="*/ 335 h 345"/>
                <a:gd name="T44" fmla="*/ 141 w 469"/>
                <a:gd name="T45" fmla="*/ 320 h 345"/>
                <a:gd name="T46" fmla="*/ 131 w 469"/>
                <a:gd name="T47" fmla="*/ 299 h 345"/>
                <a:gd name="T48" fmla="*/ 127 w 469"/>
                <a:gd name="T49" fmla="*/ 289 h 345"/>
                <a:gd name="T50" fmla="*/ 110 w 469"/>
                <a:gd name="T51" fmla="*/ 306 h 345"/>
                <a:gd name="T52" fmla="*/ 88 w 469"/>
                <a:gd name="T53" fmla="*/ 296 h 345"/>
                <a:gd name="T54" fmla="*/ 66 w 469"/>
                <a:gd name="T55" fmla="*/ 287 h 345"/>
                <a:gd name="T56" fmla="*/ 68 w 469"/>
                <a:gd name="T57" fmla="*/ 272 h 345"/>
                <a:gd name="T58" fmla="*/ 58 w 469"/>
                <a:gd name="T59" fmla="*/ 258 h 345"/>
                <a:gd name="T60" fmla="*/ 37 w 469"/>
                <a:gd name="T61" fmla="*/ 248 h 345"/>
                <a:gd name="T62" fmla="*/ 31 w 469"/>
                <a:gd name="T63" fmla="*/ 228 h 345"/>
                <a:gd name="T64" fmla="*/ 14 w 469"/>
                <a:gd name="T65" fmla="*/ 218 h 345"/>
                <a:gd name="T66" fmla="*/ 5 w 469"/>
                <a:gd name="T67" fmla="*/ 202 h 345"/>
                <a:gd name="T68" fmla="*/ 24 w 469"/>
                <a:gd name="T69" fmla="*/ 196 h 345"/>
                <a:gd name="T70" fmla="*/ 42 w 469"/>
                <a:gd name="T71" fmla="*/ 185 h 345"/>
                <a:gd name="T72" fmla="*/ 44 w 469"/>
                <a:gd name="T73" fmla="*/ 165 h 345"/>
                <a:gd name="T74" fmla="*/ 56 w 469"/>
                <a:gd name="T75" fmla="*/ 144 h 345"/>
                <a:gd name="T76" fmla="*/ 63 w 469"/>
                <a:gd name="T77" fmla="*/ 124 h 345"/>
                <a:gd name="T78" fmla="*/ 70 w 469"/>
                <a:gd name="T79" fmla="*/ 100 h 345"/>
                <a:gd name="T80" fmla="*/ 80 w 469"/>
                <a:gd name="T81" fmla="*/ 76 h 345"/>
                <a:gd name="T82" fmla="*/ 100 w 469"/>
                <a:gd name="T83" fmla="*/ 63 h 345"/>
                <a:gd name="T84" fmla="*/ 114 w 469"/>
                <a:gd name="T85" fmla="*/ 44 h 345"/>
                <a:gd name="T86" fmla="*/ 134 w 469"/>
                <a:gd name="T87" fmla="*/ 49 h 345"/>
                <a:gd name="T88" fmla="*/ 158 w 469"/>
                <a:gd name="T89" fmla="*/ 48 h 345"/>
                <a:gd name="T90" fmla="*/ 178 w 469"/>
                <a:gd name="T91" fmla="*/ 42 h 345"/>
                <a:gd name="T92" fmla="*/ 202 w 469"/>
                <a:gd name="T93" fmla="*/ 54 h 345"/>
                <a:gd name="T94" fmla="*/ 219 w 469"/>
                <a:gd name="T95" fmla="*/ 37 h 345"/>
                <a:gd name="T96" fmla="*/ 245 w 469"/>
                <a:gd name="T97" fmla="*/ 29 h 345"/>
                <a:gd name="T98" fmla="*/ 263 w 469"/>
                <a:gd name="T99" fmla="*/ 8 h 345"/>
                <a:gd name="T100" fmla="*/ 277 w 469"/>
                <a:gd name="T101" fmla="*/ 2 h 345"/>
                <a:gd name="T102" fmla="*/ 289 w 469"/>
                <a:gd name="T103" fmla="*/ 7 h 345"/>
                <a:gd name="T104" fmla="*/ 301 w 469"/>
                <a:gd name="T105" fmla="*/ 17 h 345"/>
                <a:gd name="T106" fmla="*/ 308 w 469"/>
                <a:gd name="T107" fmla="*/ 32 h 345"/>
                <a:gd name="T108" fmla="*/ 325 w 469"/>
                <a:gd name="T109" fmla="*/ 44 h 345"/>
                <a:gd name="T110" fmla="*/ 337 w 469"/>
                <a:gd name="T111" fmla="*/ 54 h 345"/>
                <a:gd name="T112" fmla="*/ 352 w 469"/>
                <a:gd name="T113" fmla="*/ 68 h 345"/>
                <a:gd name="T114" fmla="*/ 362 w 469"/>
                <a:gd name="T115" fmla="*/ 82 h 345"/>
                <a:gd name="T116" fmla="*/ 374 w 469"/>
                <a:gd name="T117" fmla="*/ 100 h 345"/>
                <a:gd name="T118" fmla="*/ 374 w 469"/>
                <a:gd name="T119" fmla="*/ 117 h 345"/>
                <a:gd name="T120" fmla="*/ 376 w 469"/>
                <a:gd name="T121" fmla="*/ 134 h 345"/>
                <a:gd name="T122" fmla="*/ 384 w 469"/>
                <a:gd name="T123" fmla="*/ 158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9" h="345">
                  <a:moveTo>
                    <a:pt x="391" y="173"/>
                  </a:moveTo>
                  <a:lnTo>
                    <a:pt x="394" y="173"/>
                  </a:lnTo>
                  <a:lnTo>
                    <a:pt x="394" y="175"/>
                  </a:lnTo>
                  <a:lnTo>
                    <a:pt x="396" y="175"/>
                  </a:lnTo>
                  <a:lnTo>
                    <a:pt x="396" y="177"/>
                  </a:lnTo>
                  <a:lnTo>
                    <a:pt x="398" y="178"/>
                  </a:lnTo>
                  <a:lnTo>
                    <a:pt x="399" y="180"/>
                  </a:lnTo>
                  <a:lnTo>
                    <a:pt x="401" y="182"/>
                  </a:lnTo>
                  <a:lnTo>
                    <a:pt x="403" y="182"/>
                  </a:lnTo>
                  <a:lnTo>
                    <a:pt x="406" y="184"/>
                  </a:lnTo>
                  <a:lnTo>
                    <a:pt x="410" y="184"/>
                  </a:lnTo>
                  <a:lnTo>
                    <a:pt x="411" y="184"/>
                  </a:lnTo>
                  <a:lnTo>
                    <a:pt x="413" y="184"/>
                  </a:lnTo>
                  <a:lnTo>
                    <a:pt x="415" y="184"/>
                  </a:lnTo>
                  <a:lnTo>
                    <a:pt x="418" y="184"/>
                  </a:lnTo>
                  <a:lnTo>
                    <a:pt x="420" y="184"/>
                  </a:lnTo>
                  <a:lnTo>
                    <a:pt x="422" y="184"/>
                  </a:lnTo>
                  <a:lnTo>
                    <a:pt x="423" y="182"/>
                  </a:lnTo>
                  <a:lnTo>
                    <a:pt x="422" y="180"/>
                  </a:lnTo>
                  <a:lnTo>
                    <a:pt x="420" y="178"/>
                  </a:lnTo>
                  <a:lnTo>
                    <a:pt x="422" y="177"/>
                  </a:lnTo>
                  <a:lnTo>
                    <a:pt x="422" y="175"/>
                  </a:lnTo>
                  <a:lnTo>
                    <a:pt x="423" y="175"/>
                  </a:lnTo>
                  <a:lnTo>
                    <a:pt x="425" y="175"/>
                  </a:lnTo>
                  <a:lnTo>
                    <a:pt x="428" y="177"/>
                  </a:lnTo>
                  <a:lnTo>
                    <a:pt x="430" y="177"/>
                  </a:lnTo>
                  <a:lnTo>
                    <a:pt x="430" y="175"/>
                  </a:lnTo>
                  <a:lnTo>
                    <a:pt x="430" y="173"/>
                  </a:lnTo>
                  <a:lnTo>
                    <a:pt x="432" y="172"/>
                  </a:lnTo>
                  <a:lnTo>
                    <a:pt x="433" y="170"/>
                  </a:lnTo>
                  <a:lnTo>
                    <a:pt x="435" y="168"/>
                  </a:lnTo>
                  <a:lnTo>
                    <a:pt x="437" y="168"/>
                  </a:lnTo>
                  <a:lnTo>
                    <a:pt x="439" y="167"/>
                  </a:lnTo>
                  <a:lnTo>
                    <a:pt x="439" y="165"/>
                  </a:lnTo>
                  <a:lnTo>
                    <a:pt x="440" y="163"/>
                  </a:lnTo>
                  <a:lnTo>
                    <a:pt x="444" y="163"/>
                  </a:lnTo>
                  <a:lnTo>
                    <a:pt x="445" y="161"/>
                  </a:lnTo>
                  <a:lnTo>
                    <a:pt x="447" y="161"/>
                  </a:lnTo>
                  <a:lnTo>
                    <a:pt x="449" y="160"/>
                  </a:lnTo>
                  <a:lnTo>
                    <a:pt x="450" y="160"/>
                  </a:lnTo>
                  <a:lnTo>
                    <a:pt x="452" y="160"/>
                  </a:lnTo>
                  <a:lnTo>
                    <a:pt x="454" y="160"/>
                  </a:lnTo>
                  <a:lnTo>
                    <a:pt x="456" y="160"/>
                  </a:lnTo>
                  <a:lnTo>
                    <a:pt x="459" y="161"/>
                  </a:lnTo>
                  <a:lnTo>
                    <a:pt x="461" y="163"/>
                  </a:lnTo>
                  <a:lnTo>
                    <a:pt x="462" y="163"/>
                  </a:lnTo>
                  <a:lnTo>
                    <a:pt x="464" y="165"/>
                  </a:lnTo>
                  <a:lnTo>
                    <a:pt x="464" y="168"/>
                  </a:lnTo>
                  <a:lnTo>
                    <a:pt x="464" y="170"/>
                  </a:lnTo>
                  <a:lnTo>
                    <a:pt x="466" y="172"/>
                  </a:lnTo>
                  <a:lnTo>
                    <a:pt x="464" y="172"/>
                  </a:lnTo>
                  <a:lnTo>
                    <a:pt x="464" y="175"/>
                  </a:lnTo>
                  <a:lnTo>
                    <a:pt x="466" y="175"/>
                  </a:lnTo>
                  <a:lnTo>
                    <a:pt x="466" y="177"/>
                  </a:lnTo>
                  <a:lnTo>
                    <a:pt x="467" y="175"/>
                  </a:lnTo>
                  <a:lnTo>
                    <a:pt x="469" y="175"/>
                  </a:lnTo>
                  <a:lnTo>
                    <a:pt x="467" y="177"/>
                  </a:lnTo>
                  <a:lnTo>
                    <a:pt x="467" y="178"/>
                  </a:lnTo>
                  <a:lnTo>
                    <a:pt x="467" y="180"/>
                  </a:lnTo>
                  <a:lnTo>
                    <a:pt x="467" y="184"/>
                  </a:lnTo>
                  <a:lnTo>
                    <a:pt x="467" y="187"/>
                  </a:lnTo>
                  <a:lnTo>
                    <a:pt x="469" y="187"/>
                  </a:lnTo>
                  <a:lnTo>
                    <a:pt x="469" y="190"/>
                  </a:lnTo>
                  <a:lnTo>
                    <a:pt x="469" y="192"/>
                  </a:lnTo>
                  <a:lnTo>
                    <a:pt x="469" y="196"/>
                  </a:lnTo>
                  <a:lnTo>
                    <a:pt x="469" y="197"/>
                  </a:lnTo>
                  <a:lnTo>
                    <a:pt x="469" y="196"/>
                  </a:lnTo>
                  <a:lnTo>
                    <a:pt x="469" y="197"/>
                  </a:lnTo>
                  <a:lnTo>
                    <a:pt x="469" y="199"/>
                  </a:lnTo>
                  <a:lnTo>
                    <a:pt x="469" y="201"/>
                  </a:lnTo>
                  <a:lnTo>
                    <a:pt x="467" y="202"/>
                  </a:lnTo>
                  <a:lnTo>
                    <a:pt x="466" y="204"/>
                  </a:lnTo>
                  <a:lnTo>
                    <a:pt x="467" y="202"/>
                  </a:lnTo>
                  <a:lnTo>
                    <a:pt x="469" y="201"/>
                  </a:lnTo>
                  <a:lnTo>
                    <a:pt x="469" y="197"/>
                  </a:lnTo>
                  <a:lnTo>
                    <a:pt x="467" y="199"/>
                  </a:lnTo>
                  <a:lnTo>
                    <a:pt x="467" y="201"/>
                  </a:lnTo>
                  <a:lnTo>
                    <a:pt x="466" y="201"/>
                  </a:lnTo>
                  <a:lnTo>
                    <a:pt x="464" y="202"/>
                  </a:lnTo>
                  <a:lnTo>
                    <a:pt x="462" y="202"/>
                  </a:lnTo>
                  <a:lnTo>
                    <a:pt x="459" y="204"/>
                  </a:lnTo>
                  <a:lnTo>
                    <a:pt x="457" y="204"/>
                  </a:lnTo>
                  <a:lnTo>
                    <a:pt x="456" y="204"/>
                  </a:lnTo>
                  <a:lnTo>
                    <a:pt x="454" y="206"/>
                  </a:lnTo>
                  <a:lnTo>
                    <a:pt x="452" y="206"/>
                  </a:lnTo>
                  <a:lnTo>
                    <a:pt x="450" y="207"/>
                  </a:lnTo>
                  <a:lnTo>
                    <a:pt x="449" y="209"/>
                  </a:lnTo>
                  <a:lnTo>
                    <a:pt x="447" y="209"/>
                  </a:lnTo>
                  <a:lnTo>
                    <a:pt x="445" y="211"/>
                  </a:lnTo>
                  <a:lnTo>
                    <a:pt x="445" y="213"/>
                  </a:lnTo>
                  <a:lnTo>
                    <a:pt x="444" y="214"/>
                  </a:lnTo>
                  <a:lnTo>
                    <a:pt x="444" y="218"/>
                  </a:lnTo>
                  <a:lnTo>
                    <a:pt x="442" y="219"/>
                  </a:lnTo>
                  <a:lnTo>
                    <a:pt x="442" y="221"/>
                  </a:lnTo>
                  <a:lnTo>
                    <a:pt x="442" y="223"/>
                  </a:lnTo>
                  <a:lnTo>
                    <a:pt x="442" y="224"/>
                  </a:lnTo>
                  <a:lnTo>
                    <a:pt x="440" y="224"/>
                  </a:lnTo>
                  <a:lnTo>
                    <a:pt x="440" y="226"/>
                  </a:lnTo>
                  <a:lnTo>
                    <a:pt x="440" y="228"/>
                  </a:lnTo>
                  <a:lnTo>
                    <a:pt x="440" y="231"/>
                  </a:lnTo>
                  <a:lnTo>
                    <a:pt x="439" y="233"/>
                  </a:lnTo>
                  <a:lnTo>
                    <a:pt x="439" y="235"/>
                  </a:lnTo>
                  <a:lnTo>
                    <a:pt x="437" y="236"/>
                  </a:lnTo>
                  <a:lnTo>
                    <a:pt x="437" y="238"/>
                  </a:lnTo>
                  <a:lnTo>
                    <a:pt x="435" y="240"/>
                  </a:lnTo>
                  <a:lnTo>
                    <a:pt x="435" y="241"/>
                  </a:lnTo>
                  <a:lnTo>
                    <a:pt x="435" y="245"/>
                  </a:lnTo>
                  <a:lnTo>
                    <a:pt x="435" y="247"/>
                  </a:lnTo>
                  <a:lnTo>
                    <a:pt x="433" y="245"/>
                  </a:lnTo>
                  <a:lnTo>
                    <a:pt x="433" y="247"/>
                  </a:lnTo>
                  <a:lnTo>
                    <a:pt x="435" y="245"/>
                  </a:lnTo>
                  <a:lnTo>
                    <a:pt x="432" y="247"/>
                  </a:lnTo>
                  <a:lnTo>
                    <a:pt x="432" y="250"/>
                  </a:lnTo>
                  <a:lnTo>
                    <a:pt x="433" y="252"/>
                  </a:lnTo>
                  <a:lnTo>
                    <a:pt x="435" y="253"/>
                  </a:lnTo>
                  <a:lnTo>
                    <a:pt x="435" y="255"/>
                  </a:lnTo>
                  <a:lnTo>
                    <a:pt x="437" y="257"/>
                  </a:lnTo>
                  <a:lnTo>
                    <a:pt x="437" y="258"/>
                  </a:lnTo>
                  <a:lnTo>
                    <a:pt x="440" y="260"/>
                  </a:lnTo>
                  <a:lnTo>
                    <a:pt x="437" y="258"/>
                  </a:lnTo>
                  <a:lnTo>
                    <a:pt x="437" y="257"/>
                  </a:lnTo>
                  <a:lnTo>
                    <a:pt x="435" y="257"/>
                  </a:lnTo>
                  <a:lnTo>
                    <a:pt x="435" y="258"/>
                  </a:lnTo>
                  <a:lnTo>
                    <a:pt x="437" y="258"/>
                  </a:lnTo>
                  <a:lnTo>
                    <a:pt x="435" y="258"/>
                  </a:lnTo>
                  <a:lnTo>
                    <a:pt x="437" y="258"/>
                  </a:lnTo>
                  <a:lnTo>
                    <a:pt x="439" y="260"/>
                  </a:lnTo>
                  <a:lnTo>
                    <a:pt x="437" y="260"/>
                  </a:lnTo>
                  <a:lnTo>
                    <a:pt x="437" y="258"/>
                  </a:lnTo>
                  <a:lnTo>
                    <a:pt x="437" y="260"/>
                  </a:lnTo>
                  <a:lnTo>
                    <a:pt x="437" y="262"/>
                  </a:lnTo>
                  <a:lnTo>
                    <a:pt x="437" y="260"/>
                  </a:lnTo>
                  <a:lnTo>
                    <a:pt x="439" y="262"/>
                  </a:lnTo>
                  <a:lnTo>
                    <a:pt x="437" y="264"/>
                  </a:lnTo>
                  <a:lnTo>
                    <a:pt x="437" y="265"/>
                  </a:lnTo>
                  <a:lnTo>
                    <a:pt x="439" y="265"/>
                  </a:lnTo>
                  <a:lnTo>
                    <a:pt x="440" y="269"/>
                  </a:lnTo>
                  <a:lnTo>
                    <a:pt x="439" y="272"/>
                  </a:lnTo>
                  <a:lnTo>
                    <a:pt x="439" y="274"/>
                  </a:lnTo>
                  <a:lnTo>
                    <a:pt x="439" y="275"/>
                  </a:lnTo>
                  <a:lnTo>
                    <a:pt x="439" y="277"/>
                  </a:lnTo>
                  <a:lnTo>
                    <a:pt x="439" y="279"/>
                  </a:lnTo>
                  <a:lnTo>
                    <a:pt x="439" y="281"/>
                  </a:lnTo>
                  <a:lnTo>
                    <a:pt x="440" y="282"/>
                  </a:lnTo>
                  <a:lnTo>
                    <a:pt x="439" y="282"/>
                  </a:lnTo>
                  <a:lnTo>
                    <a:pt x="439" y="284"/>
                  </a:lnTo>
                  <a:lnTo>
                    <a:pt x="440" y="282"/>
                  </a:lnTo>
                  <a:lnTo>
                    <a:pt x="439" y="284"/>
                  </a:lnTo>
                  <a:lnTo>
                    <a:pt x="439" y="286"/>
                  </a:lnTo>
                  <a:lnTo>
                    <a:pt x="440" y="287"/>
                  </a:lnTo>
                  <a:lnTo>
                    <a:pt x="439" y="287"/>
                  </a:lnTo>
                  <a:lnTo>
                    <a:pt x="437" y="287"/>
                  </a:lnTo>
                  <a:lnTo>
                    <a:pt x="435" y="289"/>
                  </a:lnTo>
                  <a:lnTo>
                    <a:pt x="433" y="289"/>
                  </a:lnTo>
                  <a:lnTo>
                    <a:pt x="432" y="289"/>
                  </a:lnTo>
                  <a:lnTo>
                    <a:pt x="430" y="289"/>
                  </a:lnTo>
                  <a:lnTo>
                    <a:pt x="428" y="289"/>
                  </a:lnTo>
                  <a:lnTo>
                    <a:pt x="427" y="289"/>
                  </a:lnTo>
                  <a:lnTo>
                    <a:pt x="423" y="289"/>
                  </a:lnTo>
                  <a:lnTo>
                    <a:pt x="423" y="291"/>
                  </a:lnTo>
                  <a:lnTo>
                    <a:pt x="420" y="289"/>
                  </a:lnTo>
                  <a:lnTo>
                    <a:pt x="418" y="289"/>
                  </a:lnTo>
                  <a:lnTo>
                    <a:pt x="416" y="289"/>
                  </a:lnTo>
                  <a:lnTo>
                    <a:pt x="413" y="287"/>
                  </a:lnTo>
                  <a:lnTo>
                    <a:pt x="410" y="287"/>
                  </a:lnTo>
                  <a:lnTo>
                    <a:pt x="408" y="286"/>
                  </a:lnTo>
                  <a:lnTo>
                    <a:pt x="408" y="284"/>
                  </a:lnTo>
                  <a:lnTo>
                    <a:pt x="406" y="281"/>
                  </a:lnTo>
                  <a:lnTo>
                    <a:pt x="405" y="281"/>
                  </a:lnTo>
                  <a:lnTo>
                    <a:pt x="405" y="279"/>
                  </a:lnTo>
                  <a:lnTo>
                    <a:pt x="403" y="277"/>
                  </a:lnTo>
                  <a:lnTo>
                    <a:pt x="401" y="279"/>
                  </a:lnTo>
                  <a:lnTo>
                    <a:pt x="399" y="281"/>
                  </a:lnTo>
                  <a:lnTo>
                    <a:pt x="396" y="282"/>
                  </a:lnTo>
                  <a:lnTo>
                    <a:pt x="394" y="282"/>
                  </a:lnTo>
                  <a:lnTo>
                    <a:pt x="393" y="282"/>
                  </a:lnTo>
                  <a:lnTo>
                    <a:pt x="393" y="281"/>
                  </a:lnTo>
                  <a:lnTo>
                    <a:pt x="391" y="281"/>
                  </a:lnTo>
                  <a:lnTo>
                    <a:pt x="391" y="279"/>
                  </a:lnTo>
                  <a:lnTo>
                    <a:pt x="389" y="279"/>
                  </a:lnTo>
                  <a:lnTo>
                    <a:pt x="388" y="277"/>
                  </a:lnTo>
                  <a:lnTo>
                    <a:pt x="388" y="281"/>
                  </a:lnTo>
                  <a:lnTo>
                    <a:pt x="384" y="281"/>
                  </a:lnTo>
                  <a:lnTo>
                    <a:pt x="381" y="281"/>
                  </a:lnTo>
                  <a:lnTo>
                    <a:pt x="381" y="282"/>
                  </a:lnTo>
                  <a:lnTo>
                    <a:pt x="379" y="282"/>
                  </a:lnTo>
                  <a:lnTo>
                    <a:pt x="377" y="282"/>
                  </a:lnTo>
                  <a:lnTo>
                    <a:pt x="376" y="282"/>
                  </a:lnTo>
                  <a:lnTo>
                    <a:pt x="374" y="281"/>
                  </a:lnTo>
                  <a:lnTo>
                    <a:pt x="372" y="281"/>
                  </a:lnTo>
                  <a:lnTo>
                    <a:pt x="371" y="281"/>
                  </a:lnTo>
                  <a:lnTo>
                    <a:pt x="369" y="277"/>
                  </a:lnTo>
                  <a:lnTo>
                    <a:pt x="365" y="279"/>
                  </a:lnTo>
                  <a:lnTo>
                    <a:pt x="364" y="279"/>
                  </a:lnTo>
                  <a:lnTo>
                    <a:pt x="362" y="277"/>
                  </a:lnTo>
                  <a:lnTo>
                    <a:pt x="359" y="279"/>
                  </a:lnTo>
                  <a:lnTo>
                    <a:pt x="357" y="279"/>
                  </a:lnTo>
                  <a:lnTo>
                    <a:pt x="355" y="279"/>
                  </a:lnTo>
                  <a:lnTo>
                    <a:pt x="354" y="281"/>
                  </a:lnTo>
                  <a:lnTo>
                    <a:pt x="350" y="281"/>
                  </a:lnTo>
                  <a:lnTo>
                    <a:pt x="350" y="282"/>
                  </a:lnTo>
                  <a:lnTo>
                    <a:pt x="348" y="282"/>
                  </a:lnTo>
                  <a:lnTo>
                    <a:pt x="347" y="284"/>
                  </a:lnTo>
                  <a:lnTo>
                    <a:pt x="345" y="286"/>
                  </a:lnTo>
                  <a:lnTo>
                    <a:pt x="342" y="287"/>
                  </a:lnTo>
                  <a:lnTo>
                    <a:pt x="340" y="289"/>
                  </a:lnTo>
                  <a:lnTo>
                    <a:pt x="337" y="289"/>
                  </a:lnTo>
                  <a:lnTo>
                    <a:pt x="337" y="291"/>
                  </a:lnTo>
                  <a:lnTo>
                    <a:pt x="335" y="291"/>
                  </a:lnTo>
                  <a:lnTo>
                    <a:pt x="333" y="291"/>
                  </a:lnTo>
                  <a:lnTo>
                    <a:pt x="331" y="291"/>
                  </a:lnTo>
                  <a:lnTo>
                    <a:pt x="330" y="292"/>
                  </a:lnTo>
                  <a:lnTo>
                    <a:pt x="328" y="292"/>
                  </a:lnTo>
                  <a:lnTo>
                    <a:pt x="326" y="292"/>
                  </a:lnTo>
                  <a:lnTo>
                    <a:pt x="323" y="294"/>
                  </a:lnTo>
                  <a:lnTo>
                    <a:pt x="323" y="296"/>
                  </a:lnTo>
                  <a:lnTo>
                    <a:pt x="323" y="294"/>
                  </a:lnTo>
                  <a:lnTo>
                    <a:pt x="321" y="296"/>
                  </a:lnTo>
                  <a:lnTo>
                    <a:pt x="320" y="298"/>
                  </a:lnTo>
                  <a:lnTo>
                    <a:pt x="318" y="299"/>
                  </a:lnTo>
                  <a:lnTo>
                    <a:pt x="316" y="299"/>
                  </a:lnTo>
                  <a:lnTo>
                    <a:pt x="314" y="301"/>
                  </a:lnTo>
                  <a:lnTo>
                    <a:pt x="313" y="301"/>
                  </a:lnTo>
                  <a:lnTo>
                    <a:pt x="313" y="303"/>
                  </a:lnTo>
                  <a:lnTo>
                    <a:pt x="313" y="304"/>
                  </a:lnTo>
                  <a:lnTo>
                    <a:pt x="311" y="306"/>
                  </a:lnTo>
                  <a:lnTo>
                    <a:pt x="309" y="308"/>
                  </a:lnTo>
                  <a:lnTo>
                    <a:pt x="309" y="309"/>
                  </a:lnTo>
                  <a:lnTo>
                    <a:pt x="308" y="311"/>
                  </a:lnTo>
                  <a:lnTo>
                    <a:pt x="306" y="313"/>
                  </a:lnTo>
                  <a:lnTo>
                    <a:pt x="306" y="315"/>
                  </a:lnTo>
                  <a:lnTo>
                    <a:pt x="306" y="316"/>
                  </a:lnTo>
                  <a:lnTo>
                    <a:pt x="304" y="318"/>
                  </a:lnTo>
                  <a:lnTo>
                    <a:pt x="303" y="320"/>
                  </a:lnTo>
                  <a:lnTo>
                    <a:pt x="301" y="323"/>
                  </a:lnTo>
                  <a:lnTo>
                    <a:pt x="299" y="325"/>
                  </a:lnTo>
                  <a:lnTo>
                    <a:pt x="296" y="325"/>
                  </a:lnTo>
                  <a:lnTo>
                    <a:pt x="296" y="326"/>
                  </a:lnTo>
                  <a:lnTo>
                    <a:pt x="294" y="328"/>
                  </a:lnTo>
                  <a:lnTo>
                    <a:pt x="291" y="330"/>
                  </a:lnTo>
                  <a:lnTo>
                    <a:pt x="289" y="330"/>
                  </a:lnTo>
                  <a:lnTo>
                    <a:pt x="287" y="332"/>
                  </a:lnTo>
                  <a:lnTo>
                    <a:pt x="286" y="332"/>
                  </a:lnTo>
                  <a:lnTo>
                    <a:pt x="284" y="333"/>
                  </a:lnTo>
                  <a:lnTo>
                    <a:pt x="280" y="333"/>
                  </a:lnTo>
                  <a:lnTo>
                    <a:pt x="277" y="332"/>
                  </a:lnTo>
                  <a:lnTo>
                    <a:pt x="275" y="330"/>
                  </a:lnTo>
                  <a:lnTo>
                    <a:pt x="274" y="330"/>
                  </a:lnTo>
                  <a:lnTo>
                    <a:pt x="272" y="330"/>
                  </a:lnTo>
                  <a:lnTo>
                    <a:pt x="270" y="330"/>
                  </a:lnTo>
                  <a:lnTo>
                    <a:pt x="269" y="332"/>
                  </a:lnTo>
                  <a:lnTo>
                    <a:pt x="265" y="332"/>
                  </a:lnTo>
                  <a:lnTo>
                    <a:pt x="263" y="332"/>
                  </a:lnTo>
                  <a:lnTo>
                    <a:pt x="263" y="330"/>
                  </a:lnTo>
                  <a:lnTo>
                    <a:pt x="260" y="330"/>
                  </a:lnTo>
                  <a:lnTo>
                    <a:pt x="258" y="332"/>
                  </a:lnTo>
                  <a:lnTo>
                    <a:pt x="257" y="333"/>
                  </a:lnTo>
                  <a:lnTo>
                    <a:pt x="253" y="333"/>
                  </a:lnTo>
                  <a:lnTo>
                    <a:pt x="252" y="333"/>
                  </a:lnTo>
                  <a:lnTo>
                    <a:pt x="250" y="335"/>
                  </a:lnTo>
                  <a:lnTo>
                    <a:pt x="248" y="335"/>
                  </a:lnTo>
                  <a:lnTo>
                    <a:pt x="246" y="335"/>
                  </a:lnTo>
                  <a:lnTo>
                    <a:pt x="243" y="333"/>
                  </a:lnTo>
                  <a:lnTo>
                    <a:pt x="241" y="333"/>
                  </a:lnTo>
                  <a:lnTo>
                    <a:pt x="238" y="333"/>
                  </a:lnTo>
                  <a:lnTo>
                    <a:pt x="236" y="333"/>
                  </a:lnTo>
                  <a:lnTo>
                    <a:pt x="235" y="335"/>
                  </a:lnTo>
                  <a:lnTo>
                    <a:pt x="233" y="335"/>
                  </a:lnTo>
                  <a:lnTo>
                    <a:pt x="231" y="337"/>
                  </a:lnTo>
                  <a:lnTo>
                    <a:pt x="229" y="338"/>
                  </a:lnTo>
                  <a:lnTo>
                    <a:pt x="228" y="338"/>
                  </a:lnTo>
                  <a:lnTo>
                    <a:pt x="226" y="340"/>
                  </a:lnTo>
                  <a:lnTo>
                    <a:pt x="224" y="340"/>
                  </a:lnTo>
                  <a:lnTo>
                    <a:pt x="221" y="342"/>
                  </a:lnTo>
                  <a:lnTo>
                    <a:pt x="219" y="342"/>
                  </a:lnTo>
                  <a:lnTo>
                    <a:pt x="218" y="342"/>
                  </a:lnTo>
                  <a:lnTo>
                    <a:pt x="216" y="340"/>
                  </a:lnTo>
                  <a:lnTo>
                    <a:pt x="212" y="340"/>
                  </a:lnTo>
                  <a:lnTo>
                    <a:pt x="211" y="340"/>
                  </a:lnTo>
                  <a:lnTo>
                    <a:pt x="209" y="340"/>
                  </a:lnTo>
                  <a:lnTo>
                    <a:pt x="207" y="340"/>
                  </a:lnTo>
                  <a:lnTo>
                    <a:pt x="206" y="340"/>
                  </a:lnTo>
                  <a:lnTo>
                    <a:pt x="202" y="338"/>
                  </a:lnTo>
                  <a:lnTo>
                    <a:pt x="199" y="338"/>
                  </a:lnTo>
                  <a:lnTo>
                    <a:pt x="195" y="338"/>
                  </a:lnTo>
                  <a:lnTo>
                    <a:pt x="192" y="340"/>
                  </a:lnTo>
                  <a:lnTo>
                    <a:pt x="190" y="340"/>
                  </a:lnTo>
                  <a:lnTo>
                    <a:pt x="189" y="338"/>
                  </a:lnTo>
                  <a:lnTo>
                    <a:pt x="185" y="338"/>
                  </a:lnTo>
                  <a:lnTo>
                    <a:pt x="184" y="338"/>
                  </a:lnTo>
                  <a:lnTo>
                    <a:pt x="182" y="337"/>
                  </a:lnTo>
                  <a:lnTo>
                    <a:pt x="178" y="338"/>
                  </a:lnTo>
                  <a:lnTo>
                    <a:pt x="177" y="338"/>
                  </a:lnTo>
                  <a:lnTo>
                    <a:pt x="173" y="338"/>
                  </a:lnTo>
                  <a:lnTo>
                    <a:pt x="172" y="340"/>
                  </a:lnTo>
                  <a:lnTo>
                    <a:pt x="170" y="342"/>
                  </a:lnTo>
                  <a:lnTo>
                    <a:pt x="168" y="344"/>
                  </a:lnTo>
                  <a:lnTo>
                    <a:pt x="165" y="344"/>
                  </a:lnTo>
                  <a:lnTo>
                    <a:pt x="163" y="345"/>
                  </a:lnTo>
                  <a:lnTo>
                    <a:pt x="163" y="344"/>
                  </a:lnTo>
                  <a:lnTo>
                    <a:pt x="160" y="344"/>
                  </a:lnTo>
                  <a:lnTo>
                    <a:pt x="158" y="344"/>
                  </a:lnTo>
                  <a:lnTo>
                    <a:pt x="156" y="344"/>
                  </a:lnTo>
                  <a:lnTo>
                    <a:pt x="155" y="344"/>
                  </a:lnTo>
                  <a:lnTo>
                    <a:pt x="153" y="342"/>
                  </a:lnTo>
                  <a:lnTo>
                    <a:pt x="151" y="340"/>
                  </a:lnTo>
                  <a:lnTo>
                    <a:pt x="153" y="337"/>
                  </a:lnTo>
                  <a:lnTo>
                    <a:pt x="153" y="335"/>
                  </a:lnTo>
                  <a:lnTo>
                    <a:pt x="153" y="333"/>
                  </a:lnTo>
                  <a:lnTo>
                    <a:pt x="155" y="332"/>
                  </a:lnTo>
                  <a:lnTo>
                    <a:pt x="158" y="330"/>
                  </a:lnTo>
                  <a:lnTo>
                    <a:pt x="160" y="326"/>
                  </a:lnTo>
                  <a:lnTo>
                    <a:pt x="158" y="325"/>
                  </a:lnTo>
                  <a:lnTo>
                    <a:pt x="156" y="325"/>
                  </a:lnTo>
                  <a:lnTo>
                    <a:pt x="155" y="325"/>
                  </a:lnTo>
                  <a:lnTo>
                    <a:pt x="153" y="325"/>
                  </a:lnTo>
                  <a:lnTo>
                    <a:pt x="151" y="323"/>
                  </a:lnTo>
                  <a:lnTo>
                    <a:pt x="150" y="321"/>
                  </a:lnTo>
                  <a:lnTo>
                    <a:pt x="148" y="321"/>
                  </a:lnTo>
                  <a:lnTo>
                    <a:pt x="146" y="321"/>
                  </a:lnTo>
                  <a:lnTo>
                    <a:pt x="143" y="320"/>
                  </a:lnTo>
                  <a:lnTo>
                    <a:pt x="141" y="320"/>
                  </a:lnTo>
                  <a:lnTo>
                    <a:pt x="139" y="318"/>
                  </a:lnTo>
                  <a:lnTo>
                    <a:pt x="139" y="316"/>
                  </a:lnTo>
                  <a:lnTo>
                    <a:pt x="139" y="315"/>
                  </a:lnTo>
                  <a:lnTo>
                    <a:pt x="138" y="313"/>
                  </a:lnTo>
                  <a:lnTo>
                    <a:pt x="136" y="315"/>
                  </a:lnTo>
                  <a:lnTo>
                    <a:pt x="133" y="313"/>
                  </a:lnTo>
                  <a:lnTo>
                    <a:pt x="131" y="311"/>
                  </a:lnTo>
                  <a:lnTo>
                    <a:pt x="129" y="309"/>
                  </a:lnTo>
                  <a:lnTo>
                    <a:pt x="129" y="306"/>
                  </a:lnTo>
                  <a:lnTo>
                    <a:pt x="126" y="304"/>
                  </a:lnTo>
                  <a:lnTo>
                    <a:pt x="126" y="303"/>
                  </a:lnTo>
                  <a:lnTo>
                    <a:pt x="129" y="303"/>
                  </a:lnTo>
                  <a:lnTo>
                    <a:pt x="131" y="301"/>
                  </a:lnTo>
                  <a:lnTo>
                    <a:pt x="131" y="299"/>
                  </a:lnTo>
                  <a:lnTo>
                    <a:pt x="131" y="298"/>
                  </a:lnTo>
                  <a:lnTo>
                    <a:pt x="131" y="296"/>
                  </a:lnTo>
                  <a:lnTo>
                    <a:pt x="133" y="296"/>
                  </a:lnTo>
                  <a:lnTo>
                    <a:pt x="134" y="296"/>
                  </a:lnTo>
                  <a:lnTo>
                    <a:pt x="136" y="298"/>
                  </a:lnTo>
                  <a:lnTo>
                    <a:pt x="138" y="298"/>
                  </a:lnTo>
                  <a:lnTo>
                    <a:pt x="139" y="296"/>
                  </a:lnTo>
                  <a:lnTo>
                    <a:pt x="139" y="294"/>
                  </a:lnTo>
                  <a:lnTo>
                    <a:pt x="136" y="291"/>
                  </a:lnTo>
                  <a:lnTo>
                    <a:pt x="134" y="291"/>
                  </a:lnTo>
                  <a:lnTo>
                    <a:pt x="133" y="291"/>
                  </a:lnTo>
                  <a:lnTo>
                    <a:pt x="129" y="291"/>
                  </a:lnTo>
                  <a:lnTo>
                    <a:pt x="129" y="289"/>
                  </a:lnTo>
                  <a:lnTo>
                    <a:pt x="127" y="289"/>
                  </a:lnTo>
                  <a:lnTo>
                    <a:pt x="126" y="287"/>
                  </a:lnTo>
                  <a:lnTo>
                    <a:pt x="124" y="286"/>
                  </a:lnTo>
                  <a:lnTo>
                    <a:pt x="121" y="286"/>
                  </a:lnTo>
                  <a:lnTo>
                    <a:pt x="121" y="287"/>
                  </a:lnTo>
                  <a:lnTo>
                    <a:pt x="119" y="289"/>
                  </a:lnTo>
                  <a:lnTo>
                    <a:pt x="117" y="289"/>
                  </a:lnTo>
                  <a:lnTo>
                    <a:pt x="116" y="292"/>
                  </a:lnTo>
                  <a:lnTo>
                    <a:pt x="116" y="294"/>
                  </a:lnTo>
                  <a:lnTo>
                    <a:pt x="114" y="296"/>
                  </a:lnTo>
                  <a:lnTo>
                    <a:pt x="114" y="299"/>
                  </a:lnTo>
                  <a:lnTo>
                    <a:pt x="112" y="301"/>
                  </a:lnTo>
                  <a:lnTo>
                    <a:pt x="112" y="303"/>
                  </a:lnTo>
                  <a:lnTo>
                    <a:pt x="112" y="304"/>
                  </a:lnTo>
                  <a:lnTo>
                    <a:pt x="110" y="306"/>
                  </a:lnTo>
                  <a:lnTo>
                    <a:pt x="107" y="304"/>
                  </a:lnTo>
                  <a:lnTo>
                    <a:pt x="105" y="303"/>
                  </a:lnTo>
                  <a:lnTo>
                    <a:pt x="104" y="301"/>
                  </a:lnTo>
                  <a:lnTo>
                    <a:pt x="104" y="299"/>
                  </a:lnTo>
                  <a:lnTo>
                    <a:pt x="104" y="298"/>
                  </a:lnTo>
                  <a:lnTo>
                    <a:pt x="102" y="298"/>
                  </a:lnTo>
                  <a:lnTo>
                    <a:pt x="100" y="296"/>
                  </a:lnTo>
                  <a:lnTo>
                    <a:pt x="99" y="296"/>
                  </a:lnTo>
                  <a:lnTo>
                    <a:pt x="97" y="296"/>
                  </a:lnTo>
                  <a:lnTo>
                    <a:pt x="95" y="296"/>
                  </a:lnTo>
                  <a:lnTo>
                    <a:pt x="93" y="296"/>
                  </a:lnTo>
                  <a:lnTo>
                    <a:pt x="92" y="296"/>
                  </a:lnTo>
                  <a:lnTo>
                    <a:pt x="90" y="296"/>
                  </a:lnTo>
                  <a:lnTo>
                    <a:pt x="88" y="296"/>
                  </a:lnTo>
                  <a:lnTo>
                    <a:pt x="87" y="296"/>
                  </a:lnTo>
                  <a:lnTo>
                    <a:pt x="85" y="296"/>
                  </a:lnTo>
                  <a:lnTo>
                    <a:pt x="83" y="296"/>
                  </a:lnTo>
                  <a:lnTo>
                    <a:pt x="82" y="296"/>
                  </a:lnTo>
                  <a:lnTo>
                    <a:pt x="82" y="294"/>
                  </a:lnTo>
                  <a:lnTo>
                    <a:pt x="82" y="292"/>
                  </a:lnTo>
                  <a:lnTo>
                    <a:pt x="80" y="291"/>
                  </a:lnTo>
                  <a:lnTo>
                    <a:pt x="76" y="289"/>
                  </a:lnTo>
                  <a:lnTo>
                    <a:pt x="75" y="289"/>
                  </a:lnTo>
                  <a:lnTo>
                    <a:pt x="73" y="289"/>
                  </a:lnTo>
                  <a:lnTo>
                    <a:pt x="71" y="291"/>
                  </a:lnTo>
                  <a:lnTo>
                    <a:pt x="70" y="291"/>
                  </a:lnTo>
                  <a:lnTo>
                    <a:pt x="68" y="289"/>
                  </a:lnTo>
                  <a:lnTo>
                    <a:pt x="66" y="287"/>
                  </a:lnTo>
                  <a:lnTo>
                    <a:pt x="68" y="284"/>
                  </a:lnTo>
                  <a:lnTo>
                    <a:pt x="70" y="284"/>
                  </a:lnTo>
                  <a:lnTo>
                    <a:pt x="71" y="284"/>
                  </a:lnTo>
                  <a:lnTo>
                    <a:pt x="73" y="284"/>
                  </a:lnTo>
                  <a:lnTo>
                    <a:pt x="75" y="282"/>
                  </a:lnTo>
                  <a:lnTo>
                    <a:pt x="76" y="281"/>
                  </a:lnTo>
                  <a:lnTo>
                    <a:pt x="75" y="279"/>
                  </a:lnTo>
                  <a:lnTo>
                    <a:pt x="73" y="279"/>
                  </a:lnTo>
                  <a:lnTo>
                    <a:pt x="71" y="277"/>
                  </a:lnTo>
                  <a:lnTo>
                    <a:pt x="70" y="277"/>
                  </a:lnTo>
                  <a:lnTo>
                    <a:pt x="68" y="275"/>
                  </a:lnTo>
                  <a:lnTo>
                    <a:pt x="66" y="275"/>
                  </a:lnTo>
                  <a:lnTo>
                    <a:pt x="65" y="274"/>
                  </a:lnTo>
                  <a:lnTo>
                    <a:pt x="68" y="272"/>
                  </a:lnTo>
                  <a:lnTo>
                    <a:pt x="70" y="272"/>
                  </a:lnTo>
                  <a:lnTo>
                    <a:pt x="70" y="270"/>
                  </a:lnTo>
                  <a:lnTo>
                    <a:pt x="70" y="267"/>
                  </a:lnTo>
                  <a:lnTo>
                    <a:pt x="70" y="265"/>
                  </a:lnTo>
                  <a:lnTo>
                    <a:pt x="71" y="264"/>
                  </a:lnTo>
                  <a:lnTo>
                    <a:pt x="71" y="262"/>
                  </a:lnTo>
                  <a:lnTo>
                    <a:pt x="70" y="260"/>
                  </a:lnTo>
                  <a:lnTo>
                    <a:pt x="66" y="260"/>
                  </a:lnTo>
                  <a:lnTo>
                    <a:pt x="65" y="258"/>
                  </a:lnTo>
                  <a:lnTo>
                    <a:pt x="63" y="260"/>
                  </a:lnTo>
                  <a:lnTo>
                    <a:pt x="61" y="258"/>
                  </a:lnTo>
                  <a:lnTo>
                    <a:pt x="59" y="258"/>
                  </a:lnTo>
                  <a:lnTo>
                    <a:pt x="59" y="260"/>
                  </a:lnTo>
                  <a:lnTo>
                    <a:pt x="58" y="258"/>
                  </a:lnTo>
                  <a:lnTo>
                    <a:pt x="56" y="258"/>
                  </a:lnTo>
                  <a:lnTo>
                    <a:pt x="54" y="258"/>
                  </a:lnTo>
                  <a:lnTo>
                    <a:pt x="54" y="257"/>
                  </a:lnTo>
                  <a:lnTo>
                    <a:pt x="53" y="253"/>
                  </a:lnTo>
                  <a:lnTo>
                    <a:pt x="51" y="255"/>
                  </a:lnTo>
                  <a:lnTo>
                    <a:pt x="49" y="257"/>
                  </a:lnTo>
                  <a:lnTo>
                    <a:pt x="48" y="255"/>
                  </a:lnTo>
                  <a:lnTo>
                    <a:pt x="44" y="255"/>
                  </a:lnTo>
                  <a:lnTo>
                    <a:pt x="44" y="253"/>
                  </a:lnTo>
                  <a:lnTo>
                    <a:pt x="42" y="253"/>
                  </a:lnTo>
                  <a:lnTo>
                    <a:pt x="41" y="252"/>
                  </a:lnTo>
                  <a:lnTo>
                    <a:pt x="39" y="250"/>
                  </a:lnTo>
                  <a:lnTo>
                    <a:pt x="36" y="248"/>
                  </a:lnTo>
                  <a:lnTo>
                    <a:pt x="37" y="248"/>
                  </a:lnTo>
                  <a:lnTo>
                    <a:pt x="36" y="247"/>
                  </a:lnTo>
                  <a:lnTo>
                    <a:pt x="34" y="247"/>
                  </a:lnTo>
                  <a:lnTo>
                    <a:pt x="31" y="247"/>
                  </a:lnTo>
                  <a:lnTo>
                    <a:pt x="31" y="245"/>
                  </a:lnTo>
                  <a:lnTo>
                    <a:pt x="32" y="243"/>
                  </a:lnTo>
                  <a:lnTo>
                    <a:pt x="34" y="241"/>
                  </a:lnTo>
                  <a:lnTo>
                    <a:pt x="32" y="240"/>
                  </a:lnTo>
                  <a:lnTo>
                    <a:pt x="31" y="238"/>
                  </a:lnTo>
                  <a:lnTo>
                    <a:pt x="31" y="240"/>
                  </a:lnTo>
                  <a:lnTo>
                    <a:pt x="29" y="236"/>
                  </a:lnTo>
                  <a:lnTo>
                    <a:pt x="31" y="235"/>
                  </a:lnTo>
                  <a:lnTo>
                    <a:pt x="31" y="233"/>
                  </a:lnTo>
                  <a:lnTo>
                    <a:pt x="31" y="231"/>
                  </a:lnTo>
                  <a:lnTo>
                    <a:pt x="31" y="228"/>
                  </a:lnTo>
                  <a:lnTo>
                    <a:pt x="31" y="224"/>
                  </a:lnTo>
                  <a:lnTo>
                    <a:pt x="29" y="224"/>
                  </a:lnTo>
                  <a:lnTo>
                    <a:pt x="29" y="228"/>
                  </a:lnTo>
                  <a:lnTo>
                    <a:pt x="27" y="228"/>
                  </a:lnTo>
                  <a:lnTo>
                    <a:pt x="25" y="228"/>
                  </a:lnTo>
                  <a:lnTo>
                    <a:pt x="24" y="228"/>
                  </a:lnTo>
                  <a:lnTo>
                    <a:pt x="24" y="224"/>
                  </a:lnTo>
                  <a:lnTo>
                    <a:pt x="22" y="224"/>
                  </a:lnTo>
                  <a:lnTo>
                    <a:pt x="22" y="223"/>
                  </a:lnTo>
                  <a:lnTo>
                    <a:pt x="20" y="221"/>
                  </a:lnTo>
                  <a:lnTo>
                    <a:pt x="19" y="221"/>
                  </a:lnTo>
                  <a:lnTo>
                    <a:pt x="17" y="218"/>
                  </a:lnTo>
                  <a:lnTo>
                    <a:pt x="15" y="219"/>
                  </a:lnTo>
                  <a:lnTo>
                    <a:pt x="14" y="218"/>
                  </a:lnTo>
                  <a:lnTo>
                    <a:pt x="12" y="216"/>
                  </a:lnTo>
                  <a:lnTo>
                    <a:pt x="10" y="214"/>
                  </a:lnTo>
                  <a:lnTo>
                    <a:pt x="8" y="214"/>
                  </a:lnTo>
                  <a:lnTo>
                    <a:pt x="5" y="213"/>
                  </a:lnTo>
                  <a:lnTo>
                    <a:pt x="5" y="209"/>
                  </a:lnTo>
                  <a:lnTo>
                    <a:pt x="3" y="207"/>
                  </a:lnTo>
                  <a:lnTo>
                    <a:pt x="2" y="207"/>
                  </a:lnTo>
                  <a:lnTo>
                    <a:pt x="0" y="207"/>
                  </a:lnTo>
                  <a:lnTo>
                    <a:pt x="0" y="206"/>
                  </a:lnTo>
                  <a:lnTo>
                    <a:pt x="2" y="206"/>
                  </a:lnTo>
                  <a:lnTo>
                    <a:pt x="0" y="204"/>
                  </a:lnTo>
                  <a:lnTo>
                    <a:pt x="2" y="202"/>
                  </a:lnTo>
                  <a:lnTo>
                    <a:pt x="3" y="201"/>
                  </a:lnTo>
                  <a:lnTo>
                    <a:pt x="5" y="202"/>
                  </a:lnTo>
                  <a:lnTo>
                    <a:pt x="7" y="202"/>
                  </a:lnTo>
                  <a:lnTo>
                    <a:pt x="8" y="202"/>
                  </a:lnTo>
                  <a:lnTo>
                    <a:pt x="10" y="202"/>
                  </a:lnTo>
                  <a:lnTo>
                    <a:pt x="10" y="201"/>
                  </a:lnTo>
                  <a:lnTo>
                    <a:pt x="10" y="199"/>
                  </a:lnTo>
                  <a:lnTo>
                    <a:pt x="14" y="199"/>
                  </a:lnTo>
                  <a:lnTo>
                    <a:pt x="15" y="201"/>
                  </a:lnTo>
                  <a:lnTo>
                    <a:pt x="17" y="201"/>
                  </a:lnTo>
                  <a:lnTo>
                    <a:pt x="19" y="202"/>
                  </a:lnTo>
                  <a:lnTo>
                    <a:pt x="19" y="201"/>
                  </a:lnTo>
                  <a:lnTo>
                    <a:pt x="20" y="201"/>
                  </a:lnTo>
                  <a:lnTo>
                    <a:pt x="22" y="199"/>
                  </a:lnTo>
                  <a:lnTo>
                    <a:pt x="22" y="196"/>
                  </a:lnTo>
                  <a:lnTo>
                    <a:pt x="24" y="196"/>
                  </a:lnTo>
                  <a:lnTo>
                    <a:pt x="22" y="192"/>
                  </a:lnTo>
                  <a:lnTo>
                    <a:pt x="24" y="190"/>
                  </a:lnTo>
                  <a:lnTo>
                    <a:pt x="25" y="190"/>
                  </a:lnTo>
                  <a:lnTo>
                    <a:pt x="27" y="189"/>
                  </a:lnTo>
                  <a:lnTo>
                    <a:pt x="31" y="190"/>
                  </a:lnTo>
                  <a:lnTo>
                    <a:pt x="31" y="189"/>
                  </a:lnTo>
                  <a:lnTo>
                    <a:pt x="32" y="190"/>
                  </a:lnTo>
                  <a:lnTo>
                    <a:pt x="34" y="190"/>
                  </a:lnTo>
                  <a:lnTo>
                    <a:pt x="36" y="190"/>
                  </a:lnTo>
                  <a:lnTo>
                    <a:pt x="37" y="190"/>
                  </a:lnTo>
                  <a:lnTo>
                    <a:pt x="39" y="189"/>
                  </a:lnTo>
                  <a:lnTo>
                    <a:pt x="39" y="187"/>
                  </a:lnTo>
                  <a:lnTo>
                    <a:pt x="42" y="187"/>
                  </a:lnTo>
                  <a:lnTo>
                    <a:pt x="42" y="185"/>
                  </a:lnTo>
                  <a:lnTo>
                    <a:pt x="42" y="184"/>
                  </a:lnTo>
                  <a:lnTo>
                    <a:pt x="42" y="182"/>
                  </a:lnTo>
                  <a:lnTo>
                    <a:pt x="42" y="180"/>
                  </a:lnTo>
                  <a:lnTo>
                    <a:pt x="42" y="178"/>
                  </a:lnTo>
                  <a:lnTo>
                    <a:pt x="46" y="178"/>
                  </a:lnTo>
                  <a:lnTo>
                    <a:pt x="48" y="178"/>
                  </a:lnTo>
                  <a:lnTo>
                    <a:pt x="46" y="177"/>
                  </a:lnTo>
                  <a:lnTo>
                    <a:pt x="48" y="175"/>
                  </a:lnTo>
                  <a:lnTo>
                    <a:pt x="46" y="173"/>
                  </a:lnTo>
                  <a:lnTo>
                    <a:pt x="44" y="173"/>
                  </a:lnTo>
                  <a:lnTo>
                    <a:pt x="44" y="172"/>
                  </a:lnTo>
                  <a:lnTo>
                    <a:pt x="44" y="168"/>
                  </a:lnTo>
                  <a:lnTo>
                    <a:pt x="46" y="165"/>
                  </a:lnTo>
                  <a:lnTo>
                    <a:pt x="44" y="165"/>
                  </a:lnTo>
                  <a:lnTo>
                    <a:pt x="46" y="163"/>
                  </a:lnTo>
                  <a:lnTo>
                    <a:pt x="48" y="161"/>
                  </a:lnTo>
                  <a:lnTo>
                    <a:pt x="49" y="161"/>
                  </a:lnTo>
                  <a:lnTo>
                    <a:pt x="49" y="160"/>
                  </a:lnTo>
                  <a:lnTo>
                    <a:pt x="51" y="160"/>
                  </a:lnTo>
                  <a:lnTo>
                    <a:pt x="49" y="156"/>
                  </a:lnTo>
                  <a:lnTo>
                    <a:pt x="53" y="156"/>
                  </a:lnTo>
                  <a:lnTo>
                    <a:pt x="54" y="155"/>
                  </a:lnTo>
                  <a:lnTo>
                    <a:pt x="54" y="153"/>
                  </a:lnTo>
                  <a:lnTo>
                    <a:pt x="51" y="151"/>
                  </a:lnTo>
                  <a:lnTo>
                    <a:pt x="53" y="150"/>
                  </a:lnTo>
                  <a:lnTo>
                    <a:pt x="53" y="146"/>
                  </a:lnTo>
                  <a:lnTo>
                    <a:pt x="54" y="144"/>
                  </a:lnTo>
                  <a:lnTo>
                    <a:pt x="56" y="144"/>
                  </a:lnTo>
                  <a:lnTo>
                    <a:pt x="56" y="143"/>
                  </a:lnTo>
                  <a:lnTo>
                    <a:pt x="56" y="139"/>
                  </a:lnTo>
                  <a:lnTo>
                    <a:pt x="58" y="139"/>
                  </a:lnTo>
                  <a:lnTo>
                    <a:pt x="59" y="136"/>
                  </a:lnTo>
                  <a:lnTo>
                    <a:pt x="58" y="136"/>
                  </a:lnTo>
                  <a:lnTo>
                    <a:pt x="59" y="134"/>
                  </a:lnTo>
                  <a:lnTo>
                    <a:pt x="58" y="133"/>
                  </a:lnTo>
                  <a:lnTo>
                    <a:pt x="56" y="131"/>
                  </a:lnTo>
                  <a:lnTo>
                    <a:pt x="58" y="131"/>
                  </a:lnTo>
                  <a:lnTo>
                    <a:pt x="59" y="127"/>
                  </a:lnTo>
                  <a:lnTo>
                    <a:pt x="59" y="126"/>
                  </a:lnTo>
                  <a:lnTo>
                    <a:pt x="61" y="126"/>
                  </a:lnTo>
                  <a:lnTo>
                    <a:pt x="63" y="126"/>
                  </a:lnTo>
                  <a:lnTo>
                    <a:pt x="63" y="124"/>
                  </a:lnTo>
                  <a:lnTo>
                    <a:pt x="63" y="121"/>
                  </a:lnTo>
                  <a:lnTo>
                    <a:pt x="65" y="119"/>
                  </a:lnTo>
                  <a:lnTo>
                    <a:pt x="63" y="117"/>
                  </a:lnTo>
                  <a:lnTo>
                    <a:pt x="65" y="116"/>
                  </a:lnTo>
                  <a:lnTo>
                    <a:pt x="65" y="114"/>
                  </a:lnTo>
                  <a:lnTo>
                    <a:pt x="65" y="112"/>
                  </a:lnTo>
                  <a:lnTo>
                    <a:pt x="65" y="110"/>
                  </a:lnTo>
                  <a:lnTo>
                    <a:pt x="66" y="109"/>
                  </a:lnTo>
                  <a:lnTo>
                    <a:pt x="66" y="105"/>
                  </a:lnTo>
                  <a:lnTo>
                    <a:pt x="68" y="105"/>
                  </a:lnTo>
                  <a:lnTo>
                    <a:pt x="70" y="105"/>
                  </a:lnTo>
                  <a:lnTo>
                    <a:pt x="70" y="104"/>
                  </a:lnTo>
                  <a:lnTo>
                    <a:pt x="70" y="102"/>
                  </a:lnTo>
                  <a:lnTo>
                    <a:pt x="70" y="100"/>
                  </a:lnTo>
                  <a:lnTo>
                    <a:pt x="68" y="97"/>
                  </a:lnTo>
                  <a:lnTo>
                    <a:pt x="68" y="95"/>
                  </a:lnTo>
                  <a:lnTo>
                    <a:pt x="70" y="93"/>
                  </a:lnTo>
                  <a:lnTo>
                    <a:pt x="71" y="92"/>
                  </a:lnTo>
                  <a:lnTo>
                    <a:pt x="73" y="90"/>
                  </a:lnTo>
                  <a:lnTo>
                    <a:pt x="73" y="88"/>
                  </a:lnTo>
                  <a:lnTo>
                    <a:pt x="75" y="88"/>
                  </a:lnTo>
                  <a:lnTo>
                    <a:pt x="75" y="87"/>
                  </a:lnTo>
                  <a:lnTo>
                    <a:pt x="75" y="85"/>
                  </a:lnTo>
                  <a:lnTo>
                    <a:pt x="76" y="83"/>
                  </a:lnTo>
                  <a:lnTo>
                    <a:pt x="76" y="82"/>
                  </a:lnTo>
                  <a:lnTo>
                    <a:pt x="78" y="82"/>
                  </a:lnTo>
                  <a:lnTo>
                    <a:pt x="76" y="78"/>
                  </a:lnTo>
                  <a:lnTo>
                    <a:pt x="80" y="76"/>
                  </a:lnTo>
                  <a:lnTo>
                    <a:pt x="82" y="76"/>
                  </a:lnTo>
                  <a:lnTo>
                    <a:pt x="83" y="76"/>
                  </a:lnTo>
                  <a:lnTo>
                    <a:pt x="85" y="76"/>
                  </a:lnTo>
                  <a:lnTo>
                    <a:pt x="85" y="75"/>
                  </a:lnTo>
                  <a:lnTo>
                    <a:pt x="85" y="71"/>
                  </a:lnTo>
                  <a:lnTo>
                    <a:pt x="87" y="71"/>
                  </a:lnTo>
                  <a:lnTo>
                    <a:pt x="90" y="73"/>
                  </a:lnTo>
                  <a:lnTo>
                    <a:pt x="93" y="73"/>
                  </a:lnTo>
                  <a:lnTo>
                    <a:pt x="95" y="71"/>
                  </a:lnTo>
                  <a:lnTo>
                    <a:pt x="97" y="68"/>
                  </a:lnTo>
                  <a:lnTo>
                    <a:pt x="100" y="66"/>
                  </a:lnTo>
                  <a:lnTo>
                    <a:pt x="99" y="65"/>
                  </a:lnTo>
                  <a:lnTo>
                    <a:pt x="99" y="63"/>
                  </a:lnTo>
                  <a:lnTo>
                    <a:pt x="100" y="63"/>
                  </a:lnTo>
                  <a:lnTo>
                    <a:pt x="102" y="61"/>
                  </a:lnTo>
                  <a:lnTo>
                    <a:pt x="104" y="59"/>
                  </a:lnTo>
                  <a:lnTo>
                    <a:pt x="104" y="58"/>
                  </a:lnTo>
                  <a:lnTo>
                    <a:pt x="105" y="56"/>
                  </a:lnTo>
                  <a:lnTo>
                    <a:pt x="104" y="54"/>
                  </a:lnTo>
                  <a:lnTo>
                    <a:pt x="104" y="53"/>
                  </a:lnTo>
                  <a:lnTo>
                    <a:pt x="107" y="53"/>
                  </a:lnTo>
                  <a:lnTo>
                    <a:pt x="109" y="54"/>
                  </a:lnTo>
                  <a:lnTo>
                    <a:pt x="110" y="53"/>
                  </a:lnTo>
                  <a:lnTo>
                    <a:pt x="112" y="53"/>
                  </a:lnTo>
                  <a:lnTo>
                    <a:pt x="112" y="51"/>
                  </a:lnTo>
                  <a:lnTo>
                    <a:pt x="112" y="49"/>
                  </a:lnTo>
                  <a:lnTo>
                    <a:pt x="112" y="48"/>
                  </a:lnTo>
                  <a:lnTo>
                    <a:pt x="114" y="44"/>
                  </a:lnTo>
                  <a:lnTo>
                    <a:pt x="116" y="46"/>
                  </a:lnTo>
                  <a:lnTo>
                    <a:pt x="119" y="46"/>
                  </a:lnTo>
                  <a:lnTo>
                    <a:pt x="119" y="44"/>
                  </a:lnTo>
                  <a:lnTo>
                    <a:pt x="121" y="46"/>
                  </a:lnTo>
                  <a:lnTo>
                    <a:pt x="121" y="48"/>
                  </a:lnTo>
                  <a:lnTo>
                    <a:pt x="122" y="49"/>
                  </a:lnTo>
                  <a:lnTo>
                    <a:pt x="124" y="49"/>
                  </a:lnTo>
                  <a:lnTo>
                    <a:pt x="126" y="51"/>
                  </a:lnTo>
                  <a:lnTo>
                    <a:pt x="127" y="51"/>
                  </a:lnTo>
                  <a:lnTo>
                    <a:pt x="129" y="51"/>
                  </a:lnTo>
                  <a:lnTo>
                    <a:pt x="131" y="53"/>
                  </a:lnTo>
                  <a:lnTo>
                    <a:pt x="133" y="49"/>
                  </a:lnTo>
                  <a:lnTo>
                    <a:pt x="133" y="48"/>
                  </a:lnTo>
                  <a:lnTo>
                    <a:pt x="134" y="49"/>
                  </a:lnTo>
                  <a:lnTo>
                    <a:pt x="136" y="48"/>
                  </a:lnTo>
                  <a:lnTo>
                    <a:pt x="138" y="48"/>
                  </a:lnTo>
                  <a:lnTo>
                    <a:pt x="139" y="49"/>
                  </a:lnTo>
                  <a:lnTo>
                    <a:pt x="141" y="48"/>
                  </a:lnTo>
                  <a:lnTo>
                    <a:pt x="144" y="48"/>
                  </a:lnTo>
                  <a:lnTo>
                    <a:pt x="146" y="48"/>
                  </a:lnTo>
                  <a:lnTo>
                    <a:pt x="148" y="51"/>
                  </a:lnTo>
                  <a:lnTo>
                    <a:pt x="150" y="51"/>
                  </a:lnTo>
                  <a:lnTo>
                    <a:pt x="150" y="49"/>
                  </a:lnTo>
                  <a:lnTo>
                    <a:pt x="153" y="49"/>
                  </a:lnTo>
                  <a:lnTo>
                    <a:pt x="153" y="48"/>
                  </a:lnTo>
                  <a:lnTo>
                    <a:pt x="155" y="48"/>
                  </a:lnTo>
                  <a:lnTo>
                    <a:pt x="156" y="48"/>
                  </a:lnTo>
                  <a:lnTo>
                    <a:pt x="158" y="48"/>
                  </a:lnTo>
                  <a:lnTo>
                    <a:pt x="160" y="49"/>
                  </a:lnTo>
                  <a:lnTo>
                    <a:pt x="163" y="49"/>
                  </a:lnTo>
                  <a:lnTo>
                    <a:pt x="165" y="49"/>
                  </a:lnTo>
                  <a:lnTo>
                    <a:pt x="167" y="51"/>
                  </a:lnTo>
                  <a:lnTo>
                    <a:pt x="167" y="49"/>
                  </a:lnTo>
                  <a:lnTo>
                    <a:pt x="168" y="49"/>
                  </a:lnTo>
                  <a:lnTo>
                    <a:pt x="170" y="48"/>
                  </a:lnTo>
                  <a:lnTo>
                    <a:pt x="172" y="48"/>
                  </a:lnTo>
                  <a:lnTo>
                    <a:pt x="173" y="46"/>
                  </a:lnTo>
                  <a:lnTo>
                    <a:pt x="173" y="44"/>
                  </a:lnTo>
                  <a:lnTo>
                    <a:pt x="175" y="42"/>
                  </a:lnTo>
                  <a:lnTo>
                    <a:pt x="175" y="44"/>
                  </a:lnTo>
                  <a:lnTo>
                    <a:pt x="178" y="44"/>
                  </a:lnTo>
                  <a:lnTo>
                    <a:pt x="178" y="42"/>
                  </a:lnTo>
                  <a:lnTo>
                    <a:pt x="182" y="42"/>
                  </a:lnTo>
                  <a:lnTo>
                    <a:pt x="182" y="44"/>
                  </a:lnTo>
                  <a:lnTo>
                    <a:pt x="184" y="42"/>
                  </a:lnTo>
                  <a:lnTo>
                    <a:pt x="184" y="44"/>
                  </a:lnTo>
                  <a:lnTo>
                    <a:pt x="187" y="46"/>
                  </a:lnTo>
                  <a:lnTo>
                    <a:pt x="187" y="48"/>
                  </a:lnTo>
                  <a:lnTo>
                    <a:pt x="189" y="49"/>
                  </a:lnTo>
                  <a:lnTo>
                    <a:pt x="190" y="49"/>
                  </a:lnTo>
                  <a:lnTo>
                    <a:pt x="192" y="49"/>
                  </a:lnTo>
                  <a:lnTo>
                    <a:pt x="195" y="49"/>
                  </a:lnTo>
                  <a:lnTo>
                    <a:pt x="195" y="53"/>
                  </a:lnTo>
                  <a:lnTo>
                    <a:pt x="199" y="54"/>
                  </a:lnTo>
                  <a:lnTo>
                    <a:pt x="199" y="56"/>
                  </a:lnTo>
                  <a:lnTo>
                    <a:pt x="202" y="54"/>
                  </a:lnTo>
                  <a:lnTo>
                    <a:pt x="204" y="54"/>
                  </a:lnTo>
                  <a:lnTo>
                    <a:pt x="206" y="54"/>
                  </a:lnTo>
                  <a:lnTo>
                    <a:pt x="206" y="53"/>
                  </a:lnTo>
                  <a:lnTo>
                    <a:pt x="209" y="51"/>
                  </a:lnTo>
                  <a:lnTo>
                    <a:pt x="209" y="49"/>
                  </a:lnTo>
                  <a:lnTo>
                    <a:pt x="211" y="49"/>
                  </a:lnTo>
                  <a:lnTo>
                    <a:pt x="211" y="46"/>
                  </a:lnTo>
                  <a:lnTo>
                    <a:pt x="212" y="42"/>
                  </a:lnTo>
                  <a:lnTo>
                    <a:pt x="212" y="41"/>
                  </a:lnTo>
                  <a:lnTo>
                    <a:pt x="214" y="41"/>
                  </a:lnTo>
                  <a:lnTo>
                    <a:pt x="216" y="39"/>
                  </a:lnTo>
                  <a:lnTo>
                    <a:pt x="218" y="39"/>
                  </a:lnTo>
                  <a:lnTo>
                    <a:pt x="218" y="37"/>
                  </a:lnTo>
                  <a:lnTo>
                    <a:pt x="219" y="37"/>
                  </a:lnTo>
                  <a:lnTo>
                    <a:pt x="221" y="37"/>
                  </a:lnTo>
                  <a:lnTo>
                    <a:pt x="223" y="36"/>
                  </a:lnTo>
                  <a:lnTo>
                    <a:pt x="224" y="36"/>
                  </a:lnTo>
                  <a:lnTo>
                    <a:pt x="226" y="36"/>
                  </a:lnTo>
                  <a:lnTo>
                    <a:pt x="228" y="34"/>
                  </a:lnTo>
                  <a:lnTo>
                    <a:pt x="229" y="32"/>
                  </a:lnTo>
                  <a:lnTo>
                    <a:pt x="231" y="32"/>
                  </a:lnTo>
                  <a:lnTo>
                    <a:pt x="235" y="32"/>
                  </a:lnTo>
                  <a:lnTo>
                    <a:pt x="236" y="32"/>
                  </a:lnTo>
                  <a:lnTo>
                    <a:pt x="238" y="31"/>
                  </a:lnTo>
                  <a:lnTo>
                    <a:pt x="240" y="29"/>
                  </a:lnTo>
                  <a:lnTo>
                    <a:pt x="241" y="29"/>
                  </a:lnTo>
                  <a:lnTo>
                    <a:pt x="243" y="29"/>
                  </a:lnTo>
                  <a:lnTo>
                    <a:pt x="245" y="29"/>
                  </a:lnTo>
                  <a:lnTo>
                    <a:pt x="245" y="27"/>
                  </a:lnTo>
                  <a:lnTo>
                    <a:pt x="246" y="27"/>
                  </a:lnTo>
                  <a:lnTo>
                    <a:pt x="248" y="25"/>
                  </a:lnTo>
                  <a:lnTo>
                    <a:pt x="252" y="25"/>
                  </a:lnTo>
                  <a:lnTo>
                    <a:pt x="255" y="24"/>
                  </a:lnTo>
                  <a:lnTo>
                    <a:pt x="255" y="20"/>
                  </a:lnTo>
                  <a:lnTo>
                    <a:pt x="257" y="17"/>
                  </a:lnTo>
                  <a:lnTo>
                    <a:pt x="257" y="15"/>
                  </a:lnTo>
                  <a:lnTo>
                    <a:pt x="257" y="13"/>
                  </a:lnTo>
                  <a:lnTo>
                    <a:pt x="258" y="12"/>
                  </a:lnTo>
                  <a:lnTo>
                    <a:pt x="258" y="10"/>
                  </a:lnTo>
                  <a:lnTo>
                    <a:pt x="260" y="8"/>
                  </a:lnTo>
                  <a:lnTo>
                    <a:pt x="262" y="7"/>
                  </a:lnTo>
                  <a:lnTo>
                    <a:pt x="263" y="8"/>
                  </a:lnTo>
                  <a:lnTo>
                    <a:pt x="263" y="5"/>
                  </a:lnTo>
                  <a:lnTo>
                    <a:pt x="267" y="5"/>
                  </a:lnTo>
                  <a:lnTo>
                    <a:pt x="269" y="5"/>
                  </a:lnTo>
                  <a:lnTo>
                    <a:pt x="269" y="3"/>
                  </a:lnTo>
                  <a:lnTo>
                    <a:pt x="270" y="3"/>
                  </a:lnTo>
                  <a:lnTo>
                    <a:pt x="270" y="2"/>
                  </a:lnTo>
                  <a:lnTo>
                    <a:pt x="272" y="2"/>
                  </a:lnTo>
                  <a:lnTo>
                    <a:pt x="272" y="0"/>
                  </a:lnTo>
                  <a:lnTo>
                    <a:pt x="272" y="2"/>
                  </a:lnTo>
                  <a:lnTo>
                    <a:pt x="274" y="0"/>
                  </a:lnTo>
                  <a:lnTo>
                    <a:pt x="275" y="2"/>
                  </a:lnTo>
                  <a:lnTo>
                    <a:pt x="275" y="0"/>
                  </a:lnTo>
                  <a:lnTo>
                    <a:pt x="275" y="2"/>
                  </a:lnTo>
                  <a:lnTo>
                    <a:pt x="277" y="2"/>
                  </a:lnTo>
                  <a:lnTo>
                    <a:pt x="279" y="0"/>
                  </a:lnTo>
                  <a:lnTo>
                    <a:pt x="280" y="2"/>
                  </a:lnTo>
                  <a:lnTo>
                    <a:pt x="280" y="0"/>
                  </a:lnTo>
                  <a:lnTo>
                    <a:pt x="282" y="3"/>
                  </a:lnTo>
                  <a:lnTo>
                    <a:pt x="284" y="2"/>
                  </a:lnTo>
                  <a:lnTo>
                    <a:pt x="284" y="3"/>
                  </a:lnTo>
                  <a:lnTo>
                    <a:pt x="286" y="3"/>
                  </a:lnTo>
                  <a:lnTo>
                    <a:pt x="284" y="2"/>
                  </a:lnTo>
                  <a:lnTo>
                    <a:pt x="286" y="2"/>
                  </a:lnTo>
                  <a:lnTo>
                    <a:pt x="286" y="5"/>
                  </a:lnTo>
                  <a:lnTo>
                    <a:pt x="289" y="5"/>
                  </a:lnTo>
                  <a:lnTo>
                    <a:pt x="287" y="5"/>
                  </a:lnTo>
                  <a:lnTo>
                    <a:pt x="287" y="7"/>
                  </a:lnTo>
                  <a:lnTo>
                    <a:pt x="289" y="7"/>
                  </a:lnTo>
                  <a:lnTo>
                    <a:pt x="291" y="5"/>
                  </a:lnTo>
                  <a:lnTo>
                    <a:pt x="291" y="7"/>
                  </a:lnTo>
                  <a:lnTo>
                    <a:pt x="291" y="5"/>
                  </a:lnTo>
                  <a:lnTo>
                    <a:pt x="291" y="8"/>
                  </a:lnTo>
                  <a:lnTo>
                    <a:pt x="292" y="10"/>
                  </a:lnTo>
                  <a:lnTo>
                    <a:pt x="294" y="10"/>
                  </a:lnTo>
                  <a:lnTo>
                    <a:pt x="294" y="12"/>
                  </a:lnTo>
                  <a:lnTo>
                    <a:pt x="296" y="12"/>
                  </a:lnTo>
                  <a:lnTo>
                    <a:pt x="296" y="13"/>
                  </a:lnTo>
                  <a:lnTo>
                    <a:pt x="297" y="12"/>
                  </a:lnTo>
                  <a:lnTo>
                    <a:pt x="297" y="13"/>
                  </a:lnTo>
                  <a:lnTo>
                    <a:pt x="299" y="13"/>
                  </a:lnTo>
                  <a:lnTo>
                    <a:pt x="299" y="15"/>
                  </a:lnTo>
                  <a:lnTo>
                    <a:pt x="301" y="17"/>
                  </a:lnTo>
                  <a:lnTo>
                    <a:pt x="299" y="19"/>
                  </a:lnTo>
                  <a:lnTo>
                    <a:pt x="303" y="20"/>
                  </a:lnTo>
                  <a:lnTo>
                    <a:pt x="303" y="22"/>
                  </a:lnTo>
                  <a:lnTo>
                    <a:pt x="304" y="22"/>
                  </a:lnTo>
                  <a:lnTo>
                    <a:pt x="304" y="24"/>
                  </a:lnTo>
                  <a:lnTo>
                    <a:pt x="306" y="24"/>
                  </a:lnTo>
                  <a:lnTo>
                    <a:pt x="304" y="25"/>
                  </a:lnTo>
                  <a:lnTo>
                    <a:pt x="306" y="25"/>
                  </a:lnTo>
                  <a:lnTo>
                    <a:pt x="308" y="27"/>
                  </a:lnTo>
                  <a:lnTo>
                    <a:pt x="308" y="29"/>
                  </a:lnTo>
                  <a:lnTo>
                    <a:pt x="309" y="29"/>
                  </a:lnTo>
                  <a:lnTo>
                    <a:pt x="309" y="31"/>
                  </a:lnTo>
                  <a:lnTo>
                    <a:pt x="308" y="31"/>
                  </a:lnTo>
                  <a:lnTo>
                    <a:pt x="308" y="32"/>
                  </a:lnTo>
                  <a:lnTo>
                    <a:pt x="309" y="32"/>
                  </a:lnTo>
                  <a:lnTo>
                    <a:pt x="311" y="36"/>
                  </a:lnTo>
                  <a:lnTo>
                    <a:pt x="313" y="37"/>
                  </a:lnTo>
                  <a:lnTo>
                    <a:pt x="314" y="37"/>
                  </a:lnTo>
                  <a:lnTo>
                    <a:pt x="314" y="39"/>
                  </a:lnTo>
                  <a:lnTo>
                    <a:pt x="318" y="39"/>
                  </a:lnTo>
                  <a:lnTo>
                    <a:pt x="318" y="41"/>
                  </a:lnTo>
                  <a:lnTo>
                    <a:pt x="320" y="41"/>
                  </a:lnTo>
                  <a:lnTo>
                    <a:pt x="320" y="42"/>
                  </a:lnTo>
                  <a:lnTo>
                    <a:pt x="321" y="42"/>
                  </a:lnTo>
                  <a:lnTo>
                    <a:pt x="321" y="44"/>
                  </a:lnTo>
                  <a:lnTo>
                    <a:pt x="323" y="44"/>
                  </a:lnTo>
                  <a:lnTo>
                    <a:pt x="325" y="46"/>
                  </a:lnTo>
                  <a:lnTo>
                    <a:pt x="325" y="44"/>
                  </a:lnTo>
                  <a:lnTo>
                    <a:pt x="326" y="46"/>
                  </a:lnTo>
                  <a:lnTo>
                    <a:pt x="326" y="48"/>
                  </a:lnTo>
                  <a:lnTo>
                    <a:pt x="328" y="49"/>
                  </a:lnTo>
                  <a:lnTo>
                    <a:pt x="328" y="51"/>
                  </a:lnTo>
                  <a:lnTo>
                    <a:pt x="330" y="51"/>
                  </a:lnTo>
                  <a:lnTo>
                    <a:pt x="330" y="53"/>
                  </a:lnTo>
                  <a:lnTo>
                    <a:pt x="331" y="53"/>
                  </a:lnTo>
                  <a:lnTo>
                    <a:pt x="330" y="54"/>
                  </a:lnTo>
                  <a:lnTo>
                    <a:pt x="331" y="54"/>
                  </a:lnTo>
                  <a:lnTo>
                    <a:pt x="333" y="56"/>
                  </a:lnTo>
                  <a:lnTo>
                    <a:pt x="335" y="54"/>
                  </a:lnTo>
                  <a:lnTo>
                    <a:pt x="335" y="56"/>
                  </a:lnTo>
                  <a:lnTo>
                    <a:pt x="335" y="54"/>
                  </a:lnTo>
                  <a:lnTo>
                    <a:pt x="337" y="54"/>
                  </a:lnTo>
                  <a:lnTo>
                    <a:pt x="338" y="58"/>
                  </a:lnTo>
                  <a:lnTo>
                    <a:pt x="340" y="59"/>
                  </a:lnTo>
                  <a:lnTo>
                    <a:pt x="340" y="61"/>
                  </a:lnTo>
                  <a:lnTo>
                    <a:pt x="342" y="59"/>
                  </a:lnTo>
                  <a:lnTo>
                    <a:pt x="343" y="63"/>
                  </a:lnTo>
                  <a:lnTo>
                    <a:pt x="342" y="65"/>
                  </a:lnTo>
                  <a:lnTo>
                    <a:pt x="343" y="65"/>
                  </a:lnTo>
                  <a:lnTo>
                    <a:pt x="342" y="65"/>
                  </a:lnTo>
                  <a:lnTo>
                    <a:pt x="345" y="65"/>
                  </a:lnTo>
                  <a:lnTo>
                    <a:pt x="345" y="66"/>
                  </a:lnTo>
                  <a:lnTo>
                    <a:pt x="347" y="66"/>
                  </a:lnTo>
                  <a:lnTo>
                    <a:pt x="348" y="68"/>
                  </a:lnTo>
                  <a:lnTo>
                    <a:pt x="350" y="68"/>
                  </a:lnTo>
                  <a:lnTo>
                    <a:pt x="352" y="68"/>
                  </a:lnTo>
                  <a:lnTo>
                    <a:pt x="350" y="70"/>
                  </a:lnTo>
                  <a:lnTo>
                    <a:pt x="354" y="70"/>
                  </a:lnTo>
                  <a:lnTo>
                    <a:pt x="357" y="70"/>
                  </a:lnTo>
                  <a:lnTo>
                    <a:pt x="355" y="71"/>
                  </a:lnTo>
                  <a:lnTo>
                    <a:pt x="357" y="71"/>
                  </a:lnTo>
                  <a:lnTo>
                    <a:pt x="359" y="71"/>
                  </a:lnTo>
                  <a:lnTo>
                    <a:pt x="359" y="73"/>
                  </a:lnTo>
                  <a:lnTo>
                    <a:pt x="360" y="75"/>
                  </a:lnTo>
                  <a:lnTo>
                    <a:pt x="359" y="75"/>
                  </a:lnTo>
                  <a:lnTo>
                    <a:pt x="360" y="76"/>
                  </a:lnTo>
                  <a:lnTo>
                    <a:pt x="360" y="78"/>
                  </a:lnTo>
                  <a:lnTo>
                    <a:pt x="362" y="78"/>
                  </a:lnTo>
                  <a:lnTo>
                    <a:pt x="362" y="80"/>
                  </a:lnTo>
                  <a:lnTo>
                    <a:pt x="362" y="82"/>
                  </a:lnTo>
                  <a:lnTo>
                    <a:pt x="362" y="83"/>
                  </a:lnTo>
                  <a:lnTo>
                    <a:pt x="364" y="82"/>
                  </a:lnTo>
                  <a:lnTo>
                    <a:pt x="364" y="83"/>
                  </a:lnTo>
                  <a:lnTo>
                    <a:pt x="367" y="85"/>
                  </a:lnTo>
                  <a:lnTo>
                    <a:pt x="365" y="85"/>
                  </a:lnTo>
                  <a:lnTo>
                    <a:pt x="367" y="87"/>
                  </a:lnTo>
                  <a:lnTo>
                    <a:pt x="367" y="88"/>
                  </a:lnTo>
                  <a:lnTo>
                    <a:pt x="369" y="88"/>
                  </a:lnTo>
                  <a:lnTo>
                    <a:pt x="369" y="90"/>
                  </a:lnTo>
                  <a:lnTo>
                    <a:pt x="371" y="90"/>
                  </a:lnTo>
                  <a:lnTo>
                    <a:pt x="372" y="93"/>
                  </a:lnTo>
                  <a:lnTo>
                    <a:pt x="372" y="95"/>
                  </a:lnTo>
                  <a:lnTo>
                    <a:pt x="372" y="97"/>
                  </a:lnTo>
                  <a:lnTo>
                    <a:pt x="374" y="100"/>
                  </a:lnTo>
                  <a:lnTo>
                    <a:pt x="372" y="100"/>
                  </a:lnTo>
                  <a:lnTo>
                    <a:pt x="374" y="102"/>
                  </a:lnTo>
                  <a:lnTo>
                    <a:pt x="372" y="104"/>
                  </a:lnTo>
                  <a:lnTo>
                    <a:pt x="374" y="104"/>
                  </a:lnTo>
                  <a:lnTo>
                    <a:pt x="376" y="105"/>
                  </a:lnTo>
                  <a:lnTo>
                    <a:pt x="376" y="107"/>
                  </a:lnTo>
                  <a:lnTo>
                    <a:pt x="376" y="109"/>
                  </a:lnTo>
                  <a:lnTo>
                    <a:pt x="376" y="110"/>
                  </a:lnTo>
                  <a:lnTo>
                    <a:pt x="374" y="112"/>
                  </a:lnTo>
                  <a:lnTo>
                    <a:pt x="376" y="112"/>
                  </a:lnTo>
                  <a:lnTo>
                    <a:pt x="374" y="114"/>
                  </a:lnTo>
                  <a:lnTo>
                    <a:pt x="376" y="116"/>
                  </a:lnTo>
                  <a:lnTo>
                    <a:pt x="376" y="119"/>
                  </a:lnTo>
                  <a:lnTo>
                    <a:pt x="374" y="117"/>
                  </a:lnTo>
                  <a:lnTo>
                    <a:pt x="376" y="119"/>
                  </a:lnTo>
                  <a:lnTo>
                    <a:pt x="374" y="119"/>
                  </a:lnTo>
                  <a:lnTo>
                    <a:pt x="374" y="121"/>
                  </a:lnTo>
                  <a:lnTo>
                    <a:pt x="372" y="122"/>
                  </a:lnTo>
                  <a:lnTo>
                    <a:pt x="374" y="124"/>
                  </a:lnTo>
                  <a:lnTo>
                    <a:pt x="374" y="126"/>
                  </a:lnTo>
                  <a:lnTo>
                    <a:pt x="376" y="126"/>
                  </a:lnTo>
                  <a:lnTo>
                    <a:pt x="374" y="126"/>
                  </a:lnTo>
                  <a:lnTo>
                    <a:pt x="376" y="127"/>
                  </a:lnTo>
                  <a:lnTo>
                    <a:pt x="376" y="129"/>
                  </a:lnTo>
                  <a:lnTo>
                    <a:pt x="376" y="131"/>
                  </a:lnTo>
                  <a:lnTo>
                    <a:pt x="376" y="133"/>
                  </a:lnTo>
                  <a:lnTo>
                    <a:pt x="374" y="133"/>
                  </a:lnTo>
                  <a:lnTo>
                    <a:pt x="376" y="134"/>
                  </a:lnTo>
                  <a:lnTo>
                    <a:pt x="376" y="138"/>
                  </a:lnTo>
                  <a:lnTo>
                    <a:pt x="377" y="139"/>
                  </a:lnTo>
                  <a:lnTo>
                    <a:pt x="377" y="141"/>
                  </a:lnTo>
                  <a:lnTo>
                    <a:pt x="379" y="143"/>
                  </a:lnTo>
                  <a:lnTo>
                    <a:pt x="379" y="144"/>
                  </a:lnTo>
                  <a:lnTo>
                    <a:pt x="379" y="146"/>
                  </a:lnTo>
                  <a:lnTo>
                    <a:pt x="381" y="146"/>
                  </a:lnTo>
                  <a:lnTo>
                    <a:pt x="379" y="148"/>
                  </a:lnTo>
                  <a:lnTo>
                    <a:pt x="381" y="151"/>
                  </a:lnTo>
                  <a:lnTo>
                    <a:pt x="381" y="153"/>
                  </a:lnTo>
                  <a:lnTo>
                    <a:pt x="382" y="153"/>
                  </a:lnTo>
                  <a:lnTo>
                    <a:pt x="382" y="155"/>
                  </a:lnTo>
                  <a:lnTo>
                    <a:pt x="384" y="156"/>
                  </a:lnTo>
                  <a:lnTo>
                    <a:pt x="384" y="158"/>
                  </a:lnTo>
                  <a:lnTo>
                    <a:pt x="386" y="160"/>
                  </a:lnTo>
                  <a:lnTo>
                    <a:pt x="386" y="161"/>
                  </a:lnTo>
                  <a:lnTo>
                    <a:pt x="386" y="163"/>
                  </a:lnTo>
                  <a:lnTo>
                    <a:pt x="384" y="163"/>
                  </a:lnTo>
                  <a:lnTo>
                    <a:pt x="382" y="165"/>
                  </a:lnTo>
                  <a:lnTo>
                    <a:pt x="384" y="168"/>
                  </a:lnTo>
                  <a:lnTo>
                    <a:pt x="386" y="167"/>
                  </a:lnTo>
                  <a:lnTo>
                    <a:pt x="386" y="168"/>
                  </a:lnTo>
                  <a:lnTo>
                    <a:pt x="388" y="170"/>
                  </a:lnTo>
                  <a:lnTo>
                    <a:pt x="388" y="172"/>
                  </a:lnTo>
                  <a:lnTo>
                    <a:pt x="389" y="173"/>
                  </a:lnTo>
                  <a:lnTo>
                    <a:pt x="391" y="17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29" name="Freeform 60">
              <a:extLst>
                <a:ext uri="{FF2B5EF4-FFF2-40B4-BE49-F238E27FC236}">
                  <a16:creationId xmlns:a16="http://schemas.microsoft.com/office/drawing/2014/main" id="{BD3DB2B4-33F7-4976-B607-1A1DF053BBD8}"/>
                </a:ext>
              </a:extLst>
            </p:cNvPr>
            <p:cNvSpPr>
              <a:spLocks/>
            </p:cNvSpPr>
            <p:nvPr/>
          </p:nvSpPr>
          <p:spPr bwMode="gray">
            <a:xfrm>
              <a:off x="10650745" y="4307100"/>
              <a:ext cx="580697" cy="589586"/>
            </a:xfrm>
            <a:custGeom>
              <a:avLst/>
              <a:gdLst>
                <a:gd name="T0" fmla="*/ 112 w 196"/>
                <a:gd name="T1" fmla="*/ 191 h 199"/>
                <a:gd name="T2" fmla="*/ 112 w 196"/>
                <a:gd name="T3" fmla="*/ 179 h 199"/>
                <a:gd name="T4" fmla="*/ 107 w 196"/>
                <a:gd name="T5" fmla="*/ 167 h 199"/>
                <a:gd name="T6" fmla="*/ 106 w 196"/>
                <a:gd name="T7" fmla="*/ 153 h 199"/>
                <a:gd name="T8" fmla="*/ 106 w 196"/>
                <a:gd name="T9" fmla="*/ 145 h 199"/>
                <a:gd name="T10" fmla="*/ 106 w 196"/>
                <a:gd name="T11" fmla="*/ 135 h 199"/>
                <a:gd name="T12" fmla="*/ 102 w 196"/>
                <a:gd name="T13" fmla="*/ 123 h 199"/>
                <a:gd name="T14" fmla="*/ 95 w 196"/>
                <a:gd name="T15" fmla="*/ 111 h 199"/>
                <a:gd name="T16" fmla="*/ 90 w 196"/>
                <a:gd name="T17" fmla="*/ 104 h 199"/>
                <a:gd name="T18" fmla="*/ 87 w 196"/>
                <a:gd name="T19" fmla="*/ 96 h 199"/>
                <a:gd name="T20" fmla="*/ 75 w 196"/>
                <a:gd name="T21" fmla="*/ 91 h 199"/>
                <a:gd name="T22" fmla="*/ 68 w 196"/>
                <a:gd name="T23" fmla="*/ 84 h 199"/>
                <a:gd name="T24" fmla="*/ 61 w 196"/>
                <a:gd name="T25" fmla="*/ 79 h 199"/>
                <a:gd name="T26" fmla="*/ 55 w 196"/>
                <a:gd name="T27" fmla="*/ 72 h 199"/>
                <a:gd name="T28" fmla="*/ 44 w 196"/>
                <a:gd name="T29" fmla="*/ 65 h 199"/>
                <a:gd name="T30" fmla="*/ 39 w 196"/>
                <a:gd name="T31" fmla="*/ 55 h 199"/>
                <a:gd name="T32" fmla="*/ 33 w 196"/>
                <a:gd name="T33" fmla="*/ 48 h 199"/>
                <a:gd name="T34" fmla="*/ 26 w 196"/>
                <a:gd name="T35" fmla="*/ 39 h 199"/>
                <a:gd name="T36" fmla="*/ 21 w 196"/>
                <a:gd name="T37" fmla="*/ 31 h 199"/>
                <a:gd name="T38" fmla="*/ 16 w 196"/>
                <a:gd name="T39" fmla="*/ 29 h 199"/>
                <a:gd name="T40" fmla="*/ 5 w 196"/>
                <a:gd name="T41" fmla="*/ 28 h 199"/>
                <a:gd name="T42" fmla="*/ 0 w 196"/>
                <a:gd name="T43" fmla="*/ 26 h 199"/>
                <a:gd name="T44" fmla="*/ 5 w 196"/>
                <a:gd name="T45" fmla="*/ 19 h 199"/>
                <a:gd name="T46" fmla="*/ 12 w 196"/>
                <a:gd name="T47" fmla="*/ 17 h 199"/>
                <a:gd name="T48" fmla="*/ 19 w 196"/>
                <a:gd name="T49" fmla="*/ 12 h 199"/>
                <a:gd name="T50" fmla="*/ 33 w 196"/>
                <a:gd name="T51" fmla="*/ 9 h 199"/>
                <a:gd name="T52" fmla="*/ 41 w 196"/>
                <a:gd name="T53" fmla="*/ 4 h 199"/>
                <a:gd name="T54" fmla="*/ 56 w 196"/>
                <a:gd name="T55" fmla="*/ 7 h 199"/>
                <a:gd name="T56" fmla="*/ 68 w 196"/>
                <a:gd name="T57" fmla="*/ 11 h 199"/>
                <a:gd name="T58" fmla="*/ 78 w 196"/>
                <a:gd name="T59" fmla="*/ 9 h 199"/>
                <a:gd name="T60" fmla="*/ 85 w 196"/>
                <a:gd name="T61" fmla="*/ 16 h 199"/>
                <a:gd name="T62" fmla="*/ 87 w 196"/>
                <a:gd name="T63" fmla="*/ 14 h 199"/>
                <a:gd name="T64" fmla="*/ 101 w 196"/>
                <a:gd name="T65" fmla="*/ 11 h 199"/>
                <a:gd name="T66" fmla="*/ 114 w 196"/>
                <a:gd name="T67" fmla="*/ 21 h 199"/>
                <a:gd name="T68" fmla="*/ 124 w 196"/>
                <a:gd name="T69" fmla="*/ 22 h 199"/>
                <a:gd name="T70" fmla="*/ 128 w 196"/>
                <a:gd name="T71" fmla="*/ 31 h 199"/>
                <a:gd name="T72" fmla="*/ 126 w 196"/>
                <a:gd name="T73" fmla="*/ 46 h 199"/>
                <a:gd name="T74" fmla="*/ 133 w 196"/>
                <a:gd name="T75" fmla="*/ 53 h 199"/>
                <a:gd name="T76" fmla="*/ 141 w 196"/>
                <a:gd name="T77" fmla="*/ 55 h 199"/>
                <a:gd name="T78" fmla="*/ 150 w 196"/>
                <a:gd name="T79" fmla="*/ 53 h 199"/>
                <a:gd name="T80" fmla="*/ 153 w 196"/>
                <a:gd name="T81" fmla="*/ 65 h 199"/>
                <a:gd name="T82" fmla="*/ 155 w 196"/>
                <a:gd name="T83" fmla="*/ 72 h 199"/>
                <a:gd name="T84" fmla="*/ 160 w 196"/>
                <a:gd name="T85" fmla="*/ 82 h 199"/>
                <a:gd name="T86" fmla="*/ 172 w 196"/>
                <a:gd name="T87" fmla="*/ 84 h 199"/>
                <a:gd name="T88" fmla="*/ 180 w 196"/>
                <a:gd name="T89" fmla="*/ 89 h 199"/>
                <a:gd name="T90" fmla="*/ 180 w 196"/>
                <a:gd name="T91" fmla="*/ 104 h 199"/>
                <a:gd name="T92" fmla="*/ 189 w 196"/>
                <a:gd name="T93" fmla="*/ 109 h 199"/>
                <a:gd name="T94" fmla="*/ 194 w 196"/>
                <a:gd name="T95" fmla="*/ 111 h 199"/>
                <a:gd name="T96" fmla="*/ 184 w 196"/>
                <a:gd name="T97" fmla="*/ 116 h 199"/>
                <a:gd name="T98" fmla="*/ 174 w 196"/>
                <a:gd name="T99" fmla="*/ 113 h 199"/>
                <a:gd name="T100" fmla="*/ 169 w 196"/>
                <a:gd name="T101" fmla="*/ 119 h 199"/>
                <a:gd name="T102" fmla="*/ 158 w 196"/>
                <a:gd name="T103" fmla="*/ 118 h 199"/>
                <a:gd name="T104" fmla="*/ 157 w 196"/>
                <a:gd name="T105" fmla="*/ 121 h 199"/>
                <a:gd name="T106" fmla="*/ 152 w 196"/>
                <a:gd name="T107" fmla="*/ 116 h 199"/>
                <a:gd name="T108" fmla="*/ 143 w 196"/>
                <a:gd name="T109" fmla="*/ 118 h 199"/>
                <a:gd name="T110" fmla="*/ 141 w 196"/>
                <a:gd name="T111" fmla="*/ 128 h 199"/>
                <a:gd name="T112" fmla="*/ 148 w 196"/>
                <a:gd name="T113" fmla="*/ 142 h 199"/>
                <a:gd name="T114" fmla="*/ 145 w 196"/>
                <a:gd name="T115" fmla="*/ 155 h 199"/>
                <a:gd name="T116" fmla="*/ 138 w 196"/>
                <a:gd name="T117" fmla="*/ 169 h 199"/>
                <a:gd name="T118" fmla="*/ 133 w 196"/>
                <a:gd name="T119" fmla="*/ 177 h 199"/>
                <a:gd name="T120" fmla="*/ 133 w 196"/>
                <a:gd name="T121" fmla="*/ 189 h 199"/>
                <a:gd name="T122" fmla="*/ 123 w 196"/>
                <a:gd name="T123" fmla="*/ 194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6" h="199">
                  <a:moveTo>
                    <a:pt x="121" y="199"/>
                  </a:moveTo>
                  <a:lnTo>
                    <a:pt x="119" y="199"/>
                  </a:lnTo>
                  <a:lnTo>
                    <a:pt x="118" y="198"/>
                  </a:lnTo>
                  <a:lnTo>
                    <a:pt x="118" y="196"/>
                  </a:lnTo>
                  <a:lnTo>
                    <a:pt x="116" y="194"/>
                  </a:lnTo>
                  <a:lnTo>
                    <a:pt x="116" y="193"/>
                  </a:lnTo>
                  <a:lnTo>
                    <a:pt x="114" y="194"/>
                  </a:lnTo>
                  <a:lnTo>
                    <a:pt x="112" y="191"/>
                  </a:lnTo>
                  <a:lnTo>
                    <a:pt x="114" y="189"/>
                  </a:lnTo>
                  <a:lnTo>
                    <a:pt x="116" y="189"/>
                  </a:lnTo>
                  <a:lnTo>
                    <a:pt x="116" y="187"/>
                  </a:lnTo>
                  <a:lnTo>
                    <a:pt x="116" y="186"/>
                  </a:lnTo>
                  <a:lnTo>
                    <a:pt x="114" y="184"/>
                  </a:lnTo>
                  <a:lnTo>
                    <a:pt x="114" y="182"/>
                  </a:lnTo>
                  <a:lnTo>
                    <a:pt x="112" y="181"/>
                  </a:lnTo>
                  <a:lnTo>
                    <a:pt x="112" y="179"/>
                  </a:lnTo>
                  <a:lnTo>
                    <a:pt x="111" y="179"/>
                  </a:lnTo>
                  <a:lnTo>
                    <a:pt x="111" y="177"/>
                  </a:lnTo>
                  <a:lnTo>
                    <a:pt x="109" y="174"/>
                  </a:lnTo>
                  <a:lnTo>
                    <a:pt x="111" y="172"/>
                  </a:lnTo>
                  <a:lnTo>
                    <a:pt x="109" y="172"/>
                  </a:lnTo>
                  <a:lnTo>
                    <a:pt x="109" y="170"/>
                  </a:lnTo>
                  <a:lnTo>
                    <a:pt x="109" y="169"/>
                  </a:lnTo>
                  <a:lnTo>
                    <a:pt x="107" y="167"/>
                  </a:lnTo>
                  <a:lnTo>
                    <a:pt x="107" y="165"/>
                  </a:lnTo>
                  <a:lnTo>
                    <a:pt x="106" y="164"/>
                  </a:lnTo>
                  <a:lnTo>
                    <a:pt x="106" y="160"/>
                  </a:lnTo>
                  <a:lnTo>
                    <a:pt x="104" y="159"/>
                  </a:lnTo>
                  <a:lnTo>
                    <a:pt x="106" y="159"/>
                  </a:lnTo>
                  <a:lnTo>
                    <a:pt x="106" y="157"/>
                  </a:lnTo>
                  <a:lnTo>
                    <a:pt x="106" y="155"/>
                  </a:lnTo>
                  <a:lnTo>
                    <a:pt x="106" y="153"/>
                  </a:lnTo>
                  <a:lnTo>
                    <a:pt x="104" y="152"/>
                  </a:lnTo>
                  <a:lnTo>
                    <a:pt x="106" y="152"/>
                  </a:lnTo>
                  <a:lnTo>
                    <a:pt x="104" y="152"/>
                  </a:lnTo>
                  <a:lnTo>
                    <a:pt x="104" y="150"/>
                  </a:lnTo>
                  <a:lnTo>
                    <a:pt x="102" y="148"/>
                  </a:lnTo>
                  <a:lnTo>
                    <a:pt x="104" y="147"/>
                  </a:lnTo>
                  <a:lnTo>
                    <a:pt x="104" y="145"/>
                  </a:lnTo>
                  <a:lnTo>
                    <a:pt x="106" y="145"/>
                  </a:lnTo>
                  <a:lnTo>
                    <a:pt x="104" y="143"/>
                  </a:lnTo>
                  <a:lnTo>
                    <a:pt x="106" y="145"/>
                  </a:lnTo>
                  <a:lnTo>
                    <a:pt x="106" y="142"/>
                  </a:lnTo>
                  <a:lnTo>
                    <a:pt x="104" y="140"/>
                  </a:lnTo>
                  <a:lnTo>
                    <a:pt x="106" y="138"/>
                  </a:lnTo>
                  <a:lnTo>
                    <a:pt x="104" y="138"/>
                  </a:lnTo>
                  <a:lnTo>
                    <a:pt x="106" y="136"/>
                  </a:lnTo>
                  <a:lnTo>
                    <a:pt x="106" y="135"/>
                  </a:lnTo>
                  <a:lnTo>
                    <a:pt x="106" y="133"/>
                  </a:lnTo>
                  <a:lnTo>
                    <a:pt x="106" y="131"/>
                  </a:lnTo>
                  <a:lnTo>
                    <a:pt x="104" y="130"/>
                  </a:lnTo>
                  <a:lnTo>
                    <a:pt x="102" y="130"/>
                  </a:lnTo>
                  <a:lnTo>
                    <a:pt x="104" y="128"/>
                  </a:lnTo>
                  <a:lnTo>
                    <a:pt x="102" y="126"/>
                  </a:lnTo>
                  <a:lnTo>
                    <a:pt x="104" y="126"/>
                  </a:lnTo>
                  <a:lnTo>
                    <a:pt x="102" y="123"/>
                  </a:lnTo>
                  <a:lnTo>
                    <a:pt x="102" y="121"/>
                  </a:lnTo>
                  <a:lnTo>
                    <a:pt x="102" y="119"/>
                  </a:lnTo>
                  <a:lnTo>
                    <a:pt x="101" y="116"/>
                  </a:lnTo>
                  <a:lnTo>
                    <a:pt x="99" y="116"/>
                  </a:lnTo>
                  <a:lnTo>
                    <a:pt x="99" y="114"/>
                  </a:lnTo>
                  <a:lnTo>
                    <a:pt x="97" y="114"/>
                  </a:lnTo>
                  <a:lnTo>
                    <a:pt x="97" y="113"/>
                  </a:lnTo>
                  <a:lnTo>
                    <a:pt x="95" y="111"/>
                  </a:lnTo>
                  <a:lnTo>
                    <a:pt x="97" y="111"/>
                  </a:lnTo>
                  <a:lnTo>
                    <a:pt x="94" y="109"/>
                  </a:lnTo>
                  <a:lnTo>
                    <a:pt x="94" y="108"/>
                  </a:lnTo>
                  <a:lnTo>
                    <a:pt x="92" y="109"/>
                  </a:lnTo>
                  <a:lnTo>
                    <a:pt x="92" y="108"/>
                  </a:lnTo>
                  <a:lnTo>
                    <a:pt x="92" y="106"/>
                  </a:lnTo>
                  <a:lnTo>
                    <a:pt x="92" y="104"/>
                  </a:lnTo>
                  <a:lnTo>
                    <a:pt x="90" y="104"/>
                  </a:lnTo>
                  <a:lnTo>
                    <a:pt x="90" y="102"/>
                  </a:lnTo>
                  <a:lnTo>
                    <a:pt x="89" y="101"/>
                  </a:lnTo>
                  <a:lnTo>
                    <a:pt x="90" y="101"/>
                  </a:lnTo>
                  <a:lnTo>
                    <a:pt x="89" y="99"/>
                  </a:lnTo>
                  <a:lnTo>
                    <a:pt x="89" y="97"/>
                  </a:lnTo>
                  <a:lnTo>
                    <a:pt x="87" y="97"/>
                  </a:lnTo>
                  <a:lnTo>
                    <a:pt x="85" y="97"/>
                  </a:lnTo>
                  <a:lnTo>
                    <a:pt x="87" y="96"/>
                  </a:lnTo>
                  <a:lnTo>
                    <a:pt x="84" y="96"/>
                  </a:lnTo>
                  <a:lnTo>
                    <a:pt x="80" y="96"/>
                  </a:lnTo>
                  <a:lnTo>
                    <a:pt x="82" y="94"/>
                  </a:lnTo>
                  <a:lnTo>
                    <a:pt x="80" y="94"/>
                  </a:lnTo>
                  <a:lnTo>
                    <a:pt x="78" y="94"/>
                  </a:lnTo>
                  <a:lnTo>
                    <a:pt x="77" y="92"/>
                  </a:lnTo>
                  <a:lnTo>
                    <a:pt x="75" y="92"/>
                  </a:lnTo>
                  <a:lnTo>
                    <a:pt x="75" y="91"/>
                  </a:lnTo>
                  <a:lnTo>
                    <a:pt x="72" y="91"/>
                  </a:lnTo>
                  <a:lnTo>
                    <a:pt x="73" y="91"/>
                  </a:lnTo>
                  <a:lnTo>
                    <a:pt x="72" y="91"/>
                  </a:lnTo>
                  <a:lnTo>
                    <a:pt x="73" y="89"/>
                  </a:lnTo>
                  <a:lnTo>
                    <a:pt x="72" y="85"/>
                  </a:lnTo>
                  <a:lnTo>
                    <a:pt x="70" y="87"/>
                  </a:lnTo>
                  <a:lnTo>
                    <a:pt x="70" y="85"/>
                  </a:lnTo>
                  <a:lnTo>
                    <a:pt x="68" y="84"/>
                  </a:lnTo>
                  <a:lnTo>
                    <a:pt x="67" y="80"/>
                  </a:lnTo>
                  <a:lnTo>
                    <a:pt x="65" y="80"/>
                  </a:lnTo>
                  <a:lnTo>
                    <a:pt x="65" y="82"/>
                  </a:lnTo>
                  <a:lnTo>
                    <a:pt x="65" y="80"/>
                  </a:lnTo>
                  <a:lnTo>
                    <a:pt x="63" y="82"/>
                  </a:lnTo>
                  <a:lnTo>
                    <a:pt x="61" y="80"/>
                  </a:lnTo>
                  <a:lnTo>
                    <a:pt x="60" y="80"/>
                  </a:lnTo>
                  <a:lnTo>
                    <a:pt x="61" y="79"/>
                  </a:lnTo>
                  <a:lnTo>
                    <a:pt x="60" y="79"/>
                  </a:lnTo>
                  <a:lnTo>
                    <a:pt x="60" y="77"/>
                  </a:lnTo>
                  <a:lnTo>
                    <a:pt x="58" y="77"/>
                  </a:lnTo>
                  <a:lnTo>
                    <a:pt x="58" y="75"/>
                  </a:lnTo>
                  <a:lnTo>
                    <a:pt x="56" y="74"/>
                  </a:lnTo>
                  <a:lnTo>
                    <a:pt x="56" y="72"/>
                  </a:lnTo>
                  <a:lnTo>
                    <a:pt x="55" y="70"/>
                  </a:lnTo>
                  <a:lnTo>
                    <a:pt x="55" y="72"/>
                  </a:lnTo>
                  <a:lnTo>
                    <a:pt x="53" y="70"/>
                  </a:lnTo>
                  <a:lnTo>
                    <a:pt x="51" y="70"/>
                  </a:lnTo>
                  <a:lnTo>
                    <a:pt x="51" y="68"/>
                  </a:lnTo>
                  <a:lnTo>
                    <a:pt x="50" y="68"/>
                  </a:lnTo>
                  <a:lnTo>
                    <a:pt x="50" y="67"/>
                  </a:lnTo>
                  <a:lnTo>
                    <a:pt x="48" y="67"/>
                  </a:lnTo>
                  <a:lnTo>
                    <a:pt x="48" y="65"/>
                  </a:lnTo>
                  <a:lnTo>
                    <a:pt x="44" y="65"/>
                  </a:lnTo>
                  <a:lnTo>
                    <a:pt x="44" y="63"/>
                  </a:lnTo>
                  <a:lnTo>
                    <a:pt x="43" y="63"/>
                  </a:lnTo>
                  <a:lnTo>
                    <a:pt x="41" y="62"/>
                  </a:lnTo>
                  <a:lnTo>
                    <a:pt x="39" y="58"/>
                  </a:lnTo>
                  <a:lnTo>
                    <a:pt x="38" y="58"/>
                  </a:lnTo>
                  <a:lnTo>
                    <a:pt x="38" y="57"/>
                  </a:lnTo>
                  <a:lnTo>
                    <a:pt x="39" y="57"/>
                  </a:lnTo>
                  <a:lnTo>
                    <a:pt x="39" y="55"/>
                  </a:lnTo>
                  <a:lnTo>
                    <a:pt x="38" y="55"/>
                  </a:lnTo>
                  <a:lnTo>
                    <a:pt x="38" y="53"/>
                  </a:lnTo>
                  <a:lnTo>
                    <a:pt x="36" y="51"/>
                  </a:lnTo>
                  <a:lnTo>
                    <a:pt x="34" y="51"/>
                  </a:lnTo>
                  <a:lnTo>
                    <a:pt x="36" y="50"/>
                  </a:lnTo>
                  <a:lnTo>
                    <a:pt x="34" y="50"/>
                  </a:lnTo>
                  <a:lnTo>
                    <a:pt x="34" y="48"/>
                  </a:lnTo>
                  <a:lnTo>
                    <a:pt x="33" y="48"/>
                  </a:lnTo>
                  <a:lnTo>
                    <a:pt x="33" y="46"/>
                  </a:lnTo>
                  <a:lnTo>
                    <a:pt x="29" y="45"/>
                  </a:lnTo>
                  <a:lnTo>
                    <a:pt x="31" y="43"/>
                  </a:lnTo>
                  <a:lnTo>
                    <a:pt x="29" y="41"/>
                  </a:lnTo>
                  <a:lnTo>
                    <a:pt x="29" y="39"/>
                  </a:lnTo>
                  <a:lnTo>
                    <a:pt x="27" y="39"/>
                  </a:lnTo>
                  <a:lnTo>
                    <a:pt x="27" y="38"/>
                  </a:lnTo>
                  <a:lnTo>
                    <a:pt x="26" y="39"/>
                  </a:lnTo>
                  <a:lnTo>
                    <a:pt x="26" y="38"/>
                  </a:lnTo>
                  <a:lnTo>
                    <a:pt x="24" y="38"/>
                  </a:lnTo>
                  <a:lnTo>
                    <a:pt x="24" y="36"/>
                  </a:lnTo>
                  <a:lnTo>
                    <a:pt x="22" y="36"/>
                  </a:lnTo>
                  <a:lnTo>
                    <a:pt x="21" y="34"/>
                  </a:lnTo>
                  <a:lnTo>
                    <a:pt x="21" y="31"/>
                  </a:lnTo>
                  <a:lnTo>
                    <a:pt x="21" y="33"/>
                  </a:lnTo>
                  <a:lnTo>
                    <a:pt x="21" y="31"/>
                  </a:lnTo>
                  <a:lnTo>
                    <a:pt x="19" y="33"/>
                  </a:lnTo>
                  <a:lnTo>
                    <a:pt x="17" y="33"/>
                  </a:lnTo>
                  <a:lnTo>
                    <a:pt x="17" y="31"/>
                  </a:lnTo>
                  <a:lnTo>
                    <a:pt x="19" y="31"/>
                  </a:lnTo>
                  <a:lnTo>
                    <a:pt x="16" y="31"/>
                  </a:lnTo>
                  <a:lnTo>
                    <a:pt x="16" y="28"/>
                  </a:lnTo>
                  <a:lnTo>
                    <a:pt x="14" y="28"/>
                  </a:lnTo>
                  <a:lnTo>
                    <a:pt x="16" y="29"/>
                  </a:lnTo>
                  <a:lnTo>
                    <a:pt x="14" y="29"/>
                  </a:lnTo>
                  <a:lnTo>
                    <a:pt x="14" y="28"/>
                  </a:lnTo>
                  <a:lnTo>
                    <a:pt x="12" y="29"/>
                  </a:lnTo>
                  <a:lnTo>
                    <a:pt x="10" y="26"/>
                  </a:lnTo>
                  <a:lnTo>
                    <a:pt x="10" y="28"/>
                  </a:lnTo>
                  <a:lnTo>
                    <a:pt x="9" y="26"/>
                  </a:lnTo>
                  <a:lnTo>
                    <a:pt x="7" y="28"/>
                  </a:lnTo>
                  <a:lnTo>
                    <a:pt x="5" y="28"/>
                  </a:lnTo>
                  <a:lnTo>
                    <a:pt x="5" y="26"/>
                  </a:lnTo>
                  <a:lnTo>
                    <a:pt x="5" y="28"/>
                  </a:lnTo>
                  <a:lnTo>
                    <a:pt x="4" y="26"/>
                  </a:lnTo>
                  <a:lnTo>
                    <a:pt x="2" y="28"/>
                  </a:lnTo>
                  <a:lnTo>
                    <a:pt x="2" y="26"/>
                  </a:lnTo>
                  <a:lnTo>
                    <a:pt x="2" y="28"/>
                  </a:lnTo>
                  <a:lnTo>
                    <a:pt x="0" y="28"/>
                  </a:lnTo>
                  <a:lnTo>
                    <a:pt x="0" y="26"/>
                  </a:lnTo>
                  <a:lnTo>
                    <a:pt x="0" y="24"/>
                  </a:lnTo>
                  <a:lnTo>
                    <a:pt x="2" y="22"/>
                  </a:lnTo>
                  <a:lnTo>
                    <a:pt x="2" y="21"/>
                  </a:lnTo>
                  <a:lnTo>
                    <a:pt x="5" y="22"/>
                  </a:lnTo>
                  <a:lnTo>
                    <a:pt x="7" y="24"/>
                  </a:lnTo>
                  <a:lnTo>
                    <a:pt x="9" y="22"/>
                  </a:lnTo>
                  <a:lnTo>
                    <a:pt x="7" y="19"/>
                  </a:lnTo>
                  <a:lnTo>
                    <a:pt x="5" y="19"/>
                  </a:lnTo>
                  <a:lnTo>
                    <a:pt x="4" y="17"/>
                  </a:lnTo>
                  <a:lnTo>
                    <a:pt x="2" y="16"/>
                  </a:lnTo>
                  <a:lnTo>
                    <a:pt x="4" y="16"/>
                  </a:lnTo>
                  <a:lnTo>
                    <a:pt x="5" y="14"/>
                  </a:lnTo>
                  <a:lnTo>
                    <a:pt x="7" y="14"/>
                  </a:lnTo>
                  <a:lnTo>
                    <a:pt x="9" y="14"/>
                  </a:lnTo>
                  <a:lnTo>
                    <a:pt x="10" y="16"/>
                  </a:lnTo>
                  <a:lnTo>
                    <a:pt x="12" y="17"/>
                  </a:lnTo>
                  <a:lnTo>
                    <a:pt x="16" y="17"/>
                  </a:lnTo>
                  <a:lnTo>
                    <a:pt x="16" y="16"/>
                  </a:lnTo>
                  <a:lnTo>
                    <a:pt x="17" y="16"/>
                  </a:lnTo>
                  <a:lnTo>
                    <a:pt x="17" y="12"/>
                  </a:lnTo>
                  <a:lnTo>
                    <a:pt x="16" y="12"/>
                  </a:lnTo>
                  <a:lnTo>
                    <a:pt x="17" y="12"/>
                  </a:lnTo>
                  <a:lnTo>
                    <a:pt x="17" y="11"/>
                  </a:lnTo>
                  <a:lnTo>
                    <a:pt x="19" y="12"/>
                  </a:lnTo>
                  <a:lnTo>
                    <a:pt x="22" y="14"/>
                  </a:lnTo>
                  <a:lnTo>
                    <a:pt x="24" y="12"/>
                  </a:lnTo>
                  <a:lnTo>
                    <a:pt x="26" y="12"/>
                  </a:lnTo>
                  <a:lnTo>
                    <a:pt x="29" y="12"/>
                  </a:lnTo>
                  <a:lnTo>
                    <a:pt x="27" y="11"/>
                  </a:lnTo>
                  <a:lnTo>
                    <a:pt x="29" y="7"/>
                  </a:lnTo>
                  <a:lnTo>
                    <a:pt x="31" y="7"/>
                  </a:lnTo>
                  <a:lnTo>
                    <a:pt x="33" y="9"/>
                  </a:lnTo>
                  <a:lnTo>
                    <a:pt x="34" y="9"/>
                  </a:lnTo>
                  <a:lnTo>
                    <a:pt x="36" y="9"/>
                  </a:lnTo>
                  <a:lnTo>
                    <a:pt x="36" y="5"/>
                  </a:lnTo>
                  <a:lnTo>
                    <a:pt x="38" y="4"/>
                  </a:lnTo>
                  <a:lnTo>
                    <a:pt x="39" y="2"/>
                  </a:lnTo>
                  <a:lnTo>
                    <a:pt x="39" y="0"/>
                  </a:lnTo>
                  <a:lnTo>
                    <a:pt x="41" y="0"/>
                  </a:lnTo>
                  <a:lnTo>
                    <a:pt x="41" y="4"/>
                  </a:lnTo>
                  <a:lnTo>
                    <a:pt x="43" y="4"/>
                  </a:lnTo>
                  <a:lnTo>
                    <a:pt x="44" y="4"/>
                  </a:lnTo>
                  <a:lnTo>
                    <a:pt x="48" y="2"/>
                  </a:lnTo>
                  <a:lnTo>
                    <a:pt x="51" y="2"/>
                  </a:lnTo>
                  <a:lnTo>
                    <a:pt x="51" y="4"/>
                  </a:lnTo>
                  <a:lnTo>
                    <a:pt x="55" y="4"/>
                  </a:lnTo>
                  <a:lnTo>
                    <a:pt x="56" y="5"/>
                  </a:lnTo>
                  <a:lnTo>
                    <a:pt x="56" y="7"/>
                  </a:lnTo>
                  <a:lnTo>
                    <a:pt x="60" y="7"/>
                  </a:lnTo>
                  <a:lnTo>
                    <a:pt x="60" y="9"/>
                  </a:lnTo>
                  <a:lnTo>
                    <a:pt x="61" y="7"/>
                  </a:lnTo>
                  <a:lnTo>
                    <a:pt x="63" y="7"/>
                  </a:lnTo>
                  <a:lnTo>
                    <a:pt x="65" y="7"/>
                  </a:lnTo>
                  <a:lnTo>
                    <a:pt x="67" y="9"/>
                  </a:lnTo>
                  <a:lnTo>
                    <a:pt x="67" y="12"/>
                  </a:lnTo>
                  <a:lnTo>
                    <a:pt x="68" y="11"/>
                  </a:lnTo>
                  <a:lnTo>
                    <a:pt x="70" y="11"/>
                  </a:lnTo>
                  <a:lnTo>
                    <a:pt x="72" y="11"/>
                  </a:lnTo>
                  <a:lnTo>
                    <a:pt x="72" y="12"/>
                  </a:lnTo>
                  <a:lnTo>
                    <a:pt x="73" y="14"/>
                  </a:lnTo>
                  <a:lnTo>
                    <a:pt x="73" y="12"/>
                  </a:lnTo>
                  <a:lnTo>
                    <a:pt x="77" y="11"/>
                  </a:lnTo>
                  <a:lnTo>
                    <a:pt x="78" y="11"/>
                  </a:lnTo>
                  <a:lnTo>
                    <a:pt x="78" y="9"/>
                  </a:lnTo>
                  <a:lnTo>
                    <a:pt x="80" y="12"/>
                  </a:lnTo>
                  <a:lnTo>
                    <a:pt x="80" y="14"/>
                  </a:lnTo>
                  <a:lnTo>
                    <a:pt x="78" y="16"/>
                  </a:lnTo>
                  <a:lnTo>
                    <a:pt x="78" y="17"/>
                  </a:lnTo>
                  <a:lnTo>
                    <a:pt x="80" y="16"/>
                  </a:lnTo>
                  <a:lnTo>
                    <a:pt x="82" y="14"/>
                  </a:lnTo>
                  <a:lnTo>
                    <a:pt x="84" y="12"/>
                  </a:lnTo>
                  <a:lnTo>
                    <a:pt x="85" y="16"/>
                  </a:lnTo>
                  <a:lnTo>
                    <a:pt x="84" y="17"/>
                  </a:lnTo>
                  <a:lnTo>
                    <a:pt x="85" y="17"/>
                  </a:lnTo>
                  <a:lnTo>
                    <a:pt x="87" y="19"/>
                  </a:lnTo>
                  <a:lnTo>
                    <a:pt x="89" y="19"/>
                  </a:lnTo>
                  <a:lnTo>
                    <a:pt x="89" y="17"/>
                  </a:lnTo>
                  <a:lnTo>
                    <a:pt x="87" y="16"/>
                  </a:lnTo>
                  <a:lnTo>
                    <a:pt x="89" y="14"/>
                  </a:lnTo>
                  <a:lnTo>
                    <a:pt x="87" y="14"/>
                  </a:lnTo>
                  <a:lnTo>
                    <a:pt x="89" y="14"/>
                  </a:lnTo>
                  <a:lnTo>
                    <a:pt x="89" y="11"/>
                  </a:lnTo>
                  <a:lnTo>
                    <a:pt x="90" y="11"/>
                  </a:lnTo>
                  <a:lnTo>
                    <a:pt x="94" y="12"/>
                  </a:lnTo>
                  <a:lnTo>
                    <a:pt x="95" y="12"/>
                  </a:lnTo>
                  <a:lnTo>
                    <a:pt x="99" y="12"/>
                  </a:lnTo>
                  <a:lnTo>
                    <a:pt x="101" y="12"/>
                  </a:lnTo>
                  <a:lnTo>
                    <a:pt x="101" y="11"/>
                  </a:lnTo>
                  <a:lnTo>
                    <a:pt x="102" y="11"/>
                  </a:lnTo>
                  <a:lnTo>
                    <a:pt x="104" y="12"/>
                  </a:lnTo>
                  <a:lnTo>
                    <a:pt x="104" y="16"/>
                  </a:lnTo>
                  <a:lnTo>
                    <a:pt x="104" y="17"/>
                  </a:lnTo>
                  <a:lnTo>
                    <a:pt x="107" y="19"/>
                  </a:lnTo>
                  <a:lnTo>
                    <a:pt x="109" y="21"/>
                  </a:lnTo>
                  <a:lnTo>
                    <a:pt x="111" y="21"/>
                  </a:lnTo>
                  <a:lnTo>
                    <a:pt x="114" y="21"/>
                  </a:lnTo>
                  <a:lnTo>
                    <a:pt x="116" y="21"/>
                  </a:lnTo>
                  <a:lnTo>
                    <a:pt x="118" y="21"/>
                  </a:lnTo>
                  <a:lnTo>
                    <a:pt x="118" y="19"/>
                  </a:lnTo>
                  <a:lnTo>
                    <a:pt x="119" y="17"/>
                  </a:lnTo>
                  <a:lnTo>
                    <a:pt x="121" y="17"/>
                  </a:lnTo>
                  <a:lnTo>
                    <a:pt x="123" y="19"/>
                  </a:lnTo>
                  <a:lnTo>
                    <a:pt x="123" y="21"/>
                  </a:lnTo>
                  <a:lnTo>
                    <a:pt x="124" y="22"/>
                  </a:lnTo>
                  <a:lnTo>
                    <a:pt x="128" y="22"/>
                  </a:lnTo>
                  <a:lnTo>
                    <a:pt x="126" y="22"/>
                  </a:lnTo>
                  <a:lnTo>
                    <a:pt x="126" y="24"/>
                  </a:lnTo>
                  <a:lnTo>
                    <a:pt x="124" y="28"/>
                  </a:lnTo>
                  <a:lnTo>
                    <a:pt x="126" y="29"/>
                  </a:lnTo>
                  <a:lnTo>
                    <a:pt x="128" y="28"/>
                  </a:lnTo>
                  <a:lnTo>
                    <a:pt x="128" y="29"/>
                  </a:lnTo>
                  <a:lnTo>
                    <a:pt x="128" y="31"/>
                  </a:lnTo>
                  <a:lnTo>
                    <a:pt x="126" y="34"/>
                  </a:lnTo>
                  <a:lnTo>
                    <a:pt x="129" y="36"/>
                  </a:lnTo>
                  <a:lnTo>
                    <a:pt x="128" y="39"/>
                  </a:lnTo>
                  <a:lnTo>
                    <a:pt x="129" y="39"/>
                  </a:lnTo>
                  <a:lnTo>
                    <a:pt x="129" y="41"/>
                  </a:lnTo>
                  <a:lnTo>
                    <a:pt x="128" y="43"/>
                  </a:lnTo>
                  <a:lnTo>
                    <a:pt x="128" y="45"/>
                  </a:lnTo>
                  <a:lnTo>
                    <a:pt x="126" y="46"/>
                  </a:lnTo>
                  <a:lnTo>
                    <a:pt x="128" y="48"/>
                  </a:lnTo>
                  <a:lnTo>
                    <a:pt x="128" y="50"/>
                  </a:lnTo>
                  <a:lnTo>
                    <a:pt x="129" y="48"/>
                  </a:lnTo>
                  <a:lnTo>
                    <a:pt x="131" y="51"/>
                  </a:lnTo>
                  <a:lnTo>
                    <a:pt x="129" y="53"/>
                  </a:lnTo>
                  <a:lnTo>
                    <a:pt x="131" y="51"/>
                  </a:lnTo>
                  <a:lnTo>
                    <a:pt x="131" y="55"/>
                  </a:lnTo>
                  <a:lnTo>
                    <a:pt x="133" y="53"/>
                  </a:lnTo>
                  <a:lnTo>
                    <a:pt x="133" y="51"/>
                  </a:lnTo>
                  <a:lnTo>
                    <a:pt x="135" y="55"/>
                  </a:lnTo>
                  <a:lnTo>
                    <a:pt x="136" y="53"/>
                  </a:lnTo>
                  <a:lnTo>
                    <a:pt x="138" y="51"/>
                  </a:lnTo>
                  <a:lnTo>
                    <a:pt x="138" y="53"/>
                  </a:lnTo>
                  <a:lnTo>
                    <a:pt x="138" y="55"/>
                  </a:lnTo>
                  <a:lnTo>
                    <a:pt x="140" y="57"/>
                  </a:lnTo>
                  <a:lnTo>
                    <a:pt x="141" y="55"/>
                  </a:lnTo>
                  <a:lnTo>
                    <a:pt x="141" y="58"/>
                  </a:lnTo>
                  <a:lnTo>
                    <a:pt x="143" y="60"/>
                  </a:lnTo>
                  <a:lnTo>
                    <a:pt x="145" y="60"/>
                  </a:lnTo>
                  <a:lnTo>
                    <a:pt x="148" y="58"/>
                  </a:lnTo>
                  <a:lnTo>
                    <a:pt x="148" y="57"/>
                  </a:lnTo>
                  <a:lnTo>
                    <a:pt x="146" y="55"/>
                  </a:lnTo>
                  <a:lnTo>
                    <a:pt x="148" y="55"/>
                  </a:lnTo>
                  <a:lnTo>
                    <a:pt x="150" y="53"/>
                  </a:lnTo>
                  <a:lnTo>
                    <a:pt x="152" y="55"/>
                  </a:lnTo>
                  <a:lnTo>
                    <a:pt x="152" y="57"/>
                  </a:lnTo>
                  <a:lnTo>
                    <a:pt x="152" y="58"/>
                  </a:lnTo>
                  <a:lnTo>
                    <a:pt x="153" y="58"/>
                  </a:lnTo>
                  <a:lnTo>
                    <a:pt x="153" y="62"/>
                  </a:lnTo>
                  <a:lnTo>
                    <a:pt x="152" y="62"/>
                  </a:lnTo>
                  <a:lnTo>
                    <a:pt x="152" y="63"/>
                  </a:lnTo>
                  <a:lnTo>
                    <a:pt x="153" y="65"/>
                  </a:lnTo>
                  <a:lnTo>
                    <a:pt x="153" y="67"/>
                  </a:lnTo>
                  <a:lnTo>
                    <a:pt x="155" y="68"/>
                  </a:lnTo>
                  <a:lnTo>
                    <a:pt x="153" y="70"/>
                  </a:lnTo>
                  <a:lnTo>
                    <a:pt x="152" y="70"/>
                  </a:lnTo>
                  <a:lnTo>
                    <a:pt x="152" y="72"/>
                  </a:lnTo>
                  <a:lnTo>
                    <a:pt x="153" y="74"/>
                  </a:lnTo>
                  <a:lnTo>
                    <a:pt x="155" y="74"/>
                  </a:lnTo>
                  <a:lnTo>
                    <a:pt x="155" y="72"/>
                  </a:lnTo>
                  <a:lnTo>
                    <a:pt x="157" y="72"/>
                  </a:lnTo>
                  <a:lnTo>
                    <a:pt x="158" y="72"/>
                  </a:lnTo>
                  <a:lnTo>
                    <a:pt x="158" y="75"/>
                  </a:lnTo>
                  <a:lnTo>
                    <a:pt x="158" y="79"/>
                  </a:lnTo>
                  <a:lnTo>
                    <a:pt x="158" y="80"/>
                  </a:lnTo>
                  <a:lnTo>
                    <a:pt x="157" y="82"/>
                  </a:lnTo>
                  <a:lnTo>
                    <a:pt x="158" y="82"/>
                  </a:lnTo>
                  <a:lnTo>
                    <a:pt x="160" y="82"/>
                  </a:lnTo>
                  <a:lnTo>
                    <a:pt x="162" y="80"/>
                  </a:lnTo>
                  <a:lnTo>
                    <a:pt x="162" y="82"/>
                  </a:lnTo>
                  <a:lnTo>
                    <a:pt x="165" y="82"/>
                  </a:lnTo>
                  <a:lnTo>
                    <a:pt x="167" y="82"/>
                  </a:lnTo>
                  <a:lnTo>
                    <a:pt x="167" y="84"/>
                  </a:lnTo>
                  <a:lnTo>
                    <a:pt x="169" y="85"/>
                  </a:lnTo>
                  <a:lnTo>
                    <a:pt x="170" y="84"/>
                  </a:lnTo>
                  <a:lnTo>
                    <a:pt x="172" y="84"/>
                  </a:lnTo>
                  <a:lnTo>
                    <a:pt x="174" y="82"/>
                  </a:lnTo>
                  <a:lnTo>
                    <a:pt x="174" y="85"/>
                  </a:lnTo>
                  <a:lnTo>
                    <a:pt x="175" y="85"/>
                  </a:lnTo>
                  <a:lnTo>
                    <a:pt x="177" y="84"/>
                  </a:lnTo>
                  <a:lnTo>
                    <a:pt x="179" y="85"/>
                  </a:lnTo>
                  <a:lnTo>
                    <a:pt x="177" y="87"/>
                  </a:lnTo>
                  <a:lnTo>
                    <a:pt x="179" y="89"/>
                  </a:lnTo>
                  <a:lnTo>
                    <a:pt x="180" y="89"/>
                  </a:lnTo>
                  <a:lnTo>
                    <a:pt x="180" y="92"/>
                  </a:lnTo>
                  <a:lnTo>
                    <a:pt x="182" y="94"/>
                  </a:lnTo>
                  <a:lnTo>
                    <a:pt x="180" y="97"/>
                  </a:lnTo>
                  <a:lnTo>
                    <a:pt x="182" y="99"/>
                  </a:lnTo>
                  <a:lnTo>
                    <a:pt x="184" y="101"/>
                  </a:lnTo>
                  <a:lnTo>
                    <a:pt x="182" y="102"/>
                  </a:lnTo>
                  <a:lnTo>
                    <a:pt x="182" y="104"/>
                  </a:lnTo>
                  <a:lnTo>
                    <a:pt x="180" y="104"/>
                  </a:lnTo>
                  <a:lnTo>
                    <a:pt x="180" y="106"/>
                  </a:lnTo>
                  <a:lnTo>
                    <a:pt x="182" y="108"/>
                  </a:lnTo>
                  <a:lnTo>
                    <a:pt x="184" y="108"/>
                  </a:lnTo>
                  <a:lnTo>
                    <a:pt x="184" y="106"/>
                  </a:lnTo>
                  <a:lnTo>
                    <a:pt x="186" y="108"/>
                  </a:lnTo>
                  <a:lnTo>
                    <a:pt x="186" y="106"/>
                  </a:lnTo>
                  <a:lnTo>
                    <a:pt x="187" y="109"/>
                  </a:lnTo>
                  <a:lnTo>
                    <a:pt x="189" y="109"/>
                  </a:lnTo>
                  <a:lnTo>
                    <a:pt x="187" y="109"/>
                  </a:lnTo>
                  <a:lnTo>
                    <a:pt x="189" y="109"/>
                  </a:lnTo>
                  <a:lnTo>
                    <a:pt x="189" y="111"/>
                  </a:lnTo>
                  <a:lnTo>
                    <a:pt x="191" y="109"/>
                  </a:lnTo>
                  <a:lnTo>
                    <a:pt x="191" y="111"/>
                  </a:lnTo>
                  <a:lnTo>
                    <a:pt x="192" y="111"/>
                  </a:lnTo>
                  <a:lnTo>
                    <a:pt x="192" y="109"/>
                  </a:lnTo>
                  <a:lnTo>
                    <a:pt x="194" y="111"/>
                  </a:lnTo>
                  <a:lnTo>
                    <a:pt x="196" y="109"/>
                  </a:lnTo>
                  <a:lnTo>
                    <a:pt x="196" y="111"/>
                  </a:lnTo>
                  <a:lnTo>
                    <a:pt x="194" y="113"/>
                  </a:lnTo>
                  <a:lnTo>
                    <a:pt x="192" y="113"/>
                  </a:lnTo>
                  <a:lnTo>
                    <a:pt x="191" y="114"/>
                  </a:lnTo>
                  <a:lnTo>
                    <a:pt x="189" y="114"/>
                  </a:lnTo>
                  <a:lnTo>
                    <a:pt x="186" y="114"/>
                  </a:lnTo>
                  <a:lnTo>
                    <a:pt x="184" y="116"/>
                  </a:lnTo>
                  <a:lnTo>
                    <a:pt x="184" y="118"/>
                  </a:lnTo>
                  <a:lnTo>
                    <a:pt x="182" y="118"/>
                  </a:lnTo>
                  <a:lnTo>
                    <a:pt x="180" y="118"/>
                  </a:lnTo>
                  <a:lnTo>
                    <a:pt x="180" y="116"/>
                  </a:lnTo>
                  <a:lnTo>
                    <a:pt x="179" y="114"/>
                  </a:lnTo>
                  <a:lnTo>
                    <a:pt x="177" y="113"/>
                  </a:lnTo>
                  <a:lnTo>
                    <a:pt x="175" y="113"/>
                  </a:lnTo>
                  <a:lnTo>
                    <a:pt x="174" y="113"/>
                  </a:lnTo>
                  <a:lnTo>
                    <a:pt x="175" y="114"/>
                  </a:lnTo>
                  <a:lnTo>
                    <a:pt x="174" y="116"/>
                  </a:lnTo>
                  <a:lnTo>
                    <a:pt x="172" y="114"/>
                  </a:lnTo>
                  <a:lnTo>
                    <a:pt x="172" y="116"/>
                  </a:lnTo>
                  <a:lnTo>
                    <a:pt x="174" y="119"/>
                  </a:lnTo>
                  <a:lnTo>
                    <a:pt x="172" y="121"/>
                  </a:lnTo>
                  <a:lnTo>
                    <a:pt x="170" y="121"/>
                  </a:lnTo>
                  <a:lnTo>
                    <a:pt x="169" y="119"/>
                  </a:lnTo>
                  <a:lnTo>
                    <a:pt x="167" y="118"/>
                  </a:lnTo>
                  <a:lnTo>
                    <a:pt x="165" y="118"/>
                  </a:lnTo>
                  <a:lnTo>
                    <a:pt x="163" y="118"/>
                  </a:lnTo>
                  <a:lnTo>
                    <a:pt x="163" y="116"/>
                  </a:lnTo>
                  <a:lnTo>
                    <a:pt x="162" y="114"/>
                  </a:lnTo>
                  <a:lnTo>
                    <a:pt x="160" y="114"/>
                  </a:lnTo>
                  <a:lnTo>
                    <a:pt x="160" y="116"/>
                  </a:lnTo>
                  <a:lnTo>
                    <a:pt x="158" y="118"/>
                  </a:lnTo>
                  <a:lnTo>
                    <a:pt x="160" y="119"/>
                  </a:lnTo>
                  <a:lnTo>
                    <a:pt x="158" y="118"/>
                  </a:lnTo>
                  <a:lnTo>
                    <a:pt x="158" y="116"/>
                  </a:lnTo>
                  <a:lnTo>
                    <a:pt x="157" y="114"/>
                  </a:lnTo>
                  <a:lnTo>
                    <a:pt x="157" y="118"/>
                  </a:lnTo>
                  <a:lnTo>
                    <a:pt x="155" y="118"/>
                  </a:lnTo>
                  <a:lnTo>
                    <a:pt x="155" y="119"/>
                  </a:lnTo>
                  <a:lnTo>
                    <a:pt x="157" y="121"/>
                  </a:lnTo>
                  <a:lnTo>
                    <a:pt x="153" y="123"/>
                  </a:lnTo>
                  <a:lnTo>
                    <a:pt x="153" y="125"/>
                  </a:lnTo>
                  <a:lnTo>
                    <a:pt x="152" y="125"/>
                  </a:lnTo>
                  <a:lnTo>
                    <a:pt x="153" y="121"/>
                  </a:lnTo>
                  <a:lnTo>
                    <a:pt x="152" y="121"/>
                  </a:lnTo>
                  <a:lnTo>
                    <a:pt x="152" y="119"/>
                  </a:lnTo>
                  <a:lnTo>
                    <a:pt x="152" y="118"/>
                  </a:lnTo>
                  <a:lnTo>
                    <a:pt x="152" y="116"/>
                  </a:lnTo>
                  <a:lnTo>
                    <a:pt x="150" y="114"/>
                  </a:lnTo>
                  <a:lnTo>
                    <a:pt x="150" y="113"/>
                  </a:lnTo>
                  <a:lnTo>
                    <a:pt x="148" y="114"/>
                  </a:lnTo>
                  <a:lnTo>
                    <a:pt x="146" y="114"/>
                  </a:lnTo>
                  <a:lnTo>
                    <a:pt x="148" y="116"/>
                  </a:lnTo>
                  <a:lnTo>
                    <a:pt x="146" y="116"/>
                  </a:lnTo>
                  <a:lnTo>
                    <a:pt x="145" y="118"/>
                  </a:lnTo>
                  <a:lnTo>
                    <a:pt x="143" y="118"/>
                  </a:lnTo>
                  <a:lnTo>
                    <a:pt x="141" y="119"/>
                  </a:lnTo>
                  <a:lnTo>
                    <a:pt x="140" y="121"/>
                  </a:lnTo>
                  <a:lnTo>
                    <a:pt x="141" y="121"/>
                  </a:lnTo>
                  <a:lnTo>
                    <a:pt x="140" y="123"/>
                  </a:lnTo>
                  <a:lnTo>
                    <a:pt x="138" y="123"/>
                  </a:lnTo>
                  <a:lnTo>
                    <a:pt x="138" y="125"/>
                  </a:lnTo>
                  <a:lnTo>
                    <a:pt x="140" y="126"/>
                  </a:lnTo>
                  <a:lnTo>
                    <a:pt x="141" y="128"/>
                  </a:lnTo>
                  <a:lnTo>
                    <a:pt x="143" y="131"/>
                  </a:lnTo>
                  <a:lnTo>
                    <a:pt x="143" y="133"/>
                  </a:lnTo>
                  <a:lnTo>
                    <a:pt x="141" y="135"/>
                  </a:lnTo>
                  <a:lnTo>
                    <a:pt x="141" y="136"/>
                  </a:lnTo>
                  <a:lnTo>
                    <a:pt x="145" y="138"/>
                  </a:lnTo>
                  <a:lnTo>
                    <a:pt x="148" y="138"/>
                  </a:lnTo>
                  <a:lnTo>
                    <a:pt x="148" y="140"/>
                  </a:lnTo>
                  <a:lnTo>
                    <a:pt x="148" y="142"/>
                  </a:lnTo>
                  <a:lnTo>
                    <a:pt x="146" y="145"/>
                  </a:lnTo>
                  <a:lnTo>
                    <a:pt x="145" y="148"/>
                  </a:lnTo>
                  <a:lnTo>
                    <a:pt x="146" y="148"/>
                  </a:lnTo>
                  <a:lnTo>
                    <a:pt x="148" y="150"/>
                  </a:lnTo>
                  <a:lnTo>
                    <a:pt x="148" y="153"/>
                  </a:lnTo>
                  <a:lnTo>
                    <a:pt x="146" y="153"/>
                  </a:lnTo>
                  <a:lnTo>
                    <a:pt x="146" y="155"/>
                  </a:lnTo>
                  <a:lnTo>
                    <a:pt x="145" y="155"/>
                  </a:lnTo>
                  <a:lnTo>
                    <a:pt x="141" y="157"/>
                  </a:lnTo>
                  <a:lnTo>
                    <a:pt x="140" y="157"/>
                  </a:lnTo>
                  <a:lnTo>
                    <a:pt x="140" y="159"/>
                  </a:lnTo>
                  <a:lnTo>
                    <a:pt x="138" y="159"/>
                  </a:lnTo>
                  <a:lnTo>
                    <a:pt x="138" y="162"/>
                  </a:lnTo>
                  <a:lnTo>
                    <a:pt x="140" y="164"/>
                  </a:lnTo>
                  <a:lnTo>
                    <a:pt x="141" y="167"/>
                  </a:lnTo>
                  <a:lnTo>
                    <a:pt x="138" y="169"/>
                  </a:lnTo>
                  <a:lnTo>
                    <a:pt x="138" y="170"/>
                  </a:lnTo>
                  <a:lnTo>
                    <a:pt x="140" y="172"/>
                  </a:lnTo>
                  <a:lnTo>
                    <a:pt x="138" y="172"/>
                  </a:lnTo>
                  <a:lnTo>
                    <a:pt x="136" y="174"/>
                  </a:lnTo>
                  <a:lnTo>
                    <a:pt x="135" y="174"/>
                  </a:lnTo>
                  <a:lnTo>
                    <a:pt x="133" y="174"/>
                  </a:lnTo>
                  <a:lnTo>
                    <a:pt x="135" y="177"/>
                  </a:lnTo>
                  <a:lnTo>
                    <a:pt x="133" y="177"/>
                  </a:lnTo>
                  <a:lnTo>
                    <a:pt x="131" y="177"/>
                  </a:lnTo>
                  <a:lnTo>
                    <a:pt x="131" y="181"/>
                  </a:lnTo>
                  <a:lnTo>
                    <a:pt x="129" y="182"/>
                  </a:lnTo>
                  <a:lnTo>
                    <a:pt x="131" y="182"/>
                  </a:lnTo>
                  <a:lnTo>
                    <a:pt x="133" y="182"/>
                  </a:lnTo>
                  <a:lnTo>
                    <a:pt x="133" y="184"/>
                  </a:lnTo>
                  <a:lnTo>
                    <a:pt x="135" y="187"/>
                  </a:lnTo>
                  <a:lnTo>
                    <a:pt x="133" y="189"/>
                  </a:lnTo>
                  <a:lnTo>
                    <a:pt x="135" y="191"/>
                  </a:lnTo>
                  <a:lnTo>
                    <a:pt x="135" y="194"/>
                  </a:lnTo>
                  <a:lnTo>
                    <a:pt x="131" y="196"/>
                  </a:lnTo>
                  <a:lnTo>
                    <a:pt x="129" y="196"/>
                  </a:lnTo>
                  <a:lnTo>
                    <a:pt x="129" y="194"/>
                  </a:lnTo>
                  <a:lnTo>
                    <a:pt x="126" y="193"/>
                  </a:lnTo>
                  <a:lnTo>
                    <a:pt x="124" y="193"/>
                  </a:lnTo>
                  <a:lnTo>
                    <a:pt x="123" y="194"/>
                  </a:lnTo>
                  <a:lnTo>
                    <a:pt x="123" y="196"/>
                  </a:lnTo>
                  <a:lnTo>
                    <a:pt x="121" y="198"/>
                  </a:lnTo>
                  <a:lnTo>
                    <a:pt x="121" y="19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30" name="Freeform 61">
              <a:extLst>
                <a:ext uri="{FF2B5EF4-FFF2-40B4-BE49-F238E27FC236}">
                  <a16:creationId xmlns:a16="http://schemas.microsoft.com/office/drawing/2014/main" id="{BEA6A351-9E17-4CA2-B2EF-D838B715489C}"/>
                </a:ext>
              </a:extLst>
            </p:cNvPr>
            <p:cNvSpPr>
              <a:spLocks/>
            </p:cNvSpPr>
            <p:nvPr/>
          </p:nvSpPr>
          <p:spPr bwMode="gray">
            <a:xfrm>
              <a:off x="10010793" y="2745735"/>
              <a:ext cx="1128804" cy="1069550"/>
            </a:xfrm>
            <a:custGeom>
              <a:avLst/>
              <a:gdLst>
                <a:gd name="T0" fmla="*/ 345 w 381"/>
                <a:gd name="T1" fmla="*/ 243 h 361"/>
                <a:gd name="T2" fmla="*/ 334 w 381"/>
                <a:gd name="T3" fmla="*/ 253 h 361"/>
                <a:gd name="T4" fmla="*/ 328 w 381"/>
                <a:gd name="T5" fmla="*/ 274 h 361"/>
                <a:gd name="T6" fmla="*/ 334 w 381"/>
                <a:gd name="T7" fmla="*/ 294 h 361"/>
                <a:gd name="T8" fmla="*/ 323 w 381"/>
                <a:gd name="T9" fmla="*/ 301 h 361"/>
                <a:gd name="T10" fmla="*/ 301 w 381"/>
                <a:gd name="T11" fmla="*/ 301 h 361"/>
                <a:gd name="T12" fmla="*/ 288 w 381"/>
                <a:gd name="T13" fmla="*/ 310 h 361"/>
                <a:gd name="T14" fmla="*/ 267 w 381"/>
                <a:gd name="T15" fmla="*/ 296 h 361"/>
                <a:gd name="T16" fmla="*/ 252 w 381"/>
                <a:gd name="T17" fmla="*/ 315 h 361"/>
                <a:gd name="T18" fmla="*/ 230 w 381"/>
                <a:gd name="T19" fmla="*/ 306 h 361"/>
                <a:gd name="T20" fmla="*/ 213 w 381"/>
                <a:gd name="T21" fmla="*/ 320 h 361"/>
                <a:gd name="T22" fmla="*/ 199 w 381"/>
                <a:gd name="T23" fmla="*/ 318 h 361"/>
                <a:gd name="T24" fmla="*/ 174 w 381"/>
                <a:gd name="T25" fmla="*/ 315 h 361"/>
                <a:gd name="T26" fmla="*/ 143 w 381"/>
                <a:gd name="T27" fmla="*/ 311 h 361"/>
                <a:gd name="T28" fmla="*/ 118 w 381"/>
                <a:gd name="T29" fmla="*/ 315 h 361"/>
                <a:gd name="T30" fmla="*/ 85 w 381"/>
                <a:gd name="T31" fmla="*/ 322 h 361"/>
                <a:gd name="T32" fmla="*/ 62 w 381"/>
                <a:gd name="T33" fmla="*/ 335 h 361"/>
                <a:gd name="T34" fmla="*/ 43 w 381"/>
                <a:gd name="T35" fmla="*/ 350 h 361"/>
                <a:gd name="T36" fmla="*/ 33 w 381"/>
                <a:gd name="T37" fmla="*/ 354 h 361"/>
                <a:gd name="T38" fmla="*/ 33 w 381"/>
                <a:gd name="T39" fmla="*/ 328 h 361"/>
                <a:gd name="T40" fmla="*/ 14 w 381"/>
                <a:gd name="T41" fmla="*/ 313 h 361"/>
                <a:gd name="T42" fmla="*/ 16 w 381"/>
                <a:gd name="T43" fmla="*/ 291 h 361"/>
                <a:gd name="T44" fmla="*/ 33 w 381"/>
                <a:gd name="T45" fmla="*/ 271 h 361"/>
                <a:gd name="T46" fmla="*/ 24 w 381"/>
                <a:gd name="T47" fmla="*/ 243 h 361"/>
                <a:gd name="T48" fmla="*/ 7 w 381"/>
                <a:gd name="T49" fmla="*/ 213 h 361"/>
                <a:gd name="T50" fmla="*/ 9 w 381"/>
                <a:gd name="T51" fmla="*/ 192 h 361"/>
                <a:gd name="T52" fmla="*/ 28 w 381"/>
                <a:gd name="T53" fmla="*/ 189 h 361"/>
                <a:gd name="T54" fmla="*/ 48 w 381"/>
                <a:gd name="T55" fmla="*/ 182 h 361"/>
                <a:gd name="T56" fmla="*/ 56 w 381"/>
                <a:gd name="T57" fmla="*/ 168 h 361"/>
                <a:gd name="T58" fmla="*/ 77 w 381"/>
                <a:gd name="T59" fmla="*/ 155 h 361"/>
                <a:gd name="T60" fmla="*/ 85 w 381"/>
                <a:gd name="T61" fmla="*/ 157 h 361"/>
                <a:gd name="T62" fmla="*/ 79 w 381"/>
                <a:gd name="T63" fmla="*/ 141 h 361"/>
                <a:gd name="T64" fmla="*/ 80 w 381"/>
                <a:gd name="T65" fmla="*/ 109 h 361"/>
                <a:gd name="T66" fmla="*/ 94 w 381"/>
                <a:gd name="T67" fmla="*/ 90 h 361"/>
                <a:gd name="T68" fmla="*/ 113 w 381"/>
                <a:gd name="T69" fmla="*/ 75 h 361"/>
                <a:gd name="T70" fmla="*/ 97 w 381"/>
                <a:gd name="T71" fmla="*/ 61 h 361"/>
                <a:gd name="T72" fmla="*/ 109 w 381"/>
                <a:gd name="T73" fmla="*/ 36 h 361"/>
                <a:gd name="T74" fmla="*/ 133 w 381"/>
                <a:gd name="T75" fmla="*/ 31 h 361"/>
                <a:gd name="T76" fmla="*/ 145 w 381"/>
                <a:gd name="T77" fmla="*/ 3 h 361"/>
                <a:gd name="T78" fmla="*/ 164 w 381"/>
                <a:gd name="T79" fmla="*/ 2 h 361"/>
                <a:gd name="T80" fmla="*/ 191 w 381"/>
                <a:gd name="T81" fmla="*/ 3 h 361"/>
                <a:gd name="T82" fmla="*/ 206 w 381"/>
                <a:gd name="T83" fmla="*/ 19 h 361"/>
                <a:gd name="T84" fmla="*/ 223 w 381"/>
                <a:gd name="T85" fmla="*/ 3 h 361"/>
                <a:gd name="T86" fmla="*/ 245 w 381"/>
                <a:gd name="T87" fmla="*/ 5 h 361"/>
                <a:gd name="T88" fmla="*/ 262 w 381"/>
                <a:gd name="T89" fmla="*/ 9 h 361"/>
                <a:gd name="T90" fmla="*/ 269 w 381"/>
                <a:gd name="T91" fmla="*/ 34 h 361"/>
                <a:gd name="T92" fmla="*/ 276 w 381"/>
                <a:gd name="T93" fmla="*/ 53 h 361"/>
                <a:gd name="T94" fmla="*/ 284 w 381"/>
                <a:gd name="T95" fmla="*/ 71 h 361"/>
                <a:gd name="T96" fmla="*/ 298 w 381"/>
                <a:gd name="T97" fmla="*/ 85 h 361"/>
                <a:gd name="T98" fmla="*/ 313 w 381"/>
                <a:gd name="T99" fmla="*/ 99 h 361"/>
                <a:gd name="T100" fmla="*/ 334 w 381"/>
                <a:gd name="T101" fmla="*/ 109 h 361"/>
                <a:gd name="T102" fmla="*/ 345 w 381"/>
                <a:gd name="T103" fmla="*/ 117 h 361"/>
                <a:gd name="T104" fmla="*/ 361 w 381"/>
                <a:gd name="T105" fmla="*/ 124 h 361"/>
                <a:gd name="T106" fmla="*/ 376 w 381"/>
                <a:gd name="T107" fmla="*/ 133 h 361"/>
                <a:gd name="T108" fmla="*/ 371 w 381"/>
                <a:gd name="T109" fmla="*/ 145 h 361"/>
                <a:gd name="T110" fmla="*/ 354 w 381"/>
                <a:gd name="T111" fmla="*/ 167 h 361"/>
                <a:gd name="T112" fmla="*/ 332 w 381"/>
                <a:gd name="T113" fmla="*/ 165 h 361"/>
                <a:gd name="T114" fmla="*/ 335 w 381"/>
                <a:gd name="T115" fmla="*/ 184 h 361"/>
                <a:gd name="T116" fmla="*/ 351 w 381"/>
                <a:gd name="T117" fmla="*/ 204 h 361"/>
                <a:gd name="T118" fmla="*/ 356 w 381"/>
                <a:gd name="T119" fmla="*/ 22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1" h="361">
                  <a:moveTo>
                    <a:pt x="368" y="233"/>
                  </a:moveTo>
                  <a:lnTo>
                    <a:pt x="366" y="235"/>
                  </a:lnTo>
                  <a:lnTo>
                    <a:pt x="362" y="235"/>
                  </a:lnTo>
                  <a:lnTo>
                    <a:pt x="361" y="236"/>
                  </a:lnTo>
                  <a:lnTo>
                    <a:pt x="359" y="236"/>
                  </a:lnTo>
                  <a:lnTo>
                    <a:pt x="357" y="236"/>
                  </a:lnTo>
                  <a:lnTo>
                    <a:pt x="356" y="236"/>
                  </a:lnTo>
                  <a:lnTo>
                    <a:pt x="354" y="236"/>
                  </a:lnTo>
                  <a:lnTo>
                    <a:pt x="352" y="236"/>
                  </a:lnTo>
                  <a:lnTo>
                    <a:pt x="351" y="238"/>
                  </a:lnTo>
                  <a:lnTo>
                    <a:pt x="352" y="238"/>
                  </a:lnTo>
                  <a:lnTo>
                    <a:pt x="349" y="240"/>
                  </a:lnTo>
                  <a:lnTo>
                    <a:pt x="351" y="242"/>
                  </a:lnTo>
                  <a:lnTo>
                    <a:pt x="349" y="243"/>
                  </a:lnTo>
                  <a:lnTo>
                    <a:pt x="347" y="245"/>
                  </a:lnTo>
                  <a:lnTo>
                    <a:pt x="345" y="243"/>
                  </a:lnTo>
                  <a:lnTo>
                    <a:pt x="344" y="243"/>
                  </a:lnTo>
                  <a:lnTo>
                    <a:pt x="342" y="242"/>
                  </a:lnTo>
                  <a:lnTo>
                    <a:pt x="340" y="243"/>
                  </a:lnTo>
                  <a:lnTo>
                    <a:pt x="339" y="243"/>
                  </a:lnTo>
                  <a:lnTo>
                    <a:pt x="339" y="245"/>
                  </a:lnTo>
                  <a:lnTo>
                    <a:pt x="337" y="247"/>
                  </a:lnTo>
                  <a:lnTo>
                    <a:pt x="334" y="245"/>
                  </a:lnTo>
                  <a:lnTo>
                    <a:pt x="334" y="247"/>
                  </a:lnTo>
                  <a:lnTo>
                    <a:pt x="335" y="248"/>
                  </a:lnTo>
                  <a:lnTo>
                    <a:pt x="334" y="248"/>
                  </a:lnTo>
                  <a:lnTo>
                    <a:pt x="335" y="250"/>
                  </a:lnTo>
                  <a:lnTo>
                    <a:pt x="334" y="250"/>
                  </a:lnTo>
                  <a:lnTo>
                    <a:pt x="335" y="252"/>
                  </a:lnTo>
                  <a:lnTo>
                    <a:pt x="334" y="252"/>
                  </a:lnTo>
                  <a:lnTo>
                    <a:pt x="335" y="253"/>
                  </a:lnTo>
                  <a:lnTo>
                    <a:pt x="334" y="253"/>
                  </a:lnTo>
                  <a:lnTo>
                    <a:pt x="334" y="255"/>
                  </a:lnTo>
                  <a:lnTo>
                    <a:pt x="332" y="255"/>
                  </a:lnTo>
                  <a:lnTo>
                    <a:pt x="334" y="257"/>
                  </a:lnTo>
                  <a:lnTo>
                    <a:pt x="332" y="257"/>
                  </a:lnTo>
                  <a:lnTo>
                    <a:pt x="332" y="259"/>
                  </a:lnTo>
                  <a:lnTo>
                    <a:pt x="332" y="260"/>
                  </a:lnTo>
                  <a:lnTo>
                    <a:pt x="330" y="260"/>
                  </a:lnTo>
                  <a:lnTo>
                    <a:pt x="330" y="262"/>
                  </a:lnTo>
                  <a:lnTo>
                    <a:pt x="328" y="264"/>
                  </a:lnTo>
                  <a:lnTo>
                    <a:pt x="328" y="265"/>
                  </a:lnTo>
                  <a:lnTo>
                    <a:pt x="327" y="267"/>
                  </a:lnTo>
                  <a:lnTo>
                    <a:pt x="328" y="269"/>
                  </a:lnTo>
                  <a:lnTo>
                    <a:pt x="328" y="271"/>
                  </a:lnTo>
                  <a:lnTo>
                    <a:pt x="327" y="271"/>
                  </a:lnTo>
                  <a:lnTo>
                    <a:pt x="328" y="272"/>
                  </a:lnTo>
                  <a:lnTo>
                    <a:pt x="328" y="274"/>
                  </a:lnTo>
                  <a:lnTo>
                    <a:pt x="327" y="276"/>
                  </a:lnTo>
                  <a:lnTo>
                    <a:pt x="327" y="279"/>
                  </a:lnTo>
                  <a:lnTo>
                    <a:pt x="325" y="279"/>
                  </a:lnTo>
                  <a:lnTo>
                    <a:pt x="325" y="282"/>
                  </a:lnTo>
                  <a:lnTo>
                    <a:pt x="328" y="282"/>
                  </a:lnTo>
                  <a:lnTo>
                    <a:pt x="325" y="284"/>
                  </a:lnTo>
                  <a:lnTo>
                    <a:pt x="328" y="284"/>
                  </a:lnTo>
                  <a:lnTo>
                    <a:pt x="327" y="286"/>
                  </a:lnTo>
                  <a:lnTo>
                    <a:pt x="328" y="288"/>
                  </a:lnTo>
                  <a:lnTo>
                    <a:pt x="330" y="286"/>
                  </a:lnTo>
                  <a:lnTo>
                    <a:pt x="330" y="289"/>
                  </a:lnTo>
                  <a:lnTo>
                    <a:pt x="332" y="291"/>
                  </a:lnTo>
                  <a:lnTo>
                    <a:pt x="334" y="291"/>
                  </a:lnTo>
                  <a:lnTo>
                    <a:pt x="332" y="293"/>
                  </a:lnTo>
                  <a:lnTo>
                    <a:pt x="332" y="294"/>
                  </a:lnTo>
                  <a:lnTo>
                    <a:pt x="334" y="294"/>
                  </a:lnTo>
                  <a:lnTo>
                    <a:pt x="337" y="296"/>
                  </a:lnTo>
                  <a:lnTo>
                    <a:pt x="335" y="298"/>
                  </a:lnTo>
                  <a:lnTo>
                    <a:pt x="337" y="299"/>
                  </a:lnTo>
                  <a:lnTo>
                    <a:pt x="335" y="303"/>
                  </a:lnTo>
                  <a:lnTo>
                    <a:pt x="337" y="303"/>
                  </a:lnTo>
                  <a:lnTo>
                    <a:pt x="337" y="305"/>
                  </a:lnTo>
                  <a:lnTo>
                    <a:pt x="335" y="305"/>
                  </a:lnTo>
                  <a:lnTo>
                    <a:pt x="334" y="306"/>
                  </a:lnTo>
                  <a:lnTo>
                    <a:pt x="332" y="306"/>
                  </a:lnTo>
                  <a:lnTo>
                    <a:pt x="334" y="308"/>
                  </a:lnTo>
                  <a:lnTo>
                    <a:pt x="332" y="308"/>
                  </a:lnTo>
                  <a:lnTo>
                    <a:pt x="330" y="306"/>
                  </a:lnTo>
                  <a:lnTo>
                    <a:pt x="330" y="305"/>
                  </a:lnTo>
                  <a:lnTo>
                    <a:pt x="327" y="305"/>
                  </a:lnTo>
                  <a:lnTo>
                    <a:pt x="323" y="303"/>
                  </a:lnTo>
                  <a:lnTo>
                    <a:pt x="323" y="301"/>
                  </a:lnTo>
                  <a:lnTo>
                    <a:pt x="322" y="298"/>
                  </a:lnTo>
                  <a:lnTo>
                    <a:pt x="320" y="296"/>
                  </a:lnTo>
                  <a:lnTo>
                    <a:pt x="317" y="294"/>
                  </a:lnTo>
                  <a:lnTo>
                    <a:pt x="315" y="294"/>
                  </a:lnTo>
                  <a:lnTo>
                    <a:pt x="313" y="294"/>
                  </a:lnTo>
                  <a:lnTo>
                    <a:pt x="313" y="296"/>
                  </a:lnTo>
                  <a:lnTo>
                    <a:pt x="311" y="294"/>
                  </a:lnTo>
                  <a:lnTo>
                    <a:pt x="311" y="296"/>
                  </a:lnTo>
                  <a:lnTo>
                    <a:pt x="310" y="296"/>
                  </a:lnTo>
                  <a:lnTo>
                    <a:pt x="306" y="296"/>
                  </a:lnTo>
                  <a:lnTo>
                    <a:pt x="306" y="298"/>
                  </a:lnTo>
                  <a:lnTo>
                    <a:pt x="305" y="299"/>
                  </a:lnTo>
                  <a:lnTo>
                    <a:pt x="303" y="298"/>
                  </a:lnTo>
                  <a:lnTo>
                    <a:pt x="301" y="299"/>
                  </a:lnTo>
                  <a:lnTo>
                    <a:pt x="303" y="301"/>
                  </a:lnTo>
                  <a:lnTo>
                    <a:pt x="301" y="301"/>
                  </a:lnTo>
                  <a:lnTo>
                    <a:pt x="300" y="303"/>
                  </a:lnTo>
                  <a:lnTo>
                    <a:pt x="300" y="301"/>
                  </a:lnTo>
                  <a:lnTo>
                    <a:pt x="298" y="303"/>
                  </a:lnTo>
                  <a:lnTo>
                    <a:pt x="300" y="303"/>
                  </a:lnTo>
                  <a:lnTo>
                    <a:pt x="296" y="303"/>
                  </a:lnTo>
                  <a:lnTo>
                    <a:pt x="294" y="301"/>
                  </a:lnTo>
                  <a:lnTo>
                    <a:pt x="296" y="299"/>
                  </a:lnTo>
                  <a:lnTo>
                    <a:pt x="294" y="298"/>
                  </a:lnTo>
                  <a:lnTo>
                    <a:pt x="293" y="301"/>
                  </a:lnTo>
                  <a:lnTo>
                    <a:pt x="289" y="301"/>
                  </a:lnTo>
                  <a:lnTo>
                    <a:pt x="291" y="303"/>
                  </a:lnTo>
                  <a:lnTo>
                    <a:pt x="289" y="305"/>
                  </a:lnTo>
                  <a:lnTo>
                    <a:pt x="288" y="303"/>
                  </a:lnTo>
                  <a:lnTo>
                    <a:pt x="288" y="306"/>
                  </a:lnTo>
                  <a:lnTo>
                    <a:pt x="288" y="308"/>
                  </a:lnTo>
                  <a:lnTo>
                    <a:pt x="288" y="310"/>
                  </a:lnTo>
                  <a:lnTo>
                    <a:pt x="284" y="310"/>
                  </a:lnTo>
                  <a:lnTo>
                    <a:pt x="283" y="311"/>
                  </a:lnTo>
                  <a:lnTo>
                    <a:pt x="281" y="313"/>
                  </a:lnTo>
                  <a:lnTo>
                    <a:pt x="281" y="311"/>
                  </a:lnTo>
                  <a:lnTo>
                    <a:pt x="279" y="310"/>
                  </a:lnTo>
                  <a:lnTo>
                    <a:pt x="277" y="308"/>
                  </a:lnTo>
                  <a:lnTo>
                    <a:pt x="276" y="308"/>
                  </a:lnTo>
                  <a:lnTo>
                    <a:pt x="274" y="306"/>
                  </a:lnTo>
                  <a:lnTo>
                    <a:pt x="274" y="303"/>
                  </a:lnTo>
                  <a:lnTo>
                    <a:pt x="274" y="301"/>
                  </a:lnTo>
                  <a:lnTo>
                    <a:pt x="272" y="301"/>
                  </a:lnTo>
                  <a:lnTo>
                    <a:pt x="271" y="299"/>
                  </a:lnTo>
                  <a:lnTo>
                    <a:pt x="271" y="298"/>
                  </a:lnTo>
                  <a:lnTo>
                    <a:pt x="269" y="298"/>
                  </a:lnTo>
                  <a:lnTo>
                    <a:pt x="269" y="296"/>
                  </a:lnTo>
                  <a:lnTo>
                    <a:pt x="267" y="296"/>
                  </a:lnTo>
                  <a:lnTo>
                    <a:pt x="266" y="299"/>
                  </a:lnTo>
                  <a:lnTo>
                    <a:pt x="264" y="301"/>
                  </a:lnTo>
                  <a:lnTo>
                    <a:pt x="264" y="303"/>
                  </a:lnTo>
                  <a:lnTo>
                    <a:pt x="262" y="303"/>
                  </a:lnTo>
                  <a:lnTo>
                    <a:pt x="259" y="303"/>
                  </a:lnTo>
                  <a:lnTo>
                    <a:pt x="259" y="305"/>
                  </a:lnTo>
                  <a:lnTo>
                    <a:pt x="257" y="306"/>
                  </a:lnTo>
                  <a:lnTo>
                    <a:pt x="255" y="306"/>
                  </a:lnTo>
                  <a:lnTo>
                    <a:pt x="255" y="308"/>
                  </a:lnTo>
                  <a:lnTo>
                    <a:pt x="255" y="310"/>
                  </a:lnTo>
                  <a:lnTo>
                    <a:pt x="255" y="311"/>
                  </a:lnTo>
                  <a:lnTo>
                    <a:pt x="255" y="313"/>
                  </a:lnTo>
                  <a:lnTo>
                    <a:pt x="255" y="316"/>
                  </a:lnTo>
                  <a:lnTo>
                    <a:pt x="254" y="313"/>
                  </a:lnTo>
                  <a:lnTo>
                    <a:pt x="252" y="316"/>
                  </a:lnTo>
                  <a:lnTo>
                    <a:pt x="252" y="315"/>
                  </a:lnTo>
                  <a:lnTo>
                    <a:pt x="250" y="313"/>
                  </a:lnTo>
                  <a:lnTo>
                    <a:pt x="250" y="311"/>
                  </a:lnTo>
                  <a:lnTo>
                    <a:pt x="249" y="310"/>
                  </a:lnTo>
                  <a:lnTo>
                    <a:pt x="249" y="308"/>
                  </a:lnTo>
                  <a:lnTo>
                    <a:pt x="245" y="308"/>
                  </a:lnTo>
                  <a:lnTo>
                    <a:pt x="243" y="308"/>
                  </a:lnTo>
                  <a:lnTo>
                    <a:pt x="240" y="308"/>
                  </a:lnTo>
                  <a:lnTo>
                    <a:pt x="240" y="310"/>
                  </a:lnTo>
                  <a:lnTo>
                    <a:pt x="238" y="311"/>
                  </a:lnTo>
                  <a:lnTo>
                    <a:pt x="237" y="313"/>
                  </a:lnTo>
                  <a:lnTo>
                    <a:pt x="235" y="310"/>
                  </a:lnTo>
                  <a:lnTo>
                    <a:pt x="233" y="310"/>
                  </a:lnTo>
                  <a:lnTo>
                    <a:pt x="232" y="308"/>
                  </a:lnTo>
                  <a:lnTo>
                    <a:pt x="232" y="305"/>
                  </a:lnTo>
                  <a:lnTo>
                    <a:pt x="230" y="305"/>
                  </a:lnTo>
                  <a:lnTo>
                    <a:pt x="230" y="306"/>
                  </a:lnTo>
                  <a:lnTo>
                    <a:pt x="228" y="306"/>
                  </a:lnTo>
                  <a:lnTo>
                    <a:pt x="226" y="308"/>
                  </a:lnTo>
                  <a:lnTo>
                    <a:pt x="226" y="311"/>
                  </a:lnTo>
                  <a:lnTo>
                    <a:pt x="226" y="313"/>
                  </a:lnTo>
                  <a:lnTo>
                    <a:pt x="223" y="315"/>
                  </a:lnTo>
                  <a:lnTo>
                    <a:pt x="221" y="315"/>
                  </a:lnTo>
                  <a:lnTo>
                    <a:pt x="220" y="316"/>
                  </a:lnTo>
                  <a:lnTo>
                    <a:pt x="220" y="313"/>
                  </a:lnTo>
                  <a:lnTo>
                    <a:pt x="218" y="315"/>
                  </a:lnTo>
                  <a:lnTo>
                    <a:pt x="216" y="313"/>
                  </a:lnTo>
                  <a:lnTo>
                    <a:pt x="215" y="311"/>
                  </a:lnTo>
                  <a:lnTo>
                    <a:pt x="213" y="313"/>
                  </a:lnTo>
                  <a:lnTo>
                    <a:pt x="215" y="313"/>
                  </a:lnTo>
                  <a:lnTo>
                    <a:pt x="215" y="316"/>
                  </a:lnTo>
                  <a:lnTo>
                    <a:pt x="215" y="318"/>
                  </a:lnTo>
                  <a:lnTo>
                    <a:pt x="213" y="320"/>
                  </a:lnTo>
                  <a:lnTo>
                    <a:pt x="213" y="322"/>
                  </a:lnTo>
                  <a:lnTo>
                    <a:pt x="213" y="323"/>
                  </a:lnTo>
                  <a:lnTo>
                    <a:pt x="211" y="323"/>
                  </a:lnTo>
                  <a:lnTo>
                    <a:pt x="209" y="323"/>
                  </a:lnTo>
                  <a:lnTo>
                    <a:pt x="208" y="322"/>
                  </a:lnTo>
                  <a:lnTo>
                    <a:pt x="208" y="320"/>
                  </a:lnTo>
                  <a:lnTo>
                    <a:pt x="209" y="318"/>
                  </a:lnTo>
                  <a:lnTo>
                    <a:pt x="209" y="315"/>
                  </a:lnTo>
                  <a:lnTo>
                    <a:pt x="208" y="316"/>
                  </a:lnTo>
                  <a:lnTo>
                    <a:pt x="206" y="315"/>
                  </a:lnTo>
                  <a:lnTo>
                    <a:pt x="204" y="316"/>
                  </a:lnTo>
                  <a:lnTo>
                    <a:pt x="203" y="315"/>
                  </a:lnTo>
                  <a:lnTo>
                    <a:pt x="201" y="315"/>
                  </a:lnTo>
                  <a:lnTo>
                    <a:pt x="201" y="316"/>
                  </a:lnTo>
                  <a:lnTo>
                    <a:pt x="199" y="315"/>
                  </a:lnTo>
                  <a:lnTo>
                    <a:pt x="199" y="318"/>
                  </a:lnTo>
                  <a:lnTo>
                    <a:pt x="201" y="316"/>
                  </a:lnTo>
                  <a:lnTo>
                    <a:pt x="199" y="318"/>
                  </a:lnTo>
                  <a:lnTo>
                    <a:pt x="198" y="316"/>
                  </a:lnTo>
                  <a:lnTo>
                    <a:pt x="196" y="318"/>
                  </a:lnTo>
                  <a:lnTo>
                    <a:pt x="194" y="318"/>
                  </a:lnTo>
                  <a:lnTo>
                    <a:pt x="192" y="320"/>
                  </a:lnTo>
                  <a:lnTo>
                    <a:pt x="189" y="320"/>
                  </a:lnTo>
                  <a:lnTo>
                    <a:pt x="189" y="316"/>
                  </a:lnTo>
                  <a:lnTo>
                    <a:pt x="187" y="316"/>
                  </a:lnTo>
                  <a:lnTo>
                    <a:pt x="186" y="316"/>
                  </a:lnTo>
                  <a:lnTo>
                    <a:pt x="186" y="315"/>
                  </a:lnTo>
                  <a:lnTo>
                    <a:pt x="184" y="310"/>
                  </a:lnTo>
                  <a:lnTo>
                    <a:pt x="177" y="311"/>
                  </a:lnTo>
                  <a:lnTo>
                    <a:pt x="175" y="311"/>
                  </a:lnTo>
                  <a:lnTo>
                    <a:pt x="175" y="313"/>
                  </a:lnTo>
                  <a:lnTo>
                    <a:pt x="174" y="315"/>
                  </a:lnTo>
                  <a:lnTo>
                    <a:pt x="172" y="315"/>
                  </a:lnTo>
                  <a:lnTo>
                    <a:pt x="170" y="315"/>
                  </a:lnTo>
                  <a:lnTo>
                    <a:pt x="169" y="313"/>
                  </a:lnTo>
                  <a:lnTo>
                    <a:pt x="167" y="315"/>
                  </a:lnTo>
                  <a:lnTo>
                    <a:pt x="165" y="313"/>
                  </a:lnTo>
                  <a:lnTo>
                    <a:pt x="165" y="311"/>
                  </a:lnTo>
                  <a:lnTo>
                    <a:pt x="162" y="311"/>
                  </a:lnTo>
                  <a:lnTo>
                    <a:pt x="160" y="311"/>
                  </a:lnTo>
                  <a:lnTo>
                    <a:pt x="158" y="311"/>
                  </a:lnTo>
                  <a:lnTo>
                    <a:pt x="157" y="315"/>
                  </a:lnTo>
                  <a:lnTo>
                    <a:pt x="153" y="315"/>
                  </a:lnTo>
                  <a:lnTo>
                    <a:pt x="150" y="313"/>
                  </a:lnTo>
                  <a:lnTo>
                    <a:pt x="148" y="310"/>
                  </a:lnTo>
                  <a:lnTo>
                    <a:pt x="148" y="311"/>
                  </a:lnTo>
                  <a:lnTo>
                    <a:pt x="145" y="313"/>
                  </a:lnTo>
                  <a:lnTo>
                    <a:pt x="143" y="311"/>
                  </a:lnTo>
                  <a:lnTo>
                    <a:pt x="141" y="313"/>
                  </a:lnTo>
                  <a:lnTo>
                    <a:pt x="140" y="313"/>
                  </a:lnTo>
                  <a:lnTo>
                    <a:pt x="138" y="313"/>
                  </a:lnTo>
                  <a:lnTo>
                    <a:pt x="136" y="311"/>
                  </a:lnTo>
                  <a:lnTo>
                    <a:pt x="133" y="311"/>
                  </a:lnTo>
                  <a:lnTo>
                    <a:pt x="131" y="310"/>
                  </a:lnTo>
                  <a:lnTo>
                    <a:pt x="130" y="311"/>
                  </a:lnTo>
                  <a:lnTo>
                    <a:pt x="128" y="311"/>
                  </a:lnTo>
                  <a:lnTo>
                    <a:pt x="126" y="311"/>
                  </a:lnTo>
                  <a:lnTo>
                    <a:pt x="124" y="313"/>
                  </a:lnTo>
                  <a:lnTo>
                    <a:pt x="124" y="311"/>
                  </a:lnTo>
                  <a:lnTo>
                    <a:pt x="121" y="311"/>
                  </a:lnTo>
                  <a:lnTo>
                    <a:pt x="123" y="313"/>
                  </a:lnTo>
                  <a:lnTo>
                    <a:pt x="121" y="313"/>
                  </a:lnTo>
                  <a:lnTo>
                    <a:pt x="119" y="315"/>
                  </a:lnTo>
                  <a:lnTo>
                    <a:pt x="118" y="315"/>
                  </a:lnTo>
                  <a:lnTo>
                    <a:pt x="114" y="315"/>
                  </a:lnTo>
                  <a:lnTo>
                    <a:pt x="111" y="315"/>
                  </a:lnTo>
                  <a:lnTo>
                    <a:pt x="111" y="316"/>
                  </a:lnTo>
                  <a:lnTo>
                    <a:pt x="109" y="315"/>
                  </a:lnTo>
                  <a:lnTo>
                    <a:pt x="109" y="316"/>
                  </a:lnTo>
                  <a:lnTo>
                    <a:pt x="106" y="316"/>
                  </a:lnTo>
                  <a:lnTo>
                    <a:pt x="104" y="316"/>
                  </a:lnTo>
                  <a:lnTo>
                    <a:pt x="102" y="316"/>
                  </a:lnTo>
                  <a:lnTo>
                    <a:pt x="99" y="315"/>
                  </a:lnTo>
                  <a:lnTo>
                    <a:pt x="97" y="315"/>
                  </a:lnTo>
                  <a:lnTo>
                    <a:pt x="96" y="316"/>
                  </a:lnTo>
                  <a:lnTo>
                    <a:pt x="92" y="318"/>
                  </a:lnTo>
                  <a:lnTo>
                    <a:pt x="90" y="320"/>
                  </a:lnTo>
                  <a:lnTo>
                    <a:pt x="89" y="320"/>
                  </a:lnTo>
                  <a:lnTo>
                    <a:pt x="89" y="322"/>
                  </a:lnTo>
                  <a:lnTo>
                    <a:pt x="85" y="322"/>
                  </a:lnTo>
                  <a:lnTo>
                    <a:pt x="84" y="323"/>
                  </a:lnTo>
                  <a:lnTo>
                    <a:pt x="82" y="323"/>
                  </a:lnTo>
                  <a:lnTo>
                    <a:pt x="80" y="323"/>
                  </a:lnTo>
                  <a:lnTo>
                    <a:pt x="80" y="325"/>
                  </a:lnTo>
                  <a:lnTo>
                    <a:pt x="77" y="325"/>
                  </a:lnTo>
                  <a:lnTo>
                    <a:pt x="75" y="325"/>
                  </a:lnTo>
                  <a:lnTo>
                    <a:pt x="73" y="325"/>
                  </a:lnTo>
                  <a:lnTo>
                    <a:pt x="72" y="327"/>
                  </a:lnTo>
                  <a:lnTo>
                    <a:pt x="70" y="327"/>
                  </a:lnTo>
                  <a:lnTo>
                    <a:pt x="68" y="327"/>
                  </a:lnTo>
                  <a:lnTo>
                    <a:pt x="65" y="328"/>
                  </a:lnTo>
                  <a:lnTo>
                    <a:pt x="63" y="328"/>
                  </a:lnTo>
                  <a:lnTo>
                    <a:pt x="62" y="330"/>
                  </a:lnTo>
                  <a:lnTo>
                    <a:pt x="63" y="332"/>
                  </a:lnTo>
                  <a:lnTo>
                    <a:pt x="62" y="333"/>
                  </a:lnTo>
                  <a:lnTo>
                    <a:pt x="62" y="335"/>
                  </a:lnTo>
                  <a:lnTo>
                    <a:pt x="62" y="337"/>
                  </a:lnTo>
                  <a:lnTo>
                    <a:pt x="63" y="339"/>
                  </a:lnTo>
                  <a:lnTo>
                    <a:pt x="62" y="340"/>
                  </a:lnTo>
                  <a:lnTo>
                    <a:pt x="60" y="342"/>
                  </a:lnTo>
                  <a:lnTo>
                    <a:pt x="58" y="344"/>
                  </a:lnTo>
                  <a:lnTo>
                    <a:pt x="56" y="345"/>
                  </a:lnTo>
                  <a:lnTo>
                    <a:pt x="55" y="347"/>
                  </a:lnTo>
                  <a:lnTo>
                    <a:pt x="55" y="349"/>
                  </a:lnTo>
                  <a:lnTo>
                    <a:pt x="53" y="350"/>
                  </a:lnTo>
                  <a:lnTo>
                    <a:pt x="51" y="352"/>
                  </a:lnTo>
                  <a:lnTo>
                    <a:pt x="50" y="352"/>
                  </a:lnTo>
                  <a:lnTo>
                    <a:pt x="46" y="352"/>
                  </a:lnTo>
                  <a:lnTo>
                    <a:pt x="48" y="349"/>
                  </a:lnTo>
                  <a:lnTo>
                    <a:pt x="45" y="349"/>
                  </a:lnTo>
                  <a:lnTo>
                    <a:pt x="43" y="349"/>
                  </a:lnTo>
                  <a:lnTo>
                    <a:pt x="43" y="350"/>
                  </a:lnTo>
                  <a:lnTo>
                    <a:pt x="41" y="349"/>
                  </a:lnTo>
                  <a:lnTo>
                    <a:pt x="39" y="349"/>
                  </a:lnTo>
                  <a:lnTo>
                    <a:pt x="38" y="350"/>
                  </a:lnTo>
                  <a:lnTo>
                    <a:pt x="36" y="350"/>
                  </a:lnTo>
                  <a:lnTo>
                    <a:pt x="34" y="352"/>
                  </a:lnTo>
                  <a:lnTo>
                    <a:pt x="36" y="354"/>
                  </a:lnTo>
                  <a:lnTo>
                    <a:pt x="38" y="356"/>
                  </a:lnTo>
                  <a:lnTo>
                    <a:pt x="36" y="357"/>
                  </a:lnTo>
                  <a:lnTo>
                    <a:pt x="38" y="359"/>
                  </a:lnTo>
                  <a:lnTo>
                    <a:pt x="39" y="361"/>
                  </a:lnTo>
                  <a:lnTo>
                    <a:pt x="36" y="361"/>
                  </a:lnTo>
                  <a:lnTo>
                    <a:pt x="36" y="359"/>
                  </a:lnTo>
                  <a:lnTo>
                    <a:pt x="34" y="359"/>
                  </a:lnTo>
                  <a:lnTo>
                    <a:pt x="34" y="357"/>
                  </a:lnTo>
                  <a:lnTo>
                    <a:pt x="33" y="356"/>
                  </a:lnTo>
                  <a:lnTo>
                    <a:pt x="33" y="354"/>
                  </a:lnTo>
                  <a:lnTo>
                    <a:pt x="31" y="352"/>
                  </a:lnTo>
                  <a:lnTo>
                    <a:pt x="31" y="350"/>
                  </a:lnTo>
                  <a:lnTo>
                    <a:pt x="31" y="347"/>
                  </a:lnTo>
                  <a:lnTo>
                    <a:pt x="29" y="345"/>
                  </a:lnTo>
                  <a:lnTo>
                    <a:pt x="31" y="344"/>
                  </a:lnTo>
                  <a:lnTo>
                    <a:pt x="33" y="342"/>
                  </a:lnTo>
                  <a:lnTo>
                    <a:pt x="34" y="340"/>
                  </a:lnTo>
                  <a:lnTo>
                    <a:pt x="33" y="339"/>
                  </a:lnTo>
                  <a:lnTo>
                    <a:pt x="31" y="337"/>
                  </a:lnTo>
                  <a:lnTo>
                    <a:pt x="31" y="335"/>
                  </a:lnTo>
                  <a:lnTo>
                    <a:pt x="33" y="335"/>
                  </a:lnTo>
                  <a:lnTo>
                    <a:pt x="33" y="333"/>
                  </a:lnTo>
                  <a:lnTo>
                    <a:pt x="31" y="332"/>
                  </a:lnTo>
                  <a:lnTo>
                    <a:pt x="33" y="330"/>
                  </a:lnTo>
                  <a:lnTo>
                    <a:pt x="31" y="330"/>
                  </a:lnTo>
                  <a:lnTo>
                    <a:pt x="33" y="328"/>
                  </a:lnTo>
                  <a:lnTo>
                    <a:pt x="33" y="327"/>
                  </a:lnTo>
                  <a:lnTo>
                    <a:pt x="31" y="325"/>
                  </a:lnTo>
                  <a:lnTo>
                    <a:pt x="31" y="322"/>
                  </a:lnTo>
                  <a:lnTo>
                    <a:pt x="28" y="320"/>
                  </a:lnTo>
                  <a:lnTo>
                    <a:pt x="29" y="320"/>
                  </a:lnTo>
                  <a:lnTo>
                    <a:pt x="28" y="318"/>
                  </a:lnTo>
                  <a:lnTo>
                    <a:pt x="26" y="320"/>
                  </a:lnTo>
                  <a:lnTo>
                    <a:pt x="26" y="318"/>
                  </a:lnTo>
                  <a:lnTo>
                    <a:pt x="24" y="316"/>
                  </a:lnTo>
                  <a:lnTo>
                    <a:pt x="22" y="316"/>
                  </a:lnTo>
                  <a:lnTo>
                    <a:pt x="22" y="315"/>
                  </a:lnTo>
                  <a:lnTo>
                    <a:pt x="21" y="315"/>
                  </a:lnTo>
                  <a:lnTo>
                    <a:pt x="19" y="316"/>
                  </a:lnTo>
                  <a:lnTo>
                    <a:pt x="17" y="315"/>
                  </a:lnTo>
                  <a:lnTo>
                    <a:pt x="14" y="315"/>
                  </a:lnTo>
                  <a:lnTo>
                    <a:pt x="14" y="313"/>
                  </a:lnTo>
                  <a:lnTo>
                    <a:pt x="12" y="315"/>
                  </a:lnTo>
                  <a:lnTo>
                    <a:pt x="9" y="315"/>
                  </a:lnTo>
                  <a:lnTo>
                    <a:pt x="9" y="313"/>
                  </a:lnTo>
                  <a:lnTo>
                    <a:pt x="9" y="311"/>
                  </a:lnTo>
                  <a:lnTo>
                    <a:pt x="7" y="311"/>
                  </a:lnTo>
                  <a:lnTo>
                    <a:pt x="9" y="310"/>
                  </a:lnTo>
                  <a:lnTo>
                    <a:pt x="9" y="308"/>
                  </a:lnTo>
                  <a:lnTo>
                    <a:pt x="9" y="305"/>
                  </a:lnTo>
                  <a:lnTo>
                    <a:pt x="11" y="303"/>
                  </a:lnTo>
                  <a:lnTo>
                    <a:pt x="11" y="301"/>
                  </a:lnTo>
                  <a:lnTo>
                    <a:pt x="12" y="299"/>
                  </a:lnTo>
                  <a:lnTo>
                    <a:pt x="12" y="298"/>
                  </a:lnTo>
                  <a:lnTo>
                    <a:pt x="12" y="296"/>
                  </a:lnTo>
                  <a:lnTo>
                    <a:pt x="14" y="294"/>
                  </a:lnTo>
                  <a:lnTo>
                    <a:pt x="14" y="293"/>
                  </a:lnTo>
                  <a:lnTo>
                    <a:pt x="16" y="291"/>
                  </a:lnTo>
                  <a:lnTo>
                    <a:pt x="16" y="289"/>
                  </a:lnTo>
                  <a:lnTo>
                    <a:pt x="17" y="289"/>
                  </a:lnTo>
                  <a:lnTo>
                    <a:pt x="19" y="288"/>
                  </a:lnTo>
                  <a:lnTo>
                    <a:pt x="21" y="286"/>
                  </a:lnTo>
                  <a:lnTo>
                    <a:pt x="22" y="284"/>
                  </a:lnTo>
                  <a:lnTo>
                    <a:pt x="26" y="284"/>
                  </a:lnTo>
                  <a:lnTo>
                    <a:pt x="28" y="284"/>
                  </a:lnTo>
                  <a:lnTo>
                    <a:pt x="28" y="282"/>
                  </a:lnTo>
                  <a:lnTo>
                    <a:pt x="29" y="282"/>
                  </a:lnTo>
                  <a:lnTo>
                    <a:pt x="29" y="281"/>
                  </a:lnTo>
                  <a:lnTo>
                    <a:pt x="31" y="279"/>
                  </a:lnTo>
                  <a:lnTo>
                    <a:pt x="33" y="277"/>
                  </a:lnTo>
                  <a:lnTo>
                    <a:pt x="34" y="276"/>
                  </a:lnTo>
                  <a:lnTo>
                    <a:pt x="34" y="274"/>
                  </a:lnTo>
                  <a:lnTo>
                    <a:pt x="33" y="272"/>
                  </a:lnTo>
                  <a:lnTo>
                    <a:pt x="33" y="271"/>
                  </a:lnTo>
                  <a:lnTo>
                    <a:pt x="33" y="269"/>
                  </a:lnTo>
                  <a:lnTo>
                    <a:pt x="31" y="267"/>
                  </a:lnTo>
                  <a:lnTo>
                    <a:pt x="31" y="265"/>
                  </a:lnTo>
                  <a:lnTo>
                    <a:pt x="31" y="262"/>
                  </a:lnTo>
                  <a:lnTo>
                    <a:pt x="29" y="260"/>
                  </a:lnTo>
                  <a:lnTo>
                    <a:pt x="31" y="259"/>
                  </a:lnTo>
                  <a:lnTo>
                    <a:pt x="29" y="257"/>
                  </a:lnTo>
                  <a:lnTo>
                    <a:pt x="29" y="253"/>
                  </a:lnTo>
                  <a:lnTo>
                    <a:pt x="28" y="253"/>
                  </a:lnTo>
                  <a:lnTo>
                    <a:pt x="29" y="253"/>
                  </a:lnTo>
                  <a:lnTo>
                    <a:pt x="28" y="252"/>
                  </a:lnTo>
                  <a:lnTo>
                    <a:pt x="26" y="250"/>
                  </a:lnTo>
                  <a:lnTo>
                    <a:pt x="26" y="247"/>
                  </a:lnTo>
                  <a:lnTo>
                    <a:pt x="28" y="245"/>
                  </a:lnTo>
                  <a:lnTo>
                    <a:pt x="26" y="243"/>
                  </a:lnTo>
                  <a:lnTo>
                    <a:pt x="24" y="243"/>
                  </a:lnTo>
                  <a:lnTo>
                    <a:pt x="24" y="240"/>
                  </a:lnTo>
                  <a:lnTo>
                    <a:pt x="22" y="240"/>
                  </a:lnTo>
                  <a:lnTo>
                    <a:pt x="21" y="238"/>
                  </a:lnTo>
                  <a:lnTo>
                    <a:pt x="21" y="236"/>
                  </a:lnTo>
                  <a:lnTo>
                    <a:pt x="19" y="235"/>
                  </a:lnTo>
                  <a:lnTo>
                    <a:pt x="17" y="231"/>
                  </a:lnTo>
                  <a:lnTo>
                    <a:pt x="17" y="230"/>
                  </a:lnTo>
                  <a:lnTo>
                    <a:pt x="16" y="228"/>
                  </a:lnTo>
                  <a:lnTo>
                    <a:pt x="14" y="228"/>
                  </a:lnTo>
                  <a:lnTo>
                    <a:pt x="14" y="225"/>
                  </a:lnTo>
                  <a:lnTo>
                    <a:pt x="12" y="223"/>
                  </a:lnTo>
                  <a:lnTo>
                    <a:pt x="12" y="221"/>
                  </a:lnTo>
                  <a:lnTo>
                    <a:pt x="11" y="219"/>
                  </a:lnTo>
                  <a:lnTo>
                    <a:pt x="9" y="218"/>
                  </a:lnTo>
                  <a:lnTo>
                    <a:pt x="9" y="216"/>
                  </a:lnTo>
                  <a:lnTo>
                    <a:pt x="7" y="213"/>
                  </a:lnTo>
                  <a:lnTo>
                    <a:pt x="7" y="211"/>
                  </a:lnTo>
                  <a:lnTo>
                    <a:pt x="5" y="209"/>
                  </a:lnTo>
                  <a:lnTo>
                    <a:pt x="5" y="208"/>
                  </a:lnTo>
                  <a:lnTo>
                    <a:pt x="4" y="206"/>
                  </a:lnTo>
                  <a:lnTo>
                    <a:pt x="4" y="204"/>
                  </a:lnTo>
                  <a:lnTo>
                    <a:pt x="4" y="202"/>
                  </a:lnTo>
                  <a:lnTo>
                    <a:pt x="4" y="201"/>
                  </a:lnTo>
                  <a:lnTo>
                    <a:pt x="2" y="201"/>
                  </a:lnTo>
                  <a:lnTo>
                    <a:pt x="4" y="201"/>
                  </a:lnTo>
                  <a:lnTo>
                    <a:pt x="2" y="199"/>
                  </a:lnTo>
                  <a:lnTo>
                    <a:pt x="0" y="196"/>
                  </a:lnTo>
                  <a:lnTo>
                    <a:pt x="0" y="192"/>
                  </a:lnTo>
                  <a:lnTo>
                    <a:pt x="2" y="194"/>
                  </a:lnTo>
                  <a:lnTo>
                    <a:pt x="4" y="194"/>
                  </a:lnTo>
                  <a:lnTo>
                    <a:pt x="5" y="194"/>
                  </a:lnTo>
                  <a:lnTo>
                    <a:pt x="9" y="192"/>
                  </a:lnTo>
                  <a:lnTo>
                    <a:pt x="11" y="194"/>
                  </a:lnTo>
                  <a:lnTo>
                    <a:pt x="12" y="196"/>
                  </a:lnTo>
                  <a:lnTo>
                    <a:pt x="12" y="194"/>
                  </a:lnTo>
                  <a:lnTo>
                    <a:pt x="12" y="192"/>
                  </a:lnTo>
                  <a:lnTo>
                    <a:pt x="14" y="191"/>
                  </a:lnTo>
                  <a:lnTo>
                    <a:pt x="16" y="191"/>
                  </a:lnTo>
                  <a:lnTo>
                    <a:pt x="16" y="189"/>
                  </a:lnTo>
                  <a:lnTo>
                    <a:pt x="17" y="189"/>
                  </a:lnTo>
                  <a:lnTo>
                    <a:pt x="19" y="192"/>
                  </a:lnTo>
                  <a:lnTo>
                    <a:pt x="19" y="191"/>
                  </a:lnTo>
                  <a:lnTo>
                    <a:pt x="21" y="191"/>
                  </a:lnTo>
                  <a:lnTo>
                    <a:pt x="22" y="191"/>
                  </a:lnTo>
                  <a:lnTo>
                    <a:pt x="24" y="189"/>
                  </a:lnTo>
                  <a:lnTo>
                    <a:pt x="26" y="189"/>
                  </a:lnTo>
                  <a:lnTo>
                    <a:pt x="28" y="187"/>
                  </a:lnTo>
                  <a:lnTo>
                    <a:pt x="28" y="189"/>
                  </a:lnTo>
                  <a:lnTo>
                    <a:pt x="29" y="187"/>
                  </a:lnTo>
                  <a:lnTo>
                    <a:pt x="33" y="189"/>
                  </a:lnTo>
                  <a:lnTo>
                    <a:pt x="33" y="191"/>
                  </a:lnTo>
                  <a:lnTo>
                    <a:pt x="34" y="189"/>
                  </a:lnTo>
                  <a:lnTo>
                    <a:pt x="36" y="191"/>
                  </a:lnTo>
                  <a:lnTo>
                    <a:pt x="38" y="189"/>
                  </a:lnTo>
                  <a:lnTo>
                    <a:pt x="38" y="191"/>
                  </a:lnTo>
                  <a:lnTo>
                    <a:pt x="38" y="189"/>
                  </a:lnTo>
                  <a:lnTo>
                    <a:pt x="39" y="189"/>
                  </a:lnTo>
                  <a:lnTo>
                    <a:pt x="39" y="185"/>
                  </a:lnTo>
                  <a:lnTo>
                    <a:pt x="41" y="185"/>
                  </a:lnTo>
                  <a:lnTo>
                    <a:pt x="43" y="182"/>
                  </a:lnTo>
                  <a:lnTo>
                    <a:pt x="45" y="180"/>
                  </a:lnTo>
                  <a:lnTo>
                    <a:pt x="46" y="179"/>
                  </a:lnTo>
                  <a:lnTo>
                    <a:pt x="48" y="180"/>
                  </a:lnTo>
                  <a:lnTo>
                    <a:pt x="48" y="182"/>
                  </a:lnTo>
                  <a:lnTo>
                    <a:pt x="48" y="184"/>
                  </a:lnTo>
                  <a:lnTo>
                    <a:pt x="50" y="182"/>
                  </a:lnTo>
                  <a:lnTo>
                    <a:pt x="50" y="180"/>
                  </a:lnTo>
                  <a:lnTo>
                    <a:pt x="51" y="180"/>
                  </a:lnTo>
                  <a:lnTo>
                    <a:pt x="53" y="179"/>
                  </a:lnTo>
                  <a:lnTo>
                    <a:pt x="51" y="177"/>
                  </a:lnTo>
                  <a:lnTo>
                    <a:pt x="53" y="177"/>
                  </a:lnTo>
                  <a:lnTo>
                    <a:pt x="51" y="177"/>
                  </a:lnTo>
                  <a:lnTo>
                    <a:pt x="51" y="175"/>
                  </a:lnTo>
                  <a:lnTo>
                    <a:pt x="50" y="174"/>
                  </a:lnTo>
                  <a:lnTo>
                    <a:pt x="48" y="172"/>
                  </a:lnTo>
                  <a:lnTo>
                    <a:pt x="51" y="170"/>
                  </a:lnTo>
                  <a:lnTo>
                    <a:pt x="50" y="170"/>
                  </a:lnTo>
                  <a:lnTo>
                    <a:pt x="51" y="168"/>
                  </a:lnTo>
                  <a:lnTo>
                    <a:pt x="55" y="167"/>
                  </a:lnTo>
                  <a:lnTo>
                    <a:pt x="56" y="168"/>
                  </a:lnTo>
                  <a:lnTo>
                    <a:pt x="58" y="168"/>
                  </a:lnTo>
                  <a:lnTo>
                    <a:pt x="60" y="168"/>
                  </a:lnTo>
                  <a:lnTo>
                    <a:pt x="60" y="167"/>
                  </a:lnTo>
                  <a:lnTo>
                    <a:pt x="62" y="167"/>
                  </a:lnTo>
                  <a:lnTo>
                    <a:pt x="62" y="165"/>
                  </a:lnTo>
                  <a:lnTo>
                    <a:pt x="63" y="163"/>
                  </a:lnTo>
                  <a:lnTo>
                    <a:pt x="63" y="162"/>
                  </a:lnTo>
                  <a:lnTo>
                    <a:pt x="63" y="160"/>
                  </a:lnTo>
                  <a:lnTo>
                    <a:pt x="65" y="158"/>
                  </a:lnTo>
                  <a:lnTo>
                    <a:pt x="67" y="157"/>
                  </a:lnTo>
                  <a:lnTo>
                    <a:pt x="67" y="158"/>
                  </a:lnTo>
                  <a:lnTo>
                    <a:pt x="70" y="157"/>
                  </a:lnTo>
                  <a:lnTo>
                    <a:pt x="72" y="155"/>
                  </a:lnTo>
                  <a:lnTo>
                    <a:pt x="73" y="155"/>
                  </a:lnTo>
                  <a:lnTo>
                    <a:pt x="75" y="153"/>
                  </a:lnTo>
                  <a:lnTo>
                    <a:pt x="77" y="155"/>
                  </a:lnTo>
                  <a:lnTo>
                    <a:pt x="79" y="155"/>
                  </a:lnTo>
                  <a:lnTo>
                    <a:pt x="77" y="155"/>
                  </a:lnTo>
                  <a:lnTo>
                    <a:pt x="80" y="157"/>
                  </a:lnTo>
                  <a:lnTo>
                    <a:pt x="77" y="158"/>
                  </a:lnTo>
                  <a:lnTo>
                    <a:pt x="79" y="158"/>
                  </a:lnTo>
                  <a:lnTo>
                    <a:pt x="77" y="162"/>
                  </a:lnTo>
                  <a:lnTo>
                    <a:pt x="79" y="163"/>
                  </a:lnTo>
                  <a:lnTo>
                    <a:pt x="82" y="163"/>
                  </a:lnTo>
                  <a:lnTo>
                    <a:pt x="84" y="163"/>
                  </a:lnTo>
                  <a:lnTo>
                    <a:pt x="85" y="163"/>
                  </a:lnTo>
                  <a:lnTo>
                    <a:pt x="85" y="160"/>
                  </a:lnTo>
                  <a:lnTo>
                    <a:pt x="87" y="162"/>
                  </a:lnTo>
                  <a:lnTo>
                    <a:pt x="87" y="160"/>
                  </a:lnTo>
                  <a:lnTo>
                    <a:pt x="89" y="160"/>
                  </a:lnTo>
                  <a:lnTo>
                    <a:pt x="87" y="158"/>
                  </a:lnTo>
                  <a:lnTo>
                    <a:pt x="85" y="157"/>
                  </a:lnTo>
                  <a:lnTo>
                    <a:pt x="87" y="155"/>
                  </a:lnTo>
                  <a:lnTo>
                    <a:pt x="85" y="155"/>
                  </a:lnTo>
                  <a:lnTo>
                    <a:pt x="85" y="153"/>
                  </a:lnTo>
                  <a:lnTo>
                    <a:pt x="84" y="153"/>
                  </a:lnTo>
                  <a:lnTo>
                    <a:pt x="84" y="151"/>
                  </a:lnTo>
                  <a:lnTo>
                    <a:pt x="82" y="150"/>
                  </a:lnTo>
                  <a:lnTo>
                    <a:pt x="80" y="151"/>
                  </a:lnTo>
                  <a:lnTo>
                    <a:pt x="79" y="151"/>
                  </a:lnTo>
                  <a:lnTo>
                    <a:pt x="77" y="151"/>
                  </a:lnTo>
                  <a:lnTo>
                    <a:pt x="75" y="151"/>
                  </a:lnTo>
                  <a:lnTo>
                    <a:pt x="77" y="148"/>
                  </a:lnTo>
                  <a:lnTo>
                    <a:pt x="77" y="145"/>
                  </a:lnTo>
                  <a:lnTo>
                    <a:pt x="77" y="146"/>
                  </a:lnTo>
                  <a:lnTo>
                    <a:pt x="79" y="143"/>
                  </a:lnTo>
                  <a:lnTo>
                    <a:pt x="77" y="141"/>
                  </a:lnTo>
                  <a:lnTo>
                    <a:pt x="79" y="141"/>
                  </a:lnTo>
                  <a:lnTo>
                    <a:pt x="79" y="138"/>
                  </a:lnTo>
                  <a:lnTo>
                    <a:pt x="79" y="136"/>
                  </a:lnTo>
                  <a:lnTo>
                    <a:pt x="80" y="133"/>
                  </a:lnTo>
                  <a:lnTo>
                    <a:pt x="82" y="133"/>
                  </a:lnTo>
                  <a:lnTo>
                    <a:pt x="80" y="129"/>
                  </a:lnTo>
                  <a:lnTo>
                    <a:pt x="80" y="128"/>
                  </a:lnTo>
                  <a:lnTo>
                    <a:pt x="79" y="126"/>
                  </a:lnTo>
                  <a:lnTo>
                    <a:pt x="79" y="124"/>
                  </a:lnTo>
                  <a:lnTo>
                    <a:pt x="79" y="121"/>
                  </a:lnTo>
                  <a:lnTo>
                    <a:pt x="77" y="119"/>
                  </a:lnTo>
                  <a:lnTo>
                    <a:pt x="77" y="117"/>
                  </a:lnTo>
                  <a:lnTo>
                    <a:pt x="77" y="116"/>
                  </a:lnTo>
                  <a:lnTo>
                    <a:pt x="79" y="116"/>
                  </a:lnTo>
                  <a:lnTo>
                    <a:pt x="77" y="112"/>
                  </a:lnTo>
                  <a:lnTo>
                    <a:pt x="79" y="112"/>
                  </a:lnTo>
                  <a:lnTo>
                    <a:pt x="80" y="109"/>
                  </a:lnTo>
                  <a:lnTo>
                    <a:pt x="80" y="107"/>
                  </a:lnTo>
                  <a:lnTo>
                    <a:pt x="82" y="106"/>
                  </a:lnTo>
                  <a:lnTo>
                    <a:pt x="84" y="104"/>
                  </a:lnTo>
                  <a:lnTo>
                    <a:pt x="85" y="104"/>
                  </a:lnTo>
                  <a:lnTo>
                    <a:pt x="87" y="104"/>
                  </a:lnTo>
                  <a:lnTo>
                    <a:pt x="87" y="102"/>
                  </a:lnTo>
                  <a:lnTo>
                    <a:pt x="89" y="102"/>
                  </a:lnTo>
                  <a:lnTo>
                    <a:pt x="89" y="100"/>
                  </a:lnTo>
                  <a:lnTo>
                    <a:pt x="92" y="100"/>
                  </a:lnTo>
                  <a:lnTo>
                    <a:pt x="92" y="99"/>
                  </a:lnTo>
                  <a:lnTo>
                    <a:pt x="92" y="97"/>
                  </a:lnTo>
                  <a:lnTo>
                    <a:pt x="92" y="94"/>
                  </a:lnTo>
                  <a:lnTo>
                    <a:pt x="94" y="94"/>
                  </a:lnTo>
                  <a:lnTo>
                    <a:pt x="90" y="92"/>
                  </a:lnTo>
                  <a:lnTo>
                    <a:pt x="92" y="90"/>
                  </a:lnTo>
                  <a:lnTo>
                    <a:pt x="94" y="90"/>
                  </a:lnTo>
                  <a:lnTo>
                    <a:pt x="96" y="88"/>
                  </a:lnTo>
                  <a:lnTo>
                    <a:pt x="97" y="88"/>
                  </a:lnTo>
                  <a:lnTo>
                    <a:pt x="101" y="88"/>
                  </a:lnTo>
                  <a:lnTo>
                    <a:pt x="101" y="87"/>
                  </a:lnTo>
                  <a:lnTo>
                    <a:pt x="102" y="85"/>
                  </a:lnTo>
                  <a:lnTo>
                    <a:pt x="102" y="87"/>
                  </a:lnTo>
                  <a:lnTo>
                    <a:pt x="104" y="85"/>
                  </a:lnTo>
                  <a:lnTo>
                    <a:pt x="106" y="85"/>
                  </a:lnTo>
                  <a:lnTo>
                    <a:pt x="107" y="83"/>
                  </a:lnTo>
                  <a:lnTo>
                    <a:pt x="109" y="83"/>
                  </a:lnTo>
                  <a:lnTo>
                    <a:pt x="107" y="82"/>
                  </a:lnTo>
                  <a:lnTo>
                    <a:pt x="109" y="80"/>
                  </a:lnTo>
                  <a:lnTo>
                    <a:pt x="109" y="78"/>
                  </a:lnTo>
                  <a:lnTo>
                    <a:pt x="111" y="77"/>
                  </a:lnTo>
                  <a:lnTo>
                    <a:pt x="111" y="75"/>
                  </a:lnTo>
                  <a:lnTo>
                    <a:pt x="113" y="75"/>
                  </a:lnTo>
                  <a:lnTo>
                    <a:pt x="111" y="73"/>
                  </a:lnTo>
                  <a:lnTo>
                    <a:pt x="109" y="71"/>
                  </a:lnTo>
                  <a:lnTo>
                    <a:pt x="107" y="73"/>
                  </a:lnTo>
                  <a:lnTo>
                    <a:pt x="104" y="73"/>
                  </a:lnTo>
                  <a:lnTo>
                    <a:pt x="102" y="73"/>
                  </a:lnTo>
                  <a:lnTo>
                    <a:pt x="101" y="75"/>
                  </a:lnTo>
                  <a:lnTo>
                    <a:pt x="101" y="73"/>
                  </a:lnTo>
                  <a:lnTo>
                    <a:pt x="97" y="73"/>
                  </a:lnTo>
                  <a:lnTo>
                    <a:pt x="96" y="73"/>
                  </a:lnTo>
                  <a:lnTo>
                    <a:pt x="97" y="71"/>
                  </a:lnTo>
                  <a:lnTo>
                    <a:pt x="99" y="70"/>
                  </a:lnTo>
                  <a:lnTo>
                    <a:pt x="99" y="68"/>
                  </a:lnTo>
                  <a:lnTo>
                    <a:pt x="99" y="66"/>
                  </a:lnTo>
                  <a:lnTo>
                    <a:pt x="99" y="65"/>
                  </a:lnTo>
                  <a:lnTo>
                    <a:pt x="97" y="63"/>
                  </a:lnTo>
                  <a:lnTo>
                    <a:pt x="97" y="61"/>
                  </a:lnTo>
                  <a:lnTo>
                    <a:pt x="99" y="60"/>
                  </a:lnTo>
                  <a:lnTo>
                    <a:pt x="99" y="58"/>
                  </a:lnTo>
                  <a:lnTo>
                    <a:pt x="99" y="56"/>
                  </a:lnTo>
                  <a:lnTo>
                    <a:pt x="99" y="53"/>
                  </a:lnTo>
                  <a:lnTo>
                    <a:pt x="99" y="51"/>
                  </a:lnTo>
                  <a:lnTo>
                    <a:pt x="97" y="49"/>
                  </a:lnTo>
                  <a:lnTo>
                    <a:pt x="99" y="48"/>
                  </a:lnTo>
                  <a:lnTo>
                    <a:pt x="101" y="46"/>
                  </a:lnTo>
                  <a:lnTo>
                    <a:pt x="104" y="48"/>
                  </a:lnTo>
                  <a:lnTo>
                    <a:pt x="104" y="46"/>
                  </a:lnTo>
                  <a:lnTo>
                    <a:pt x="106" y="44"/>
                  </a:lnTo>
                  <a:lnTo>
                    <a:pt x="106" y="43"/>
                  </a:lnTo>
                  <a:lnTo>
                    <a:pt x="107" y="43"/>
                  </a:lnTo>
                  <a:lnTo>
                    <a:pt x="107" y="39"/>
                  </a:lnTo>
                  <a:lnTo>
                    <a:pt x="109" y="37"/>
                  </a:lnTo>
                  <a:lnTo>
                    <a:pt x="109" y="36"/>
                  </a:lnTo>
                  <a:lnTo>
                    <a:pt x="111" y="36"/>
                  </a:lnTo>
                  <a:lnTo>
                    <a:pt x="113" y="34"/>
                  </a:lnTo>
                  <a:lnTo>
                    <a:pt x="114" y="32"/>
                  </a:lnTo>
                  <a:lnTo>
                    <a:pt x="116" y="32"/>
                  </a:lnTo>
                  <a:lnTo>
                    <a:pt x="118" y="34"/>
                  </a:lnTo>
                  <a:lnTo>
                    <a:pt x="119" y="36"/>
                  </a:lnTo>
                  <a:lnTo>
                    <a:pt x="121" y="36"/>
                  </a:lnTo>
                  <a:lnTo>
                    <a:pt x="123" y="34"/>
                  </a:lnTo>
                  <a:lnTo>
                    <a:pt x="124" y="32"/>
                  </a:lnTo>
                  <a:lnTo>
                    <a:pt x="126" y="34"/>
                  </a:lnTo>
                  <a:lnTo>
                    <a:pt x="128" y="34"/>
                  </a:lnTo>
                  <a:lnTo>
                    <a:pt x="130" y="34"/>
                  </a:lnTo>
                  <a:lnTo>
                    <a:pt x="131" y="34"/>
                  </a:lnTo>
                  <a:lnTo>
                    <a:pt x="133" y="34"/>
                  </a:lnTo>
                  <a:lnTo>
                    <a:pt x="133" y="32"/>
                  </a:lnTo>
                  <a:lnTo>
                    <a:pt x="133" y="31"/>
                  </a:lnTo>
                  <a:lnTo>
                    <a:pt x="133" y="29"/>
                  </a:lnTo>
                  <a:lnTo>
                    <a:pt x="133" y="26"/>
                  </a:lnTo>
                  <a:lnTo>
                    <a:pt x="133" y="22"/>
                  </a:lnTo>
                  <a:lnTo>
                    <a:pt x="135" y="20"/>
                  </a:lnTo>
                  <a:lnTo>
                    <a:pt x="135" y="19"/>
                  </a:lnTo>
                  <a:lnTo>
                    <a:pt x="136" y="19"/>
                  </a:lnTo>
                  <a:lnTo>
                    <a:pt x="138" y="17"/>
                  </a:lnTo>
                  <a:lnTo>
                    <a:pt x="136" y="15"/>
                  </a:lnTo>
                  <a:lnTo>
                    <a:pt x="138" y="14"/>
                  </a:lnTo>
                  <a:lnTo>
                    <a:pt x="136" y="14"/>
                  </a:lnTo>
                  <a:lnTo>
                    <a:pt x="140" y="12"/>
                  </a:lnTo>
                  <a:lnTo>
                    <a:pt x="141" y="10"/>
                  </a:lnTo>
                  <a:lnTo>
                    <a:pt x="141" y="9"/>
                  </a:lnTo>
                  <a:lnTo>
                    <a:pt x="141" y="7"/>
                  </a:lnTo>
                  <a:lnTo>
                    <a:pt x="145" y="7"/>
                  </a:lnTo>
                  <a:lnTo>
                    <a:pt x="145" y="3"/>
                  </a:lnTo>
                  <a:lnTo>
                    <a:pt x="147" y="5"/>
                  </a:lnTo>
                  <a:lnTo>
                    <a:pt x="147" y="2"/>
                  </a:lnTo>
                  <a:lnTo>
                    <a:pt x="148" y="2"/>
                  </a:lnTo>
                  <a:lnTo>
                    <a:pt x="148" y="3"/>
                  </a:lnTo>
                  <a:lnTo>
                    <a:pt x="150" y="3"/>
                  </a:lnTo>
                  <a:lnTo>
                    <a:pt x="152" y="5"/>
                  </a:lnTo>
                  <a:lnTo>
                    <a:pt x="152" y="7"/>
                  </a:lnTo>
                  <a:lnTo>
                    <a:pt x="153" y="5"/>
                  </a:lnTo>
                  <a:lnTo>
                    <a:pt x="155" y="7"/>
                  </a:lnTo>
                  <a:lnTo>
                    <a:pt x="158" y="7"/>
                  </a:lnTo>
                  <a:lnTo>
                    <a:pt x="158" y="5"/>
                  </a:lnTo>
                  <a:lnTo>
                    <a:pt x="157" y="3"/>
                  </a:lnTo>
                  <a:lnTo>
                    <a:pt x="158" y="5"/>
                  </a:lnTo>
                  <a:lnTo>
                    <a:pt x="160" y="3"/>
                  </a:lnTo>
                  <a:lnTo>
                    <a:pt x="162" y="2"/>
                  </a:lnTo>
                  <a:lnTo>
                    <a:pt x="164" y="2"/>
                  </a:lnTo>
                  <a:lnTo>
                    <a:pt x="167" y="2"/>
                  </a:lnTo>
                  <a:lnTo>
                    <a:pt x="169" y="0"/>
                  </a:lnTo>
                  <a:lnTo>
                    <a:pt x="167" y="3"/>
                  </a:lnTo>
                  <a:lnTo>
                    <a:pt x="169" y="5"/>
                  </a:lnTo>
                  <a:lnTo>
                    <a:pt x="170" y="5"/>
                  </a:lnTo>
                  <a:lnTo>
                    <a:pt x="172" y="9"/>
                  </a:lnTo>
                  <a:lnTo>
                    <a:pt x="174" y="10"/>
                  </a:lnTo>
                  <a:lnTo>
                    <a:pt x="175" y="9"/>
                  </a:lnTo>
                  <a:lnTo>
                    <a:pt x="177" y="9"/>
                  </a:lnTo>
                  <a:lnTo>
                    <a:pt x="177" y="7"/>
                  </a:lnTo>
                  <a:lnTo>
                    <a:pt x="181" y="5"/>
                  </a:lnTo>
                  <a:lnTo>
                    <a:pt x="182" y="3"/>
                  </a:lnTo>
                  <a:lnTo>
                    <a:pt x="186" y="2"/>
                  </a:lnTo>
                  <a:lnTo>
                    <a:pt x="187" y="2"/>
                  </a:lnTo>
                  <a:lnTo>
                    <a:pt x="191" y="2"/>
                  </a:lnTo>
                  <a:lnTo>
                    <a:pt x="191" y="3"/>
                  </a:lnTo>
                  <a:lnTo>
                    <a:pt x="192" y="2"/>
                  </a:lnTo>
                  <a:lnTo>
                    <a:pt x="194" y="2"/>
                  </a:lnTo>
                  <a:lnTo>
                    <a:pt x="196" y="3"/>
                  </a:lnTo>
                  <a:lnTo>
                    <a:pt x="199" y="2"/>
                  </a:lnTo>
                  <a:lnTo>
                    <a:pt x="201" y="3"/>
                  </a:lnTo>
                  <a:lnTo>
                    <a:pt x="199" y="3"/>
                  </a:lnTo>
                  <a:lnTo>
                    <a:pt x="203" y="5"/>
                  </a:lnTo>
                  <a:lnTo>
                    <a:pt x="201" y="7"/>
                  </a:lnTo>
                  <a:lnTo>
                    <a:pt x="199" y="7"/>
                  </a:lnTo>
                  <a:lnTo>
                    <a:pt x="201" y="9"/>
                  </a:lnTo>
                  <a:lnTo>
                    <a:pt x="201" y="12"/>
                  </a:lnTo>
                  <a:lnTo>
                    <a:pt x="199" y="14"/>
                  </a:lnTo>
                  <a:lnTo>
                    <a:pt x="201" y="17"/>
                  </a:lnTo>
                  <a:lnTo>
                    <a:pt x="203" y="17"/>
                  </a:lnTo>
                  <a:lnTo>
                    <a:pt x="204" y="19"/>
                  </a:lnTo>
                  <a:lnTo>
                    <a:pt x="206" y="19"/>
                  </a:lnTo>
                  <a:lnTo>
                    <a:pt x="208" y="19"/>
                  </a:lnTo>
                  <a:lnTo>
                    <a:pt x="209" y="17"/>
                  </a:lnTo>
                  <a:lnTo>
                    <a:pt x="209" y="15"/>
                  </a:lnTo>
                  <a:lnTo>
                    <a:pt x="209" y="14"/>
                  </a:lnTo>
                  <a:lnTo>
                    <a:pt x="211" y="14"/>
                  </a:lnTo>
                  <a:lnTo>
                    <a:pt x="211" y="12"/>
                  </a:lnTo>
                  <a:lnTo>
                    <a:pt x="213" y="10"/>
                  </a:lnTo>
                  <a:lnTo>
                    <a:pt x="215" y="10"/>
                  </a:lnTo>
                  <a:lnTo>
                    <a:pt x="216" y="12"/>
                  </a:lnTo>
                  <a:lnTo>
                    <a:pt x="216" y="10"/>
                  </a:lnTo>
                  <a:lnTo>
                    <a:pt x="218" y="9"/>
                  </a:lnTo>
                  <a:lnTo>
                    <a:pt x="218" y="7"/>
                  </a:lnTo>
                  <a:lnTo>
                    <a:pt x="218" y="5"/>
                  </a:lnTo>
                  <a:lnTo>
                    <a:pt x="220" y="5"/>
                  </a:lnTo>
                  <a:lnTo>
                    <a:pt x="221" y="5"/>
                  </a:lnTo>
                  <a:lnTo>
                    <a:pt x="223" y="3"/>
                  </a:lnTo>
                  <a:lnTo>
                    <a:pt x="225" y="3"/>
                  </a:lnTo>
                  <a:lnTo>
                    <a:pt x="226" y="3"/>
                  </a:lnTo>
                  <a:lnTo>
                    <a:pt x="228" y="3"/>
                  </a:lnTo>
                  <a:lnTo>
                    <a:pt x="230" y="2"/>
                  </a:lnTo>
                  <a:lnTo>
                    <a:pt x="228" y="0"/>
                  </a:lnTo>
                  <a:lnTo>
                    <a:pt x="230" y="2"/>
                  </a:lnTo>
                  <a:lnTo>
                    <a:pt x="232" y="0"/>
                  </a:lnTo>
                  <a:lnTo>
                    <a:pt x="233" y="0"/>
                  </a:lnTo>
                  <a:lnTo>
                    <a:pt x="235" y="2"/>
                  </a:lnTo>
                  <a:lnTo>
                    <a:pt x="237" y="2"/>
                  </a:lnTo>
                  <a:lnTo>
                    <a:pt x="238" y="3"/>
                  </a:lnTo>
                  <a:lnTo>
                    <a:pt x="238" y="2"/>
                  </a:lnTo>
                  <a:lnTo>
                    <a:pt x="242" y="2"/>
                  </a:lnTo>
                  <a:lnTo>
                    <a:pt x="243" y="2"/>
                  </a:lnTo>
                  <a:lnTo>
                    <a:pt x="243" y="3"/>
                  </a:lnTo>
                  <a:lnTo>
                    <a:pt x="245" y="5"/>
                  </a:lnTo>
                  <a:lnTo>
                    <a:pt x="247" y="5"/>
                  </a:lnTo>
                  <a:lnTo>
                    <a:pt x="249" y="5"/>
                  </a:lnTo>
                  <a:lnTo>
                    <a:pt x="250" y="7"/>
                  </a:lnTo>
                  <a:lnTo>
                    <a:pt x="250" y="9"/>
                  </a:lnTo>
                  <a:lnTo>
                    <a:pt x="252" y="9"/>
                  </a:lnTo>
                  <a:lnTo>
                    <a:pt x="252" y="12"/>
                  </a:lnTo>
                  <a:lnTo>
                    <a:pt x="254" y="9"/>
                  </a:lnTo>
                  <a:lnTo>
                    <a:pt x="255" y="10"/>
                  </a:lnTo>
                  <a:lnTo>
                    <a:pt x="257" y="12"/>
                  </a:lnTo>
                  <a:lnTo>
                    <a:pt x="257" y="14"/>
                  </a:lnTo>
                  <a:lnTo>
                    <a:pt x="259" y="12"/>
                  </a:lnTo>
                  <a:lnTo>
                    <a:pt x="260" y="10"/>
                  </a:lnTo>
                  <a:lnTo>
                    <a:pt x="259" y="10"/>
                  </a:lnTo>
                  <a:lnTo>
                    <a:pt x="260" y="9"/>
                  </a:lnTo>
                  <a:lnTo>
                    <a:pt x="262" y="10"/>
                  </a:lnTo>
                  <a:lnTo>
                    <a:pt x="262" y="9"/>
                  </a:lnTo>
                  <a:lnTo>
                    <a:pt x="264" y="10"/>
                  </a:lnTo>
                  <a:lnTo>
                    <a:pt x="264" y="12"/>
                  </a:lnTo>
                  <a:lnTo>
                    <a:pt x="266" y="14"/>
                  </a:lnTo>
                  <a:lnTo>
                    <a:pt x="264" y="15"/>
                  </a:lnTo>
                  <a:lnTo>
                    <a:pt x="267" y="17"/>
                  </a:lnTo>
                  <a:lnTo>
                    <a:pt x="266" y="19"/>
                  </a:lnTo>
                  <a:lnTo>
                    <a:pt x="264" y="19"/>
                  </a:lnTo>
                  <a:lnTo>
                    <a:pt x="266" y="20"/>
                  </a:lnTo>
                  <a:lnTo>
                    <a:pt x="266" y="22"/>
                  </a:lnTo>
                  <a:lnTo>
                    <a:pt x="267" y="24"/>
                  </a:lnTo>
                  <a:lnTo>
                    <a:pt x="267" y="26"/>
                  </a:lnTo>
                  <a:lnTo>
                    <a:pt x="266" y="29"/>
                  </a:lnTo>
                  <a:lnTo>
                    <a:pt x="264" y="31"/>
                  </a:lnTo>
                  <a:lnTo>
                    <a:pt x="266" y="32"/>
                  </a:lnTo>
                  <a:lnTo>
                    <a:pt x="267" y="32"/>
                  </a:lnTo>
                  <a:lnTo>
                    <a:pt x="269" y="34"/>
                  </a:lnTo>
                  <a:lnTo>
                    <a:pt x="269" y="36"/>
                  </a:lnTo>
                  <a:lnTo>
                    <a:pt x="271" y="37"/>
                  </a:lnTo>
                  <a:lnTo>
                    <a:pt x="272" y="37"/>
                  </a:lnTo>
                  <a:lnTo>
                    <a:pt x="272" y="39"/>
                  </a:lnTo>
                  <a:lnTo>
                    <a:pt x="274" y="39"/>
                  </a:lnTo>
                  <a:lnTo>
                    <a:pt x="274" y="41"/>
                  </a:lnTo>
                  <a:lnTo>
                    <a:pt x="276" y="41"/>
                  </a:lnTo>
                  <a:lnTo>
                    <a:pt x="276" y="43"/>
                  </a:lnTo>
                  <a:lnTo>
                    <a:pt x="276" y="44"/>
                  </a:lnTo>
                  <a:lnTo>
                    <a:pt x="277" y="46"/>
                  </a:lnTo>
                  <a:lnTo>
                    <a:pt x="277" y="48"/>
                  </a:lnTo>
                  <a:lnTo>
                    <a:pt x="277" y="49"/>
                  </a:lnTo>
                  <a:lnTo>
                    <a:pt x="274" y="48"/>
                  </a:lnTo>
                  <a:lnTo>
                    <a:pt x="274" y="49"/>
                  </a:lnTo>
                  <a:lnTo>
                    <a:pt x="277" y="51"/>
                  </a:lnTo>
                  <a:lnTo>
                    <a:pt x="276" y="53"/>
                  </a:lnTo>
                  <a:lnTo>
                    <a:pt x="276" y="54"/>
                  </a:lnTo>
                  <a:lnTo>
                    <a:pt x="272" y="56"/>
                  </a:lnTo>
                  <a:lnTo>
                    <a:pt x="274" y="58"/>
                  </a:lnTo>
                  <a:lnTo>
                    <a:pt x="272" y="60"/>
                  </a:lnTo>
                  <a:lnTo>
                    <a:pt x="274" y="60"/>
                  </a:lnTo>
                  <a:lnTo>
                    <a:pt x="272" y="61"/>
                  </a:lnTo>
                  <a:lnTo>
                    <a:pt x="272" y="65"/>
                  </a:lnTo>
                  <a:lnTo>
                    <a:pt x="272" y="66"/>
                  </a:lnTo>
                  <a:lnTo>
                    <a:pt x="274" y="66"/>
                  </a:lnTo>
                  <a:lnTo>
                    <a:pt x="276" y="66"/>
                  </a:lnTo>
                  <a:lnTo>
                    <a:pt x="277" y="68"/>
                  </a:lnTo>
                  <a:lnTo>
                    <a:pt x="281" y="68"/>
                  </a:lnTo>
                  <a:lnTo>
                    <a:pt x="283" y="70"/>
                  </a:lnTo>
                  <a:lnTo>
                    <a:pt x="284" y="68"/>
                  </a:lnTo>
                  <a:lnTo>
                    <a:pt x="284" y="70"/>
                  </a:lnTo>
                  <a:lnTo>
                    <a:pt x="284" y="71"/>
                  </a:lnTo>
                  <a:lnTo>
                    <a:pt x="286" y="71"/>
                  </a:lnTo>
                  <a:lnTo>
                    <a:pt x="288" y="71"/>
                  </a:lnTo>
                  <a:lnTo>
                    <a:pt x="289" y="71"/>
                  </a:lnTo>
                  <a:lnTo>
                    <a:pt x="291" y="70"/>
                  </a:lnTo>
                  <a:lnTo>
                    <a:pt x="293" y="71"/>
                  </a:lnTo>
                  <a:lnTo>
                    <a:pt x="293" y="73"/>
                  </a:lnTo>
                  <a:lnTo>
                    <a:pt x="293" y="75"/>
                  </a:lnTo>
                  <a:lnTo>
                    <a:pt x="291" y="78"/>
                  </a:lnTo>
                  <a:lnTo>
                    <a:pt x="293" y="78"/>
                  </a:lnTo>
                  <a:lnTo>
                    <a:pt x="291" y="80"/>
                  </a:lnTo>
                  <a:lnTo>
                    <a:pt x="291" y="82"/>
                  </a:lnTo>
                  <a:lnTo>
                    <a:pt x="293" y="83"/>
                  </a:lnTo>
                  <a:lnTo>
                    <a:pt x="294" y="83"/>
                  </a:lnTo>
                  <a:lnTo>
                    <a:pt x="296" y="83"/>
                  </a:lnTo>
                  <a:lnTo>
                    <a:pt x="298" y="83"/>
                  </a:lnTo>
                  <a:lnTo>
                    <a:pt x="298" y="85"/>
                  </a:lnTo>
                  <a:lnTo>
                    <a:pt x="301" y="87"/>
                  </a:lnTo>
                  <a:lnTo>
                    <a:pt x="300" y="88"/>
                  </a:lnTo>
                  <a:lnTo>
                    <a:pt x="303" y="88"/>
                  </a:lnTo>
                  <a:lnTo>
                    <a:pt x="305" y="90"/>
                  </a:lnTo>
                  <a:lnTo>
                    <a:pt x="303" y="92"/>
                  </a:lnTo>
                  <a:lnTo>
                    <a:pt x="305" y="92"/>
                  </a:lnTo>
                  <a:lnTo>
                    <a:pt x="305" y="94"/>
                  </a:lnTo>
                  <a:lnTo>
                    <a:pt x="305" y="95"/>
                  </a:lnTo>
                  <a:lnTo>
                    <a:pt x="305" y="97"/>
                  </a:lnTo>
                  <a:lnTo>
                    <a:pt x="308" y="97"/>
                  </a:lnTo>
                  <a:lnTo>
                    <a:pt x="308" y="95"/>
                  </a:lnTo>
                  <a:lnTo>
                    <a:pt x="308" y="97"/>
                  </a:lnTo>
                  <a:lnTo>
                    <a:pt x="310" y="97"/>
                  </a:lnTo>
                  <a:lnTo>
                    <a:pt x="308" y="99"/>
                  </a:lnTo>
                  <a:lnTo>
                    <a:pt x="311" y="99"/>
                  </a:lnTo>
                  <a:lnTo>
                    <a:pt x="313" y="99"/>
                  </a:lnTo>
                  <a:lnTo>
                    <a:pt x="315" y="100"/>
                  </a:lnTo>
                  <a:lnTo>
                    <a:pt x="317" y="100"/>
                  </a:lnTo>
                  <a:lnTo>
                    <a:pt x="320" y="100"/>
                  </a:lnTo>
                  <a:lnTo>
                    <a:pt x="323" y="102"/>
                  </a:lnTo>
                  <a:lnTo>
                    <a:pt x="323" y="100"/>
                  </a:lnTo>
                  <a:lnTo>
                    <a:pt x="325" y="102"/>
                  </a:lnTo>
                  <a:lnTo>
                    <a:pt x="327" y="100"/>
                  </a:lnTo>
                  <a:lnTo>
                    <a:pt x="327" y="102"/>
                  </a:lnTo>
                  <a:lnTo>
                    <a:pt x="328" y="100"/>
                  </a:lnTo>
                  <a:lnTo>
                    <a:pt x="328" y="102"/>
                  </a:lnTo>
                  <a:lnTo>
                    <a:pt x="332" y="100"/>
                  </a:lnTo>
                  <a:lnTo>
                    <a:pt x="332" y="102"/>
                  </a:lnTo>
                  <a:lnTo>
                    <a:pt x="332" y="104"/>
                  </a:lnTo>
                  <a:lnTo>
                    <a:pt x="332" y="107"/>
                  </a:lnTo>
                  <a:lnTo>
                    <a:pt x="334" y="107"/>
                  </a:lnTo>
                  <a:lnTo>
                    <a:pt x="334" y="109"/>
                  </a:lnTo>
                  <a:lnTo>
                    <a:pt x="332" y="109"/>
                  </a:lnTo>
                  <a:lnTo>
                    <a:pt x="334" y="112"/>
                  </a:lnTo>
                  <a:lnTo>
                    <a:pt x="332" y="114"/>
                  </a:lnTo>
                  <a:lnTo>
                    <a:pt x="334" y="114"/>
                  </a:lnTo>
                  <a:lnTo>
                    <a:pt x="332" y="116"/>
                  </a:lnTo>
                  <a:lnTo>
                    <a:pt x="334" y="116"/>
                  </a:lnTo>
                  <a:lnTo>
                    <a:pt x="332" y="117"/>
                  </a:lnTo>
                  <a:lnTo>
                    <a:pt x="332" y="119"/>
                  </a:lnTo>
                  <a:lnTo>
                    <a:pt x="332" y="121"/>
                  </a:lnTo>
                  <a:lnTo>
                    <a:pt x="334" y="121"/>
                  </a:lnTo>
                  <a:lnTo>
                    <a:pt x="337" y="121"/>
                  </a:lnTo>
                  <a:lnTo>
                    <a:pt x="339" y="121"/>
                  </a:lnTo>
                  <a:lnTo>
                    <a:pt x="340" y="121"/>
                  </a:lnTo>
                  <a:lnTo>
                    <a:pt x="340" y="117"/>
                  </a:lnTo>
                  <a:lnTo>
                    <a:pt x="344" y="117"/>
                  </a:lnTo>
                  <a:lnTo>
                    <a:pt x="345" y="117"/>
                  </a:lnTo>
                  <a:lnTo>
                    <a:pt x="345" y="116"/>
                  </a:lnTo>
                  <a:lnTo>
                    <a:pt x="349" y="117"/>
                  </a:lnTo>
                  <a:lnTo>
                    <a:pt x="349" y="116"/>
                  </a:lnTo>
                  <a:lnTo>
                    <a:pt x="351" y="117"/>
                  </a:lnTo>
                  <a:lnTo>
                    <a:pt x="354" y="116"/>
                  </a:lnTo>
                  <a:lnTo>
                    <a:pt x="354" y="117"/>
                  </a:lnTo>
                  <a:lnTo>
                    <a:pt x="356" y="117"/>
                  </a:lnTo>
                  <a:lnTo>
                    <a:pt x="357" y="119"/>
                  </a:lnTo>
                  <a:lnTo>
                    <a:pt x="359" y="117"/>
                  </a:lnTo>
                  <a:lnTo>
                    <a:pt x="361" y="117"/>
                  </a:lnTo>
                  <a:lnTo>
                    <a:pt x="362" y="117"/>
                  </a:lnTo>
                  <a:lnTo>
                    <a:pt x="364" y="119"/>
                  </a:lnTo>
                  <a:lnTo>
                    <a:pt x="362" y="121"/>
                  </a:lnTo>
                  <a:lnTo>
                    <a:pt x="361" y="121"/>
                  </a:lnTo>
                  <a:lnTo>
                    <a:pt x="361" y="123"/>
                  </a:lnTo>
                  <a:lnTo>
                    <a:pt x="361" y="124"/>
                  </a:lnTo>
                  <a:lnTo>
                    <a:pt x="362" y="124"/>
                  </a:lnTo>
                  <a:lnTo>
                    <a:pt x="361" y="123"/>
                  </a:lnTo>
                  <a:lnTo>
                    <a:pt x="362" y="124"/>
                  </a:lnTo>
                  <a:lnTo>
                    <a:pt x="362" y="126"/>
                  </a:lnTo>
                  <a:lnTo>
                    <a:pt x="364" y="128"/>
                  </a:lnTo>
                  <a:lnTo>
                    <a:pt x="366" y="128"/>
                  </a:lnTo>
                  <a:lnTo>
                    <a:pt x="366" y="129"/>
                  </a:lnTo>
                  <a:lnTo>
                    <a:pt x="368" y="129"/>
                  </a:lnTo>
                  <a:lnTo>
                    <a:pt x="369" y="129"/>
                  </a:lnTo>
                  <a:lnTo>
                    <a:pt x="369" y="131"/>
                  </a:lnTo>
                  <a:lnTo>
                    <a:pt x="371" y="129"/>
                  </a:lnTo>
                  <a:lnTo>
                    <a:pt x="373" y="133"/>
                  </a:lnTo>
                  <a:lnTo>
                    <a:pt x="373" y="129"/>
                  </a:lnTo>
                  <a:lnTo>
                    <a:pt x="376" y="131"/>
                  </a:lnTo>
                  <a:lnTo>
                    <a:pt x="374" y="133"/>
                  </a:lnTo>
                  <a:lnTo>
                    <a:pt x="376" y="133"/>
                  </a:lnTo>
                  <a:lnTo>
                    <a:pt x="378" y="131"/>
                  </a:lnTo>
                  <a:lnTo>
                    <a:pt x="379" y="131"/>
                  </a:lnTo>
                  <a:lnTo>
                    <a:pt x="378" y="133"/>
                  </a:lnTo>
                  <a:lnTo>
                    <a:pt x="379" y="134"/>
                  </a:lnTo>
                  <a:lnTo>
                    <a:pt x="381" y="136"/>
                  </a:lnTo>
                  <a:lnTo>
                    <a:pt x="379" y="136"/>
                  </a:lnTo>
                  <a:lnTo>
                    <a:pt x="379" y="138"/>
                  </a:lnTo>
                  <a:lnTo>
                    <a:pt x="381" y="140"/>
                  </a:lnTo>
                  <a:lnTo>
                    <a:pt x="378" y="140"/>
                  </a:lnTo>
                  <a:lnTo>
                    <a:pt x="378" y="143"/>
                  </a:lnTo>
                  <a:lnTo>
                    <a:pt x="376" y="141"/>
                  </a:lnTo>
                  <a:lnTo>
                    <a:pt x="376" y="143"/>
                  </a:lnTo>
                  <a:lnTo>
                    <a:pt x="376" y="145"/>
                  </a:lnTo>
                  <a:lnTo>
                    <a:pt x="374" y="145"/>
                  </a:lnTo>
                  <a:lnTo>
                    <a:pt x="373" y="145"/>
                  </a:lnTo>
                  <a:lnTo>
                    <a:pt x="371" y="145"/>
                  </a:lnTo>
                  <a:lnTo>
                    <a:pt x="373" y="146"/>
                  </a:lnTo>
                  <a:lnTo>
                    <a:pt x="373" y="148"/>
                  </a:lnTo>
                  <a:lnTo>
                    <a:pt x="371" y="151"/>
                  </a:lnTo>
                  <a:lnTo>
                    <a:pt x="371" y="153"/>
                  </a:lnTo>
                  <a:lnTo>
                    <a:pt x="369" y="155"/>
                  </a:lnTo>
                  <a:lnTo>
                    <a:pt x="369" y="158"/>
                  </a:lnTo>
                  <a:lnTo>
                    <a:pt x="368" y="160"/>
                  </a:lnTo>
                  <a:lnTo>
                    <a:pt x="366" y="160"/>
                  </a:lnTo>
                  <a:lnTo>
                    <a:pt x="366" y="162"/>
                  </a:lnTo>
                  <a:lnTo>
                    <a:pt x="364" y="162"/>
                  </a:lnTo>
                  <a:lnTo>
                    <a:pt x="364" y="163"/>
                  </a:lnTo>
                  <a:lnTo>
                    <a:pt x="361" y="165"/>
                  </a:lnTo>
                  <a:lnTo>
                    <a:pt x="359" y="165"/>
                  </a:lnTo>
                  <a:lnTo>
                    <a:pt x="357" y="165"/>
                  </a:lnTo>
                  <a:lnTo>
                    <a:pt x="356" y="167"/>
                  </a:lnTo>
                  <a:lnTo>
                    <a:pt x="354" y="167"/>
                  </a:lnTo>
                  <a:lnTo>
                    <a:pt x="352" y="167"/>
                  </a:lnTo>
                  <a:lnTo>
                    <a:pt x="352" y="165"/>
                  </a:lnTo>
                  <a:lnTo>
                    <a:pt x="351" y="165"/>
                  </a:lnTo>
                  <a:lnTo>
                    <a:pt x="349" y="167"/>
                  </a:lnTo>
                  <a:lnTo>
                    <a:pt x="347" y="165"/>
                  </a:lnTo>
                  <a:lnTo>
                    <a:pt x="345" y="162"/>
                  </a:lnTo>
                  <a:lnTo>
                    <a:pt x="344" y="162"/>
                  </a:lnTo>
                  <a:lnTo>
                    <a:pt x="342" y="162"/>
                  </a:lnTo>
                  <a:lnTo>
                    <a:pt x="340" y="162"/>
                  </a:lnTo>
                  <a:lnTo>
                    <a:pt x="339" y="162"/>
                  </a:lnTo>
                  <a:lnTo>
                    <a:pt x="339" y="163"/>
                  </a:lnTo>
                  <a:lnTo>
                    <a:pt x="337" y="163"/>
                  </a:lnTo>
                  <a:lnTo>
                    <a:pt x="335" y="165"/>
                  </a:lnTo>
                  <a:lnTo>
                    <a:pt x="334" y="163"/>
                  </a:lnTo>
                  <a:lnTo>
                    <a:pt x="334" y="165"/>
                  </a:lnTo>
                  <a:lnTo>
                    <a:pt x="332" y="165"/>
                  </a:lnTo>
                  <a:lnTo>
                    <a:pt x="330" y="165"/>
                  </a:lnTo>
                  <a:lnTo>
                    <a:pt x="332" y="167"/>
                  </a:lnTo>
                  <a:lnTo>
                    <a:pt x="330" y="168"/>
                  </a:lnTo>
                  <a:lnTo>
                    <a:pt x="330" y="170"/>
                  </a:lnTo>
                  <a:lnTo>
                    <a:pt x="332" y="172"/>
                  </a:lnTo>
                  <a:lnTo>
                    <a:pt x="332" y="174"/>
                  </a:lnTo>
                  <a:lnTo>
                    <a:pt x="330" y="174"/>
                  </a:lnTo>
                  <a:lnTo>
                    <a:pt x="330" y="175"/>
                  </a:lnTo>
                  <a:lnTo>
                    <a:pt x="330" y="177"/>
                  </a:lnTo>
                  <a:lnTo>
                    <a:pt x="328" y="179"/>
                  </a:lnTo>
                  <a:lnTo>
                    <a:pt x="327" y="179"/>
                  </a:lnTo>
                  <a:lnTo>
                    <a:pt x="330" y="180"/>
                  </a:lnTo>
                  <a:lnTo>
                    <a:pt x="332" y="180"/>
                  </a:lnTo>
                  <a:lnTo>
                    <a:pt x="334" y="180"/>
                  </a:lnTo>
                  <a:lnTo>
                    <a:pt x="334" y="182"/>
                  </a:lnTo>
                  <a:lnTo>
                    <a:pt x="335" y="184"/>
                  </a:lnTo>
                  <a:lnTo>
                    <a:pt x="335" y="185"/>
                  </a:lnTo>
                  <a:lnTo>
                    <a:pt x="337" y="185"/>
                  </a:lnTo>
                  <a:lnTo>
                    <a:pt x="339" y="187"/>
                  </a:lnTo>
                  <a:lnTo>
                    <a:pt x="340" y="187"/>
                  </a:lnTo>
                  <a:lnTo>
                    <a:pt x="342" y="187"/>
                  </a:lnTo>
                  <a:lnTo>
                    <a:pt x="342" y="189"/>
                  </a:lnTo>
                  <a:lnTo>
                    <a:pt x="345" y="191"/>
                  </a:lnTo>
                  <a:lnTo>
                    <a:pt x="347" y="192"/>
                  </a:lnTo>
                  <a:lnTo>
                    <a:pt x="347" y="194"/>
                  </a:lnTo>
                  <a:lnTo>
                    <a:pt x="347" y="196"/>
                  </a:lnTo>
                  <a:lnTo>
                    <a:pt x="347" y="197"/>
                  </a:lnTo>
                  <a:lnTo>
                    <a:pt x="344" y="199"/>
                  </a:lnTo>
                  <a:lnTo>
                    <a:pt x="347" y="201"/>
                  </a:lnTo>
                  <a:lnTo>
                    <a:pt x="349" y="201"/>
                  </a:lnTo>
                  <a:lnTo>
                    <a:pt x="349" y="204"/>
                  </a:lnTo>
                  <a:lnTo>
                    <a:pt x="351" y="204"/>
                  </a:lnTo>
                  <a:lnTo>
                    <a:pt x="352" y="206"/>
                  </a:lnTo>
                  <a:lnTo>
                    <a:pt x="354" y="206"/>
                  </a:lnTo>
                  <a:lnTo>
                    <a:pt x="354" y="208"/>
                  </a:lnTo>
                  <a:lnTo>
                    <a:pt x="352" y="206"/>
                  </a:lnTo>
                  <a:lnTo>
                    <a:pt x="352" y="209"/>
                  </a:lnTo>
                  <a:lnTo>
                    <a:pt x="351" y="209"/>
                  </a:lnTo>
                  <a:lnTo>
                    <a:pt x="352" y="211"/>
                  </a:lnTo>
                  <a:lnTo>
                    <a:pt x="352" y="209"/>
                  </a:lnTo>
                  <a:lnTo>
                    <a:pt x="354" y="211"/>
                  </a:lnTo>
                  <a:lnTo>
                    <a:pt x="352" y="213"/>
                  </a:lnTo>
                  <a:lnTo>
                    <a:pt x="354" y="213"/>
                  </a:lnTo>
                  <a:lnTo>
                    <a:pt x="354" y="216"/>
                  </a:lnTo>
                  <a:lnTo>
                    <a:pt x="356" y="216"/>
                  </a:lnTo>
                  <a:lnTo>
                    <a:pt x="356" y="218"/>
                  </a:lnTo>
                  <a:lnTo>
                    <a:pt x="357" y="221"/>
                  </a:lnTo>
                  <a:lnTo>
                    <a:pt x="356" y="221"/>
                  </a:lnTo>
                  <a:lnTo>
                    <a:pt x="356" y="223"/>
                  </a:lnTo>
                  <a:lnTo>
                    <a:pt x="357" y="225"/>
                  </a:lnTo>
                  <a:lnTo>
                    <a:pt x="357" y="223"/>
                  </a:lnTo>
                  <a:lnTo>
                    <a:pt x="359" y="225"/>
                  </a:lnTo>
                  <a:lnTo>
                    <a:pt x="362" y="225"/>
                  </a:lnTo>
                  <a:lnTo>
                    <a:pt x="361" y="225"/>
                  </a:lnTo>
                  <a:lnTo>
                    <a:pt x="362" y="228"/>
                  </a:lnTo>
                  <a:lnTo>
                    <a:pt x="362" y="230"/>
                  </a:lnTo>
                  <a:lnTo>
                    <a:pt x="364" y="230"/>
                  </a:lnTo>
                  <a:lnTo>
                    <a:pt x="366" y="228"/>
                  </a:lnTo>
                  <a:lnTo>
                    <a:pt x="368" y="230"/>
                  </a:lnTo>
                  <a:lnTo>
                    <a:pt x="368" y="231"/>
                  </a:lnTo>
                  <a:lnTo>
                    <a:pt x="369" y="233"/>
                  </a:lnTo>
                  <a:lnTo>
                    <a:pt x="368" y="23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31" name="Freeform 62">
              <a:extLst>
                <a:ext uri="{FF2B5EF4-FFF2-40B4-BE49-F238E27FC236}">
                  <a16:creationId xmlns:a16="http://schemas.microsoft.com/office/drawing/2014/main" id="{500D5A89-265A-450D-AD45-03398A849C10}"/>
                </a:ext>
              </a:extLst>
            </p:cNvPr>
            <p:cNvSpPr>
              <a:spLocks/>
            </p:cNvSpPr>
            <p:nvPr/>
          </p:nvSpPr>
          <p:spPr bwMode="gray">
            <a:xfrm>
              <a:off x="9622675" y="2437610"/>
              <a:ext cx="826604" cy="500704"/>
            </a:xfrm>
            <a:custGeom>
              <a:avLst/>
              <a:gdLst>
                <a:gd name="T0" fmla="*/ 235 w 279"/>
                <a:gd name="T1" fmla="*/ 27 h 169"/>
                <a:gd name="T2" fmla="*/ 249 w 279"/>
                <a:gd name="T3" fmla="*/ 36 h 169"/>
                <a:gd name="T4" fmla="*/ 247 w 279"/>
                <a:gd name="T5" fmla="*/ 51 h 169"/>
                <a:gd name="T6" fmla="*/ 249 w 279"/>
                <a:gd name="T7" fmla="*/ 65 h 169"/>
                <a:gd name="T8" fmla="*/ 261 w 279"/>
                <a:gd name="T9" fmla="*/ 63 h 169"/>
                <a:gd name="T10" fmla="*/ 266 w 279"/>
                <a:gd name="T11" fmla="*/ 75 h 169"/>
                <a:gd name="T12" fmla="*/ 274 w 279"/>
                <a:gd name="T13" fmla="*/ 85 h 169"/>
                <a:gd name="T14" fmla="*/ 279 w 279"/>
                <a:gd name="T15" fmla="*/ 101 h 169"/>
                <a:gd name="T16" fmla="*/ 272 w 279"/>
                <a:gd name="T17" fmla="*/ 111 h 169"/>
                <a:gd name="T18" fmla="*/ 267 w 279"/>
                <a:gd name="T19" fmla="*/ 123 h 169"/>
                <a:gd name="T20" fmla="*/ 264 w 279"/>
                <a:gd name="T21" fmla="*/ 138 h 169"/>
                <a:gd name="T22" fmla="*/ 250 w 279"/>
                <a:gd name="T23" fmla="*/ 140 h 169"/>
                <a:gd name="T24" fmla="*/ 238 w 279"/>
                <a:gd name="T25" fmla="*/ 143 h 169"/>
                <a:gd name="T26" fmla="*/ 228 w 279"/>
                <a:gd name="T27" fmla="*/ 153 h 169"/>
                <a:gd name="T28" fmla="*/ 211 w 279"/>
                <a:gd name="T29" fmla="*/ 148 h 169"/>
                <a:gd name="T30" fmla="*/ 199 w 279"/>
                <a:gd name="T31" fmla="*/ 138 h 169"/>
                <a:gd name="T32" fmla="*/ 186 w 279"/>
                <a:gd name="T33" fmla="*/ 133 h 169"/>
                <a:gd name="T34" fmla="*/ 174 w 279"/>
                <a:gd name="T35" fmla="*/ 131 h 169"/>
                <a:gd name="T36" fmla="*/ 160 w 279"/>
                <a:gd name="T37" fmla="*/ 126 h 169"/>
                <a:gd name="T38" fmla="*/ 150 w 279"/>
                <a:gd name="T39" fmla="*/ 118 h 169"/>
                <a:gd name="T40" fmla="*/ 142 w 279"/>
                <a:gd name="T41" fmla="*/ 130 h 169"/>
                <a:gd name="T42" fmla="*/ 128 w 279"/>
                <a:gd name="T43" fmla="*/ 131 h 169"/>
                <a:gd name="T44" fmla="*/ 118 w 279"/>
                <a:gd name="T45" fmla="*/ 130 h 169"/>
                <a:gd name="T46" fmla="*/ 106 w 279"/>
                <a:gd name="T47" fmla="*/ 131 h 169"/>
                <a:gd name="T48" fmla="*/ 89 w 279"/>
                <a:gd name="T49" fmla="*/ 133 h 169"/>
                <a:gd name="T50" fmla="*/ 80 w 279"/>
                <a:gd name="T51" fmla="*/ 135 h 169"/>
                <a:gd name="T52" fmla="*/ 68 w 279"/>
                <a:gd name="T53" fmla="*/ 138 h 169"/>
                <a:gd name="T54" fmla="*/ 55 w 279"/>
                <a:gd name="T55" fmla="*/ 138 h 169"/>
                <a:gd name="T56" fmla="*/ 41 w 279"/>
                <a:gd name="T57" fmla="*/ 141 h 169"/>
                <a:gd name="T58" fmla="*/ 28 w 279"/>
                <a:gd name="T59" fmla="*/ 147 h 169"/>
                <a:gd name="T60" fmla="*/ 17 w 279"/>
                <a:gd name="T61" fmla="*/ 157 h 169"/>
                <a:gd name="T62" fmla="*/ 9 w 279"/>
                <a:gd name="T63" fmla="*/ 169 h 169"/>
                <a:gd name="T64" fmla="*/ 4 w 279"/>
                <a:gd name="T65" fmla="*/ 153 h 169"/>
                <a:gd name="T66" fmla="*/ 0 w 279"/>
                <a:gd name="T67" fmla="*/ 138 h 169"/>
                <a:gd name="T68" fmla="*/ 2 w 279"/>
                <a:gd name="T69" fmla="*/ 128 h 169"/>
                <a:gd name="T70" fmla="*/ 4 w 279"/>
                <a:gd name="T71" fmla="*/ 111 h 169"/>
                <a:gd name="T72" fmla="*/ 12 w 279"/>
                <a:gd name="T73" fmla="*/ 96 h 169"/>
                <a:gd name="T74" fmla="*/ 11 w 279"/>
                <a:gd name="T75" fmla="*/ 77 h 169"/>
                <a:gd name="T76" fmla="*/ 16 w 279"/>
                <a:gd name="T77" fmla="*/ 62 h 169"/>
                <a:gd name="T78" fmla="*/ 31 w 279"/>
                <a:gd name="T79" fmla="*/ 53 h 169"/>
                <a:gd name="T80" fmla="*/ 48 w 279"/>
                <a:gd name="T81" fmla="*/ 41 h 169"/>
                <a:gd name="T82" fmla="*/ 55 w 279"/>
                <a:gd name="T83" fmla="*/ 56 h 169"/>
                <a:gd name="T84" fmla="*/ 72 w 279"/>
                <a:gd name="T85" fmla="*/ 65 h 169"/>
                <a:gd name="T86" fmla="*/ 79 w 279"/>
                <a:gd name="T87" fmla="*/ 80 h 169"/>
                <a:gd name="T88" fmla="*/ 91 w 279"/>
                <a:gd name="T89" fmla="*/ 87 h 169"/>
                <a:gd name="T90" fmla="*/ 106 w 279"/>
                <a:gd name="T91" fmla="*/ 85 h 169"/>
                <a:gd name="T92" fmla="*/ 118 w 279"/>
                <a:gd name="T93" fmla="*/ 72 h 169"/>
                <a:gd name="T94" fmla="*/ 119 w 279"/>
                <a:gd name="T95" fmla="*/ 55 h 169"/>
                <a:gd name="T96" fmla="*/ 114 w 279"/>
                <a:gd name="T97" fmla="*/ 38 h 169"/>
                <a:gd name="T98" fmla="*/ 111 w 279"/>
                <a:gd name="T99" fmla="*/ 21 h 169"/>
                <a:gd name="T100" fmla="*/ 121 w 279"/>
                <a:gd name="T101" fmla="*/ 14 h 169"/>
                <a:gd name="T102" fmla="*/ 133 w 279"/>
                <a:gd name="T103" fmla="*/ 5 h 169"/>
                <a:gd name="T104" fmla="*/ 140 w 279"/>
                <a:gd name="T105" fmla="*/ 5 h 169"/>
                <a:gd name="T106" fmla="*/ 147 w 279"/>
                <a:gd name="T107" fmla="*/ 2 h 169"/>
                <a:gd name="T108" fmla="*/ 153 w 279"/>
                <a:gd name="T109" fmla="*/ 5 h 169"/>
                <a:gd name="T110" fmla="*/ 167 w 279"/>
                <a:gd name="T111" fmla="*/ 12 h 169"/>
                <a:gd name="T112" fmla="*/ 177 w 279"/>
                <a:gd name="T113" fmla="*/ 16 h 169"/>
                <a:gd name="T114" fmla="*/ 191 w 279"/>
                <a:gd name="T115" fmla="*/ 26 h 169"/>
                <a:gd name="T116" fmla="*/ 199 w 279"/>
                <a:gd name="T117" fmla="*/ 29 h 169"/>
                <a:gd name="T118" fmla="*/ 206 w 279"/>
                <a:gd name="T119" fmla="*/ 21 h 169"/>
                <a:gd name="T120" fmla="*/ 221 w 279"/>
                <a:gd name="T121" fmla="*/ 2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 h="169">
                  <a:moveTo>
                    <a:pt x="227" y="21"/>
                  </a:moveTo>
                  <a:lnTo>
                    <a:pt x="228" y="21"/>
                  </a:lnTo>
                  <a:lnTo>
                    <a:pt x="230" y="19"/>
                  </a:lnTo>
                  <a:lnTo>
                    <a:pt x="233" y="17"/>
                  </a:lnTo>
                  <a:lnTo>
                    <a:pt x="233" y="21"/>
                  </a:lnTo>
                  <a:lnTo>
                    <a:pt x="233" y="24"/>
                  </a:lnTo>
                  <a:lnTo>
                    <a:pt x="233" y="26"/>
                  </a:lnTo>
                  <a:lnTo>
                    <a:pt x="235" y="27"/>
                  </a:lnTo>
                  <a:lnTo>
                    <a:pt x="237" y="26"/>
                  </a:lnTo>
                  <a:lnTo>
                    <a:pt x="240" y="27"/>
                  </a:lnTo>
                  <a:lnTo>
                    <a:pt x="244" y="29"/>
                  </a:lnTo>
                  <a:lnTo>
                    <a:pt x="245" y="31"/>
                  </a:lnTo>
                  <a:lnTo>
                    <a:pt x="247" y="31"/>
                  </a:lnTo>
                  <a:lnTo>
                    <a:pt x="249" y="31"/>
                  </a:lnTo>
                  <a:lnTo>
                    <a:pt x="249" y="34"/>
                  </a:lnTo>
                  <a:lnTo>
                    <a:pt x="249" y="36"/>
                  </a:lnTo>
                  <a:lnTo>
                    <a:pt x="249" y="39"/>
                  </a:lnTo>
                  <a:lnTo>
                    <a:pt x="249" y="43"/>
                  </a:lnTo>
                  <a:lnTo>
                    <a:pt x="247" y="44"/>
                  </a:lnTo>
                  <a:lnTo>
                    <a:pt x="247" y="46"/>
                  </a:lnTo>
                  <a:lnTo>
                    <a:pt x="249" y="46"/>
                  </a:lnTo>
                  <a:lnTo>
                    <a:pt x="247" y="48"/>
                  </a:lnTo>
                  <a:lnTo>
                    <a:pt x="249" y="50"/>
                  </a:lnTo>
                  <a:lnTo>
                    <a:pt x="247" y="51"/>
                  </a:lnTo>
                  <a:lnTo>
                    <a:pt x="249" y="53"/>
                  </a:lnTo>
                  <a:lnTo>
                    <a:pt x="250" y="53"/>
                  </a:lnTo>
                  <a:lnTo>
                    <a:pt x="250" y="56"/>
                  </a:lnTo>
                  <a:lnTo>
                    <a:pt x="250" y="58"/>
                  </a:lnTo>
                  <a:lnTo>
                    <a:pt x="249" y="60"/>
                  </a:lnTo>
                  <a:lnTo>
                    <a:pt x="249" y="62"/>
                  </a:lnTo>
                  <a:lnTo>
                    <a:pt x="249" y="63"/>
                  </a:lnTo>
                  <a:lnTo>
                    <a:pt x="249" y="65"/>
                  </a:lnTo>
                  <a:lnTo>
                    <a:pt x="250" y="65"/>
                  </a:lnTo>
                  <a:lnTo>
                    <a:pt x="250" y="63"/>
                  </a:lnTo>
                  <a:lnTo>
                    <a:pt x="254" y="62"/>
                  </a:lnTo>
                  <a:lnTo>
                    <a:pt x="255" y="60"/>
                  </a:lnTo>
                  <a:lnTo>
                    <a:pt x="255" y="62"/>
                  </a:lnTo>
                  <a:lnTo>
                    <a:pt x="257" y="63"/>
                  </a:lnTo>
                  <a:lnTo>
                    <a:pt x="261" y="62"/>
                  </a:lnTo>
                  <a:lnTo>
                    <a:pt x="261" y="63"/>
                  </a:lnTo>
                  <a:lnTo>
                    <a:pt x="261" y="65"/>
                  </a:lnTo>
                  <a:lnTo>
                    <a:pt x="261" y="67"/>
                  </a:lnTo>
                  <a:lnTo>
                    <a:pt x="259" y="68"/>
                  </a:lnTo>
                  <a:lnTo>
                    <a:pt x="261" y="70"/>
                  </a:lnTo>
                  <a:lnTo>
                    <a:pt x="262" y="70"/>
                  </a:lnTo>
                  <a:lnTo>
                    <a:pt x="262" y="72"/>
                  </a:lnTo>
                  <a:lnTo>
                    <a:pt x="264" y="73"/>
                  </a:lnTo>
                  <a:lnTo>
                    <a:pt x="266" y="75"/>
                  </a:lnTo>
                  <a:lnTo>
                    <a:pt x="267" y="77"/>
                  </a:lnTo>
                  <a:lnTo>
                    <a:pt x="267" y="79"/>
                  </a:lnTo>
                  <a:lnTo>
                    <a:pt x="271" y="79"/>
                  </a:lnTo>
                  <a:lnTo>
                    <a:pt x="271" y="80"/>
                  </a:lnTo>
                  <a:lnTo>
                    <a:pt x="271" y="82"/>
                  </a:lnTo>
                  <a:lnTo>
                    <a:pt x="272" y="82"/>
                  </a:lnTo>
                  <a:lnTo>
                    <a:pt x="272" y="84"/>
                  </a:lnTo>
                  <a:lnTo>
                    <a:pt x="274" y="85"/>
                  </a:lnTo>
                  <a:lnTo>
                    <a:pt x="276" y="87"/>
                  </a:lnTo>
                  <a:lnTo>
                    <a:pt x="276" y="89"/>
                  </a:lnTo>
                  <a:lnTo>
                    <a:pt x="276" y="90"/>
                  </a:lnTo>
                  <a:lnTo>
                    <a:pt x="278" y="92"/>
                  </a:lnTo>
                  <a:lnTo>
                    <a:pt x="278" y="94"/>
                  </a:lnTo>
                  <a:lnTo>
                    <a:pt x="279" y="97"/>
                  </a:lnTo>
                  <a:lnTo>
                    <a:pt x="279" y="99"/>
                  </a:lnTo>
                  <a:lnTo>
                    <a:pt x="279" y="101"/>
                  </a:lnTo>
                  <a:lnTo>
                    <a:pt x="279" y="102"/>
                  </a:lnTo>
                  <a:lnTo>
                    <a:pt x="279" y="104"/>
                  </a:lnTo>
                  <a:lnTo>
                    <a:pt x="279" y="106"/>
                  </a:lnTo>
                  <a:lnTo>
                    <a:pt x="278" y="106"/>
                  </a:lnTo>
                  <a:lnTo>
                    <a:pt x="278" y="109"/>
                  </a:lnTo>
                  <a:lnTo>
                    <a:pt x="276" y="107"/>
                  </a:lnTo>
                  <a:lnTo>
                    <a:pt x="276" y="111"/>
                  </a:lnTo>
                  <a:lnTo>
                    <a:pt x="272" y="111"/>
                  </a:lnTo>
                  <a:lnTo>
                    <a:pt x="272" y="113"/>
                  </a:lnTo>
                  <a:lnTo>
                    <a:pt x="272" y="114"/>
                  </a:lnTo>
                  <a:lnTo>
                    <a:pt x="271" y="116"/>
                  </a:lnTo>
                  <a:lnTo>
                    <a:pt x="267" y="118"/>
                  </a:lnTo>
                  <a:lnTo>
                    <a:pt x="269" y="118"/>
                  </a:lnTo>
                  <a:lnTo>
                    <a:pt x="267" y="119"/>
                  </a:lnTo>
                  <a:lnTo>
                    <a:pt x="269" y="121"/>
                  </a:lnTo>
                  <a:lnTo>
                    <a:pt x="267" y="123"/>
                  </a:lnTo>
                  <a:lnTo>
                    <a:pt x="266" y="123"/>
                  </a:lnTo>
                  <a:lnTo>
                    <a:pt x="266" y="124"/>
                  </a:lnTo>
                  <a:lnTo>
                    <a:pt x="264" y="126"/>
                  </a:lnTo>
                  <a:lnTo>
                    <a:pt x="264" y="130"/>
                  </a:lnTo>
                  <a:lnTo>
                    <a:pt x="264" y="133"/>
                  </a:lnTo>
                  <a:lnTo>
                    <a:pt x="264" y="135"/>
                  </a:lnTo>
                  <a:lnTo>
                    <a:pt x="264" y="136"/>
                  </a:lnTo>
                  <a:lnTo>
                    <a:pt x="264" y="138"/>
                  </a:lnTo>
                  <a:lnTo>
                    <a:pt x="262" y="138"/>
                  </a:lnTo>
                  <a:lnTo>
                    <a:pt x="261" y="138"/>
                  </a:lnTo>
                  <a:lnTo>
                    <a:pt x="259" y="138"/>
                  </a:lnTo>
                  <a:lnTo>
                    <a:pt x="257" y="138"/>
                  </a:lnTo>
                  <a:lnTo>
                    <a:pt x="255" y="136"/>
                  </a:lnTo>
                  <a:lnTo>
                    <a:pt x="254" y="138"/>
                  </a:lnTo>
                  <a:lnTo>
                    <a:pt x="252" y="140"/>
                  </a:lnTo>
                  <a:lnTo>
                    <a:pt x="250" y="140"/>
                  </a:lnTo>
                  <a:lnTo>
                    <a:pt x="249" y="138"/>
                  </a:lnTo>
                  <a:lnTo>
                    <a:pt x="247" y="136"/>
                  </a:lnTo>
                  <a:lnTo>
                    <a:pt x="245" y="136"/>
                  </a:lnTo>
                  <a:lnTo>
                    <a:pt x="244" y="138"/>
                  </a:lnTo>
                  <a:lnTo>
                    <a:pt x="242" y="140"/>
                  </a:lnTo>
                  <a:lnTo>
                    <a:pt x="240" y="140"/>
                  </a:lnTo>
                  <a:lnTo>
                    <a:pt x="240" y="141"/>
                  </a:lnTo>
                  <a:lnTo>
                    <a:pt x="238" y="143"/>
                  </a:lnTo>
                  <a:lnTo>
                    <a:pt x="238" y="147"/>
                  </a:lnTo>
                  <a:lnTo>
                    <a:pt x="237" y="147"/>
                  </a:lnTo>
                  <a:lnTo>
                    <a:pt x="237" y="148"/>
                  </a:lnTo>
                  <a:lnTo>
                    <a:pt x="235" y="150"/>
                  </a:lnTo>
                  <a:lnTo>
                    <a:pt x="235" y="152"/>
                  </a:lnTo>
                  <a:lnTo>
                    <a:pt x="232" y="150"/>
                  </a:lnTo>
                  <a:lnTo>
                    <a:pt x="230" y="152"/>
                  </a:lnTo>
                  <a:lnTo>
                    <a:pt x="228" y="153"/>
                  </a:lnTo>
                  <a:lnTo>
                    <a:pt x="225" y="153"/>
                  </a:lnTo>
                  <a:lnTo>
                    <a:pt x="223" y="153"/>
                  </a:lnTo>
                  <a:lnTo>
                    <a:pt x="221" y="153"/>
                  </a:lnTo>
                  <a:lnTo>
                    <a:pt x="218" y="153"/>
                  </a:lnTo>
                  <a:lnTo>
                    <a:pt x="216" y="152"/>
                  </a:lnTo>
                  <a:lnTo>
                    <a:pt x="215" y="152"/>
                  </a:lnTo>
                  <a:lnTo>
                    <a:pt x="213" y="150"/>
                  </a:lnTo>
                  <a:lnTo>
                    <a:pt x="211" y="148"/>
                  </a:lnTo>
                  <a:lnTo>
                    <a:pt x="211" y="147"/>
                  </a:lnTo>
                  <a:lnTo>
                    <a:pt x="208" y="145"/>
                  </a:lnTo>
                  <a:lnTo>
                    <a:pt x="206" y="143"/>
                  </a:lnTo>
                  <a:lnTo>
                    <a:pt x="204" y="143"/>
                  </a:lnTo>
                  <a:lnTo>
                    <a:pt x="203" y="141"/>
                  </a:lnTo>
                  <a:lnTo>
                    <a:pt x="203" y="140"/>
                  </a:lnTo>
                  <a:lnTo>
                    <a:pt x="199" y="140"/>
                  </a:lnTo>
                  <a:lnTo>
                    <a:pt x="199" y="138"/>
                  </a:lnTo>
                  <a:lnTo>
                    <a:pt x="198" y="138"/>
                  </a:lnTo>
                  <a:lnTo>
                    <a:pt x="196" y="138"/>
                  </a:lnTo>
                  <a:lnTo>
                    <a:pt x="194" y="138"/>
                  </a:lnTo>
                  <a:lnTo>
                    <a:pt x="194" y="136"/>
                  </a:lnTo>
                  <a:lnTo>
                    <a:pt x="193" y="135"/>
                  </a:lnTo>
                  <a:lnTo>
                    <a:pt x="189" y="135"/>
                  </a:lnTo>
                  <a:lnTo>
                    <a:pt x="189" y="133"/>
                  </a:lnTo>
                  <a:lnTo>
                    <a:pt x="186" y="133"/>
                  </a:lnTo>
                  <a:lnTo>
                    <a:pt x="186" y="131"/>
                  </a:lnTo>
                  <a:lnTo>
                    <a:pt x="184" y="130"/>
                  </a:lnTo>
                  <a:lnTo>
                    <a:pt x="182" y="131"/>
                  </a:lnTo>
                  <a:lnTo>
                    <a:pt x="181" y="131"/>
                  </a:lnTo>
                  <a:lnTo>
                    <a:pt x="179" y="130"/>
                  </a:lnTo>
                  <a:lnTo>
                    <a:pt x="179" y="131"/>
                  </a:lnTo>
                  <a:lnTo>
                    <a:pt x="176" y="131"/>
                  </a:lnTo>
                  <a:lnTo>
                    <a:pt x="174" y="131"/>
                  </a:lnTo>
                  <a:lnTo>
                    <a:pt x="172" y="131"/>
                  </a:lnTo>
                  <a:lnTo>
                    <a:pt x="170" y="133"/>
                  </a:lnTo>
                  <a:lnTo>
                    <a:pt x="170" y="131"/>
                  </a:lnTo>
                  <a:lnTo>
                    <a:pt x="167" y="130"/>
                  </a:lnTo>
                  <a:lnTo>
                    <a:pt x="165" y="131"/>
                  </a:lnTo>
                  <a:lnTo>
                    <a:pt x="162" y="131"/>
                  </a:lnTo>
                  <a:lnTo>
                    <a:pt x="160" y="128"/>
                  </a:lnTo>
                  <a:lnTo>
                    <a:pt x="160" y="126"/>
                  </a:lnTo>
                  <a:lnTo>
                    <a:pt x="159" y="126"/>
                  </a:lnTo>
                  <a:lnTo>
                    <a:pt x="155" y="124"/>
                  </a:lnTo>
                  <a:lnTo>
                    <a:pt x="155" y="121"/>
                  </a:lnTo>
                  <a:lnTo>
                    <a:pt x="153" y="119"/>
                  </a:lnTo>
                  <a:lnTo>
                    <a:pt x="152" y="118"/>
                  </a:lnTo>
                  <a:lnTo>
                    <a:pt x="152" y="116"/>
                  </a:lnTo>
                  <a:lnTo>
                    <a:pt x="150" y="116"/>
                  </a:lnTo>
                  <a:lnTo>
                    <a:pt x="150" y="118"/>
                  </a:lnTo>
                  <a:lnTo>
                    <a:pt x="148" y="118"/>
                  </a:lnTo>
                  <a:lnTo>
                    <a:pt x="147" y="119"/>
                  </a:lnTo>
                  <a:lnTo>
                    <a:pt x="145" y="119"/>
                  </a:lnTo>
                  <a:lnTo>
                    <a:pt x="145" y="121"/>
                  </a:lnTo>
                  <a:lnTo>
                    <a:pt x="142" y="123"/>
                  </a:lnTo>
                  <a:lnTo>
                    <a:pt x="142" y="124"/>
                  </a:lnTo>
                  <a:lnTo>
                    <a:pt x="140" y="126"/>
                  </a:lnTo>
                  <a:lnTo>
                    <a:pt x="142" y="130"/>
                  </a:lnTo>
                  <a:lnTo>
                    <a:pt x="140" y="130"/>
                  </a:lnTo>
                  <a:lnTo>
                    <a:pt x="136" y="131"/>
                  </a:lnTo>
                  <a:lnTo>
                    <a:pt x="135" y="131"/>
                  </a:lnTo>
                  <a:lnTo>
                    <a:pt x="133" y="131"/>
                  </a:lnTo>
                  <a:lnTo>
                    <a:pt x="131" y="130"/>
                  </a:lnTo>
                  <a:lnTo>
                    <a:pt x="130" y="130"/>
                  </a:lnTo>
                  <a:lnTo>
                    <a:pt x="130" y="131"/>
                  </a:lnTo>
                  <a:lnTo>
                    <a:pt x="128" y="131"/>
                  </a:lnTo>
                  <a:lnTo>
                    <a:pt x="128" y="133"/>
                  </a:lnTo>
                  <a:lnTo>
                    <a:pt x="126" y="135"/>
                  </a:lnTo>
                  <a:lnTo>
                    <a:pt x="125" y="135"/>
                  </a:lnTo>
                  <a:lnTo>
                    <a:pt x="123" y="133"/>
                  </a:lnTo>
                  <a:lnTo>
                    <a:pt x="121" y="133"/>
                  </a:lnTo>
                  <a:lnTo>
                    <a:pt x="121" y="131"/>
                  </a:lnTo>
                  <a:lnTo>
                    <a:pt x="119" y="130"/>
                  </a:lnTo>
                  <a:lnTo>
                    <a:pt x="118" y="130"/>
                  </a:lnTo>
                  <a:lnTo>
                    <a:pt x="116" y="131"/>
                  </a:lnTo>
                  <a:lnTo>
                    <a:pt x="114" y="130"/>
                  </a:lnTo>
                  <a:lnTo>
                    <a:pt x="113" y="131"/>
                  </a:lnTo>
                  <a:lnTo>
                    <a:pt x="111" y="131"/>
                  </a:lnTo>
                  <a:lnTo>
                    <a:pt x="109" y="133"/>
                  </a:lnTo>
                  <a:lnTo>
                    <a:pt x="109" y="130"/>
                  </a:lnTo>
                  <a:lnTo>
                    <a:pt x="108" y="130"/>
                  </a:lnTo>
                  <a:lnTo>
                    <a:pt x="106" y="131"/>
                  </a:lnTo>
                  <a:lnTo>
                    <a:pt x="104" y="131"/>
                  </a:lnTo>
                  <a:lnTo>
                    <a:pt x="101" y="133"/>
                  </a:lnTo>
                  <a:lnTo>
                    <a:pt x="99" y="133"/>
                  </a:lnTo>
                  <a:lnTo>
                    <a:pt x="97" y="133"/>
                  </a:lnTo>
                  <a:lnTo>
                    <a:pt x="94" y="131"/>
                  </a:lnTo>
                  <a:lnTo>
                    <a:pt x="92" y="131"/>
                  </a:lnTo>
                  <a:lnTo>
                    <a:pt x="91" y="133"/>
                  </a:lnTo>
                  <a:lnTo>
                    <a:pt x="89" y="133"/>
                  </a:lnTo>
                  <a:lnTo>
                    <a:pt x="87" y="133"/>
                  </a:lnTo>
                  <a:lnTo>
                    <a:pt x="87" y="135"/>
                  </a:lnTo>
                  <a:lnTo>
                    <a:pt x="87" y="136"/>
                  </a:lnTo>
                  <a:lnTo>
                    <a:pt x="85" y="136"/>
                  </a:lnTo>
                  <a:lnTo>
                    <a:pt x="85" y="138"/>
                  </a:lnTo>
                  <a:lnTo>
                    <a:pt x="84" y="138"/>
                  </a:lnTo>
                  <a:lnTo>
                    <a:pt x="82" y="138"/>
                  </a:lnTo>
                  <a:lnTo>
                    <a:pt x="80" y="135"/>
                  </a:lnTo>
                  <a:lnTo>
                    <a:pt x="80" y="133"/>
                  </a:lnTo>
                  <a:lnTo>
                    <a:pt x="79" y="131"/>
                  </a:lnTo>
                  <a:lnTo>
                    <a:pt x="77" y="133"/>
                  </a:lnTo>
                  <a:lnTo>
                    <a:pt x="77" y="135"/>
                  </a:lnTo>
                  <a:lnTo>
                    <a:pt x="75" y="135"/>
                  </a:lnTo>
                  <a:lnTo>
                    <a:pt x="74" y="136"/>
                  </a:lnTo>
                  <a:lnTo>
                    <a:pt x="70" y="136"/>
                  </a:lnTo>
                  <a:lnTo>
                    <a:pt x="68" y="138"/>
                  </a:lnTo>
                  <a:lnTo>
                    <a:pt x="67" y="138"/>
                  </a:lnTo>
                  <a:lnTo>
                    <a:pt x="65" y="136"/>
                  </a:lnTo>
                  <a:lnTo>
                    <a:pt x="63" y="136"/>
                  </a:lnTo>
                  <a:lnTo>
                    <a:pt x="62" y="136"/>
                  </a:lnTo>
                  <a:lnTo>
                    <a:pt x="60" y="136"/>
                  </a:lnTo>
                  <a:lnTo>
                    <a:pt x="58" y="136"/>
                  </a:lnTo>
                  <a:lnTo>
                    <a:pt x="55" y="136"/>
                  </a:lnTo>
                  <a:lnTo>
                    <a:pt x="55" y="138"/>
                  </a:lnTo>
                  <a:lnTo>
                    <a:pt x="53" y="136"/>
                  </a:lnTo>
                  <a:lnTo>
                    <a:pt x="51" y="138"/>
                  </a:lnTo>
                  <a:lnTo>
                    <a:pt x="50" y="136"/>
                  </a:lnTo>
                  <a:lnTo>
                    <a:pt x="48" y="136"/>
                  </a:lnTo>
                  <a:lnTo>
                    <a:pt x="46" y="136"/>
                  </a:lnTo>
                  <a:lnTo>
                    <a:pt x="43" y="138"/>
                  </a:lnTo>
                  <a:lnTo>
                    <a:pt x="41" y="138"/>
                  </a:lnTo>
                  <a:lnTo>
                    <a:pt x="41" y="141"/>
                  </a:lnTo>
                  <a:lnTo>
                    <a:pt x="40" y="141"/>
                  </a:lnTo>
                  <a:lnTo>
                    <a:pt x="38" y="141"/>
                  </a:lnTo>
                  <a:lnTo>
                    <a:pt x="38" y="143"/>
                  </a:lnTo>
                  <a:lnTo>
                    <a:pt x="36" y="143"/>
                  </a:lnTo>
                  <a:lnTo>
                    <a:pt x="34" y="145"/>
                  </a:lnTo>
                  <a:lnTo>
                    <a:pt x="33" y="147"/>
                  </a:lnTo>
                  <a:lnTo>
                    <a:pt x="29" y="148"/>
                  </a:lnTo>
                  <a:lnTo>
                    <a:pt x="28" y="147"/>
                  </a:lnTo>
                  <a:lnTo>
                    <a:pt x="26" y="148"/>
                  </a:lnTo>
                  <a:lnTo>
                    <a:pt x="24" y="150"/>
                  </a:lnTo>
                  <a:lnTo>
                    <a:pt x="23" y="150"/>
                  </a:lnTo>
                  <a:lnTo>
                    <a:pt x="23" y="152"/>
                  </a:lnTo>
                  <a:lnTo>
                    <a:pt x="23" y="153"/>
                  </a:lnTo>
                  <a:lnTo>
                    <a:pt x="21" y="153"/>
                  </a:lnTo>
                  <a:lnTo>
                    <a:pt x="19" y="155"/>
                  </a:lnTo>
                  <a:lnTo>
                    <a:pt x="17" y="157"/>
                  </a:lnTo>
                  <a:lnTo>
                    <a:pt x="16" y="158"/>
                  </a:lnTo>
                  <a:lnTo>
                    <a:pt x="16" y="160"/>
                  </a:lnTo>
                  <a:lnTo>
                    <a:pt x="14" y="160"/>
                  </a:lnTo>
                  <a:lnTo>
                    <a:pt x="16" y="164"/>
                  </a:lnTo>
                  <a:lnTo>
                    <a:pt x="14" y="164"/>
                  </a:lnTo>
                  <a:lnTo>
                    <a:pt x="14" y="167"/>
                  </a:lnTo>
                  <a:lnTo>
                    <a:pt x="12" y="167"/>
                  </a:lnTo>
                  <a:lnTo>
                    <a:pt x="9" y="169"/>
                  </a:lnTo>
                  <a:lnTo>
                    <a:pt x="9" y="167"/>
                  </a:lnTo>
                  <a:lnTo>
                    <a:pt x="7" y="164"/>
                  </a:lnTo>
                  <a:lnTo>
                    <a:pt x="7" y="162"/>
                  </a:lnTo>
                  <a:lnTo>
                    <a:pt x="6" y="160"/>
                  </a:lnTo>
                  <a:lnTo>
                    <a:pt x="4" y="158"/>
                  </a:lnTo>
                  <a:lnTo>
                    <a:pt x="4" y="157"/>
                  </a:lnTo>
                  <a:lnTo>
                    <a:pt x="4" y="155"/>
                  </a:lnTo>
                  <a:lnTo>
                    <a:pt x="4" y="153"/>
                  </a:lnTo>
                  <a:lnTo>
                    <a:pt x="4" y="152"/>
                  </a:lnTo>
                  <a:lnTo>
                    <a:pt x="2" y="150"/>
                  </a:lnTo>
                  <a:lnTo>
                    <a:pt x="2" y="148"/>
                  </a:lnTo>
                  <a:lnTo>
                    <a:pt x="2" y="147"/>
                  </a:lnTo>
                  <a:lnTo>
                    <a:pt x="2" y="143"/>
                  </a:lnTo>
                  <a:lnTo>
                    <a:pt x="2" y="141"/>
                  </a:lnTo>
                  <a:lnTo>
                    <a:pt x="2" y="140"/>
                  </a:lnTo>
                  <a:lnTo>
                    <a:pt x="0" y="138"/>
                  </a:lnTo>
                  <a:lnTo>
                    <a:pt x="2" y="136"/>
                  </a:lnTo>
                  <a:lnTo>
                    <a:pt x="0" y="136"/>
                  </a:lnTo>
                  <a:lnTo>
                    <a:pt x="2" y="136"/>
                  </a:lnTo>
                  <a:lnTo>
                    <a:pt x="2" y="135"/>
                  </a:lnTo>
                  <a:lnTo>
                    <a:pt x="2" y="133"/>
                  </a:lnTo>
                  <a:lnTo>
                    <a:pt x="2" y="131"/>
                  </a:lnTo>
                  <a:lnTo>
                    <a:pt x="2" y="130"/>
                  </a:lnTo>
                  <a:lnTo>
                    <a:pt x="2" y="128"/>
                  </a:lnTo>
                  <a:lnTo>
                    <a:pt x="2" y="126"/>
                  </a:lnTo>
                  <a:lnTo>
                    <a:pt x="2" y="124"/>
                  </a:lnTo>
                  <a:lnTo>
                    <a:pt x="2" y="123"/>
                  </a:lnTo>
                  <a:lnTo>
                    <a:pt x="0" y="119"/>
                  </a:lnTo>
                  <a:lnTo>
                    <a:pt x="0" y="116"/>
                  </a:lnTo>
                  <a:lnTo>
                    <a:pt x="0" y="114"/>
                  </a:lnTo>
                  <a:lnTo>
                    <a:pt x="2" y="113"/>
                  </a:lnTo>
                  <a:lnTo>
                    <a:pt x="4" y="111"/>
                  </a:lnTo>
                  <a:lnTo>
                    <a:pt x="6" y="111"/>
                  </a:lnTo>
                  <a:lnTo>
                    <a:pt x="7" y="107"/>
                  </a:lnTo>
                  <a:lnTo>
                    <a:pt x="7" y="106"/>
                  </a:lnTo>
                  <a:lnTo>
                    <a:pt x="9" y="106"/>
                  </a:lnTo>
                  <a:lnTo>
                    <a:pt x="11" y="102"/>
                  </a:lnTo>
                  <a:lnTo>
                    <a:pt x="11" y="99"/>
                  </a:lnTo>
                  <a:lnTo>
                    <a:pt x="12" y="99"/>
                  </a:lnTo>
                  <a:lnTo>
                    <a:pt x="12" y="96"/>
                  </a:lnTo>
                  <a:lnTo>
                    <a:pt x="11" y="94"/>
                  </a:lnTo>
                  <a:lnTo>
                    <a:pt x="11" y="92"/>
                  </a:lnTo>
                  <a:lnTo>
                    <a:pt x="11" y="90"/>
                  </a:lnTo>
                  <a:lnTo>
                    <a:pt x="11" y="87"/>
                  </a:lnTo>
                  <a:lnTo>
                    <a:pt x="9" y="84"/>
                  </a:lnTo>
                  <a:lnTo>
                    <a:pt x="9" y="82"/>
                  </a:lnTo>
                  <a:lnTo>
                    <a:pt x="11" y="79"/>
                  </a:lnTo>
                  <a:lnTo>
                    <a:pt x="11" y="77"/>
                  </a:lnTo>
                  <a:lnTo>
                    <a:pt x="12" y="77"/>
                  </a:lnTo>
                  <a:lnTo>
                    <a:pt x="12" y="73"/>
                  </a:lnTo>
                  <a:lnTo>
                    <a:pt x="14" y="70"/>
                  </a:lnTo>
                  <a:lnTo>
                    <a:pt x="14" y="68"/>
                  </a:lnTo>
                  <a:lnTo>
                    <a:pt x="16" y="67"/>
                  </a:lnTo>
                  <a:lnTo>
                    <a:pt x="16" y="65"/>
                  </a:lnTo>
                  <a:lnTo>
                    <a:pt x="16" y="63"/>
                  </a:lnTo>
                  <a:lnTo>
                    <a:pt x="16" y="62"/>
                  </a:lnTo>
                  <a:lnTo>
                    <a:pt x="17" y="62"/>
                  </a:lnTo>
                  <a:lnTo>
                    <a:pt x="17" y="60"/>
                  </a:lnTo>
                  <a:lnTo>
                    <a:pt x="21" y="58"/>
                  </a:lnTo>
                  <a:lnTo>
                    <a:pt x="23" y="58"/>
                  </a:lnTo>
                  <a:lnTo>
                    <a:pt x="26" y="56"/>
                  </a:lnTo>
                  <a:lnTo>
                    <a:pt x="28" y="55"/>
                  </a:lnTo>
                  <a:lnTo>
                    <a:pt x="29" y="55"/>
                  </a:lnTo>
                  <a:lnTo>
                    <a:pt x="31" y="53"/>
                  </a:lnTo>
                  <a:lnTo>
                    <a:pt x="33" y="53"/>
                  </a:lnTo>
                  <a:lnTo>
                    <a:pt x="34" y="51"/>
                  </a:lnTo>
                  <a:lnTo>
                    <a:pt x="36" y="50"/>
                  </a:lnTo>
                  <a:lnTo>
                    <a:pt x="38" y="48"/>
                  </a:lnTo>
                  <a:lnTo>
                    <a:pt x="41" y="46"/>
                  </a:lnTo>
                  <a:lnTo>
                    <a:pt x="45" y="43"/>
                  </a:lnTo>
                  <a:lnTo>
                    <a:pt x="46" y="43"/>
                  </a:lnTo>
                  <a:lnTo>
                    <a:pt x="48" y="41"/>
                  </a:lnTo>
                  <a:lnTo>
                    <a:pt x="48" y="44"/>
                  </a:lnTo>
                  <a:lnTo>
                    <a:pt x="48" y="46"/>
                  </a:lnTo>
                  <a:lnTo>
                    <a:pt x="48" y="50"/>
                  </a:lnTo>
                  <a:lnTo>
                    <a:pt x="50" y="51"/>
                  </a:lnTo>
                  <a:lnTo>
                    <a:pt x="50" y="53"/>
                  </a:lnTo>
                  <a:lnTo>
                    <a:pt x="51" y="53"/>
                  </a:lnTo>
                  <a:lnTo>
                    <a:pt x="53" y="55"/>
                  </a:lnTo>
                  <a:lnTo>
                    <a:pt x="55" y="56"/>
                  </a:lnTo>
                  <a:lnTo>
                    <a:pt x="58" y="58"/>
                  </a:lnTo>
                  <a:lnTo>
                    <a:pt x="60" y="58"/>
                  </a:lnTo>
                  <a:lnTo>
                    <a:pt x="62" y="60"/>
                  </a:lnTo>
                  <a:lnTo>
                    <a:pt x="63" y="62"/>
                  </a:lnTo>
                  <a:lnTo>
                    <a:pt x="65" y="63"/>
                  </a:lnTo>
                  <a:lnTo>
                    <a:pt x="67" y="63"/>
                  </a:lnTo>
                  <a:lnTo>
                    <a:pt x="68" y="65"/>
                  </a:lnTo>
                  <a:lnTo>
                    <a:pt x="72" y="65"/>
                  </a:lnTo>
                  <a:lnTo>
                    <a:pt x="74" y="68"/>
                  </a:lnTo>
                  <a:lnTo>
                    <a:pt x="74" y="70"/>
                  </a:lnTo>
                  <a:lnTo>
                    <a:pt x="75" y="72"/>
                  </a:lnTo>
                  <a:lnTo>
                    <a:pt x="75" y="73"/>
                  </a:lnTo>
                  <a:lnTo>
                    <a:pt x="77" y="75"/>
                  </a:lnTo>
                  <a:lnTo>
                    <a:pt x="77" y="77"/>
                  </a:lnTo>
                  <a:lnTo>
                    <a:pt x="79" y="79"/>
                  </a:lnTo>
                  <a:lnTo>
                    <a:pt x="79" y="80"/>
                  </a:lnTo>
                  <a:lnTo>
                    <a:pt x="80" y="82"/>
                  </a:lnTo>
                  <a:lnTo>
                    <a:pt x="80" y="84"/>
                  </a:lnTo>
                  <a:lnTo>
                    <a:pt x="82" y="85"/>
                  </a:lnTo>
                  <a:lnTo>
                    <a:pt x="85" y="85"/>
                  </a:lnTo>
                  <a:lnTo>
                    <a:pt x="87" y="85"/>
                  </a:lnTo>
                  <a:lnTo>
                    <a:pt x="89" y="85"/>
                  </a:lnTo>
                  <a:lnTo>
                    <a:pt x="91" y="85"/>
                  </a:lnTo>
                  <a:lnTo>
                    <a:pt x="91" y="87"/>
                  </a:lnTo>
                  <a:lnTo>
                    <a:pt x="92" y="89"/>
                  </a:lnTo>
                  <a:lnTo>
                    <a:pt x="94" y="89"/>
                  </a:lnTo>
                  <a:lnTo>
                    <a:pt x="97" y="89"/>
                  </a:lnTo>
                  <a:lnTo>
                    <a:pt x="99" y="89"/>
                  </a:lnTo>
                  <a:lnTo>
                    <a:pt x="101" y="89"/>
                  </a:lnTo>
                  <a:lnTo>
                    <a:pt x="102" y="87"/>
                  </a:lnTo>
                  <a:lnTo>
                    <a:pt x="104" y="85"/>
                  </a:lnTo>
                  <a:lnTo>
                    <a:pt x="106" y="85"/>
                  </a:lnTo>
                  <a:lnTo>
                    <a:pt x="108" y="84"/>
                  </a:lnTo>
                  <a:lnTo>
                    <a:pt x="109" y="82"/>
                  </a:lnTo>
                  <a:lnTo>
                    <a:pt x="109" y="80"/>
                  </a:lnTo>
                  <a:lnTo>
                    <a:pt x="111" y="79"/>
                  </a:lnTo>
                  <a:lnTo>
                    <a:pt x="113" y="77"/>
                  </a:lnTo>
                  <a:lnTo>
                    <a:pt x="114" y="75"/>
                  </a:lnTo>
                  <a:lnTo>
                    <a:pt x="116" y="73"/>
                  </a:lnTo>
                  <a:lnTo>
                    <a:pt x="118" y="72"/>
                  </a:lnTo>
                  <a:lnTo>
                    <a:pt x="118" y="70"/>
                  </a:lnTo>
                  <a:lnTo>
                    <a:pt x="119" y="68"/>
                  </a:lnTo>
                  <a:lnTo>
                    <a:pt x="121" y="65"/>
                  </a:lnTo>
                  <a:lnTo>
                    <a:pt x="121" y="62"/>
                  </a:lnTo>
                  <a:lnTo>
                    <a:pt x="119" y="60"/>
                  </a:lnTo>
                  <a:lnTo>
                    <a:pt x="119" y="58"/>
                  </a:lnTo>
                  <a:lnTo>
                    <a:pt x="119" y="56"/>
                  </a:lnTo>
                  <a:lnTo>
                    <a:pt x="119" y="55"/>
                  </a:lnTo>
                  <a:lnTo>
                    <a:pt x="118" y="53"/>
                  </a:lnTo>
                  <a:lnTo>
                    <a:pt x="118" y="50"/>
                  </a:lnTo>
                  <a:lnTo>
                    <a:pt x="118" y="48"/>
                  </a:lnTo>
                  <a:lnTo>
                    <a:pt x="116" y="46"/>
                  </a:lnTo>
                  <a:lnTo>
                    <a:pt x="116" y="44"/>
                  </a:lnTo>
                  <a:lnTo>
                    <a:pt x="114" y="41"/>
                  </a:lnTo>
                  <a:lnTo>
                    <a:pt x="116" y="39"/>
                  </a:lnTo>
                  <a:lnTo>
                    <a:pt x="114" y="38"/>
                  </a:lnTo>
                  <a:lnTo>
                    <a:pt x="114" y="34"/>
                  </a:lnTo>
                  <a:lnTo>
                    <a:pt x="113" y="34"/>
                  </a:lnTo>
                  <a:lnTo>
                    <a:pt x="113" y="31"/>
                  </a:lnTo>
                  <a:lnTo>
                    <a:pt x="113" y="29"/>
                  </a:lnTo>
                  <a:lnTo>
                    <a:pt x="111" y="27"/>
                  </a:lnTo>
                  <a:lnTo>
                    <a:pt x="111" y="26"/>
                  </a:lnTo>
                  <a:lnTo>
                    <a:pt x="111" y="22"/>
                  </a:lnTo>
                  <a:lnTo>
                    <a:pt x="111" y="21"/>
                  </a:lnTo>
                  <a:lnTo>
                    <a:pt x="113" y="22"/>
                  </a:lnTo>
                  <a:lnTo>
                    <a:pt x="114" y="21"/>
                  </a:lnTo>
                  <a:lnTo>
                    <a:pt x="114" y="17"/>
                  </a:lnTo>
                  <a:lnTo>
                    <a:pt x="116" y="16"/>
                  </a:lnTo>
                  <a:lnTo>
                    <a:pt x="118" y="14"/>
                  </a:lnTo>
                  <a:lnTo>
                    <a:pt x="119" y="16"/>
                  </a:lnTo>
                  <a:lnTo>
                    <a:pt x="119" y="14"/>
                  </a:lnTo>
                  <a:lnTo>
                    <a:pt x="121" y="14"/>
                  </a:lnTo>
                  <a:lnTo>
                    <a:pt x="123" y="12"/>
                  </a:lnTo>
                  <a:lnTo>
                    <a:pt x="123" y="10"/>
                  </a:lnTo>
                  <a:lnTo>
                    <a:pt x="126" y="10"/>
                  </a:lnTo>
                  <a:lnTo>
                    <a:pt x="128" y="10"/>
                  </a:lnTo>
                  <a:lnTo>
                    <a:pt x="130" y="7"/>
                  </a:lnTo>
                  <a:lnTo>
                    <a:pt x="131" y="7"/>
                  </a:lnTo>
                  <a:lnTo>
                    <a:pt x="133" y="7"/>
                  </a:lnTo>
                  <a:lnTo>
                    <a:pt x="133" y="5"/>
                  </a:lnTo>
                  <a:lnTo>
                    <a:pt x="135" y="2"/>
                  </a:lnTo>
                  <a:lnTo>
                    <a:pt x="136" y="2"/>
                  </a:lnTo>
                  <a:lnTo>
                    <a:pt x="138" y="2"/>
                  </a:lnTo>
                  <a:lnTo>
                    <a:pt x="138" y="0"/>
                  </a:lnTo>
                  <a:lnTo>
                    <a:pt x="140" y="2"/>
                  </a:lnTo>
                  <a:lnTo>
                    <a:pt x="140" y="4"/>
                  </a:lnTo>
                  <a:lnTo>
                    <a:pt x="142" y="5"/>
                  </a:lnTo>
                  <a:lnTo>
                    <a:pt x="140" y="5"/>
                  </a:lnTo>
                  <a:lnTo>
                    <a:pt x="142" y="7"/>
                  </a:lnTo>
                  <a:lnTo>
                    <a:pt x="143" y="5"/>
                  </a:lnTo>
                  <a:lnTo>
                    <a:pt x="143" y="4"/>
                  </a:lnTo>
                  <a:lnTo>
                    <a:pt x="142" y="2"/>
                  </a:lnTo>
                  <a:lnTo>
                    <a:pt x="142" y="0"/>
                  </a:lnTo>
                  <a:lnTo>
                    <a:pt x="143" y="2"/>
                  </a:lnTo>
                  <a:lnTo>
                    <a:pt x="145" y="4"/>
                  </a:lnTo>
                  <a:lnTo>
                    <a:pt x="147" y="2"/>
                  </a:lnTo>
                  <a:lnTo>
                    <a:pt x="148" y="4"/>
                  </a:lnTo>
                  <a:lnTo>
                    <a:pt x="150" y="4"/>
                  </a:lnTo>
                  <a:lnTo>
                    <a:pt x="148" y="5"/>
                  </a:lnTo>
                  <a:lnTo>
                    <a:pt x="150" y="5"/>
                  </a:lnTo>
                  <a:lnTo>
                    <a:pt x="152" y="5"/>
                  </a:lnTo>
                  <a:lnTo>
                    <a:pt x="153" y="5"/>
                  </a:lnTo>
                  <a:lnTo>
                    <a:pt x="153" y="7"/>
                  </a:lnTo>
                  <a:lnTo>
                    <a:pt x="153" y="5"/>
                  </a:lnTo>
                  <a:lnTo>
                    <a:pt x="155" y="7"/>
                  </a:lnTo>
                  <a:lnTo>
                    <a:pt x="157" y="7"/>
                  </a:lnTo>
                  <a:lnTo>
                    <a:pt x="159" y="9"/>
                  </a:lnTo>
                  <a:lnTo>
                    <a:pt x="160" y="7"/>
                  </a:lnTo>
                  <a:lnTo>
                    <a:pt x="162" y="9"/>
                  </a:lnTo>
                  <a:lnTo>
                    <a:pt x="164" y="10"/>
                  </a:lnTo>
                  <a:lnTo>
                    <a:pt x="167" y="10"/>
                  </a:lnTo>
                  <a:lnTo>
                    <a:pt x="167" y="12"/>
                  </a:lnTo>
                  <a:lnTo>
                    <a:pt x="170" y="10"/>
                  </a:lnTo>
                  <a:lnTo>
                    <a:pt x="174" y="10"/>
                  </a:lnTo>
                  <a:lnTo>
                    <a:pt x="174" y="12"/>
                  </a:lnTo>
                  <a:lnTo>
                    <a:pt x="174" y="14"/>
                  </a:lnTo>
                  <a:lnTo>
                    <a:pt x="172" y="14"/>
                  </a:lnTo>
                  <a:lnTo>
                    <a:pt x="174" y="16"/>
                  </a:lnTo>
                  <a:lnTo>
                    <a:pt x="176" y="16"/>
                  </a:lnTo>
                  <a:lnTo>
                    <a:pt x="177" y="16"/>
                  </a:lnTo>
                  <a:lnTo>
                    <a:pt x="177" y="17"/>
                  </a:lnTo>
                  <a:lnTo>
                    <a:pt x="181" y="17"/>
                  </a:lnTo>
                  <a:lnTo>
                    <a:pt x="181" y="21"/>
                  </a:lnTo>
                  <a:lnTo>
                    <a:pt x="182" y="21"/>
                  </a:lnTo>
                  <a:lnTo>
                    <a:pt x="184" y="24"/>
                  </a:lnTo>
                  <a:lnTo>
                    <a:pt x="186" y="26"/>
                  </a:lnTo>
                  <a:lnTo>
                    <a:pt x="187" y="26"/>
                  </a:lnTo>
                  <a:lnTo>
                    <a:pt x="191" y="26"/>
                  </a:lnTo>
                  <a:lnTo>
                    <a:pt x="193" y="26"/>
                  </a:lnTo>
                  <a:lnTo>
                    <a:pt x="194" y="27"/>
                  </a:lnTo>
                  <a:lnTo>
                    <a:pt x="194" y="29"/>
                  </a:lnTo>
                  <a:lnTo>
                    <a:pt x="196" y="29"/>
                  </a:lnTo>
                  <a:lnTo>
                    <a:pt x="198" y="29"/>
                  </a:lnTo>
                  <a:lnTo>
                    <a:pt x="198" y="26"/>
                  </a:lnTo>
                  <a:lnTo>
                    <a:pt x="198" y="27"/>
                  </a:lnTo>
                  <a:lnTo>
                    <a:pt x="199" y="29"/>
                  </a:lnTo>
                  <a:lnTo>
                    <a:pt x="199" y="27"/>
                  </a:lnTo>
                  <a:lnTo>
                    <a:pt x="201" y="24"/>
                  </a:lnTo>
                  <a:lnTo>
                    <a:pt x="199" y="24"/>
                  </a:lnTo>
                  <a:lnTo>
                    <a:pt x="203" y="24"/>
                  </a:lnTo>
                  <a:lnTo>
                    <a:pt x="203" y="22"/>
                  </a:lnTo>
                  <a:lnTo>
                    <a:pt x="204" y="24"/>
                  </a:lnTo>
                  <a:lnTo>
                    <a:pt x="204" y="22"/>
                  </a:lnTo>
                  <a:lnTo>
                    <a:pt x="206" y="21"/>
                  </a:lnTo>
                  <a:lnTo>
                    <a:pt x="206" y="19"/>
                  </a:lnTo>
                  <a:lnTo>
                    <a:pt x="208" y="17"/>
                  </a:lnTo>
                  <a:lnTo>
                    <a:pt x="210" y="19"/>
                  </a:lnTo>
                  <a:lnTo>
                    <a:pt x="213" y="19"/>
                  </a:lnTo>
                  <a:lnTo>
                    <a:pt x="216" y="21"/>
                  </a:lnTo>
                  <a:lnTo>
                    <a:pt x="218" y="21"/>
                  </a:lnTo>
                  <a:lnTo>
                    <a:pt x="220" y="21"/>
                  </a:lnTo>
                  <a:lnTo>
                    <a:pt x="221" y="21"/>
                  </a:lnTo>
                  <a:lnTo>
                    <a:pt x="223" y="21"/>
                  </a:lnTo>
                  <a:lnTo>
                    <a:pt x="227" y="2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grpSp>
      <p:sp>
        <p:nvSpPr>
          <p:cNvPr id="179" name="Oval 21">
            <a:extLst>
              <a:ext uri="{FF2B5EF4-FFF2-40B4-BE49-F238E27FC236}">
                <a16:creationId xmlns:a16="http://schemas.microsoft.com/office/drawing/2014/main" id="{94D1CE33-2527-4B1A-A62C-41FA1E5B6D24}"/>
              </a:ext>
            </a:extLst>
          </p:cNvPr>
          <p:cNvSpPr>
            <a:spLocks noChangeArrowheads="1"/>
          </p:cNvSpPr>
          <p:nvPr/>
        </p:nvSpPr>
        <p:spPr bwMode="auto">
          <a:xfrm>
            <a:off x="7777559" y="4699678"/>
            <a:ext cx="775414" cy="775414"/>
          </a:xfrm>
          <a:prstGeom prst="ellipse">
            <a:avLst/>
          </a:prstGeom>
          <a:solidFill>
            <a:srgbClr val="004FA1"/>
          </a:solidFill>
          <a:ln w="63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12" name="Oval 7">
            <a:extLst>
              <a:ext uri="{FF2B5EF4-FFF2-40B4-BE49-F238E27FC236}">
                <a16:creationId xmlns:a16="http://schemas.microsoft.com/office/drawing/2014/main" id="{4BCE992A-AAB3-4019-8078-DB391C030EAB}"/>
              </a:ext>
            </a:extLst>
          </p:cNvPr>
          <p:cNvSpPr>
            <a:spLocks noChangeArrowheads="1"/>
          </p:cNvSpPr>
          <p:nvPr/>
        </p:nvSpPr>
        <p:spPr bwMode="auto">
          <a:xfrm>
            <a:off x="8093597" y="5015069"/>
            <a:ext cx="143340" cy="144631"/>
          </a:xfrm>
          <a:prstGeom prst="ellipse">
            <a:avLst/>
          </a:prstGeom>
          <a:solidFill>
            <a:schemeClr val="accent2"/>
          </a:solidFill>
          <a:ln w="63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32" name="Oval 23">
            <a:extLst>
              <a:ext uri="{FF2B5EF4-FFF2-40B4-BE49-F238E27FC236}">
                <a16:creationId xmlns:a16="http://schemas.microsoft.com/office/drawing/2014/main" id="{7072507D-7493-4EE6-8941-A75E85FC0874}"/>
              </a:ext>
            </a:extLst>
          </p:cNvPr>
          <p:cNvSpPr>
            <a:spLocks noChangeArrowheads="1"/>
          </p:cNvSpPr>
          <p:nvPr/>
        </p:nvSpPr>
        <p:spPr bwMode="auto">
          <a:xfrm>
            <a:off x="8722964" y="4013050"/>
            <a:ext cx="724603" cy="725708"/>
          </a:xfrm>
          <a:prstGeom prst="ellipse">
            <a:avLst/>
          </a:prstGeom>
          <a:solidFill>
            <a:srgbClr val="004FA1"/>
          </a:solidFill>
          <a:ln w="63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33" name="Oval 9">
            <a:extLst>
              <a:ext uri="{FF2B5EF4-FFF2-40B4-BE49-F238E27FC236}">
                <a16:creationId xmlns:a16="http://schemas.microsoft.com/office/drawing/2014/main" id="{57F3BFE6-EE3B-4811-B8D1-83550CECD11B}"/>
              </a:ext>
            </a:extLst>
          </p:cNvPr>
          <p:cNvSpPr>
            <a:spLocks noChangeArrowheads="1"/>
          </p:cNvSpPr>
          <p:nvPr/>
        </p:nvSpPr>
        <p:spPr bwMode="auto">
          <a:xfrm>
            <a:off x="8984540" y="4273887"/>
            <a:ext cx="201451" cy="204033"/>
          </a:xfrm>
          <a:prstGeom prst="ellipse">
            <a:avLst/>
          </a:prstGeom>
          <a:solidFill>
            <a:schemeClr val="accent2"/>
          </a:solidFill>
          <a:ln w="63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34" name="Oval 25">
            <a:extLst>
              <a:ext uri="{FF2B5EF4-FFF2-40B4-BE49-F238E27FC236}">
                <a16:creationId xmlns:a16="http://schemas.microsoft.com/office/drawing/2014/main" id="{D691ECBD-A670-427C-BCFF-070A75116E0E}"/>
              </a:ext>
            </a:extLst>
          </p:cNvPr>
          <p:cNvSpPr>
            <a:spLocks noChangeArrowheads="1"/>
          </p:cNvSpPr>
          <p:nvPr/>
        </p:nvSpPr>
        <p:spPr bwMode="auto">
          <a:xfrm>
            <a:off x="9218030" y="2327385"/>
            <a:ext cx="510316" cy="510316"/>
          </a:xfrm>
          <a:prstGeom prst="ellipse">
            <a:avLst/>
          </a:prstGeom>
          <a:solidFill>
            <a:srgbClr val="004FA1"/>
          </a:solidFill>
          <a:ln w="63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35" name="Oval 11">
            <a:extLst>
              <a:ext uri="{FF2B5EF4-FFF2-40B4-BE49-F238E27FC236}">
                <a16:creationId xmlns:a16="http://schemas.microsoft.com/office/drawing/2014/main" id="{18B0C9AF-26E5-4055-A5B8-E0C93055FC8A}"/>
              </a:ext>
            </a:extLst>
          </p:cNvPr>
          <p:cNvSpPr>
            <a:spLocks noChangeArrowheads="1"/>
          </p:cNvSpPr>
          <p:nvPr/>
        </p:nvSpPr>
        <p:spPr bwMode="auto">
          <a:xfrm>
            <a:off x="9414432" y="2524433"/>
            <a:ext cx="117513" cy="116222"/>
          </a:xfrm>
          <a:prstGeom prst="ellipse">
            <a:avLst/>
          </a:prstGeom>
          <a:solidFill>
            <a:schemeClr val="accent2"/>
          </a:solidFill>
          <a:ln w="63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36" name="Oval 27">
            <a:extLst>
              <a:ext uri="{FF2B5EF4-FFF2-40B4-BE49-F238E27FC236}">
                <a16:creationId xmlns:a16="http://schemas.microsoft.com/office/drawing/2014/main" id="{335E08E6-3C65-4DBF-AFB6-EB4B170574A8}"/>
              </a:ext>
            </a:extLst>
          </p:cNvPr>
          <p:cNvSpPr>
            <a:spLocks noChangeArrowheads="1"/>
          </p:cNvSpPr>
          <p:nvPr/>
        </p:nvSpPr>
        <p:spPr bwMode="auto">
          <a:xfrm>
            <a:off x="9168289" y="5571966"/>
            <a:ext cx="468340" cy="469445"/>
          </a:xfrm>
          <a:prstGeom prst="ellipse">
            <a:avLst/>
          </a:prstGeom>
          <a:solidFill>
            <a:srgbClr val="004FA1"/>
          </a:solidFill>
          <a:ln w="63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37" name="Oval 13">
            <a:extLst>
              <a:ext uri="{FF2B5EF4-FFF2-40B4-BE49-F238E27FC236}">
                <a16:creationId xmlns:a16="http://schemas.microsoft.com/office/drawing/2014/main" id="{EF370F05-83D2-4A3C-8256-3F66866272CF}"/>
              </a:ext>
            </a:extLst>
          </p:cNvPr>
          <p:cNvSpPr>
            <a:spLocks noChangeArrowheads="1"/>
          </p:cNvSpPr>
          <p:nvPr/>
        </p:nvSpPr>
        <p:spPr bwMode="auto">
          <a:xfrm>
            <a:off x="9361136" y="5764719"/>
            <a:ext cx="82646" cy="83938"/>
          </a:xfrm>
          <a:prstGeom prst="ellipse">
            <a:avLst/>
          </a:prstGeom>
          <a:solidFill>
            <a:schemeClr val="accent2"/>
          </a:solidFill>
          <a:ln w="63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39" name="Oval 29">
            <a:extLst>
              <a:ext uri="{FF2B5EF4-FFF2-40B4-BE49-F238E27FC236}">
                <a16:creationId xmlns:a16="http://schemas.microsoft.com/office/drawing/2014/main" id="{AECFE885-3F5A-42E1-8BF2-F827D2EFD3A2}"/>
              </a:ext>
            </a:extLst>
          </p:cNvPr>
          <p:cNvSpPr>
            <a:spLocks noChangeArrowheads="1"/>
          </p:cNvSpPr>
          <p:nvPr/>
        </p:nvSpPr>
        <p:spPr bwMode="auto">
          <a:xfrm>
            <a:off x="7620205" y="3728149"/>
            <a:ext cx="477178" cy="477178"/>
          </a:xfrm>
          <a:prstGeom prst="ellipse">
            <a:avLst/>
          </a:prstGeom>
          <a:solidFill>
            <a:srgbClr val="004FA1"/>
          </a:solidFill>
          <a:ln w="63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40" name="Oval 15">
            <a:extLst>
              <a:ext uri="{FF2B5EF4-FFF2-40B4-BE49-F238E27FC236}">
                <a16:creationId xmlns:a16="http://schemas.microsoft.com/office/drawing/2014/main" id="{8A557452-AE6E-4C39-B9D2-4D85C6F4BE11}"/>
              </a:ext>
            </a:extLst>
          </p:cNvPr>
          <p:cNvSpPr>
            <a:spLocks noChangeArrowheads="1"/>
          </p:cNvSpPr>
          <p:nvPr/>
        </p:nvSpPr>
        <p:spPr bwMode="auto">
          <a:xfrm>
            <a:off x="7795794" y="3903738"/>
            <a:ext cx="126000" cy="126000"/>
          </a:xfrm>
          <a:prstGeom prst="ellipse">
            <a:avLst/>
          </a:prstGeom>
          <a:solidFill>
            <a:schemeClr val="accent2"/>
          </a:solidFill>
          <a:ln w="63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41" name="Oval 31">
            <a:extLst>
              <a:ext uri="{FF2B5EF4-FFF2-40B4-BE49-F238E27FC236}">
                <a16:creationId xmlns:a16="http://schemas.microsoft.com/office/drawing/2014/main" id="{65F40C17-8BFC-4E10-AE16-C315D888EB3F}"/>
              </a:ext>
            </a:extLst>
          </p:cNvPr>
          <p:cNvSpPr>
            <a:spLocks noChangeArrowheads="1"/>
          </p:cNvSpPr>
          <p:nvPr/>
        </p:nvSpPr>
        <p:spPr bwMode="auto">
          <a:xfrm>
            <a:off x="9369429" y="4805033"/>
            <a:ext cx="367824" cy="367824"/>
          </a:xfrm>
          <a:prstGeom prst="ellipse">
            <a:avLst/>
          </a:prstGeom>
          <a:solidFill>
            <a:srgbClr val="004FA1"/>
          </a:solidFill>
          <a:ln w="63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42" name="Oval 17">
            <a:extLst>
              <a:ext uri="{FF2B5EF4-FFF2-40B4-BE49-F238E27FC236}">
                <a16:creationId xmlns:a16="http://schemas.microsoft.com/office/drawing/2014/main" id="{5A3C3C9B-3B79-48E7-9A1F-E51B9C3BEFEF}"/>
              </a:ext>
            </a:extLst>
          </p:cNvPr>
          <p:cNvSpPr>
            <a:spLocks noChangeArrowheads="1"/>
          </p:cNvSpPr>
          <p:nvPr/>
        </p:nvSpPr>
        <p:spPr bwMode="auto">
          <a:xfrm>
            <a:off x="9537199" y="4972803"/>
            <a:ext cx="32284" cy="32284"/>
          </a:xfrm>
          <a:prstGeom prst="ellipse">
            <a:avLst/>
          </a:prstGeom>
          <a:solidFill>
            <a:schemeClr val="accent2"/>
          </a:solidFill>
          <a:ln w="63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grpSp>
        <p:nvGrpSpPr>
          <p:cNvPr id="3" name="Group 2">
            <a:extLst>
              <a:ext uri="{FF2B5EF4-FFF2-40B4-BE49-F238E27FC236}">
                <a16:creationId xmlns:a16="http://schemas.microsoft.com/office/drawing/2014/main" id="{6739AB6C-F5B5-8CC4-AB8B-2EA95CF154B2}"/>
              </a:ext>
            </a:extLst>
          </p:cNvPr>
          <p:cNvGrpSpPr/>
          <p:nvPr/>
        </p:nvGrpSpPr>
        <p:grpSpPr>
          <a:xfrm>
            <a:off x="8905220" y="3469036"/>
            <a:ext cx="230857" cy="229752"/>
            <a:chOff x="8070937" y="4080396"/>
            <a:chExt cx="230857" cy="229752"/>
          </a:xfrm>
        </p:grpSpPr>
        <p:sp>
          <p:nvSpPr>
            <p:cNvPr id="243" name="Oval 33">
              <a:extLst>
                <a:ext uri="{FF2B5EF4-FFF2-40B4-BE49-F238E27FC236}">
                  <a16:creationId xmlns:a16="http://schemas.microsoft.com/office/drawing/2014/main" id="{42DA2C32-7309-4234-AFCB-E0C9C6F9F441}"/>
                </a:ext>
              </a:extLst>
            </p:cNvPr>
            <p:cNvSpPr>
              <a:spLocks noChangeArrowheads="1"/>
            </p:cNvSpPr>
            <p:nvPr/>
          </p:nvSpPr>
          <p:spPr bwMode="auto">
            <a:xfrm>
              <a:off x="8070937" y="4080396"/>
              <a:ext cx="230857" cy="229752"/>
            </a:xfrm>
            <a:prstGeom prst="ellipse">
              <a:avLst/>
            </a:prstGeom>
            <a:solidFill>
              <a:srgbClr val="004FA1"/>
            </a:solidFill>
            <a:ln w="63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244" name="Oval 19">
              <a:extLst>
                <a:ext uri="{FF2B5EF4-FFF2-40B4-BE49-F238E27FC236}">
                  <a16:creationId xmlns:a16="http://schemas.microsoft.com/office/drawing/2014/main" id="{184CEBB1-CC56-48B8-86A1-621890CE3AE8}"/>
                </a:ext>
              </a:extLst>
            </p:cNvPr>
            <p:cNvSpPr>
              <a:spLocks noChangeArrowheads="1"/>
            </p:cNvSpPr>
            <p:nvPr/>
          </p:nvSpPr>
          <p:spPr bwMode="auto">
            <a:xfrm>
              <a:off x="8136648" y="4144910"/>
              <a:ext cx="99434" cy="100725"/>
            </a:xfrm>
            <a:prstGeom prst="ellipse">
              <a:avLst/>
            </a:prstGeom>
            <a:solidFill>
              <a:schemeClr val="accent2"/>
            </a:solidFill>
            <a:ln w="63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grpSp>
      <p:sp>
        <p:nvSpPr>
          <p:cNvPr id="253" name="Rectangle 252">
            <a:extLst>
              <a:ext uri="{FF2B5EF4-FFF2-40B4-BE49-F238E27FC236}">
                <a16:creationId xmlns:a16="http://schemas.microsoft.com/office/drawing/2014/main" id="{0BA7DCB1-EB4E-4FA7-817C-997334EBEC6F}"/>
              </a:ext>
            </a:extLst>
          </p:cNvPr>
          <p:cNvSpPr>
            <a:spLocks/>
          </p:cNvSpPr>
          <p:nvPr/>
        </p:nvSpPr>
        <p:spPr>
          <a:xfrm>
            <a:off x="12512551" y="370466"/>
            <a:ext cx="2655384" cy="8079393"/>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a:ln>
                <a:noFill/>
              </a:ln>
              <a:solidFill>
                <a:srgbClr val="FFFFFF"/>
              </a:solidFill>
              <a:effectLst/>
              <a:uLnTx/>
              <a:uFillTx/>
              <a:latin typeface="Bahnschrift"/>
              <a:ea typeface="+mn-ea"/>
              <a:cs typeface="+mn-cs"/>
            </a:endParaRPr>
          </a:p>
        </p:txBody>
      </p:sp>
      <p:sp>
        <p:nvSpPr>
          <p:cNvPr id="255" name="SlideLogoText">
            <a:extLst>
              <a:ext uri="{FF2B5EF4-FFF2-40B4-BE49-F238E27FC236}">
                <a16:creationId xmlns:a16="http://schemas.microsoft.com/office/drawing/2014/main" id="{1304F766-1D69-4971-8391-CDEC8C8C2C6D}"/>
              </a:ext>
            </a:extLst>
          </p:cNvPr>
          <p:cNvSpPr txBox="1"/>
          <p:nvPr>
            <p:custDataLst>
              <p:tags r:id="rId2"/>
            </p:custDataLst>
          </p:nvPr>
        </p:nvSpPr>
        <p:spPr bwMode="black">
          <a:xfrm>
            <a:off x="10781465" y="7238681"/>
            <a:ext cx="64440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de-DE" sz="9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  &amp; Company</a:t>
            </a:r>
          </a:p>
        </p:txBody>
      </p:sp>
      <p:sp>
        <p:nvSpPr>
          <p:cNvPr id="256" name="Slide Number">
            <a:extLst>
              <a:ext uri="{FF2B5EF4-FFF2-40B4-BE49-F238E27FC236}">
                <a16:creationId xmlns:a16="http://schemas.microsoft.com/office/drawing/2014/main" id="{39EE35BC-1D35-45F6-8AC5-8DD266020E68}"/>
              </a:ext>
            </a:extLst>
          </p:cNvPr>
          <p:cNvSpPr>
            <a:spLocks noChangeArrowheads="1"/>
          </p:cNvSpPr>
          <p:nvPr>
            <p:custDataLst>
              <p:tags r:id="rId3"/>
            </p:custDataLst>
          </p:nvPr>
        </p:nvSpPr>
        <p:spPr bwMode="black">
          <a:xfrm>
            <a:off x="11706225" y="72380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
                <a:srgbClr val="000000"/>
              </a:buClr>
              <a:buSzTx/>
              <a:buFontTx/>
              <a:buNone/>
              <a:tabLst/>
              <a:defRPr/>
            </a:pPr>
            <a:fld id="{4ABDCABE-3F10-B64C-92F1-862014417034}" type="slidenum">
              <a:rPr kumimoji="0" lang="de-DE" sz="9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
                  <a:srgbClr val="000000"/>
                </a:buClr>
                <a:buSzTx/>
                <a:buFontTx/>
                <a:buNone/>
                <a:tabLst/>
                <a:defRPr/>
              </a:pPr>
              <a:t>24</a:t>
            </a:fld>
            <a:endParaRPr kumimoji="0" lang="de-DE" sz="9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sp>
        <p:nvSpPr>
          <p:cNvPr id="5" name="2. Slide Title">
            <a:extLst>
              <a:ext uri="{FF2B5EF4-FFF2-40B4-BE49-F238E27FC236}">
                <a16:creationId xmlns:a16="http://schemas.microsoft.com/office/drawing/2014/main" id="{EF447294-0DA2-4C5D-A6E9-D175A568D704}"/>
              </a:ext>
            </a:extLst>
          </p:cNvPr>
          <p:cNvSpPr>
            <a:spLocks noGrp="1"/>
          </p:cNvSpPr>
          <p:nvPr>
            <p:ph type="title"/>
            <p:custDataLst>
              <p:tags r:id="rId4"/>
            </p:custDataLst>
          </p:nvPr>
        </p:nvSpPr>
        <p:spPr>
          <a:xfrm>
            <a:off x="838799" y="343789"/>
            <a:ext cx="9540001" cy="1126462"/>
          </a:xfrm>
          <a:noFill/>
          <a:ln>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de-DE" dirty="0"/>
              <a:t>Biogas und -methanproduktion erfolgt europaweit; </a:t>
            </a:r>
            <a:br>
              <a:rPr lang="de-DE" dirty="0"/>
            </a:br>
            <a:r>
              <a:rPr lang="de-DE" dirty="0"/>
              <a:t>relevante Erdgassubstitution erfolgt vor allem in Skandinavien</a:t>
            </a:r>
          </a:p>
        </p:txBody>
      </p:sp>
      <p:graphicFrame>
        <p:nvGraphicFramePr>
          <p:cNvPr id="19" name="Chart 18">
            <a:extLst>
              <a:ext uri="{FF2B5EF4-FFF2-40B4-BE49-F238E27FC236}">
                <a16:creationId xmlns:a16="http://schemas.microsoft.com/office/drawing/2014/main" id="{96C74202-4CD7-3C1C-D453-CD351743DD3D}"/>
              </a:ext>
            </a:extLst>
          </p:cNvPr>
          <p:cNvGraphicFramePr/>
          <p:nvPr>
            <p:custDataLst>
              <p:tags r:id="rId5"/>
            </p:custDataLst>
          </p:nvPr>
        </p:nvGraphicFramePr>
        <p:xfrm>
          <a:off x="1503363" y="2065338"/>
          <a:ext cx="2708275" cy="3978275"/>
        </p:xfrm>
        <a:graphic>
          <a:graphicData uri="http://schemas.openxmlformats.org/drawingml/2006/chart">
            <c:chart xmlns:c="http://schemas.openxmlformats.org/drawingml/2006/chart" xmlns:r="http://schemas.openxmlformats.org/officeDocument/2006/relationships" r:id="rId39"/>
          </a:graphicData>
        </a:graphic>
      </p:graphicFrame>
      <p:sp>
        <p:nvSpPr>
          <p:cNvPr id="176" name="Text Placeholder 4">
            <a:extLst>
              <a:ext uri="{FF2B5EF4-FFF2-40B4-BE49-F238E27FC236}">
                <a16:creationId xmlns:a16="http://schemas.microsoft.com/office/drawing/2014/main" id="{4C1F3293-4EFE-461D-940D-7EE66BAE31C5}"/>
              </a:ext>
            </a:extLst>
          </p:cNvPr>
          <p:cNvSpPr>
            <a:spLocks noGrp="1"/>
          </p:cNvSpPr>
          <p:nvPr>
            <p:custDataLst>
              <p:tags r:id="rId6"/>
            </p:custDataLst>
          </p:nvPr>
        </p:nvSpPr>
        <p:spPr bwMode="gray">
          <a:xfrm>
            <a:off x="3836988" y="2873375"/>
            <a:ext cx="2587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Bahnschrift" panose="020B0502040204020203" pitchFamily="34" charset="0"/>
                <a:ea typeface="+mn-ea"/>
                <a:cs typeface="Arial" panose="020B0604020202020204" pitchFamily="34" charset="0"/>
                <a:sym typeface="Bahnschrift" panose="020B0502040204020203"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92322BF-DBB0-4A1A-93A0-AEDCE05BB304}" type="datetime'''''''''''''2''1''''''''''''''''''''''0'''''''''''''''''''''">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sym typeface="Bahnschrift" panose="020B0502040204020203"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10</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Bahnschrift" panose="020B0502040204020203" pitchFamily="34" charset="0"/>
            </a:endParaRPr>
          </a:p>
        </p:txBody>
      </p:sp>
      <p:sp>
        <p:nvSpPr>
          <p:cNvPr id="175" name="Text Placeholder 4">
            <a:extLst>
              <a:ext uri="{FF2B5EF4-FFF2-40B4-BE49-F238E27FC236}">
                <a16:creationId xmlns:a16="http://schemas.microsoft.com/office/drawing/2014/main" id="{4C1F3293-4EFE-461D-940D-7EE66BAE31C5}"/>
              </a:ext>
            </a:extLst>
          </p:cNvPr>
          <p:cNvSpPr>
            <a:spLocks noGrp="1"/>
          </p:cNvSpPr>
          <p:nvPr>
            <p:custDataLst>
              <p:tags r:id="rId7"/>
            </p:custDataLst>
          </p:nvPr>
        </p:nvSpPr>
        <p:spPr bwMode="gray">
          <a:xfrm>
            <a:off x="4154488" y="2328863"/>
            <a:ext cx="295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Bahnschrift" panose="020B0502040204020203" pitchFamily="34" charset="0"/>
                <a:ea typeface="+mn-ea"/>
                <a:cs typeface="Arial" panose="020B0604020202020204" pitchFamily="34" charset="0"/>
                <a:sym typeface="Bahnschrift" panose="020B0502040204020203"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0DFDA09-EAD7-4DAB-9BF7-184471FBAB45}" type="datetime'''''''''''''2''''''''''''''''''''''''''''''''''4''0'">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sym typeface="Bahnschrift" panose="020B0502040204020203"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40</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Bahnschrift" panose="020B0502040204020203" pitchFamily="34" charset="0"/>
            </a:endParaRPr>
          </a:p>
        </p:txBody>
      </p:sp>
      <p:sp>
        <p:nvSpPr>
          <p:cNvPr id="177"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gray">
          <a:xfrm>
            <a:off x="2671763" y="3417888"/>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Bahnschrift" panose="020B0502040204020203" pitchFamily="34" charset="0"/>
                <a:ea typeface="+mn-ea"/>
                <a:cs typeface="Arial" panose="020B0604020202020204" pitchFamily="34" charset="0"/>
                <a:sym typeface="Bahnschrift" panose="020B0502040204020203"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FC502BC-CDBC-4F15-9A9D-0FE08DADC767}" type="datetime'''1''''''''''''''''''0''''''''''0'''''''''''''''''''''''''">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sym typeface="Bahnschrift" panose="020B0502040204020203"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00</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Bahnschrift" panose="020B0502040204020203" pitchFamily="34" charset="0"/>
            </a:endParaRPr>
          </a:p>
        </p:txBody>
      </p:sp>
      <p:sp>
        <p:nvSpPr>
          <p:cNvPr id="238" name="Text Placeholder 4">
            <a:extLst>
              <a:ext uri="{FF2B5EF4-FFF2-40B4-BE49-F238E27FC236}">
                <a16:creationId xmlns:a16="http://schemas.microsoft.com/office/drawing/2014/main" id="{4C1F3293-4EFE-461D-940D-7EE66BAE31C5}"/>
              </a:ext>
            </a:extLst>
          </p:cNvPr>
          <p:cNvSpPr>
            <a:spLocks noGrp="1"/>
          </p:cNvSpPr>
          <p:nvPr>
            <p:custDataLst>
              <p:tags r:id="rId9"/>
            </p:custDataLst>
          </p:nvPr>
        </p:nvSpPr>
        <p:spPr bwMode="gray">
          <a:xfrm>
            <a:off x="2565400" y="3963988"/>
            <a:ext cx="206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Bahnschrift" panose="020B0502040204020203" pitchFamily="34" charset="0"/>
                <a:ea typeface="+mn-ea"/>
                <a:cs typeface="Arial" panose="020B0604020202020204" pitchFamily="34" charset="0"/>
                <a:sym typeface="Bahnschrift" panose="020B0502040204020203"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174C5E6-3743-4246-B405-BC923B2EE681}" type="datetime'''''''''''''''''''''''''''''''''''''90'''''''''''''''">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sym typeface="Bahnschrift" panose="020B0502040204020203"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90</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Bahnschrift" panose="020B0502040204020203" pitchFamily="34" charset="0"/>
            </a:endParaRPr>
          </a:p>
        </p:txBody>
      </p:sp>
      <p:sp>
        <p:nvSpPr>
          <p:cNvPr id="249"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2332038" y="5053013"/>
            <a:ext cx="2079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Bahnschrift" panose="020B0502040204020203" pitchFamily="34" charset="0"/>
                <a:ea typeface="+mn-ea"/>
                <a:cs typeface="Arial" panose="020B0604020202020204" pitchFamily="34" charset="0"/>
                <a:sym typeface="Bahnschrift" panose="020B0502040204020203"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A03E6D2-8D2B-4CCF-8361-588B17300596}" type="datetime'''''''''''''''''''''''''''6''''8'''''''''''''''">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sym typeface="Bahnschrift" panose="020B0502040204020203"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68</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Bahnschrift" panose="020B0502040204020203" pitchFamily="34" charset="0"/>
            </a:endParaRPr>
          </a:p>
        </p:txBody>
      </p:sp>
      <p:sp>
        <p:nvSpPr>
          <p:cNvPr id="248"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2565400" y="4508500"/>
            <a:ext cx="206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Bahnschrift" panose="020B0502040204020203" pitchFamily="34" charset="0"/>
                <a:ea typeface="+mn-ea"/>
                <a:cs typeface="Arial" panose="020B0604020202020204" pitchFamily="34" charset="0"/>
                <a:sym typeface="Bahnschrift" panose="020B0502040204020203"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38AAAB5-67D1-4ECF-9109-33D989665A44}" type="datetime'''''''''''''''''''''''''9''0'''''''''''''''''''''">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sym typeface="Bahnschrift" panose="020B0502040204020203"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90</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Bahnschrift" panose="020B0502040204020203" pitchFamily="34" charset="0"/>
            </a:endParaRPr>
          </a:p>
        </p:txBody>
      </p:sp>
      <p:sp>
        <p:nvSpPr>
          <p:cNvPr id="250"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1844675" y="5597525"/>
            <a:ext cx="203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Bahnschrift" panose="020B0502040204020203" pitchFamily="34" charset="0"/>
                <a:ea typeface="+mn-ea"/>
                <a:cs typeface="Arial" panose="020B0604020202020204" pitchFamily="34" charset="0"/>
                <a:sym typeface="Bahnschrift" panose="020B0502040204020203" pitchFamily="34" charset="0"/>
              </a:defRPr>
            </a:lvl1pPr>
            <a:lvl2pPr marL="18288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2pPr>
            <a:lvl3pPr marL="36576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3pPr>
            <a:lvl4pPr marL="54864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4pPr>
            <a:lvl5pPr marL="731520" indent="-182880" algn="l" defTabSz="914400" rtl="0" eaLnBrk="1" latinLnBrk="0" hangingPunct="1">
              <a:lnSpc>
                <a:spcPct val="100000"/>
              </a:lnSpc>
              <a:spcBef>
                <a:spcPts val="0"/>
              </a:spcBef>
              <a:spcAft>
                <a:spcPts val="300"/>
              </a:spcAft>
              <a:buClrTx/>
              <a:buSzPct val="100000"/>
              <a:buFont typeface="Symbol" panose="05050102010706020507" pitchFamily="18" charset="2"/>
              <a:buChar char="-"/>
              <a:defRPr lang="en-US" sz="1600" kern="1200" dirty="0">
                <a:solidFill>
                  <a:schemeClr val="tx1"/>
                </a:solidFill>
                <a:latin typeface="Bahnschrift" panose="020B0502040204020203" pitchFamily="34" charset="0"/>
                <a:ea typeface="+mn-ea"/>
                <a:cs typeface="+mn-cs"/>
                <a:sym typeface="Bahnschrift" panose="020B0502040204020203"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FCBC79A-EFBE-4E41-A89E-61FF240319BD}" type="datetime'''''''''''''''''''''''2''''''''''''''''''''''''''''''''''2'''">
              <a:rPr kumimoji="0" lang="de-DE" altLang="en-US" sz="1200" b="0" i="0" u="none" strike="noStrike" kern="1200" cap="none" spc="0" normalizeH="0" baseline="0" noProof="0" smtClean="0">
                <a:ln>
                  <a:noFill/>
                </a:ln>
                <a:solidFill>
                  <a:srgbClr val="000000"/>
                </a:solidFill>
                <a:effectLst/>
                <a:uLnTx/>
                <a:uFillTx/>
                <a:latin typeface="Bahnschrift"/>
                <a:ea typeface="+mn-ea"/>
                <a:cs typeface="Arial" panose="020B0604020202020204" pitchFamily="34" charset="0"/>
                <a:sym typeface="Bahnschrift" panose="020B0502040204020203"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2</a:t>
            </a:fld>
            <a:endParaRPr kumimoji="0" lang="de-DE" sz="12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Bahnschrift" panose="020B0502040204020203" pitchFamily="34" charset="0"/>
            </a:endParaRPr>
          </a:p>
        </p:txBody>
      </p:sp>
      <p:sp>
        <p:nvSpPr>
          <p:cNvPr id="245" name="Rectangle 244">
            <a:extLst>
              <a:ext uri="{FF2B5EF4-FFF2-40B4-BE49-F238E27FC236}">
                <a16:creationId xmlns:a16="http://schemas.microsoft.com/office/drawing/2014/main" id="{030D5F32-F64F-4182-8B4B-06377A4EB190}"/>
              </a:ext>
            </a:extLst>
          </p:cNvPr>
          <p:cNvSpPr>
            <a:spLocks/>
          </p:cNvSpPr>
          <p:nvPr/>
        </p:nvSpPr>
        <p:spPr>
          <a:xfrm>
            <a:off x="7615331" y="-3434540"/>
            <a:ext cx="5885571" cy="3407152"/>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a:ln>
                <a:noFill/>
              </a:ln>
              <a:solidFill>
                <a:srgbClr val="FFFFFF"/>
              </a:solidFill>
              <a:effectLst/>
              <a:uLnTx/>
              <a:uFillTx/>
              <a:latin typeface="Bahnschrift"/>
              <a:ea typeface="+mn-ea"/>
              <a:cs typeface="+mn-cs"/>
            </a:endParaRPr>
          </a:p>
        </p:txBody>
      </p:sp>
      <p:sp>
        <p:nvSpPr>
          <p:cNvPr id="246" name="Rectangle 245">
            <a:extLst>
              <a:ext uri="{FF2B5EF4-FFF2-40B4-BE49-F238E27FC236}">
                <a16:creationId xmlns:a16="http://schemas.microsoft.com/office/drawing/2014/main" id="{3C7FB3AC-7F26-4377-A2DA-5719A2426BA9}"/>
              </a:ext>
            </a:extLst>
          </p:cNvPr>
          <p:cNvSpPr>
            <a:spLocks/>
          </p:cNvSpPr>
          <p:nvPr/>
        </p:nvSpPr>
        <p:spPr>
          <a:xfrm>
            <a:off x="9682172" y="-3434540"/>
            <a:ext cx="5885571" cy="3407152"/>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a:ln>
                <a:noFill/>
              </a:ln>
              <a:solidFill>
                <a:srgbClr val="FFFFFF"/>
              </a:solidFill>
              <a:effectLst/>
              <a:uLnTx/>
              <a:uFillTx/>
              <a:latin typeface="Bahnschrift"/>
              <a:ea typeface="+mn-ea"/>
              <a:cs typeface="+mn-cs"/>
            </a:endParaRPr>
          </a:p>
        </p:txBody>
      </p:sp>
      <p:sp>
        <p:nvSpPr>
          <p:cNvPr id="247" name="Rectangle 246">
            <a:extLst>
              <a:ext uri="{FF2B5EF4-FFF2-40B4-BE49-F238E27FC236}">
                <a16:creationId xmlns:a16="http://schemas.microsoft.com/office/drawing/2014/main" id="{350865E9-5EC8-4E3C-9429-2991776A3C1B}"/>
              </a:ext>
            </a:extLst>
          </p:cNvPr>
          <p:cNvSpPr>
            <a:spLocks/>
          </p:cNvSpPr>
          <p:nvPr/>
        </p:nvSpPr>
        <p:spPr>
          <a:xfrm>
            <a:off x="4767636" y="6812995"/>
            <a:ext cx="8161286" cy="1068857"/>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a:ln>
                <a:noFill/>
              </a:ln>
              <a:solidFill>
                <a:srgbClr val="FFFFFF"/>
              </a:solidFill>
              <a:effectLst/>
              <a:uLnTx/>
              <a:uFillTx/>
              <a:latin typeface="Bahnschrift"/>
              <a:ea typeface="+mn-ea"/>
              <a:cs typeface="+mn-cs"/>
            </a:endParaRPr>
          </a:p>
        </p:txBody>
      </p:sp>
      <p:cxnSp>
        <p:nvCxnSpPr>
          <p:cNvPr id="367" name="LineBasicDefault 25">
            <a:extLst>
              <a:ext uri="{FF2B5EF4-FFF2-40B4-BE49-F238E27FC236}">
                <a16:creationId xmlns:a16="http://schemas.microsoft.com/office/drawing/2014/main" id="{83692932-7AF6-4892-86AF-10A7E0AEC364}"/>
              </a:ext>
            </a:extLst>
          </p:cNvPr>
          <p:cNvCxnSpPr>
            <a:cxnSpLocks/>
          </p:cNvCxnSpPr>
          <p:nvPr>
            <p:custDataLst>
              <p:tags r:id="rId13"/>
            </p:custDataLst>
          </p:nvPr>
        </p:nvCxnSpPr>
        <p:spPr>
          <a:xfrm>
            <a:off x="1023938" y="2691589"/>
            <a:ext cx="5310188"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68" name="LineBasicDefault 25">
            <a:extLst>
              <a:ext uri="{FF2B5EF4-FFF2-40B4-BE49-F238E27FC236}">
                <a16:creationId xmlns:a16="http://schemas.microsoft.com/office/drawing/2014/main" id="{D73BCC0F-4F6D-4429-9FEE-129E97D0F034}"/>
              </a:ext>
            </a:extLst>
          </p:cNvPr>
          <p:cNvCxnSpPr>
            <a:cxnSpLocks/>
          </p:cNvCxnSpPr>
          <p:nvPr>
            <p:custDataLst>
              <p:tags r:id="rId14"/>
            </p:custDataLst>
          </p:nvPr>
        </p:nvCxnSpPr>
        <p:spPr>
          <a:xfrm>
            <a:off x="1023938" y="3237711"/>
            <a:ext cx="5310188"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69" name="LineBasicDefault 25">
            <a:extLst>
              <a:ext uri="{FF2B5EF4-FFF2-40B4-BE49-F238E27FC236}">
                <a16:creationId xmlns:a16="http://schemas.microsoft.com/office/drawing/2014/main" id="{D5416207-47AA-477D-91AD-A625D68F0A6A}"/>
              </a:ext>
            </a:extLst>
          </p:cNvPr>
          <p:cNvCxnSpPr>
            <a:cxnSpLocks/>
          </p:cNvCxnSpPr>
          <p:nvPr>
            <p:custDataLst>
              <p:tags r:id="rId15"/>
            </p:custDataLst>
          </p:nvPr>
        </p:nvCxnSpPr>
        <p:spPr>
          <a:xfrm>
            <a:off x="1023938" y="3781412"/>
            <a:ext cx="5310188"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70" name="LineBasicDefault 25">
            <a:extLst>
              <a:ext uri="{FF2B5EF4-FFF2-40B4-BE49-F238E27FC236}">
                <a16:creationId xmlns:a16="http://schemas.microsoft.com/office/drawing/2014/main" id="{3FF71C3A-4D9A-440C-B855-FAEE69AA21A0}"/>
              </a:ext>
            </a:extLst>
          </p:cNvPr>
          <p:cNvCxnSpPr>
            <a:cxnSpLocks/>
          </p:cNvCxnSpPr>
          <p:nvPr>
            <p:custDataLst>
              <p:tags r:id="rId16"/>
            </p:custDataLst>
          </p:nvPr>
        </p:nvCxnSpPr>
        <p:spPr>
          <a:xfrm>
            <a:off x="1023938" y="4325113"/>
            <a:ext cx="5310188"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71" name="LineBasicDefault 25">
            <a:extLst>
              <a:ext uri="{FF2B5EF4-FFF2-40B4-BE49-F238E27FC236}">
                <a16:creationId xmlns:a16="http://schemas.microsoft.com/office/drawing/2014/main" id="{1E4DD8FA-7C39-43BA-B6F7-1B14418DF900}"/>
              </a:ext>
            </a:extLst>
          </p:cNvPr>
          <p:cNvCxnSpPr>
            <a:cxnSpLocks/>
          </p:cNvCxnSpPr>
          <p:nvPr>
            <p:custDataLst>
              <p:tags r:id="rId17"/>
            </p:custDataLst>
          </p:nvPr>
        </p:nvCxnSpPr>
        <p:spPr>
          <a:xfrm>
            <a:off x="1023938" y="4871235"/>
            <a:ext cx="5310188"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72" name="LineBasicDefault 25">
            <a:extLst>
              <a:ext uri="{FF2B5EF4-FFF2-40B4-BE49-F238E27FC236}">
                <a16:creationId xmlns:a16="http://schemas.microsoft.com/office/drawing/2014/main" id="{3F3B5356-51C9-4883-9368-82277BE28CCE}"/>
              </a:ext>
            </a:extLst>
          </p:cNvPr>
          <p:cNvCxnSpPr>
            <a:cxnSpLocks/>
          </p:cNvCxnSpPr>
          <p:nvPr>
            <p:custDataLst>
              <p:tags r:id="rId18"/>
            </p:custDataLst>
          </p:nvPr>
        </p:nvCxnSpPr>
        <p:spPr>
          <a:xfrm>
            <a:off x="1023938" y="5414936"/>
            <a:ext cx="5310188" cy="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LineBasicDefault 25">
            <a:extLst>
              <a:ext uri="{FF2B5EF4-FFF2-40B4-BE49-F238E27FC236}">
                <a16:creationId xmlns:a16="http://schemas.microsoft.com/office/drawing/2014/main" id="{D49B8732-D6DE-4344-A228-A9711E50EB12}"/>
              </a:ext>
            </a:extLst>
          </p:cNvPr>
          <p:cNvCxnSpPr>
            <a:cxnSpLocks/>
          </p:cNvCxnSpPr>
          <p:nvPr>
            <p:custDataLst>
              <p:tags r:id="rId19"/>
            </p:custDataLst>
          </p:nvPr>
        </p:nvCxnSpPr>
        <p:spPr>
          <a:xfrm>
            <a:off x="1516063" y="2070099"/>
            <a:ext cx="499903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42DA6E41-14A9-44C4-87B1-81505F9C72E9}"/>
              </a:ext>
            </a:extLst>
          </p:cNvPr>
          <p:cNvPicPr>
            <a:picLocks noChangeAspect="1"/>
          </p:cNvPicPr>
          <p:nvPr/>
        </p:nvPicPr>
        <p:blipFill>
          <a:blip r:embed="rId40" cstate="hqprint">
            <a:extLst>
              <a:ext uri="{28A0092B-C50C-407E-A947-70E740481C1C}">
                <a14:useLocalDpi xmlns:a14="http://schemas.microsoft.com/office/drawing/2010/main"/>
              </a:ext>
            </a:extLst>
          </a:blip>
          <a:stretch>
            <a:fillRect/>
          </a:stretch>
        </p:blipFill>
        <p:spPr>
          <a:xfrm>
            <a:off x="1023938" y="2299850"/>
            <a:ext cx="360363" cy="240242"/>
          </a:xfrm>
          <a:prstGeom prst="rect">
            <a:avLst/>
          </a:prstGeom>
          <a:ln w="6350">
            <a:solidFill>
              <a:srgbClr val="D0D0D0"/>
            </a:solidFill>
          </a:ln>
        </p:spPr>
      </p:pic>
      <p:pic>
        <p:nvPicPr>
          <p:cNvPr id="16" name="Picture 15">
            <a:extLst>
              <a:ext uri="{FF2B5EF4-FFF2-40B4-BE49-F238E27FC236}">
                <a16:creationId xmlns:a16="http://schemas.microsoft.com/office/drawing/2014/main" id="{F4289B6C-A0D5-47A1-8C73-6696025A48E4}"/>
              </a:ext>
            </a:extLst>
          </p:cNvPr>
          <p:cNvPicPr>
            <a:picLocks noChangeAspect="1"/>
          </p:cNvPicPr>
          <p:nvPr/>
        </p:nvPicPr>
        <p:blipFill>
          <a:blip r:embed="rId41" cstate="hqprint">
            <a:extLst>
              <a:ext uri="{28A0092B-C50C-407E-A947-70E740481C1C}">
                <a14:useLocalDpi xmlns:a14="http://schemas.microsoft.com/office/drawing/2010/main"/>
              </a:ext>
            </a:extLst>
          </a:blip>
          <a:stretch>
            <a:fillRect/>
          </a:stretch>
        </p:blipFill>
        <p:spPr>
          <a:xfrm>
            <a:off x="1023938" y="2843552"/>
            <a:ext cx="363538" cy="242359"/>
          </a:xfrm>
          <a:prstGeom prst="rect">
            <a:avLst/>
          </a:prstGeom>
          <a:ln w="6350">
            <a:solidFill>
              <a:srgbClr val="D0D0D0"/>
            </a:solidFill>
          </a:ln>
        </p:spPr>
      </p:pic>
      <p:pic>
        <p:nvPicPr>
          <p:cNvPr id="18" name="Picture 17">
            <a:extLst>
              <a:ext uri="{FF2B5EF4-FFF2-40B4-BE49-F238E27FC236}">
                <a16:creationId xmlns:a16="http://schemas.microsoft.com/office/drawing/2014/main" id="{3B9660CF-A6FE-4215-9D13-F336E2A7DB07}"/>
              </a:ext>
            </a:extLst>
          </p:cNvPr>
          <p:cNvPicPr>
            <a:picLocks noChangeAspect="1"/>
          </p:cNvPicPr>
          <p:nvPr/>
        </p:nvPicPr>
        <p:blipFill>
          <a:blip r:embed="rId42" cstate="hqprint">
            <a:extLst>
              <a:ext uri="{28A0092B-C50C-407E-A947-70E740481C1C}">
                <a14:useLocalDpi xmlns:a14="http://schemas.microsoft.com/office/drawing/2010/main"/>
              </a:ext>
            </a:extLst>
          </a:blip>
          <a:stretch>
            <a:fillRect/>
          </a:stretch>
        </p:blipFill>
        <p:spPr>
          <a:xfrm>
            <a:off x="1023938" y="3389673"/>
            <a:ext cx="360363" cy="240242"/>
          </a:xfrm>
          <a:prstGeom prst="rect">
            <a:avLst/>
          </a:prstGeom>
          <a:ln w="6350">
            <a:solidFill>
              <a:srgbClr val="D0D0D0"/>
            </a:solidFill>
          </a:ln>
        </p:spPr>
      </p:pic>
      <p:pic>
        <p:nvPicPr>
          <p:cNvPr id="22" name="Picture 21">
            <a:extLst>
              <a:ext uri="{FF2B5EF4-FFF2-40B4-BE49-F238E27FC236}">
                <a16:creationId xmlns:a16="http://schemas.microsoft.com/office/drawing/2014/main" id="{B21AC9AD-65A7-40A1-9974-9EF734C839F5}"/>
              </a:ext>
            </a:extLst>
          </p:cNvPr>
          <p:cNvPicPr>
            <a:picLocks noChangeAspect="1"/>
          </p:cNvPicPr>
          <p:nvPr/>
        </p:nvPicPr>
        <p:blipFill>
          <a:blip r:embed="rId43" cstate="hqprint">
            <a:extLst>
              <a:ext uri="{28A0092B-C50C-407E-A947-70E740481C1C}">
                <a14:useLocalDpi xmlns:a14="http://schemas.microsoft.com/office/drawing/2010/main"/>
              </a:ext>
            </a:extLst>
          </a:blip>
          <a:stretch>
            <a:fillRect/>
          </a:stretch>
        </p:blipFill>
        <p:spPr>
          <a:xfrm>
            <a:off x="1023938" y="3933374"/>
            <a:ext cx="360363" cy="240242"/>
          </a:xfrm>
          <a:prstGeom prst="rect">
            <a:avLst/>
          </a:prstGeom>
          <a:ln w="6350">
            <a:solidFill>
              <a:srgbClr val="D0D0D0"/>
            </a:solidFill>
          </a:ln>
        </p:spPr>
      </p:pic>
      <p:pic>
        <p:nvPicPr>
          <p:cNvPr id="24" name="Picture 23">
            <a:extLst>
              <a:ext uri="{FF2B5EF4-FFF2-40B4-BE49-F238E27FC236}">
                <a16:creationId xmlns:a16="http://schemas.microsoft.com/office/drawing/2014/main" id="{FE03F222-5715-4DF9-9D85-1F453167BA6D}"/>
              </a:ext>
            </a:extLst>
          </p:cNvPr>
          <p:cNvPicPr>
            <a:picLocks noChangeAspect="1"/>
          </p:cNvPicPr>
          <p:nvPr/>
        </p:nvPicPr>
        <p:blipFill>
          <a:blip r:embed="rId44" cstate="hqprint">
            <a:extLst>
              <a:ext uri="{28A0092B-C50C-407E-A947-70E740481C1C}">
                <a14:useLocalDpi xmlns:a14="http://schemas.microsoft.com/office/drawing/2010/main"/>
              </a:ext>
            </a:extLst>
          </a:blip>
          <a:stretch>
            <a:fillRect/>
          </a:stretch>
        </p:blipFill>
        <p:spPr>
          <a:xfrm>
            <a:off x="1023938" y="4477076"/>
            <a:ext cx="363538" cy="242359"/>
          </a:xfrm>
          <a:prstGeom prst="rect">
            <a:avLst/>
          </a:prstGeom>
          <a:ln w="6350">
            <a:solidFill>
              <a:srgbClr val="D0D0D0"/>
            </a:solidFill>
          </a:ln>
        </p:spPr>
      </p:pic>
      <p:pic>
        <p:nvPicPr>
          <p:cNvPr id="26" name="Picture 25">
            <a:extLst>
              <a:ext uri="{FF2B5EF4-FFF2-40B4-BE49-F238E27FC236}">
                <a16:creationId xmlns:a16="http://schemas.microsoft.com/office/drawing/2014/main" id="{CA8C3070-E693-430C-B82A-AF88D951F806}"/>
              </a:ext>
            </a:extLst>
          </p:cNvPr>
          <p:cNvPicPr>
            <a:picLocks noChangeAspect="1"/>
          </p:cNvPicPr>
          <p:nvPr/>
        </p:nvPicPr>
        <p:blipFill>
          <a:blip r:embed="rId45" cstate="hqprint">
            <a:extLst>
              <a:ext uri="{28A0092B-C50C-407E-A947-70E740481C1C}">
                <a14:useLocalDpi xmlns:a14="http://schemas.microsoft.com/office/drawing/2010/main"/>
              </a:ext>
            </a:extLst>
          </a:blip>
          <a:stretch>
            <a:fillRect/>
          </a:stretch>
        </p:blipFill>
        <p:spPr>
          <a:xfrm>
            <a:off x="1023938" y="5023197"/>
            <a:ext cx="360363" cy="240242"/>
          </a:xfrm>
          <a:prstGeom prst="rect">
            <a:avLst/>
          </a:prstGeom>
          <a:ln w="6350">
            <a:solidFill>
              <a:srgbClr val="D0D0D0"/>
            </a:solidFill>
          </a:ln>
        </p:spPr>
      </p:pic>
      <p:sp>
        <p:nvSpPr>
          <p:cNvPr id="383" name="object 320">
            <a:extLst>
              <a:ext uri="{FF2B5EF4-FFF2-40B4-BE49-F238E27FC236}">
                <a16:creationId xmlns:a16="http://schemas.microsoft.com/office/drawing/2014/main" id="{6D655642-04BC-415F-95B7-B9D308A0A172}"/>
              </a:ext>
            </a:extLst>
          </p:cNvPr>
          <p:cNvSpPr txBox="1">
            <a:spLocks/>
          </p:cNvSpPr>
          <p:nvPr/>
        </p:nvSpPr>
        <p:spPr>
          <a:xfrm>
            <a:off x="1516063" y="1626282"/>
            <a:ext cx="3132138" cy="443070"/>
          </a:xfrm>
          <a:prstGeom prst="rect">
            <a:avLst/>
          </a:prstGeom>
        </p:spPr>
        <p:txBody>
          <a:bodyPr vert="horz" wrap="square" lIns="0" tIns="12065" rIns="0" bIns="0" rtlCol="0" anchor="b">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10" normalizeH="0" baseline="0" noProof="0" dirty="0">
                <a:ln>
                  <a:noFill/>
                </a:ln>
                <a:solidFill>
                  <a:srgbClr val="000000"/>
                </a:solidFill>
                <a:effectLst/>
                <a:uLnTx/>
                <a:uFillTx/>
                <a:latin typeface="Bahnschrift"/>
                <a:ea typeface="+mn-ea"/>
                <a:cs typeface="Arial"/>
              </a:rPr>
              <a:t>Rohstoffpotenzial </a:t>
            </a:r>
            <a:r>
              <a:rPr kumimoji="0" lang="de-DE" sz="1400" b="1" i="0" u="none" strike="noStrike" kern="1200" cap="none" spc="0" normalizeH="0" baseline="0" noProof="0" dirty="0">
                <a:ln>
                  <a:noFill/>
                </a:ln>
                <a:solidFill>
                  <a:srgbClr val="000000"/>
                </a:solidFill>
                <a:effectLst/>
                <a:uLnTx/>
                <a:uFillTx/>
                <a:latin typeface="Bahnschrift"/>
                <a:ea typeface="+mn-ea"/>
                <a:cs typeface="Arial"/>
              </a:rPr>
              <a:t>im Jahr 2021,</a:t>
            </a:r>
            <a:br>
              <a:rPr kumimoji="0" lang="de-DE" sz="1400" b="1" i="0" u="none" strike="noStrike" kern="1200" cap="none" spc="0" normalizeH="0" baseline="0" noProof="0" dirty="0">
                <a:ln>
                  <a:noFill/>
                </a:ln>
                <a:solidFill>
                  <a:srgbClr val="000000"/>
                </a:solidFill>
                <a:effectLst/>
                <a:uLnTx/>
                <a:uFillTx/>
                <a:latin typeface="Bahnschrift"/>
                <a:ea typeface="+mn-ea"/>
                <a:cs typeface="Arial"/>
              </a:rPr>
            </a:br>
            <a:r>
              <a:rPr kumimoji="0" lang="de-DE" sz="1400" b="0" i="0" u="none" strike="noStrike" kern="1200" cap="none" spc="-25" normalizeH="0" baseline="0" noProof="0" dirty="0">
                <a:ln>
                  <a:noFill/>
                </a:ln>
                <a:solidFill>
                  <a:srgbClr val="000000"/>
                </a:solidFill>
                <a:effectLst/>
                <a:uLnTx/>
                <a:uFillTx/>
                <a:latin typeface="Bahnschrift"/>
                <a:ea typeface="+mn-ea"/>
                <a:cs typeface="Arial"/>
              </a:rPr>
              <a:t>TWh</a:t>
            </a:r>
            <a:endParaRPr kumimoji="0" lang="de-DE" sz="1400" b="0" i="0" u="none" strike="noStrike" kern="1200" cap="none" spc="0" normalizeH="0" baseline="0" noProof="0" dirty="0">
              <a:ln>
                <a:noFill/>
              </a:ln>
              <a:solidFill>
                <a:srgbClr val="000000"/>
              </a:solidFill>
              <a:effectLst/>
              <a:uLnTx/>
              <a:uFillTx/>
              <a:latin typeface="Bahnschrift"/>
              <a:ea typeface="+mn-ea"/>
              <a:cs typeface="Arial"/>
            </a:endParaRPr>
          </a:p>
        </p:txBody>
      </p:sp>
      <p:sp>
        <p:nvSpPr>
          <p:cNvPr id="134" name="TextBox 133">
            <a:extLst>
              <a:ext uri="{FF2B5EF4-FFF2-40B4-BE49-F238E27FC236}">
                <a16:creationId xmlns:a16="http://schemas.microsoft.com/office/drawing/2014/main" id="{FFEC6A83-7D93-41E0-90E3-0507B2918F05}"/>
              </a:ext>
            </a:extLst>
          </p:cNvPr>
          <p:cNvSpPr txBox="1">
            <a:spLocks/>
          </p:cNvSpPr>
          <p:nvPr/>
        </p:nvSpPr>
        <p:spPr>
          <a:xfrm>
            <a:off x="5441950" y="1863575"/>
            <a:ext cx="1241425"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Biomethan</a:t>
            </a:r>
          </a:p>
        </p:txBody>
      </p:sp>
      <p:sp>
        <p:nvSpPr>
          <p:cNvPr id="410" name="TrackerNumBlue 18">
            <a:extLst>
              <a:ext uri="{FF2B5EF4-FFF2-40B4-BE49-F238E27FC236}">
                <a16:creationId xmlns:a16="http://schemas.microsoft.com/office/drawing/2014/main" id="{762BCF86-8F9A-4DA7-BB51-D04BD4DEC628}"/>
              </a:ext>
            </a:extLst>
          </p:cNvPr>
          <p:cNvSpPr>
            <a:spLocks/>
          </p:cNvSpPr>
          <p:nvPr>
            <p:custDataLst>
              <p:tags r:id="rId20"/>
            </p:custDataLst>
          </p:nvPr>
        </p:nvSpPr>
        <p:spPr>
          <a:xfrm>
            <a:off x="5786438" y="2323386"/>
            <a:ext cx="536575" cy="288494"/>
          </a:xfrm>
          <a:prstGeom prst="ellipse">
            <a:avLst/>
          </a:prstGeom>
          <a:solidFill>
            <a:srgbClr val="D9F3FF"/>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Bahnschrift"/>
                <a:ea typeface="+mn-ea"/>
                <a:cs typeface="+mn-cs"/>
              </a:rPr>
              <a:t>1%</a:t>
            </a:r>
          </a:p>
        </p:txBody>
      </p:sp>
      <p:sp>
        <p:nvSpPr>
          <p:cNvPr id="411" name="TrackerNumBlue 18">
            <a:extLst>
              <a:ext uri="{FF2B5EF4-FFF2-40B4-BE49-F238E27FC236}">
                <a16:creationId xmlns:a16="http://schemas.microsoft.com/office/drawing/2014/main" id="{9EB51FCA-8637-450F-9C9B-1E9A92B51049}"/>
              </a:ext>
            </a:extLst>
          </p:cNvPr>
          <p:cNvSpPr>
            <a:spLocks/>
          </p:cNvSpPr>
          <p:nvPr>
            <p:custDataLst>
              <p:tags r:id="rId21"/>
            </p:custDataLst>
          </p:nvPr>
        </p:nvSpPr>
        <p:spPr>
          <a:xfrm>
            <a:off x="5786438" y="2868126"/>
            <a:ext cx="536575" cy="288494"/>
          </a:xfrm>
          <a:prstGeom prst="ellipse">
            <a:avLst/>
          </a:prstGeom>
          <a:solidFill>
            <a:srgbClr val="D9F3FF"/>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Bahnschrift"/>
                <a:ea typeface="+mn-ea"/>
                <a:cs typeface="+mn-cs"/>
              </a:rPr>
              <a:t>1%</a:t>
            </a:r>
          </a:p>
        </p:txBody>
      </p:sp>
      <p:sp>
        <p:nvSpPr>
          <p:cNvPr id="412" name="TrackerNumBlue 18">
            <a:extLst>
              <a:ext uri="{FF2B5EF4-FFF2-40B4-BE49-F238E27FC236}">
                <a16:creationId xmlns:a16="http://schemas.microsoft.com/office/drawing/2014/main" id="{4A223593-FA51-4761-9F97-B23CD76C7410}"/>
              </a:ext>
            </a:extLst>
          </p:cNvPr>
          <p:cNvSpPr>
            <a:spLocks/>
          </p:cNvSpPr>
          <p:nvPr>
            <p:custDataLst>
              <p:tags r:id="rId22"/>
            </p:custDataLst>
          </p:nvPr>
        </p:nvSpPr>
        <p:spPr>
          <a:xfrm>
            <a:off x="5786438" y="3412866"/>
            <a:ext cx="536575" cy="288494"/>
          </a:xfrm>
          <a:prstGeom prst="ellipse">
            <a:avLst/>
          </a:prstGeom>
          <a:solidFill>
            <a:schemeClr val="accent1">
              <a:lumMod val="50000"/>
              <a:lumOff val="50000"/>
            </a:schemeClr>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Bahnschrift"/>
                <a:ea typeface="+mn-ea"/>
                <a:cs typeface="+mn-cs"/>
              </a:rPr>
              <a:t>10%</a:t>
            </a:r>
          </a:p>
        </p:txBody>
      </p:sp>
      <p:sp>
        <p:nvSpPr>
          <p:cNvPr id="413" name="TrackerNumBlue 18">
            <a:extLst>
              <a:ext uri="{FF2B5EF4-FFF2-40B4-BE49-F238E27FC236}">
                <a16:creationId xmlns:a16="http://schemas.microsoft.com/office/drawing/2014/main" id="{A0F06C97-3875-46F5-B80F-FACCCC217067}"/>
              </a:ext>
            </a:extLst>
          </p:cNvPr>
          <p:cNvSpPr>
            <a:spLocks/>
          </p:cNvSpPr>
          <p:nvPr>
            <p:custDataLst>
              <p:tags r:id="rId23"/>
            </p:custDataLst>
          </p:nvPr>
        </p:nvSpPr>
        <p:spPr>
          <a:xfrm>
            <a:off x="5786438" y="3957606"/>
            <a:ext cx="536575" cy="288494"/>
          </a:xfrm>
          <a:prstGeom prst="ellipse">
            <a:avLst/>
          </a:prstGeom>
          <a:solidFill>
            <a:schemeClr val="bg1"/>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Bahnschrift"/>
                <a:ea typeface="+mn-ea"/>
                <a:cs typeface="+mn-cs"/>
              </a:rPr>
              <a:t>0%</a:t>
            </a:r>
          </a:p>
        </p:txBody>
      </p:sp>
      <p:sp>
        <p:nvSpPr>
          <p:cNvPr id="414" name="TrackerNumBlue 18">
            <a:extLst>
              <a:ext uri="{FF2B5EF4-FFF2-40B4-BE49-F238E27FC236}">
                <a16:creationId xmlns:a16="http://schemas.microsoft.com/office/drawing/2014/main" id="{CF371F80-DD8F-4D5B-B3C6-AF34A76DCE46}"/>
              </a:ext>
            </a:extLst>
          </p:cNvPr>
          <p:cNvSpPr>
            <a:spLocks/>
          </p:cNvSpPr>
          <p:nvPr>
            <p:custDataLst>
              <p:tags r:id="rId24"/>
            </p:custDataLst>
          </p:nvPr>
        </p:nvSpPr>
        <p:spPr>
          <a:xfrm>
            <a:off x="5786438" y="4502346"/>
            <a:ext cx="536575" cy="288494"/>
          </a:xfrm>
          <a:prstGeom prst="ellipse">
            <a:avLst/>
          </a:prstGeom>
          <a:solidFill>
            <a:srgbClr val="D9F3FF"/>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Bahnschrift"/>
                <a:ea typeface="+mn-ea"/>
                <a:cs typeface="+mn-cs"/>
              </a:rPr>
              <a:t>1%</a:t>
            </a:r>
          </a:p>
        </p:txBody>
      </p:sp>
      <p:sp>
        <p:nvSpPr>
          <p:cNvPr id="415" name="TrackerNumBlue 18">
            <a:extLst>
              <a:ext uri="{FF2B5EF4-FFF2-40B4-BE49-F238E27FC236}">
                <a16:creationId xmlns:a16="http://schemas.microsoft.com/office/drawing/2014/main" id="{39B66BE5-34B7-4A48-A129-1B2FE5E621DC}"/>
              </a:ext>
            </a:extLst>
          </p:cNvPr>
          <p:cNvSpPr>
            <a:spLocks/>
          </p:cNvSpPr>
          <p:nvPr>
            <p:custDataLst>
              <p:tags r:id="rId25"/>
            </p:custDataLst>
          </p:nvPr>
        </p:nvSpPr>
        <p:spPr>
          <a:xfrm>
            <a:off x="5786438" y="5047086"/>
            <a:ext cx="536575" cy="288494"/>
          </a:xfrm>
          <a:prstGeom prst="ellipse">
            <a:avLst/>
          </a:prstGeom>
          <a:solidFill>
            <a:schemeClr val="bg1"/>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Bahnschrift"/>
                <a:ea typeface="+mn-ea"/>
                <a:cs typeface="+mn-cs"/>
              </a:rPr>
              <a:t>0%</a:t>
            </a:r>
          </a:p>
        </p:txBody>
      </p:sp>
      <p:sp>
        <p:nvSpPr>
          <p:cNvPr id="416" name="TrackerNumBlue 18">
            <a:extLst>
              <a:ext uri="{FF2B5EF4-FFF2-40B4-BE49-F238E27FC236}">
                <a16:creationId xmlns:a16="http://schemas.microsoft.com/office/drawing/2014/main" id="{6C14323F-58D3-49A4-A0E0-BC443CD57EFF}"/>
              </a:ext>
            </a:extLst>
          </p:cNvPr>
          <p:cNvSpPr>
            <a:spLocks/>
          </p:cNvSpPr>
          <p:nvPr>
            <p:custDataLst>
              <p:tags r:id="rId26"/>
            </p:custDataLst>
          </p:nvPr>
        </p:nvSpPr>
        <p:spPr>
          <a:xfrm>
            <a:off x="5786438" y="5591826"/>
            <a:ext cx="536575" cy="288494"/>
          </a:xfrm>
          <a:prstGeom prst="ellipse">
            <a:avLst/>
          </a:prstGeom>
          <a:solidFill>
            <a:srgbClr val="1679BC"/>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Bahnschrift"/>
                <a:ea typeface="+mn-ea"/>
                <a:cs typeface="+mn-cs"/>
              </a:rPr>
              <a:t>19%</a:t>
            </a:r>
          </a:p>
        </p:txBody>
      </p:sp>
      <p:sp>
        <p:nvSpPr>
          <p:cNvPr id="133" name="TextBox 132">
            <a:extLst>
              <a:ext uri="{FF2B5EF4-FFF2-40B4-BE49-F238E27FC236}">
                <a16:creationId xmlns:a16="http://schemas.microsoft.com/office/drawing/2014/main" id="{827CBAD0-F43F-4BF5-A283-936A57672439}"/>
              </a:ext>
            </a:extLst>
          </p:cNvPr>
          <p:cNvSpPr txBox="1">
            <a:spLocks/>
          </p:cNvSpPr>
          <p:nvPr/>
        </p:nvSpPr>
        <p:spPr>
          <a:xfrm>
            <a:off x="4487863" y="1863575"/>
            <a:ext cx="1057275"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Biogas</a:t>
            </a:r>
          </a:p>
        </p:txBody>
      </p:sp>
      <p:sp>
        <p:nvSpPr>
          <p:cNvPr id="136" name="TrackerNumBlue 18">
            <a:extLst>
              <a:ext uri="{FF2B5EF4-FFF2-40B4-BE49-F238E27FC236}">
                <a16:creationId xmlns:a16="http://schemas.microsoft.com/office/drawing/2014/main" id="{F36F0D3D-2BBC-47A5-85BB-AA598BE8B038}"/>
              </a:ext>
            </a:extLst>
          </p:cNvPr>
          <p:cNvSpPr>
            <a:spLocks/>
          </p:cNvSpPr>
          <p:nvPr>
            <p:custDataLst>
              <p:tags r:id="rId27"/>
            </p:custDataLst>
          </p:nvPr>
        </p:nvSpPr>
        <p:spPr>
          <a:xfrm>
            <a:off x="4832350" y="2323386"/>
            <a:ext cx="536575" cy="288494"/>
          </a:xfrm>
          <a:prstGeom prst="ellipse">
            <a:avLst/>
          </a:prstGeom>
          <a:solidFill>
            <a:srgbClr val="D9F3FF"/>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Bahnschrift"/>
                <a:ea typeface="+mn-ea"/>
                <a:cs typeface="+mn-cs"/>
              </a:rPr>
              <a:t>1%</a:t>
            </a:r>
          </a:p>
        </p:txBody>
      </p:sp>
      <p:sp>
        <p:nvSpPr>
          <p:cNvPr id="137" name="TrackerNumBlue 18">
            <a:extLst>
              <a:ext uri="{FF2B5EF4-FFF2-40B4-BE49-F238E27FC236}">
                <a16:creationId xmlns:a16="http://schemas.microsoft.com/office/drawing/2014/main" id="{112355E2-030F-419A-9E15-6282B48AF48F}"/>
              </a:ext>
            </a:extLst>
          </p:cNvPr>
          <p:cNvSpPr>
            <a:spLocks/>
          </p:cNvSpPr>
          <p:nvPr>
            <p:custDataLst>
              <p:tags r:id="rId28"/>
            </p:custDataLst>
          </p:nvPr>
        </p:nvSpPr>
        <p:spPr>
          <a:xfrm>
            <a:off x="4832350" y="2868126"/>
            <a:ext cx="536575" cy="288494"/>
          </a:xfrm>
          <a:prstGeom prst="ellipse">
            <a:avLst/>
          </a:prstGeom>
          <a:solidFill>
            <a:schemeClr val="accent1">
              <a:lumMod val="50000"/>
              <a:lumOff val="50000"/>
            </a:schemeClr>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Bahnschrift"/>
                <a:ea typeface="+mn-ea"/>
                <a:cs typeface="+mn-cs"/>
              </a:rPr>
              <a:t>7%</a:t>
            </a:r>
          </a:p>
        </p:txBody>
      </p:sp>
      <p:sp>
        <p:nvSpPr>
          <p:cNvPr id="138" name="TrackerNumBlue 18">
            <a:extLst>
              <a:ext uri="{FF2B5EF4-FFF2-40B4-BE49-F238E27FC236}">
                <a16:creationId xmlns:a16="http://schemas.microsoft.com/office/drawing/2014/main" id="{6D241FF0-382E-4B7C-A826-24CD32FF56D5}"/>
              </a:ext>
            </a:extLst>
          </p:cNvPr>
          <p:cNvSpPr>
            <a:spLocks/>
          </p:cNvSpPr>
          <p:nvPr>
            <p:custDataLst>
              <p:tags r:id="rId29"/>
            </p:custDataLst>
          </p:nvPr>
        </p:nvSpPr>
        <p:spPr>
          <a:xfrm>
            <a:off x="4832350" y="3412866"/>
            <a:ext cx="536575" cy="288494"/>
          </a:xfrm>
          <a:prstGeom prst="ellipse">
            <a:avLst/>
          </a:prstGeom>
          <a:solidFill>
            <a:srgbClr val="61B4ED"/>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Bahnschrift"/>
                <a:ea typeface="+mn-ea"/>
                <a:cs typeface="+mn-cs"/>
              </a:rPr>
              <a:t>5%</a:t>
            </a:r>
          </a:p>
        </p:txBody>
      </p:sp>
      <p:sp>
        <p:nvSpPr>
          <p:cNvPr id="139" name="TrackerNumBlue 18">
            <a:extLst>
              <a:ext uri="{FF2B5EF4-FFF2-40B4-BE49-F238E27FC236}">
                <a16:creationId xmlns:a16="http://schemas.microsoft.com/office/drawing/2014/main" id="{0E25DC45-37D9-4B70-AD33-E401F6D8EDB3}"/>
              </a:ext>
            </a:extLst>
          </p:cNvPr>
          <p:cNvSpPr>
            <a:spLocks/>
          </p:cNvSpPr>
          <p:nvPr>
            <p:custDataLst>
              <p:tags r:id="rId30"/>
            </p:custDataLst>
          </p:nvPr>
        </p:nvSpPr>
        <p:spPr>
          <a:xfrm>
            <a:off x="4832350" y="3957606"/>
            <a:ext cx="536575" cy="288494"/>
          </a:xfrm>
          <a:prstGeom prst="ellipse">
            <a:avLst/>
          </a:prstGeom>
          <a:solidFill>
            <a:srgbClr val="85D9FF"/>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Bahnschrift"/>
                <a:ea typeface="+mn-ea"/>
                <a:cs typeface="+mn-cs"/>
              </a:rPr>
              <a:t>3%</a:t>
            </a:r>
          </a:p>
        </p:txBody>
      </p:sp>
      <p:sp>
        <p:nvSpPr>
          <p:cNvPr id="141" name="TrackerNumBlue 18">
            <a:extLst>
              <a:ext uri="{FF2B5EF4-FFF2-40B4-BE49-F238E27FC236}">
                <a16:creationId xmlns:a16="http://schemas.microsoft.com/office/drawing/2014/main" id="{7D3CBF54-4681-4F78-80B4-1EDDE1E20075}"/>
              </a:ext>
            </a:extLst>
          </p:cNvPr>
          <p:cNvSpPr>
            <a:spLocks/>
          </p:cNvSpPr>
          <p:nvPr>
            <p:custDataLst>
              <p:tags r:id="rId31"/>
            </p:custDataLst>
          </p:nvPr>
        </p:nvSpPr>
        <p:spPr>
          <a:xfrm>
            <a:off x="4832350" y="4502346"/>
            <a:ext cx="536575" cy="288494"/>
          </a:xfrm>
          <a:prstGeom prst="ellipse">
            <a:avLst/>
          </a:prstGeom>
          <a:solidFill>
            <a:srgbClr val="85D9FF"/>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Bahnschrift"/>
                <a:ea typeface="+mn-ea"/>
                <a:cs typeface="+mn-cs"/>
              </a:rPr>
              <a:t>2%</a:t>
            </a:r>
          </a:p>
        </p:txBody>
      </p:sp>
      <p:sp>
        <p:nvSpPr>
          <p:cNvPr id="142" name="TrackerNumBlue 18">
            <a:extLst>
              <a:ext uri="{FF2B5EF4-FFF2-40B4-BE49-F238E27FC236}">
                <a16:creationId xmlns:a16="http://schemas.microsoft.com/office/drawing/2014/main" id="{ECE738C2-62D3-4EF9-81C8-27452B1AD597}"/>
              </a:ext>
            </a:extLst>
          </p:cNvPr>
          <p:cNvSpPr>
            <a:spLocks/>
          </p:cNvSpPr>
          <p:nvPr>
            <p:custDataLst>
              <p:tags r:id="rId32"/>
            </p:custDataLst>
          </p:nvPr>
        </p:nvSpPr>
        <p:spPr>
          <a:xfrm>
            <a:off x="4832350" y="5047086"/>
            <a:ext cx="536575" cy="288494"/>
          </a:xfrm>
          <a:prstGeom prst="ellipse">
            <a:avLst/>
          </a:prstGeom>
          <a:solidFill>
            <a:srgbClr val="D9F3FF"/>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Bahnschrift"/>
                <a:ea typeface="+mn-ea"/>
                <a:cs typeface="+mn-cs"/>
              </a:rPr>
              <a:t>1%</a:t>
            </a:r>
          </a:p>
        </p:txBody>
      </p:sp>
      <p:sp>
        <p:nvSpPr>
          <p:cNvPr id="143" name="TrackerNumBlue 18">
            <a:extLst>
              <a:ext uri="{FF2B5EF4-FFF2-40B4-BE49-F238E27FC236}">
                <a16:creationId xmlns:a16="http://schemas.microsoft.com/office/drawing/2014/main" id="{6AE8D8E0-BFA8-42B3-9724-B847BED5714D}"/>
              </a:ext>
            </a:extLst>
          </p:cNvPr>
          <p:cNvSpPr>
            <a:spLocks/>
          </p:cNvSpPr>
          <p:nvPr>
            <p:custDataLst>
              <p:tags r:id="rId33"/>
            </p:custDataLst>
          </p:nvPr>
        </p:nvSpPr>
        <p:spPr>
          <a:xfrm>
            <a:off x="4832350" y="5591826"/>
            <a:ext cx="536575" cy="288494"/>
          </a:xfrm>
          <a:prstGeom prst="ellipse">
            <a:avLst/>
          </a:prstGeom>
          <a:solidFill>
            <a:schemeClr val="accent1">
              <a:lumMod val="50000"/>
              <a:lumOff val="50000"/>
            </a:schemeClr>
          </a:solidFill>
          <a:ln w="6350" cap="sq"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Bahnschrift"/>
                <a:ea typeface="+mn-ea"/>
                <a:cs typeface="+mn-cs"/>
              </a:rPr>
              <a:t>5%</a:t>
            </a:r>
          </a:p>
        </p:txBody>
      </p:sp>
      <p:sp>
        <p:nvSpPr>
          <p:cNvPr id="145" name="TextBox 144">
            <a:extLst>
              <a:ext uri="{FF2B5EF4-FFF2-40B4-BE49-F238E27FC236}">
                <a16:creationId xmlns:a16="http://schemas.microsoft.com/office/drawing/2014/main" id="{691273B4-875D-47A7-A0C6-D175D2423952}"/>
              </a:ext>
            </a:extLst>
          </p:cNvPr>
          <p:cNvSpPr txBox="1">
            <a:spLocks/>
          </p:cNvSpPr>
          <p:nvPr/>
        </p:nvSpPr>
        <p:spPr>
          <a:xfrm>
            <a:off x="4714875" y="1153760"/>
            <a:ext cx="2192338" cy="646331"/>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400" b="1"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rPr>
              <a:t>% des Gesamtgas-verbrauch abgedeckt durch…</a:t>
            </a:r>
            <a:endParaRPr kumimoji="0" lang="de-DE" sz="14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endParaRPr>
          </a:p>
        </p:txBody>
      </p:sp>
      <p:pic>
        <p:nvPicPr>
          <p:cNvPr id="7" name="Picture 6">
            <a:extLst>
              <a:ext uri="{FF2B5EF4-FFF2-40B4-BE49-F238E27FC236}">
                <a16:creationId xmlns:a16="http://schemas.microsoft.com/office/drawing/2014/main" id="{34EDC573-1E25-4761-B772-B7F8FB0C0FBB}"/>
              </a:ext>
            </a:extLst>
          </p:cNvPr>
          <p:cNvPicPr>
            <a:picLocks/>
          </p:cNvPicPr>
          <p:nvPr/>
        </p:nvPicPr>
        <p:blipFill>
          <a:blip r:embed="rId46"/>
          <a:stretch>
            <a:fillRect/>
          </a:stretch>
        </p:blipFill>
        <p:spPr>
          <a:xfrm>
            <a:off x="1023938" y="5566899"/>
            <a:ext cx="363538" cy="242196"/>
          </a:xfrm>
          <a:prstGeom prst="rect">
            <a:avLst/>
          </a:prstGeom>
          <a:ln>
            <a:solidFill>
              <a:srgbClr val="D0D0D0"/>
            </a:solidFill>
          </a:ln>
        </p:spPr>
      </p:pic>
      <p:sp>
        <p:nvSpPr>
          <p:cNvPr id="40" name="Speech Bubble: Rectangle 39">
            <a:extLst>
              <a:ext uri="{FF2B5EF4-FFF2-40B4-BE49-F238E27FC236}">
                <a16:creationId xmlns:a16="http://schemas.microsoft.com/office/drawing/2014/main" id="{D1CCD165-9D60-4740-94A6-828BBB2235B3}"/>
              </a:ext>
            </a:extLst>
          </p:cNvPr>
          <p:cNvSpPr/>
          <p:nvPr/>
        </p:nvSpPr>
        <p:spPr>
          <a:xfrm>
            <a:off x="2776538" y="4911903"/>
            <a:ext cx="1646238" cy="597239"/>
          </a:xfrm>
          <a:prstGeom prst="wedgeRectCallout">
            <a:avLst>
              <a:gd name="adj1" fmla="val -65277"/>
              <a:gd name="adj2" fmla="val -21801"/>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e-DE" sz="800" b="0" i="0" u="none" strike="noStrike" kern="1200" cap="none" spc="0" normalizeH="0" baseline="0" noProof="0" dirty="0">
                <a:ln>
                  <a:noFill/>
                </a:ln>
                <a:solidFill>
                  <a:srgbClr val="FFFFFF"/>
                </a:solidFill>
                <a:effectLst/>
                <a:uLnTx/>
                <a:uFillTx/>
                <a:latin typeface="Bahnschrift"/>
                <a:ea typeface="+mn-ea"/>
                <a:cs typeface="+mn-cs"/>
              </a:rPr>
              <a:t>Optimistischere Studien gehen von höherem Potenzial (insb. in der Holzverwertung) aus (siehe S. 12)</a:t>
            </a:r>
          </a:p>
        </p:txBody>
      </p:sp>
      <p:grpSp>
        <p:nvGrpSpPr>
          <p:cNvPr id="9" name="Group 8">
            <a:extLst>
              <a:ext uri="{FF2B5EF4-FFF2-40B4-BE49-F238E27FC236}">
                <a16:creationId xmlns:a16="http://schemas.microsoft.com/office/drawing/2014/main" id="{E6328D0C-44F5-4985-95B3-9A9C2057EE43}"/>
              </a:ext>
            </a:extLst>
          </p:cNvPr>
          <p:cNvGrpSpPr/>
          <p:nvPr/>
        </p:nvGrpSpPr>
        <p:grpSpPr>
          <a:xfrm>
            <a:off x="6896410" y="1494550"/>
            <a:ext cx="3388392" cy="369332"/>
            <a:chOff x="6502710" y="1584001"/>
            <a:chExt cx="3388392" cy="369332"/>
          </a:xfrm>
        </p:grpSpPr>
        <p:sp>
          <p:nvSpPr>
            <p:cNvPr id="132" name="Oval 29">
              <a:extLst>
                <a:ext uri="{FF2B5EF4-FFF2-40B4-BE49-F238E27FC236}">
                  <a16:creationId xmlns:a16="http://schemas.microsoft.com/office/drawing/2014/main" id="{5BEA0158-FE44-4457-9124-31C609C89B64}"/>
                </a:ext>
              </a:extLst>
            </p:cNvPr>
            <p:cNvSpPr>
              <a:spLocks noChangeArrowheads="1"/>
            </p:cNvSpPr>
            <p:nvPr/>
          </p:nvSpPr>
          <p:spPr bwMode="auto">
            <a:xfrm>
              <a:off x="6502710" y="1643143"/>
              <a:ext cx="251048" cy="251048"/>
            </a:xfrm>
            <a:prstGeom prst="ellipse">
              <a:avLst/>
            </a:prstGeom>
            <a:solidFill>
              <a:srgbClr val="004FA1"/>
            </a:solidFill>
            <a:ln w="63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135" name="Oval 29">
              <a:extLst>
                <a:ext uri="{FF2B5EF4-FFF2-40B4-BE49-F238E27FC236}">
                  <a16:creationId xmlns:a16="http://schemas.microsoft.com/office/drawing/2014/main" id="{E6843D60-0067-4AA9-99C0-85E46AF1CA80}"/>
                </a:ext>
              </a:extLst>
            </p:cNvPr>
            <p:cNvSpPr>
              <a:spLocks noChangeArrowheads="1"/>
            </p:cNvSpPr>
            <p:nvPr/>
          </p:nvSpPr>
          <p:spPr bwMode="auto">
            <a:xfrm>
              <a:off x="7995769" y="1694037"/>
              <a:ext cx="149260" cy="149260"/>
            </a:xfrm>
            <a:prstGeom prst="ellipse">
              <a:avLst/>
            </a:prstGeom>
            <a:solidFill>
              <a:srgbClr val="5CC8A8"/>
            </a:solidFill>
            <a:ln w="63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Bahnschrift"/>
                <a:ea typeface="+mn-ea"/>
                <a:cs typeface="+mn-cs"/>
              </a:endParaRPr>
            </a:p>
          </p:txBody>
        </p:sp>
        <p:sp>
          <p:nvSpPr>
            <p:cNvPr id="6" name="TextBox 5">
              <a:extLst>
                <a:ext uri="{FF2B5EF4-FFF2-40B4-BE49-F238E27FC236}">
                  <a16:creationId xmlns:a16="http://schemas.microsoft.com/office/drawing/2014/main" id="{B5D776B0-F4E3-4A7F-A138-CB1E639A153B}"/>
                </a:ext>
              </a:extLst>
            </p:cNvPr>
            <p:cNvSpPr txBox="1"/>
            <p:nvPr/>
          </p:nvSpPr>
          <p:spPr>
            <a:xfrm>
              <a:off x="6845095" y="1645557"/>
              <a:ext cx="1023239"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Bahnschrift" panose="020B0502040204020203" pitchFamily="34" charset="0"/>
                  <a:cs typeface="Arial" panose="020B0604020202020204" pitchFamily="34" charset="0"/>
                  <a:sym typeface="Bahnschrift" panose="020B0502040204020203"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atin typeface="Bahnschrift" panose="020B0502040204020203" pitchFamily="34" charset="0"/>
                  <a:sym typeface="Bahnschrift" panose="020B0502040204020203" pitchFamily="34" charset="0"/>
                </a:defRPr>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atin typeface="Bahnschrift" panose="020B0502040204020203" pitchFamily="34" charset="0"/>
                  <a:sym typeface="Bahnschrift" panose="020B0502040204020203" pitchFamily="34" charset="0"/>
                </a:defRPr>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atin typeface="Bahnschrift" panose="020B0502040204020203" pitchFamily="34" charset="0"/>
                  <a:sym typeface="Bahnschrift" panose="020B0502040204020203" pitchFamily="34" charset="0"/>
                </a:defRPr>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atin typeface="Bahnschrift" panose="020B0502040204020203" pitchFamily="34" charset="0"/>
                  <a:sym typeface="Bahnschrift" panose="020B0502040204020203"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8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Bahnschrift" panose="020B0502040204020203" pitchFamily="34" charset="0"/>
                </a:rPr>
                <a:t>Rohstoffpotenzial in TWh</a:t>
              </a:r>
            </a:p>
          </p:txBody>
        </p:sp>
        <p:sp>
          <p:nvSpPr>
            <p:cNvPr id="140" name="TextBox 139">
              <a:extLst>
                <a:ext uri="{FF2B5EF4-FFF2-40B4-BE49-F238E27FC236}">
                  <a16:creationId xmlns:a16="http://schemas.microsoft.com/office/drawing/2014/main" id="{49861F0D-AA82-44CD-80ED-4E204FC7ACA7}"/>
                </a:ext>
              </a:extLst>
            </p:cNvPr>
            <p:cNvSpPr txBox="1"/>
            <p:nvPr/>
          </p:nvSpPr>
          <p:spPr>
            <a:xfrm>
              <a:off x="8261880" y="1584001"/>
              <a:ext cx="1629222" cy="369332"/>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Bahnschrift" panose="020B0502040204020203" pitchFamily="34" charset="0"/>
                  <a:cs typeface="Arial" panose="020B0604020202020204" pitchFamily="34" charset="0"/>
                  <a:sym typeface="Bahnschrift" panose="020B0502040204020203"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atin typeface="Bahnschrift" panose="020B0502040204020203" pitchFamily="34" charset="0"/>
                  <a:sym typeface="Bahnschrift" panose="020B0502040204020203" pitchFamily="34" charset="0"/>
                </a:defRPr>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atin typeface="Bahnschrift" panose="020B0502040204020203" pitchFamily="34" charset="0"/>
                  <a:sym typeface="Bahnschrift" panose="020B0502040204020203" pitchFamily="34" charset="0"/>
                </a:defRPr>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atin typeface="Bahnschrift" panose="020B0502040204020203" pitchFamily="34" charset="0"/>
                  <a:sym typeface="Bahnschrift" panose="020B0502040204020203" pitchFamily="34" charset="0"/>
                </a:defRPr>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atin typeface="Bahnschrift" panose="020B0502040204020203" pitchFamily="34" charset="0"/>
                  <a:sym typeface="Bahnschrift" panose="020B0502040204020203"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800" b="0" i="0" u="none" strike="noStrike" kern="1200" cap="none" spc="0" normalizeH="0" baseline="0" noProof="0" dirty="0">
                  <a:ln>
                    <a:noFill/>
                  </a:ln>
                  <a:solidFill>
                    <a:srgbClr val="000000"/>
                  </a:solidFill>
                  <a:effectLst/>
                  <a:uLnTx/>
                  <a:uFillTx/>
                  <a:latin typeface="Bahnschrift"/>
                  <a:ea typeface="+mn-ea"/>
                  <a:cs typeface="Arial" panose="020B0604020202020204" pitchFamily="34" charset="0"/>
                  <a:sym typeface="Bahnschrift" panose="020B0502040204020203" pitchFamily="34" charset="0"/>
                </a:rPr>
                <a:t>Anteilige Nutzung des Rohstoffpotenzials zur Biogas- und methanproduktion</a:t>
              </a:r>
            </a:p>
          </p:txBody>
        </p:sp>
      </p:grpSp>
      <p:grpSp>
        <p:nvGrpSpPr>
          <p:cNvPr id="35" name="sticker">
            <a:extLst>
              <a:ext uri="{FF2B5EF4-FFF2-40B4-BE49-F238E27FC236}">
                <a16:creationId xmlns:a16="http://schemas.microsoft.com/office/drawing/2014/main" id="{BA819551-3357-4DE1-3E75-E41D22DF3C3C}"/>
              </a:ext>
            </a:extLst>
          </p:cNvPr>
          <p:cNvGrpSpPr/>
          <p:nvPr/>
        </p:nvGrpSpPr>
        <p:grpSpPr>
          <a:xfrm>
            <a:off x="10788885" y="254000"/>
            <a:ext cx="1288815" cy="148759"/>
            <a:chOff x="10649185" y="254000"/>
            <a:chExt cx="1288815" cy="148759"/>
          </a:xfrm>
        </p:grpSpPr>
        <p:sp>
          <p:nvSpPr>
            <p:cNvPr id="28" name="StickerRectangle">
              <a:extLst>
                <a:ext uri="{FF2B5EF4-FFF2-40B4-BE49-F238E27FC236}">
                  <a16:creationId xmlns:a16="http://schemas.microsoft.com/office/drawing/2014/main" id="{604543D5-0747-4164-C1B2-81221E990602}"/>
                </a:ext>
              </a:extLst>
            </p:cNvPr>
            <p:cNvSpPr/>
            <p:nvPr/>
          </p:nvSpPr>
          <p:spPr>
            <a:xfrm>
              <a:off x="10649185" y="254000"/>
              <a:ext cx="1288815" cy="148759"/>
            </a:xfrm>
            <a:prstGeom prst="leftRightArrow">
              <a:avLst>
                <a:gd name="adj1" fmla="val 10000000"/>
                <a:gd name="adj2" fmla="val 0"/>
              </a:avLst>
            </a:prstGeom>
            <a:noFill/>
            <a:ln w="127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8100" tIns="0" rIns="0" bIns="25400" rtlCol="0" anchor="t">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de-DE" sz="800" b="0" i="0" u="none" strike="noStrike" kern="1200" cap="none" spc="0" normalizeH="0" baseline="0" noProof="0" dirty="0">
                  <a:ln>
                    <a:noFill/>
                  </a:ln>
                  <a:solidFill>
                    <a:srgbClr val="4D4D4D"/>
                  </a:solidFill>
                  <a:effectLst/>
                  <a:uLnTx/>
                  <a:uFillTx/>
                  <a:latin typeface="Verdana" pitchFamily="34" charset="0"/>
                  <a:ea typeface="Verdana" pitchFamily="34" charset="0"/>
                  <a:cs typeface="Verdana" pitchFamily="34" charset="0"/>
                </a:rPr>
                <a:t>AUSGEWÄHLTE LÄNDER</a:t>
              </a:r>
            </a:p>
          </p:txBody>
        </p:sp>
        <p:cxnSp>
          <p:nvCxnSpPr>
            <p:cNvPr id="30" name="Straight Arrow Connector 29">
              <a:extLst>
                <a:ext uri="{FF2B5EF4-FFF2-40B4-BE49-F238E27FC236}">
                  <a16:creationId xmlns:a16="http://schemas.microsoft.com/office/drawing/2014/main" id="{55B4AA67-7D43-2F58-DA18-9E400BEA601A}"/>
                </a:ext>
              </a:extLst>
            </p:cNvPr>
            <p:cNvCxnSpPr>
              <a:cxnSpLocks/>
              <a:stCxn id="28" idx="6"/>
              <a:endCxn id="28" idx="4"/>
            </p:cNvCxnSpPr>
            <p:nvPr/>
          </p:nvCxnSpPr>
          <p:spPr>
            <a:xfrm flipH="1">
              <a:off x="10649185" y="402759"/>
              <a:ext cx="1288815" cy="0"/>
            </a:xfrm>
            <a:prstGeom prst="straightConnector1">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DC2E208C-C3BD-1A3B-F5C5-324ED0DD3904}"/>
                </a:ext>
              </a:extLst>
            </p:cNvPr>
            <p:cNvCxnSpPr>
              <a:cxnSpLocks/>
              <a:stCxn id="28" idx="2"/>
              <a:endCxn id="28" idx="4"/>
            </p:cNvCxnSpPr>
            <p:nvPr/>
          </p:nvCxnSpPr>
          <p:spPr>
            <a:xfrm>
              <a:off x="10649185" y="254000"/>
              <a:ext cx="0" cy="148759"/>
            </a:xfrm>
            <a:prstGeom prst="straightConnector1">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36" name="Slide Number Placeholder 3">
            <a:extLst>
              <a:ext uri="{FF2B5EF4-FFF2-40B4-BE49-F238E27FC236}">
                <a16:creationId xmlns:a16="http://schemas.microsoft.com/office/drawing/2014/main" id="{ECD9EB40-53A7-5BF9-B8AB-6F3885BE2370}"/>
              </a:ext>
            </a:extLst>
          </p:cNvPr>
          <p:cNvSpPr>
            <a:spLocks noGrp="1"/>
          </p:cNvSpPr>
          <p:nvPr>
            <p:ph type="sldNum" sz="quarter" idx="10"/>
          </p:nvPr>
        </p:nvSpPr>
        <p:spPr>
          <a:xfrm>
            <a:off x="838801" y="6245225"/>
            <a:ext cx="4692569" cy="476250"/>
          </a:xfr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1920E2B-FC99-4A38-BFFD-416A818AECB0}" type="slidenum">
              <a:rPr kumimoji="0" lang="de-AT" sz="800" b="0" i="0" u="none" strike="noStrike" kern="1200" cap="none" spc="0" normalizeH="0" baseline="0" noProof="0" smtClean="0">
                <a:ln>
                  <a:noFill/>
                </a:ln>
                <a:solidFill>
                  <a:prstClr val="white">
                    <a:lumMod val="50000"/>
                  </a:prstClr>
                </a:solidFill>
                <a:effectLst/>
                <a:uLnTx/>
                <a:uFillTx/>
                <a:latin typeface="Bahnschrift" panose="020B0502040204020203" pitchFamily="34"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24</a:t>
            </a:fld>
            <a:endParaRPr kumimoji="0" lang="de-AT" sz="800" b="0" i="0" u="none" strike="noStrike" kern="1200" cap="none" spc="0" normalizeH="0" baseline="0" noProof="0" dirty="0">
              <a:ln>
                <a:noFill/>
              </a:ln>
              <a:solidFill>
                <a:prstClr val="white">
                  <a:lumMod val="50000"/>
                </a:prstClr>
              </a:solidFill>
              <a:effectLst/>
              <a:uLnTx/>
              <a:uFillTx/>
              <a:latin typeface="Bahnschrift" panose="020B0502040204020203" pitchFamily="34" charset="0"/>
              <a:ea typeface="+mn-ea"/>
              <a:cs typeface="+mn-cs"/>
            </a:endParaRPr>
          </a:p>
        </p:txBody>
      </p:sp>
      <p:sp>
        <p:nvSpPr>
          <p:cNvPr id="37" name="5. Source">
            <a:extLst>
              <a:ext uri="{FF2B5EF4-FFF2-40B4-BE49-F238E27FC236}">
                <a16:creationId xmlns:a16="http://schemas.microsoft.com/office/drawing/2014/main" id="{CAF47C01-ADA5-126D-881C-69FA6CDECE3E}"/>
              </a:ext>
            </a:extLst>
          </p:cNvPr>
          <p:cNvSpPr txBox="1">
            <a:spLocks/>
          </p:cNvSpPr>
          <p:nvPr>
            <p:custDataLst>
              <p:tags r:id="rId34"/>
            </p:custDataLst>
          </p:nvPr>
        </p:nvSpPr>
        <p:spPr>
          <a:xfrm>
            <a:off x="922020" y="6553357"/>
            <a:ext cx="9456780" cy="123111"/>
          </a:xfrm>
          <a:prstGeom prst="rect">
            <a:avLst/>
          </a:prstGeom>
          <a:noFill/>
        </p:spPr>
        <p:txBody>
          <a:bodyPr vert="horz" wrap="square" lIns="0" tIns="0" rIns="0" bIns="0" rtlCol="0" anchor="b" anchorCtr="0">
            <a:noAutofit/>
          </a:bodyPr>
          <a:lstStyle/>
          <a:p>
            <a:pPr marL="203200" marR="0" lvl="0" indent="-212725" algn="r" defTabSz="914400" rtl="0" eaLnBrk="1" fontAlgn="auto" latinLnBrk="0" hangingPunct="1">
              <a:lnSpc>
                <a:spcPct val="100000"/>
              </a:lnSpc>
              <a:spcBef>
                <a:spcPts val="0"/>
              </a:spcBef>
              <a:spcAft>
                <a:spcPts val="0"/>
              </a:spcAft>
              <a:buClr>
                <a:srgbClr val="000000"/>
              </a:buClr>
              <a:buSzTx/>
              <a:buFont typeface="Segoe UI" panose="020B0502040204020203" pitchFamily="34" charset="0"/>
              <a:buNone/>
              <a:tabLst/>
              <a:defRPr/>
            </a:pP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Quelle: </a:t>
            </a: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Arial" panose="020B0604020202020204" pitchFamily="34" charset="0"/>
              </a:rPr>
              <a:t>EU Biomethane map (EBA, 2021), Engie (2021)</a:t>
            </a:r>
            <a:endPar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38" name="Text Placeholder 2">
            <a:extLst>
              <a:ext uri="{FF2B5EF4-FFF2-40B4-BE49-F238E27FC236}">
                <a16:creationId xmlns:a16="http://schemas.microsoft.com/office/drawing/2014/main" id="{2A59C9D5-408A-2DC6-EE63-3C39CC36C083}"/>
              </a:ext>
            </a:extLst>
          </p:cNvPr>
          <p:cNvSpPr txBox="1">
            <a:spLocks/>
          </p:cNvSpPr>
          <p:nvPr/>
        </p:nvSpPr>
        <p:spPr bwMode="auto">
          <a:xfrm>
            <a:off x="838799" y="130497"/>
            <a:ext cx="3843338" cy="123111"/>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de-AT"/>
            </a:defPPr>
            <a:lvl1pPr algn="l" rtl="0" fontAlgn="base">
              <a:spcBef>
                <a:spcPct val="0"/>
              </a:spcBef>
              <a:spcAft>
                <a:spcPct val="0"/>
              </a:spcAft>
              <a:defRPr sz="800" kern="1200">
                <a:solidFill>
                  <a:schemeClr val="bg1">
                    <a:lumMod val="50000"/>
                  </a:schemeClr>
                </a:solidFill>
                <a:latin typeface="+mn-lt"/>
                <a:ea typeface="+mn-ea"/>
                <a:cs typeface="+mn-cs"/>
              </a:defRPr>
            </a:lvl1pPr>
            <a:lvl2pPr marL="457200" algn="l" rtl="0" fontAlgn="base">
              <a:spcBef>
                <a:spcPct val="0"/>
              </a:spcBef>
              <a:spcAft>
                <a:spcPct val="0"/>
              </a:spcAft>
              <a:defRPr kern="1200">
                <a:solidFill>
                  <a:schemeClr val="tx1"/>
                </a:solidFill>
                <a:latin typeface="Verdana" pitchFamily="34" charset="0"/>
                <a:ea typeface="+mn-ea"/>
                <a:cs typeface="+mn-cs"/>
              </a:defRPr>
            </a:lvl2pPr>
            <a:lvl3pPr marL="914400" algn="l" rtl="0" fontAlgn="base">
              <a:spcBef>
                <a:spcPct val="0"/>
              </a:spcBef>
              <a:spcAft>
                <a:spcPct val="0"/>
              </a:spcAft>
              <a:defRPr kern="1200">
                <a:solidFill>
                  <a:schemeClr val="tx1"/>
                </a:solidFill>
                <a:latin typeface="Verdana" pitchFamily="34" charset="0"/>
                <a:ea typeface="+mn-ea"/>
                <a:cs typeface="+mn-cs"/>
              </a:defRPr>
            </a:lvl3pPr>
            <a:lvl4pPr marL="1371600" algn="l" rtl="0" fontAlgn="base">
              <a:spcBef>
                <a:spcPct val="0"/>
              </a:spcBef>
              <a:spcAft>
                <a:spcPct val="0"/>
              </a:spcAft>
              <a:defRPr kern="1200">
                <a:solidFill>
                  <a:schemeClr val="tx1"/>
                </a:solidFill>
                <a:latin typeface="Verdana" pitchFamily="34" charset="0"/>
                <a:ea typeface="+mn-ea"/>
                <a:cs typeface="+mn-cs"/>
              </a:defRPr>
            </a:lvl4pPr>
            <a:lvl5pPr marL="1828800" algn="l" rtl="0" fontAlgn="base">
              <a:spcBef>
                <a:spcPct val="0"/>
              </a:spcBef>
              <a:spcAft>
                <a:spcPct val="0"/>
              </a:spcAft>
              <a:defRPr kern="1200">
                <a:solidFill>
                  <a:schemeClr val="tx1"/>
                </a:solidFill>
                <a:latin typeface="Verdana" pitchFamily="34" charset="0"/>
                <a:ea typeface="+mn-ea"/>
                <a:cs typeface="+mn-cs"/>
              </a:defRPr>
            </a:lvl5pPr>
            <a:lvl6pPr marL="2286000" algn="l" defTabSz="914400" rtl="0" eaLnBrk="1" latinLnBrk="0" hangingPunct="1">
              <a:defRPr kern="1200">
                <a:solidFill>
                  <a:schemeClr val="tx1"/>
                </a:solidFill>
                <a:latin typeface="Verdana" pitchFamily="34" charset="0"/>
                <a:ea typeface="+mn-ea"/>
                <a:cs typeface="+mn-cs"/>
              </a:defRPr>
            </a:lvl6pPr>
            <a:lvl7pPr marL="2743200" algn="l" defTabSz="914400" rtl="0" eaLnBrk="1" latinLnBrk="0" hangingPunct="1">
              <a:defRPr kern="1200">
                <a:solidFill>
                  <a:schemeClr val="tx1"/>
                </a:solidFill>
                <a:latin typeface="Verdana" pitchFamily="34" charset="0"/>
                <a:ea typeface="+mn-ea"/>
                <a:cs typeface="+mn-cs"/>
              </a:defRPr>
            </a:lvl7pPr>
            <a:lvl8pPr marL="3200400" algn="l" defTabSz="914400" rtl="0" eaLnBrk="1" latinLnBrk="0" hangingPunct="1">
              <a:defRPr kern="1200">
                <a:solidFill>
                  <a:schemeClr val="tx1"/>
                </a:solidFill>
                <a:latin typeface="Verdana" pitchFamily="34" charset="0"/>
                <a:ea typeface="+mn-ea"/>
                <a:cs typeface="+mn-cs"/>
              </a:defRPr>
            </a:lvl8pPr>
            <a:lvl9pPr marL="3657600" algn="l" defTabSz="914400" rtl="0" eaLnBrk="1" latinLnBrk="0" hangingPunct="1">
              <a:defRPr kern="1200">
                <a:solidFill>
                  <a:schemeClr val="tx1"/>
                </a:solidFill>
                <a:latin typeface="Verdana"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Trebuchet MS"/>
                <a:ea typeface="+mn-ea"/>
                <a:cs typeface="+mn-cs"/>
              </a:rPr>
              <a:t>Deep-Dive: Klimaneutrales Gas</a:t>
            </a:r>
          </a:p>
        </p:txBody>
      </p:sp>
    </p:spTree>
    <p:extLst>
      <p:ext uri="{BB962C8B-B14F-4D97-AF65-F5344CB8AC3E}">
        <p14:creationId xmlns:p14="http://schemas.microsoft.com/office/powerpoint/2010/main" val="12446836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5B60C907-6DC1-4777-85DF-7B9D918FC5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95" imgH="396" progId="TCLayout.ActiveDocument.1">
                  <p:embed/>
                </p:oleObj>
              </mc:Choice>
              <mc:Fallback>
                <p:oleObj name="think-cell Slide" r:id="rId18" imgW="395" imgH="396" progId="TCLayout.ActiveDocument.1">
                  <p:embed/>
                  <p:pic>
                    <p:nvPicPr>
                      <p:cNvPr id="5" name="Object 6" hidden="1">
                        <a:extLst>
                          <a:ext uri="{FF2B5EF4-FFF2-40B4-BE49-F238E27FC236}">
                            <a16:creationId xmlns:a16="http://schemas.microsoft.com/office/drawing/2014/main" id="{5B60C907-6DC1-4777-85DF-7B9D918FC59E}"/>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AB4EC311-89A2-4F2E-97F0-C974E4431CD9}"/>
              </a:ext>
            </a:extLst>
          </p:cNvPr>
          <p:cNvSpPr>
            <a:spLocks noGrp="1"/>
          </p:cNvSpPr>
          <p:nvPr>
            <p:ph type="title"/>
            <p:custDataLst>
              <p:tags r:id="rId3"/>
            </p:custDataLst>
          </p:nvPr>
        </p:nvSpPr>
        <p:spPr bwMode="gray">
          <a:xfrm>
            <a:off x="838799" y="343789"/>
            <a:ext cx="9540001" cy="781752"/>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de-AT" dirty="0">
                <a:latin typeface="Bahnschrift" panose="020B0502040204020203" pitchFamily="34" charset="0"/>
                <a:sym typeface="Bahnschrift" panose="020B0502040204020203" pitchFamily="34" charset="0"/>
              </a:rPr>
              <a:t>Anbindung beispielhafter österreichischer Industriestandorte an die Gasinfrastruktur</a:t>
            </a:r>
            <a:endParaRPr lang="de-DE" dirty="0">
              <a:latin typeface="Bahnschrift" panose="020B0502040204020203" pitchFamily="34" charset="0"/>
              <a:sym typeface="Bahnschrift" panose="020B0502040204020203" pitchFamily="34" charset="0"/>
            </a:endParaRPr>
          </a:p>
        </p:txBody>
      </p:sp>
      <p:grpSp>
        <p:nvGrpSpPr>
          <p:cNvPr id="16" name="sticker">
            <a:extLst>
              <a:ext uri="{FF2B5EF4-FFF2-40B4-BE49-F238E27FC236}">
                <a16:creationId xmlns:a16="http://schemas.microsoft.com/office/drawing/2014/main" id="{22510B60-7368-C81D-D634-FAA16C72C4A5}"/>
              </a:ext>
            </a:extLst>
          </p:cNvPr>
          <p:cNvGrpSpPr/>
          <p:nvPr/>
        </p:nvGrpSpPr>
        <p:grpSpPr>
          <a:xfrm>
            <a:off x="10690137" y="254000"/>
            <a:ext cx="993863" cy="148759"/>
            <a:chOff x="10944137" y="254000"/>
            <a:chExt cx="993863" cy="148759"/>
          </a:xfrm>
        </p:grpSpPr>
        <p:sp>
          <p:nvSpPr>
            <p:cNvPr id="7" name="StickerRectangle">
              <a:extLst>
                <a:ext uri="{FF2B5EF4-FFF2-40B4-BE49-F238E27FC236}">
                  <a16:creationId xmlns:a16="http://schemas.microsoft.com/office/drawing/2014/main" id="{8C771AB9-461B-F3AA-D681-17F5D5B054E8}"/>
                </a:ext>
              </a:extLst>
            </p:cNvPr>
            <p:cNvSpPr/>
            <p:nvPr/>
          </p:nvSpPr>
          <p:spPr>
            <a:xfrm>
              <a:off x="10944137" y="254000"/>
              <a:ext cx="993863" cy="148759"/>
            </a:xfrm>
            <a:prstGeom prst="leftRightArrow">
              <a:avLst>
                <a:gd name="adj1" fmla="val 10000000"/>
                <a:gd name="adj2" fmla="val 0"/>
              </a:avLst>
            </a:prstGeom>
            <a:noFill/>
            <a:ln w="127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8100" tIns="0" rIns="0" bIns="25400" rtlCol="0" anchor="t">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de-AT" sz="800" b="0" i="0" u="none" strike="noStrike" kern="1200" cap="none" spc="0" normalizeH="0" baseline="0" noProof="0">
                  <a:ln>
                    <a:noFill/>
                  </a:ln>
                  <a:solidFill>
                    <a:srgbClr val="4D4D4D"/>
                  </a:solidFill>
                  <a:effectLst/>
                  <a:uLnTx/>
                  <a:uFillTx/>
                  <a:latin typeface="Verdana" pitchFamily="34" charset="0"/>
                  <a:ea typeface="Verdana" pitchFamily="34" charset="0"/>
                  <a:cs typeface="Verdana" pitchFamily="34" charset="0"/>
                </a:rPr>
                <a:t>STAND SEPT 2023</a:t>
              </a:r>
              <a:endParaRPr kumimoji="0" lang="de-AT" sz="800" b="0" i="0" u="none" strike="noStrike" kern="1200" cap="none" spc="0" normalizeH="0" baseline="0" noProof="0" dirty="0" err="1">
                <a:ln>
                  <a:noFill/>
                </a:ln>
                <a:solidFill>
                  <a:srgbClr val="4D4D4D"/>
                </a:solidFill>
                <a:effectLst/>
                <a:uLnTx/>
                <a:uFillTx/>
                <a:latin typeface="Verdana" pitchFamily="34" charset="0"/>
                <a:ea typeface="Verdana" pitchFamily="34" charset="0"/>
                <a:cs typeface="Verdana" pitchFamily="34" charset="0"/>
              </a:endParaRPr>
            </a:p>
          </p:txBody>
        </p:sp>
        <p:cxnSp>
          <p:nvCxnSpPr>
            <p:cNvPr id="11" name="Straight Arrow Connector 10">
              <a:extLst>
                <a:ext uri="{FF2B5EF4-FFF2-40B4-BE49-F238E27FC236}">
                  <a16:creationId xmlns:a16="http://schemas.microsoft.com/office/drawing/2014/main" id="{D21F5A12-FEB8-A5D3-FB43-A38FE6BC72B3}"/>
                </a:ext>
              </a:extLst>
            </p:cNvPr>
            <p:cNvCxnSpPr>
              <a:cxnSpLocks/>
              <a:stCxn id="7" idx="6"/>
              <a:endCxn id="7" idx="4"/>
            </p:cNvCxnSpPr>
            <p:nvPr/>
          </p:nvCxnSpPr>
          <p:spPr>
            <a:xfrm flipH="1">
              <a:off x="10944137" y="402759"/>
              <a:ext cx="993863" cy="0"/>
            </a:xfrm>
            <a:prstGeom prst="straightConnector1">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62FE90FA-8594-2503-C7F2-C803E626265B}"/>
                </a:ext>
              </a:extLst>
            </p:cNvPr>
            <p:cNvCxnSpPr>
              <a:cxnSpLocks/>
              <a:stCxn id="7" idx="2"/>
              <a:endCxn id="7" idx="4"/>
            </p:cNvCxnSpPr>
            <p:nvPr/>
          </p:nvCxnSpPr>
          <p:spPr>
            <a:xfrm>
              <a:off x="10944137" y="254000"/>
              <a:ext cx="0" cy="148759"/>
            </a:xfrm>
            <a:prstGeom prst="straightConnector1">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7" name="sticker">
            <a:extLst>
              <a:ext uri="{FF2B5EF4-FFF2-40B4-BE49-F238E27FC236}">
                <a16:creationId xmlns:a16="http://schemas.microsoft.com/office/drawing/2014/main" id="{C112475B-6A91-46D7-4723-417151DD22CE}"/>
              </a:ext>
            </a:extLst>
          </p:cNvPr>
          <p:cNvGrpSpPr/>
          <p:nvPr/>
        </p:nvGrpSpPr>
        <p:grpSpPr>
          <a:xfrm>
            <a:off x="10303814" y="534773"/>
            <a:ext cx="1380186" cy="148759"/>
            <a:chOff x="10557814" y="254000"/>
            <a:chExt cx="1380186" cy="148759"/>
          </a:xfrm>
        </p:grpSpPr>
        <p:sp>
          <p:nvSpPr>
            <p:cNvPr id="19" name="StickerRectangle">
              <a:extLst>
                <a:ext uri="{FF2B5EF4-FFF2-40B4-BE49-F238E27FC236}">
                  <a16:creationId xmlns:a16="http://schemas.microsoft.com/office/drawing/2014/main" id="{90C2B516-5357-CC12-D786-CDA630EF3B82}"/>
                </a:ext>
              </a:extLst>
            </p:cNvPr>
            <p:cNvSpPr/>
            <p:nvPr/>
          </p:nvSpPr>
          <p:spPr>
            <a:xfrm>
              <a:off x="10557814" y="254000"/>
              <a:ext cx="1380186" cy="148759"/>
            </a:xfrm>
            <a:prstGeom prst="leftRightArrow">
              <a:avLst>
                <a:gd name="adj1" fmla="val 10000000"/>
                <a:gd name="adj2" fmla="val 0"/>
              </a:avLst>
            </a:prstGeom>
            <a:noFill/>
            <a:ln w="127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8100" tIns="0" rIns="0" bIns="25400" rtlCol="0" anchor="t">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de-AT" sz="800" b="0" i="0" u="none" strike="noStrike" kern="1200" cap="none" spc="0" normalizeH="0" baseline="0" noProof="0" dirty="0">
                  <a:ln>
                    <a:noFill/>
                  </a:ln>
                  <a:solidFill>
                    <a:srgbClr val="4D4D4D"/>
                  </a:solidFill>
                  <a:effectLst/>
                  <a:uLnTx/>
                  <a:uFillTx/>
                  <a:latin typeface="Verdana" pitchFamily="34" charset="0"/>
                  <a:ea typeface="Verdana" pitchFamily="34" charset="0"/>
                  <a:cs typeface="Verdana" pitchFamily="34" charset="0"/>
                </a:rPr>
                <a:t>INDIKATIVE SKALIERUNG</a:t>
              </a:r>
            </a:p>
          </p:txBody>
        </p:sp>
        <p:cxnSp>
          <p:nvCxnSpPr>
            <p:cNvPr id="20" name="Straight Arrow Connector 19">
              <a:extLst>
                <a:ext uri="{FF2B5EF4-FFF2-40B4-BE49-F238E27FC236}">
                  <a16:creationId xmlns:a16="http://schemas.microsoft.com/office/drawing/2014/main" id="{ECBE693B-050D-3A48-AA06-565B9CAC35AA}"/>
                </a:ext>
              </a:extLst>
            </p:cNvPr>
            <p:cNvCxnSpPr>
              <a:cxnSpLocks/>
              <a:stCxn id="19" idx="6"/>
              <a:endCxn id="19" idx="4"/>
            </p:cNvCxnSpPr>
            <p:nvPr/>
          </p:nvCxnSpPr>
          <p:spPr>
            <a:xfrm flipH="1">
              <a:off x="10557814" y="402759"/>
              <a:ext cx="1380186" cy="0"/>
            </a:xfrm>
            <a:prstGeom prst="straightConnector1">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B8B64E17-1984-EA1B-53BF-80D3A060A83D}"/>
                </a:ext>
              </a:extLst>
            </p:cNvPr>
            <p:cNvCxnSpPr>
              <a:cxnSpLocks/>
              <a:stCxn id="19" idx="2"/>
              <a:endCxn id="19" idx="4"/>
            </p:cNvCxnSpPr>
            <p:nvPr/>
          </p:nvCxnSpPr>
          <p:spPr>
            <a:xfrm>
              <a:off x="10557814" y="254000"/>
              <a:ext cx="0" cy="148759"/>
            </a:xfrm>
            <a:prstGeom prst="straightConnector1">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31" name="sticker">
            <a:extLst>
              <a:ext uri="{FF2B5EF4-FFF2-40B4-BE49-F238E27FC236}">
                <a16:creationId xmlns:a16="http://schemas.microsoft.com/office/drawing/2014/main" id="{6A178E93-6084-1462-0CD5-B8623C835FB2}"/>
              </a:ext>
            </a:extLst>
          </p:cNvPr>
          <p:cNvGrpSpPr/>
          <p:nvPr/>
        </p:nvGrpSpPr>
        <p:grpSpPr>
          <a:xfrm>
            <a:off x="10834408" y="825694"/>
            <a:ext cx="849592" cy="148759"/>
            <a:chOff x="11088408" y="254000"/>
            <a:chExt cx="849592" cy="148759"/>
          </a:xfrm>
        </p:grpSpPr>
        <p:sp>
          <p:nvSpPr>
            <p:cNvPr id="38" name="StickerRectangle">
              <a:extLst>
                <a:ext uri="{FF2B5EF4-FFF2-40B4-BE49-F238E27FC236}">
                  <a16:creationId xmlns:a16="http://schemas.microsoft.com/office/drawing/2014/main" id="{544FED9D-50CA-BE25-B0FA-1A9CE05B543D}"/>
                </a:ext>
              </a:extLst>
            </p:cNvPr>
            <p:cNvSpPr/>
            <p:nvPr/>
          </p:nvSpPr>
          <p:spPr>
            <a:xfrm>
              <a:off x="11088408" y="254000"/>
              <a:ext cx="849592" cy="148759"/>
            </a:xfrm>
            <a:prstGeom prst="leftRightArrow">
              <a:avLst>
                <a:gd name="adj1" fmla="val 10000000"/>
                <a:gd name="adj2" fmla="val 0"/>
              </a:avLst>
            </a:prstGeom>
            <a:noFill/>
            <a:ln w="12700"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8100" tIns="0" rIns="0" bIns="25400" rtlCol="0" anchor="t">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de-AT" sz="800" b="0" i="0" u="none" strike="noStrike" kern="1200" cap="none" spc="0" normalizeH="0" baseline="0" noProof="0" dirty="0">
                  <a:ln>
                    <a:noFill/>
                  </a:ln>
                  <a:solidFill>
                    <a:srgbClr val="4D4D4D"/>
                  </a:solidFill>
                  <a:effectLst/>
                  <a:uLnTx/>
                  <a:uFillTx/>
                  <a:latin typeface="Verdana" pitchFamily="34" charset="0"/>
                  <a:ea typeface="Verdana" pitchFamily="34" charset="0"/>
                  <a:cs typeface="Verdana" pitchFamily="34" charset="0"/>
                </a:rPr>
                <a:t>EXEMPLARISCH</a:t>
              </a:r>
            </a:p>
          </p:txBody>
        </p:sp>
        <p:cxnSp>
          <p:nvCxnSpPr>
            <p:cNvPr id="40" name="Straight Arrow Connector 39">
              <a:extLst>
                <a:ext uri="{FF2B5EF4-FFF2-40B4-BE49-F238E27FC236}">
                  <a16:creationId xmlns:a16="http://schemas.microsoft.com/office/drawing/2014/main" id="{D9BB6A71-3DE0-25A8-4B27-26567052E693}"/>
                </a:ext>
              </a:extLst>
            </p:cNvPr>
            <p:cNvCxnSpPr>
              <a:cxnSpLocks/>
              <a:stCxn id="38" idx="6"/>
              <a:endCxn id="38" idx="4"/>
            </p:cNvCxnSpPr>
            <p:nvPr/>
          </p:nvCxnSpPr>
          <p:spPr>
            <a:xfrm flipH="1">
              <a:off x="11088408" y="402759"/>
              <a:ext cx="849592" cy="0"/>
            </a:xfrm>
            <a:prstGeom prst="straightConnector1">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06AE8990-5B3E-9756-0ED4-8C86B29D6232}"/>
                </a:ext>
              </a:extLst>
            </p:cNvPr>
            <p:cNvCxnSpPr>
              <a:cxnSpLocks/>
              <a:stCxn id="38" idx="2"/>
              <a:endCxn id="38" idx="4"/>
            </p:cNvCxnSpPr>
            <p:nvPr/>
          </p:nvCxnSpPr>
          <p:spPr>
            <a:xfrm>
              <a:off x="11088408" y="254000"/>
              <a:ext cx="0" cy="148759"/>
            </a:xfrm>
            <a:prstGeom prst="straightConnector1">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50" name="Slide Number Placeholder 3">
            <a:extLst>
              <a:ext uri="{FF2B5EF4-FFF2-40B4-BE49-F238E27FC236}">
                <a16:creationId xmlns:a16="http://schemas.microsoft.com/office/drawing/2014/main" id="{C4188EA7-B4EB-0634-C7DA-19DECFFE86CA}"/>
              </a:ext>
            </a:extLst>
          </p:cNvPr>
          <p:cNvSpPr>
            <a:spLocks noGrp="1"/>
          </p:cNvSpPr>
          <p:nvPr>
            <p:ph type="sldNum" sz="quarter" idx="10"/>
          </p:nvPr>
        </p:nvSpPr>
        <p:spPr>
          <a:xfrm>
            <a:off x="838801" y="6245225"/>
            <a:ext cx="4692569" cy="476250"/>
          </a:xfr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1920E2B-FC99-4A38-BFFD-416A818AECB0}" type="slidenum">
              <a:rPr kumimoji="0" lang="de-AT" sz="800" b="0" i="0" u="none" strike="noStrike" kern="1200" cap="none" spc="0" normalizeH="0" baseline="0" noProof="0" smtClean="0">
                <a:ln>
                  <a:noFill/>
                </a:ln>
                <a:solidFill>
                  <a:prstClr val="white">
                    <a:lumMod val="50000"/>
                  </a:prstClr>
                </a:solidFill>
                <a:effectLst/>
                <a:uLnTx/>
                <a:uFillTx/>
                <a:latin typeface="Bahnschrift" panose="020B0502040204020203" pitchFamily="34"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25</a:t>
            </a:fld>
            <a:endParaRPr kumimoji="0" lang="de-AT" sz="800" b="0" i="0" u="none" strike="noStrike" kern="1200" cap="none" spc="0" normalizeH="0" baseline="0" noProof="0" dirty="0">
              <a:ln>
                <a:noFill/>
              </a:ln>
              <a:solidFill>
                <a:prstClr val="white">
                  <a:lumMod val="50000"/>
                </a:prstClr>
              </a:solidFill>
              <a:effectLst/>
              <a:uLnTx/>
              <a:uFillTx/>
              <a:latin typeface="Bahnschrift" panose="020B0502040204020203" pitchFamily="34" charset="0"/>
              <a:ea typeface="+mn-ea"/>
              <a:cs typeface="+mn-cs"/>
            </a:endParaRPr>
          </a:p>
        </p:txBody>
      </p:sp>
      <p:sp>
        <p:nvSpPr>
          <p:cNvPr id="56" name="Text Placeholder 2">
            <a:extLst>
              <a:ext uri="{FF2B5EF4-FFF2-40B4-BE49-F238E27FC236}">
                <a16:creationId xmlns:a16="http://schemas.microsoft.com/office/drawing/2014/main" id="{440D11BC-5ADA-0A21-1E98-807033E60979}"/>
              </a:ext>
            </a:extLst>
          </p:cNvPr>
          <p:cNvSpPr txBox="1">
            <a:spLocks/>
          </p:cNvSpPr>
          <p:nvPr/>
        </p:nvSpPr>
        <p:spPr bwMode="auto">
          <a:xfrm>
            <a:off x="838799" y="130497"/>
            <a:ext cx="3843338" cy="123111"/>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defPPr>
              <a:defRPr lang="de-AT"/>
            </a:defPPr>
            <a:lvl1pPr algn="l" rtl="0" fontAlgn="base">
              <a:spcBef>
                <a:spcPct val="0"/>
              </a:spcBef>
              <a:spcAft>
                <a:spcPct val="0"/>
              </a:spcAft>
              <a:defRPr sz="800" kern="1200">
                <a:solidFill>
                  <a:schemeClr val="bg1">
                    <a:lumMod val="50000"/>
                  </a:schemeClr>
                </a:solidFill>
                <a:latin typeface="+mn-lt"/>
                <a:ea typeface="+mn-ea"/>
                <a:cs typeface="+mn-cs"/>
              </a:defRPr>
            </a:lvl1pPr>
            <a:lvl2pPr marL="457200" algn="l" rtl="0" fontAlgn="base">
              <a:spcBef>
                <a:spcPct val="0"/>
              </a:spcBef>
              <a:spcAft>
                <a:spcPct val="0"/>
              </a:spcAft>
              <a:defRPr kern="1200">
                <a:solidFill>
                  <a:schemeClr val="tx1"/>
                </a:solidFill>
                <a:latin typeface="Verdana" pitchFamily="34" charset="0"/>
                <a:ea typeface="+mn-ea"/>
                <a:cs typeface="+mn-cs"/>
              </a:defRPr>
            </a:lvl2pPr>
            <a:lvl3pPr marL="914400" algn="l" rtl="0" fontAlgn="base">
              <a:spcBef>
                <a:spcPct val="0"/>
              </a:spcBef>
              <a:spcAft>
                <a:spcPct val="0"/>
              </a:spcAft>
              <a:defRPr kern="1200">
                <a:solidFill>
                  <a:schemeClr val="tx1"/>
                </a:solidFill>
                <a:latin typeface="Verdana" pitchFamily="34" charset="0"/>
                <a:ea typeface="+mn-ea"/>
                <a:cs typeface="+mn-cs"/>
              </a:defRPr>
            </a:lvl3pPr>
            <a:lvl4pPr marL="1371600" algn="l" rtl="0" fontAlgn="base">
              <a:spcBef>
                <a:spcPct val="0"/>
              </a:spcBef>
              <a:spcAft>
                <a:spcPct val="0"/>
              </a:spcAft>
              <a:defRPr kern="1200">
                <a:solidFill>
                  <a:schemeClr val="tx1"/>
                </a:solidFill>
                <a:latin typeface="Verdana" pitchFamily="34" charset="0"/>
                <a:ea typeface="+mn-ea"/>
                <a:cs typeface="+mn-cs"/>
              </a:defRPr>
            </a:lvl4pPr>
            <a:lvl5pPr marL="1828800" algn="l" rtl="0" fontAlgn="base">
              <a:spcBef>
                <a:spcPct val="0"/>
              </a:spcBef>
              <a:spcAft>
                <a:spcPct val="0"/>
              </a:spcAft>
              <a:defRPr kern="1200">
                <a:solidFill>
                  <a:schemeClr val="tx1"/>
                </a:solidFill>
                <a:latin typeface="Verdana" pitchFamily="34" charset="0"/>
                <a:ea typeface="+mn-ea"/>
                <a:cs typeface="+mn-cs"/>
              </a:defRPr>
            </a:lvl5pPr>
            <a:lvl6pPr marL="2286000" algn="l" defTabSz="914400" rtl="0" eaLnBrk="1" latinLnBrk="0" hangingPunct="1">
              <a:defRPr kern="1200">
                <a:solidFill>
                  <a:schemeClr val="tx1"/>
                </a:solidFill>
                <a:latin typeface="Verdana" pitchFamily="34" charset="0"/>
                <a:ea typeface="+mn-ea"/>
                <a:cs typeface="+mn-cs"/>
              </a:defRPr>
            </a:lvl6pPr>
            <a:lvl7pPr marL="2743200" algn="l" defTabSz="914400" rtl="0" eaLnBrk="1" latinLnBrk="0" hangingPunct="1">
              <a:defRPr kern="1200">
                <a:solidFill>
                  <a:schemeClr val="tx1"/>
                </a:solidFill>
                <a:latin typeface="Verdana" pitchFamily="34" charset="0"/>
                <a:ea typeface="+mn-ea"/>
                <a:cs typeface="+mn-cs"/>
              </a:defRPr>
            </a:lvl7pPr>
            <a:lvl8pPr marL="3200400" algn="l" defTabSz="914400" rtl="0" eaLnBrk="1" latinLnBrk="0" hangingPunct="1">
              <a:defRPr kern="1200">
                <a:solidFill>
                  <a:schemeClr val="tx1"/>
                </a:solidFill>
                <a:latin typeface="Verdana" pitchFamily="34" charset="0"/>
                <a:ea typeface="+mn-ea"/>
                <a:cs typeface="+mn-cs"/>
              </a:defRPr>
            </a:lvl8pPr>
            <a:lvl9pPr marL="3657600" algn="l" defTabSz="914400" rtl="0" eaLnBrk="1" latinLnBrk="0" hangingPunct="1">
              <a:defRPr kern="1200">
                <a:solidFill>
                  <a:schemeClr val="tx1"/>
                </a:solidFill>
                <a:latin typeface="Verdana" pitchFamily="34"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Trebuchet MS"/>
                <a:ea typeface="+mn-ea"/>
                <a:cs typeface="+mn-cs"/>
              </a:rPr>
              <a:t>Deep-Dive: </a:t>
            </a:r>
            <a:r>
              <a:rPr kumimoji="0" lang="en-US" sz="800" b="0" i="0" u="none" strike="noStrike" kern="1200" cap="none" spc="0" normalizeH="0" baseline="0" noProof="0" dirty="0" err="1">
                <a:ln>
                  <a:noFill/>
                </a:ln>
                <a:solidFill>
                  <a:prstClr val="black"/>
                </a:solidFill>
                <a:effectLst/>
                <a:uLnTx/>
                <a:uFillTx/>
                <a:latin typeface="Trebuchet MS"/>
                <a:ea typeface="+mn-ea"/>
                <a:cs typeface="+mn-cs"/>
              </a:rPr>
              <a:t>Infrastruktur</a:t>
            </a:r>
            <a:endParaRPr kumimoji="0" lang="en-US" sz="800" b="0" i="0" u="none" strike="noStrike" kern="1200" cap="none" spc="0" normalizeH="0" baseline="0" noProof="0" dirty="0">
              <a:ln>
                <a:noFill/>
              </a:ln>
              <a:solidFill>
                <a:prstClr val="black"/>
              </a:solidFill>
              <a:effectLst/>
              <a:uLnTx/>
              <a:uFillTx/>
              <a:latin typeface="Trebuchet MS"/>
              <a:ea typeface="+mn-ea"/>
              <a:cs typeface="+mn-cs"/>
            </a:endParaRPr>
          </a:p>
        </p:txBody>
      </p:sp>
      <p:sp>
        <p:nvSpPr>
          <p:cNvPr id="61" name="4. Footnote">
            <a:extLst>
              <a:ext uri="{FF2B5EF4-FFF2-40B4-BE49-F238E27FC236}">
                <a16:creationId xmlns:a16="http://schemas.microsoft.com/office/drawing/2014/main" id="{356A752E-AA7C-0618-C3C9-15B21EA5B4F3}"/>
              </a:ext>
            </a:extLst>
          </p:cNvPr>
          <p:cNvSpPr txBox="1">
            <a:spLocks/>
          </p:cNvSpPr>
          <p:nvPr>
            <p:custDataLst>
              <p:tags r:id="rId4"/>
            </p:custDataLst>
          </p:nvPr>
        </p:nvSpPr>
        <p:spPr>
          <a:xfrm>
            <a:off x="922020" y="6371361"/>
            <a:ext cx="9456780" cy="123111"/>
          </a:xfrm>
          <a:prstGeom prst="rect">
            <a:avLst/>
          </a:prstGeom>
          <a:noFill/>
        </p:spPr>
        <p:txBody>
          <a:bodyPr vert="horz" wrap="square" lIns="0" tIns="0" rIns="0" bIns="0" rtlCol="0" anchor="b" anchorCtr="0">
            <a:spAutoFit/>
          </a:bodyPr>
          <a:lstStyle/>
          <a:p>
            <a:pPr marL="203200" marR="0" lvl="0" indent="-212725" algn="l" defTabSz="914400" rtl="0" eaLnBrk="1" fontAlgn="auto" latinLnBrk="0" hangingPunct="1">
              <a:lnSpc>
                <a:spcPct val="100000"/>
              </a:lnSpc>
              <a:spcBef>
                <a:spcPts val="0"/>
              </a:spcBef>
              <a:spcAft>
                <a:spcPts val="0"/>
              </a:spcAft>
              <a:buClr>
                <a:srgbClr val="000000"/>
              </a:buClr>
              <a:buSzTx/>
              <a:buFontTx/>
              <a:buNone/>
              <a:tabLst/>
              <a:defRPr/>
            </a:pP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1.	 Anzahl an Linien zeigt Anzahl an parallel laufenden Pipelines</a:t>
            </a:r>
          </a:p>
        </p:txBody>
      </p:sp>
      <p:sp>
        <p:nvSpPr>
          <p:cNvPr id="63" name="5. Source">
            <a:extLst>
              <a:ext uri="{FF2B5EF4-FFF2-40B4-BE49-F238E27FC236}">
                <a16:creationId xmlns:a16="http://schemas.microsoft.com/office/drawing/2014/main" id="{C26F712C-DBE0-A85B-E430-E5F299F6A64A}"/>
              </a:ext>
            </a:extLst>
          </p:cNvPr>
          <p:cNvSpPr txBox="1">
            <a:spLocks/>
          </p:cNvSpPr>
          <p:nvPr>
            <p:custDataLst>
              <p:tags r:id="rId5"/>
            </p:custDataLst>
          </p:nvPr>
        </p:nvSpPr>
        <p:spPr>
          <a:xfrm>
            <a:off x="922020" y="6553357"/>
            <a:ext cx="9456780" cy="123111"/>
          </a:xfrm>
          <a:prstGeom prst="rect">
            <a:avLst/>
          </a:prstGeom>
          <a:noFill/>
        </p:spPr>
        <p:txBody>
          <a:bodyPr vert="horz" wrap="square" lIns="0" tIns="0" rIns="0" bIns="0" rtlCol="0" anchor="b" anchorCtr="0">
            <a:noAutofit/>
          </a:bodyPr>
          <a:lstStyle/>
          <a:p>
            <a:pPr marL="203200" marR="0" lvl="0" indent="-212725" algn="r" defTabSz="914400" rtl="0" eaLnBrk="1" fontAlgn="auto" latinLnBrk="0" hangingPunct="1">
              <a:lnSpc>
                <a:spcPct val="100000"/>
              </a:lnSpc>
              <a:spcBef>
                <a:spcPts val="0"/>
              </a:spcBef>
              <a:spcAft>
                <a:spcPts val="0"/>
              </a:spcAft>
              <a:buClr>
                <a:srgbClr val="000000"/>
              </a:buClr>
              <a:buSzTx/>
              <a:buFont typeface="Segoe UI" panose="020B0502040204020203" pitchFamily="34" charset="0"/>
              <a:buNone/>
              <a:tabLst/>
              <a:defRPr/>
            </a:pP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Quelle: </a:t>
            </a:r>
            <a:r>
              <a:rPr kumimoji="0" lang="en-US"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GCA, AGGM, ENTSOG Transmission Capacity (Stand Ende 2021) </a:t>
            </a:r>
            <a:endPar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Arial" panose="020B0604020202020204" pitchFamily="34" charset="0"/>
              <a:sym typeface="Bahnschrift" panose="020B0502040204020203" pitchFamily="34" charset="0"/>
            </a:endParaRPr>
          </a:p>
        </p:txBody>
      </p:sp>
      <p:sp>
        <p:nvSpPr>
          <p:cNvPr id="25" name="TextBox 24">
            <a:extLst>
              <a:ext uri="{FF2B5EF4-FFF2-40B4-BE49-F238E27FC236}">
                <a16:creationId xmlns:a16="http://schemas.microsoft.com/office/drawing/2014/main" id="{8C2D45E3-0821-4CF7-A10F-DEB5D7E00048}"/>
              </a:ext>
            </a:extLst>
          </p:cNvPr>
          <p:cNvSpPr txBox="1"/>
          <p:nvPr/>
        </p:nvSpPr>
        <p:spPr bwMode="gray">
          <a:xfrm>
            <a:off x="939943" y="4736727"/>
            <a:ext cx="958840" cy="3077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0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Gasspeicher  </a:t>
            </a:r>
            <a:r>
              <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ausgewählte)</a:t>
            </a:r>
          </a:p>
        </p:txBody>
      </p:sp>
      <p:grpSp>
        <p:nvGrpSpPr>
          <p:cNvPr id="34" name="Group 33">
            <a:extLst>
              <a:ext uri="{FF2B5EF4-FFF2-40B4-BE49-F238E27FC236}">
                <a16:creationId xmlns:a16="http://schemas.microsoft.com/office/drawing/2014/main" id="{CDD01BD8-C20E-434A-9D3F-BD325FAC408F}"/>
              </a:ext>
            </a:extLst>
          </p:cNvPr>
          <p:cNvGrpSpPr/>
          <p:nvPr/>
        </p:nvGrpSpPr>
        <p:grpSpPr>
          <a:xfrm>
            <a:off x="923794" y="5088151"/>
            <a:ext cx="521640" cy="365525"/>
            <a:chOff x="-2158859" y="2208746"/>
            <a:chExt cx="539609" cy="358042"/>
          </a:xfrm>
        </p:grpSpPr>
        <p:grpSp>
          <p:nvGrpSpPr>
            <p:cNvPr id="32" name="Group 31">
              <a:extLst>
                <a:ext uri="{FF2B5EF4-FFF2-40B4-BE49-F238E27FC236}">
                  <a16:creationId xmlns:a16="http://schemas.microsoft.com/office/drawing/2014/main" id="{48B48B01-AC29-4BC6-99C4-6B110633F4F2}"/>
                </a:ext>
              </a:extLst>
            </p:cNvPr>
            <p:cNvGrpSpPr/>
            <p:nvPr/>
          </p:nvGrpSpPr>
          <p:grpSpPr>
            <a:xfrm>
              <a:off x="-2158859" y="2412900"/>
              <a:ext cx="539609" cy="153888"/>
              <a:chOff x="-2158859" y="2412900"/>
              <a:chExt cx="539609" cy="153888"/>
            </a:xfrm>
          </p:grpSpPr>
          <p:sp>
            <p:nvSpPr>
              <p:cNvPr id="23" name="TextBox 22">
                <a:extLst>
                  <a:ext uri="{FF2B5EF4-FFF2-40B4-BE49-F238E27FC236}">
                    <a16:creationId xmlns:a16="http://schemas.microsoft.com/office/drawing/2014/main" id="{23BCA170-54A6-4B65-B6B7-9157864DBAF4}"/>
                  </a:ext>
                </a:extLst>
              </p:cNvPr>
              <p:cNvSpPr txBox="1">
                <a:spLocks/>
              </p:cNvSpPr>
              <p:nvPr/>
            </p:nvSpPr>
            <p:spPr bwMode="gray">
              <a:xfrm>
                <a:off x="-1938610" y="2412900"/>
                <a:ext cx="319360" cy="153888"/>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OMV</a:t>
                </a:r>
              </a:p>
            </p:txBody>
          </p:sp>
          <p:sp>
            <p:nvSpPr>
              <p:cNvPr id="24" name="Oval 26">
                <a:extLst>
                  <a:ext uri="{FF2B5EF4-FFF2-40B4-BE49-F238E27FC236}">
                    <a16:creationId xmlns:a16="http://schemas.microsoft.com/office/drawing/2014/main" id="{B1076BC2-39AB-42CE-9D75-BA12632B6079}"/>
                  </a:ext>
                </a:extLst>
              </p:cNvPr>
              <p:cNvSpPr>
                <a:spLocks noChangeArrowheads="1"/>
              </p:cNvSpPr>
              <p:nvPr/>
            </p:nvSpPr>
            <p:spPr bwMode="gray">
              <a:xfrm>
                <a:off x="-2158859" y="2426077"/>
                <a:ext cx="126606" cy="127534"/>
              </a:xfrm>
              <a:prstGeom prst="triangle">
                <a:avLst/>
              </a:prstGeom>
              <a:solidFill>
                <a:srgbClr val="FB0F0C"/>
              </a:solid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grpSp>
        <p:grpSp>
          <p:nvGrpSpPr>
            <p:cNvPr id="33" name="Group 32">
              <a:extLst>
                <a:ext uri="{FF2B5EF4-FFF2-40B4-BE49-F238E27FC236}">
                  <a16:creationId xmlns:a16="http://schemas.microsoft.com/office/drawing/2014/main" id="{EF8CD40B-E981-4A2D-A3F9-378CA389CB06}"/>
                </a:ext>
              </a:extLst>
            </p:cNvPr>
            <p:cNvGrpSpPr/>
            <p:nvPr/>
          </p:nvGrpSpPr>
          <p:grpSpPr>
            <a:xfrm>
              <a:off x="-2158859" y="2208746"/>
              <a:ext cx="539609" cy="153888"/>
              <a:chOff x="-2158859" y="2208746"/>
              <a:chExt cx="539609" cy="153888"/>
            </a:xfrm>
          </p:grpSpPr>
          <p:sp>
            <p:nvSpPr>
              <p:cNvPr id="22" name="TextBox 21">
                <a:extLst>
                  <a:ext uri="{FF2B5EF4-FFF2-40B4-BE49-F238E27FC236}">
                    <a16:creationId xmlns:a16="http://schemas.microsoft.com/office/drawing/2014/main" id="{1A6CE2D0-E70A-41E3-973E-EA4086D8C3B3}"/>
                  </a:ext>
                </a:extLst>
              </p:cNvPr>
              <p:cNvSpPr txBox="1">
                <a:spLocks/>
              </p:cNvSpPr>
              <p:nvPr/>
            </p:nvSpPr>
            <p:spPr bwMode="gray">
              <a:xfrm>
                <a:off x="-1938610" y="2208746"/>
                <a:ext cx="319360" cy="153888"/>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RAG</a:t>
                </a:r>
              </a:p>
            </p:txBody>
          </p:sp>
          <p:sp>
            <p:nvSpPr>
              <p:cNvPr id="26" name="Oval 25">
                <a:extLst>
                  <a:ext uri="{FF2B5EF4-FFF2-40B4-BE49-F238E27FC236}">
                    <a16:creationId xmlns:a16="http://schemas.microsoft.com/office/drawing/2014/main" id="{F5BED2D1-3E84-4578-A6B0-4D8CAEE16B88}"/>
                  </a:ext>
                </a:extLst>
              </p:cNvPr>
              <p:cNvSpPr>
                <a:spLocks noChangeArrowheads="1"/>
              </p:cNvSpPr>
              <p:nvPr/>
            </p:nvSpPr>
            <p:spPr bwMode="gray">
              <a:xfrm>
                <a:off x="-2158859" y="2221923"/>
                <a:ext cx="126606" cy="127534"/>
              </a:xfrm>
              <a:prstGeom prst="triangle">
                <a:avLst/>
              </a:prstGeom>
              <a:solidFill>
                <a:srgbClr val="6BBA20"/>
              </a:solid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grpSp>
      </p:grpSp>
      <p:sp>
        <p:nvSpPr>
          <p:cNvPr id="209" name="TextBox 208">
            <a:extLst>
              <a:ext uri="{FF2B5EF4-FFF2-40B4-BE49-F238E27FC236}">
                <a16:creationId xmlns:a16="http://schemas.microsoft.com/office/drawing/2014/main" id="{D2313796-C565-4311-A2FF-0EE82A0EECCC}"/>
              </a:ext>
            </a:extLst>
          </p:cNvPr>
          <p:cNvSpPr txBox="1">
            <a:spLocks/>
          </p:cNvSpPr>
          <p:nvPr/>
        </p:nvSpPr>
        <p:spPr bwMode="gray">
          <a:xfrm>
            <a:off x="923794" y="1761215"/>
            <a:ext cx="3041902" cy="157104"/>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0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Pipelines</a:t>
            </a:r>
            <a:r>
              <a:rPr kumimoji="0" lang="de-DE" sz="1000" b="1" i="0" u="none" strike="noStrike" kern="1200" cap="none" spc="0" normalizeH="0" baseline="3000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1</a:t>
            </a:r>
            <a:r>
              <a:rPr kumimoji="0" lang="de-DE" sz="10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 </a:t>
            </a:r>
          </a:p>
        </p:txBody>
      </p:sp>
      <p:sp>
        <p:nvSpPr>
          <p:cNvPr id="224" name="TextBox 223">
            <a:extLst>
              <a:ext uri="{FF2B5EF4-FFF2-40B4-BE49-F238E27FC236}">
                <a16:creationId xmlns:a16="http://schemas.microsoft.com/office/drawing/2014/main" id="{023E16EF-05FC-4F45-8837-149A18CC68B9}"/>
              </a:ext>
            </a:extLst>
          </p:cNvPr>
          <p:cNvSpPr txBox="1">
            <a:spLocks/>
          </p:cNvSpPr>
          <p:nvPr/>
        </p:nvSpPr>
        <p:spPr bwMode="gray">
          <a:xfrm>
            <a:off x="1270331" y="2409594"/>
            <a:ext cx="295978" cy="157104"/>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PW</a:t>
            </a:r>
          </a:p>
        </p:txBody>
      </p:sp>
      <p:sp>
        <p:nvSpPr>
          <p:cNvPr id="225" name="Freeform: Shape 224">
            <a:extLst>
              <a:ext uri="{FF2B5EF4-FFF2-40B4-BE49-F238E27FC236}">
                <a16:creationId xmlns:a16="http://schemas.microsoft.com/office/drawing/2014/main" id="{3D6F6FE9-6A83-4923-B3C1-E10B0B95974E}"/>
              </a:ext>
            </a:extLst>
          </p:cNvPr>
          <p:cNvSpPr/>
          <p:nvPr/>
        </p:nvSpPr>
        <p:spPr bwMode="gray">
          <a:xfrm>
            <a:off x="923794" y="2488146"/>
            <a:ext cx="268766" cy="0"/>
          </a:xfrm>
          <a:custGeom>
            <a:avLst/>
            <a:gdLst>
              <a:gd name="connsiteX0" fmla="*/ 0 w 488950"/>
              <a:gd name="connsiteY0" fmla="*/ 0 h 0"/>
              <a:gd name="connsiteX1" fmla="*/ 488950 w 488950"/>
              <a:gd name="connsiteY1" fmla="*/ 0 h 0"/>
            </a:gdLst>
            <a:ahLst/>
            <a:cxnLst>
              <a:cxn ang="0">
                <a:pos x="connsiteX0" y="connsiteY0"/>
              </a:cxn>
              <a:cxn ang="0">
                <a:pos x="connsiteX1" y="connsiteY1"/>
              </a:cxn>
            </a:cxnLst>
            <a:rect l="l" t="t" r="r" b="b"/>
            <a:pathLst>
              <a:path w="488950">
                <a:moveTo>
                  <a:pt x="0" y="0"/>
                </a:moveTo>
                <a:lnTo>
                  <a:pt x="488950" y="0"/>
                </a:lnTo>
              </a:path>
            </a:pathLst>
          </a:custGeom>
          <a:no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218" name="TextBox 217">
            <a:extLst>
              <a:ext uri="{FF2B5EF4-FFF2-40B4-BE49-F238E27FC236}">
                <a16:creationId xmlns:a16="http://schemas.microsoft.com/office/drawing/2014/main" id="{C2D37020-26A1-41D2-B4FE-C141A93506B1}"/>
              </a:ext>
            </a:extLst>
          </p:cNvPr>
          <p:cNvSpPr txBox="1">
            <a:spLocks/>
          </p:cNvSpPr>
          <p:nvPr/>
        </p:nvSpPr>
        <p:spPr bwMode="gray">
          <a:xfrm>
            <a:off x="1990616" y="2409594"/>
            <a:ext cx="268085" cy="157104"/>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MAB</a:t>
            </a:r>
          </a:p>
        </p:txBody>
      </p:sp>
      <p:sp>
        <p:nvSpPr>
          <p:cNvPr id="219" name="Freeform: Shape 218">
            <a:extLst>
              <a:ext uri="{FF2B5EF4-FFF2-40B4-BE49-F238E27FC236}">
                <a16:creationId xmlns:a16="http://schemas.microsoft.com/office/drawing/2014/main" id="{A57C98F4-7A5F-4735-99DF-270A234F084D}"/>
              </a:ext>
            </a:extLst>
          </p:cNvPr>
          <p:cNvSpPr/>
          <p:nvPr/>
        </p:nvSpPr>
        <p:spPr bwMode="gray">
          <a:xfrm>
            <a:off x="1644080" y="2488146"/>
            <a:ext cx="268766" cy="0"/>
          </a:xfrm>
          <a:custGeom>
            <a:avLst/>
            <a:gdLst>
              <a:gd name="connsiteX0" fmla="*/ 0 w 488950"/>
              <a:gd name="connsiteY0" fmla="*/ 0 h 0"/>
              <a:gd name="connsiteX1" fmla="*/ 488950 w 488950"/>
              <a:gd name="connsiteY1" fmla="*/ 0 h 0"/>
            </a:gdLst>
            <a:ahLst/>
            <a:cxnLst>
              <a:cxn ang="0">
                <a:pos x="connsiteX0" y="connsiteY0"/>
              </a:cxn>
              <a:cxn ang="0">
                <a:pos x="connsiteX1" y="connsiteY1"/>
              </a:cxn>
            </a:cxnLst>
            <a:rect l="l" t="t" r="r" b="b"/>
            <a:pathLst>
              <a:path w="488950">
                <a:moveTo>
                  <a:pt x="0" y="0"/>
                </a:moveTo>
                <a:lnTo>
                  <a:pt x="488950" y="0"/>
                </a:lnTo>
              </a:path>
            </a:pathLst>
          </a:custGeom>
          <a:noFill/>
          <a:ln w="28575" cap="sq">
            <a:solidFill>
              <a:srgbClr val="7030A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226" name="TextBox 225">
            <a:extLst>
              <a:ext uri="{FF2B5EF4-FFF2-40B4-BE49-F238E27FC236}">
                <a16:creationId xmlns:a16="http://schemas.microsoft.com/office/drawing/2014/main" id="{0589BCD3-3200-4113-A293-3CC18C176ACE}"/>
              </a:ext>
            </a:extLst>
          </p:cNvPr>
          <p:cNvSpPr txBox="1">
            <a:spLocks/>
          </p:cNvSpPr>
          <p:nvPr/>
        </p:nvSpPr>
        <p:spPr bwMode="gray">
          <a:xfrm>
            <a:off x="1270331" y="2201040"/>
            <a:ext cx="295978" cy="157104"/>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WAG</a:t>
            </a:r>
          </a:p>
        </p:txBody>
      </p:sp>
      <p:sp>
        <p:nvSpPr>
          <p:cNvPr id="227" name="Freeform: Shape 226">
            <a:extLst>
              <a:ext uri="{FF2B5EF4-FFF2-40B4-BE49-F238E27FC236}">
                <a16:creationId xmlns:a16="http://schemas.microsoft.com/office/drawing/2014/main" id="{37207F6F-B98A-462D-B5FD-1F68976DFC04}"/>
              </a:ext>
            </a:extLst>
          </p:cNvPr>
          <p:cNvSpPr/>
          <p:nvPr/>
        </p:nvSpPr>
        <p:spPr bwMode="gray">
          <a:xfrm>
            <a:off x="923794" y="2279592"/>
            <a:ext cx="268766" cy="0"/>
          </a:xfrm>
          <a:custGeom>
            <a:avLst/>
            <a:gdLst>
              <a:gd name="connsiteX0" fmla="*/ 0 w 488950"/>
              <a:gd name="connsiteY0" fmla="*/ 0 h 0"/>
              <a:gd name="connsiteX1" fmla="*/ 488950 w 488950"/>
              <a:gd name="connsiteY1" fmla="*/ 0 h 0"/>
            </a:gdLst>
            <a:ahLst/>
            <a:cxnLst>
              <a:cxn ang="0">
                <a:pos x="connsiteX0" y="connsiteY0"/>
              </a:cxn>
              <a:cxn ang="0">
                <a:pos x="connsiteX1" y="connsiteY1"/>
              </a:cxn>
            </a:cxnLst>
            <a:rect l="l" t="t" r="r" b="b"/>
            <a:pathLst>
              <a:path w="488950">
                <a:moveTo>
                  <a:pt x="0" y="0"/>
                </a:moveTo>
                <a:lnTo>
                  <a:pt x="488950" y="0"/>
                </a:lnTo>
              </a:path>
            </a:pathLst>
          </a:custGeom>
          <a:noFill/>
          <a:ln w="28575"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220" name="TextBox 219">
            <a:extLst>
              <a:ext uri="{FF2B5EF4-FFF2-40B4-BE49-F238E27FC236}">
                <a16:creationId xmlns:a16="http://schemas.microsoft.com/office/drawing/2014/main" id="{C38417CC-F5BF-4820-9515-8E0CE35B3A3F}"/>
              </a:ext>
            </a:extLst>
          </p:cNvPr>
          <p:cNvSpPr txBox="1">
            <a:spLocks/>
          </p:cNvSpPr>
          <p:nvPr/>
        </p:nvSpPr>
        <p:spPr bwMode="gray">
          <a:xfrm>
            <a:off x="1990616" y="2201040"/>
            <a:ext cx="268085" cy="157104"/>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KIP</a:t>
            </a:r>
          </a:p>
        </p:txBody>
      </p:sp>
      <p:sp>
        <p:nvSpPr>
          <p:cNvPr id="221" name="Freeform: Shape 220">
            <a:extLst>
              <a:ext uri="{FF2B5EF4-FFF2-40B4-BE49-F238E27FC236}">
                <a16:creationId xmlns:a16="http://schemas.microsoft.com/office/drawing/2014/main" id="{8906D8B3-1B08-4AA1-B378-54DF37C7AB0B}"/>
              </a:ext>
            </a:extLst>
          </p:cNvPr>
          <p:cNvSpPr/>
          <p:nvPr/>
        </p:nvSpPr>
        <p:spPr bwMode="gray">
          <a:xfrm>
            <a:off x="1644080" y="2279592"/>
            <a:ext cx="268766" cy="0"/>
          </a:xfrm>
          <a:custGeom>
            <a:avLst/>
            <a:gdLst>
              <a:gd name="connsiteX0" fmla="*/ 0 w 488950"/>
              <a:gd name="connsiteY0" fmla="*/ 0 h 0"/>
              <a:gd name="connsiteX1" fmla="*/ 488950 w 488950"/>
              <a:gd name="connsiteY1" fmla="*/ 0 h 0"/>
            </a:gdLst>
            <a:ahLst/>
            <a:cxnLst>
              <a:cxn ang="0">
                <a:pos x="connsiteX0" y="connsiteY0"/>
              </a:cxn>
              <a:cxn ang="0">
                <a:pos x="connsiteX1" y="connsiteY1"/>
              </a:cxn>
            </a:cxnLst>
            <a:rect l="l" t="t" r="r" b="b"/>
            <a:pathLst>
              <a:path w="488950">
                <a:moveTo>
                  <a:pt x="0" y="0"/>
                </a:moveTo>
                <a:lnTo>
                  <a:pt x="488950" y="0"/>
                </a:lnTo>
              </a:path>
            </a:pathLst>
          </a:custGeom>
          <a:noFill/>
          <a:ln w="28575" cap="sq">
            <a:solidFill>
              <a:srgbClr val="FAA08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216" name="TextBox 215">
            <a:extLst>
              <a:ext uri="{FF2B5EF4-FFF2-40B4-BE49-F238E27FC236}">
                <a16:creationId xmlns:a16="http://schemas.microsoft.com/office/drawing/2014/main" id="{712156A0-FB64-4AD7-9D43-EA534F1360B0}"/>
              </a:ext>
            </a:extLst>
          </p:cNvPr>
          <p:cNvSpPr txBox="1">
            <a:spLocks/>
          </p:cNvSpPr>
          <p:nvPr/>
        </p:nvSpPr>
        <p:spPr bwMode="gray">
          <a:xfrm>
            <a:off x="2683010" y="2201040"/>
            <a:ext cx="1282687" cy="31420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Mid-&amp; low pressure lines</a:t>
            </a:r>
          </a:p>
        </p:txBody>
      </p:sp>
      <p:sp>
        <p:nvSpPr>
          <p:cNvPr id="217" name="Freeform: Shape 216">
            <a:extLst>
              <a:ext uri="{FF2B5EF4-FFF2-40B4-BE49-F238E27FC236}">
                <a16:creationId xmlns:a16="http://schemas.microsoft.com/office/drawing/2014/main" id="{241752FC-2D47-424D-80C3-0E8329C882F1}"/>
              </a:ext>
            </a:extLst>
          </p:cNvPr>
          <p:cNvSpPr/>
          <p:nvPr/>
        </p:nvSpPr>
        <p:spPr bwMode="gray">
          <a:xfrm>
            <a:off x="2336472" y="2279592"/>
            <a:ext cx="268767" cy="0"/>
          </a:xfrm>
          <a:custGeom>
            <a:avLst/>
            <a:gdLst>
              <a:gd name="connsiteX0" fmla="*/ 0 w 488950"/>
              <a:gd name="connsiteY0" fmla="*/ 0 h 0"/>
              <a:gd name="connsiteX1" fmla="*/ 488950 w 488950"/>
              <a:gd name="connsiteY1" fmla="*/ 0 h 0"/>
            </a:gdLst>
            <a:ahLst/>
            <a:cxnLst>
              <a:cxn ang="0">
                <a:pos x="connsiteX0" y="connsiteY0"/>
              </a:cxn>
              <a:cxn ang="0">
                <a:pos x="connsiteX1" y="connsiteY1"/>
              </a:cxn>
            </a:cxnLst>
            <a:rect l="l" t="t" r="r" b="b"/>
            <a:pathLst>
              <a:path w="488950">
                <a:moveTo>
                  <a:pt x="0" y="0"/>
                </a:moveTo>
                <a:lnTo>
                  <a:pt x="488950" y="0"/>
                </a:lnTo>
              </a:path>
            </a:pathLst>
          </a:custGeom>
          <a:noFill/>
          <a:ln w="2857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228" name="TextBox 227">
            <a:extLst>
              <a:ext uri="{FF2B5EF4-FFF2-40B4-BE49-F238E27FC236}">
                <a16:creationId xmlns:a16="http://schemas.microsoft.com/office/drawing/2014/main" id="{8B8CF0D7-8211-4C31-8F52-2F3427D679B1}"/>
              </a:ext>
            </a:extLst>
          </p:cNvPr>
          <p:cNvSpPr txBox="1">
            <a:spLocks/>
          </p:cNvSpPr>
          <p:nvPr/>
        </p:nvSpPr>
        <p:spPr bwMode="gray">
          <a:xfrm>
            <a:off x="1270331" y="1992487"/>
            <a:ext cx="295978" cy="157104"/>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TAG</a:t>
            </a:r>
          </a:p>
        </p:txBody>
      </p:sp>
      <p:sp>
        <p:nvSpPr>
          <p:cNvPr id="229" name="Freeform: Shape 228">
            <a:extLst>
              <a:ext uri="{FF2B5EF4-FFF2-40B4-BE49-F238E27FC236}">
                <a16:creationId xmlns:a16="http://schemas.microsoft.com/office/drawing/2014/main" id="{0AF0E23E-85FD-4F8E-8B2D-430A61E2155E}"/>
              </a:ext>
            </a:extLst>
          </p:cNvPr>
          <p:cNvSpPr/>
          <p:nvPr/>
        </p:nvSpPr>
        <p:spPr bwMode="gray">
          <a:xfrm>
            <a:off x="923794" y="2071039"/>
            <a:ext cx="268766" cy="0"/>
          </a:xfrm>
          <a:custGeom>
            <a:avLst/>
            <a:gdLst>
              <a:gd name="connsiteX0" fmla="*/ 0 w 488950"/>
              <a:gd name="connsiteY0" fmla="*/ 0 h 0"/>
              <a:gd name="connsiteX1" fmla="*/ 488950 w 488950"/>
              <a:gd name="connsiteY1" fmla="*/ 0 h 0"/>
            </a:gdLst>
            <a:ahLst/>
            <a:cxnLst>
              <a:cxn ang="0">
                <a:pos x="connsiteX0" y="connsiteY0"/>
              </a:cxn>
              <a:cxn ang="0">
                <a:pos x="connsiteX1" y="connsiteY1"/>
              </a:cxn>
            </a:cxnLst>
            <a:rect l="l" t="t" r="r" b="b"/>
            <a:pathLst>
              <a:path w="488950">
                <a:moveTo>
                  <a:pt x="0" y="0"/>
                </a:moveTo>
                <a:lnTo>
                  <a:pt x="488950" y="0"/>
                </a:lnTo>
              </a:path>
            </a:pathLst>
          </a:custGeom>
          <a:no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222" name="TextBox 221">
            <a:extLst>
              <a:ext uri="{FF2B5EF4-FFF2-40B4-BE49-F238E27FC236}">
                <a16:creationId xmlns:a16="http://schemas.microsoft.com/office/drawing/2014/main" id="{1EB42A60-640F-43E1-B7F4-7C12B96ABBBA}"/>
              </a:ext>
            </a:extLst>
          </p:cNvPr>
          <p:cNvSpPr txBox="1">
            <a:spLocks/>
          </p:cNvSpPr>
          <p:nvPr/>
        </p:nvSpPr>
        <p:spPr bwMode="gray">
          <a:xfrm>
            <a:off x="1990616" y="1992487"/>
            <a:ext cx="268085" cy="157104"/>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HAG</a:t>
            </a:r>
          </a:p>
        </p:txBody>
      </p:sp>
      <p:sp>
        <p:nvSpPr>
          <p:cNvPr id="223" name="Freeform: Shape 222">
            <a:extLst>
              <a:ext uri="{FF2B5EF4-FFF2-40B4-BE49-F238E27FC236}">
                <a16:creationId xmlns:a16="http://schemas.microsoft.com/office/drawing/2014/main" id="{9D136AD0-CE13-42CA-8529-DE359B172B27}"/>
              </a:ext>
            </a:extLst>
          </p:cNvPr>
          <p:cNvSpPr/>
          <p:nvPr/>
        </p:nvSpPr>
        <p:spPr bwMode="gray">
          <a:xfrm>
            <a:off x="1644080" y="2071039"/>
            <a:ext cx="268766" cy="0"/>
          </a:xfrm>
          <a:custGeom>
            <a:avLst/>
            <a:gdLst>
              <a:gd name="connsiteX0" fmla="*/ 0 w 488950"/>
              <a:gd name="connsiteY0" fmla="*/ 0 h 0"/>
              <a:gd name="connsiteX1" fmla="*/ 488950 w 488950"/>
              <a:gd name="connsiteY1" fmla="*/ 0 h 0"/>
            </a:gdLst>
            <a:ahLst/>
            <a:cxnLst>
              <a:cxn ang="0">
                <a:pos x="connsiteX0" y="connsiteY0"/>
              </a:cxn>
              <a:cxn ang="0">
                <a:pos x="connsiteX1" y="connsiteY1"/>
              </a:cxn>
            </a:cxnLst>
            <a:rect l="l" t="t" r="r" b="b"/>
            <a:pathLst>
              <a:path w="488950">
                <a:moveTo>
                  <a:pt x="0" y="0"/>
                </a:moveTo>
                <a:lnTo>
                  <a:pt x="488950" y="0"/>
                </a:lnTo>
              </a:path>
            </a:pathLst>
          </a:custGeom>
          <a:noFill/>
          <a:ln w="28575" cap="sq">
            <a:solidFill>
              <a:srgbClr val="FFC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231" name="TextBox 230">
            <a:extLst>
              <a:ext uri="{FF2B5EF4-FFF2-40B4-BE49-F238E27FC236}">
                <a16:creationId xmlns:a16="http://schemas.microsoft.com/office/drawing/2014/main" id="{0E42B010-8C94-41EB-896F-0615DE03025B}"/>
              </a:ext>
            </a:extLst>
          </p:cNvPr>
          <p:cNvSpPr txBox="1">
            <a:spLocks/>
          </p:cNvSpPr>
          <p:nvPr/>
        </p:nvSpPr>
        <p:spPr bwMode="gray">
          <a:xfrm>
            <a:off x="2683011" y="1992487"/>
            <a:ext cx="734520" cy="157104"/>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SOL</a:t>
            </a:r>
          </a:p>
        </p:txBody>
      </p:sp>
      <p:sp>
        <p:nvSpPr>
          <p:cNvPr id="232" name="Freeform: Shape 231">
            <a:extLst>
              <a:ext uri="{FF2B5EF4-FFF2-40B4-BE49-F238E27FC236}">
                <a16:creationId xmlns:a16="http://schemas.microsoft.com/office/drawing/2014/main" id="{0B742385-E732-4DD9-BD86-2A13E84A7E3A}"/>
              </a:ext>
            </a:extLst>
          </p:cNvPr>
          <p:cNvSpPr/>
          <p:nvPr/>
        </p:nvSpPr>
        <p:spPr bwMode="gray">
          <a:xfrm>
            <a:off x="2336472" y="2071039"/>
            <a:ext cx="268766" cy="0"/>
          </a:xfrm>
          <a:custGeom>
            <a:avLst/>
            <a:gdLst>
              <a:gd name="connsiteX0" fmla="*/ 0 w 488950"/>
              <a:gd name="connsiteY0" fmla="*/ 0 h 0"/>
              <a:gd name="connsiteX1" fmla="*/ 488950 w 488950"/>
              <a:gd name="connsiteY1" fmla="*/ 0 h 0"/>
            </a:gdLst>
            <a:ahLst/>
            <a:cxnLst>
              <a:cxn ang="0">
                <a:pos x="connsiteX0" y="connsiteY0"/>
              </a:cxn>
              <a:cxn ang="0">
                <a:pos x="connsiteX1" y="connsiteY1"/>
              </a:cxn>
            </a:cxnLst>
            <a:rect l="l" t="t" r="r" b="b"/>
            <a:pathLst>
              <a:path w="488950">
                <a:moveTo>
                  <a:pt x="0" y="0"/>
                </a:moveTo>
                <a:lnTo>
                  <a:pt x="488950" y="0"/>
                </a:lnTo>
              </a:path>
            </a:pathLst>
          </a:custGeom>
          <a:noFill/>
          <a:ln w="28575" cap="sq">
            <a:solidFill>
              <a:srgbClr val="FF99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7" name="Rectangle 78">
            <a:extLst>
              <a:ext uri="{FF2B5EF4-FFF2-40B4-BE49-F238E27FC236}">
                <a16:creationId xmlns:a16="http://schemas.microsoft.com/office/drawing/2014/main" id="{3D903CFA-6D85-4EFB-90F8-D5B9227461EF}"/>
              </a:ext>
            </a:extLst>
          </p:cNvPr>
          <p:cNvSpPr>
            <a:spLocks noChangeArrowheads="1"/>
          </p:cNvSpPr>
          <p:nvPr/>
        </p:nvSpPr>
        <p:spPr bwMode="gray">
          <a:xfrm>
            <a:off x="1195264" y="2761100"/>
            <a:ext cx="705553" cy="312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Entry/exit points</a:t>
            </a:r>
          </a:p>
        </p:txBody>
      </p:sp>
      <p:grpSp>
        <p:nvGrpSpPr>
          <p:cNvPr id="305" name="Group 304">
            <a:extLst>
              <a:ext uri="{FF2B5EF4-FFF2-40B4-BE49-F238E27FC236}">
                <a16:creationId xmlns:a16="http://schemas.microsoft.com/office/drawing/2014/main" id="{EF0751BE-7376-492F-AEFF-5CAAACFABCA2}"/>
              </a:ext>
            </a:extLst>
          </p:cNvPr>
          <p:cNvGrpSpPr/>
          <p:nvPr/>
        </p:nvGrpSpPr>
        <p:grpSpPr bwMode="gray">
          <a:xfrm>
            <a:off x="922816" y="2753786"/>
            <a:ext cx="167725" cy="171732"/>
            <a:chOff x="-3166629" y="2914650"/>
            <a:chExt cx="3788929" cy="3797839"/>
          </a:xfrm>
          <a:solidFill>
            <a:schemeClr val="tx1">
              <a:lumMod val="65000"/>
              <a:lumOff val="35000"/>
            </a:schemeClr>
          </a:solidFill>
        </p:grpSpPr>
        <p:sp>
          <p:nvSpPr>
            <p:cNvPr id="306" name="Oval 68">
              <a:extLst>
                <a:ext uri="{FF2B5EF4-FFF2-40B4-BE49-F238E27FC236}">
                  <a16:creationId xmlns:a16="http://schemas.microsoft.com/office/drawing/2014/main" id="{ADE1370F-460E-4F07-AAAB-E3DAC0B64FAC}"/>
                </a:ext>
              </a:extLst>
            </p:cNvPr>
            <p:cNvSpPr/>
            <p:nvPr/>
          </p:nvSpPr>
          <p:spPr bwMode="gray">
            <a:xfrm>
              <a:off x="-2676410" y="3416300"/>
              <a:ext cx="2805970" cy="2805970"/>
            </a:xfrm>
            <a:custGeom>
              <a:avLst/>
              <a:gdLst/>
              <a:ahLst/>
              <a:cxnLst/>
              <a:rect l="l" t="t" r="r" b="b"/>
              <a:pathLst>
                <a:path w="2805970" h="2805970">
                  <a:moveTo>
                    <a:pt x="1402985" y="0"/>
                  </a:moveTo>
                  <a:cubicBezTo>
                    <a:pt x="1729064" y="0"/>
                    <a:pt x="2029161" y="111242"/>
                    <a:pt x="2266617" y="298840"/>
                  </a:cubicBezTo>
                  <a:lnTo>
                    <a:pt x="1990373" y="572059"/>
                  </a:lnTo>
                  <a:cubicBezTo>
                    <a:pt x="1824790" y="453775"/>
                    <a:pt x="1621959" y="384660"/>
                    <a:pt x="1402985" y="384660"/>
                  </a:cubicBezTo>
                  <a:cubicBezTo>
                    <a:pt x="840580" y="384660"/>
                    <a:pt x="384660" y="840580"/>
                    <a:pt x="384660" y="1402985"/>
                  </a:cubicBezTo>
                  <a:cubicBezTo>
                    <a:pt x="384660" y="1965390"/>
                    <a:pt x="840580" y="2421310"/>
                    <a:pt x="1402985" y="2421310"/>
                  </a:cubicBezTo>
                  <a:cubicBezTo>
                    <a:pt x="1965390" y="2421310"/>
                    <a:pt x="2421310" y="1965390"/>
                    <a:pt x="2421310" y="1402985"/>
                  </a:cubicBezTo>
                  <a:cubicBezTo>
                    <a:pt x="2421310" y="1184409"/>
                    <a:pt x="2352446" y="981918"/>
                    <a:pt x="2234575" y="816485"/>
                  </a:cubicBezTo>
                  <a:lnTo>
                    <a:pt x="2509088" y="541972"/>
                  </a:lnTo>
                  <a:cubicBezTo>
                    <a:pt x="2695529" y="778973"/>
                    <a:pt x="2805970" y="1078082"/>
                    <a:pt x="2805970" y="1402985"/>
                  </a:cubicBezTo>
                  <a:cubicBezTo>
                    <a:pt x="2805970" y="2177832"/>
                    <a:pt x="2177832" y="2805970"/>
                    <a:pt x="1402985" y="2805970"/>
                  </a:cubicBezTo>
                  <a:cubicBezTo>
                    <a:pt x="628138" y="2805970"/>
                    <a:pt x="0" y="2177832"/>
                    <a:pt x="0" y="1402985"/>
                  </a:cubicBezTo>
                  <a:cubicBezTo>
                    <a:pt x="0" y="628138"/>
                    <a:pt x="628138" y="0"/>
                    <a:pt x="1402985" y="0"/>
                  </a:cubicBezTo>
                  <a:close/>
                </a:path>
              </a:pathLst>
            </a:custGeom>
            <a:solidFill>
              <a:srgbClr val="FF3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307" name="Oval 70">
              <a:extLst>
                <a:ext uri="{FF2B5EF4-FFF2-40B4-BE49-F238E27FC236}">
                  <a16:creationId xmlns:a16="http://schemas.microsoft.com/office/drawing/2014/main" id="{92A8085B-00B3-4EEF-977C-D24C1AAF1507}"/>
                </a:ext>
              </a:extLst>
            </p:cNvPr>
            <p:cNvSpPr/>
            <p:nvPr/>
          </p:nvSpPr>
          <p:spPr bwMode="gray">
            <a:xfrm>
              <a:off x="-1946160" y="4146550"/>
              <a:ext cx="1345470" cy="1345470"/>
            </a:xfrm>
            <a:custGeom>
              <a:avLst/>
              <a:gdLst/>
              <a:ahLst/>
              <a:cxnLst/>
              <a:rect l="l" t="t" r="r" b="b"/>
              <a:pathLst>
                <a:path w="1345470" h="1345470">
                  <a:moveTo>
                    <a:pt x="672735" y="0"/>
                  </a:moveTo>
                  <a:cubicBezTo>
                    <a:pt x="795004" y="0"/>
                    <a:pt x="909654" y="32619"/>
                    <a:pt x="1006995" y="92165"/>
                  </a:cubicBezTo>
                  <a:lnTo>
                    <a:pt x="737771" y="358442"/>
                  </a:lnTo>
                  <a:cubicBezTo>
                    <a:pt x="716774" y="354082"/>
                    <a:pt x="695020" y="351810"/>
                    <a:pt x="672735" y="351810"/>
                  </a:cubicBezTo>
                  <a:cubicBezTo>
                    <a:pt x="495493" y="351810"/>
                    <a:pt x="351810" y="495493"/>
                    <a:pt x="351810" y="672735"/>
                  </a:cubicBezTo>
                  <a:cubicBezTo>
                    <a:pt x="351810" y="849977"/>
                    <a:pt x="495493" y="993660"/>
                    <a:pt x="672735" y="993660"/>
                  </a:cubicBezTo>
                  <a:cubicBezTo>
                    <a:pt x="849977" y="993660"/>
                    <a:pt x="993660" y="849977"/>
                    <a:pt x="993660" y="672735"/>
                  </a:cubicBezTo>
                  <a:cubicBezTo>
                    <a:pt x="993660" y="649301"/>
                    <a:pt x="991148" y="626452"/>
                    <a:pt x="986041" y="604519"/>
                  </a:cubicBezTo>
                  <a:lnTo>
                    <a:pt x="1252876" y="337685"/>
                  </a:lnTo>
                  <a:cubicBezTo>
                    <a:pt x="1312679" y="435211"/>
                    <a:pt x="1345470" y="550144"/>
                    <a:pt x="1345470" y="672735"/>
                  </a:cubicBezTo>
                  <a:cubicBezTo>
                    <a:pt x="1345470" y="1044276"/>
                    <a:pt x="1044276" y="1345470"/>
                    <a:pt x="672735" y="1345470"/>
                  </a:cubicBezTo>
                  <a:cubicBezTo>
                    <a:pt x="301194" y="1345470"/>
                    <a:pt x="0" y="1044276"/>
                    <a:pt x="0" y="672735"/>
                  </a:cubicBezTo>
                  <a:cubicBezTo>
                    <a:pt x="0" y="301194"/>
                    <a:pt x="301194" y="0"/>
                    <a:pt x="672735" y="0"/>
                  </a:cubicBezTo>
                  <a:close/>
                </a:path>
              </a:pathLst>
            </a:custGeom>
            <a:solidFill>
              <a:srgbClr val="FF3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308" name="Freeform 173">
              <a:extLst>
                <a:ext uri="{FF2B5EF4-FFF2-40B4-BE49-F238E27FC236}">
                  <a16:creationId xmlns:a16="http://schemas.microsoft.com/office/drawing/2014/main" id="{3F44DA4B-07E3-416E-9A5E-AA8409485054}"/>
                </a:ext>
              </a:extLst>
            </p:cNvPr>
            <p:cNvSpPr/>
            <p:nvPr/>
          </p:nvSpPr>
          <p:spPr bwMode="gray">
            <a:xfrm>
              <a:off x="-3166629" y="2914650"/>
              <a:ext cx="3788929" cy="3797839"/>
            </a:xfrm>
            <a:custGeom>
              <a:avLst/>
              <a:gdLst/>
              <a:ahLst/>
              <a:cxnLst/>
              <a:rect l="l" t="t" r="r" b="b"/>
              <a:pathLst>
                <a:path w="3788929" h="3797839">
                  <a:moveTo>
                    <a:pt x="1893204" y="139700"/>
                  </a:moveTo>
                  <a:cubicBezTo>
                    <a:pt x="918457" y="139700"/>
                    <a:pt x="128269" y="929888"/>
                    <a:pt x="128269" y="1904635"/>
                  </a:cubicBezTo>
                  <a:cubicBezTo>
                    <a:pt x="128269" y="2879382"/>
                    <a:pt x="918457" y="3669570"/>
                    <a:pt x="1893204" y="3669570"/>
                  </a:cubicBezTo>
                  <a:cubicBezTo>
                    <a:pt x="2867951" y="3669570"/>
                    <a:pt x="3658139" y="2879382"/>
                    <a:pt x="3658139" y="1904635"/>
                  </a:cubicBezTo>
                  <a:cubicBezTo>
                    <a:pt x="3658139" y="1479682"/>
                    <a:pt x="3507953" y="1089806"/>
                    <a:pt x="3257614" y="785315"/>
                  </a:cubicBezTo>
                  <a:lnTo>
                    <a:pt x="3265256" y="777673"/>
                  </a:lnTo>
                  <a:cubicBezTo>
                    <a:pt x="3230347" y="788290"/>
                    <a:pt x="3193216" y="797789"/>
                    <a:pt x="3153929" y="806450"/>
                  </a:cubicBezTo>
                  <a:lnTo>
                    <a:pt x="3103129" y="768350"/>
                  </a:lnTo>
                  <a:lnTo>
                    <a:pt x="1941079" y="1949450"/>
                  </a:lnTo>
                  <a:lnTo>
                    <a:pt x="1839479" y="1847850"/>
                  </a:lnTo>
                  <a:lnTo>
                    <a:pt x="3033279" y="679450"/>
                  </a:lnTo>
                  <a:lnTo>
                    <a:pt x="2982479" y="628650"/>
                  </a:lnTo>
                  <a:cubicBezTo>
                    <a:pt x="2988674" y="596200"/>
                    <a:pt x="2995883" y="564896"/>
                    <a:pt x="3005965" y="535341"/>
                  </a:cubicBezTo>
                  <a:cubicBezTo>
                    <a:pt x="2702644" y="287818"/>
                    <a:pt x="2315221" y="139700"/>
                    <a:pt x="1893204" y="139700"/>
                  </a:cubicBezTo>
                  <a:close/>
                  <a:moveTo>
                    <a:pt x="3693679" y="0"/>
                  </a:moveTo>
                  <a:lnTo>
                    <a:pt x="3788929" y="82550"/>
                  </a:lnTo>
                  <a:lnTo>
                    <a:pt x="3623829" y="266700"/>
                  </a:lnTo>
                  <a:lnTo>
                    <a:pt x="3712729" y="342900"/>
                  </a:lnTo>
                  <a:cubicBezTo>
                    <a:pt x="3797590" y="418063"/>
                    <a:pt x="3712231" y="610562"/>
                    <a:pt x="3382105" y="738150"/>
                  </a:cubicBezTo>
                  <a:cubicBezTo>
                    <a:pt x="3635926" y="1058665"/>
                    <a:pt x="3786408" y="1464077"/>
                    <a:pt x="3786408" y="1904635"/>
                  </a:cubicBezTo>
                  <a:cubicBezTo>
                    <a:pt x="3786408" y="2950223"/>
                    <a:pt x="2938792" y="3797839"/>
                    <a:pt x="1893204" y="3797839"/>
                  </a:cubicBezTo>
                  <a:cubicBezTo>
                    <a:pt x="847616" y="3797839"/>
                    <a:pt x="0" y="2950223"/>
                    <a:pt x="0" y="1904635"/>
                  </a:cubicBezTo>
                  <a:cubicBezTo>
                    <a:pt x="0" y="859047"/>
                    <a:pt x="847616" y="11431"/>
                    <a:pt x="1893204" y="11431"/>
                  </a:cubicBezTo>
                  <a:cubicBezTo>
                    <a:pt x="2328659" y="11431"/>
                    <a:pt x="2729777" y="158447"/>
                    <a:pt x="3048253" y="407298"/>
                  </a:cubicBezTo>
                  <a:cubicBezTo>
                    <a:pt x="3152991" y="138341"/>
                    <a:pt x="3329949" y="6978"/>
                    <a:pt x="3433329" y="82550"/>
                  </a:cubicBezTo>
                  <a:lnTo>
                    <a:pt x="3534929" y="165100"/>
                  </a:lnTo>
                  <a:close/>
                </a:path>
              </a:pathLst>
            </a:cu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grpSp>
      <p:grpSp>
        <p:nvGrpSpPr>
          <p:cNvPr id="36" name="Group 35">
            <a:extLst>
              <a:ext uri="{FF2B5EF4-FFF2-40B4-BE49-F238E27FC236}">
                <a16:creationId xmlns:a16="http://schemas.microsoft.com/office/drawing/2014/main" id="{F1DE928C-9143-4A56-B285-D012A110C840}"/>
              </a:ext>
            </a:extLst>
          </p:cNvPr>
          <p:cNvGrpSpPr/>
          <p:nvPr/>
        </p:nvGrpSpPr>
        <p:grpSpPr>
          <a:xfrm>
            <a:off x="838799" y="3146127"/>
            <a:ext cx="335759" cy="1033064"/>
            <a:chOff x="-5017375" y="3270157"/>
            <a:chExt cx="347325" cy="1011916"/>
          </a:xfrm>
        </p:grpSpPr>
        <p:sp>
          <p:nvSpPr>
            <p:cNvPr id="52" name="Freeform 73">
              <a:extLst>
                <a:ext uri="{FF2B5EF4-FFF2-40B4-BE49-F238E27FC236}">
                  <a16:creationId xmlns:a16="http://schemas.microsoft.com/office/drawing/2014/main" id="{128CE781-40F9-4453-9620-95224E54510F}"/>
                </a:ext>
              </a:extLst>
            </p:cNvPr>
            <p:cNvSpPr>
              <a:spLocks/>
            </p:cNvSpPr>
            <p:nvPr/>
          </p:nvSpPr>
          <p:spPr bwMode="gray">
            <a:xfrm>
              <a:off x="-4891308" y="3270157"/>
              <a:ext cx="95191" cy="92075"/>
            </a:xfrm>
            <a:custGeom>
              <a:avLst/>
              <a:gdLst>
                <a:gd name="T0" fmla="*/ 0 w 58"/>
                <a:gd name="T1" fmla="*/ 0 h 58"/>
                <a:gd name="T2" fmla="*/ 58 w 58"/>
                <a:gd name="T3" fmla="*/ 0 h 58"/>
                <a:gd name="T4" fmla="*/ 58 w 58"/>
                <a:gd name="T5" fmla="*/ 58 h 58"/>
                <a:gd name="T6" fmla="*/ 0 w 58"/>
                <a:gd name="T7" fmla="*/ 58 h 58"/>
                <a:gd name="T8" fmla="*/ 0 w 58"/>
                <a:gd name="T9" fmla="*/ 0 h 58"/>
                <a:gd name="T10" fmla="*/ 0 w 58"/>
                <a:gd name="T11" fmla="*/ 0 h 58"/>
                <a:gd name="T12" fmla="*/ 0 w 58"/>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58" h="58">
                  <a:moveTo>
                    <a:pt x="0" y="0"/>
                  </a:moveTo>
                  <a:lnTo>
                    <a:pt x="58" y="0"/>
                  </a:lnTo>
                  <a:lnTo>
                    <a:pt x="58" y="58"/>
                  </a:lnTo>
                  <a:lnTo>
                    <a:pt x="0" y="58"/>
                  </a:lnTo>
                  <a:lnTo>
                    <a:pt x="0" y="0"/>
                  </a:lnTo>
                  <a:lnTo>
                    <a:pt x="0" y="0"/>
                  </a:lnTo>
                  <a:lnTo>
                    <a:pt x="0" y="0"/>
                  </a:lnTo>
                  <a:close/>
                </a:path>
              </a:pathLst>
            </a:custGeom>
            <a:solidFill>
              <a:srgbClr val="000850"/>
            </a:solidFill>
            <a:ln w="1588"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54" name="Oval 75">
              <a:extLst>
                <a:ext uri="{FF2B5EF4-FFF2-40B4-BE49-F238E27FC236}">
                  <a16:creationId xmlns:a16="http://schemas.microsoft.com/office/drawing/2014/main" id="{BE1292C9-B24D-454E-B5D7-8B9FCD63731A}"/>
                </a:ext>
              </a:extLst>
            </p:cNvPr>
            <p:cNvSpPr>
              <a:spLocks noChangeArrowheads="1"/>
            </p:cNvSpPr>
            <p:nvPr/>
          </p:nvSpPr>
          <p:spPr bwMode="gray">
            <a:xfrm>
              <a:off x="-4891309" y="3487709"/>
              <a:ext cx="95192" cy="92075"/>
            </a:xfrm>
            <a:prstGeom prst="ellipse">
              <a:avLst/>
            </a:prstGeom>
            <a:solidFill>
              <a:schemeClr val="accent5"/>
            </a:solid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pic>
          <p:nvPicPr>
            <p:cNvPr id="671" name="DoubleArrow 84">
              <a:extLst>
                <a:ext uri="{FF2B5EF4-FFF2-40B4-BE49-F238E27FC236}">
                  <a16:creationId xmlns:a16="http://schemas.microsoft.com/office/drawing/2014/main" id="{6EC3BA98-EBD6-4009-ABCA-2E1667133744}"/>
                </a:ext>
              </a:extLst>
            </p:cNvPr>
            <p:cNvPicPr>
              <a:picLocks noChangeAspect="1"/>
            </p:cNvPicPr>
            <p:nvPr>
              <p:custDataLst>
                <p:tags r:id="rId13"/>
              </p:custDataLst>
            </p:nvPr>
          </p:nvPicPr>
          <p:blipFill>
            <a:blip r:embed="rId20">
              <a:extLst>
                <a:ext uri="{96DAC541-7B7A-43D3-8B79-37D633B846F1}">
                  <asvg:svgBlip xmlns:asvg="http://schemas.microsoft.com/office/drawing/2016/SVG/main" r:embed="rId21"/>
                </a:ext>
              </a:extLst>
            </a:blip>
            <a:stretch>
              <a:fillRect/>
            </a:stretch>
          </p:blipFill>
          <p:spPr>
            <a:xfrm>
              <a:off x="-5017375" y="3577693"/>
              <a:ext cx="347325" cy="347325"/>
            </a:xfrm>
            <a:prstGeom prst="rect">
              <a:avLst/>
            </a:prstGeom>
          </p:spPr>
        </p:pic>
        <p:pic>
          <p:nvPicPr>
            <p:cNvPr id="675" name="StatusGauge 8">
              <a:extLst>
                <a:ext uri="{FF2B5EF4-FFF2-40B4-BE49-F238E27FC236}">
                  <a16:creationId xmlns:a16="http://schemas.microsoft.com/office/drawing/2014/main" id="{868001E5-DF7A-48B0-83CB-F163CF16F3FA}"/>
                </a:ext>
              </a:extLst>
            </p:cNvPr>
            <p:cNvPicPr>
              <a:picLocks noChangeAspect="1"/>
            </p:cNvPicPr>
            <p:nvPr>
              <p:custDataLst>
                <p:tags r:id="rId14"/>
              </p:custDataLst>
            </p:nvPr>
          </p:nvPicPr>
          <p:blipFill>
            <a:blip r:embed="rId22">
              <a:extLst>
                <a:ext uri="{96DAC541-7B7A-43D3-8B79-37D633B846F1}">
                  <asvg:svgBlip xmlns:asvg="http://schemas.microsoft.com/office/drawing/2016/SVG/main" r:embed="rId23"/>
                </a:ext>
              </a:extLst>
            </a:blip>
            <a:stretch>
              <a:fillRect/>
            </a:stretch>
          </p:blipFill>
          <p:spPr>
            <a:xfrm rot="10800000">
              <a:off x="-4980872" y="3805149"/>
              <a:ext cx="274320" cy="274320"/>
            </a:xfrm>
            <a:prstGeom prst="rect">
              <a:avLst/>
            </a:prstGeom>
          </p:spPr>
        </p:pic>
        <p:pic>
          <p:nvPicPr>
            <p:cNvPr id="677" name="StatusGauge 8">
              <a:extLst>
                <a:ext uri="{FF2B5EF4-FFF2-40B4-BE49-F238E27FC236}">
                  <a16:creationId xmlns:a16="http://schemas.microsoft.com/office/drawing/2014/main" id="{4E1643B5-B673-4637-B97E-93EDA9ED6420}"/>
                </a:ext>
              </a:extLst>
            </p:cNvPr>
            <p:cNvPicPr>
              <a:picLocks noChangeAspect="1"/>
            </p:cNvPicPr>
            <p:nvPr>
              <p:custDataLst>
                <p:tags r:id="rId15"/>
              </p:custDataLst>
            </p:nvPr>
          </p:nvPicPr>
          <p:blipFill>
            <a:blip r:embed="rId24">
              <a:extLst>
                <a:ext uri="{96DAC541-7B7A-43D3-8B79-37D633B846F1}">
                  <asvg:svgBlip xmlns:asvg="http://schemas.microsoft.com/office/drawing/2016/SVG/main" r:embed="rId25"/>
                </a:ext>
              </a:extLst>
            </a:blip>
            <a:stretch>
              <a:fillRect/>
            </a:stretch>
          </p:blipFill>
          <p:spPr>
            <a:xfrm rot="10800000">
              <a:off x="-4980872" y="4007753"/>
              <a:ext cx="274320" cy="274320"/>
            </a:xfrm>
            <a:prstGeom prst="rect">
              <a:avLst/>
            </a:prstGeom>
          </p:spPr>
        </p:pic>
      </p:grpSp>
      <p:sp>
        <p:nvSpPr>
          <p:cNvPr id="53" name="Rectangle 74">
            <a:extLst>
              <a:ext uri="{FF2B5EF4-FFF2-40B4-BE49-F238E27FC236}">
                <a16:creationId xmlns:a16="http://schemas.microsoft.com/office/drawing/2014/main" id="{DBD1812C-61EE-4DAF-AD53-F9C676E3542A}"/>
              </a:ext>
            </a:extLst>
          </p:cNvPr>
          <p:cNvSpPr>
            <a:spLocks noChangeArrowheads="1"/>
          </p:cNvSpPr>
          <p:nvPr/>
        </p:nvSpPr>
        <p:spPr bwMode="gray">
          <a:xfrm>
            <a:off x="1195265" y="3114574"/>
            <a:ext cx="544126" cy="157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Städte</a:t>
            </a:r>
          </a:p>
        </p:txBody>
      </p:sp>
      <p:sp>
        <p:nvSpPr>
          <p:cNvPr id="55" name="Rectangle 76">
            <a:extLst>
              <a:ext uri="{FF2B5EF4-FFF2-40B4-BE49-F238E27FC236}">
                <a16:creationId xmlns:a16="http://schemas.microsoft.com/office/drawing/2014/main" id="{46050170-6C6E-4A52-A344-37E5B45B310B}"/>
              </a:ext>
            </a:extLst>
          </p:cNvPr>
          <p:cNvSpPr>
            <a:spLocks noChangeArrowheads="1"/>
          </p:cNvSpPr>
          <p:nvPr/>
        </p:nvSpPr>
        <p:spPr bwMode="gray">
          <a:xfrm>
            <a:off x="1195264" y="3336673"/>
            <a:ext cx="960420" cy="157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Großverbaucher</a:t>
            </a:r>
          </a:p>
        </p:txBody>
      </p:sp>
      <p:sp>
        <p:nvSpPr>
          <p:cNvPr id="672" name="Rectangle 76">
            <a:extLst>
              <a:ext uri="{FF2B5EF4-FFF2-40B4-BE49-F238E27FC236}">
                <a16:creationId xmlns:a16="http://schemas.microsoft.com/office/drawing/2014/main" id="{460733E7-9C26-433E-95F2-A4A85A5EEC99}"/>
              </a:ext>
            </a:extLst>
          </p:cNvPr>
          <p:cNvSpPr>
            <a:spLocks noChangeArrowheads="1"/>
          </p:cNvSpPr>
          <p:nvPr/>
        </p:nvSpPr>
        <p:spPr bwMode="gray">
          <a:xfrm>
            <a:off x="1195265" y="3562549"/>
            <a:ext cx="681780" cy="157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Entry/Exit</a:t>
            </a:r>
          </a:p>
        </p:txBody>
      </p:sp>
      <p:sp>
        <p:nvSpPr>
          <p:cNvPr id="676" name="Rectangle 76">
            <a:extLst>
              <a:ext uri="{FF2B5EF4-FFF2-40B4-BE49-F238E27FC236}">
                <a16:creationId xmlns:a16="http://schemas.microsoft.com/office/drawing/2014/main" id="{2824A474-7EF1-49FC-8BBE-992731AFA14B}"/>
              </a:ext>
            </a:extLst>
          </p:cNvPr>
          <p:cNvSpPr>
            <a:spLocks noChangeArrowheads="1"/>
          </p:cNvSpPr>
          <p:nvPr/>
        </p:nvSpPr>
        <p:spPr bwMode="gray">
          <a:xfrm>
            <a:off x="1195265" y="3763767"/>
            <a:ext cx="544126" cy="157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Exit</a:t>
            </a:r>
          </a:p>
        </p:txBody>
      </p:sp>
      <p:sp>
        <p:nvSpPr>
          <p:cNvPr id="678" name="Rectangle 76">
            <a:extLst>
              <a:ext uri="{FF2B5EF4-FFF2-40B4-BE49-F238E27FC236}">
                <a16:creationId xmlns:a16="http://schemas.microsoft.com/office/drawing/2014/main" id="{4E3DB6AF-1FA1-4631-B077-29BE148184B7}"/>
              </a:ext>
            </a:extLst>
          </p:cNvPr>
          <p:cNvSpPr>
            <a:spLocks noChangeArrowheads="1"/>
          </p:cNvSpPr>
          <p:nvPr/>
        </p:nvSpPr>
        <p:spPr bwMode="gray">
          <a:xfrm>
            <a:off x="1195265" y="3970605"/>
            <a:ext cx="544126" cy="157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Entry</a:t>
            </a:r>
          </a:p>
        </p:txBody>
      </p:sp>
      <p:sp>
        <p:nvSpPr>
          <p:cNvPr id="695" name="Rectangle 76">
            <a:extLst>
              <a:ext uri="{FF2B5EF4-FFF2-40B4-BE49-F238E27FC236}">
                <a16:creationId xmlns:a16="http://schemas.microsoft.com/office/drawing/2014/main" id="{383271D0-653F-4DC3-B375-4F833E0A9826}"/>
              </a:ext>
            </a:extLst>
          </p:cNvPr>
          <p:cNvSpPr>
            <a:spLocks noChangeArrowheads="1"/>
          </p:cNvSpPr>
          <p:nvPr/>
        </p:nvSpPr>
        <p:spPr bwMode="gray">
          <a:xfrm>
            <a:off x="1195266" y="4196017"/>
            <a:ext cx="647012" cy="471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Entry/Exi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Kapazitä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GWh/d)</a:t>
            </a:r>
          </a:p>
        </p:txBody>
      </p:sp>
      <p:sp>
        <p:nvSpPr>
          <p:cNvPr id="696" name="Rectangle 76">
            <a:extLst>
              <a:ext uri="{FF2B5EF4-FFF2-40B4-BE49-F238E27FC236}">
                <a16:creationId xmlns:a16="http://schemas.microsoft.com/office/drawing/2014/main" id="{B0652746-CAFA-44E1-864A-38FA367EFC25}"/>
              </a:ext>
            </a:extLst>
          </p:cNvPr>
          <p:cNvSpPr>
            <a:spLocks noChangeArrowheads="1"/>
          </p:cNvSpPr>
          <p:nvPr/>
        </p:nvSpPr>
        <p:spPr bwMode="gray">
          <a:xfrm>
            <a:off x="962278" y="4196017"/>
            <a:ext cx="528422" cy="157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xx</a:t>
            </a:r>
          </a:p>
        </p:txBody>
      </p:sp>
      <p:sp>
        <p:nvSpPr>
          <p:cNvPr id="174" name="Freeform 19">
            <a:extLst>
              <a:ext uri="{FF2B5EF4-FFF2-40B4-BE49-F238E27FC236}">
                <a16:creationId xmlns:a16="http://schemas.microsoft.com/office/drawing/2014/main" id="{EBF5CF5F-C974-4D63-B189-F39BF4282D65}"/>
              </a:ext>
            </a:extLst>
          </p:cNvPr>
          <p:cNvSpPr>
            <a:spLocks/>
          </p:cNvSpPr>
          <p:nvPr/>
        </p:nvSpPr>
        <p:spPr bwMode="gray">
          <a:xfrm>
            <a:off x="5428395" y="4790773"/>
            <a:ext cx="2824567" cy="1369354"/>
          </a:xfrm>
          <a:custGeom>
            <a:avLst/>
            <a:gdLst>
              <a:gd name="T0" fmla="*/ 896 w 1771"/>
              <a:gd name="T1" fmla="*/ 229 h 813"/>
              <a:gd name="T2" fmla="*/ 955 w 1771"/>
              <a:gd name="T3" fmla="*/ 188 h 813"/>
              <a:gd name="T4" fmla="*/ 1017 w 1771"/>
              <a:gd name="T5" fmla="*/ 135 h 813"/>
              <a:gd name="T6" fmla="*/ 1090 w 1771"/>
              <a:gd name="T7" fmla="*/ 80 h 813"/>
              <a:gd name="T8" fmla="*/ 1160 w 1771"/>
              <a:gd name="T9" fmla="*/ 115 h 813"/>
              <a:gd name="T10" fmla="*/ 1240 w 1771"/>
              <a:gd name="T11" fmla="*/ 115 h 813"/>
              <a:gd name="T12" fmla="*/ 1278 w 1771"/>
              <a:gd name="T13" fmla="*/ 163 h 813"/>
              <a:gd name="T14" fmla="*/ 1330 w 1771"/>
              <a:gd name="T15" fmla="*/ 132 h 813"/>
              <a:gd name="T16" fmla="*/ 1413 w 1771"/>
              <a:gd name="T17" fmla="*/ 129 h 813"/>
              <a:gd name="T18" fmla="*/ 1514 w 1771"/>
              <a:gd name="T19" fmla="*/ 122 h 813"/>
              <a:gd name="T20" fmla="*/ 1608 w 1771"/>
              <a:gd name="T21" fmla="*/ 101 h 813"/>
              <a:gd name="T22" fmla="*/ 1712 w 1771"/>
              <a:gd name="T23" fmla="*/ 191 h 813"/>
              <a:gd name="T24" fmla="*/ 1729 w 1771"/>
              <a:gd name="T25" fmla="*/ 288 h 813"/>
              <a:gd name="T26" fmla="*/ 1729 w 1771"/>
              <a:gd name="T27" fmla="*/ 382 h 813"/>
              <a:gd name="T28" fmla="*/ 1740 w 1771"/>
              <a:gd name="T29" fmla="*/ 490 h 813"/>
              <a:gd name="T30" fmla="*/ 1736 w 1771"/>
              <a:gd name="T31" fmla="*/ 528 h 813"/>
              <a:gd name="T32" fmla="*/ 1698 w 1771"/>
              <a:gd name="T33" fmla="*/ 542 h 813"/>
              <a:gd name="T34" fmla="*/ 1653 w 1771"/>
              <a:gd name="T35" fmla="*/ 566 h 813"/>
              <a:gd name="T36" fmla="*/ 1601 w 1771"/>
              <a:gd name="T37" fmla="*/ 611 h 813"/>
              <a:gd name="T38" fmla="*/ 1580 w 1771"/>
              <a:gd name="T39" fmla="*/ 670 h 813"/>
              <a:gd name="T40" fmla="*/ 1521 w 1771"/>
              <a:gd name="T41" fmla="*/ 684 h 813"/>
              <a:gd name="T42" fmla="*/ 1486 w 1771"/>
              <a:gd name="T43" fmla="*/ 726 h 813"/>
              <a:gd name="T44" fmla="*/ 1420 w 1771"/>
              <a:gd name="T45" fmla="*/ 767 h 813"/>
              <a:gd name="T46" fmla="*/ 1389 w 1771"/>
              <a:gd name="T47" fmla="*/ 785 h 813"/>
              <a:gd name="T48" fmla="*/ 1337 w 1771"/>
              <a:gd name="T49" fmla="*/ 764 h 813"/>
              <a:gd name="T50" fmla="*/ 1278 w 1771"/>
              <a:gd name="T51" fmla="*/ 740 h 813"/>
              <a:gd name="T52" fmla="*/ 1201 w 1771"/>
              <a:gd name="T53" fmla="*/ 740 h 813"/>
              <a:gd name="T54" fmla="*/ 1129 w 1771"/>
              <a:gd name="T55" fmla="*/ 740 h 813"/>
              <a:gd name="T56" fmla="*/ 1073 w 1771"/>
              <a:gd name="T57" fmla="*/ 701 h 813"/>
              <a:gd name="T58" fmla="*/ 1004 w 1771"/>
              <a:gd name="T59" fmla="*/ 695 h 813"/>
              <a:gd name="T60" fmla="*/ 931 w 1771"/>
              <a:gd name="T61" fmla="*/ 656 h 813"/>
              <a:gd name="T62" fmla="*/ 858 w 1771"/>
              <a:gd name="T63" fmla="*/ 667 h 813"/>
              <a:gd name="T64" fmla="*/ 792 w 1771"/>
              <a:gd name="T65" fmla="*/ 656 h 813"/>
              <a:gd name="T66" fmla="*/ 715 w 1771"/>
              <a:gd name="T67" fmla="*/ 632 h 813"/>
              <a:gd name="T68" fmla="*/ 649 w 1771"/>
              <a:gd name="T69" fmla="*/ 622 h 813"/>
              <a:gd name="T70" fmla="*/ 587 w 1771"/>
              <a:gd name="T71" fmla="*/ 615 h 813"/>
              <a:gd name="T72" fmla="*/ 528 w 1771"/>
              <a:gd name="T73" fmla="*/ 604 h 813"/>
              <a:gd name="T74" fmla="*/ 451 w 1771"/>
              <a:gd name="T75" fmla="*/ 611 h 813"/>
              <a:gd name="T76" fmla="*/ 389 w 1771"/>
              <a:gd name="T77" fmla="*/ 594 h 813"/>
              <a:gd name="T78" fmla="*/ 326 w 1771"/>
              <a:gd name="T79" fmla="*/ 573 h 813"/>
              <a:gd name="T80" fmla="*/ 261 w 1771"/>
              <a:gd name="T81" fmla="*/ 573 h 813"/>
              <a:gd name="T82" fmla="*/ 191 w 1771"/>
              <a:gd name="T83" fmla="*/ 559 h 813"/>
              <a:gd name="T84" fmla="*/ 136 w 1771"/>
              <a:gd name="T85" fmla="*/ 542 h 813"/>
              <a:gd name="T86" fmla="*/ 66 w 1771"/>
              <a:gd name="T87" fmla="*/ 528 h 813"/>
              <a:gd name="T88" fmla="*/ 21 w 1771"/>
              <a:gd name="T89" fmla="*/ 486 h 813"/>
              <a:gd name="T90" fmla="*/ 49 w 1771"/>
              <a:gd name="T91" fmla="*/ 420 h 813"/>
              <a:gd name="T92" fmla="*/ 125 w 1771"/>
              <a:gd name="T93" fmla="*/ 410 h 813"/>
              <a:gd name="T94" fmla="*/ 201 w 1771"/>
              <a:gd name="T95" fmla="*/ 396 h 813"/>
              <a:gd name="T96" fmla="*/ 177 w 1771"/>
              <a:gd name="T97" fmla="*/ 326 h 813"/>
              <a:gd name="T98" fmla="*/ 136 w 1771"/>
              <a:gd name="T99" fmla="*/ 257 h 813"/>
              <a:gd name="T100" fmla="*/ 80 w 1771"/>
              <a:gd name="T101" fmla="*/ 194 h 813"/>
              <a:gd name="T102" fmla="*/ 73 w 1771"/>
              <a:gd name="T103" fmla="*/ 115 h 813"/>
              <a:gd name="T104" fmla="*/ 24 w 1771"/>
              <a:gd name="T105" fmla="*/ 59 h 813"/>
              <a:gd name="T106" fmla="*/ 42 w 1771"/>
              <a:gd name="T107" fmla="*/ 7 h 813"/>
              <a:gd name="T108" fmla="*/ 115 w 1771"/>
              <a:gd name="T109" fmla="*/ 35 h 813"/>
              <a:gd name="T110" fmla="*/ 205 w 1771"/>
              <a:gd name="T111" fmla="*/ 59 h 813"/>
              <a:gd name="T112" fmla="*/ 278 w 1771"/>
              <a:gd name="T113" fmla="*/ 115 h 813"/>
              <a:gd name="T114" fmla="*/ 372 w 1771"/>
              <a:gd name="T115" fmla="*/ 101 h 813"/>
              <a:gd name="T116" fmla="*/ 448 w 1771"/>
              <a:gd name="T117" fmla="*/ 42 h 813"/>
              <a:gd name="T118" fmla="*/ 535 w 1771"/>
              <a:gd name="T119" fmla="*/ 56 h 813"/>
              <a:gd name="T120" fmla="*/ 629 w 1771"/>
              <a:gd name="T121" fmla="*/ 66 h 813"/>
              <a:gd name="T122" fmla="*/ 726 w 1771"/>
              <a:gd name="T123" fmla="*/ 97 h 813"/>
              <a:gd name="T124" fmla="*/ 792 w 1771"/>
              <a:gd name="T125" fmla="*/ 153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71" h="813">
                <a:moveTo>
                  <a:pt x="830" y="201"/>
                </a:moveTo>
                <a:lnTo>
                  <a:pt x="830" y="208"/>
                </a:lnTo>
                <a:lnTo>
                  <a:pt x="833" y="208"/>
                </a:lnTo>
                <a:lnTo>
                  <a:pt x="837" y="212"/>
                </a:lnTo>
                <a:lnTo>
                  <a:pt x="840" y="215"/>
                </a:lnTo>
                <a:lnTo>
                  <a:pt x="840" y="219"/>
                </a:lnTo>
                <a:lnTo>
                  <a:pt x="844" y="219"/>
                </a:lnTo>
                <a:lnTo>
                  <a:pt x="847" y="222"/>
                </a:lnTo>
                <a:lnTo>
                  <a:pt x="851" y="229"/>
                </a:lnTo>
                <a:lnTo>
                  <a:pt x="854" y="229"/>
                </a:lnTo>
                <a:lnTo>
                  <a:pt x="858" y="233"/>
                </a:lnTo>
                <a:lnTo>
                  <a:pt x="861" y="233"/>
                </a:lnTo>
                <a:lnTo>
                  <a:pt x="861" y="236"/>
                </a:lnTo>
                <a:lnTo>
                  <a:pt x="865" y="233"/>
                </a:lnTo>
                <a:lnTo>
                  <a:pt x="868" y="233"/>
                </a:lnTo>
                <a:lnTo>
                  <a:pt x="868" y="236"/>
                </a:lnTo>
                <a:lnTo>
                  <a:pt x="872" y="236"/>
                </a:lnTo>
                <a:lnTo>
                  <a:pt x="872" y="233"/>
                </a:lnTo>
                <a:lnTo>
                  <a:pt x="872" y="236"/>
                </a:lnTo>
                <a:lnTo>
                  <a:pt x="875" y="236"/>
                </a:lnTo>
                <a:lnTo>
                  <a:pt x="879" y="240"/>
                </a:lnTo>
                <a:lnTo>
                  <a:pt x="879" y="236"/>
                </a:lnTo>
                <a:lnTo>
                  <a:pt x="882" y="229"/>
                </a:lnTo>
                <a:lnTo>
                  <a:pt x="885" y="229"/>
                </a:lnTo>
                <a:lnTo>
                  <a:pt x="889" y="229"/>
                </a:lnTo>
                <a:lnTo>
                  <a:pt x="892" y="229"/>
                </a:lnTo>
                <a:lnTo>
                  <a:pt x="896" y="229"/>
                </a:lnTo>
                <a:lnTo>
                  <a:pt x="899" y="229"/>
                </a:lnTo>
                <a:lnTo>
                  <a:pt x="903" y="229"/>
                </a:lnTo>
                <a:lnTo>
                  <a:pt x="903" y="226"/>
                </a:lnTo>
                <a:lnTo>
                  <a:pt x="906" y="222"/>
                </a:lnTo>
                <a:lnTo>
                  <a:pt x="910" y="222"/>
                </a:lnTo>
                <a:lnTo>
                  <a:pt x="913" y="219"/>
                </a:lnTo>
                <a:lnTo>
                  <a:pt x="913" y="215"/>
                </a:lnTo>
                <a:lnTo>
                  <a:pt x="913" y="212"/>
                </a:lnTo>
                <a:lnTo>
                  <a:pt x="917" y="212"/>
                </a:lnTo>
                <a:lnTo>
                  <a:pt x="924" y="215"/>
                </a:lnTo>
                <a:lnTo>
                  <a:pt x="924" y="212"/>
                </a:lnTo>
                <a:lnTo>
                  <a:pt x="927" y="208"/>
                </a:lnTo>
                <a:lnTo>
                  <a:pt x="927" y="205"/>
                </a:lnTo>
                <a:lnTo>
                  <a:pt x="931" y="205"/>
                </a:lnTo>
                <a:lnTo>
                  <a:pt x="934" y="205"/>
                </a:lnTo>
                <a:lnTo>
                  <a:pt x="934" y="201"/>
                </a:lnTo>
                <a:lnTo>
                  <a:pt x="938" y="201"/>
                </a:lnTo>
                <a:lnTo>
                  <a:pt x="941" y="201"/>
                </a:lnTo>
                <a:lnTo>
                  <a:pt x="944" y="205"/>
                </a:lnTo>
                <a:lnTo>
                  <a:pt x="948" y="205"/>
                </a:lnTo>
                <a:lnTo>
                  <a:pt x="951" y="205"/>
                </a:lnTo>
                <a:lnTo>
                  <a:pt x="951" y="201"/>
                </a:lnTo>
                <a:lnTo>
                  <a:pt x="951" y="198"/>
                </a:lnTo>
                <a:lnTo>
                  <a:pt x="951" y="194"/>
                </a:lnTo>
                <a:lnTo>
                  <a:pt x="951" y="191"/>
                </a:lnTo>
                <a:lnTo>
                  <a:pt x="951" y="188"/>
                </a:lnTo>
                <a:lnTo>
                  <a:pt x="955" y="188"/>
                </a:lnTo>
                <a:lnTo>
                  <a:pt x="958" y="188"/>
                </a:lnTo>
                <a:lnTo>
                  <a:pt x="958" y="184"/>
                </a:lnTo>
                <a:lnTo>
                  <a:pt x="962" y="184"/>
                </a:lnTo>
                <a:lnTo>
                  <a:pt x="962" y="181"/>
                </a:lnTo>
                <a:lnTo>
                  <a:pt x="965" y="181"/>
                </a:lnTo>
                <a:lnTo>
                  <a:pt x="969" y="177"/>
                </a:lnTo>
                <a:lnTo>
                  <a:pt x="972" y="177"/>
                </a:lnTo>
                <a:lnTo>
                  <a:pt x="979" y="177"/>
                </a:lnTo>
                <a:lnTo>
                  <a:pt x="983" y="177"/>
                </a:lnTo>
                <a:lnTo>
                  <a:pt x="983" y="174"/>
                </a:lnTo>
                <a:lnTo>
                  <a:pt x="986" y="174"/>
                </a:lnTo>
                <a:lnTo>
                  <a:pt x="990" y="170"/>
                </a:lnTo>
                <a:lnTo>
                  <a:pt x="990" y="167"/>
                </a:lnTo>
                <a:lnTo>
                  <a:pt x="993" y="163"/>
                </a:lnTo>
                <a:lnTo>
                  <a:pt x="993" y="160"/>
                </a:lnTo>
                <a:lnTo>
                  <a:pt x="997" y="156"/>
                </a:lnTo>
                <a:lnTo>
                  <a:pt x="1000" y="156"/>
                </a:lnTo>
                <a:lnTo>
                  <a:pt x="1000" y="153"/>
                </a:lnTo>
                <a:lnTo>
                  <a:pt x="1000" y="149"/>
                </a:lnTo>
                <a:lnTo>
                  <a:pt x="1000" y="146"/>
                </a:lnTo>
                <a:lnTo>
                  <a:pt x="1000" y="142"/>
                </a:lnTo>
                <a:lnTo>
                  <a:pt x="1000" y="139"/>
                </a:lnTo>
                <a:lnTo>
                  <a:pt x="997" y="135"/>
                </a:lnTo>
                <a:lnTo>
                  <a:pt x="1004" y="135"/>
                </a:lnTo>
                <a:lnTo>
                  <a:pt x="1010" y="135"/>
                </a:lnTo>
                <a:lnTo>
                  <a:pt x="1014" y="135"/>
                </a:lnTo>
                <a:lnTo>
                  <a:pt x="1017" y="135"/>
                </a:lnTo>
                <a:lnTo>
                  <a:pt x="1021" y="135"/>
                </a:lnTo>
                <a:lnTo>
                  <a:pt x="1024" y="139"/>
                </a:lnTo>
                <a:lnTo>
                  <a:pt x="1031" y="132"/>
                </a:lnTo>
                <a:lnTo>
                  <a:pt x="1035" y="132"/>
                </a:lnTo>
                <a:lnTo>
                  <a:pt x="1038" y="129"/>
                </a:lnTo>
                <a:lnTo>
                  <a:pt x="1042" y="129"/>
                </a:lnTo>
                <a:lnTo>
                  <a:pt x="1042" y="125"/>
                </a:lnTo>
                <a:lnTo>
                  <a:pt x="1042" y="122"/>
                </a:lnTo>
                <a:lnTo>
                  <a:pt x="1045" y="122"/>
                </a:lnTo>
                <a:lnTo>
                  <a:pt x="1045" y="118"/>
                </a:lnTo>
                <a:lnTo>
                  <a:pt x="1049" y="115"/>
                </a:lnTo>
                <a:lnTo>
                  <a:pt x="1052" y="111"/>
                </a:lnTo>
                <a:lnTo>
                  <a:pt x="1056" y="111"/>
                </a:lnTo>
                <a:lnTo>
                  <a:pt x="1059" y="108"/>
                </a:lnTo>
                <a:lnTo>
                  <a:pt x="1059" y="104"/>
                </a:lnTo>
                <a:lnTo>
                  <a:pt x="1063" y="104"/>
                </a:lnTo>
                <a:lnTo>
                  <a:pt x="1063" y="101"/>
                </a:lnTo>
                <a:lnTo>
                  <a:pt x="1069" y="97"/>
                </a:lnTo>
                <a:lnTo>
                  <a:pt x="1076" y="97"/>
                </a:lnTo>
                <a:lnTo>
                  <a:pt x="1080" y="97"/>
                </a:lnTo>
                <a:lnTo>
                  <a:pt x="1080" y="94"/>
                </a:lnTo>
                <a:lnTo>
                  <a:pt x="1080" y="90"/>
                </a:lnTo>
                <a:lnTo>
                  <a:pt x="1080" y="87"/>
                </a:lnTo>
                <a:lnTo>
                  <a:pt x="1080" y="80"/>
                </a:lnTo>
                <a:lnTo>
                  <a:pt x="1083" y="76"/>
                </a:lnTo>
                <a:lnTo>
                  <a:pt x="1087" y="76"/>
                </a:lnTo>
                <a:lnTo>
                  <a:pt x="1090" y="80"/>
                </a:lnTo>
                <a:lnTo>
                  <a:pt x="1090" y="76"/>
                </a:lnTo>
                <a:lnTo>
                  <a:pt x="1094" y="76"/>
                </a:lnTo>
                <a:lnTo>
                  <a:pt x="1094" y="80"/>
                </a:lnTo>
                <a:lnTo>
                  <a:pt x="1097" y="80"/>
                </a:lnTo>
                <a:lnTo>
                  <a:pt x="1101" y="83"/>
                </a:lnTo>
                <a:lnTo>
                  <a:pt x="1104" y="83"/>
                </a:lnTo>
                <a:lnTo>
                  <a:pt x="1108" y="87"/>
                </a:lnTo>
                <a:lnTo>
                  <a:pt x="1111" y="83"/>
                </a:lnTo>
                <a:lnTo>
                  <a:pt x="1115" y="80"/>
                </a:lnTo>
                <a:lnTo>
                  <a:pt x="1115" y="73"/>
                </a:lnTo>
                <a:lnTo>
                  <a:pt x="1122" y="69"/>
                </a:lnTo>
                <a:lnTo>
                  <a:pt x="1129" y="66"/>
                </a:lnTo>
                <a:lnTo>
                  <a:pt x="1132" y="63"/>
                </a:lnTo>
                <a:lnTo>
                  <a:pt x="1135" y="59"/>
                </a:lnTo>
                <a:lnTo>
                  <a:pt x="1139" y="63"/>
                </a:lnTo>
                <a:lnTo>
                  <a:pt x="1139" y="66"/>
                </a:lnTo>
                <a:lnTo>
                  <a:pt x="1146" y="76"/>
                </a:lnTo>
                <a:lnTo>
                  <a:pt x="1146" y="80"/>
                </a:lnTo>
                <a:lnTo>
                  <a:pt x="1149" y="80"/>
                </a:lnTo>
                <a:lnTo>
                  <a:pt x="1149" y="87"/>
                </a:lnTo>
                <a:lnTo>
                  <a:pt x="1149" y="90"/>
                </a:lnTo>
                <a:lnTo>
                  <a:pt x="1153" y="101"/>
                </a:lnTo>
                <a:lnTo>
                  <a:pt x="1153" y="104"/>
                </a:lnTo>
                <a:lnTo>
                  <a:pt x="1156" y="108"/>
                </a:lnTo>
                <a:lnTo>
                  <a:pt x="1156" y="111"/>
                </a:lnTo>
                <a:lnTo>
                  <a:pt x="1160" y="111"/>
                </a:lnTo>
                <a:lnTo>
                  <a:pt x="1160" y="115"/>
                </a:lnTo>
                <a:lnTo>
                  <a:pt x="1160" y="111"/>
                </a:lnTo>
                <a:lnTo>
                  <a:pt x="1163" y="111"/>
                </a:lnTo>
                <a:lnTo>
                  <a:pt x="1167" y="108"/>
                </a:lnTo>
                <a:lnTo>
                  <a:pt x="1170" y="104"/>
                </a:lnTo>
                <a:lnTo>
                  <a:pt x="1174" y="104"/>
                </a:lnTo>
                <a:lnTo>
                  <a:pt x="1174" y="108"/>
                </a:lnTo>
                <a:lnTo>
                  <a:pt x="1177" y="111"/>
                </a:lnTo>
                <a:lnTo>
                  <a:pt x="1184" y="115"/>
                </a:lnTo>
                <a:lnTo>
                  <a:pt x="1184" y="111"/>
                </a:lnTo>
                <a:lnTo>
                  <a:pt x="1188" y="111"/>
                </a:lnTo>
                <a:lnTo>
                  <a:pt x="1191" y="115"/>
                </a:lnTo>
                <a:lnTo>
                  <a:pt x="1194" y="111"/>
                </a:lnTo>
                <a:lnTo>
                  <a:pt x="1198" y="111"/>
                </a:lnTo>
                <a:lnTo>
                  <a:pt x="1198" y="115"/>
                </a:lnTo>
                <a:lnTo>
                  <a:pt x="1201" y="115"/>
                </a:lnTo>
                <a:lnTo>
                  <a:pt x="1205" y="111"/>
                </a:lnTo>
                <a:lnTo>
                  <a:pt x="1208" y="111"/>
                </a:lnTo>
                <a:lnTo>
                  <a:pt x="1212" y="111"/>
                </a:lnTo>
                <a:lnTo>
                  <a:pt x="1215" y="111"/>
                </a:lnTo>
                <a:lnTo>
                  <a:pt x="1219" y="111"/>
                </a:lnTo>
                <a:lnTo>
                  <a:pt x="1222" y="111"/>
                </a:lnTo>
                <a:lnTo>
                  <a:pt x="1226" y="111"/>
                </a:lnTo>
                <a:lnTo>
                  <a:pt x="1229" y="111"/>
                </a:lnTo>
                <a:lnTo>
                  <a:pt x="1233" y="111"/>
                </a:lnTo>
                <a:lnTo>
                  <a:pt x="1233" y="115"/>
                </a:lnTo>
                <a:lnTo>
                  <a:pt x="1236" y="115"/>
                </a:lnTo>
                <a:lnTo>
                  <a:pt x="1240" y="115"/>
                </a:lnTo>
                <a:lnTo>
                  <a:pt x="1243" y="115"/>
                </a:lnTo>
                <a:lnTo>
                  <a:pt x="1247" y="115"/>
                </a:lnTo>
                <a:lnTo>
                  <a:pt x="1250" y="115"/>
                </a:lnTo>
                <a:lnTo>
                  <a:pt x="1254" y="115"/>
                </a:lnTo>
                <a:lnTo>
                  <a:pt x="1257" y="115"/>
                </a:lnTo>
                <a:lnTo>
                  <a:pt x="1260" y="118"/>
                </a:lnTo>
                <a:lnTo>
                  <a:pt x="1260" y="122"/>
                </a:lnTo>
                <a:lnTo>
                  <a:pt x="1264" y="122"/>
                </a:lnTo>
                <a:lnTo>
                  <a:pt x="1267" y="125"/>
                </a:lnTo>
                <a:lnTo>
                  <a:pt x="1267" y="129"/>
                </a:lnTo>
                <a:lnTo>
                  <a:pt x="1267" y="132"/>
                </a:lnTo>
                <a:lnTo>
                  <a:pt x="1264" y="132"/>
                </a:lnTo>
                <a:lnTo>
                  <a:pt x="1267" y="139"/>
                </a:lnTo>
                <a:lnTo>
                  <a:pt x="1267" y="142"/>
                </a:lnTo>
                <a:lnTo>
                  <a:pt x="1264" y="142"/>
                </a:lnTo>
                <a:lnTo>
                  <a:pt x="1264" y="146"/>
                </a:lnTo>
                <a:lnTo>
                  <a:pt x="1264" y="149"/>
                </a:lnTo>
                <a:lnTo>
                  <a:pt x="1267" y="149"/>
                </a:lnTo>
                <a:lnTo>
                  <a:pt x="1267" y="153"/>
                </a:lnTo>
                <a:lnTo>
                  <a:pt x="1267" y="156"/>
                </a:lnTo>
                <a:lnTo>
                  <a:pt x="1267" y="160"/>
                </a:lnTo>
                <a:lnTo>
                  <a:pt x="1271" y="160"/>
                </a:lnTo>
                <a:lnTo>
                  <a:pt x="1271" y="163"/>
                </a:lnTo>
                <a:lnTo>
                  <a:pt x="1274" y="163"/>
                </a:lnTo>
                <a:lnTo>
                  <a:pt x="1274" y="160"/>
                </a:lnTo>
                <a:lnTo>
                  <a:pt x="1274" y="163"/>
                </a:lnTo>
                <a:lnTo>
                  <a:pt x="1278" y="163"/>
                </a:lnTo>
                <a:lnTo>
                  <a:pt x="1281" y="160"/>
                </a:lnTo>
                <a:lnTo>
                  <a:pt x="1285" y="156"/>
                </a:lnTo>
                <a:lnTo>
                  <a:pt x="1285" y="153"/>
                </a:lnTo>
                <a:lnTo>
                  <a:pt x="1288" y="153"/>
                </a:lnTo>
                <a:lnTo>
                  <a:pt x="1292" y="153"/>
                </a:lnTo>
                <a:lnTo>
                  <a:pt x="1292" y="149"/>
                </a:lnTo>
                <a:lnTo>
                  <a:pt x="1295" y="149"/>
                </a:lnTo>
                <a:lnTo>
                  <a:pt x="1299" y="149"/>
                </a:lnTo>
                <a:lnTo>
                  <a:pt x="1299" y="146"/>
                </a:lnTo>
                <a:lnTo>
                  <a:pt x="1302" y="146"/>
                </a:lnTo>
                <a:lnTo>
                  <a:pt x="1306" y="146"/>
                </a:lnTo>
                <a:lnTo>
                  <a:pt x="1302" y="142"/>
                </a:lnTo>
                <a:lnTo>
                  <a:pt x="1306" y="142"/>
                </a:lnTo>
                <a:lnTo>
                  <a:pt x="1306" y="146"/>
                </a:lnTo>
                <a:lnTo>
                  <a:pt x="1313" y="146"/>
                </a:lnTo>
                <a:lnTo>
                  <a:pt x="1316" y="146"/>
                </a:lnTo>
                <a:lnTo>
                  <a:pt x="1316" y="142"/>
                </a:lnTo>
                <a:lnTo>
                  <a:pt x="1316" y="146"/>
                </a:lnTo>
                <a:lnTo>
                  <a:pt x="1323" y="146"/>
                </a:lnTo>
                <a:lnTo>
                  <a:pt x="1323" y="142"/>
                </a:lnTo>
                <a:lnTo>
                  <a:pt x="1326" y="135"/>
                </a:lnTo>
                <a:lnTo>
                  <a:pt x="1326" y="132"/>
                </a:lnTo>
                <a:lnTo>
                  <a:pt x="1323" y="132"/>
                </a:lnTo>
                <a:lnTo>
                  <a:pt x="1323" y="129"/>
                </a:lnTo>
                <a:lnTo>
                  <a:pt x="1326" y="125"/>
                </a:lnTo>
                <a:lnTo>
                  <a:pt x="1326" y="129"/>
                </a:lnTo>
                <a:lnTo>
                  <a:pt x="1330" y="132"/>
                </a:lnTo>
                <a:lnTo>
                  <a:pt x="1333" y="129"/>
                </a:lnTo>
                <a:lnTo>
                  <a:pt x="1333" y="132"/>
                </a:lnTo>
                <a:lnTo>
                  <a:pt x="1337" y="129"/>
                </a:lnTo>
                <a:lnTo>
                  <a:pt x="1337" y="125"/>
                </a:lnTo>
                <a:lnTo>
                  <a:pt x="1337" y="122"/>
                </a:lnTo>
                <a:lnTo>
                  <a:pt x="1340" y="118"/>
                </a:lnTo>
                <a:lnTo>
                  <a:pt x="1344" y="118"/>
                </a:lnTo>
                <a:lnTo>
                  <a:pt x="1347" y="118"/>
                </a:lnTo>
                <a:lnTo>
                  <a:pt x="1351" y="115"/>
                </a:lnTo>
                <a:lnTo>
                  <a:pt x="1354" y="115"/>
                </a:lnTo>
                <a:lnTo>
                  <a:pt x="1361" y="111"/>
                </a:lnTo>
                <a:lnTo>
                  <a:pt x="1358" y="122"/>
                </a:lnTo>
                <a:lnTo>
                  <a:pt x="1365" y="125"/>
                </a:lnTo>
                <a:lnTo>
                  <a:pt x="1368" y="125"/>
                </a:lnTo>
                <a:lnTo>
                  <a:pt x="1368" y="129"/>
                </a:lnTo>
                <a:lnTo>
                  <a:pt x="1368" y="132"/>
                </a:lnTo>
                <a:lnTo>
                  <a:pt x="1372" y="132"/>
                </a:lnTo>
                <a:lnTo>
                  <a:pt x="1375" y="132"/>
                </a:lnTo>
                <a:lnTo>
                  <a:pt x="1379" y="132"/>
                </a:lnTo>
                <a:lnTo>
                  <a:pt x="1379" y="129"/>
                </a:lnTo>
                <a:lnTo>
                  <a:pt x="1382" y="129"/>
                </a:lnTo>
                <a:lnTo>
                  <a:pt x="1389" y="129"/>
                </a:lnTo>
                <a:lnTo>
                  <a:pt x="1396" y="129"/>
                </a:lnTo>
                <a:lnTo>
                  <a:pt x="1399" y="129"/>
                </a:lnTo>
                <a:lnTo>
                  <a:pt x="1406" y="129"/>
                </a:lnTo>
                <a:lnTo>
                  <a:pt x="1410" y="129"/>
                </a:lnTo>
                <a:lnTo>
                  <a:pt x="1413" y="129"/>
                </a:lnTo>
                <a:lnTo>
                  <a:pt x="1417" y="129"/>
                </a:lnTo>
                <a:lnTo>
                  <a:pt x="1420" y="132"/>
                </a:lnTo>
                <a:lnTo>
                  <a:pt x="1420" y="139"/>
                </a:lnTo>
                <a:lnTo>
                  <a:pt x="1424" y="139"/>
                </a:lnTo>
                <a:lnTo>
                  <a:pt x="1427" y="139"/>
                </a:lnTo>
                <a:lnTo>
                  <a:pt x="1431" y="142"/>
                </a:lnTo>
                <a:lnTo>
                  <a:pt x="1434" y="142"/>
                </a:lnTo>
                <a:lnTo>
                  <a:pt x="1441" y="142"/>
                </a:lnTo>
                <a:lnTo>
                  <a:pt x="1441" y="139"/>
                </a:lnTo>
                <a:lnTo>
                  <a:pt x="1444" y="132"/>
                </a:lnTo>
                <a:lnTo>
                  <a:pt x="1448" y="129"/>
                </a:lnTo>
                <a:lnTo>
                  <a:pt x="1448" y="125"/>
                </a:lnTo>
                <a:lnTo>
                  <a:pt x="1458" y="125"/>
                </a:lnTo>
                <a:lnTo>
                  <a:pt x="1462" y="125"/>
                </a:lnTo>
                <a:lnTo>
                  <a:pt x="1465" y="125"/>
                </a:lnTo>
                <a:lnTo>
                  <a:pt x="1476" y="122"/>
                </a:lnTo>
                <a:lnTo>
                  <a:pt x="1479" y="122"/>
                </a:lnTo>
                <a:lnTo>
                  <a:pt x="1483" y="122"/>
                </a:lnTo>
                <a:lnTo>
                  <a:pt x="1486" y="122"/>
                </a:lnTo>
                <a:lnTo>
                  <a:pt x="1493" y="122"/>
                </a:lnTo>
                <a:lnTo>
                  <a:pt x="1497" y="122"/>
                </a:lnTo>
                <a:lnTo>
                  <a:pt x="1500" y="125"/>
                </a:lnTo>
                <a:lnTo>
                  <a:pt x="1503" y="122"/>
                </a:lnTo>
                <a:lnTo>
                  <a:pt x="1507" y="122"/>
                </a:lnTo>
                <a:lnTo>
                  <a:pt x="1507" y="118"/>
                </a:lnTo>
                <a:lnTo>
                  <a:pt x="1510" y="118"/>
                </a:lnTo>
                <a:lnTo>
                  <a:pt x="1514" y="122"/>
                </a:lnTo>
                <a:lnTo>
                  <a:pt x="1517" y="122"/>
                </a:lnTo>
                <a:lnTo>
                  <a:pt x="1521" y="122"/>
                </a:lnTo>
                <a:lnTo>
                  <a:pt x="1524" y="125"/>
                </a:lnTo>
                <a:lnTo>
                  <a:pt x="1521" y="118"/>
                </a:lnTo>
                <a:lnTo>
                  <a:pt x="1524" y="115"/>
                </a:lnTo>
                <a:lnTo>
                  <a:pt x="1528" y="115"/>
                </a:lnTo>
                <a:lnTo>
                  <a:pt x="1531" y="111"/>
                </a:lnTo>
                <a:lnTo>
                  <a:pt x="1538" y="108"/>
                </a:lnTo>
                <a:lnTo>
                  <a:pt x="1545" y="104"/>
                </a:lnTo>
                <a:lnTo>
                  <a:pt x="1552" y="101"/>
                </a:lnTo>
                <a:lnTo>
                  <a:pt x="1556" y="101"/>
                </a:lnTo>
                <a:lnTo>
                  <a:pt x="1563" y="101"/>
                </a:lnTo>
                <a:lnTo>
                  <a:pt x="1566" y="101"/>
                </a:lnTo>
                <a:lnTo>
                  <a:pt x="1569" y="101"/>
                </a:lnTo>
                <a:lnTo>
                  <a:pt x="1573" y="101"/>
                </a:lnTo>
                <a:lnTo>
                  <a:pt x="1576" y="101"/>
                </a:lnTo>
                <a:lnTo>
                  <a:pt x="1580" y="101"/>
                </a:lnTo>
                <a:lnTo>
                  <a:pt x="1587" y="97"/>
                </a:lnTo>
                <a:lnTo>
                  <a:pt x="1590" y="94"/>
                </a:lnTo>
                <a:lnTo>
                  <a:pt x="1594" y="90"/>
                </a:lnTo>
                <a:lnTo>
                  <a:pt x="1601" y="90"/>
                </a:lnTo>
                <a:lnTo>
                  <a:pt x="1604" y="90"/>
                </a:lnTo>
                <a:lnTo>
                  <a:pt x="1608" y="90"/>
                </a:lnTo>
                <a:lnTo>
                  <a:pt x="1608" y="94"/>
                </a:lnTo>
                <a:lnTo>
                  <a:pt x="1608" y="97"/>
                </a:lnTo>
                <a:lnTo>
                  <a:pt x="1604" y="101"/>
                </a:lnTo>
                <a:lnTo>
                  <a:pt x="1608" y="101"/>
                </a:lnTo>
                <a:lnTo>
                  <a:pt x="1611" y="108"/>
                </a:lnTo>
                <a:lnTo>
                  <a:pt x="1615" y="115"/>
                </a:lnTo>
                <a:lnTo>
                  <a:pt x="1618" y="115"/>
                </a:lnTo>
                <a:lnTo>
                  <a:pt x="1628" y="118"/>
                </a:lnTo>
                <a:lnTo>
                  <a:pt x="1632" y="122"/>
                </a:lnTo>
                <a:lnTo>
                  <a:pt x="1635" y="125"/>
                </a:lnTo>
                <a:lnTo>
                  <a:pt x="1639" y="129"/>
                </a:lnTo>
                <a:lnTo>
                  <a:pt x="1646" y="135"/>
                </a:lnTo>
                <a:lnTo>
                  <a:pt x="1653" y="142"/>
                </a:lnTo>
                <a:lnTo>
                  <a:pt x="1660" y="142"/>
                </a:lnTo>
                <a:lnTo>
                  <a:pt x="1674" y="149"/>
                </a:lnTo>
                <a:lnTo>
                  <a:pt x="1677" y="149"/>
                </a:lnTo>
                <a:lnTo>
                  <a:pt x="1681" y="149"/>
                </a:lnTo>
                <a:lnTo>
                  <a:pt x="1684" y="149"/>
                </a:lnTo>
                <a:lnTo>
                  <a:pt x="1691" y="153"/>
                </a:lnTo>
                <a:lnTo>
                  <a:pt x="1694" y="156"/>
                </a:lnTo>
                <a:lnTo>
                  <a:pt x="1694" y="160"/>
                </a:lnTo>
                <a:lnTo>
                  <a:pt x="1698" y="160"/>
                </a:lnTo>
                <a:lnTo>
                  <a:pt x="1698" y="163"/>
                </a:lnTo>
                <a:lnTo>
                  <a:pt x="1698" y="167"/>
                </a:lnTo>
                <a:lnTo>
                  <a:pt x="1701" y="167"/>
                </a:lnTo>
                <a:lnTo>
                  <a:pt x="1701" y="170"/>
                </a:lnTo>
                <a:lnTo>
                  <a:pt x="1701" y="177"/>
                </a:lnTo>
                <a:lnTo>
                  <a:pt x="1705" y="177"/>
                </a:lnTo>
                <a:lnTo>
                  <a:pt x="1705" y="181"/>
                </a:lnTo>
                <a:lnTo>
                  <a:pt x="1708" y="188"/>
                </a:lnTo>
                <a:lnTo>
                  <a:pt x="1712" y="191"/>
                </a:lnTo>
                <a:lnTo>
                  <a:pt x="1715" y="198"/>
                </a:lnTo>
                <a:lnTo>
                  <a:pt x="1715" y="205"/>
                </a:lnTo>
                <a:lnTo>
                  <a:pt x="1719" y="205"/>
                </a:lnTo>
                <a:lnTo>
                  <a:pt x="1715" y="208"/>
                </a:lnTo>
                <a:lnTo>
                  <a:pt x="1722" y="215"/>
                </a:lnTo>
                <a:lnTo>
                  <a:pt x="1719" y="215"/>
                </a:lnTo>
                <a:lnTo>
                  <a:pt x="1722" y="215"/>
                </a:lnTo>
                <a:lnTo>
                  <a:pt x="1726" y="215"/>
                </a:lnTo>
                <a:lnTo>
                  <a:pt x="1729" y="219"/>
                </a:lnTo>
                <a:lnTo>
                  <a:pt x="1729" y="222"/>
                </a:lnTo>
                <a:lnTo>
                  <a:pt x="1733" y="222"/>
                </a:lnTo>
                <a:lnTo>
                  <a:pt x="1733" y="226"/>
                </a:lnTo>
                <a:lnTo>
                  <a:pt x="1736" y="226"/>
                </a:lnTo>
                <a:lnTo>
                  <a:pt x="1736" y="229"/>
                </a:lnTo>
                <a:lnTo>
                  <a:pt x="1736" y="233"/>
                </a:lnTo>
                <a:lnTo>
                  <a:pt x="1743" y="240"/>
                </a:lnTo>
                <a:lnTo>
                  <a:pt x="1743" y="243"/>
                </a:lnTo>
                <a:lnTo>
                  <a:pt x="1740" y="247"/>
                </a:lnTo>
                <a:lnTo>
                  <a:pt x="1740" y="254"/>
                </a:lnTo>
                <a:lnTo>
                  <a:pt x="1736" y="260"/>
                </a:lnTo>
                <a:lnTo>
                  <a:pt x="1736" y="267"/>
                </a:lnTo>
                <a:lnTo>
                  <a:pt x="1733" y="267"/>
                </a:lnTo>
                <a:lnTo>
                  <a:pt x="1733" y="271"/>
                </a:lnTo>
                <a:lnTo>
                  <a:pt x="1729" y="271"/>
                </a:lnTo>
                <a:lnTo>
                  <a:pt x="1729" y="278"/>
                </a:lnTo>
                <a:lnTo>
                  <a:pt x="1729" y="281"/>
                </a:lnTo>
                <a:lnTo>
                  <a:pt x="1729" y="288"/>
                </a:lnTo>
                <a:lnTo>
                  <a:pt x="1729" y="292"/>
                </a:lnTo>
                <a:lnTo>
                  <a:pt x="1729" y="299"/>
                </a:lnTo>
                <a:lnTo>
                  <a:pt x="1733" y="306"/>
                </a:lnTo>
                <a:lnTo>
                  <a:pt x="1736" y="306"/>
                </a:lnTo>
                <a:lnTo>
                  <a:pt x="1736" y="309"/>
                </a:lnTo>
                <a:lnTo>
                  <a:pt x="1736" y="313"/>
                </a:lnTo>
                <a:lnTo>
                  <a:pt x="1733" y="316"/>
                </a:lnTo>
                <a:lnTo>
                  <a:pt x="1733" y="323"/>
                </a:lnTo>
                <a:lnTo>
                  <a:pt x="1726" y="323"/>
                </a:lnTo>
                <a:lnTo>
                  <a:pt x="1722" y="326"/>
                </a:lnTo>
                <a:lnTo>
                  <a:pt x="1719" y="326"/>
                </a:lnTo>
                <a:lnTo>
                  <a:pt x="1715" y="330"/>
                </a:lnTo>
                <a:lnTo>
                  <a:pt x="1715" y="333"/>
                </a:lnTo>
                <a:lnTo>
                  <a:pt x="1715" y="337"/>
                </a:lnTo>
                <a:lnTo>
                  <a:pt x="1715" y="340"/>
                </a:lnTo>
                <a:lnTo>
                  <a:pt x="1715" y="344"/>
                </a:lnTo>
                <a:lnTo>
                  <a:pt x="1712" y="347"/>
                </a:lnTo>
                <a:lnTo>
                  <a:pt x="1708" y="351"/>
                </a:lnTo>
                <a:lnTo>
                  <a:pt x="1708" y="361"/>
                </a:lnTo>
                <a:lnTo>
                  <a:pt x="1708" y="368"/>
                </a:lnTo>
                <a:lnTo>
                  <a:pt x="1705" y="372"/>
                </a:lnTo>
                <a:lnTo>
                  <a:pt x="1708" y="375"/>
                </a:lnTo>
                <a:lnTo>
                  <a:pt x="1712" y="375"/>
                </a:lnTo>
                <a:lnTo>
                  <a:pt x="1719" y="379"/>
                </a:lnTo>
                <a:lnTo>
                  <a:pt x="1722" y="379"/>
                </a:lnTo>
                <a:lnTo>
                  <a:pt x="1722" y="382"/>
                </a:lnTo>
                <a:lnTo>
                  <a:pt x="1729" y="382"/>
                </a:lnTo>
                <a:lnTo>
                  <a:pt x="1736" y="385"/>
                </a:lnTo>
                <a:lnTo>
                  <a:pt x="1740" y="385"/>
                </a:lnTo>
                <a:lnTo>
                  <a:pt x="1743" y="385"/>
                </a:lnTo>
                <a:lnTo>
                  <a:pt x="1743" y="389"/>
                </a:lnTo>
                <a:lnTo>
                  <a:pt x="1747" y="392"/>
                </a:lnTo>
                <a:lnTo>
                  <a:pt x="1743" y="396"/>
                </a:lnTo>
                <a:lnTo>
                  <a:pt x="1743" y="403"/>
                </a:lnTo>
                <a:lnTo>
                  <a:pt x="1747" y="410"/>
                </a:lnTo>
                <a:lnTo>
                  <a:pt x="1747" y="413"/>
                </a:lnTo>
                <a:lnTo>
                  <a:pt x="1747" y="420"/>
                </a:lnTo>
                <a:lnTo>
                  <a:pt x="1750" y="420"/>
                </a:lnTo>
                <a:lnTo>
                  <a:pt x="1750" y="424"/>
                </a:lnTo>
                <a:lnTo>
                  <a:pt x="1753" y="427"/>
                </a:lnTo>
                <a:lnTo>
                  <a:pt x="1750" y="431"/>
                </a:lnTo>
                <a:lnTo>
                  <a:pt x="1750" y="434"/>
                </a:lnTo>
                <a:lnTo>
                  <a:pt x="1753" y="438"/>
                </a:lnTo>
                <a:lnTo>
                  <a:pt x="1753" y="441"/>
                </a:lnTo>
                <a:lnTo>
                  <a:pt x="1753" y="445"/>
                </a:lnTo>
                <a:lnTo>
                  <a:pt x="1757" y="448"/>
                </a:lnTo>
                <a:lnTo>
                  <a:pt x="1750" y="455"/>
                </a:lnTo>
                <a:lnTo>
                  <a:pt x="1747" y="458"/>
                </a:lnTo>
                <a:lnTo>
                  <a:pt x="1747" y="469"/>
                </a:lnTo>
                <a:lnTo>
                  <a:pt x="1747" y="472"/>
                </a:lnTo>
                <a:lnTo>
                  <a:pt x="1747" y="476"/>
                </a:lnTo>
                <a:lnTo>
                  <a:pt x="1747" y="483"/>
                </a:lnTo>
                <a:lnTo>
                  <a:pt x="1747" y="486"/>
                </a:lnTo>
                <a:lnTo>
                  <a:pt x="1740" y="490"/>
                </a:lnTo>
                <a:lnTo>
                  <a:pt x="1740" y="493"/>
                </a:lnTo>
                <a:lnTo>
                  <a:pt x="1740" y="497"/>
                </a:lnTo>
                <a:lnTo>
                  <a:pt x="1743" y="497"/>
                </a:lnTo>
                <a:lnTo>
                  <a:pt x="1750" y="500"/>
                </a:lnTo>
                <a:lnTo>
                  <a:pt x="1753" y="500"/>
                </a:lnTo>
                <a:lnTo>
                  <a:pt x="1753" y="497"/>
                </a:lnTo>
                <a:lnTo>
                  <a:pt x="1757" y="497"/>
                </a:lnTo>
                <a:lnTo>
                  <a:pt x="1760" y="497"/>
                </a:lnTo>
                <a:lnTo>
                  <a:pt x="1760" y="500"/>
                </a:lnTo>
                <a:lnTo>
                  <a:pt x="1760" y="504"/>
                </a:lnTo>
                <a:lnTo>
                  <a:pt x="1760" y="507"/>
                </a:lnTo>
                <a:lnTo>
                  <a:pt x="1764" y="507"/>
                </a:lnTo>
                <a:lnTo>
                  <a:pt x="1767" y="507"/>
                </a:lnTo>
                <a:lnTo>
                  <a:pt x="1771" y="511"/>
                </a:lnTo>
                <a:lnTo>
                  <a:pt x="1771" y="514"/>
                </a:lnTo>
                <a:lnTo>
                  <a:pt x="1767" y="514"/>
                </a:lnTo>
                <a:lnTo>
                  <a:pt x="1764" y="514"/>
                </a:lnTo>
                <a:lnTo>
                  <a:pt x="1764" y="517"/>
                </a:lnTo>
                <a:lnTo>
                  <a:pt x="1757" y="514"/>
                </a:lnTo>
                <a:lnTo>
                  <a:pt x="1753" y="514"/>
                </a:lnTo>
                <a:lnTo>
                  <a:pt x="1753" y="517"/>
                </a:lnTo>
                <a:lnTo>
                  <a:pt x="1750" y="517"/>
                </a:lnTo>
                <a:lnTo>
                  <a:pt x="1747" y="521"/>
                </a:lnTo>
                <a:lnTo>
                  <a:pt x="1747" y="524"/>
                </a:lnTo>
                <a:lnTo>
                  <a:pt x="1743" y="524"/>
                </a:lnTo>
                <a:lnTo>
                  <a:pt x="1740" y="524"/>
                </a:lnTo>
                <a:lnTo>
                  <a:pt x="1736" y="528"/>
                </a:lnTo>
                <a:lnTo>
                  <a:pt x="1733" y="528"/>
                </a:lnTo>
                <a:lnTo>
                  <a:pt x="1733" y="531"/>
                </a:lnTo>
                <a:lnTo>
                  <a:pt x="1733" y="535"/>
                </a:lnTo>
                <a:lnTo>
                  <a:pt x="1729" y="535"/>
                </a:lnTo>
                <a:lnTo>
                  <a:pt x="1729" y="538"/>
                </a:lnTo>
                <a:lnTo>
                  <a:pt x="1726" y="538"/>
                </a:lnTo>
                <a:lnTo>
                  <a:pt x="1726" y="542"/>
                </a:lnTo>
                <a:lnTo>
                  <a:pt x="1722" y="542"/>
                </a:lnTo>
                <a:lnTo>
                  <a:pt x="1722" y="545"/>
                </a:lnTo>
                <a:lnTo>
                  <a:pt x="1719" y="545"/>
                </a:lnTo>
                <a:lnTo>
                  <a:pt x="1719" y="549"/>
                </a:lnTo>
                <a:lnTo>
                  <a:pt x="1719" y="552"/>
                </a:lnTo>
                <a:lnTo>
                  <a:pt x="1719" y="556"/>
                </a:lnTo>
                <a:lnTo>
                  <a:pt x="1719" y="559"/>
                </a:lnTo>
                <a:lnTo>
                  <a:pt x="1715" y="559"/>
                </a:lnTo>
                <a:lnTo>
                  <a:pt x="1712" y="563"/>
                </a:lnTo>
                <a:lnTo>
                  <a:pt x="1712" y="566"/>
                </a:lnTo>
                <a:lnTo>
                  <a:pt x="1712" y="570"/>
                </a:lnTo>
                <a:lnTo>
                  <a:pt x="1708" y="570"/>
                </a:lnTo>
                <a:lnTo>
                  <a:pt x="1705" y="566"/>
                </a:lnTo>
                <a:lnTo>
                  <a:pt x="1705" y="563"/>
                </a:lnTo>
                <a:lnTo>
                  <a:pt x="1705" y="559"/>
                </a:lnTo>
                <a:lnTo>
                  <a:pt x="1705" y="556"/>
                </a:lnTo>
                <a:lnTo>
                  <a:pt x="1705" y="552"/>
                </a:lnTo>
                <a:lnTo>
                  <a:pt x="1705" y="549"/>
                </a:lnTo>
                <a:lnTo>
                  <a:pt x="1701" y="545"/>
                </a:lnTo>
                <a:lnTo>
                  <a:pt x="1698" y="542"/>
                </a:lnTo>
                <a:lnTo>
                  <a:pt x="1698" y="538"/>
                </a:lnTo>
                <a:lnTo>
                  <a:pt x="1691" y="535"/>
                </a:lnTo>
                <a:lnTo>
                  <a:pt x="1691" y="538"/>
                </a:lnTo>
                <a:lnTo>
                  <a:pt x="1688" y="538"/>
                </a:lnTo>
                <a:lnTo>
                  <a:pt x="1688" y="542"/>
                </a:lnTo>
                <a:lnTo>
                  <a:pt x="1684" y="542"/>
                </a:lnTo>
                <a:lnTo>
                  <a:pt x="1681" y="545"/>
                </a:lnTo>
                <a:lnTo>
                  <a:pt x="1681" y="549"/>
                </a:lnTo>
                <a:lnTo>
                  <a:pt x="1677" y="549"/>
                </a:lnTo>
                <a:lnTo>
                  <a:pt x="1674" y="552"/>
                </a:lnTo>
                <a:lnTo>
                  <a:pt x="1674" y="556"/>
                </a:lnTo>
                <a:lnTo>
                  <a:pt x="1670" y="552"/>
                </a:lnTo>
                <a:lnTo>
                  <a:pt x="1670" y="549"/>
                </a:lnTo>
                <a:lnTo>
                  <a:pt x="1667" y="549"/>
                </a:lnTo>
                <a:lnTo>
                  <a:pt x="1667" y="552"/>
                </a:lnTo>
                <a:lnTo>
                  <a:pt x="1663" y="552"/>
                </a:lnTo>
                <a:lnTo>
                  <a:pt x="1667" y="556"/>
                </a:lnTo>
                <a:lnTo>
                  <a:pt x="1667" y="559"/>
                </a:lnTo>
                <a:lnTo>
                  <a:pt x="1667" y="563"/>
                </a:lnTo>
                <a:lnTo>
                  <a:pt x="1667" y="566"/>
                </a:lnTo>
                <a:lnTo>
                  <a:pt x="1663" y="570"/>
                </a:lnTo>
                <a:lnTo>
                  <a:pt x="1663" y="566"/>
                </a:lnTo>
                <a:lnTo>
                  <a:pt x="1660" y="566"/>
                </a:lnTo>
                <a:lnTo>
                  <a:pt x="1660" y="563"/>
                </a:lnTo>
                <a:lnTo>
                  <a:pt x="1660" y="566"/>
                </a:lnTo>
                <a:lnTo>
                  <a:pt x="1656" y="566"/>
                </a:lnTo>
                <a:lnTo>
                  <a:pt x="1653" y="566"/>
                </a:lnTo>
                <a:lnTo>
                  <a:pt x="1653" y="563"/>
                </a:lnTo>
                <a:lnTo>
                  <a:pt x="1649" y="563"/>
                </a:lnTo>
                <a:lnTo>
                  <a:pt x="1649" y="559"/>
                </a:lnTo>
                <a:lnTo>
                  <a:pt x="1646" y="559"/>
                </a:lnTo>
                <a:lnTo>
                  <a:pt x="1642" y="559"/>
                </a:lnTo>
                <a:lnTo>
                  <a:pt x="1639" y="556"/>
                </a:lnTo>
                <a:lnTo>
                  <a:pt x="1639" y="559"/>
                </a:lnTo>
                <a:lnTo>
                  <a:pt x="1635" y="559"/>
                </a:lnTo>
                <a:lnTo>
                  <a:pt x="1635" y="563"/>
                </a:lnTo>
                <a:lnTo>
                  <a:pt x="1632" y="563"/>
                </a:lnTo>
                <a:lnTo>
                  <a:pt x="1628" y="563"/>
                </a:lnTo>
                <a:lnTo>
                  <a:pt x="1625" y="566"/>
                </a:lnTo>
                <a:lnTo>
                  <a:pt x="1625" y="570"/>
                </a:lnTo>
                <a:lnTo>
                  <a:pt x="1625" y="573"/>
                </a:lnTo>
                <a:lnTo>
                  <a:pt x="1625" y="576"/>
                </a:lnTo>
                <a:lnTo>
                  <a:pt x="1622" y="576"/>
                </a:lnTo>
                <a:lnTo>
                  <a:pt x="1618" y="580"/>
                </a:lnTo>
                <a:lnTo>
                  <a:pt x="1618" y="587"/>
                </a:lnTo>
                <a:lnTo>
                  <a:pt x="1615" y="590"/>
                </a:lnTo>
                <a:lnTo>
                  <a:pt x="1611" y="594"/>
                </a:lnTo>
                <a:lnTo>
                  <a:pt x="1608" y="594"/>
                </a:lnTo>
                <a:lnTo>
                  <a:pt x="1608" y="597"/>
                </a:lnTo>
                <a:lnTo>
                  <a:pt x="1608" y="601"/>
                </a:lnTo>
                <a:lnTo>
                  <a:pt x="1604" y="604"/>
                </a:lnTo>
                <a:lnTo>
                  <a:pt x="1604" y="608"/>
                </a:lnTo>
                <a:lnTo>
                  <a:pt x="1601" y="608"/>
                </a:lnTo>
                <a:lnTo>
                  <a:pt x="1601" y="611"/>
                </a:lnTo>
                <a:lnTo>
                  <a:pt x="1604" y="611"/>
                </a:lnTo>
                <a:lnTo>
                  <a:pt x="1604" y="615"/>
                </a:lnTo>
                <a:lnTo>
                  <a:pt x="1601" y="618"/>
                </a:lnTo>
                <a:lnTo>
                  <a:pt x="1601" y="622"/>
                </a:lnTo>
                <a:lnTo>
                  <a:pt x="1601" y="625"/>
                </a:lnTo>
                <a:lnTo>
                  <a:pt x="1597" y="625"/>
                </a:lnTo>
                <a:lnTo>
                  <a:pt x="1594" y="625"/>
                </a:lnTo>
                <a:lnTo>
                  <a:pt x="1594" y="629"/>
                </a:lnTo>
                <a:lnTo>
                  <a:pt x="1594" y="632"/>
                </a:lnTo>
                <a:lnTo>
                  <a:pt x="1597" y="632"/>
                </a:lnTo>
                <a:lnTo>
                  <a:pt x="1597" y="636"/>
                </a:lnTo>
                <a:lnTo>
                  <a:pt x="1601" y="636"/>
                </a:lnTo>
                <a:lnTo>
                  <a:pt x="1597" y="636"/>
                </a:lnTo>
                <a:lnTo>
                  <a:pt x="1597" y="639"/>
                </a:lnTo>
                <a:lnTo>
                  <a:pt x="1594" y="639"/>
                </a:lnTo>
                <a:lnTo>
                  <a:pt x="1594" y="642"/>
                </a:lnTo>
                <a:lnTo>
                  <a:pt x="1594" y="646"/>
                </a:lnTo>
                <a:lnTo>
                  <a:pt x="1594" y="649"/>
                </a:lnTo>
                <a:lnTo>
                  <a:pt x="1594" y="653"/>
                </a:lnTo>
                <a:lnTo>
                  <a:pt x="1590" y="653"/>
                </a:lnTo>
                <a:lnTo>
                  <a:pt x="1590" y="656"/>
                </a:lnTo>
                <a:lnTo>
                  <a:pt x="1590" y="660"/>
                </a:lnTo>
                <a:lnTo>
                  <a:pt x="1590" y="663"/>
                </a:lnTo>
                <a:lnTo>
                  <a:pt x="1590" y="667"/>
                </a:lnTo>
                <a:lnTo>
                  <a:pt x="1587" y="670"/>
                </a:lnTo>
                <a:lnTo>
                  <a:pt x="1583" y="670"/>
                </a:lnTo>
                <a:lnTo>
                  <a:pt x="1580" y="670"/>
                </a:lnTo>
                <a:lnTo>
                  <a:pt x="1576" y="674"/>
                </a:lnTo>
                <a:lnTo>
                  <a:pt x="1573" y="674"/>
                </a:lnTo>
                <a:lnTo>
                  <a:pt x="1569" y="674"/>
                </a:lnTo>
                <a:lnTo>
                  <a:pt x="1569" y="677"/>
                </a:lnTo>
                <a:lnTo>
                  <a:pt x="1566" y="677"/>
                </a:lnTo>
                <a:lnTo>
                  <a:pt x="1563" y="677"/>
                </a:lnTo>
                <a:lnTo>
                  <a:pt x="1559" y="677"/>
                </a:lnTo>
                <a:lnTo>
                  <a:pt x="1559" y="674"/>
                </a:lnTo>
                <a:lnTo>
                  <a:pt x="1556" y="674"/>
                </a:lnTo>
                <a:lnTo>
                  <a:pt x="1552" y="674"/>
                </a:lnTo>
                <a:lnTo>
                  <a:pt x="1549" y="674"/>
                </a:lnTo>
                <a:lnTo>
                  <a:pt x="1545" y="674"/>
                </a:lnTo>
                <a:lnTo>
                  <a:pt x="1542" y="677"/>
                </a:lnTo>
                <a:lnTo>
                  <a:pt x="1538" y="677"/>
                </a:lnTo>
                <a:lnTo>
                  <a:pt x="1538" y="681"/>
                </a:lnTo>
                <a:lnTo>
                  <a:pt x="1538" y="677"/>
                </a:lnTo>
                <a:lnTo>
                  <a:pt x="1535" y="677"/>
                </a:lnTo>
                <a:lnTo>
                  <a:pt x="1535" y="674"/>
                </a:lnTo>
                <a:lnTo>
                  <a:pt x="1531" y="674"/>
                </a:lnTo>
                <a:lnTo>
                  <a:pt x="1531" y="677"/>
                </a:lnTo>
                <a:lnTo>
                  <a:pt x="1528" y="677"/>
                </a:lnTo>
                <a:lnTo>
                  <a:pt x="1528" y="681"/>
                </a:lnTo>
                <a:lnTo>
                  <a:pt x="1528" y="684"/>
                </a:lnTo>
                <a:lnTo>
                  <a:pt x="1524" y="684"/>
                </a:lnTo>
                <a:lnTo>
                  <a:pt x="1524" y="688"/>
                </a:lnTo>
                <a:lnTo>
                  <a:pt x="1524" y="684"/>
                </a:lnTo>
                <a:lnTo>
                  <a:pt x="1521" y="684"/>
                </a:lnTo>
                <a:lnTo>
                  <a:pt x="1521" y="681"/>
                </a:lnTo>
                <a:lnTo>
                  <a:pt x="1517" y="681"/>
                </a:lnTo>
                <a:lnTo>
                  <a:pt x="1514" y="677"/>
                </a:lnTo>
                <a:lnTo>
                  <a:pt x="1514" y="681"/>
                </a:lnTo>
                <a:lnTo>
                  <a:pt x="1514" y="684"/>
                </a:lnTo>
                <a:lnTo>
                  <a:pt x="1510" y="684"/>
                </a:lnTo>
                <a:lnTo>
                  <a:pt x="1510" y="688"/>
                </a:lnTo>
                <a:lnTo>
                  <a:pt x="1510" y="691"/>
                </a:lnTo>
                <a:lnTo>
                  <a:pt x="1510" y="695"/>
                </a:lnTo>
                <a:lnTo>
                  <a:pt x="1510" y="698"/>
                </a:lnTo>
                <a:lnTo>
                  <a:pt x="1507" y="698"/>
                </a:lnTo>
                <a:lnTo>
                  <a:pt x="1503" y="698"/>
                </a:lnTo>
                <a:lnTo>
                  <a:pt x="1503" y="701"/>
                </a:lnTo>
                <a:lnTo>
                  <a:pt x="1503" y="705"/>
                </a:lnTo>
                <a:lnTo>
                  <a:pt x="1500" y="705"/>
                </a:lnTo>
                <a:lnTo>
                  <a:pt x="1503" y="708"/>
                </a:lnTo>
                <a:lnTo>
                  <a:pt x="1503" y="712"/>
                </a:lnTo>
                <a:lnTo>
                  <a:pt x="1503" y="715"/>
                </a:lnTo>
                <a:lnTo>
                  <a:pt x="1500" y="715"/>
                </a:lnTo>
                <a:lnTo>
                  <a:pt x="1497" y="715"/>
                </a:lnTo>
                <a:lnTo>
                  <a:pt x="1493" y="715"/>
                </a:lnTo>
                <a:lnTo>
                  <a:pt x="1490" y="712"/>
                </a:lnTo>
                <a:lnTo>
                  <a:pt x="1490" y="715"/>
                </a:lnTo>
                <a:lnTo>
                  <a:pt x="1486" y="715"/>
                </a:lnTo>
                <a:lnTo>
                  <a:pt x="1486" y="719"/>
                </a:lnTo>
                <a:lnTo>
                  <a:pt x="1486" y="722"/>
                </a:lnTo>
                <a:lnTo>
                  <a:pt x="1486" y="726"/>
                </a:lnTo>
                <a:lnTo>
                  <a:pt x="1486" y="729"/>
                </a:lnTo>
                <a:lnTo>
                  <a:pt x="1483" y="729"/>
                </a:lnTo>
                <a:lnTo>
                  <a:pt x="1479" y="729"/>
                </a:lnTo>
                <a:lnTo>
                  <a:pt x="1479" y="733"/>
                </a:lnTo>
                <a:lnTo>
                  <a:pt x="1476" y="733"/>
                </a:lnTo>
                <a:lnTo>
                  <a:pt x="1476" y="736"/>
                </a:lnTo>
                <a:lnTo>
                  <a:pt x="1472" y="736"/>
                </a:lnTo>
                <a:lnTo>
                  <a:pt x="1469" y="736"/>
                </a:lnTo>
                <a:lnTo>
                  <a:pt x="1465" y="736"/>
                </a:lnTo>
                <a:lnTo>
                  <a:pt x="1462" y="740"/>
                </a:lnTo>
                <a:lnTo>
                  <a:pt x="1458" y="740"/>
                </a:lnTo>
                <a:lnTo>
                  <a:pt x="1455" y="740"/>
                </a:lnTo>
                <a:lnTo>
                  <a:pt x="1451" y="743"/>
                </a:lnTo>
                <a:lnTo>
                  <a:pt x="1448" y="743"/>
                </a:lnTo>
                <a:lnTo>
                  <a:pt x="1444" y="743"/>
                </a:lnTo>
                <a:lnTo>
                  <a:pt x="1441" y="743"/>
                </a:lnTo>
                <a:lnTo>
                  <a:pt x="1438" y="743"/>
                </a:lnTo>
                <a:lnTo>
                  <a:pt x="1434" y="743"/>
                </a:lnTo>
                <a:lnTo>
                  <a:pt x="1434" y="747"/>
                </a:lnTo>
                <a:lnTo>
                  <a:pt x="1427" y="747"/>
                </a:lnTo>
                <a:lnTo>
                  <a:pt x="1424" y="750"/>
                </a:lnTo>
                <a:lnTo>
                  <a:pt x="1420" y="754"/>
                </a:lnTo>
                <a:lnTo>
                  <a:pt x="1417" y="757"/>
                </a:lnTo>
                <a:lnTo>
                  <a:pt x="1417" y="761"/>
                </a:lnTo>
                <a:lnTo>
                  <a:pt x="1417" y="764"/>
                </a:lnTo>
                <a:lnTo>
                  <a:pt x="1417" y="767"/>
                </a:lnTo>
                <a:lnTo>
                  <a:pt x="1420" y="767"/>
                </a:lnTo>
                <a:lnTo>
                  <a:pt x="1420" y="771"/>
                </a:lnTo>
                <a:lnTo>
                  <a:pt x="1420" y="774"/>
                </a:lnTo>
                <a:lnTo>
                  <a:pt x="1420" y="778"/>
                </a:lnTo>
                <a:lnTo>
                  <a:pt x="1420" y="781"/>
                </a:lnTo>
                <a:lnTo>
                  <a:pt x="1420" y="788"/>
                </a:lnTo>
                <a:lnTo>
                  <a:pt x="1420" y="792"/>
                </a:lnTo>
                <a:lnTo>
                  <a:pt x="1417" y="795"/>
                </a:lnTo>
                <a:lnTo>
                  <a:pt x="1417" y="799"/>
                </a:lnTo>
                <a:lnTo>
                  <a:pt x="1413" y="799"/>
                </a:lnTo>
                <a:lnTo>
                  <a:pt x="1413" y="802"/>
                </a:lnTo>
                <a:lnTo>
                  <a:pt x="1417" y="802"/>
                </a:lnTo>
                <a:lnTo>
                  <a:pt x="1417" y="806"/>
                </a:lnTo>
                <a:lnTo>
                  <a:pt x="1413" y="806"/>
                </a:lnTo>
                <a:lnTo>
                  <a:pt x="1413" y="809"/>
                </a:lnTo>
                <a:lnTo>
                  <a:pt x="1410" y="809"/>
                </a:lnTo>
                <a:lnTo>
                  <a:pt x="1406" y="809"/>
                </a:lnTo>
                <a:lnTo>
                  <a:pt x="1403" y="813"/>
                </a:lnTo>
                <a:lnTo>
                  <a:pt x="1399" y="813"/>
                </a:lnTo>
                <a:lnTo>
                  <a:pt x="1399" y="809"/>
                </a:lnTo>
                <a:lnTo>
                  <a:pt x="1396" y="809"/>
                </a:lnTo>
                <a:lnTo>
                  <a:pt x="1396" y="806"/>
                </a:lnTo>
                <a:lnTo>
                  <a:pt x="1396" y="802"/>
                </a:lnTo>
                <a:lnTo>
                  <a:pt x="1396" y="799"/>
                </a:lnTo>
                <a:lnTo>
                  <a:pt x="1396" y="795"/>
                </a:lnTo>
                <a:lnTo>
                  <a:pt x="1396" y="792"/>
                </a:lnTo>
                <a:lnTo>
                  <a:pt x="1392" y="788"/>
                </a:lnTo>
                <a:lnTo>
                  <a:pt x="1389" y="785"/>
                </a:lnTo>
                <a:lnTo>
                  <a:pt x="1389" y="781"/>
                </a:lnTo>
                <a:lnTo>
                  <a:pt x="1385" y="781"/>
                </a:lnTo>
                <a:lnTo>
                  <a:pt x="1385" y="778"/>
                </a:lnTo>
                <a:lnTo>
                  <a:pt x="1385" y="774"/>
                </a:lnTo>
                <a:lnTo>
                  <a:pt x="1385" y="771"/>
                </a:lnTo>
                <a:lnTo>
                  <a:pt x="1382" y="771"/>
                </a:lnTo>
                <a:lnTo>
                  <a:pt x="1379" y="767"/>
                </a:lnTo>
                <a:lnTo>
                  <a:pt x="1375" y="764"/>
                </a:lnTo>
                <a:lnTo>
                  <a:pt x="1375" y="761"/>
                </a:lnTo>
                <a:lnTo>
                  <a:pt x="1372" y="761"/>
                </a:lnTo>
                <a:lnTo>
                  <a:pt x="1372" y="757"/>
                </a:lnTo>
                <a:lnTo>
                  <a:pt x="1368" y="757"/>
                </a:lnTo>
                <a:lnTo>
                  <a:pt x="1365" y="757"/>
                </a:lnTo>
                <a:lnTo>
                  <a:pt x="1361" y="757"/>
                </a:lnTo>
                <a:lnTo>
                  <a:pt x="1358" y="761"/>
                </a:lnTo>
                <a:lnTo>
                  <a:pt x="1358" y="764"/>
                </a:lnTo>
                <a:lnTo>
                  <a:pt x="1354" y="764"/>
                </a:lnTo>
                <a:lnTo>
                  <a:pt x="1354" y="767"/>
                </a:lnTo>
                <a:lnTo>
                  <a:pt x="1351" y="767"/>
                </a:lnTo>
                <a:lnTo>
                  <a:pt x="1351" y="771"/>
                </a:lnTo>
                <a:lnTo>
                  <a:pt x="1347" y="771"/>
                </a:lnTo>
                <a:lnTo>
                  <a:pt x="1347" y="767"/>
                </a:lnTo>
                <a:lnTo>
                  <a:pt x="1344" y="767"/>
                </a:lnTo>
                <a:lnTo>
                  <a:pt x="1340" y="771"/>
                </a:lnTo>
                <a:lnTo>
                  <a:pt x="1340" y="767"/>
                </a:lnTo>
                <a:lnTo>
                  <a:pt x="1340" y="764"/>
                </a:lnTo>
                <a:lnTo>
                  <a:pt x="1337" y="764"/>
                </a:lnTo>
                <a:lnTo>
                  <a:pt x="1333" y="764"/>
                </a:lnTo>
                <a:lnTo>
                  <a:pt x="1333" y="761"/>
                </a:lnTo>
                <a:lnTo>
                  <a:pt x="1330" y="761"/>
                </a:lnTo>
                <a:lnTo>
                  <a:pt x="1326" y="761"/>
                </a:lnTo>
                <a:lnTo>
                  <a:pt x="1323" y="761"/>
                </a:lnTo>
                <a:lnTo>
                  <a:pt x="1319" y="761"/>
                </a:lnTo>
                <a:lnTo>
                  <a:pt x="1316" y="761"/>
                </a:lnTo>
                <a:lnTo>
                  <a:pt x="1313" y="761"/>
                </a:lnTo>
                <a:lnTo>
                  <a:pt x="1313" y="757"/>
                </a:lnTo>
                <a:lnTo>
                  <a:pt x="1313" y="754"/>
                </a:lnTo>
                <a:lnTo>
                  <a:pt x="1309" y="750"/>
                </a:lnTo>
                <a:lnTo>
                  <a:pt x="1306" y="750"/>
                </a:lnTo>
                <a:lnTo>
                  <a:pt x="1306" y="747"/>
                </a:lnTo>
                <a:lnTo>
                  <a:pt x="1306" y="743"/>
                </a:lnTo>
                <a:lnTo>
                  <a:pt x="1309" y="743"/>
                </a:lnTo>
                <a:lnTo>
                  <a:pt x="1309" y="740"/>
                </a:lnTo>
                <a:lnTo>
                  <a:pt x="1309" y="736"/>
                </a:lnTo>
                <a:lnTo>
                  <a:pt x="1306" y="736"/>
                </a:lnTo>
                <a:lnTo>
                  <a:pt x="1306" y="733"/>
                </a:lnTo>
                <a:lnTo>
                  <a:pt x="1302" y="736"/>
                </a:lnTo>
                <a:lnTo>
                  <a:pt x="1299" y="736"/>
                </a:lnTo>
                <a:lnTo>
                  <a:pt x="1295" y="736"/>
                </a:lnTo>
                <a:lnTo>
                  <a:pt x="1292" y="736"/>
                </a:lnTo>
                <a:lnTo>
                  <a:pt x="1288" y="736"/>
                </a:lnTo>
                <a:lnTo>
                  <a:pt x="1285" y="736"/>
                </a:lnTo>
                <a:lnTo>
                  <a:pt x="1281" y="736"/>
                </a:lnTo>
                <a:lnTo>
                  <a:pt x="1278" y="740"/>
                </a:lnTo>
                <a:lnTo>
                  <a:pt x="1274" y="740"/>
                </a:lnTo>
                <a:lnTo>
                  <a:pt x="1271" y="743"/>
                </a:lnTo>
                <a:lnTo>
                  <a:pt x="1267" y="743"/>
                </a:lnTo>
                <a:lnTo>
                  <a:pt x="1264" y="743"/>
                </a:lnTo>
                <a:lnTo>
                  <a:pt x="1260" y="743"/>
                </a:lnTo>
                <a:lnTo>
                  <a:pt x="1257" y="743"/>
                </a:lnTo>
                <a:lnTo>
                  <a:pt x="1254" y="743"/>
                </a:lnTo>
                <a:lnTo>
                  <a:pt x="1250" y="743"/>
                </a:lnTo>
                <a:lnTo>
                  <a:pt x="1247" y="743"/>
                </a:lnTo>
                <a:lnTo>
                  <a:pt x="1243" y="747"/>
                </a:lnTo>
                <a:lnTo>
                  <a:pt x="1243" y="743"/>
                </a:lnTo>
                <a:lnTo>
                  <a:pt x="1240" y="743"/>
                </a:lnTo>
                <a:lnTo>
                  <a:pt x="1240" y="747"/>
                </a:lnTo>
                <a:lnTo>
                  <a:pt x="1236" y="747"/>
                </a:lnTo>
                <a:lnTo>
                  <a:pt x="1236" y="750"/>
                </a:lnTo>
                <a:lnTo>
                  <a:pt x="1233" y="750"/>
                </a:lnTo>
                <a:lnTo>
                  <a:pt x="1229" y="750"/>
                </a:lnTo>
                <a:lnTo>
                  <a:pt x="1226" y="750"/>
                </a:lnTo>
                <a:lnTo>
                  <a:pt x="1222" y="750"/>
                </a:lnTo>
                <a:lnTo>
                  <a:pt x="1219" y="750"/>
                </a:lnTo>
                <a:lnTo>
                  <a:pt x="1215" y="750"/>
                </a:lnTo>
                <a:lnTo>
                  <a:pt x="1212" y="750"/>
                </a:lnTo>
                <a:lnTo>
                  <a:pt x="1212" y="747"/>
                </a:lnTo>
                <a:lnTo>
                  <a:pt x="1212" y="743"/>
                </a:lnTo>
                <a:lnTo>
                  <a:pt x="1208" y="743"/>
                </a:lnTo>
                <a:lnTo>
                  <a:pt x="1205" y="743"/>
                </a:lnTo>
                <a:lnTo>
                  <a:pt x="1201" y="740"/>
                </a:lnTo>
                <a:lnTo>
                  <a:pt x="1198" y="740"/>
                </a:lnTo>
                <a:lnTo>
                  <a:pt x="1194" y="740"/>
                </a:lnTo>
                <a:lnTo>
                  <a:pt x="1191" y="740"/>
                </a:lnTo>
                <a:lnTo>
                  <a:pt x="1188" y="740"/>
                </a:lnTo>
                <a:lnTo>
                  <a:pt x="1184" y="743"/>
                </a:lnTo>
                <a:lnTo>
                  <a:pt x="1181" y="743"/>
                </a:lnTo>
                <a:lnTo>
                  <a:pt x="1177" y="743"/>
                </a:lnTo>
                <a:lnTo>
                  <a:pt x="1174" y="747"/>
                </a:lnTo>
                <a:lnTo>
                  <a:pt x="1170" y="747"/>
                </a:lnTo>
                <a:lnTo>
                  <a:pt x="1167" y="747"/>
                </a:lnTo>
                <a:lnTo>
                  <a:pt x="1167" y="750"/>
                </a:lnTo>
                <a:lnTo>
                  <a:pt x="1163" y="750"/>
                </a:lnTo>
                <a:lnTo>
                  <a:pt x="1160" y="750"/>
                </a:lnTo>
                <a:lnTo>
                  <a:pt x="1156" y="747"/>
                </a:lnTo>
                <a:lnTo>
                  <a:pt x="1153" y="743"/>
                </a:lnTo>
                <a:lnTo>
                  <a:pt x="1153" y="740"/>
                </a:lnTo>
                <a:lnTo>
                  <a:pt x="1149" y="740"/>
                </a:lnTo>
                <a:lnTo>
                  <a:pt x="1146" y="740"/>
                </a:lnTo>
                <a:lnTo>
                  <a:pt x="1146" y="743"/>
                </a:lnTo>
                <a:lnTo>
                  <a:pt x="1142" y="743"/>
                </a:lnTo>
                <a:lnTo>
                  <a:pt x="1139" y="743"/>
                </a:lnTo>
                <a:lnTo>
                  <a:pt x="1135" y="743"/>
                </a:lnTo>
                <a:lnTo>
                  <a:pt x="1135" y="740"/>
                </a:lnTo>
                <a:lnTo>
                  <a:pt x="1132" y="740"/>
                </a:lnTo>
                <a:lnTo>
                  <a:pt x="1129" y="740"/>
                </a:lnTo>
                <a:lnTo>
                  <a:pt x="1129" y="736"/>
                </a:lnTo>
                <a:lnTo>
                  <a:pt x="1129" y="740"/>
                </a:lnTo>
                <a:lnTo>
                  <a:pt x="1125" y="743"/>
                </a:lnTo>
                <a:lnTo>
                  <a:pt x="1122" y="743"/>
                </a:lnTo>
                <a:lnTo>
                  <a:pt x="1118" y="747"/>
                </a:lnTo>
                <a:lnTo>
                  <a:pt x="1115" y="747"/>
                </a:lnTo>
                <a:lnTo>
                  <a:pt x="1115" y="750"/>
                </a:lnTo>
                <a:lnTo>
                  <a:pt x="1111" y="750"/>
                </a:lnTo>
                <a:lnTo>
                  <a:pt x="1108" y="747"/>
                </a:lnTo>
                <a:lnTo>
                  <a:pt x="1104" y="747"/>
                </a:lnTo>
                <a:lnTo>
                  <a:pt x="1101" y="747"/>
                </a:lnTo>
                <a:lnTo>
                  <a:pt x="1101" y="740"/>
                </a:lnTo>
                <a:lnTo>
                  <a:pt x="1097" y="740"/>
                </a:lnTo>
                <a:lnTo>
                  <a:pt x="1097" y="736"/>
                </a:lnTo>
                <a:lnTo>
                  <a:pt x="1094" y="736"/>
                </a:lnTo>
                <a:lnTo>
                  <a:pt x="1090" y="736"/>
                </a:lnTo>
                <a:lnTo>
                  <a:pt x="1090" y="733"/>
                </a:lnTo>
                <a:lnTo>
                  <a:pt x="1087" y="733"/>
                </a:lnTo>
                <a:lnTo>
                  <a:pt x="1087" y="729"/>
                </a:lnTo>
                <a:lnTo>
                  <a:pt x="1087" y="726"/>
                </a:lnTo>
                <a:lnTo>
                  <a:pt x="1087" y="722"/>
                </a:lnTo>
                <a:lnTo>
                  <a:pt x="1087" y="719"/>
                </a:lnTo>
                <a:lnTo>
                  <a:pt x="1083" y="719"/>
                </a:lnTo>
                <a:lnTo>
                  <a:pt x="1083" y="715"/>
                </a:lnTo>
                <a:lnTo>
                  <a:pt x="1083" y="712"/>
                </a:lnTo>
                <a:lnTo>
                  <a:pt x="1080" y="708"/>
                </a:lnTo>
                <a:lnTo>
                  <a:pt x="1076" y="705"/>
                </a:lnTo>
                <a:lnTo>
                  <a:pt x="1076" y="701"/>
                </a:lnTo>
                <a:lnTo>
                  <a:pt x="1073" y="701"/>
                </a:lnTo>
                <a:lnTo>
                  <a:pt x="1069" y="701"/>
                </a:lnTo>
                <a:lnTo>
                  <a:pt x="1066" y="698"/>
                </a:lnTo>
                <a:lnTo>
                  <a:pt x="1063" y="701"/>
                </a:lnTo>
                <a:lnTo>
                  <a:pt x="1063" y="698"/>
                </a:lnTo>
                <a:lnTo>
                  <a:pt x="1059" y="698"/>
                </a:lnTo>
                <a:lnTo>
                  <a:pt x="1059" y="695"/>
                </a:lnTo>
                <a:lnTo>
                  <a:pt x="1056" y="695"/>
                </a:lnTo>
                <a:lnTo>
                  <a:pt x="1052" y="695"/>
                </a:lnTo>
                <a:lnTo>
                  <a:pt x="1052" y="691"/>
                </a:lnTo>
                <a:lnTo>
                  <a:pt x="1049" y="691"/>
                </a:lnTo>
                <a:lnTo>
                  <a:pt x="1045" y="691"/>
                </a:lnTo>
                <a:lnTo>
                  <a:pt x="1042" y="691"/>
                </a:lnTo>
                <a:lnTo>
                  <a:pt x="1038" y="691"/>
                </a:lnTo>
                <a:lnTo>
                  <a:pt x="1035" y="688"/>
                </a:lnTo>
                <a:lnTo>
                  <a:pt x="1031" y="688"/>
                </a:lnTo>
                <a:lnTo>
                  <a:pt x="1028" y="688"/>
                </a:lnTo>
                <a:lnTo>
                  <a:pt x="1028" y="684"/>
                </a:lnTo>
                <a:lnTo>
                  <a:pt x="1024" y="684"/>
                </a:lnTo>
                <a:lnTo>
                  <a:pt x="1021" y="684"/>
                </a:lnTo>
                <a:lnTo>
                  <a:pt x="1017" y="684"/>
                </a:lnTo>
                <a:lnTo>
                  <a:pt x="1017" y="688"/>
                </a:lnTo>
                <a:lnTo>
                  <a:pt x="1014" y="688"/>
                </a:lnTo>
                <a:lnTo>
                  <a:pt x="1010" y="688"/>
                </a:lnTo>
                <a:lnTo>
                  <a:pt x="1010" y="691"/>
                </a:lnTo>
                <a:lnTo>
                  <a:pt x="1007" y="691"/>
                </a:lnTo>
                <a:lnTo>
                  <a:pt x="1007" y="695"/>
                </a:lnTo>
                <a:lnTo>
                  <a:pt x="1004" y="695"/>
                </a:lnTo>
                <a:lnTo>
                  <a:pt x="1004" y="698"/>
                </a:lnTo>
                <a:lnTo>
                  <a:pt x="1000" y="698"/>
                </a:lnTo>
                <a:lnTo>
                  <a:pt x="997" y="698"/>
                </a:lnTo>
                <a:lnTo>
                  <a:pt x="993" y="698"/>
                </a:lnTo>
                <a:lnTo>
                  <a:pt x="990" y="695"/>
                </a:lnTo>
                <a:lnTo>
                  <a:pt x="986" y="691"/>
                </a:lnTo>
                <a:lnTo>
                  <a:pt x="983" y="691"/>
                </a:lnTo>
                <a:lnTo>
                  <a:pt x="979" y="691"/>
                </a:lnTo>
                <a:lnTo>
                  <a:pt x="979" y="688"/>
                </a:lnTo>
                <a:lnTo>
                  <a:pt x="979" y="684"/>
                </a:lnTo>
                <a:lnTo>
                  <a:pt x="976" y="684"/>
                </a:lnTo>
                <a:lnTo>
                  <a:pt x="972" y="681"/>
                </a:lnTo>
                <a:lnTo>
                  <a:pt x="969" y="681"/>
                </a:lnTo>
                <a:lnTo>
                  <a:pt x="965" y="681"/>
                </a:lnTo>
                <a:lnTo>
                  <a:pt x="962" y="677"/>
                </a:lnTo>
                <a:lnTo>
                  <a:pt x="958" y="677"/>
                </a:lnTo>
                <a:lnTo>
                  <a:pt x="958" y="674"/>
                </a:lnTo>
                <a:lnTo>
                  <a:pt x="955" y="674"/>
                </a:lnTo>
                <a:lnTo>
                  <a:pt x="955" y="670"/>
                </a:lnTo>
                <a:lnTo>
                  <a:pt x="951" y="670"/>
                </a:lnTo>
                <a:lnTo>
                  <a:pt x="948" y="667"/>
                </a:lnTo>
                <a:lnTo>
                  <a:pt x="944" y="667"/>
                </a:lnTo>
                <a:lnTo>
                  <a:pt x="941" y="663"/>
                </a:lnTo>
                <a:lnTo>
                  <a:pt x="938" y="663"/>
                </a:lnTo>
                <a:lnTo>
                  <a:pt x="934" y="663"/>
                </a:lnTo>
                <a:lnTo>
                  <a:pt x="934" y="660"/>
                </a:lnTo>
                <a:lnTo>
                  <a:pt x="931" y="656"/>
                </a:lnTo>
                <a:lnTo>
                  <a:pt x="927" y="656"/>
                </a:lnTo>
                <a:lnTo>
                  <a:pt x="924" y="656"/>
                </a:lnTo>
                <a:lnTo>
                  <a:pt x="920" y="656"/>
                </a:lnTo>
                <a:lnTo>
                  <a:pt x="917" y="656"/>
                </a:lnTo>
                <a:lnTo>
                  <a:pt x="913" y="656"/>
                </a:lnTo>
                <a:lnTo>
                  <a:pt x="910" y="656"/>
                </a:lnTo>
                <a:lnTo>
                  <a:pt x="906" y="656"/>
                </a:lnTo>
                <a:lnTo>
                  <a:pt x="903" y="653"/>
                </a:lnTo>
                <a:lnTo>
                  <a:pt x="899" y="656"/>
                </a:lnTo>
                <a:lnTo>
                  <a:pt x="896" y="656"/>
                </a:lnTo>
                <a:lnTo>
                  <a:pt x="892" y="656"/>
                </a:lnTo>
                <a:lnTo>
                  <a:pt x="892" y="660"/>
                </a:lnTo>
                <a:lnTo>
                  <a:pt x="889" y="660"/>
                </a:lnTo>
                <a:lnTo>
                  <a:pt x="885" y="663"/>
                </a:lnTo>
                <a:lnTo>
                  <a:pt x="882" y="663"/>
                </a:lnTo>
                <a:lnTo>
                  <a:pt x="879" y="663"/>
                </a:lnTo>
                <a:lnTo>
                  <a:pt x="875" y="663"/>
                </a:lnTo>
                <a:lnTo>
                  <a:pt x="875" y="660"/>
                </a:lnTo>
                <a:lnTo>
                  <a:pt x="872" y="660"/>
                </a:lnTo>
                <a:lnTo>
                  <a:pt x="868" y="660"/>
                </a:lnTo>
                <a:lnTo>
                  <a:pt x="865" y="656"/>
                </a:lnTo>
                <a:lnTo>
                  <a:pt x="865" y="660"/>
                </a:lnTo>
                <a:lnTo>
                  <a:pt x="861" y="660"/>
                </a:lnTo>
                <a:lnTo>
                  <a:pt x="865" y="663"/>
                </a:lnTo>
                <a:lnTo>
                  <a:pt x="861" y="663"/>
                </a:lnTo>
                <a:lnTo>
                  <a:pt x="858" y="663"/>
                </a:lnTo>
                <a:lnTo>
                  <a:pt x="858" y="667"/>
                </a:lnTo>
                <a:lnTo>
                  <a:pt x="854" y="667"/>
                </a:lnTo>
                <a:lnTo>
                  <a:pt x="854" y="670"/>
                </a:lnTo>
                <a:lnTo>
                  <a:pt x="851" y="670"/>
                </a:lnTo>
                <a:lnTo>
                  <a:pt x="847" y="670"/>
                </a:lnTo>
                <a:lnTo>
                  <a:pt x="844" y="670"/>
                </a:lnTo>
                <a:lnTo>
                  <a:pt x="840" y="670"/>
                </a:lnTo>
                <a:lnTo>
                  <a:pt x="837" y="670"/>
                </a:lnTo>
                <a:lnTo>
                  <a:pt x="837" y="674"/>
                </a:lnTo>
                <a:lnTo>
                  <a:pt x="837" y="670"/>
                </a:lnTo>
                <a:lnTo>
                  <a:pt x="833" y="670"/>
                </a:lnTo>
                <a:lnTo>
                  <a:pt x="833" y="667"/>
                </a:lnTo>
                <a:lnTo>
                  <a:pt x="830" y="667"/>
                </a:lnTo>
                <a:lnTo>
                  <a:pt x="826" y="667"/>
                </a:lnTo>
                <a:lnTo>
                  <a:pt x="826" y="663"/>
                </a:lnTo>
                <a:lnTo>
                  <a:pt x="826" y="660"/>
                </a:lnTo>
                <a:lnTo>
                  <a:pt x="823" y="660"/>
                </a:lnTo>
                <a:lnTo>
                  <a:pt x="820" y="660"/>
                </a:lnTo>
                <a:lnTo>
                  <a:pt x="816" y="660"/>
                </a:lnTo>
                <a:lnTo>
                  <a:pt x="816" y="663"/>
                </a:lnTo>
                <a:lnTo>
                  <a:pt x="813" y="660"/>
                </a:lnTo>
                <a:lnTo>
                  <a:pt x="809" y="660"/>
                </a:lnTo>
                <a:lnTo>
                  <a:pt x="806" y="660"/>
                </a:lnTo>
                <a:lnTo>
                  <a:pt x="802" y="660"/>
                </a:lnTo>
                <a:lnTo>
                  <a:pt x="799" y="660"/>
                </a:lnTo>
                <a:lnTo>
                  <a:pt x="795" y="660"/>
                </a:lnTo>
                <a:lnTo>
                  <a:pt x="792" y="660"/>
                </a:lnTo>
                <a:lnTo>
                  <a:pt x="792" y="656"/>
                </a:lnTo>
                <a:lnTo>
                  <a:pt x="788" y="653"/>
                </a:lnTo>
                <a:lnTo>
                  <a:pt x="785" y="653"/>
                </a:lnTo>
                <a:lnTo>
                  <a:pt x="781" y="653"/>
                </a:lnTo>
                <a:lnTo>
                  <a:pt x="778" y="653"/>
                </a:lnTo>
                <a:lnTo>
                  <a:pt x="774" y="656"/>
                </a:lnTo>
                <a:lnTo>
                  <a:pt x="771" y="653"/>
                </a:lnTo>
                <a:lnTo>
                  <a:pt x="767" y="653"/>
                </a:lnTo>
                <a:lnTo>
                  <a:pt x="764" y="653"/>
                </a:lnTo>
                <a:lnTo>
                  <a:pt x="760" y="653"/>
                </a:lnTo>
                <a:lnTo>
                  <a:pt x="760" y="656"/>
                </a:lnTo>
                <a:lnTo>
                  <a:pt x="757" y="653"/>
                </a:lnTo>
                <a:lnTo>
                  <a:pt x="754" y="656"/>
                </a:lnTo>
                <a:lnTo>
                  <a:pt x="754" y="653"/>
                </a:lnTo>
                <a:lnTo>
                  <a:pt x="750" y="653"/>
                </a:lnTo>
                <a:lnTo>
                  <a:pt x="747" y="653"/>
                </a:lnTo>
                <a:lnTo>
                  <a:pt x="747" y="649"/>
                </a:lnTo>
                <a:lnTo>
                  <a:pt x="743" y="649"/>
                </a:lnTo>
                <a:lnTo>
                  <a:pt x="740" y="649"/>
                </a:lnTo>
                <a:lnTo>
                  <a:pt x="740" y="646"/>
                </a:lnTo>
                <a:lnTo>
                  <a:pt x="733" y="646"/>
                </a:lnTo>
                <a:lnTo>
                  <a:pt x="729" y="642"/>
                </a:lnTo>
                <a:lnTo>
                  <a:pt x="726" y="642"/>
                </a:lnTo>
                <a:lnTo>
                  <a:pt x="726" y="639"/>
                </a:lnTo>
                <a:lnTo>
                  <a:pt x="722" y="639"/>
                </a:lnTo>
                <a:lnTo>
                  <a:pt x="719" y="636"/>
                </a:lnTo>
                <a:lnTo>
                  <a:pt x="715" y="636"/>
                </a:lnTo>
                <a:lnTo>
                  <a:pt x="715" y="632"/>
                </a:lnTo>
                <a:lnTo>
                  <a:pt x="712" y="632"/>
                </a:lnTo>
                <a:lnTo>
                  <a:pt x="708" y="632"/>
                </a:lnTo>
                <a:lnTo>
                  <a:pt x="705" y="632"/>
                </a:lnTo>
                <a:lnTo>
                  <a:pt x="701" y="632"/>
                </a:lnTo>
                <a:lnTo>
                  <a:pt x="698" y="632"/>
                </a:lnTo>
                <a:lnTo>
                  <a:pt x="695" y="632"/>
                </a:lnTo>
                <a:lnTo>
                  <a:pt x="695" y="629"/>
                </a:lnTo>
                <a:lnTo>
                  <a:pt x="691" y="629"/>
                </a:lnTo>
                <a:lnTo>
                  <a:pt x="688" y="629"/>
                </a:lnTo>
                <a:lnTo>
                  <a:pt x="684" y="629"/>
                </a:lnTo>
                <a:lnTo>
                  <a:pt x="684" y="632"/>
                </a:lnTo>
                <a:lnTo>
                  <a:pt x="684" y="636"/>
                </a:lnTo>
                <a:lnTo>
                  <a:pt x="681" y="636"/>
                </a:lnTo>
                <a:lnTo>
                  <a:pt x="677" y="636"/>
                </a:lnTo>
                <a:lnTo>
                  <a:pt x="674" y="636"/>
                </a:lnTo>
                <a:lnTo>
                  <a:pt x="670" y="632"/>
                </a:lnTo>
                <a:lnTo>
                  <a:pt x="674" y="629"/>
                </a:lnTo>
                <a:lnTo>
                  <a:pt x="670" y="629"/>
                </a:lnTo>
                <a:lnTo>
                  <a:pt x="670" y="625"/>
                </a:lnTo>
                <a:lnTo>
                  <a:pt x="667" y="625"/>
                </a:lnTo>
                <a:lnTo>
                  <a:pt x="667" y="622"/>
                </a:lnTo>
                <a:lnTo>
                  <a:pt x="663" y="622"/>
                </a:lnTo>
                <a:lnTo>
                  <a:pt x="660" y="622"/>
                </a:lnTo>
                <a:lnTo>
                  <a:pt x="656" y="622"/>
                </a:lnTo>
                <a:lnTo>
                  <a:pt x="653" y="618"/>
                </a:lnTo>
                <a:lnTo>
                  <a:pt x="653" y="622"/>
                </a:lnTo>
                <a:lnTo>
                  <a:pt x="649" y="622"/>
                </a:lnTo>
                <a:lnTo>
                  <a:pt x="649" y="625"/>
                </a:lnTo>
                <a:lnTo>
                  <a:pt x="646" y="625"/>
                </a:lnTo>
                <a:lnTo>
                  <a:pt x="642" y="625"/>
                </a:lnTo>
                <a:lnTo>
                  <a:pt x="639" y="625"/>
                </a:lnTo>
                <a:lnTo>
                  <a:pt x="635" y="629"/>
                </a:lnTo>
                <a:lnTo>
                  <a:pt x="632" y="625"/>
                </a:lnTo>
                <a:lnTo>
                  <a:pt x="632" y="622"/>
                </a:lnTo>
                <a:lnTo>
                  <a:pt x="629" y="622"/>
                </a:lnTo>
                <a:lnTo>
                  <a:pt x="632" y="622"/>
                </a:lnTo>
                <a:lnTo>
                  <a:pt x="629" y="618"/>
                </a:lnTo>
                <a:lnTo>
                  <a:pt x="625" y="618"/>
                </a:lnTo>
                <a:lnTo>
                  <a:pt x="625" y="615"/>
                </a:lnTo>
                <a:lnTo>
                  <a:pt x="625" y="611"/>
                </a:lnTo>
                <a:lnTo>
                  <a:pt x="625" y="608"/>
                </a:lnTo>
                <a:lnTo>
                  <a:pt x="622" y="608"/>
                </a:lnTo>
                <a:lnTo>
                  <a:pt x="618" y="608"/>
                </a:lnTo>
                <a:lnTo>
                  <a:pt x="615" y="608"/>
                </a:lnTo>
                <a:lnTo>
                  <a:pt x="615" y="611"/>
                </a:lnTo>
                <a:lnTo>
                  <a:pt x="608" y="611"/>
                </a:lnTo>
                <a:lnTo>
                  <a:pt x="608" y="615"/>
                </a:lnTo>
                <a:lnTo>
                  <a:pt x="608" y="611"/>
                </a:lnTo>
                <a:lnTo>
                  <a:pt x="604" y="615"/>
                </a:lnTo>
                <a:lnTo>
                  <a:pt x="601" y="615"/>
                </a:lnTo>
                <a:lnTo>
                  <a:pt x="597" y="615"/>
                </a:lnTo>
                <a:lnTo>
                  <a:pt x="594" y="615"/>
                </a:lnTo>
                <a:lnTo>
                  <a:pt x="590" y="615"/>
                </a:lnTo>
                <a:lnTo>
                  <a:pt x="587" y="615"/>
                </a:lnTo>
                <a:lnTo>
                  <a:pt x="583" y="615"/>
                </a:lnTo>
                <a:lnTo>
                  <a:pt x="583" y="618"/>
                </a:lnTo>
                <a:lnTo>
                  <a:pt x="580" y="618"/>
                </a:lnTo>
                <a:lnTo>
                  <a:pt x="576" y="615"/>
                </a:lnTo>
                <a:lnTo>
                  <a:pt x="573" y="615"/>
                </a:lnTo>
                <a:lnTo>
                  <a:pt x="570" y="615"/>
                </a:lnTo>
                <a:lnTo>
                  <a:pt x="566" y="615"/>
                </a:lnTo>
                <a:lnTo>
                  <a:pt x="563" y="615"/>
                </a:lnTo>
                <a:lnTo>
                  <a:pt x="559" y="615"/>
                </a:lnTo>
                <a:lnTo>
                  <a:pt x="559" y="611"/>
                </a:lnTo>
                <a:lnTo>
                  <a:pt x="556" y="611"/>
                </a:lnTo>
                <a:lnTo>
                  <a:pt x="552" y="611"/>
                </a:lnTo>
                <a:lnTo>
                  <a:pt x="552" y="608"/>
                </a:lnTo>
                <a:lnTo>
                  <a:pt x="552" y="604"/>
                </a:lnTo>
                <a:lnTo>
                  <a:pt x="556" y="601"/>
                </a:lnTo>
                <a:lnTo>
                  <a:pt x="552" y="601"/>
                </a:lnTo>
                <a:lnTo>
                  <a:pt x="549" y="601"/>
                </a:lnTo>
                <a:lnTo>
                  <a:pt x="545" y="601"/>
                </a:lnTo>
                <a:lnTo>
                  <a:pt x="542" y="597"/>
                </a:lnTo>
                <a:lnTo>
                  <a:pt x="538" y="594"/>
                </a:lnTo>
                <a:lnTo>
                  <a:pt x="535" y="597"/>
                </a:lnTo>
                <a:lnTo>
                  <a:pt x="535" y="594"/>
                </a:lnTo>
                <a:lnTo>
                  <a:pt x="531" y="594"/>
                </a:lnTo>
                <a:lnTo>
                  <a:pt x="528" y="594"/>
                </a:lnTo>
                <a:lnTo>
                  <a:pt x="528" y="597"/>
                </a:lnTo>
                <a:lnTo>
                  <a:pt x="524" y="597"/>
                </a:lnTo>
                <a:lnTo>
                  <a:pt x="528" y="604"/>
                </a:lnTo>
                <a:lnTo>
                  <a:pt x="524" y="604"/>
                </a:lnTo>
                <a:lnTo>
                  <a:pt x="521" y="604"/>
                </a:lnTo>
                <a:lnTo>
                  <a:pt x="517" y="604"/>
                </a:lnTo>
                <a:lnTo>
                  <a:pt x="514" y="604"/>
                </a:lnTo>
                <a:lnTo>
                  <a:pt x="514" y="608"/>
                </a:lnTo>
                <a:lnTo>
                  <a:pt x="510" y="604"/>
                </a:lnTo>
                <a:lnTo>
                  <a:pt x="507" y="604"/>
                </a:lnTo>
                <a:lnTo>
                  <a:pt x="504" y="608"/>
                </a:lnTo>
                <a:lnTo>
                  <a:pt x="500" y="611"/>
                </a:lnTo>
                <a:lnTo>
                  <a:pt x="500" y="615"/>
                </a:lnTo>
                <a:lnTo>
                  <a:pt x="497" y="615"/>
                </a:lnTo>
                <a:lnTo>
                  <a:pt x="493" y="618"/>
                </a:lnTo>
                <a:lnTo>
                  <a:pt x="490" y="618"/>
                </a:lnTo>
                <a:lnTo>
                  <a:pt x="490" y="622"/>
                </a:lnTo>
                <a:lnTo>
                  <a:pt x="486" y="622"/>
                </a:lnTo>
                <a:lnTo>
                  <a:pt x="483" y="622"/>
                </a:lnTo>
                <a:lnTo>
                  <a:pt x="479" y="618"/>
                </a:lnTo>
                <a:lnTo>
                  <a:pt x="476" y="618"/>
                </a:lnTo>
                <a:lnTo>
                  <a:pt x="476" y="615"/>
                </a:lnTo>
                <a:lnTo>
                  <a:pt x="472" y="615"/>
                </a:lnTo>
                <a:lnTo>
                  <a:pt x="469" y="615"/>
                </a:lnTo>
                <a:lnTo>
                  <a:pt x="465" y="615"/>
                </a:lnTo>
                <a:lnTo>
                  <a:pt x="462" y="615"/>
                </a:lnTo>
                <a:lnTo>
                  <a:pt x="458" y="615"/>
                </a:lnTo>
                <a:lnTo>
                  <a:pt x="455" y="615"/>
                </a:lnTo>
                <a:lnTo>
                  <a:pt x="455" y="611"/>
                </a:lnTo>
                <a:lnTo>
                  <a:pt x="451" y="611"/>
                </a:lnTo>
                <a:lnTo>
                  <a:pt x="448" y="615"/>
                </a:lnTo>
                <a:lnTo>
                  <a:pt x="445" y="615"/>
                </a:lnTo>
                <a:lnTo>
                  <a:pt x="441" y="615"/>
                </a:lnTo>
                <a:lnTo>
                  <a:pt x="441" y="611"/>
                </a:lnTo>
                <a:lnTo>
                  <a:pt x="438" y="615"/>
                </a:lnTo>
                <a:lnTo>
                  <a:pt x="434" y="615"/>
                </a:lnTo>
                <a:lnTo>
                  <a:pt x="434" y="618"/>
                </a:lnTo>
                <a:lnTo>
                  <a:pt x="431" y="618"/>
                </a:lnTo>
                <a:lnTo>
                  <a:pt x="431" y="622"/>
                </a:lnTo>
                <a:lnTo>
                  <a:pt x="427" y="622"/>
                </a:lnTo>
                <a:lnTo>
                  <a:pt x="424" y="622"/>
                </a:lnTo>
                <a:lnTo>
                  <a:pt x="424" y="618"/>
                </a:lnTo>
                <a:lnTo>
                  <a:pt x="424" y="615"/>
                </a:lnTo>
                <a:lnTo>
                  <a:pt x="424" y="611"/>
                </a:lnTo>
                <a:lnTo>
                  <a:pt x="420" y="611"/>
                </a:lnTo>
                <a:lnTo>
                  <a:pt x="420" y="608"/>
                </a:lnTo>
                <a:lnTo>
                  <a:pt x="417" y="608"/>
                </a:lnTo>
                <a:lnTo>
                  <a:pt x="413" y="604"/>
                </a:lnTo>
                <a:lnTo>
                  <a:pt x="413" y="601"/>
                </a:lnTo>
                <a:lnTo>
                  <a:pt x="410" y="604"/>
                </a:lnTo>
                <a:lnTo>
                  <a:pt x="406" y="604"/>
                </a:lnTo>
                <a:lnTo>
                  <a:pt x="406" y="601"/>
                </a:lnTo>
                <a:lnTo>
                  <a:pt x="403" y="601"/>
                </a:lnTo>
                <a:lnTo>
                  <a:pt x="399" y="601"/>
                </a:lnTo>
                <a:lnTo>
                  <a:pt x="396" y="601"/>
                </a:lnTo>
                <a:lnTo>
                  <a:pt x="392" y="597"/>
                </a:lnTo>
                <a:lnTo>
                  <a:pt x="389" y="594"/>
                </a:lnTo>
                <a:lnTo>
                  <a:pt x="385" y="594"/>
                </a:lnTo>
                <a:lnTo>
                  <a:pt x="385" y="590"/>
                </a:lnTo>
                <a:lnTo>
                  <a:pt x="382" y="590"/>
                </a:lnTo>
                <a:lnTo>
                  <a:pt x="379" y="587"/>
                </a:lnTo>
                <a:lnTo>
                  <a:pt x="379" y="583"/>
                </a:lnTo>
                <a:lnTo>
                  <a:pt x="375" y="583"/>
                </a:lnTo>
                <a:lnTo>
                  <a:pt x="375" y="580"/>
                </a:lnTo>
                <a:lnTo>
                  <a:pt x="375" y="583"/>
                </a:lnTo>
                <a:lnTo>
                  <a:pt x="372" y="583"/>
                </a:lnTo>
                <a:lnTo>
                  <a:pt x="368" y="583"/>
                </a:lnTo>
                <a:lnTo>
                  <a:pt x="365" y="583"/>
                </a:lnTo>
                <a:lnTo>
                  <a:pt x="365" y="580"/>
                </a:lnTo>
                <a:lnTo>
                  <a:pt x="365" y="583"/>
                </a:lnTo>
                <a:lnTo>
                  <a:pt x="361" y="583"/>
                </a:lnTo>
                <a:lnTo>
                  <a:pt x="358" y="583"/>
                </a:lnTo>
                <a:lnTo>
                  <a:pt x="358" y="580"/>
                </a:lnTo>
                <a:lnTo>
                  <a:pt x="354" y="580"/>
                </a:lnTo>
                <a:lnTo>
                  <a:pt x="351" y="580"/>
                </a:lnTo>
                <a:lnTo>
                  <a:pt x="347" y="580"/>
                </a:lnTo>
                <a:lnTo>
                  <a:pt x="344" y="580"/>
                </a:lnTo>
                <a:lnTo>
                  <a:pt x="344" y="576"/>
                </a:lnTo>
                <a:lnTo>
                  <a:pt x="340" y="576"/>
                </a:lnTo>
                <a:lnTo>
                  <a:pt x="337" y="576"/>
                </a:lnTo>
                <a:lnTo>
                  <a:pt x="333" y="576"/>
                </a:lnTo>
                <a:lnTo>
                  <a:pt x="330" y="576"/>
                </a:lnTo>
                <a:lnTo>
                  <a:pt x="326" y="576"/>
                </a:lnTo>
                <a:lnTo>
                  <a:pt x="326" y="573"/>
                </a:lnTo>
                <a:lnTo>
                  <a:pt x="323" y="573"/>
                </a:lnTo>
                <a:lnTo>
                  <a:pt x="323" y="570"/>
                </a:lnTo>
                <a:lnTo>
                  <a:pt x="320" y="570"/>
                </a:lnTo>
                <a:lnTo>
                  <a:pt x="316" y="570"/>
                </a:lnTo>
                <a:lnTo>
                  <a:pt x="313" y="570"/>
                </a:lnTo>
                <a:lnTo>
                  <a:pt x="313" y="573"/>
                </a:lnTo>
                <a:lnTo>
                  <a:pt x="309" y="573"/>
                </a:lnTo>
                <a:lnTo>
                  <a:pt x="306" y="573"/>
                </a:lnTo>
                <a:lnTo>
                  <a:pt x="306" y="570"/>
                </a:lnTo>
                <a:lnTo>
                  <a:pt x="306" y="573"/>
                </a:lnTo>
                <a:lnTo>
                  <a:pt x="302" y="573"/>
                </a:lnTo>
                <a:lnTo>
                  <a:pt x="302" y="570"/>
                </a:lnTo>
                <a:lnTo>
                  <a:pt x="299" y="570"/>
                </a:lnTo>
                <a:lnTo>
                  <a:pt x="299" y="573"/>
                </a:lnTo>
                <a:lnTo>
                  <a:pt x="295" y="573"/>
                </a:lnTo>
                <a:lnTo>
                  <a:pt x="292" y="573"/>
                </a:lnTo>
                <a:lnTo>
                  <a:pt x="292" y="576"/>
                </a:lnTo>
                <a:lnTo>
                  <a:pt x="288" y="576"/>
                </a:lnTo>
                <a:lnTo>
                  <a:pt x="285" y="573"/>
                </a:lnTo>
                <a:lnTo>
                  <a:pt x="281" y="573"/>
                </a:lnTo>
                <a:lnTo>
                  <a:pt x="278" y="573"/>
                </a:lnTo>
                <a:lnTo>
                  <a:pt x="278" y="576"/>
                </a:lnTo>
                <a:lnTo>
                  <a:pt x="274" y="573"/>
                </a:lnTo>
                <a:lnTo>
                  <a:pt x="271" y="570"/>
                </a:lnTo>
                <a:lnTo>
                  <a:pt x="267" y="570"/>
                </a:lnTo>
                <a:lnTo>
                  <a:pt x="264" y="570"/>
                </a:lnTo>
                <a:lnTo>
                  <a:pt x="261" y="573"/>
                </a:lnTo>
                <a:lnTo>
                  <a:pt x="257" y="570"/>
                </a:lnTo>
                <a:lnTo>
                  <a:pt x="254" y="570"/>
                </a:lnTo>
                <a:lnTo>
                  <a:pt x="250" y="570"/>
                </a:lnTo>
                <a:lnTo>
                  <a:pt x="247" y="570"/>
                </a:lnTo>
                <a:lnTo>
                  <a:pt x="243" y="570"/>
                </a:lnTo>
                <a:lnTo>
                  <a:pt x="240" y="570"/>
                </a:lnTo>
                <a:lnTo>
                  <a:pt x="236" y="570"/>
                </a:lnTo>
                <a:lnTo>
                  <a:pt x="233" y="570"/>
                </a:lnTo>
                <a:lnTo>
                  <a:pt x="233" y="566"/>
                </a:lnTo>
                <a:lnTo>
                  <a:pt x="229" y="566"/>
                </a:lnTo>
                <a:lnTo>
                  <a:pt x="226" y="566"/>
                </a:lnTo>
                <a:lnTo>
                  <a:pt x="222" y="563"/>
                </a:lnTo>
                <a:lnTo>
                  <a:pt x="222" y="566"/>
                </a:lnTo>
                <a:lnTo>
                  <a:pt x="219" y="566"/>
                </a:lnTo>
                <a:lnTo>
                  <a:pt x="219" y="570"/>
                </a:lnTo>
                <a:lnTo>
                  <a:pt x="215" y="570"/>
                </a:lnTo>
                <a:lnTo>
                  <a:pt x="212" y="566"/>
                </a:lnTo>
                <a:lnTo>
                  <a:pt x="208" y="566"/>
                </a:lnTo>
                <a:lnTo>
                  <a:pt x="208" y="563"/>
                </a:lnTo>
                <a:lnTo>
                  <a:pt x="205" y="563"/>
                </a:lnTo>
                <a:lnTo>
                  <a:pt x="205" y="559"/>
                </a:lnTo>
                <a:lnTo>
                  <a:pt x="201" y="559"/>
                </a:lnTo>
                <a:lnTo>
                  <a:pt x="198" y="559"/>
                </a:lnTo>
                <a:lnTo>
                  <a:pt x="198" y="563"/>
                </a:lnTo>
                <a:lnTo>
                  <a:pt x="195" y="563"/>
                </a:lnTo>
                <a:lnTo>
                  <a:pt x="191" y="563"/>
                </a:lnTo>
                <a:lnTo>
                  <a:pt x="191" y="559"/>
                </a:lnTo>
                <a:lnTo>
                  <a:pt x="188" y="559"/>
                </a:lnTo>
                <a:lnTo>
                  <a:pt x="188" y="563"/>
                </a:lnTo>
                <a:lnTo>
                  <a:pt x="184" y="563"/>
                </a:lnTo>
                <a:lnTo>
                  <a:pt x="181" y="563"/>
                </a:lnTo>
                <a:lnTo>
                  <a:pt x="181" y="559"/>
                </a:lnTo>
                <a:lnTo>
                  <a:pt x="177" y="559"/>
                </a:lnTo>
                <a:lnTo>
                  <a:pt x="177" y="563"/>
                </a:lnTo>
                <a:lnTo>
                  <a:pt x="174" y="563"/>
                </a:lnTo>
                <a:lnTo>
                  <a:pt x="170" y="563"/>
                </a:lnTo>
                <a:lnTo>
                  <a:pt x="167" y="563"/>
                </a:lnTo>
                <a:lnTo>
                  <a:pt x="163" y="563"/>
                </a:lnTo>
                <a:lnTo>
                  <a:pt x="160" y="563"/>
                </a:lnTo>
                <a:lnTo>
                  <a:pt x="156" y="563"/>
                </a:lnTo>
                <a:lnTo>
                  <a:pt x="156" y="559"/>
                </a:lnTo>
                <a:lnTo>
                  <a:pt x="153" y="563"/>
                </a:lnTo>
                <a:lnTo>
                  <a:pt x="149" y="566"/>
                </a:lnTo>
                <a:lnTo>
                  <a:pt x="146" y="566"/>
                </a:lnTo>
                <a:lnTo>
                  <a:pt x="142" y="566"/>
                </a:lnTo>
                <a:lnTo>
                  <a:pt x="139" y="563"/>
                </a:lnTo>
                <a:lnTo>
                  <a:pt x="136" y="563"/>
                </a:lnTo>
                <a:lnTo>
                  <a:pt x="132" y="563"/>
                </a:lnTo>
                <a:lnTo>
                  <a:pt x="132" y="559"/>
                </a:lnTo>
                <a:lnTo>
                  <a:pt x="132" y="556"/>
                </a:lnTo>
                <a:lnTo>
                  <a:pt x="132" y="552"/>
                </a:lnTo>
                <a:lnTo>
                  <a:pt x="132" y="549"/>
                </a:lnTo>
                <a:lnTo>
                  <a:pt x="132" y="545"/>
                </a:lnTo>
                <a:lnTo>
                  <a:pt x="136" y="542"/>
                </a:lnTo>
                <a:lnTo>
                  <a:pt x="132" y="542"/>
                </a:lnTo>
                <a:lnTo>
                  <a:pt x="129" y="538"/>
                </a:lnTo>
                <a:lnTo>
                  <a:pt x="125" y="538"/>
                </a:lnTo>
                <a:lnTo>
                  <a:pt x="122" y="542"/>
                </a:lnTo>
                <a:lnTo>
                  <a:pt x="118" y="538"/>
                </a:lnTo>
                <a:lnTo>
                  <a:pt x="115" y="538"/>
                </a:lnTo>
                <a:lnTo>
                  <a:pt x="111" y="535"/>
                </a:lnTo>
                <a:lnTo>
                  <a:pt x="108" y="535"/>
                </a:lnTo>
                <a:lnTo>
                  <a:pt x="108" y="531"/>
                </a:lnTo>
                <a:lnTo>
                  <a:pt x="104" y="531"/>
                </a:lnTo>
                <a:lnTo>
                  <a:pt x="104" y="528"/>
                </a:lnTo>
                <a:lnTo>
                  <a:pt x="104" y="524"/>
                </a:lnTo>
                <a:lnTo>
                  <a:pt x="101" y="524"/>
                </a:lnTo>
                <a:lnTo>
                  <a:pt x="97" y="524"/>
                </a:lnTo>
                <a:lnTo>
                  <a:pt x="94" y="521"/>
                </a:lnTo>
                <a:lnTo>
                  <a:pt x="94" y="524"/>
                </a:lnTo>
                <a:lnTo>
                  <a:pt x="94" y="521"/>
                </a:lnTo>
                <a:lnTo>
                  <a:pt x="90" y="521"/>
                </a:lnTo>
                <a:lnTo>
                  <a:pt x="87" y="521"/>
                </a:lnTo>
                <a:lnTo>
                  <a:pt x="83" y="521"/>
                </a:lnTo>
                <a:lnTo>
                  <a:pt x="80" y="521"/>
                </a:lnTo>
                <a:lnTo>
                  <a:pt x="76" y="521"/>
                </a:lnTo>
                <a:lnTo>
                  <a:pt x="73" y="521"/>
                </a:lnTo>
                <a:lnTo>
                  <a:pt x="70" y="521"/>
                </a:lnTo>
                <a:lnTo>
                  <a:pt x="70" y="524"/>
                </a:lnTo>
                <a:lnTo>
                  <a:pt x="66" y="524"/>
                </a:lnTo>
                <a:lnTo>
                  <a:pt x="66" y="528"/>
                </a:lnTo>
                <a:lnTo>
                  <a:pt x="66" y="531"/>
                </a:lnTo>
                <a:lnTo>
                  <a:pt x="63" y="531"/>
                </a:lnTo>
                <a:lnTo>
                  <a:pt x="63" y="535"/>
                </a:lnTo>
                <a:lnTo>
                  <a:pt x="59" y="531"/>
                </a:lnTo>
                <a:lnTo>
                  <a:pt x="56" y="535"/>
                </a:lnTo>
                <a:lnTo>
                  <a:pt x="56" y="531"/>
                </a:lnTo>
                <a:lnTo>
                  <a:pt x="56" y="528"/>
                </a:lnTo>
                <a:lnTo>
                  <a:pt x="52" y="528"/>
                </a:lnTo>
                <a:lnTo>
                  <a:pt x="49" y="528"/>
                </a:lnTo>
                <a:lnTo>
                  <a:pt x="49" y="524"/>
                </a:lnTo>
                <a:lnTo>
                  <a:pt x="49" y="521"/>
                </a:lnTo>
                <a:lnTo>
                  <a:pt x="45" y="521"/>
                </a:lnTo>
                <a:lnTo>
                  <a:pt x="45" y="517"/>
                </a:lnTo>
                <a:lnTo>
                  <a:pt x="42" y="517"/>
                </a:lnTo>
                <a:lnTo>
                  <a:pt x="38" y="517"/>
                </a:lnTo>
                <a:lnTo>
                  <a:pt x="35" y="517"/>
                </a:lnTo>
                <a:lnTo>
                  <a:pt x="31" y="514"/>
                </a:lnTo>
                <a:lnTo>
                  <a:pt x="28" y="514"/>
                </a:lnTo>
                <a:lnTo>
                  <a:pt x="28" y="511"/>
                </a:lnTo>
                <a:lnTo>
                  <a:pt x="24" y="511"/>
                </a:lnTo>
                <a:lnTo>
                  <a:pt x="24" y="507"/>
                </a:lnTo>
                <a:lnTo>
                  <a:pt x="28" y="504"/>
                </a:lnTo>
                <a:lnTo>
                  <a:pt x="28" y="500"/>
                </a:lnTo>
                <a:lnTo>
                  <a:pt x="24" y="497"/>
                </a:lnTo>
                <a:lnTo>
                  <a:pt x="24" y="493"/>
                </a:lnTo>
                <a:lnTo>
                  <a:pt x="24" y="490"/>
                </a:lnTo>
                <a:lnTo>
                  <a:pt x="21" y="486"/>
                </a:lnTo>
                <a:lnTo>
                  <a:pt x="24" y="486"/>
                </a:lnTo>
                <a:lnTo>
                  <a:pt x="24" y="479"/>
                </a:lnTo>
                <a:lnTo>
                  <a:pt x="24" y="476"/>
                </a:lnTo>
                <a:lnTo>
                  <a:pt x="28" y="476"/>
                </a:lnTo>
                <a:lnTo>
                  <a:pt x="28" y="472"/>
                </a:lnTo>
                <a:lnTo>
                  <a:pt x="28" y="465"/>
                </a:lnTo>
                <a:lnTo>
                  <a:pt x="28" y="462"/>
                </a:lnTo>
                <a:lnTo>
                  <a:pt x="24" y="462"/>
                </a:lnTo>
                <a:lnTo>
                  <a:pt x="28" y="462"/>
                </a:lnTo>
                <a:lnTo>
                  <a:pt x="28" y="458"/>
                </a:lnTo>
                <a:lnTo>
                  <a:pt x="28" y="462"/>
                </a:lnTo>
                <a:lnTo>
                  <a:pt x="31" y="458"/>
                </a:lnTo>
                <a:lnTo>
                  <a:pt x="35" y="458"/>
                </a:lnTo>
                <a:lnTo>
                  <a:pt x="38" y="458"/>
                </a:lnTo>
                <a:lnTo>
                  <a:pt x="42" y="458"/>
                </a:lnTo>
                <a:lnTo>
                  <a:pt x="45" y="458"/>
                </a:lnTo>
                <a:lnTo>
                  <a:pt x="45" y="462"/>
                </a:lnTo>
                <a:lnTo>
                  <a:pt x="49" y="462"/>
                </a:lnTo>
                <a:lnTo>
                  <a:pt x="49" y="458"/>
                </a:lnTo>
                <a:lnTo>
                  <a:pt x="45" y="455"/>
                </a:lnTo>
                <a:lnTo>
                  <a:pt x="42" y="448"/>
                </a:lnTo>
                <a:lnTo>
                  <a:pt x="38" y="448"/>
                </a:lnTo>
                <a:lnTo>
                  <a:pt x="42" y="441"/>
                </a:lnTo>
                <a:lnTo>
                  <a:pt x="42" y="431"/>
                </a:lnTo>
                <a:lnTo>
                  <a:pt x="42" y="427"/>
                </a:lnTo>
                <a:lnTo>
                  <a:pt x="45" y="420"/>
                </a:lnTo>
                <a:lnTo>
                  <a:pt x="49" y="420"/>
                </a:lnTo>
                <a:lnTo>
                  <a:pt x="52" y="417"/>
                </a:lnTo>
                <a:lnTo>
                  <a:pt x="56" y="417"/>
                </a:lnTo>
                <a:lnTo>
                  <a:pt x="56" y="420"/>
                </a:lnTo>
                <a:lnTo>
                  <a:pt x="59" y="420"/>
                </a:lnTo>
                <a:lnTo>
                  <a:pt x="63" y="420"/>
                </a:lnTo>
                <a:lnTo>
                  <a:pt x="63" y="417"/>
                </a:lnTo>
                <a:lnTo>
                  <a:pt x="66" y="417"/>
                </a:lnTo>
                <a:lnTo>
                  <a:pt x="70" y="413"/>
                </a:lnTo>
                <a:lnTo>
                  <a:pt x="73" y="413"/>
                </a:lnTo>
                <a:lnTo>
                  <a:pt x="76" y="410"/>
                </a:lnTo>
                <a:lnTo>
                  <a:pt x="80" y="410"/>
                </a:lnTo>
                <a:lnTo>
                  <a:pt x="83" y="410"/>
                </a:lnTo>
                <a:lnTo>
                  <a:pt x="87" y="410"/>
                </a:lnTo>
                <a:lnTo>
                  <a:pt x="90" y="410"/>
                </a:lnTo>
                <a:lnTo>
                  <a:pt x="97" y="406"/>
                </a:lnTo>
                <a:lnTo>
                  <a:pt x="101" y="406"/>
                </a:lnTo>
                <a:lnTo>
                  <a:pt x="101" y="403"/>
                </a:lnTo>
                <a:lnTo>
                  <a:pt x="104" y="406"/>
                </a:lnTo>
                <a:lnTo>
                  <a:pt x="108" y="403"/>
                </a:lnTo>
                <a:lnTo>
                  <a:pt x="111" y="403"/>
                </a:lnTo>
                <a:lnTo>
                  <a:pt x="115" y="403"/>
                </a:lnTo>
                <a:lnTo>
                  <a:pt x="115" y="406"/>
                </a:lnTo>
                <a:lnTo>
                  <a:pt x="115" y="410"/>
                </a:lnTo>
                <a:lnTo>
                  <a:pt x="115" y="413"/>
                </a:lnTo>
                <a:lnTo>
                  <a:pt x="118" y="410"/>
                </a:lnTo>
                <a:lnTo>
                  <a:pt x="122" y="410"/>
                </a:lnTo>
                <a:lnTo>
                  <a:pt x="125" y="410"/>
                </a:lnTo>
                <a:lnTo>
                  <a:pt x="129" y="410"/>
                </a:lnTo>
                <a:lnTo>
                  <a:pt x="129" y="413"/>
                </a:lnTo>
                <a:lnTo>
                  <a:pt x="132" y="413"/>
                </a:lnTo>
                <a:lnTo>
                  <a:pt x="136" y="410"/>
                </a:lnTo>
                <a:lnTo>
                  <a:pt x="139" y="410"/>
                </a:lnTo>
                <a:lnTo>
                  <a:pt x="146" y="403"/>
                </a:lnTo>
                <a:lnTo>
                  <a:pt x="149" y="399"/>
                </a:lnTo>
                <a:lnTo>
                  <a:pt x="153" y="399"/>
                </a:lnTo>
                <a:lnTo>
                  <a:pt x="156" y="399"/>
                </a:lnTo>
                <a:lnTo>
                  <a:pt x="160" y="396"/>
                </a:lnTo>
                <a:lnTo>
                  <a:pt x="163" y="396"/>
                </a:lnTo>
                <a:lnTo>
                  <a:pt x="167" y="392"/>
                </a:lnTo>
                <a:lnTo>
                  <a:pt x="170" y="392"/>
                </a:lnTo>
                <a:lnTo>
                  <a:pt x="170" y="389"/>
                </a:lnTo>
                <a:lnTo>
                  <a:pt x="174" y="389"/>
                </a:lnTo>
                <a:lnTo>
                  <a:pt x="174" y="385"/>
                </a:lnTo>
                <a:lnTo>
                  <a:pt x="177" y="385"/>
                </a:lnTo>
                <a:lnTo>
                  <a:pt x="177" y="382"/>
                </a:lnTo>
                <a:lnTo>
                  <a:pt x="181" y="382"/>
                </a:lnTo>
                <a:lnTo>
                  <a:pt x="184" y="385"/>
                </a:lnTo>
                <a:lnTo>
                  <a:pt x="188" y="385"/>
                </a:lnTo>
                <a:lnTo>
                  <a:pt x="191" y="389"/>
                </a:lnTo>
                <a:lnTo>
                  <a:pt x="191" y="392"/>
                </a:lnTo>
                <a:lnTo>
                  <a:pt x="195" y="392"/>
                </a:lnTo>
                <a:lnTo>
                  <a:pt x="198" y="392"/>
                </a:lnTo>
                <a:lnTo>
                  <a:pt x="201" y="392"/>
                </a:lnTo>
                <a:lnTo>
                  <a:pt x="201" y="396"/>
                </a:lnTo>
                <a:lnTo>
                  <a:pt x="205" y="396"/>
                </a:lnTo>
                <a:lnTo>
                  <a:pt x="205" y="392"/>
                </a:lnTo>
                <a:lnTo>
                  <a:pt x="208" y="392"/>
                </a:lnTo>
                <a:lnTo>
                  <a:pt x="212" y="392"/>
                </a:lnTo>
                <a:lnTo>
                  <a:pt x="212" y="389"/>
                </a:lnTo>
                <a:lnTo>
                  <a:pt x="212" y="385"/>
                </a:lnTo>
                <a:lnTo>
                  <a:pt x="215" y="382"/>
                </a:lnTo>
                <a:lnTo>
                  <a:pt x="219" y="379"/>
                </a:lnTo>
                <a:lnTo>
                  <a:pt x="219" y="375"/>
                </a:lnTo>
                <a:lnTo>
                  <a:pt x="222" y="375"/>
                </a:lnTo>
                <a:lnTo>
                  <a:pt x="226" y="375"/>
                </a:lnTo>
                <a:lnTo>
                  <a:pt x="226" y="372"/>
                </a:lnTo>
                <a:lnTo>
                  <a:pt x="229" y="368"/>
                </a:lnTo>
                <a:lnTo>
                  <a:pt x="226" y="358"/>
                </a:lnTo>
                <a:lnTo>
                  <a:pt x="222" y="358"/>
                </a:lnTo>
                <a:lnTo>
                  <a:pt x="219" y="358"/>
                </a:lnTo>
                <a:lnTo>
                  <a:pt x="215" y="354"/>
                </a:lnTo>
                <a:lnTo>
                  <a:pt x="215" y="351"/>
                </a:lnTo>
                <a:lnTo>
                  <a:pt x="212" y="351"/>
                </a:lnTo>
                <a:lnTo>
                  <a:pt x="205" y="344"/>
                </a:lnTo>
                <a:lnTo>
                  <a:pt x="201" y="344"/>
                </a:lnTo>
                <a:lnTo>
                  <a:pt x="198" y="340"/>
                </a:lnTo>
                <a:lnTo>
                  <a:pt x="191" y="333"/>
                </a:lnTo>
                <a:lnTo>
                  <a:pt x="188" y="333"/>
                </a:lnTo>
                <a:lnTo>
                  <a:pt x="184" y="333"/>
                </a:lnTo>
                <a:lnTo>
                  <a:pt x="177" y="330"/>
                </a:lnTo>
                <a:lnTo>
                  <a:pt x="177" y="326"/>
                </a:lnTo>
                <a:lnTo>
                  <a:pt x="174" y="326"/>
                </a:lnTo>
                <a:lnTo>
                  <a:pt x="174" y="323"/>
                </a:lnTo>
                <a:lnTo>
                  <a:pt x="174" y="320"/>
                </a:lnTo>
                <a:lnTo>
                  <a:pt x="170" y="316"/>
                </a:lnTo>
                <a:lnTo>
                  <a:pt x="170" y="313"/>
                </a:lnTo>
                <a:lnTo>
                  <a:pt x="167" y="309"/>
                </a:lnTo>
                <a:lnTo>
                  <a:pt x="163" y="309"/>
                </a:lnTo>
                <a:lnTo>
                  <a:pt x="160" y="309"/>
                </a:lnTo>
                <a:lnTo>
                  <a:pt x="160" y="306"/>
                </a:lnTo>
                <a:lnTo>
                  <a:pt x="156" y="306"/>
                </a:lnTo>
                <a:lnTo>
                  <a:pt x="156" y="302"/>
                </a:lnTo>
                <a:lnTo>
                  <a:pt x="153" y="302"/>
                </a:lnTo>
                <a:lnTo>
                  <a:pt x="149" y="299"/>
                </a:lnTo>
                <a:lnTo>
                  <a:pt x="146" y="295"/>
                </a:lnTo>
                <a:lnTo>
                  <a:pt x="142" y="295"/>
                </a:lnTo>
                <a:lnTo>
                  <a:pt x="139" y="295"/>
                </a:lnTo>
                <a:lnTo>
                  <a:pt x="139" y="292"/>
                </a:lnTo>
                <a:lnTo>
                  <a:pt x="136" y="292"/>
                </a:lnTo>
                <a:lnTo>
                  <a:pt x="136" y="285"/>
                </a:lnTo>
                <a:lnTo>
                  <a:pt x="139" y="278"/>
                </a:lnTo>
                <a:lnTo>
                  <a:pt x="136" y="271"/>
                </a:lnTo>
                <a:lnTo>
                  <a:pt x="136" y="267"/>
                </a:lnTo>
                <a:lnTo>
                  <a:pt x="136" y="264"/>
                </a:lnTo>
                <a:lnTo>
                  <a:pt x="136" y="260"/>
                </a:lnTo>
                <a:lnTo>
                  <a:pt x="139" y="260"/>
                </a:lnTo>
                <a:lnTo>
                  <a:pt x="139" y="257"/>
                </a:lnTo>
                <a:lnTo>
                  <a:pt x="136" y="257"/>
                </a:lnTo>
                <a:lnTo>
                  <a:pt x="129" y="250"/>
                </a:lnTo>
                <a:lnTo>
                  <a:pt x="129" y="247"/>
                </a:lnTo>
                <a:lnTo>
                  <a:pt x="132" y="243"/>
                </a:lnTo>
                <a:lnTo>
                  <a:pt x="136" y="240"/>
                </a:lnTo>
                <a:lnTo>
                  <a:pt x="132" y="236"/>
                </a:lnTo>
                <a:lnTo>
                  <a:pt x="125" y="233"/>
                </a:lnTo>
                <a:lnTo>
                  <a:pt x="122" y="233"/>
                </a:lnTo>
                <a:lnTo>
                  <a:pt x="122" y="229"/>
                </a:lnTo>
                <a:lnTo>
                  <a:pt x="122" y="226"/>
                </a:lnTo>
                <a:lnTo>
                  <a:pt x="118" y="229"/>
                </a:lnTo>
                <a:lnTo>
                  <a:pt x="118" y="226"/>
                </a:lnTo>
                <a:lnTo>
                  <a:pt x="115" y="226"/>
                </a:lnTo>
                <a:lnTo>
                  <a:pt x="111" y="226"/>
                </a:lnTo>
                <a:lnTo>
                  <a:pt x="108" y="226"/>
                </a:lnTo>
                <a:lnTo>
                  <a:pt x="104" y="222"/>
                </a:lnTo>
                <a:lnTo>
                  <a:pt x="101" y="222"/>
                </a:lnTo>
                <a:lnTo>
                  <a:pt x="101" y="219"/>
                </a:lnTo>
                <a:lnTo>
                  <a:pt x="94" y="215"/>
                </a:lnTo>
                <a:lnTo>
                  <a:pt x="94" y="212"/>
                </a:lnTo>
                <a:lnTo>
                  <a:pt x="97" y="208"/>
                </a:lnTo>
                <a:lnTo>
                  <a:pt x="94" y="208"/>
                </a:lnTo>
                <a:lnTo>
                  <a:pt x="94" y="205"/>
                </a:lnTo>
                <a:lnTo>
                  <a:pt x="90" y="205"/>
                </a:lnTo>
                <a:lnTo>
                  <a:pt x="83" y="201"/>
                </a:lnTo>
                <a:lnTo>
                  <a:pt x="83" y="198"/>
                </a:lnTo>
                <a:lnTo>
                  <a:pt x="80" y="198"/>
                </a:lnTo>
                <a:lnTo>
                  <a:pt x="80" y="194"/>
                </a:lnTo>
                <a:lnTo>
                  <a:pt x="76" y="188"/>
                </a:lnTo>
                <a:lnTo>
                  <a:pt x="73" y="188"/>
                </a:lnTo>
                <a:lnTo>
                  <a:pt x="70" y="188"/>
                </a:lnTo>
                <a:lnTo>
                  <a:pt x="66" y="188"/>
                </a:lnTo>
                <a:lnTo>
                  <a:pt x="66" y="184"/>
                </a:lnTo>
                <a:lnTo>
                  <a:pt x="66" y="181"/>
                </a:lnTo>
                <a:lnTo>
                  <a:pt x="66" y="177"/>
                </a:lnTo>
                <a:lnTo>
                  <a:pt x="63" y="177"/>
                </a:lnTo>
                <a:lnTo>
                  <a:pt x="63" y="174"/>
                </a:lnTo>
                <a:lnTo>
                  <a:pt x="63" y="170"/>
                </a:lnTo>
                <a:lnTo>
                  <a:pt x="63" y="167"/>
                </a:lnTo>
                <a:lnTo>
                  <a:pt x="59" y="163"/>
                </a:lnTo>
                <a:lnTo>
                  <a:pt x="59" y="160"/>
                </a:lnTo>
                <a:lnTo>
                  <a:pt x="56" y="156"/>
                </a:lnTo>
                <a:lnTo>
                  <a:pt x="56" y="153"/>
                </a:lnTo>
                <a:lnTo>
                  <a:pt x="52" y="153"/>
                </a:lnTo>
                <a:lnTo>
                  <a:pt x="52" y="149"/>
                </a:lnTo>
                <a:lnTo>
                  <a:pt x="52" y="146"/>
                </a:lnTo>
                <a:lnTo>
                  <a:pt x="56" y="142"/>
                </a:lnTo>
                <a:lnTo>
                  <a:pt x="59" y="139"/>
                </a:lnTo>
                <a:lnTo>
                  <a:pt x="59" y="132"/>
                </a:lnTo>
                <a:lnTo>
                  <a:pt x="59" y="129"/>
                </a:lnTo>
                <a:lnTo>
                  <a:pt x="63" y="125"/>
                </a:lnTo>
                <a:lnTo>
                  <a:pt x="66" y="125"/>
                </a:lnTo>
                <a:lnTo>
                  <a:pt x="66" y="118"/>
                </a:lnTo>
                <a:lnTo>
                  <a:pt x="70" y="118"/>
                </a:lnTo>
                <a:lnTo>
                  <a:pt x="73" y="115"/>
                </a:lnTo>
                <a:lnTo>
                  <a:pt x="73" y="111"/>
                </a:lnTo>
                <a:lnTo>
                  <a:pt x="73" y="104"/>
                </a:lnTo>
                <a:lnTo>
                  <a:pt x="76" y="104"/>
                </a:lnTo>
                <a:lnTo>
                  <a:pt x="80" y="101"/>
                </a:lnTo>
                <a:lnTo>
                  <a:pt x="83" y="101"/>
                </a:lnTo>
                <a:lnTo>
                  <a:pt x="87" y="97"/>
                </a:lnTo>
                <a:lnTo>
                  <a:pt x="83" y="97"/>
                </a:lnTo>
                <a:lnTo>
                  <a:pt x="80" y="94"/>
                </a:lnTo>
                <a:lnTo>
                  <a:pt x="76" y="94"/>
                </a:lnTo>
                <a:lnTo>
                  <a:pt x="73" y="94"/>
                </a:lnTo>
                <a:lnTo>
                  <a:pt x="70" y="94"/>
                </a:lnTo>
                <a:lnTo>
                  <a:pt x="70" y="97"/>
                </a:lnTo>
                <a:lnTo>
                  <a:pt x="63" y="97"/>
                </a:lnTo>
                <a:lnTo>
                  <a:pt x="59" y="97"/>
                </a:lnTo>
                <a:lnTo>
                  <a:pt x="56" y="97"/>
                </a:lnTo>
                <a:lnTo>
                  <a:pt x="52" y="94"/>
                </a:lnTo>
                <a:lnTo>
                  <a:pt x="45" y="94"/>
                </a:lnTo>
                <a:lnTo>
                  <a:pt x="42" y="90"/>
                </a:lnTo>
                <a:lnTo>
                  <a:pt x="38" y="83"/>
                </a:lnTo>
                <a:lnTo>
                  <a:pt x="38" y="80"/>
                </a:lnTo>
                <a:lnTo>
                  <a:pt x="35" y="73"/>
                </a:lnTo>
                <a:lnTo>
                  <a:pt x="35" y="69"/>
                </a:lnTo>
                <a:lnTo>
                  <a:pt x="35" y="66"/>
                </a:lnTo>
                <a:lnTo>
                  <a:pt x="31" y="63"/>
                </a:lnTo>
                <a:lnTo>
                  <a:pt x="28" y="63"/>
                </a:lnTo>
                <a:lnTo>
                  <a:pt x="28" y="59"/>
                </a:lnTo>
                <a:lnTo>
                  <a:pt x="24" y="59"/>
                </a:lnTo>
                <a:lnTo>
                  <a:pt x="24" y="56"/>
                </a:lnTo>
                <a:lnTo>
                  <a:pt x="21" y="56"/>
                </a:lnTo>
                <a:lnTo>
                  <a:pt x="21" y="52"/>
                </a:lnTo>
                <a:lnTo>
                  <a:pt x="17" y="52"/>
                </a:lnTo>
                <a:lnTo>
                  <a:pt x="17" y="49"/>
                </a:lnTo>
                <a:lnTo>
                  <a:pt x="14" y="45"/>
                </a:lnTo>
                <a:lnTo>
                  <a:pt x="7" y="42"/>
                </a:lnTo>
                <a:lnTo>
                  <a:pt x="0" y="35"/>
                </a:lnTo>
                <a:lnTo>
                  <a:pt x="4" y="31"/>
                </a:lnTo>
                <a:lnTo>
                  <a:pt x="7" y="28"/>
                </a:lnTo>
                <a:lnTo>
                  <a:pt x="11" y="28"/>
                </a:lnTo>
                <a:lnTo>
                  <a:pt x="11" y="24"/>
                </a:lnTo>
                <a:lnTo>
                  <a:pt x="11" y="21"/>
                </a:lnTo>
                <a:lnTo>
                  <a:pt x="7" y="17"/>
                </a:lnTo>
                <a:lnTo>
                  <a:pt x="7" y="14"/>
                </a:lnTo>
                <a:lnTo>
                  <a:pt x="7" y="10"/>
                </a:lnTo>
                <a:lnTo>
                  <a:pt x="11" y="10"/>
                </a:lnTo>
                <a:lnTo>
                  <a:pt x="14" y="10"/>
                </a:lnTo>
                <a:lnTo>
                  <a:pt x="17" y="10"/>
                </a:lnTo>
                <a:lnTo>
                  <a:pt x="21" y="10"/>
                </a:lnTo>
                <a:lnTo>
                  <a:pt x="24" y="10"/>
                </a:lnTo>
                <a:lnTo>
                  <a:pt x="24" y="7"/>
                </a:lnTo>
                <a:lnTo>
                  <a:pt x="28" y="10"/>
                </a:lnTo>
                <a:lnTo>
                  <a:pt x="31" y="10"/>
                </a:lnTo>
                <a:lnTo>
                  <a:pt x="35" y="10"/>
                </a:lnTo>
                <a:lnTo>
                  <a:pt x="38" y="10"/>
                </a:lnTo>
                <a:lnTo>
                  <a:pt x="42" y="7"/>
                </a:lnTo>
                <a:lnTo>
                  <a:pt x="42" y="3"/>
                </a:lnTo>
                <a:lnTo>
                  <a:pt x="45" y="3"/>
                </a:lnTo>
                <a:lnTo>
                  <a:pt x="49" y="3"/>
                </a:lnTo>
                <a:lnTo>
                  <a:pt x="52" y="0"/>
                </a:lnTo>
                <a:lnTo>
                  <a:pt x="56" y="0"/>
                </a:lnTo>
                <a:lnTo>
                  <a:pt x="56" y="3"/>
                </a:lnTo>
                <a:lnTo>
                  <a:pt x="59" y="14"/>
                </a:lnTo>
                <a:lnTo>
                  <a:pt x="59" y="17"/>
                </a:lnTo>
                <a:lnTo>
                  <a:pt x="59" y="21"/>
                </a:lnTo>
                <a:lnTo>
                  <a:pt x="59" y="24"/>
                </a:lnTo>
                <a:lnTo>
                  <a:pt x="59" y="28"/>
                </a:lnTo>
                <a:lnTo>
                  <a:pt x="59" y="31"/>
                </a:lnTo>
                <a:lnTo>
                  <a:pt x="63" y="35"/>
                </a:lnTo>
                <a:lnTo>
                  <a:pt x="66" y="35"/>
                </a:lnTo>
                <a:lnTo>
                  <a:pt x="70" y="35"/>
                </a:lnTo>
                <a:lnTo>
                  <a:pt x="73" y="35"/>
                </a:lnTo>
                <a:lnTo>
                  <a:pt x="76" y="35"/>
                </a:lnTo>
                <a:lnTo>
                  <a:pt x="80" y="35"/>
                </a:lnTo>
                <a:lnTo>
                  <a:pt x="87" y="31"/>
                </a:lnTo>
                <a:lnTo>
                  <a:pt x="87" y="35"/>
                </a:lnTo>
                <a:lnTo>
                  <a:pt x="94" y="42"/>
                </a:lnTo>
                <a:lnTo>
                  <a:pt x="97" y="42"/>
                </a:lnTo>
                <a:lnTo>
                  <a:pt x="101" y="42"/>
                </a:lnTo>
                <a:lnTo>
                  <a:pt x="104" y="42"/>
                </a:lnTo>
                <a:lnTo>
                  <a:pt x="104" y="38"/>
                </a:lnTo>
                <a:lnTo>
                  <a:pt x="111" y="35"/>
                </a:lnTo>
                <a:lnTo>
                  <a:pt x="115" y="35"/>
                </a:lnTo>
                <a:lnTo>
                  <a:pt x="118" y="38"/>
                </a:lnTo>
                <a:lnTo>
                  <a:pt x="122" y="38"/>
                </a:lnTo>
                <a:lnTo>
                  <a:pt x="122" y="35"/>
                </a:lnTo>
                <a:lnTo>
                  <a:pt x="122" y="38"/>
                </a:lnTo>
                <a:lnTo>
                  <a:pt x="125" y="42"/>
                </a:lnTo>
                <a:lnTo>
                  <a:pt x="129" y="42"/>
                </a:lnTo>
                <a:lnTo>
                  <a:pt x="129" y="45"/>
                </a:lnTo>
                <a:lnTo>
                  <a:pt x="132" y="52"/>
                </a:lnTo>
                <a:lnTo>
                  <a:pt x="136" y="52"/>
                </a:lnTo>
                <a:lnTo>
                  <a:pt x="139" y="52"/>
                </a:lnTo>
                <a:lnTo>
                  <a:pt x="139" y="56"/>
                </a:lnTo>
                <a:lnTo>
                  <a:pt x="142" y="52"/>
                </a:lnTo>
                <a:lnTo>
                  <a:pt x="149" y="56"/>
                </a:lnTo>
                <a:lnTo>
                  <a:pt x="149" y="52"/>
                </a:lnTo>
                <a:lnTo>
                  <a:pt x="153" y="52"/>
                </a:lnTo>
                <a:lnTo>
                  <a:pt x="153" y="49"/>
                </a:lnTo>
                <a:lnTo>
                  <a:pt x="156" y="49"/>
                </a:lnTo>
                <a:lnTo>
                  <a:pt x="160" y="49"/>
                </a:lnTo>
                <a:lnTo>
                  <a:pt x="163" y="52"/>
                </a:lnTo>
                <a:lnTo>
                  <a:pt x="167" y="52"/>
                </a:lnTo>
                <a:lnTo>
                  <a:pt x="174" y="56"/>
                </a:lnTo>
                <a:lnTo>
                  <a:pt x="184" y="56"/>
                </a:lnTo>
                <a:lnTo>
                  <a:pt x="188" y="56"/>
                </a:lnTo>
                <a:lnTo>
                  <a:pt x="191" y="56"/>
                </a:lnTo>
                <a:lnTo>
                  <a:pt x="195" y="56"/>
                </a:lnTo>
                <a:lnTo>
                  <a:pt x="198" y="56"/>
                </a:lnTo>
                <a:lnTo>
                  <a:pt x="205" y="59"/>
                </a:lnTo>
                <a:lnTo>
                  <a:pt x="205" y="63"/>
                </a:lnTo>
                <a:lnTo>
                  <a:pt x="208" y="66"/>
                </a:lnTo>
                <a:lnTo>
                  <a:pt x="212" y="69"/>
                </a:lnTo>
                <a:lnTo>
                  <a:pt x="212" y="73"/>
                </a:lnTo>
                <a:lnTo>
                  <a:pt x="212" y="76"/>
                </a:lnTo>
                <a:lnTo>
                  <a:pt x="212" y="80"/>
                </a:lnTo>
                <a:lnTo>
                  <a:pt x="219" y="80"/>
                </a:lnTo>
                <a:lnTo>
                  <a:pt x="219" y="83"/>
                </a:lnTo>
                <a:lnTo>
                  <a:pt x="219" y="87"/>
                </a:lnTo>
                <a:lnTo>
                  <a:pt x="219" y="90"/>
                </a:lnTo>
                <a:lnTo>
                  <a:pt x="222" y="94"/>
                </a:lnTo>
                <a:lnTo>
                  <a:pt x="229" y="101"/>
                </a:lnTo>
                <a:lnTo>
                  <a:pt x="233" y="101"/>
                </a:lnTo>
                <a:lnTo>
                  <a:pt x="240" y="101"/>
                </a:lnTo>
                <a:lnTo>
                  <a:pt x="243" y="104"/>
                </a:lnTo>
                <a:lnTo>
                  <a:pt x="247" y="101"/>
                </a:lnTo>
                <a:lnTo>
                  <a:pt x="250" y="101"/>
                </a:lnTo>
                <a:lnTo>
                  <a:pt x="254" y="97"/>
                </a:lnTo>
                <a:lnTo>
                  <a:pt x="254" y="94"/>
                </a:lnTo>
                <a:lnTo>
                  <a:pt x="257" y="94"/>
                </a:lnTo>
                <a:lnTo>
                  <a:pt x="264" y="97"/>
                </a:lnTo>
                <a:lnTo>
                  <a:pt x="267" y="97"/>
                </a:lnTo>
                <a:lnTo>
                  <a:pt x="267" y="101"/>
                </a:lnTo>
                <a:lnTo>
                  <a:pt x="267" y="111"/>
                </a:lnTo>
                <a:lnTo>
                  <a:pt x="271" y="111"/>
                </a:lnTo>
                <a:lnTo>
                  <a:pt x="274" y="111"/>
                </a:lnTo>
                <a:lnTo>
                  <a:pt x="278" y="115"/>
                </a:lnTo>
                <a:lnTo>
                  <a:pt x="285" y="118"/>
                </a:lnTo>
                <a:lnTo>
                  <a:pt x="288" y="118"/>
                </a:lnTo>
                <a:lnTo>
                  <a:pt x="295" y="122"/>
                </a:lnTo>
                <a:lnTo>
                  <a:pt x="302" y="125"/>
                </a:lnTo>
                <a:lnTo>
                  <a:pt x="306" y="125"/>
                </a:lnTo>
                <a:lnTo>
                  <a:pt x="306" y="129"/>
                </a:lnTo>
                <a:lnTo>
                  <a:pt x="309" y="122"/>
                </a:lnTo>
                <a:lnTo>
                  <a:pt x="309" y="118"/>
                </a:lnTo>
                <a:lnTo>
                  <a:pt x="309" y="115"/>
                </a:lnTo>
                <a:lnTo>
                  <a:pt x="313" y="115"/>
                </a:lnTo>
                <a:lnTo>
                  <a:pt x="320" y="111"/>
                </a:lnTo>
                <a:lnTo>
                  <a:pt x="320" y="115"/>
                </a:lnTo>
                <a:lnTo>
                  <a:pt x="323" y="115"/>
                </a:lnTo>
                <a:lnTo>
                  <a:pt x="326" y="115"/>
                </a:lnTo>
                <a:lnTo>
                  <a:pt x="330" y="115"/>
                </a:lnTo>
                <a:lnTo>
                  <a:pt x="337" y="115"/>
                </a:lnTo>
                <a:lnTo>
                  <a:pt x="340" y="115"/>
                </a:lnTo>
                <a:lnTo>
                  <a:pt x="344" y="115"/>
                </a:lnTo>
                <a:lnTo>
                  <a:pt x="347" y="115"/>
                </a:lnTo>
                <a:lnTo>
                  <a:pt x="347" y="111"/>
                </a:lnTo>
                <a:lnTo>
                  <a:pt x="347" y="108"/>
                </a:lnTo>
                <a:lnTo>
                  <a:pt x="351" y="104"/>
                </a:lnTo>
                <a:lnTo>
                  <a:pt x="354" y="104"/>
                </a:lnTo>
                <a:lnTo>
                  <a:pt x="358" y="104"/>
                </a:lnTo>
                <a:lnTo>
                  <a:pt x="365" y="104"/>
                </a:lnTo>
                <a:lnTo>
                  <a:pt x="368" y="104"/>
                </a:lnTo>
                <a:lnTo>
                  <a:pt x="372" y="101"/>
                </a:lnTo>
                <a:lnTo>
                  <a:pt x="375" y="101"/>
                </a:lnTo>
                <a:lnTo>
                  <a:pt x="375" y="97"/>
                </a:lnTo>
                <a:lnTo>
                  <a:pt x="379" y="97"/>
                </a:lnTo>
                <a:lnTo>
                  <a:pt x="382" y="97"/>
                </a:lnTo>
                <a:lnTo>
                  <a:pt x="389" y="94"/>
                </a:lnTo>
                <a:lnTo>
                  <a:pt x="392" y="94"/>
                </a:lnTo>
                <a:lnTo>
                  <a:pt x="396" y="94"/>
                </a:lnTo>
                <a:lnTo>
                  <a:pt x="399" y="94"/>
                </a:lnTo>
                <a:lnTo>
                  <a:pt x="410" y="94"/>
                </a:lnTo>
                <a:lnTo>
                  <a:pt x="417" y="94"/>
                </a:lnTo>
                <a:lnTo>
                  <a:pt x="420" y="90"/>
                </a:lnTo>
                <a:lnTo>
                  <a:pt x="424" y="90"/>
                </a:lnTo>
                <a:lnTo>
                  <a:pt x="427" y="90"/>
                </a:lnTo>
                <a:lnTo>
                  <a:pt x="431" y="87"/>
                </a:lnTo>
                <a:lnTo>
                  <a:pt x="434" y="87"/>
                </a:lnTo>
                <a:lnTo>
                  <a:pt x="434" y="83"/>
                </a:lnTo>
                <a:lnTo>
                  <a:pt x="434" y="80"/>
                </a:lnTo>
                <a:lnTo>
                  <a:pt x="434" y="76"/>
                </a:lnTo>
                <a:lnTo>
                  <a:pt x="434" y="69"/>
                </a:lnTo>
                <a:lnTo>
                  <a:pt x="427" y="66"/>
                </a:lnTo>
                <a:lnTo>
                  <a:pt x="431" y="63"/>
                </a:lnTo>
                <a:lnTo>
                  <a:pt x="431" y="59"/>
                </a:lnTo>
                <a:lnTo>
                  <a:pt x="434" y="56"/>
                </a:lnTo>
                <a:lnTo>
                  <a:pt x="434" y="52"/>
                </a:lnTo>
                <a:lnTo>
                  <a:pt x="438" y="49"/>
                </a:lnTo>
                <a:lnTo>
                  <a:pt x="441" y="45"/>
                </a:lnTo>
                <a:lnTo>
                  <a:pt x="448" y="42"/>
                </a:lnTo>
                <a:lnTo>
                  <a:pt x="455" y="38"/>
                </a:lnTo>
                <a:lnTo>
                  <a:pt x="458" y="38"/>
                </a:lnTo>
                <a:lnTo>
                  <a:pt x="462" y="38"/>
                </a:lnTo>
                <a:lnTo>
                  <a:pt x="465" y="42"/>
                </a:lnTo>
                <a:lnTo>
                  <a:pt x="469" y="42"/>
                </a:lnTo>
                <a:lnTo>
                  <a:pt x="472" y="45"/>
                </a:lnTo>
                <a:lnTo>
                  <a:pt x="472" y="49"/>
                </a:lnTo>
                <a:lnTo>
                  <a:pt x="476" y="49"/>
                </a:lnTo>
                <a:lnTo>
                  <a:pt x="479" y="49"/>
                </a:lnTo>
                <a:lnTo>
                  <a:pt x="483" y="49"/>
                </a:lnTo>
                <a:lnTo>
                  <a:pt x="483" y="45"/>
                </a:lnTo>
                <a:lnTo>
                  <a:pt x="490" y="45"/>
                </a:lnTo>
                <a:lnTo>
                  <a:pt x="493" y="42"/>
                </a:lnTo>
                <a:lnTo>
                  <a:pt x="500" y="38"/>
                </a:lnTo>
                <a:lnTo>
                  <a:pt x="504" y="38"/>
                </a:lnTo>
                <a:lnTo>
                  <a:pt x="507" y="38"/>
                </a:lnTo>
                <a:lnTo>
                  <a:pt x="510" y="38"/>
                </a:lnTo>
                <a:lnTo>
                  <a:pt x="514" y="38"/>
                </a:lnTo>
                <a:lnTo>
                  <a:pt x="517" y="35"/>
                </a:lnTo>
                <a:lnTo>
                  <a:pt x="521" y="35"/>
                </a:lnTo>
                <a:lnTo>
                  <a:pt x="521" y="38"/>
                </a:lnTo>
                <a:lnTo>
                  <a:pt x="524" y="38"/>
                </a:lnTo>
                <a:lnTo>
                  <a:pt x="528" y="42"/>
                </a:lnTo>
                <a:lnTo>
                  <a:pt x="531" y="42"/>
                </a:lnTo>
                <a:lnTo>
                  <a:pt x="531" y="45"/>
                </a:lnTo>
                <a:lnTo>
                  <a:pt x="535" y="52"/>
                </a:lnTo>
                <a:lnTo>
                  <a:pt x="535" y="56"/>
                </a:lnTo>
                <a:lnTo>
                  <a:pt x="542" y="63"/>
                </a:lnTo>
                <a:lnTo>
                  <a:pt x="545" y="63"/>
                </a:lnTo>
                <a:lnTo>
                  <a:pt x="545" y="66"/>
                </a:lnTo>
                <a:lnTo>
                  <a:pt x="549" y="66"/>
                </a:lnTo>
                <a:lnTo>
                  <a:pt x="552" y="66"/>
                </a:lnTo>
                <a:lnTo>
                  <a:pt x="556" y="63"/>
                </a:lnTo>
                <a:lnTo>
                  <a:pt x="559" y="63"/>
                </a:lnTo>
                <a:lnTo>
                  <a:pt x="559" y="59"/>
                </a:lnTo>
                <a:lnTo>
                  <a:pt x="563" y="56"/>
                </a:lnTo>
                <a:lnTo>
                  <a:pt x="566" y="56"/>
                </a:lnTo>
                <a:lnTo>
                  <a:pt x="570" y="56"/>
                </a:lnTo>
                <a:lnTo>
                  <a:pt x="573" y="56"/>
                </a:lnTo>
                <a:lnTo>
                  <a:pt x="587" y="56"/>
                </a:lnTo>
                <a:lnTo>
                  <a:pt x="590" y="56"/>
                </a:lnTo>
                <a:lnTo>
                  <a:pt x="594" y="56"/>
                </a:lnTo>
                <a:lnTo>
                  <a:pt x="594" y="59"/>
                </a:lnTo>
                <a:lnTo>
                  <a:pt x="597" y="59"/>
                </a:lnTo>
                <a:lnTo>
                  <a:pt x="601" y="59"/>
                </a:lnTo>
                <a:lnTo>
                  <a:pt x="604" y="59"/>
                </a:lnTo>
                <a:lnTo>
                  <a:pt x="608" y="59"/>
                </a:lnTo>
                <a:lnTo>
                  <a:pt x="611" y="63"/>
                </a:lnTo>
                <a:lnTo>
                  <a:pt x="615" y="63"/>
                </a:lnTo>
                <a:lnTo>
                  <a:pt x="618" y="63"/>
                </a:lnTo>
                <a:lnTo>
                  <a:pt x="622" y="63"/>
                </a:lnTo>
                <a:lnTo>
                  <a:pt x="622" y="66"/>
                </a:lnTo>
                <a:lnTo>
                  <a:pt x="625" y="66"/>
                </a:lnTo>
                <a:lnTo>
                  <a:pt x="629" y="66"/>
                </a:lnTo>
                <a:lnTo>
                  <a:pt x="629" y="69"/>
                </a:lnTo>
                <a:lnTo>
                  <a:pt x="635" y="69"/>
                </a:lnTo>
                <a:lnTo>
                  <a:pt x="639" y="69"/>
                </a:lnTo>
                <a:lnTo>
                  <a:pt x="642" y="73"/>
                </a:lnTo>
                <a:lnTo>
                  <a:pt x="646" y="73"/>
                </a:lnTo>
                <a:lnTo>
                  <a:pt x="649" y="73"/>
                </a:lnTo>
                <a:lnTo>
                  <a:pt x="653" y="76"/>
                </a:lnTo>
                <a:lnTo>
                  <a:pt x="656" y="76"/>
                </a:lnTo>
                <a:lnTo>
                  <a:pt x="660" y="76"/>
                </a:lnTo>
                <a:lnTo>
                  <a:pt x="663" y="80"/>
                </a:lnTo>
                <a:lnTo>
                  <a:pt x="677" y="87"/>
                </a:lnTo>
                <a:lnTo>
                  <a:pt x="684" y="83"/>
                </a:lnTo>
                <a:lnTo>
                  <a:pt x="688" y="83"/>
                </a:lnTo>
                <a:lnTo>
                  <a:pt x="691" y="80"/>
                </a:lnTo>
                <a:lnTo>
                  <a:pt x="691" y="83"/>
                </a:lnTo>
                <a:lnTo>
                  <a:pt x="695" y="83"/>
                </a:lnTo>
                <a:lnTo>
                  <a:pt x="698" y="83"/>
                </a:lnTo>
                <a:lnTo>
                  <a:pt x="701" y="80"/>
                </a:lnTo>
                <a:lnTo>
                  <a:pt x="705" y="80"/>
                </a:lnTo>
                <a:lnTo>
                  <a:pt x="705" y="76"/>
                </a:lnTo>
                <a:lnTo>
                  <a:pt x="708" y="76"/>
                </a:lnTo>
                <a:lnTo>
                  <a:pt x="712" y="80"/>
                </a:lnTo>
                <a:lnTo>
                  <a:pt x="715" y="80"/>
                </a:lnTo>
                <a:lnTo>
                  <a:pt x="719" y="83"/>
                </a:lnTo>
                <a:lnTo>
                  <a:pt x="722" y="83"/>
                </a:lnTo>
                <a:lnTo>
                  <a:pt x="726" y="90"/>
                </a:lnTo>
                <a:lnTo>
                  <a:pt x="726" y="97"/>
                </a:lnTo>
                <a:lnTo>
                  <a:pt x="729" y="101"/>
                </a:lnTo>
                <a:lnTo>
                  <a:pt x="733" y="97"/>
                </a:lnTo>
                <a:lnTo>
                  <a:pt x="736" y="97"/>
                </a:lnTo>
                <a:lnTo>
                  <a:pt x="740" y="97"/>
                </a:lnTo>
                <a:lnTo>
                  <a:pt x="740" y="101"/>
                </a:lnTo>
                <a:lnTo>
                  <a:pt x="743" y="97"/>
                </a:lnTo>
                <a:lnTo>
                  <a:pt x="747" y="101"/>
                </a:lnTo>
                <a:lnTo>
                  <a:pt x="750" y="97"/>
                </a:lnTo>
                <a:lnTo>
                  <a:pt x="754" y="97"/>
                </a:lnTo>
                <a:lnTo>
                  <a:pt x="757" y="101"/>
                </a:lnTo>
                <a:lnTo>
                  <a:pt x="764" y="97"/>
                </a:lnTo>
                <a:lnTo>
                  <a:pt x="764" y="101"/>
                </a:lnTo>
                <a:lnTo>
                  <a:pt x="764" y="104"/>
                </a:lnTo>
                <a:lnTo>
                  <a:pt x="760" y="108"/>
                </a:lnTo>
                <a:lnTo>
                  <a:pt x="757" y="111"/>
                </a:lnTo>
                <a:lnTo>
                  <a:pt x="760" y="111"/>
                </a:lnTo>
                <a:lnTo>
                  <a:pt x="760" y="115"/>
                </a:lnTo>
                <a:lnTo>
                  <a:pt x="760" y="118"/>
                </a:lnTo>
                <a:lnTo>
                  <a:pt x="760" y="122"/>
                </a:lnTo>
                <a:lnTo>
                  <a:pt x="760" y="125"/>
                </a:lnTo>
                <a:lnTo>
                  <a:pt x="764" y="132"/>
                </a:lnTo>
                <a:lnTo>
                  <a:pt x="764" y="135"/>
                </a:lnTo>
                <a:lnTo>
                  <a:pt x="767" y="139"/>
                </a:lnTo>
                <a:lnTo>
                  <a:pt x="767" y="142"/>
                </a:lnTo>
                <a:lnTo>
                  <a:pt x="771" y="146"/>
                </a:lnTo>
                <a:lnTo>
                  <a:pt x="774" y="146"/>
                </a:lnTo>
                <a:lnTo>
                  <a:pt x="792" y="153"/>
                </a:lnTo>
                <a:lnTo>
                  <a:pt x="799" y="149"/>
                </a:lnTo>
                <a:lnTo>
                  <a:pt x="802" y="149"/>
                </a:lnTo>
                <a:lnTo>
                  <a:pt x="806" y="149"/>
                </a:lnTo>
                <a:lnTo>
                  <a:pt x="809" y="153"/>
                </a:lnTo>
                <a:lnTo>
                  <a:pt x="809" y="160"/>
                </a:lnTo>
                <a:lnTo>
                  <a:pt x="816" y="163"/>
                </a:lnTo>
                <a:lnTo>
                  <a:pt x="820" y="163"/>
                </a:lnTo>
                <a:lnTo>
                  <a:pt x="820" y="167"/>
                </a:lnTo>
                <a:lnTo>
                  <a:pt x="820" y="170"/>
                </a:lnTo>
                <a:lnTo>
                  <a:pt x="823" y="174"/>
                </a:lnTo>
                <a:lnTo>
                  <a:pt x="823" y="181"/>
                </a:lnTo>
                <a:lnTo>
                  <a:pt x="823" y="184"/>
                </a:lnTo>
                <a:lnTo>
                  <a:pt x="826" y="188"/>
                </a:lnTo>
                <a:lnTo>
                  <a:pt x="823" y="191"/>
                </a:lnTo>
                <a:lnTo>
                  <a:pt x="823" y="194"/>
                </a:lnTo>
                <a:lnTo>
                  <a:pt x="823" y="198"/>
                </a:lnTo>
                <a:lnTo>
                  <a:pt x="826" y="201"/>
                </a:lnTo>
                <a:lnTo>
                  <a:pt x="830" y="201"/>
                </a:lnTo>
                <a:close/>
              </a:path>
            </a:pathLst>
          </a:custGeom>
          <a:solidFill>
            <a:srgbClr val="E6E6E6"/>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166" name="Freeform 11">
            <a:extLst>
              <a:ext uri="{FF2B5EF4-FFF2-40B4-BE49-F238E27FC236}">
                <a16:creationId xmlns:a16="http://schemas.microsoft.com/office/drawing/2014/main" id="{6D5077F4-F516-4B6B-A7A6-26737BAD09DD}"/>
              </a:ext>
            </a:extLst>
          </p:cNvPr>
          <p:cNvSpPr>
            <a:spLocks/>
          </p:cNvSpPr>
          <p:nvPr/>
        </p:nvSpPr>
        <p:spPr bwMode="gray">
          <a:xfrm>
            <a:off x="1768101" y="3941875"/>
            <a:ext cx="830944" cy="1376091"/>
          </a:xfrm>
          <a:custGeom>
            <a:avLst/>
            <a:gdLst>
              <a:gd name="T0" fmla="*/ 507 w 521"/>
              <a:gd name="T1" fmla="*/ 379 h 817"/>
              <a:gd name="T2" fmla="*/ 500 w 521"/>
              <a:gd name="T3" fmla="*/ 421 h 817"/>
              <a:gd name="T4" fmla="*/ 500 w 521"/>
              <a:gd name="T5" fmla="*/ 466 h 817"/>
              <a:gd name="T6" fmla="*/ 486 w 521"/>
              <a:gd name="T7" fmla="*/ 504 h 817"/>
              <a:gd name="T8" fmla="*/ 448 w 521"/>
              <a:gd name="T9" fmla="*/ 549 h 817"/>
              <a:gd name="T10" fmla="*/ 458 w 521"/>
              <a:gd name="T11" fmla="*/ 598 h 817"/>
              <a:gd name="T12" fmla="*/ 451 w 521"/>
              <a:gd name="T13" fmla="*/ 636 h 817"/>
              <a:gd name="T14" fmla="*/ 444 w 521"/>
              <a:gd name="T15" fmla="*/ 688 h 817"/>
              <a:gd name="T16" fmla="*/ 417 w 521"/>
              <a:gd name="T17" fmla="*/ 733 h 817"/>
              <a:gd name="T18" fmla="*/ 448 w 521"/>
              <a:gd name="T19" fmla="*/ 792 h 817"/>
              <a:gd name="T20" fmla="*/ 420 w 521"/>
              <a:gd name="T21" fmla="*/ 813 h 817"/>
              <a:gd name="T22" fmla="*/ 385 w 521"/>
              <a:gd name="T23" fmla="*/ 792 h 817"/>
              <a:gd name="T24" fmla="*/ 365 w 521"/>
              <a:gd name="T25" fmla="*/ 761 h 817"/>
              <a:gd name="T26" fmla="*/ 330 w 521"/>
              <a:gd name="T27" fmla="*/ 744 h 817"/>
              <a:gd name="T28" fmla="*/ 302 w 521"/>
              <a:gd name="T29" fmla="*/ 740 h 817"/>
              <a:gd name="T30" fmla="*/ 260 w 521"/>
              <a:gd name="T31" fmla="*/ 719 h 817"/>
              <a:gd name="T32" fmla="*/ 250 w 521"/>
              <a:gd name="T33" fmla="*/ 685 h 817"/>
              <a:gd name="T34" fmla="*/ 264 w 521"/>
              <a:gd name="T35" fmla="*/ 643 h 817"/>
              <a:gd name="T36" fmla="*/ 254 w 521"/>
              <a:gd name="T37" fmla="*/ 622 h 817"/>
              <a:gd name="T38" fmla="*/ 219 w 521"/>
              <a:gd name="T39" fmla="*/ 629 h 817"/>
              <a:gd name="T40" fmla="*/ 188 w 521"/>
              <a:gd name="T41" fmla="*/ 608 h 817"/>
              <a:gd name="T42" fmla="*/ 146 w 521"/>
              <a:gd name="T43" fmla="*/ 598 h 817"/>
              <a:gd name="T44" fmla="*/ 115 w 521"/>
              <a:gd name="T45" fmla="*/ 587 h 817"/>
              <a:gd name="T46" fmla="*/ 80 w 521"/>
              <a:gd name="T47" fmla="*/ 591 h 817"/>
              <a:gd name="T48" fmla="*/ 59 w 521"/>
              <a:gd name="T49" fmla="*/ 563 h 817"/>
              <a:gd name="T50" fmla="*/ 70 w 521"/>
              <a:gd name="T51" fmla="*/ 525 h 817"/>
              <a:gd name="T52" fmla="*/ 70 w 521"/>
              <a:gd name="T53" fmla="*/ 487 h 817"/>
              <a:gd name="T54" fmla="*/ 31 w 521"/>
              <a:gd name="T55" fmla="*/ 462 h 817"/>
              <a:gd name="T56" fmla="*/ 42 w 521"/>
              <a:gd name="T57" fmla="*/ 424 h 817"/>
              <a:gd name="T58" fmla="*/ 21 w 521"/>
              <a:gd name="T59" fmla="*/ 396 h 817"/>
              <a:gd name="T60" fmla="*/ 7 w 521"/>
              <a:gd name="T61" fmla="*/ 362 h 817"/>
              <a:gd name="T62" fmla="*/ 38 w 521"/>
              <a:gd name="T63" fmla="*/ 306 h 817"/>
              <a:gd name="T64" fmla="*/ 94 w 521"/>
              <a:gd name="T65" fmla="*/ 244 h 817"/>
              <a:gd name="T66" fmla="*/ 83 w 521"/>
              <a:gd name="T67" fmla="*/ 178 h 817"/>
              <a:gd name="T68" fmla="*/ 56 w 521"/>
              <a:gd name="T69" fmla="*/ 139 h 817"/>
              <a:gd name="T70" fmla="*/ 28 w 521"/>
              <a:gd name="T71" fmla="*/ 101 h 817"/>
              <a:gd name="T72" fmla="*/ 63 w 521"/>
              <a:gd name="T73" fmla="*/ 108 h 817"/>
              <a:gd name="T74" fmla="*/ 87 w 521"/>
              <a:gd name="T75" fmla="*/ 119 h 817"/>
              <a:gd name="T76" fmla="*/ 101 w 521"/>
              <a:gd name="T77" fmla="*/ 105 h 817"/>
              <a:gd name="T78" fmla="*/ 111 w 521"/>
              <a:gd name="T79" fmla="*/ 108 h 817"/>
              <a:gd name="T80" fmla="*/ 115 w 521"/>
              <a:gd name="T81" fmla="*/ 101 h 817"/>
              <a:gd name="T82" fmla="*/ 139 w 521"/>
              <a:gd name="T83" fmla="*/ 98 h 817"/>
              <a:gd name="T84" fmla="*/ 160 w 521"/>
              <a:gd name="T85" fmla="*/ 77 h 817"/>
              <a:gd name="T86" fmla="*/ 149 w 521"/>
              <a:gd name="T87" fmla="*/ 53 h 817"/>
              <a:gd name="T88" fmla="*/ 167 w 521"/>
              <a:gd name="T89" fmla="*/ 25 h 817"/>
              <a:gd name="T90" fmla="*/ 191 w 521"/>
              <a:gd name="T91" fmla="*/ 0 h 817"/>
              <a:gd name="T92" fmla="*/ 215 w 521"/>
              <a:gd name="T93" fmla="*/ 32 h 817"/>
              <a:gd name="T94" fmla="*/ 236 w 521"/>
              <a:gd name="T95" fmla="*/ 60 h 817"/>
              <a:gd name="T96" fmla="*/ 260 w 521"/>
              <a:gd name="T97" fmla="*/ 53 h 817"/>
              <a:gd name="T98" fmla="*/ 299 w 521"/>
              <a:gd name="T99" fmla="*/ 66 h 817"/>
              <a:gd name="T100" fmla="*/ 320 w 521"/>
              <a:gd name="T101" fmla="*/ 63 h 817"/>
              <a:gd name="T102" fmla="*/ 330 w 521"/>
              <a:gd name="T103" fmla="*/ 94 h 817"/>
              <a:gd name="T104" fmla="*/ 361 w 521"/>
              <a:gd name="T105" fmla="*/ 122 h 817"/>
              <a:gd name="T106" fmla="*/ 392 w 521"/>
              <a:gd name="T107" fmla="*/ 146 h 817"/>
              <a:gd name="T108" fmla="*/ 420 w 521"/>
              <a:gd name="T109" fmla="*/ 181 h 817"/>
              <a:gd name="T110" fmla="*/ 399 w 521"/>
              <a:gd name="T111" fmla="*/ 202 h 817"/>
              <a:gd name="T112" fmla="*/ 431 w 521"/>
              <a:gd name="T113" fmla="*/ 244 h 817"/>
              <a:gd name="T114" fmla="*/ 476 w 521"/>
              <a:gd name="T115" fmla="*/ 230 h 817"/>
              <a:gd name="T116" fmla="*/ 514 w 521"/>
              <a:gd name="T117" fmla="*/ 226 h 817"/>
              <a:gd name="T118" fmla="*/ 504 w 521"/>
              <a:gd name="T119" fmla="*/ 271 h 817"/>
              <a:gd name="T120" fmla="*/ 497 w 521"/>
              <a:gd name="T121" fmla="*/ 317 h 817"/>
              <a:gd name="T122" fmla="*/ 472 w 521"/>
              <a:gd name="T123" fmla="*/ 355 h 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1" h="817">
                <a:moveTo>
                  <a:pt x="476" y="355"/>
                </a:moveTo>
                <a:lnTo>
                  <a:pt x="476" y="358"/>
                </a:lnTo>
                <a:lnTo>
                  <a:pt x="472" y="358"/>
                </a:lnTo>
                <a:lnTo>
                  <a:pt x="472" y="362"/>
                </a:lnTo>
                <a:lnTo>
                  <a:pt x="476" y="362"/>
                </a:lnTo>
                <a:lnTo>
                  <a:pt x="479" y="362"/>
                </a:lnTo>
                <a:lnTo>
                  <a:pt x="483" y="362"/>
                </a:lnTo>
                <a:lnTo>
                  <a:pt x="486" y="362"/>
                </a:lnTo>
                <a:lnTo>
                  <a:pt x="490" y="365"/>
                </a:lnTo>
                <a:lnTo>
                  <a:pt x="500" y="369"/>
                </a:lnTo>
                <a:lnTo>
                  <a:pt x="504" y="369"/>
                </a:lnTo>
                <a:lnTo>
                  <a:pt x="507" y="369"/>
                </a:lnTo>
                <a:lnTo>
                  <a:pt x="507" y="372"/>
                </a:lnTo>
                <a:lnTo>
                  <a:pt x="510" y="372"/>
                </a:lnTo>
                <a:lnTo>
                  <a:pt x="510" y="376"/>
                </a:lnTo>
                <a:lnTo>
                  <a:pt x="507" y="376"/>
                </a:lnTo>
                <a:lnTo>
                  <a:pt x="507" y="379"/>
                </a:lnTo>
                <a:lnTo>
                  <a:pt x="504" y="379"/>
                </a:lnTo>
                <a:lnTo>
                  <a:pt x="500" y="379"/>
                </a:lnTo>
                <a:lnTo>
                  <a:pt x="497" y="379"/>
                </a:lnTo>
                <a:lnTo>
                  <a:pt x="497" y="382"/>
                </a:lnTo>
                <a:lnTo>
                  <a:pt x="493" y="386"/>
                </a:lnTo>
                <a:lnTo>
                  <a:pt x="490" y="389"/>
                </a:lnTo>
                <a:lnTo>
                  <a:pt x="490" y="393"/>
                </a:lnTo>
                <a:lnTo>
                  <a:pt x="493" y="393"/>
                </a:lnTo>
                <a:lnTo>
                  <a:pt x="497" y="393"/>
                </a:lnTo>
                <a:lnTo>
                  <a:pt x="497" y="396"/>
                </a:lnTo>
                <a:lnTo>
                  <a:pt x="500" y="400"/>
                </a:lnTo>
                <a:lnTo>
                  <a:pt x="497" y="400"/>
                </a:lnTo>
                <a:lnTo>
                  <a:pt x="500" y="403"/>
                </a:lnTo>
                <a:lnTo>
                  <a:pt x="500" y="407"/>
                </a:lnTo>
                <a:lnTo>
                  <a:pt x="500" y="410"/>
                </a:lnTo>
                <a:lnTo>
                  <a:pt x="500" y="417"/>
                </a:lnTo>
                <a:lnTo>
                  <a:pt x="500" y="421"/>
                </a:lnTo>
                <a:lnTo>
                  <a:pt x="500" y="424"/>
                </a:lnTo>
                <a:lnTo>
                  <a:pt x="500" y="428"/>
                </a:lnTo>
                <a:lnTo>
                  <a:pt x="497" y="431"/>
                </a:lnTo>
                <a:lnTo>
                  <a:pt x="493" y="431"/>
                </a:lnTo>
                <a:lnTo>
                  <a:pt x="493" y="435"/>
                </a:lnTo>
                <a:lnTo>
                  <a:pt x="490" y="435"/>
                </a:lnTo>
                <a:lnTo>
                  <a:pt x="490" y="438"/>
                </a:lnTo>
                <a:lnTo>
                  <a:pt x="490" y="442"/>
                </a:lnTo>
                <a:lnTo>
                  <a:pt x="490" y="445"/>
                </a:lnTo>
                <a:lnTo>
                  <a:pt x="490" y="448"/>
                </a:lnTo>
                <a:lnTo>
                  <a:pt x="493" y="448"/>
                </a:lnTo>
                <a:lnTo>
                  <a:pt x="493" y="452"/>
                </a:lnTo>
                <a:lnTo>
                  <a:pt x="493" y="455"/>
                </a:lnTo>
                <a:lnTo>
                  <a:pt x="497" y="455"/>
                </a:lnTo>
                <a:lnTo>
                  <a:pt x="497" y="459"/>
                </a:lnTo>
                <a:lnTo>
                  <a:pt x="500" y="462"/>
                </a:lnTo>
                <a:lnTo>
                  <a:pt x="500" y="466"/>
                </a:lnTo>
                <a:lnTo>
                  <a:pt x="497" y="469"/>
                </a:lnTo>
                <a:lnTo>
                  <a:pt x="497" y="473"/>
                </a:lnTo>
                <a:lnTo>
                  <a:pt x="500" y="476"/>
                </a:lnTo>
                <a:lnTo>
                  <a:pt x="504" y="476"/>
                </a:lnTo>
                <a:lnTo>
                  <a:pt x="507" y="480"/>
                </a:lnTo>
                <a:lnTo>
                  <a:pt x="507" y="483"/>
                </a:lnTo>
                <a:lnTo>
                  <a:pt x="504" y="487"/>
                </a:lnTo>
                <a:lnTo>
                  <a:pt x="504" y="490"/>
                </a:lnTo>
                <a:lnTo>
                  <a:pt x="497" y="490"/>
                </a:lnTo>
                <a:lnTo>
                  <a:pt x="493" y="494"/>
                </a:lnTo>
                <a:lnTo>
                  <a:pt x="493" y="497"/>
                </a:lnTo>
                <a:lnTo>
                  <a:pt x="497" y="501"/>
                </a:lnTo>
                <a:lnTo>
                  <a:pt x="500" y="501"/>
                </a:lnTo>
                <a:lnTo>
                  <a:pt x="500" y="504"/>
                </a:lnTo>
                <a:lnTo>
                  <a:pt x="497" y="504"/>
                </a:lnTo>
                <a:lnTo>
                  <a:pt x="490" y="504"/>
                </a:lnTo>
                <a:lnTo>
                  <a:pt x="486" y="504"/>
                </a:lnTo>
                <a:lnTo>
                  <a:pt x="483" y="507"/>
                </a:lnTo>
                <a:lnTo>
                  <a:pt x="483" y="511"/>
                </a:lnTo>
                <a:lnTo>
                  <a:pt x="483" y="514"/>
                </a:lnTo>
                <a:lnTo>
                  <a:pt x="483" y="518"/>
                </a:lnTo>
                <a:lnTo>
                  <a:pt x="479" y="518"/>
                </a:lnTo>
                <a:lnTo>
                  <a:pt x="479" y="514"/>
                </a:lnTo>
                <a:lnTo>
                  <a:pt x="472" y="518"/>
                </a:lnTo>
                <a:lnTo>
                  <a:pt x="469" y="518"/>
                </a:lnTo>
                <a:lnTo>
                  <a:pt x="465" y="521"/>
                </a:lnTo>
                <a:lnTo>
                  <a:pt x="465" y="525"/>
                </a:lnTo>
                <a:lnTo>
                  <a:pt x="462" y="521"/>
                </a:lnTo>
                <a:lnTo>
                  <a:pt x="458" y="528"/>
                </a:lnTo>
                <a:lnTo>
                  <a:pt x="458" y="532"/>
                </a:lnTo>
                <a:lnTo>
                  <a:pt x="455" y="539"/>
                </a:lnTo>
                <a:lnTo>
                  <a:pt x="451" y="542"/>
                </a:lnTo>
                <a:lnTo>
                  <a:pt x="448" y="546"/>
                </a:lnTo>
                <a:lnTo>
                  <a:pt x="448" y="549"/>
                </a:lnTo>
                <a:lnTo>
                  <a:pt x="448" y="553"/>
                </a:lnTo>
                <a:lnTo>
                  <a:pt x="444" y="556"/>
                </a:lnTo>
                <a:lnTo>
                  <a:pt x="441" y="556"/>
                </a:lnTo>
                <a:lnTo>
                  <a:pt x="441" y="560"/>
                </a:lnTo>
                <a:lnTo>
                  <a:pt x="441" y="563"/>
                </a:lnTo>
                <a:lnTo>
                  <a:pt x="441" y="567"/>
                </a:lnTo>
                <a:lnTo>
                  <a:pt x="444" y="567"/>
                </a:lnTo>
                <a:lnTo>
                  <a:pt x="444" y="573"/>
                </a:lnTo>
                <a:lnTo>
                  <a:pt x="444" y="577"/>
                </a:lnTo>
                <a:lnTo>
                  <a:pt x="451" y="580"/>
                </a:lnTo>
                <a:lnTo>
                  <a:pt x="455" y="580"/>
                </a:lnTo>
                <a:lnTo>
                  <a:pt x="455" y="584"/>
                </a:lnTo>
                <a:lnTo>
                  <a:pt x="458" y="584"/>
                </a:lnTo>
                <a:lnTo>
                  <a:pt x="458" y="587"/>
                </a:lnTo>
                <a:lnTo>
                  <a:pt x="458" y="591"/>
                </a:lnTo>
                <a:lnTo>
                  <a:pt x="458" y="594"/>
                </a:lnTo>
                <a:lnTo>
                  <a:pt x="458" y="598"/>
                </a:lnTo>
                <a:lnTo>
                  <a:pt x="458" y="601"/>
                </a:lnTo>
                <a:lnTo>
                  <a:pt x="455" y="601"/>
                </a:lnTo>
                <a:lnTo>
                  <a:pt x="455" y="605"/>
                </a:lnTo>
                <a:lnTo>
                  <a:pt x="451" y="608"/>
                </a:lnTo>
                <a:lnTo>
                  <a:pt x="448" y="612"/>
                </a:lnTo>
                <a:lnTo>
                  <a:pt x="444" y="612"/>
                </a:lnTo>
                <a:lnTo>
                  <a:pt x="444" y="615"/>
                </a:lnTo>
                <a:lnTo>
                  <a:pt x="441" y="615"/>
                </a:lnTo>
                <a:lnTo>
                  <a:pt x="438" y="619"/>
                </a:lnTo>
                <a:lnTo>
                  <a:pt x="434" y="619"/>
                </a:lnTo>
                <a:lnTo>
                  <a:pt x="434" y="622"/>
                </a:lnTo>
                <a:lnTo>
                  <a:pt x="438" y="626"/>
                </a:lnTo>
                <a:lnTo>
                  <a:pt x="441" y="629"/>
                </a:lnTo>
                <a:lnTo>
                  <a:pt x="441" y="633"/>
                </a:lnTo>
                <a:lnTo>
                  <a:pt x="444" y="633"/>
                </a:lnTo>
                <a:lnTo>
                  <a:pt x="448" y="636"/>
                </a:lnTo>
                <a:lnTo>
                  <a:pt x="451" y="636"/>
                </a:lnTo>
                <a:lnTo>
                  <a:pt x="455" y="639"/>
                </a:lnTo>
                <a:lnTo>
                  <a:pt x="458" y="639"/>
                </a:lnTo>
                <a:lnTo>
                  <a:pt x="462" y="646"/>
                </a:lnTo>
                <a:lnTo>
                  <a:pt x="458" y="650"/>
                </a:lnTo>
                <a:lnTo>
                  <a:pt x="458" y="653"/>
                </a:lnTo>
                <a:lnTo>
                  <a:pt x="458" y="657"/>
                </a:lnTo>
                <a:lnTo>
                  <a:pt x="462" y="664"/>
                </a:lnTo>
                <a:lnTo>
                  <a:pt x="458" y="664"/>
                </a:lnTo>
                <a:lnTo>
                  <a:pt x="455" y="664"/>
                </a:lnTo>
                <a:lnTo>
                  <a:pt x="451" y="664"/>
                </a:lnTo>
                <a:lnTo>
                  <a:pt x="448" y="667"/>
                </a:lnTo>
                <a:lnTo>
                  <a:pt x="448" y="671"/>
                </a:lnTo>
                <a:lnTo>
                  <a:pt x="444" y="674"/>
                </a:lnTo>
                <a:lnTo>
                  <a:pt x="444" y="678"/>
                </a:lnTo>
                <a:lnTo>
                  <a:pt x="444" y="681"/>
                </a:lnTo>
                <a:lnTo>
                  <a:pt x="444" y="685"/>
                </a:lnTo>
                <a:lnTo>
                  <a:pt x="444" y="688"/>
                </a:lnTo>
                <a:lnTo>
                  <a:pt x="444" y="692"/>
                </a:lnTo>
                <a:lnTo>
                  <a:pt x="444" y="695"/>
                </a:lnTo>
                <a:lnTo>
                  <a:pt x="441" y="695"/>
                </a:lnTo>
                <a:lnTo>
                  <a:pt x="441" y="698"/>
                </a:lnTo>
                <a:lnTo>
                  <a:pt x="438" y="709"/>
                </a:lnTo>
                <a:lnTo>
                  <a:pt x="434" y="709"/>
                </a:lnTo>
                <a:lnTo>
                  <a:pt x="434" y="712"/>
                </a:lnTo>
                <a:lnTo>
                  <a:pt x="431" y="712"/>
                </a:lnTo>
                <a:lnTo>
                  <a:pt x="427" y="712"/>
                </a:lnTo>
                <a:lnTo>
                  <a:pt x="427" y="716"/>
                </a:lnTo>
                <a:lnTo>
                  <a:pt x="424" y="719"/>
                </a:lnTo>
                <a:lnTo>
                  <a:pt x="424" y="723"/>
                </a:lnTo>
                <a:lnTo>
                  <a:pt x="420" y="723"/>
                </a:lnTo>
                <a:lnTo>
                  <a:pt x="417" y="723"/>
                </a:lnTo>
                <a:lnTo>
                  <a:pt x="417" y="726"/>
                </a:lnTo>
                <a:lnTo>
                  <a:pt x="417" y="730"/>
                </a:lnTo>
                <a:lnTo>
                  <a:pt x="417" y="733"/>
                </a:lnTo>
                <a:lnTo>
                  <a:pt x="420" y="740"/>
                </a:lnTo>
                <a:lnTo>
                  <a:pt x="424" y="740"/>
                </a:lnTo>
                <a:lnTo>
                  <a:pt x="424" y="744"/>
                </a:lnTo>
                <a:lnTo>
                  <a:pt x="424" y="747"/>
                </a:lnTo>
                <a:lnTo>
                  <a:pt x="424" y="751"/>
                </a:lnTo>
                <a:lnTo>
                  <a:pt x="424" y="754"/>
                </a:lnTo>
                <a:lnTo>
                  <a:pt x="424" y="758"/>
                </a:lnTo>
                <a:lnTo>
                  <a:pt x="424" y="761"/>
                </a:lnTo>
                <a:lnTo>
                  <a:pt x="431" y="768"/>
                </a:lnTo>
                <a:lnTo>
                  <a:pt x="431" y="771"/>
                </a:lnTo>
                <a:lnTo>
                  <a:pt x="434" y="771"/>
                </a:lnTo>
                <a:lnTo>
                  <a:pt x="441" y="778"/>
                </a:lnTo>
                <a:lnTo>
                  <a:pt x="444" y="778"/>
                </a:lnTo>
                <a:lnTo>
                  <a:pt x="448" y="782"/>
                </a:lnTo>
                <a:lnTo>
                  <a:pt x="448" y="785"/>
                </a:lnTo>
                <a:lnTo>
                  <a:pt x="444" y="789"/>
                </a:lnTo>
                <a:lnTo>
                  <a:pt x="448" y="792"/>
                </a:lnTo>
                <a:lnTo>
                  <a:pt x="448" y="796"/>
                </a:lnTo>
                <a:lnTo>
                  <a:pt x="448" y="799"/>
                </a:lnTo>
                <a:lnTo>
                  <a:pt x="451" y="803"/>
                </a:lnTo>
                <a:lnTo>
                  <a:pt x="451" y="806"/>
                </a:lnTo>
                <a:lnTo>
                  <a:pt x="451" y="810"/>
                </a:lnTo>
                <a:lnTo>
                  <a:pt x="448" y="810"/>
                </a:lnTo>
                <a:lnTo>
                  <a:pt x="444" y="810"/>
                </a:lnTo>
                <a:lnTo>
                  <a:pt x="441" y="810"/>
                </a:lnTo>
                <a:lnTo>
                  <a:pt x="438" y="810"/>
                </a:lnTo>
                <a:lnTo>
                  <a:pt x="434" y="810"/>
                </a:lnTo>
                <a:lnTo>
                  <a:pt x="434" y="813"/>
                </a:lnTo>
                <a:lnTo>
                  <a:pt x="431" y="813"/>
                </a:lnTo>
                <a:lnTo>
                  <a:pt x="427" y="813"/>
                </a:lnTo>
                <a:lnTo>
                  <a:pt x="427" y="817"/>
                </a:lnTo>
                <a:lnTo>
                  <a:pt x="424" y="817"/>
                </a:lnTo>
                <a:lnTo>
                  <a:pt x="420" y="817"/>
                </a:lnTo>
                <a:lnTo>
                  <a:pt x="420" y="813"/>
                </a:lnTo>
                <a:lnTo>
                  <a:pt x="420" y="810"/>
                </a:lnTo>
                <a:lnTo>
                  <a:pt x="417" y="810"/>
                </a:lnTo>
                <a:lnTo>
                  <a:pt x="417" y="806"/>
                </a:lnTo>
                <a:lnTo>
                  <a:pt x="413" y="806"/>
                </a:lnTo>
                <a:lnTo>
                  <a:pt x="413" y="803"/>
                </a:lnTo>
                <a:lnTo>
                  <a:pt x="413" y="799"/>
                </a:lnTo>
                <a:lnTo>
                  <a:pt x="413" y="796"/>
                </a:lnTo>
                <a:lnTo>
                  <a:pt x="410" y="796"/>
                </a:lnTo>
                <a:lnTo>
                  <a:pt x="406" y="796"/>
                </a:lnTo>
                <a:lnTo>
                  <a:pt x="403" y="796"/>
                </a:lnTo>
                <a:lnTo>
                  <a:pt x="399" y="796"/>
                </a:lnTo>
                <a:lnTo>
                  <a:pt x="399" y="792"/>
                </a:lnTo>
                <a:lnTo>
                  <a:pt x="396" y="796"/>
                </a:lnTo>
                <a:lnTo>
                  <a:pt x="392" y="796"/>
                </a:lnTo>
                <a:lnTo>
                  <a:pt x="389" y="796"/>
                </a:lnTo>
                <a:lnTo>
                  <a:pt x="389" y="792"/>
                </a:lnTo>
                <a:lnTo>
                  <a:pt x="385" y="792"/>
                </a:lnTo>
                <a:lnTo>
                  <a:pt x="385" y="796"/>
                </a:lnTo>
                <a:lnTo>
                  <a:pt x="385" y="792"/>
                </a:lnTo>
                <a:lnTo>
                  <a:pt x="382" y="792"/>
                </a:lnTo>
                <a:lnTo>
                  <a:pt x="382" y="789"/>
                </a:lnTo>
                <a:lnTo>
                  <a:pt x="382" y="785"/>
                </a:lnTo>
                <a:lnTo>
                  <a:pt x="382" y="782"/>
                </a:lnTo>
                <a:lnTo>
                  <a:pt x="382" y="778"/>
                </a:lnTo>
                <a:lnTo>
                  <a:pt x="382" y="775"/>
                </a:lnTo>
                <a:lnTo>
                  <a:pt x="379" y="775"/>
                </a:lnTo>
                <a:lnTo>
                  <a:pt x="375" y="775"/>
                </a:lnTo>
                <a:lnTo>
                  <a:pt x="375" y="771"/>
                </a:lnTo>
                <a:lnTo>
                  <a:pt x="375" y="768"/>
                </a:lnTo>
                <a:lnTo>
                  <a:pt x="372" y="768"/>
                </a:lnTo>
                <a:lnTo>
                  <a:pt x="368" y="768"/>
                </a:lnTo>
                <a:lnTo>
                  <a:pt x="368" y="764"/>
                </a:lnTo>
                <a:lnTo>
                  <a:pt x="368" y="761"/>
                </a:lnTo>
                <a:lnTo>
                  <a:pt x="365" y="761"/>
                </a:lnTo>
                <a:lnTo>
                  <a:pt x="365" y="758"/>
                </a:lnTo>
                <a:lnTo>
                  <a:pt x="361" y="758"/>
                </a:lnTo>
                <a:lnTo>
                  <a:pt x="361" y="754"/>
                </a:lnTo>
                <a:lnTo>
                  <a:pt x="358" y="754"/>
                </a:lnTo>
                <a:lnTo>
                  <a:pt x="358" y="751"/>
                </a:lnTo>
                <a:lnTo>
                  <a:pt x="358" y="754"/>
                </a:lnTo>
                <a:lnTo>
                  <a:pt x="354" y="754"/>
                </a:lnTo>
                <a:lnTo>
                  <a:pt x="351" y="754"/>
                </a:lnTo>
                <a:lnTo>
                  <a:pt x="347" y="754"/>
                </a:lnTo>
                <a:lnTo>
                  <a:pt x="344" y="754"/>
                </a:lnTo>
                <a:lnTo>
                  <a:pt x="344" y="751"/>
                </a:lnTo>
                <a:lnTo>
                  <a:pt x="340" y="751"/>
                </a:lnTo>
                <a:lnTo>
                  <a:pt x="337" y="751"/>
                </a:lnTo>
                <a:lnTo>
                  <a:pt x="337" y="747"/>
                </a:lnTo>
                <a:lnTo>
                  <a:pt x="333" y="747"/>
                </a:lnTo>
                <a:lnTo>
                  <a:pt x="333" y="744"/>
                </a:lnTo>
                <a:lnTo>
                  <a:pt x="330" y="744"/>
                </a:lnTo>
                <a:lnTo>
                  <a:pt x="333" y="744"/>
                </a:lnTo>
                <a:lnTo>
                  <a:pt x="330" y="744"/>
                </a:lnTo>
                <a:lnTo>
                  <a:pt x="333" y="744"/>
                </a:lnTo>
                <a:lnTo>
                  <a:pt x="330" y="740"/>
                </a:lnTo>
                <a:lnTo>
                  <a:pt x="330" y="737"/>
                </a:lnTo>
                <a:lnTo>
                  <a:pt x="326" y="737"/>
                </a:lnTo>
                <a:lnTo>
                  <a:pt x="323" y="737"/>
                </a:lnTo>
                <a:lnTo>
                  <a:pt x="323" y="740"/>
                </a:lnTo>
                <a:lnTo>
                  <a:pt x="320" y="740"/>
                </a:lnTo>
                <a:lnTo>
                  <a:pt x="316" y="740"/>
                </a:lnTo>
                <a:lnTo>
                  <a:pt x="320" y="740"/>
                </a:lnTo>
                <a:lnTo>
                  <a:pt x="316" y="740"/>
                </a:lnTo>
                <a:lnTo>
                  <a:pt x="316" y="737"/>
                </a:lnTo>
                <a:lnTo>
                  <a:pt x="313" y="737"/>
                </a:lnTo>
                <a:lnTo>
                  <a:pt x="309" y="737"/>
                </a:lnTo>
                <a:lnTo>
                  <a:pt x="306" y="740"/>
                </a:lnTo>
                <a:lnTo>
                  <a:pt x="302" y="740"/>
                </a:lnTo>
                <a:lnTo>
                  <a:pt x="299" y="740"/>
                </a:lnTo>
                <a:lnTo>
                  <a:pt x="299" y="737"/>
                </a:lnTo>
                <a:lnTo>
                  <a:pt x="295" y="737"/>
                </a:lnTo>
                <a:lnTo>
                  <a:pt x="292" y="733"/>
                </a:lnTo>
                <a:lnTo>
                  <a:pt x="288" y="733"/>
                </a:lnTo>
                <a:lnTo>
                  <a:pt x="285" y="733"/>
                </a:lnTo>
                <a:lnTo>
                  <a:pt x="285" y="730"/>
                </a:lnTo>
                <a:lnTo>
                  <a:pt x="285" y="726"/>
                </a:lnTo>
                <a:lnTo>
                  <a:pt x="281" y="726"/>
                </a:lnTo>
                <a:lnTo>
                  <a:pt x="278" y="726"/>
                </a:lnTo>
                <a:lnTo>
                  <a:pt x="274" y="726"/>
                </a:lnTo>
                <a:lnTo>
                  <a:pt x="274" y="723"/>
                </a:lnTo>
                <a:lnTo>
                  <a:pt x="271" y="723"/>
                </a:lnTo>
                <a:lnTo>
                  <a:pt x="271" y="719"/>
                </a:lnTo>
                <a:lnTo>
                  <a:pt x="267" y="719"/>
                </a:lnTo>
                <a:lnTo>
                  <a:pt x="264" y="719"/>
                </a:lnTo>
                <a:lnTo>
                  <a:pt x="260" y="719"/>
                </a:lnTo>
                <a:lnTo>
                  <a:pt x="260" y="716"/>
                </a:lnTo>
                <a:lnTo>
                  <a:pt x="257" y="716"/>
                </a:lnTo>
                <a:lnTo>
                  <a:pt x="254" y="716"/>
                </a:lnTo>
                <a:lnTo>
                  <a:pt x="254" y="712"/>
                </a:lnTo>
                <a:lnTo>
                  <a:pt x="257" y="712"/>
                </a:lnTo>
                <a:lnTo>
                  <a:pt x="257" y="709"/>
                </a:lnTo>
                <a:lnTo>
                  <a:pt x="254" y="709"/>
                </a:lnTo>
                <a:lnTo>
                  <a:pt x="254" y="705"/>
                </a:lnTo>
                <a:lnTo>
                  <a:pt x="254" y="702"/>
                </a:lnTo>
                <a:lnTo>
                  <a:pt x="254" y="698"/>
                </a:lnTo>
                <a:lnTo>
                  <a:pt x="254" y="695"/>
                </a:lnTo>
                <a:lnTo>
                  <a:pt x="257" y="695"/>
                </a:lnTo>
                <a:lnTo>
                  <a:pt x="257" y="692"/>
                </a:lnTo>
                <a:lnTo>
                  <a:pt x="254" y="692"/>
                </a:lnTo>
                <a:lnTo>
                  <a:pt x="254" y="688"/>
                </a:lnTo>
                <a:lnTo>
                  <a:pt x="250" y="688"/>
                </a:lnTo>
                <a:lnTo>
                  <a:pt x="250" y="685"/>
                </a:lnTo>
                <a:lnTo>
                  <a:pt x="254" y="681"/>
                </a:lnTo>
                <a:lnTo>
                  <a:pt x="254" y="678"/>
                </a:lnTo>
                <a:lnTo>
                  <a:pt x="254" y="674"/>
                </a:lnTo>
                <a:lnTo>
                  <a:pt x="254" y="671"/>
                </a:lnTo>
                <a:lnTo>
                  <a:pt x="257" y="671"/>
                </a:lnTo>
                <a:lnTo>
                  <a:pt x="257" y="667"/>
                </a:lnTo>
                <a:lnTo>
                  <a:pt x="260" y="667"/>
                </a:lnTo>
                <a:lnTo>
                  <a:pt x="260" y="664"/>
                </a:lnTo>
                <a:lnTo>
                  <a:pt x="260" y="660"/>
                </a:lnTo>
                <a:lnTo>
                  <a:pt x="264" y="660"/>
                </a:lnTo>
                <a:lnTo>
                  <a:pt x="264" y="657"/>
                </a:lnTo>
                <a:lnTo>
                  <a:pt x="267" y="657"/>
                </a:lnTo>
                <a:lnTo>
                  <a:pt x="264" y="657"/>
                </a:lnTo>
                <a:lnTo>
                  <a:pt x="264" y="653"/>
                </a:lnTo>
                <a:lnTo>
                  <a:pt x="264" y="650"/>
                </a:lnTo>
                <a:lnTo>
                  <a:pt x="264" y="646"/>
                </a:lnTo>
                <a:lnTo>
                  <a:pt x="264" y="643"/>
                </a:lnTo>
                <a:lnTo>
                  <a:pt x="260" y="643"/>
                </a:lnTo>
                <a:lnTo>
                  <a:pt x="257" y="643"/>
                </a:lnTo>
                <a:lnTo>
                  <a:pt x="257" y="639"/>
                </a:lnTo>
                <a:lnTo>
                  <a:pt x="257" y="643"/>
                </a:lnTo>
                <a:lnTo>
                  <a:pt x="254" y="639"/>
                </a:lnTo>
                <a:lnTo>
                  <a:pt x="250" y="639"/>
                </a:lnTo>
                <a:lnTo>
                  <a:pt x="254" y="636"/>
                </a:lnTo>
                <a:lnTo>
                  <a:pt x="250" y="636"/>
                </a:lnTo>
                <a:lnTo>
                  <a:pt x="250" y="633"/>
                </a:lnTo>
                <a:lnTo>
                  <a:pt x="250" y="629"/>
                </a:lnTo>
                <a:lnTo>
                  <a:pt x="254" y="629"/>
                </a:lnTo>
                <a:lnTo>
                  <a:pt x="257" y="629"/>
                </a:lnTo>
                <a:lnTo>
                  <a:pt x="257" y="626"/>
                </a:lnTo>
                <a:lnTo>
                  <a:pt x="257" y="622"/>
                </a:lnTo>
                <a:lnTo>
                  <a:pt x="257" y="626"/>
                </a:lnTo>
                <a:lnTo>
                  <a:pt x="257" y="622"/>
                </a:lnTo>
                <a:lnTo>
                  <a:pt x="254" y="622"/>
                </a:lnTo>
                <a:lnTo>
                  <a:pt x="250" y="622"/>
                </a:lnTo>
                <a:lnTo>
                  <a:pt x="247" y="622"/>
                </a:lnTo>
                <a:lnTo>
                  <a:pt x="243" y="622"/>
                </a:lnTo>
                <a:lnTo>
                  <a:pt x="243" y="619"/>
                </a:lnTo>
                <a:lnTo>
                  <a:pt x="243" y="622"/>
                </a:lnTo>
                <a:lnTo>
                  <a:pt x="240" y="626"/>
                </a:lnTo>
                <a:lnTo>
                  <a:pt x="236" y="626"/>
                </a:lnTo>
                <a:lnTo>
                  <a:pt x="236" y="629"/>
                </a:lnTo>
                <a:lnTo>
                  <a:pt x="233" y="629"/>
                </a:lnTo>
                <a:lnTo>
                  <a:pt x="229" y="629"/>
                </a:lnTo>
                <a:lnTo>
                  <a:pt x="226" y="629"/>
                </a:lnTo>
                <a:lnTo>
                  <a:pt x="226" y="633"/>
                </a:lnTo>
                <a:lnTo>
                  <a:pt x="222" y="633"/>
                </a:lnTo>
                <a:lnTo>
                  <a:pt x="222" y="629"/>
                </a:lnTo>
                <a:lnTo>
                  <a:pt x="219" y="629"/>
                </a:lnTo>
                <a:lnTo>
                  <a:pt x="219" y="626"/>
                </a:lnTo>
                <a:lnTo>
                  <a:pt x="219" y="629"/>
                </a:lnTo>
                <a:lnTo>
                  <a:pt x="219" y="626"/>
                </a:lnTo>
                <a:lnTo>
                  <a:pt x="215" y="626"/>
                </a:lnTo>
                <a:lnTo>
                  <a:pt x="215" y="622"/>
                </a:lnTo>
                <a:lnTo>
                  <a:pt x="212" y="622"/>
                </a:lnTo>
                <a:lnTo>
                  <a:pt x="208" y="622"/>
                </a:lnTo>
                <a:lnTo>
                  <a:pt x="205" y="622"/>
                </a:lnTo>
                <a:lnTo>
                  <a:pt x="205" y="619"/>
                </a:lnTo>
                <a:lnTo>
                  <a:pt x="201" y="619"/>
                </a:lnTo>
                <a:lnTo>
                  <a:pt x="201" y="615"/>
                </a:lnTo>
                <a:lnTo>
                  <a:pt x="198" y="615"/>
                </a:lnTo>
                <a:lnTo>
                  <a:pt x="198" y="612"/>
                </a:lnTo>
                <a:lnTo>
                  <a:pt x="198" y="615"/>
                </a:lnTo>
                <a:lnTo>
                  <a:pt x="198" y="612"/>
                </a:lnTo>
                <a:lnTo>
                  <a:pt x="195" y="612"/>
                </a:lnTo>
                <a:lnTo>
                  <a:pt x="191" y="612"/>
                </a:lnTo>
                <a:lnTo>
                  <a:pt x="191" y="608"/>
                </a:lnTo>
                <a:lnTo>
                  <a:pt x="188" y="608"/>
                </a:lnTo>
                <a:lnTo>
                  <a:pt x="188" y="605"/>
                </a:lnTo>
                <a:lnTo>
                  <a:pt x="184" y="605"/>
                </a:lnTo>
                <a:lnTo>
                  <a:pt x="181" y="605"/>
                </a:lnTo>
                <a:lnTo>
                  <a:pt x="177" y="605"/>
                </a:lnTo>
                <a:lnTo>
                  <a:pt x="174" y="605"/>
                </a:lnTo>
                <a:lnTo>
                  <a:pt x="170" y="605"/>
                </a:lnTo>
                <a:lnTo>
                  <a:pt x="167" y="605"/>
                </a:lnTo>
                <a:lnTo>
                  <a:pt x="163" y="605"/>
                </a:lnTo>
                <a:lnTo>
                  <a:pt x="160" y="605"/>
                </a:lnTo>
                <a:lnTo>
                  <a:pt x="156" y="605"/>
                </a:lnTo>
                <a:lnTo>
                  <a:pt x="160" y="601"/>
                </a:lnTo>
                <a:lnTo>
                  <a:pt x="156" y="601"/>
                </a:lnTo>
                <a:lnTo>
                  <a:pt x="156" y="598"/>
                </a:lnTo>
                <a:lnTo>
                  <a:pt x="153" y="601"/>
                </a:lnTo>
                <a:lnTo>
                  <a:pt x="149" y="601"/>
                </a:lnTo>
                <a:lnTo>
                  <a:pt x="149" y="598"/>
                </a:lnTo>
                <a:lnTo>
                  <a:pt x="146" y="598"/>
                </a:lnTo>
                <a:lnTo>
                  <a:pt x="142" y="598"/>
                </a:lnTo>
                <a:lnTo>
                  <a:pt x="139" y="598"/>
                </a:lnTo>
                <a:lnTo>
                  <a:pt x="135" y="598"/>
                </a:lnTo>
                <a:lnTo>
                  <a:pt x="135" y="594"/>
                </a:lnTo>
                <a:lnTo>
                  <a:pt x="135" y="598"/>
                </a:lnTo>
                <a:lnTo>
                  <a:pt x="135" y="594"/>
                </a:lnTo>
                <a:lnTo>
                  <a:pt x="132" y="594"/>
                </a:lnTo>
                <a:lnTo>
                  <a:pt x="129" y="594"/>
                </a:lnTo>
                <a:lnTo>
                  <a:pt x="129" y="591"/>
                </a:lnTo>
                <a:lnTo>
                  <a:pt x="132" y="591"/>
                </a:lnTo>
                <a:lnTo>
                  <a:pt x="132" y="587"/>
                </a:lnTo>
                <a:lnTo>
                  <a:pt x="129" y="587"/>
                </a:lnTo>
                <a:lnTo>
                  <a:pt x="125" y="591"/>
                </a:lnTo>
                <a:lnTo>
                  <a:pt x="125" y="587"/>
                </a:lnTo>
                <a:lnTo>
                  <a:pt x="122" y="587"/>
                </a:lnTo>
                <a:lnTo>
                  <a:pt x="118" y="587"/>
                </a:lnTo>
                <a:lnTo>
                  <a:pt x="115" y="587"/>
                </a:lnTo>
                <a:lnTo>
                  <a:pt x="115" y="584"/>
                </a:lnTo>
                <a:lnTo>
                  <a:pt x="111" y="584"/>
                </a:lnTo>
                <a:lnTo>
                  <a:pt x="111" y="580"/>
                </a:lnTo>
                <a:lnTo>
                  <a:pt x="111" y="577"/>
                </a:lnTo>
                <a:lnTo>
                  <a:pt x="108" y="580"/>
                </a:lnTo>
                <a:lnTo>
                  <a:pt x="104" y="580"/>
                </a:lnTo>
                <a:lnTo>
                  <a:pt x="101" y="580"/>
                </a:lnTo>
                <a:lnTo>
                  <a:pt x="97" y="580"/>
                </a:lnTo>
                <a:lnTo>
                  <a:pt x="97" y="584"/>
                </a:lnTo>
                <a:lnTo>
                  <a:pt x="94" y="584"/>
                </a:lnTo>
                <a:lnTo>
                  <a:pt x="90" y="584"/>
                </a:lnTo>
                <a:lnTo>
                  <a:pt x="90" y="580"/>
                </a:lnTo>
                <a:lnTo>
                  <a:pt x="87" y="580"/>
                </a:lnTo>
                <a:lnTo>
                  <a:pt x="83" y="580"/>
                </a:lnTo>
                <a:lnTo>
                  <a:pt x="83" y="584"/>
                </a:lnTo>
                <a:lnTo>
                  <a:pt x="80" y="587"/>
                </a:lnTo>
                <a:lnTo>
                  <a:pt x="80" y="591"/>
                </a:lnTo>
                <a:lnTo>
                  <a:pt x="76" y="591"/>
                </a:lnTo>
                <a:lnTo>
                  <a:pt x="73" y="591"/>
                </a:lnTo>
                <a:lnTo>
                  <a:pt x="70" y="591"/>
                </a:lnTo>
                <a:lnTo>
                  <a:pt x="70" y="587"/>
                </a:lnTo>
                <a:lnTo>
                  <a:pt x="66" y="587"/>
                </a:lnTo>
                <a:lnTo>
                  <a:pt x="63" y="587"/>
                </a:lnTo>
                <a:lnTo>
                  <a:pt x="63" y="584"/>
                </a:lnTo>
                <a:lnTo>
                  <a:pt x="59" y="584"/>
                </a:lnTo>
                <a:lnTo>
                  <a:pt x="59" y="580"/>
                </a:lnTo>
                <a:lnTo>
                  <a:pt x="56" y="580"/>
                </a:lnTo>
                <a:lnTo>
                  <a:pt x="59" y="580"/>
                </a:lnTo>
                <a:lnTo>
                  <a:pt x="59" y="577"/>
                </a:lnTo>
                <a:lnTo>
                  <a:pt x="59" y="573"/>
                </a:lnTo>
                <a:lnTo>
                  <a:pt x="59" y="570"/>
                </a:lnTo>
                <a:lnTo>
                  <a:pt x="63" y="570"/>
                </a:lnTo>
                <a:lnTo>
                  <a:pt x="59" y="567"/>
                </a:lnTo>
                <a:lnTo>
                  <a:pt x="59" y="563"/>
                </a:lnTo>
                <a:lnTo>
                  <a:pt x="59" y="560"/>
                </a:lnTo>
                <a:lnTo>
                  <a:pt x="63" y="560"/>
                </a:lnTo>
                <a:lnTo>
                  <a:pt x="66" y="560"/>
                </a:lnTo>
                <a:lnTo>
                  <a:pt x="70" y="556"/>
                </a:lnTo>
                <a:lnTo>
                  <a:pt x="73" y="556"/>
                </a:lnTo>
                <a:lnTo>
                  <a:pt x="76" y="556"/>
                </a:lnTo>
                <a:lnTo>
                  <a:pt x="76" y="553"/>
                </a:lnTo>
                <a:lnTo>
                  <a:pt x="76" y="549"/>
                </a:lnTo>
                <a:lnTo>
                  <a:pt x="76" y="542"/>
                </a:lnTo>
                <a:lnTo>
                  <a:pt x="76" y="535"/>
                </a:lnTo>
                <a:lnTo>
                  <a:pt x="73" y="535"/>
                </a:lnTo>
                <a:lnTo>
                  <a:pt x="73" y="532"/>
                </a:lnTo>
                <a:lnTo>
                  <a:pt x="73" y="528"/>
                </a:lnTo>
                <a:lnTo>
                  <a:pt x="70" y="528"/>
                </a:lnTo>
                <a:lnTo>
                  <a:pt x="66" y="528"/>
                </a:lnTo>
                <a:lnTo>
                  <a:pt x="66" y="525"/>
                </a:lnTo>
                <a:lnTo>
                  <a:pt x="70" y="525"/>
                </a:lnTo>
                <a:lnTo>
                  <a:pt x="70" y="521"/>
                </a:lnTo>
                <a:lnTo>
                  <a:pt x="70" y="518"/>
                </a:lnTo>
                <a:lnTo>
                  <a:pt x="70" y="514"/>
                </a:lnTo>
                <a:lnTo>
                  <a:pt x="73" y="514"/>
                </a:lnTo>
                <a:lnTo>
                  <a:pt x="73" y="511"/>
                </a:lnTo>
                <a:lnTo>
                  <a:pt x="76" y="511"/>
                </a:lnTo>
                <a:lnTo>
                  <a:pt x="76" y="507"/>
                </a:lnTo>
                <a:lnTo>
                  <a:pt x="73" y="507"/>
                </a:lnTo>
                <a:lnTo>
                  <a:pt x="73" y="504"/>
                </a:lnTo>
                <a:lnTo>
                  <a:pt x="70" y="504"/>
                </a:lnTo>
                <a:lnTo>
                  <a:pt x="70" y="501"/>
                </a:lnTo>
                <a:lnTo>
                  <a:pt x="70" y="497"/>
                </a:lnTo>
                <a:lnTo>
                  <a:pt x="70" y="494"/>
                </a:lnTo>
                <a:lnTo>
                  <a:pt x="66" y="494"/>
                </a:lnTo>
                <a:lnTo>
                  <a:pt x="70" y="494"/>
                </a:lnTo>
                <a:lnTo>
                  <a:pt x="70" y="490"/>
                </a:lnTo>
                <a:lnTo>
                  <a:pt x="70" y="487"/>
                </a:lnTo>
                <a:lnTo>
                  <a:pt x="70" y="483"/>
                </a:lnTo>
                <a:lnTo>
                  <a:pt x="66" y="483"/>
                </a:lnTo>
                <a:lnTo>
                  <a:pt x="63" y="483"/>
                </a:lnTo>
                <a:lnTo>
                  <a:pt x="63" y="487"/>
                </a:lnTo>
                <a:lnTo>
                  <a:pt x="59" y="487"/>
                </a:lnTo>
                <a:lnTo>
                  <a:pt x="56" y="487"/>
                </a:lnTo>
                <a:lnTo>
                  <a:pt x="56" y="483"/>
                </a:lnTo>
                <a:lnTo>
                  <a:pt x="52" y="483"/>
                </a:lnTo>
                <a:lnTo>
                  <a:pt x="52" y="480"/>
                </a:lnTo>
                <a:lnTo>
                  <a:pt x="52" y="476"/>
                </a:lnTo>
                <a:lnTo>
                  <a:pt x="52" y="473"/>
                </a:lnTo>
                <a:lnTo>
                  <a:pt x="49" y="473"/>
                </a:lnTo>
                <a:lnTo>
                  <a:pt x="49" y="469"/>
                </a:lnTo>
                <a:lnTo>
                  <a:pt x="45" y="469"/>
                </a:lnTo>
                <a:lnTo>
                  <a:pt x="38" y="462"/>
                </a:lnTo>
                <a:lnTo>
                  <a:pt x="35" y="462"/>
                </a:lnTo>
                <a:lnTo>
                  <a:pt x="31" y="462"/>
                </a:lnTo>
                <a:lnTo>
                  <a:pt x="28" y="462"/>
                </a:lnTo>
                <a:lnTo>
                  <a:pt x="24" y="462"/>
                </a:lnTo>
                <a:lnTo>
                  <a:pt x="24" y="459"/>
                </a:lnTo>
                <a:lnTo>
                  <a:pt x="28" y="459"/>
                </a:lnTo>
                <a:lnTo>
                  <a:pt x="31" y="455"/>
                </a:lnTo>
                <a:lnTo>
                  <a:pt x="31" y="452"/>
                </a:lnTo>
                <a:lnTo>
                  <a:pt x="31" y="448"/>
                </a:lnTo>
                <a:lnTo>
                  <a:pt x="31" y="445"/>
                </a:lnTo>
                <a:lnTo>
                  <a:pt x="31" y="442"/>
                </a:lnTo>
                <a:lnTo>
                  <a:pt x="31" y="438"/>
                </a:lnTo>
                <a:lnTo>
                  <a:pt x="35" y="438"/>
                </a:lnTo>
                <a:lnTo>
                  <a:pt x="35" y="435"/>
                </a:lnTo>
                <a:lnTo>
                  <a:pt x="38" y="435"/>
                </a:lnTo>
                <a:lnTo>
                  <a:pt x="38" y="431"/>
                </a:lnTo>
                <a:lnTo>
                  <a:pt x="38" y="428"/>
                </a:lnTo>
                <a:lnTo>
                  <a:pt x="38" y="424"/>
                </a:lnTo>
                <a:lnTo>
                  <a:pt x="42" y="424"/>
                </a:lnTo>
                <a:lnTo>
                  <a:pt x="38" y="424"/>
                </a:lnTo>
                <a:lnTo>
                  <a:pt x="35" y="421"/>
                </a:lnTo>
                <a:lnTo>
                  <a:pt x="35" y="417"/>
                </a:lnTo>
                <a:lnTo>
                  <a:pt x="35" y="414"/>
                </a:lnTo>
                <a:lnTo>
                  <a:pt x="31" y="414"/>
                </a:lnTo>
                <a:lnTo>
                  <a:pt x="31" y="410"/>
                </a:lnTo>
                <a:lnTo>
                  <a:pt x="28" y="410"/>
                </a:lnTo>
                <a:lnTo>
                  <a:pt x="28" y="407"/>
                </a:lnTo>
                <a:lnTo>
                  <a:pt x="24" y="407"/>
                </a:lnTo>
                <a:lnTo>
                  <a:pt x="24" y="403"/>
                </a:lnTo>
                <a:lnTo>
                  <a:pt x="21" y="403"/>
                </a:lnTo>
                <a:lnTo>
                  <a:pt x="17" y="403"/>
                </a:lnTo>
                <a:lnTo>
                  <a:pt x="17" y="407"/>
                </a:lnTo>
                <a:lnTo>
                  <a:pt x="17" y="403"/>
                </a:lnTo>
                <a:lnTo>
                  <a:pt x="17" y="400"/>
                </a:lnTo>
                <a:lnTo>
                  <a:pt x="17" y="396"/>
                </a:lnTo>
                <a:lnTo>
                  <a:pt x="21" y="396"/>
                </a:lnTo>
                <a:lnTo>
                  <a:pt x="21" y="393"/>
                </a:lnTo>
                <a:lnTo>
                  <a:pt x="24" y="393"/>
                </a:lnTo>
                <a:lnTo>
                  <a:pt x="24" y="389"/>
                </a:lnTo>
                <a:lnTo>
                  <a:pt x="24" y="386"/>
                </a:lnTo>
                <a:lnTo>
                  <a:pt x="28" y="386"/>
                </a:lnTo>
                <a:lnTo>
                  <a:pt x="28" y="382"/>
                </a:lnTo>
                <a:lnTo>
                  <a:pt x="24" y="379"/>
                </a:lnTo>
                <a:lnTo>
                  <a:pt x="24" y="376"/>
                </a:lnTo>
                <a:lnTo>
                  <a:pt x="21" y="376"/>
                </a:lnTo>
                <a:lnTo>
                  <a:pt x="21" y="372"/>
                </a:lnTo>
                <a:lnTo>
                  <a:pt x="17" y="372"/>
                </a:lnTo>
                <a:lnTo>
                  <a:pt x="17" y="369"/>
                </a:lnTo>
                <a:lnTo>
                  <a:pt x="14" y="369"/>
                </a:lnTo>
                <a:lnTo>
                  <a:pt x="10" y="369"/>
                </a:lnTo>
                <a:lnTo>
                  <a:pt x="10" y="365"/>
                </a:lnTo>
                <a:lnTo>
                  <a:pt x="7" y="365"/>
                </a:lnTo>
                <a:lnTo>
                  <a:pt x="7" y="362"/>
                </a:lnTo>
                <a:lnTo>
                  <a:pt x="7" y="358"/>
                </a:lnTo>
                <a:lnTo>
                  <a:pt x="4" y="358"/>
                </a:lnTo>
                <a:lnTo>
                  <a:pt x="4" y="355"/>
                </a:lnTo>
                <a:lnTo>
                  <a:pt x="0" y="355"/>
                </a:lnTo>
                <a:lnTo>
                  <a:pt x="0" y="351"/>
                </a:lnTo>
                <a:lnTo>
                  <a:pt x="7" y="348"/>
                </a:lnTo>
                <a:lnTo>
                  <a:pt x="10" y="344"/>
                </a:lnTo>
                <a:lnTo>
                  <a:pt x="14" y="337"/>
                </a:lnTo>
                <a:lnTo>
                  <a:pt x="14" y="334"/>
                </a:lnTo>
                <a:lnTo>
                  <a:pt x="17" y="334"/>
                </a:lnTo>
                <a:lnTo>
                  <a:pt x="17" y="327"/>
                </a:lnTo>
                <a:lnTo>
                  <a:pt x="17" y="323"/>
                </a:lnTo>
                <a:lnTo>
                  <a:pt x="21" y="323"/>
                </a:lnTo>
                <a:lnTo>
                  <a:pt x="24" y="317"/>
                </a:lnTo>
                <a:lnTo>
                  <a:pt x="35" y="310"/>
                </a:lnTo>
                <a:lnTo>
                  <a:pt x="38" y="310"/>
                </a:lnTo>
                <a:lnTo>
                  <a:pt x="38" y="306"/>
                </a:lnTo>
                <a:lnTo>
                  <a:pt x="42" y="303"/>
                </a:lnTo>
                <a:lnTo>
                  <a:pt x="42" y="299"/>
                </a:lnTo>
                <a:lnTo>
                  <a:pt x="49" y="282"/>
                </a:lnTo>
                <a:lnTo>
                  <a:pt x="52" y="271"/>
                </a:lnTo>
                <a:lnTo>
                  <a:pt x="52" y="268"/>
                </a:lnTo>
                <a:lnTo>
                  <a:pt x="56" y="268"/>
                </a:lnTo>
                <a:lnTo>
                  <a:pt x="56" y="264"/>
                </a:lnTo>
                <a:lnTo>
                  <a:pt x="59" y="261"/>
                </a:lnTo>
                <a:lnTo>
                  <a:pt x="66" y="254"/>
                </a:lnTo>
                <a:lnTo>
                  <a:pt x="70" y="251"/>
                </a:lnTo>
                <a:lnTo>
                  <a:pt x="73" y="251"/>
                </a:lnTo>
                <a:lnTo>
                  <a:pt x="76" y="247"/>
                </a:lnTo>
                <a:lnTo>
                  <a:pt x="80" y="247"/>
                </a:lnTo>
                <a:lnTo>
                  <a:pt x="87" y="247"/>
                </a:lnTo>
                <a:lnTo>
                  <a:pt x="90" y="247"/>
                </a:lnTo>
                <a:lnTo>
                  <a:pt x="94" y="247"/>
                </a:lnTo>
                <a:lnTo>
                  <a:pt x="94" y="244"/>
                </a:lnTo>
                <a:lnTo>
                  <a:pt x="97" y="244"/>
                </a:lnTo>
                <a:lnTo>
                  <a:pt x="101" y="240"/>
                </a:lnTo>
                <a:lnTo>
                  <a:pt x="104" y="237"/>
                </a:lnTo>
                <a:lnTo>
                  <a:pt x="104" y="233"/>
                </a:lnTo>
                <a:lnTo>
                  <a:pt x="104" y="230"/>
                </a:lnTo>
                <a:lnTo>
                  <a:pt x="104" y="223"/>
                </a:lnTo>
                <a:lnTo>
                  <a:pt x="104" y="219"/>
                </a:lnTo>
                <a:lnTo>
                  <a:pt x="97" y="216"/>
                </a:lnTo>
                <a:lnTo>
                  <a:pt x="94" y="216"/>
                </a:lnTo>
                <a:lnTo>
                  <a:pt x="94" y="212"/>
                </a:lnTo>
                <a:lnTo>
                  <a:pt x="90" y="209"/>
                </a:lnTo>
                <a:lnTo>
                  <a:pt x="90" y="205"/>
                </a:lnTo>
                <a:lnTo>
                  <a:pt x="90" y="195"/>
                </a:lnTo>
                <a:lnTo>
                  <a:pt x="87" y="191"/>
                </a:lnTo>
                <a:lnTo>
                  <a:pt x="87" y="188"/>
                </a:lnTo>
                <a:lnTo>
                  <a:pt x="87" y="185"/>
                </a:lnTo>
                <a:lnTo>
                  <a:pt x="83" y="178"/>
                </a:lnTo>
                <a:lnTo>
                  <a:pt x="83" y="174"/>
                </a:lnTo>
                <a:lnTo>
                  <a:pt x="83" y="171"/>
                </a:lnTo>
                <a:lnTo>
                  <a:pt x="87" y="171"/>
                </a:lnTo>
                <a:lnTo>
                  <a:pt x="87" y="167"/>
                </a:lnTo>
                <a:lnTo>
                  <a:pt x="94" y="160"/>
                </a:lnTo>
                <a:lnTo>
                  <a:pt x="94" y="157"/>
                </a:lnTo>
                <a:lnTo>
                  <a:pt x="94" y="153"/>
                </a:lnTo>
                <a:lnTo>
                  <a:pt x="90" y="153"/>
                </a:lnTo>
                <a:lnTo>
                  <a:pt x="83" y="153"/>
                </a:lnTo>
                <a:lnTo>
                  <a:pt x="80" y="153"/>
                </a:lnTo>
                <a:lnTo>
                  <a:pt x="70" y="150"/>
                </a:lnTo>
                <a:lnTo>
                  <a:pt x="66" y="150"/>
                </a:lnTo>
                <a:lnTo>
                  <a:pt x="63" y="146"/>
                </a:lnTo>
                <a:lnTo>
                  <a:pt x="59" y="139"/>
                </a:lnTo>
                <a:lnTo>
                  <a:pt x="59" y="136"/>
                </a:lnTo>
                <a:lnTo>
                  <a:pt x="56" y="136"/>
                </a:lnTo>
                <a:lnTo>
                  <a:pt x="56" y="139"/>
                </a:lnTo>
                <a:lnTo>
                  <a:pt x="56" y="143"/>
                </a:lnTo>
                <a:lnTo>
                  <a:pt x="56" y="146"/>
                </a:lnTo>
                <a:lnTo>
                  <a:pt x="52" y="146"/>
                </a:lnTo>
                <a:lnTo>
                  <a:pt x="49" y="146"/>
                </a:lnTo>
                <a:lnTo>
                  <a:pt x="49" y="143"/>
                </a:lnTo>
                <a:lnTo>
                  <a:pt x="45" y="143"/>
                </a:lnTo>
                <a:lnTo>
                  <a:pt x="38" y="126"/>
                </a:lnTo>
                <a:lnTo>
                  <a:pt x="38" y="122"/>
                </a:lnTo>
                <a:lnTo>
                  <a:pt x="35" y="122"/>
                </a:lnTo>
                <a:lnTo>
                  <a:pt x="35" y="119"/>
                </a:lnTo>
                <a:lnTo>
                  <a:pt x="24" y="112"/>
                </a:lnTo>
                <a:lnTo>
                  <a:pt x="24" y="108"/>
                </a:lnTo>
                <a:lnTo>
                  <a:pt x="24" y="105"/>
                </a:lnTo>
                <a:lnTo>
                  <a:pt x="24" y="101"/>
                </a:lnTo>
                <a:lnTo>
                  <a:pt x="24" y="105"/>
                </a:lnTo>
                <a:lnTo>
                  <a:pt x="24" y="101"/>
                </a:lnTo>
                <a:lnTo>
                  <a:pt x="28" y="101"/>
                </a:lnTo>
                <a:lnTo>
                  <a:pt x="28" y="105"/>
                </a:lnTo>
                <a:lnTo>
                  <a:pt x="28" y="108"/>
                </a:lnTo>
                <a:lnTo>
                  <a:pt x="31" y="108"/>
                </a:lnTo>
                <a:lnTo>
                  <a:pt x="31" y="112"/>
                </a:lnTo>
                <a:lnTo>
                  <a:pt x="35" y="112"/>
                </a:lnTo>
                <a:lnTo>
                  <a:pt x="38" y="112"/>
                </a:lnTo>
                <a:lnTo>
                  <a:pt x="42" y="115"/>
                </a:lnTo>
                <a:lnTo>
                  <a:pt x="42" y="119"/>
                </a:lnTo>
                <a:lnTo>
                  <a:pt x="42" y="115"/>
                </a:lnTo>
                <a:lnTo>
                  <a:pt x="45" y="115"/>
                </a:lnTo>
                <a:lnTo>
                  <a:pt x="49" y="115"/>
                </a:lnTo>
                <a:lnTo>
                  <a:pt x="49" y="119"/>
                </a:lnTo>
                <a:lnTo>
                  <a:pt x="52" y="115"/>
                </a:lnTo>
                <a:lnTo>
                  <a:pt x="56" y="115"/>
                </a:lnTo>
                <a:lnTo>
                  <a:pt x="59" y="112"/>
                </a:lnTo>
                <a:lnTo>
                  <a:pt x="63" y="112"/>
                </a:lnTo>
                <a:lnTo>
                  <a:pt x="63" y="108"/>
                </a:lnTo>
                <a:lnTo>
                  <a:pt x="66" y="108"/>
                </a:lnTo>
                <a:lnTo>
                  <a:pt x="70" y="108"/>
                </a:lnTo>
                <a:lnTo>
                  <a:pt x="70" y="105"/>
                </a:lnTo>
                <a:lnTo>
                  <a:pt x="73" y="105"/>
                </a:lnTo>
                <a:lnTo>
                  <a:pt x="76" y="105"/>
                </a:lnTo>
                <a:lnTo>
                  <a:pt x="76" y="101"/>
                </a:lnTo>
                <a:lnTo>
                  <a:pt x="80" y="98"/>
                </a:lnTo>
                <a:lnTo>
                  <a:pt x="83" y="98"/>
                </a:lnTo>
                <a:lnTo>
                  <a:pt x="87" y="98"/>
                </a:lnTo>
                <a:lnTo>
                  <a:pt x="83" y="101"/>
                </a:lnTo>
                <a:lnTo>
                  <a:pt x="80" y="105"/>
                </a:lnTo>
                <a:lnTo>
                  <a:pt x="80" y="108"/>
                </a:lnTo>
                <a:lnTo>
                  <a:pt x="80" y="112"/>
                </a:lnTo>
                <a:lnTo>
                  <a:pt x="83" y="112"/>
                </a:lnTo>
                <a:lnTo>
                  <a:pt x="83" y="115"/>
                </a:lnTo>
                <a:lnTo>
                  <a:pt x="87" y="115"/>
                </a:lnTo>
                <a:lnTo>
                  <a:pt x="87" y="119"/>
                </a:lnTo>
                <a:lnTo>
                  <a:pt x="90" y="119"/>
                </a:lnTo>
                <a:lnTo>
                  <a:pt x="90" y="115"/>
                </a:lnTo>
                <a:lnTo>
                  <a:pt x="87" y="115"/>
                </a:lnTo>
                <a:lnTo>
                  <a:pt x="90" y="115"/>
                </a:lnTo>
                <a:lnTo>
                  <a:pt x="90" y="112"/>
                </a:lnTo>
                <a:lnTo>
                  <a:pt x="94" y="115"/>
                </a:lnTo>
                <a:lnTo>
                  <a:pt x="94" y="112"/>
                </a:lnTo>
                <a:lnTo>
                  <a:pt x="94" y="108"/>
                </a:lnTo>
                <a:lnTo>
                  <a:pt x="97" y="112"/>
                </a:lnTo>
                <a:lnTo>
                  <a:pt x="97" y="108"/>
                </a:lnTo>
                <a:lnTo>
                  <a:pt x="94" y="108"/>
                </a:lnTo>
                <a:lnTo>
                  <a:pt x="97" y="108"/>
                </a:lnTo>
                <a:lnTo>
                  <a:pt x="101" y="108"/>
                </a:lnTo>
                <a:lnTo>
                  <a:pt x="97" y="105"/>
                </a:lnTo>
                <a:lnTo>
                  <a:pt x="101" y="105"/>
                </a:lnTo>
                <a:lnTo>
                  <a:pt x="97" y="105"/>
                </a:lnTo>
                <a:lnTo>
                  <a:pt x="101" y="105"/>
                </a:lnTo>
                <a:lnTo>
                  <a:pt x="97" y="105"/>
                </a:lnTo>
                <a:lnTo>
                  <a:pt x="101" y="101"/>
                </a:lnTo>
                <a:lnTo>
                  <a:pt x="101" y="98"/>
                </a:lnTo>
                <a:lnTo>
                  <a:pt x="97" y="98"/>
                </a:lnTo>
                <a:lnTo>
                  <a:pt x="97" y="94"/>
                </a:lnTo>
                <a:lnTo>
                  <a:pt x="101" y="94"/>
                </a:lnTo>
                <a:lnTo>
                  <a:pt x="101" y="98"/>
                </a:lnTo>
                <a:lnTo>
                  <a:pt x="104" y="98"/>
                </a:lnTo>
                <a:lnTo>
                  <a:pt x="104" y="101"/>
                </a:lnTo>
                <a:lnTo>
                  <a:pt x="104" y="105"/>
                </a:lnTo>
                <a:lnTo>
                  <a:pt x="108" y="105"/>
                </a:lnTo>
                <a:lnTo>
                  <a:pt x="108" y="108"/>
                </a:lnTo>
                <a:lnTo>
                  <a:pt x="111" y="105"/>
                </a:lnTo>
                <a:lnTo>
                  <a:pt x="115" y="101"/>
                </a:lnTo>
                <a:lnTo>
                  <a:pt x="115" y="105"/>
                </a:lnTo>
                <a:lnTo>
                  <a:pt x="111" y="105"/>
                </a:lnTo>
                <a:lnTo>
                  <a:pt x="111" y="108"/>
                </a:lnTo>
                <a:lnTo>
                  <a:pt x="108" y="108"/>
                </a:lnTo>
                <a:lnTo>
                  <a:pt x="108" y="112"/>
                </a:lnTo>
                <a:lnTo>
                  <a:pt x="111" y="112"/>
                </a:lnTo>
                <a:lnTo>
                  <a:pt x="115" y="112"/>
                </a:lnTo>
                <a:lnTo>
                  <a:pt x="115" y="108"/>
                </a:lnTo>
                <a:lnTo>
                  <a:pt x="115" y="105"/>
                </a:lnTo>
                <a:lnTo>
                  <a:pt x="115" y="108"/>
                </a:lnTo>
                <a:lnTo>
                  <a:pt x="118" y="108"/>
                </a:lnTo>
                <a:lnTo>
                  <a:pt x="115" y="108"/>
                </a:lnTo>
                <a:lnTo>
                  <a:pt x="115" y="105"/>
                </a:lnTo>
                <a:lnTo>
                  <a:pt x="118" y="105"/>
                </a:lnTo>
                <a:lnTo>
                  <a:pt x="115" y="105"/>
                </a:lnTo>
                <a:lnTo>
                  <a:pt x="115" y="101"/>
                </a:lnTo>
                <a:lnTo>
                  <a:pt x="118" y="105"/>
                </a:lnTo>
                <a:lnTo>
                  <a:pt x="115" y="101"/>
                </a:lnTo>
                <a:lnTo>
                  <a:pt x="118" y="101"/>
                </a:lnTo>
                <a:lnTo>
                  <a:pt x="115" y="101"/>
                </a:lnTo>
                <a:lnTo>
                  <a:pt x="118" y="101"/>
                </a:lnTo>
                <a:lnTo>
                  <a:pt x="122" y="101"/>
                </a:lnTo>
                <a:lnTo>
                  <a:pt x="122" y="105"/>
                </a:lnTo>
                <a:lnTo>
                  <a:pt x="125" y="105"/>
                </a:lnTo>
                <a:lnTo>
                  <a:pt x="122" y="101"/>
                </a:lnTo>
                <a:lnTo>
                  <a:pt x="122" y="98"/>
                </a:lnTo>
                <a:lnTo>
                  <a:pt x="125" y="98"/>
                </a:lnTo>
                <a:lnTo>
                  <a:pt x="129" y="98"/>
                </a:lnTo>
                <a:lnTo>
                  <a:pt x="129" y="94"/>
                </a:lnTo>
                <a:lnTo>
                  <a:pt x="129" y="98"/>
                </a:lnTo>
                <a:lnTo>
                  <a:pt x="129" y="94"/>
                </a:lnTo>
                <a:lnTo>
                  <a:pt x="129" y="98"/>
                </a:lnTo>
                <a:lnTo>
                  <a:pt x="132" y="98"/>
                </a:lnTo>
                <a:lnTo>
                  <a:pt x="135" y="98"/>
                </a:lnTo>
                <a:lnTo>
                  <a:pt x="139" y="98"/>
                </a:lnTo>
                <a:lnTo>
                  <a:pt x="135" y="98"/>
                </a:lnTo>
                <a:lnTo>
                  <a:pt x="139" y="98"/>
                </a:lnTo>
                <a:lnTo>
                  <a:pt x="142" y="98"/>
                </a:lnTo>
                <a:lnTo>
                  <a:pt x="146" y="98"/>
                </a:lnTo>
                <a:lnTo>
                  <a:pt x="149" y="98"/>
                </a:lnTo>
                <a:lnTo>
                  <a:pt x="146" y="98"/>
                </a:lnTo>
                <a:lnTo>
                  <a:pt x="149" y="98"/>
                </a:lnTo>
                <a:lnTo>
                  <a:pt x="153" y="98"/>
                </a:lnTo>
                <a:lnTo>
                  <a:pt x="156" y="98"/>
                </a:lnTo>
                <a:lnTo>
                  <a:pt x="160" y="98"/>
                </a:lnTo>
                <a:lnTo>
                  <a:pt x="160" y="94"/>
                </a:lnTo>
                <a:lnTo>
                  <a:pt x="160" y="98"/>
                </a:lnTo>
                <a:lnTo>
                  <a:pt x="160" y="94"/>
                </a:lnTo>
                <a:lnTo>
                  <a:pt x="163" y="94"/>
                </a:lnTo>
                <a:lnTo>
                  <a:pt x="163" y="91"/>
                </a:lnTo>
                <a:lnTo>
                  <a:pt x="163" y="87"/>
                </a:lnTo>
                <a:lnTo>
                  <a:pt x="163" y="84"/>
                </a:lnTo>
                <a:lnTo>
                  <a:pt x="163" y="80"/>
                </a:lnTo>
                <a:lnTo>
                  <a:pt x="160" y="77"/>
                </a:lnTo>
                <a:lnTo>
                  <a:pt x="156" y="77"/>
                </a:lnTo>
                <a:lnTo>
                  <a:pt x="156" y="73"/>
                </a:lnTo>
                <a:lnTo>
                  <a:pt x="153" y="73"/>
                </a:lnTo>
                <a:lnTo>
                  <a:pt x="153" y="70"/>
                </a:lnTo>
                <a:lnTo>
                  <a:pt x="149" y="70"/>
                </a:lnTo>
                <a:lnTo>
                  <a:pt x="146" y="66"/>
                </a:lnTo>
                <a:lnTo>
                  <a:pt x="146" y="70"/>
                </a:lnTo>
                <a:lnTo>
                  <a:pt x="146" y="66"/>
                </a:lnTo>
                <a:lnTo>
                  <a:pt x="149" y="66"/>
                </a:lnTo>
                <a:lnTo>
                  <a:pt x="153" y="66"/>
                </a:lnTo>
                <a:lnTo>
                  <a:pt x="153" y="63"/>
                </a:lnTo>
                <a:lnTo>
                  <a:pt x="149" y="63"/>
                </a:lnTo>
                <a:lnTo>
                  <a:pt x="153" y="63"/>
                </a:lnTo>
                <a:lnTo>
                  <a:pt x="153" y="60"/>
                </a:lnTo>
                <a:lnTo>
                  <a:pt x="149" y="60"/>
                </a:lnTo>
                <a:lnTo>
                  <a:pt x="149" y="56"/>
                </a:lnTo>
                <a:lnTo>
                  <a:pt x="149" y="53"/>
                </a:lnTo>
                <a:lnTo>
                  <a:pt x="153" y="53"/>
                </a:lnTo>
                <a:lnTo>
                  <a:pt x="153" y="49"/>
                </a:lnTo>
                <a:lnTo>
                  <a:pt x="153" y="46"/>
                </a:lnTo>
                <a:lnTo>
                  <a:pt x="156" y="46"/>
                </a:lnTo>
                <a:lnTo>
                  <a:pt x="160" y="46"/>
                </a:lnTo>
                <a:lnTo>
                  <a:pt x="160" y="42"/>
                </a:lnTo>
                <a:lnTo>
                  <a:pt x="156" y="42"/>
                </a:lnTo>
                <a:lnTo>
                  <a:pt x="156" y="39"/>
                </a:lnTo>
                <a:lnTo>
                  <a:pt x="160" y="39"/>
                </a:lnTo>
                <a:lnTo>
                  <a:pt x="160" y="35"/>
                </a:lnTo>
                <a:lnTo>
                  <a:pt x="160" y="32"/>
                </a:lnTo>
                <a:lnTo>
                  <a:pt x="163" y="32"/>
                </a:lnTo>
                <a:lnTo>
                  <a:pt x="163" y="28"/>
                </a:lnTo>
                <a:lnTo>
                  <a:pt x="160" y="28"/>
                </a:lnTo>
                <a:lnTo>
                  <a:pt x="163" y="28"/>
                </a:lnTo>
                <a:lnTo>
                  <a:pt x="163" y="25"/>
                </a:lnTo>
                <a:lnTo>
                  <a:pt x="167" y="25"/>
                </a:lnTo>
                <a:lnTo>
                  <a:pt x="167" y="21"/>
                </a:lnTo>
                <a:lnTo>
                  <a:pt x="167" y="18"/>
                </a:lnTo>
                <a:lnTo>
                  <a:pt x="170" y="18"/>
                </a:lnTo>
                <a:lnTo>
                  <a:pt x="170" y="14"/>
                </a:lnTo>
                <a:lnTo>
                  <a:pt x="170" y="11"/>
                </a:lnTo>
                <a:lnTo>
                  <a:pt x="174" y="11"/>
                </a:lnTo>
                <a:lnTo>
                  <a:pt x="174" y="7"/>
                </a:lnTo>
                <a:lnTo>
                  <a:pt x="177" y="7"/>
                </a:lnTo>
                <a:lnTo>
                  <a:pt x="181" y="4"/>
                </a:lnTo>
                <a:lnTo>
                  <a:pt x="181" y="0"/>
                </a:lnTo>
                <a:lnTo>
                  <a:pt x="184" y="0"/>
                </a:lnTo>
                <a:lnTo>
                  <a:pt x="188" y="0"/>
                </a:lnTo>
                <a:lnTo>
                  <a:pt x="191" y="0"/>
                </a:lnTo>
                <a:lnTo>
                  <a:pt x="191" y="4"/>
                </a:lnTo>
                <a:lnTo>
                  <a:pt x="191" y="0"/>
                </a:lnTo>
                <a:lnTo>
                  <a:pt x="191" y="4"/>
                </a:lnTo>
                <a:lnTo>
                  <a:pt x="191" y="0"/>
                </a:lnTo>
                <a:lnTo>
                  <a:pt x="195" y="0"/>
                </a:lnTo>
                <a:lnTo>
                  <a:pt x="198" y="0"/>
                </a:lnTo>
                <a:lnTo>
                  <a:pt x="201" y="0"/>
                </a:lnTo>
                <a:lnTo>
                  <a:pt x="205" y="4"/>
                </a:lnTo>
                <a:lnTo>
                  <a:pt x="205" y="7"/>
                </a:lnTo>
                <a:lnTo>
                  <a:pt x="208" y="7"/>
                </a:lnTo>
                <a:lnTo>
                  <a:pt x="212" y="7"/>
                </a:lnTo>
                <a:lnTo>
                  <a:pt x="215" y="7"/>
                </a:lnTo>
                <a:lnTo>
                  <a:pt x="215" y="11"/>
                </a:lnTo>
                <a:lnTo>
                  <a:pt x="215" y="14"/>
                </a:lnTo>
                <a:lnTo>
                  <a:pt x="215" y="18"/>
                </a:lnTo>
                <a:lnTo>
                  <a:pt x="219" y="18"/>
                </a:lnTo>
                <a:lnTo>
                  <a:pt x="219" y="21"/>
                </a:lnTo>
                <a:lnTo>
                  <a:pt x="215" y="25"/>
                </a:lnTo>
                <a:lnTo>
                  <a:pt x="212" y="28"/>
                </a:lnTo>
                <a:lnTo>
                  <a:pt x="215" y="28"/>
                </a:lnTo>
                <a:lnTo>
                  <a:pt x="215" y="32"/>
                </a:lnTo>
                <a:lnTo>
                  <a:pt x="215" y="35"/>
                </a:lnTo>
                <a:lnTo>
                  <a:pt x="219" y="39"/>
                </a:lnTo>
                <a:lnTo>
                  <a:pt x="215" y="39"/>
                </a:lnTo>
                <a:lnTo>
                  <a:pt x="215" y="42"/>
                </a:lnTo>
                <a:lnTo>
                  <a:pt x="212" y="46"/>
                </a:lnTo>
                <a:lnTo>
                  <a:pt x="212" y="49"/>
                </a:lnTo>
                <a:lnTo>
                  <a:pt x="208" y="49"/>
                </a:lnTo>
                <a:lnTo>
                  <a:pt x="208" y="53"/>
                </a:lnTo>
                <a:lnTo>
                  <a:pt x="212" y="53"/>
                </a:lnTo>
                <a:lnTo>
                  <a:pt x="215" y="53"/>
                </a:lnTo>
                <a:lnTo>
                  <a:pt x="219" y="53"/>
                </a:lnTo>
                <a:lnTo>
                  <a:pt x="219" y="56"/>
                </a:lnTo>
                <a:lnTo>
                  <a:pt x="222" y="56"/>
                </a:lnTo>
                <a:lnTo>
                  <a:pt x="226" y="56"/>
                </a:lnTo>
                <a:lnTo>
                  <a:pt x="229" y="60"/>
                </a:lnTo>
                <a:lnTo>
                  <a:pt x="233" y="60"/>
                </a:lnTo>
                <a:lnTo>
                  <a:pt x="236" y="60"/>
                </a:lnTo>
                <a:lnTo>
                  <a:pt x="236" y="63"/>
                </a:lnTo>
                <a:lnTo>
                  <a:pt x="240" y="63"/>
                </a:lnTo>
                <a:lnTo>
                  <a:pt x="240" y="66"/>
                </a:lnTo>
                <a:lnTo>
                  <a:pt x="243" y="66"/>
                </a:lnTo>
                <a:lnTo>
                  <a:pt x="247" y="66"/>
                </a:lnTo>
                <a:lnTo>
                  <a:pt x="247" y="70"/>
                </a:lnTo>
                <a:lnTo>
                  <a:pt x="250" y="70"/>
                </a:lnTo>
                <a:lnTo>
                  <a:pt x="254" y="70"/>
                </a:lnTo>
                <a:lnTo>
                  <a:pt x="254" y="73"/>
                </a:lnTo>
                <a:lnTo>
                  <a:pt x="254" y="70"/>
                </a:lnTo>
                <a:lnTo>
                  <a:pt x="254" y="66"/>
                </a:lnTo>
                <a:lnTo>
                  <a:pt x="254" y="63"/>
                </a:lnTo>
                <a:lnTo>
                  <a:pt x="257" y="63"/>
                </a:lnTo>
                <a:lnTo>
                  <a:pt x="254" y="60"/>
                </a:lnTo>
                <a:lnTo>
                  <a:pt x="254" y="56"/>
                </a:lnTo>
                <a:lnTo>
                  <a:pt x="257" y="53"/>
                </a:lnTo>
                <a:lnTo>
                  <a:pt x="260" y="53"/>
                </a:lnTo>
                <a:lnTo>
                  <a:pt x="260" y="56"/>
                </a:lnTo>
                <a:lnTo>
                  <a:pt x="264" y="56"/>
                </a:lnTo>
                <a:lnTo>
                  <a:pt x="267" y="56"/>
                </a:lnTo>
                <a:lnTo>
                  <a:pt x="271" y="56"/>
                </a:lnTo>
                <a:lnTo>
                  <a:pt x="274" y="56"/>
                </a:lnTo>
                <a:lnTo>
                  <a:pt x="274" y="60"/>
                </a:lnTo>
                <a:lnTo>
                  <a:pt x="278" y="60"/>
                </a:lnTo>
                <a:lnTo>
                  <a:pt x="278" y="63"/>
                </a:lnTo>
                <a:lnTo>
                  <a:pt x="281" y="66"/>
                </a:lnTo>
                <a:lnTo>
                  <a:pt x="281" y="70"/>
                </a:lnTo>
                <a:lnTo>
                  <a:pt x="285" y="70"/>
                </a:lnTo>
                <a:lnTo>
                  <a:pt x="288" y="73"/>
                </a:lnTo>
                <a:lnTo>
                  <a:pt x="288" y="70"/>
                </a:lnTo>
                <a:lnTo>
                  <a:pt x="292" y="70"/>
                </a:lnTo>
                <a:lnTo>
                  <a:pt x="295" y="70"/>
                </a:lnTo>
                <a:lnTo>
                  <a:pt x="295" y="66"/>
                </a:lnTo>
                <a:lnTo>
                  <a:pt x="299" y="66"/>
                </a:lnTo>
                <a:lnTo>
                  <a:pt x="302" y="63"/>
                </a:lnTo>
                <a:lnTo>
                  <a:pt x="306" y="63"/>
                </a:lnTo>
                <a:lnTo>
                  <a:pt x="309" y="66"/>
                </a:lnTo>
                <a:lnTo>
                  <a:pt x="313" y="66"/>
                </a:lnTo>
                <a:lnTo>
                  <a:pt x="316" y="66"/>
                </a:lnTo>
                <a:lnTo>
                  <a:pt x="320" y="66"/>
                </a:lnTo>
                <a:lnTo>
                  <a:pt x="316" y="66"/>
                </a:lnTo>
                <a:lnTo>
                  <a:pt x="316" y="63"/>
                </a:lnTo>
                <a:lnTo>
                  <a:pt x="316" y="60"/>
                </a:lnTo>
                <a:lnTo>
                  <a:pt x="316" y="56"/>
                </a:lnTo>
                <a:lnTo>
                  <a:pt x="320" y="60"/>
                </a:lnTo>
                <a:lnTo>
                  <a:pt x="320" y="56"/>
                </a:lnTo>
                <a:lnTo>
                  <a:pt x="323" y="53"/>
                </a:lnTo>
                <a:lnTo>
                  <a:pt x="323" y="56"/>
                </a:lnTo>
                <a:lnTo>
                  <a:pt x="323" y="60"/>
                </a:lnTo>
                <a:lnTo>
                  <a:pt x="320" y="60"/>
                </a:lnTo>
                <a:lnTo>
                  <a:pt x="320" y="63"/>
                </a:lnTo>
                <a:lnTo>
                  <a:pt x="320" y="66"/>
                </a:lnTo>
                <a:lnTo>
                  <a:pt x="320" y="70"/>
                </a:lnTo>
                <a:lnTo>
                  <a:pt x="320" y="73"/>
                </a:lnTo>
                <a:lnTo>
                  <a:pt x="320" y="70"/>
                </a:lnTo>
                <a:lnTo>
                  <a:pt x="320" y="73"/>
                </a:lnTo>
                <a:lnTo>
                  <a:pt x="323" y="73"/>
                </a:lnTo>
                <a:lnTo>
                  <a:pt x="320" y="73"/>
                </a:lnTo>
                <a:lnTo>
                  <a:pt x="320" y="77"/>
                </a:lnTo>
                <a:lnTo>
                  <a:pt x="323" y="77"/>
                </a:lnTo>
                <a:lnTo>
                  <a:pt x="320" y="77"/>
                </a:lnTo>
                <a:lnTo>
                  <a:pt x="320" y="80"/>
                </a:lnTo>
                <a:lnTo>
                  <a:pt x="320" y="84"/>
                </a:lnTo>
                <a:lnTo>
                  <a:pt x="323" y="84"/>
                </a:lnTo>
                <a:lnTo>
                  <a:pt x="323" y="87"/>
                </a:lnTo>
                <a:lnTo>
                  <a:pt x="326" y="87"/>
                </a:lnTo>
                <a:lnTo>
                  <a:pt x="330" y="91"/>
                </a:lnTo>
                <a:lnTo>
                  <a:pt x="330" y="94"/>
                </a:lnTo>
                <a:lnTo>
                  <a:pt x="333" y="94"/>
                </a:lnTo>
                <a:lnTo>
                  <a:pt x="333" y="91"/>
                </a:lnTo>
                <a:lnTo>
                  <a:pt x="337" y="94"/>
                </a:lnTo>
                <a:lnTo>
                  <a:pt x="337" y="98"/>
                </a:lnTo>
                <a:lnTo>
                  <a:pt x="340" y="101"/>
                </a:lnTo>
                <a:lnTo>
                  <a:pt x="340" y="105"/>
                </a:lnTo>
                <a:lnTo>
                  <a:pt x="337" y="105"/>
                </a:lnTo>
                <a:lnTo>
                  <a:pt x="337" y="108"/>
                </a:lnTo>
                <a:lnTo>
                  <a:pt x="340" y="119"/>
                </a:lnTo>
                <a:lnTo>
                  <a:pt x="347" y="122"/>
                </a:lnTo>
                <a:lnTo>
                  <a:pt x="347" y="126"/>
                </a:lnTo>
                <a:lnTo>
                  <a:pt x="347" y="122"/>
                </a:lnTo>
                <a:lnTo>
                  <a:pt x="351" y="122"/>
                </a:lnTo>
                <a:lnTo>
                  <a:pt x="354" y="126"/>
                </a:lnTo>
                <a:lnTo>
                  <a:pt x="354" y="122"/>
                </a:lnTo>
                <a:lnTo>
                  <a:pt x="358" y="122"/>
                </a:lnTo>
                <a:lnTo>
                  <a:pt x="361" y="122"/>
                </a:lnTo>
                <a:lnTo>
                  <a:pt x="365" y="122"/>
                </a:lnTo>
                <a:lnTo>
                  <a:pt x="365" y="119"/>
                </a:lnTo>
                <a:lnTo>
                  <a:pt x="368" y="119"/>
                </a:lnTo>
                <a:lnTo>
                  <a:pt x="372" y="115"/>
                </a:lnTo>
                <a:lnTo>
                  <a:pt x="375" y="115"/>
                </a:lnTo>
                <a:lnTo>
                  <a:pt x="375" y="119"/>
                </a:lnTo>
                <a:lnTo>
                  <a:pt x="379" y="119"/>
                </a:lnTo>
                <a:lnTo>
                  <a:pt x="379" y="122"/>
                </a:lnTo>
                <a:lnTo>
                  <a:pt x="382" y="129"/>
                </a:lnTo>
                <a:lnTo>
                  <a:pt x="385" y="129"/>
                </a:lnTo>
                <a:lnTo>
                  <a:pt x="385" y="132"/>
                </a:lnTo>
                <a:lnTo>
                  <a:pt x="382" y="136"/>
                </a:lnTo>
                <a:lnTo>
                  <a:pt x="385" y="136"/>
                </a:lnTo>
                <a:lnTo>
                  <a:pt x="385" y="139"/>
                </a:lnTo>
                <a:lnTo>
                  <a:pt x="385" y="143"/>
                </a:lnTo>
                <a:lnTo>
                  <a:pt x="392" y="143"/>
                </a:lnTo>
                <a:lnTo>
                  <a:pt x="392" y="146"/>
                </a:lnTo>
                <a:lnTo>
                  <a:pt x="396" y="146"/>
                </a:lnTo>
                <a:lnTo>
                  <a:pt x="396" y="150"/>
                </a:lnTo>
                <a:lnTo>
                  <a:pt x="396" y="153"/>
                </a:lnTo>
                <a:lnTo>
                  <a:pt x="399" y="153"/>
                </a:lnTo>
                <a:lnTo>
                  <a:pt x="403" y="153"/>
                </a:lnTo>
                <a:lnTo>
                  <a:pt x="406" y="150"/>
                </a:lnTo>
                <a:lnTo>
                  <a:pt x="410" y="150"/>
                </a:lnTo>
                <a:lnTo>
                  <a:pt x="410" y="146"/>
                </a:lnTo>
                <a:lnTo>
                  <a:pt x="410" y="150"/>
                </a:lnTo>
                <a:lnTo>
                  <a:pt x="413" y="150"/>
                </a:lnTo>
                <a:lnTo>
                  <a:pt x="413" y="153"/>
                </a:lnTo>
                <a:lnTo>
                  <a:pt x="413" y="157"/>
                </a:lnTo>
                <a:lnTo>
                  <a:pt x="413" y="160"/>
                </a:lnTo>
                <a:lnTo>
                  <a:pt x="413" y="164"/>
                </a:lnTo>
                <a:lnTo>
                  <a:pt x="413" y="167"/>
                </a:lnTo>
                <a:lnTo>
                  <a:pt x="413" y="171"/>
                </a:lnTo>
                <a:lnTo>
                  <a:pt x="420" y="181"/>
                </a:lnTo>
                <a:lnTo>
                  <a:pt x="424" y="181"/>
                </a:lnTo>
                <a:lnTo>
                  <a:pt x="420" y="185"/>
                </a:lnTo>
                <a:lnTo>
                  <a:pt x="417" y="185"/>
                </a:lnTo>
                <a:lnTo>
                  <a:pt x="417" y="188"/>
                </a:lnTo>
                <a:lnTo>
                  <a:pt x="417" y="191"/>
                </a:lnTo>
                <a:lnTo>
                  <a:pt x="413" y="191"/>
                </a:lnTo>
                <a:lnTo>
                  <a:pt x="417" y="191"/>
                </a:lnTo>
                <a:lnTo>
                  <a:pt x="417" y="195"/>
                </a:lnTo>
                <a:lnTo>
                  <a:pt x="413" y="195"/>
                </a:lnTo>
                <a:lnTo>
                  <a:pt x="410" y="195"/>
                </a:lnTo>
                <a:lnTo>
                  <a:pt x="410" y="198"/>
                </a:lnTo>
                <a:lnTo>
                  <a:pt x="406" y="198"/>
                </a:lnTo>
                <a:lnTo>
                  <a:pt x="406" y="195"/>
                </a:lnTo>
                <a:lnTo>
                  <a:pt x="403" y="195"/>
                </a:lnTo>
                <a:lnTo>
                  <a:pt x="403" y="198"/>
                </a:lnTo>
                <a:lnTo>
                  <a:pt x="399" y="198"/>
                </a:lnTo>
                <a:lnTo>
                  <a:pt x="399" y="202"/>
                </a:lnTo>
                <a:lnTo>
                  <a:pt x="396" y="202"/>
                </a:lnTo>
                <a:lnTo>
                  <a:pt x="396" y="205"/>
                </a:lnTo>
                <a:lnTo>
                  <a:pt x="399" y="205"/>
                </a:lnTo>
                <a:lnTo>
                  <a:pt x="399" y="209"/>
                </a:lnTo>
                <a:lnTo>
                  <a:pt x="403" y="209"/>
                </a:lnTo>
                <a:lnTo>
                  <a:pt x="406" y="212"/>
                </a:lnTo>
                <a:lnTo>
                  <a:pt x="410" y="212"/>
                </a:lnTo>
                <a:lnTo>
                  <a:pt x="410" y="216"/>
                </a:lnTo>
                <a:lnTo>
                  <a:pt x="406" y="216"/>
                </a:lnTo>
                <a:lnTo>
                  <a:pt x="406" y="219"/>
                </a:lnTo>
                <a:lnTo>
                  <a:pt x="417" y="254"/>
                </a:lnTo>
                <a:lnTo>
                  <a:pt x="417" y="261"/>
                </a:lnTo>
                <a:lnTo>
                  <a:pt x="420" y="261"/>
                </a:lnTo>
                <a:lnTo>
                  <a:pt x="420" y="257"/>
                </a:lnTo>
                <a:lnTo>
                  <a:pt x="427" y="251"/>
                </a:lnTo>
                <a:lnTo>
                  <a:pt x="427" y="247"/>
                </a:lnTo>
                <a:lnTo>
                  <a:pt x="431" y="244"/>
                </a:lnTo>
                <a:lnTo>
                  <a:pt x="431" y="240"/>
                </a:lnTo>
                <a:lnTo>
                  <a:pt x="434" y="240"/>
                </a:lnTo>
                <a:lnTo>
                  <a:pt x="438" y="240"/>
                </a:lnTo>
                <a:lnTo>
                  <a:pt x="441" y="244"/>
                </a:lnTo>
                <a:lnTo>
                  <a:pt x="444" y="247"/>
                </a:lnTo>
                <a:lnTo>
                  <a:pt x="448" y="247"/>
                </a:lnTo>
                <a:lnTo>
                  <a:pt x="455" y="247"/>
                </a:lnTo>
                <a:lnTo>
                  <a:pt x="462" y="247"/>
                </a:lnTo>
                <a:lnTo>
                  <a:pt x="465" y="247"/>
                </a:lnTo>
                <a:lnTo>
                  <a:pt x="469" y="247"/>
                </a:lnTo>
                <a:lnTo>
                  <a:pt x="469" y="244"/>
                </a:lnTo>
                <a:lnTo>
                  <a:pt x="469" y="240"/>
                </a:lnTo>
                <a:lnTo>
                  <a:pt x="469" y="237"/>
                </a:lnTo>
                <a:lnTo>
                  <a:pt x="469" y="233"/>
                </a:lnTo>
                <a:lnTo>
                  <a:pt x="469" y="230"/>
                </a:lnTo>
                <a:lnTo>
                  <a:pt x="472" y="230"/>
                </a:lnTo>
                <a:lnTo>
                  <a:pt x="476" y="230"/>
                </a:lnTo>
                <a:lnTo>
                  <a:pt x="476" y="226"/>
                </a:lnTo>
                <a:lnTo>
                  <a:pt x="479" y="226"/>
                </a:lnTo>
                <a:lnTo>
                  <a:pt x="479" y="223"/>
                </a:lnTo>
                <a:lnTo>
                  <a:pt x="483" y="223"/>
                </a:lnTo>
                <a:lnTo>
                  <a:pt x="486" y="223"/>
                </a:lnTo>
                <a:lnTo>
                  <a:pt x="490" y="226"/>
                </a:lnTo>
                <a:lnTo>
                  <a:pt x="490" y="230"/>
                </a:lnTo>
                <a:lnTo>
                  <a:pt x="493" y="230"/>
                </a:lnTo>
                <a:lnTo>
                  <a:pt x="493" y="233"/>
                </a:lnTo>
                <a:lnTo>
                  <a:pt x="497" y="230"/>
                </a:lnTo>
                <a:lnTo>
                  <a:pt x="497" y="233"/>
                </a:lnTo>
                <a:lnTo>
                  <a:pt x="500" y="233"/>
                </a:lnTo>
                <a:lnTo>
                  <a:pt x="504" y="233"/>
                </a:lnTo>
                <a:lnTo>
                  <a:pt x="507" y="233"/>
                </a:lnTo>
                <a:lnTo>
                  <a:pt x="507" y="230"/>
                </a:lnTo>
                <a:lnTo>
                  <a:pt x="510" y="226"/>
                </a:lnTo>
                <a:lnTo>
                  <a:pt x="514" y="226"/>
                </a:lnTo>
                <a:lnTo>
                  <a:pt x="514" y="230"/>
                </a:lnTo>
                <a:lnTo>
                  <a:pt x="517" y="230"/>
                </a:lnTo>
                <a:lnTo>
                  <a:pt x="517" y="233"/>
                </a:lnTo>
                <a:lnTo>
                  <a:pt x="514" y="237"/>
                </a:lnTo>
                <a:lnTo>
                  <a:pt x="517" y="237"/>
                </a:lnTo>
                <a:lnTo>
                  <a:pt x="517" y="240"/>
                </a:lnTo>
                <a:lnTo>
                  <a:pt x="521" y="240"/>
                </a:lnTo>
                <a:lnTo>
                  <a:pt x="517" y="244"/>
                </a:lnTo>
                <a:lnTo>
                  <a:pt x="514" y="251"/>
                </a:lnTo>
                <a:lnTo>
                  <a:pt x="514" y="254"/>
                </a:lnTo>
                <a:lnTo>
                  <a:pt x="510" y="254"/>
                </a:lnTo>
                <a:lnTo>
                  <a:pt x="510" y="257"/>
                </a:lnTo>
                <a:lnTo>
                  <a:pt x="507" y="261"/>
                </a:lnTo>
                <a:lnTo>
                  <a:pt x="504" y="261"/>
                </a:lnTo>
                <a:lnTo>
                  <a:pt x="504" y="264"/>
                </a:lnTo>
                <a:lnTo>
                  <a:pt x="504" y="268"/>
                </a:lnTo>
                <a:lnTo>
                  <a:pt x="504" y="271"/>
                </a:lnTo>
                <a:lnTo>
                  <a:pt x="500" y="275"/>
                </a:lnTo>
                <a:lnTo>
                  <a:pt x="497" y="278"/>
                </a:lnTo>
                <a:lnTo>
                  <a:pt x="497" y="282"/>
                </a:lnTo>
                <a:lnTo>
                  <a:pt x="497" y="285"/>
                </a:lnTo>
                <a:lnTo>
                  <a:pt x="497" y="289"/>
                </a:lnTo>
                <a:lnTo>
                  <a:pt x="493" y="289"/>
                </a:lnTo>
                <a:lnTo>
                  <a:pt x="493" y="292"/>
                </a:lnTo>
                <a:lnTo>
                  <a:pt x="493" y="296"/>
                </a:lnTo>
                <a:lnTo>
                  <a:pt x="497" y="296"/>
                </a:lnTo>
                <a:lnTo>
                  <a:pt x="497" y="299"/>
                </a:lnTo>
                <a:lnTo>
                  <a:pt x="500" y="299"/>
                </a:lnTo>
                <a:lnTo>
                  <a:pt x="500" y="303"/>
                </a:lnTo>
                <a:lnTo>
                  <a:pt x="504" y="306"/>
                </a:lnTo>
                <a:lnTo>
                  <a:pt x="504" y="310"/>
                </a:lnTo>
                <a:lnTo>
                  <a:pt x="500" y="310"/>
                </a:lnTo>
                <a:lnTo>
                  <a:pt x="500" y="313"/>
                </a:lnTo>
                <a:lnTo>
                  <a:pt x="497" y="317"/>
                </a:lnTo>
                <a:lnTo>
                  <a:pt x="497" y="320"/>
                </a:lnTo>
                <a:lnTo>
                  <a:pt x="493" y="320"/>
                </a:lnTo>
                <a:lnTo>
                  <a:pt x="493" y="323"/>
                </a:lnTo>
                <a:lnTo>
                  <a:pt x="490" y="323"/>
                </a:lnTo>
                <a:lnTo>
                  <a:pt x="486" y="323"/>
                </a:lnTo>
                <a:lnTo>
                  <a:pt x="486" y="327"/>
                </a:lnTo>
                <a:lnTo>
                  <a:pt x="483" y="327"/>
                </a:lnTo>
                <a:lnTo>
                  <a:pt x="479" y="327"/>
                </a:lnTo>
                <a:lnTo>
                  <a:pt x="476" y="327"/>
                </a:lnTo>
                <a:lnTo>
                  <a:pt x="476" y="330"/>
                </a:lnTo>
                <a:lnTo>
                  <a:pt x="472" y="334"/>
                </a:lnTo>
                <a:lnTo>
                  <a:pt x="476" y="337"/>
                </a:lnTo>
                <a:lnTo>
                  <a:pt x="476" y="341"/>
                </a:lnTo>
                <a:lnTo>
                  <a:pt x="472" y="344"/>
                </a:lnTo>
                <a:lnTo>
                  <a:pt x="472" y="348"/>
                </a:lnTo>
                <a:lnTo>
                  <a:pt x="472" y="351"/>
                </a:lnTo>
                <a:lnTo>
                  <a:pt x="472" y="355"/>
                </a:lnTo>
                <a:lnTo>
                  <a:pt x="476" y="355"/>
                </a:lnTo>
                <a:close/>
              </a:path>
            </a:pathLst>
          </a:custGeom>
          <a:solidFill>
            <a:srgbClr val="E6E6E6"/>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167" name="Freeform 12">
            <a:extLst>
              <a:ext uri="{FF2B5EF4-FFF2-40B4-BE49-F238E27FC236}">
                <a16:creationId xmlns:a16="http://schemas.microsoft.com/office/drawing/2014/main" id="{AFCCFA01-EBE6-4018-9B83-18998285ED3F}"/>
              </a:ext>
            </a:extLst>
          </p:cNvPr>
          <p:cNvSpPr>
            <a:spLocks/>
          </p:cNvSpPr>
          <p:nvPr/>
        </p:nvSpPr>
        <p:spPr bwMode="gray">
          <a:xfrm>
            <a:off x="5540038" y="1755628"/>
            <a:ext cx="2623610" cy="2432160"/>
          </a:xfrm>
          <a:custGeom>
            <a:avLst/>
            <a:gdLst>
              <a:gd name="T0" fmla="*/ 1527 w 1645"/>
              <a:gd name="T1" fmla="*/ 250 h 1444"/>
              <a:gd name="T2" fmla="*/ 1586 w 1645"/>
              <a:gd name="T3" fmla="*/ 295 h 1444"/>
              <a:gd name="T4" fmla="*/ 1604 w 1645"/>
              <a:gd name="T5" fmla="*/ 389 h 1444"/>
              <a:gd name="T6" fmla="*/ 1621 w 1645"/>
              <a:gd name="T7" fmla="*/ 496 h 1444"/>
              <a:gd name="T8" fmla="*/ 1638 w 1645"/>
              <a:gd name="T9" fmla="*/ 583 h 1444"/>
              <a:gd name="T10" fmla="*/ 1604 w 1645"/>
              <a:gd name="T11" fmla="*/ 600 h 1444"/>
              <a:gd name="T12" fmla="*/ 1499 w 1645"/>
              <a:gd name="T13" fmla="*/ 656 h 1444"/>
              <a:gd name="T14" fmla="*/ 1388 w 1645"/>
              <a:gd name="T15" fmla="*/ 660 h 1444"/>
              <a:gd name="T16" fmla="*/ 1274 w 1645"/>
              <a:gd name="T17" fmla="*/ 646 h 1444"/>
              <a:gd name="T18" fmla="*/ 1260 w 1645"/>
              <a:gd name="T19" fmla="*/ 746 h 1444"/>
              <a:gd name="T20" fmla="*/ 1274 w 1645"/>
              <a:gd name="T21" fmla="*/ 833 h 1444"/>
              <a:gd name="T22" fmla="*/ 1336 w 1645"/>
              <a:gd name="T23" fmla="*/ 885 h 1444"/>
              <a:gd name="T24" fmla="*/ 1416 w 1645"/>
              <a:gd name="T25" fmla="*/ 927 h 1444"/>
              <a:gd name="T26" fmla="*/ 1468 w 1645"/>
              <a:gd name="T27" fmla="*/ 1003 h 1444"/>
              <a:gd name="T28" fmla="*/ 1444 w 1645"/>
              <a:gd name="T29" fmla="*/ 1094 h 1444"/>
              <a:gd name="T30" fmla="*/ 1395 w 1645"/>
              <a:gd name="T31" fmla="*/ 1149 h 1444"/>
              <a:gd name="T32" fmla="*/ 1284 w 1645"/>
              <a:gd name="T33" fmla="*/ 1208 h 1444"/>
              <a:gd name="T34" fmla="*/ 1204 w 1645"/>
              <a:gd name="T35" fmla="*/ 1253 h 1444"/>
              <a:gd name="T36" fmla="*/ 1090 w 1645"/>
              <a:gd name="T37" fmla="*/ 1260 h 1444"/>
              <a:gd name="T38" fmla="*/ 993 w 1645"/>
              <a:gd name="T39" fmla="*/ 1267 h 1444"/>
              <a:gd name="T40" fmla="*/ 934 w 1645"/>
              <a:gd name="T41" fmla="*/ 1194 h 1444"/>
              <a:gd name="T42" fmla="*/ 826 w 1645"/>
              <a:gd name="T43" fmla="*/ 1156 h 1444"/>
              <a:gd name="T44" fmla="*/ 722 w 1645"/>
              <a:gd name="T45" fmla="*/ 1208 h 1444"/>
              <a:gd name="T46" fmla="*/ 708 w 1645"/>
              <a:gd name="T47" fmla="*/ 1319 h 1444"/>
              <a:gd name="T48" fmla="*/ 715 w 1645"/>
              <a:gd name="T49" fmla="*/ 1444 h 1444"/>
              <a:gd name="T50" fmla="*/ 579 w 1645"/>
              <a:gd name="T51" fmla="*/ 1413 h 1444"/>
              <a:gd name="T52" fmla="*/ 555 w 1645"/>
              <a:gd name="T53" fmla="*/ 1309 h 1444"/>
              <a:gd name="T54" fmla="*/ 565 w 1645"/>
              <a:gd name="T55" fmla="*/ 1208 h 1444"/>
              <a:gd name="T56" fmla="*/ 503 w 1645"/>
              <a:gd name="T57" fmla="*/ 1142 h 1444"/>
              <a:gd name="T58" fmla="*/ 572 w 1645"/>
              <a:gd name="T59" fmla="*/ 1080 h 1444"/>
              <a:gd name="T60" fmla="*/ 475 w 1645"/>
              <a:gd name="T61" fmla="*/ 1076 h 1444"/>
              <a:gd name="T62" fmla="*/ 395 w 1645"/>
              <a:gd name="T63" fmla="*/ 1017 h 1444"/>
              <a:gd name="T64" fmla="*/ 406 w 1645"/>
              <a:gd name="T65" fmla="*/ 896 h 1444"/>
              <a:gd name="T66" fmla="*/ 430 w 1645"/>
              <a:gd name="T67" fmla="*/ 871 h 1444"/>
              <a:gd name="T68" fmla="*/ 350 w 1645"/>
              <a:gd name="T69" fmla="*/ 868 h 1444"/>
              <a:gd name="T70" fmla="*/ 274 w 1645"/>
              <a:gd name="T71" fmla="*/ 861 h 1444"/>
              <a:gd name="T72" fmla="*/ 215 w 1645"/>
              <a:gd name="T73" fmla="*/ 812 h 1444"/>
              <a:gd name="T74" fmla="*/ 97 w 1645"/>
              <a:gd name="T75" fmla="*/ 864 h 1444"/>
              <a:gd name="T76" fmla="*/ 3 w 1645"/>
              <a:gd name="T77" fmla="*/ 764 h 1444"/>
              <a:gd name="T78" fmla="*/ 48 w 1645"/>
              <a:gd name="T79" fmla="*/ 687 h 1444"/>
              <a:gd name="T80" fmla="*/ 149 w 1645"/>
              <a:gd name="T81" fmla="*/ 628 h 1444"/>
              <a:gd name="T82" fmla="*/ 274 w 1645"/>
              <a:gd name="T83" fmla="*/ 552 h 1444"/>
              <a:gd name="T84" fmla="*/ 454 w 1645"/>
              <a:gd name="T85" fmla="*/ 465 h 1444"/>
              <a:gd name="T86" fmla="*/ 510 w 1645"/>
              <a:gd name="T87" fmla="*/ 319 h 1444"/>
              <a:gd name="T88" fmla="*/ 531 w 1645"/>
              <a:gd name="T89" fmla="*/ 243 h 1444"/>
              <a:gd name="T90" fmla="*/ 586 w 1645"/>
              <a:gd name="T91" fmla="*/ 222 h 1444"/>
              <a:gd name="T92" fmla="*/ 697 w 1645"/>
              <a:gd name="T93" fmla="*/ 278 h 1444"/>
              <a:gd name="T94" fmla="*/ 739 w 1645"/>
              <a:gd name="T95" fmla="*/ 236 h 1444"/>
              <a:gd name="T96" fmla="*/ 774 w 1645"/>
              <a:gd name="T97" fmla="*/ 205 h 1444"/>
              <a:gd name="T98" fmla="*/ 788 w 1645"/>
              <a:gd name="T99" fmla="*/ 149 h 1444"/>
              <a:gd name="T100" fmla="*/ 798 w 1645"/>
              <a:gd name="T101" fmla="*/ 80 h 1444"/>
              <a:gd name="T102" fmla="*/ 788 w 1645"/>
              <a:gd name="T103" fmla="*/ 38 h 1444"/>
              <a:gd name="T104" fmla="*/ 861 w 1645"/>
              <a:gd name="T105" fmla="*/ 38 h 1444"/>
              <a:gd name="T106" fmla="*/ 934 w 1645"/>
              <a:gd name="T107" fmla="*/ 87 h 1444"/>
              <a:gd name="T108" fmla="*/ 937 w 1645"/>
              <a:gd name="T109" fmla="*/ 142 h 1444"/>
              <a:gd name="T110" fmla="*/ 968 w 1645"/>
              <a:gd name="T111" fmla="*/ 198 h 1444"/>
              <a:gd name="T112" fmla="*/ 1045 w 1645"/>
              <a:gd name="T113" fmla="*/ 205 h 1444"/>
              <a:gd name="T114" fmla="*/ 1135 w 1645"/>
              <a:gd name="T115" fmla="*/ 225 h 1444"/>
              <a:gd name="T116" fmla="*/ 1204 w 1645"/>
              <a:gd name="T117" fmla="*/ 225 h 1444"/>
              <a:gd name="T118" fmla="*/ 1249 w 1645"/>
              <a:gd name="T119" fmla="*/ 166 h 1444"/>
              <a:gd name="T120" fmla="*/ 1291 w 1645"/>
              <a:gd name="T121" fmla="*/ 173 h 1444"/>
              <a:gd name="T122" fmla="*/ 1368 w 1645"/>
              <a:gd name="T123" fmla="*/ 163 h 1444"/>
              <a:gd name="T124" fmla="*/ 1427 w 1645"/>
              <a:gd name="T125" fmla="*/ 212 h 1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45" h="1444">
                <a:moveTo>
                  <a:pt x="1427" y="212"/>
                </a:moveTo>
                <a:lnTo>
                  <a:pt x="1427" y="215"/>
                </a:lnTo>
                <a:lnTo>
                  <a:pt x="1437" y="215"/>
                </a:lnTo>
                <a:lnTo>
                  <a:pt x="1440" y="219"/>
                </a:lnTo>
                <a:lnTo>
                  <a:pt x="1447" y="225"/>
                </a:lnTo>
                <a:lnTo>
                  <a:pt x="1447" y="229"/>
                </a:lnTo>
                <a:lnTo>
                  <a:pt x="1447" y="232"/>
                </a:lnTo>
                <a:lnTo>
                  <a:pt x="1451" y="236"/>
                </a:lnTo>
                <a:lnTo>
                  <a:pt x="1454" y="236"/>
                </a:lnTo>
                <a:lnTo>
                  <a:pt x="1461" y="243"/>
                </a:lnTo>
                <a:lnTo>
                  <a:pt x="1458" y="246"/>
                </a:lnTo>
                <a:lnTo>
                  <a:pt x="1461" y="246"/>
                </a:lnTo>
                <a:lnTo>
                  <a:pt x="1465" y="246"/>
                </a:lnTo>
                <a:lnTo>
                  <a:pt x="1465" y="243"/>
                </a:lnTo>
                <a:lnTo>
                  <a:pt x="1465" y="239"/>
                </a:lnTo>
                <a:lnTo>
                  <a:pt x="1468" y="239"/>
                </a:lnTo>
                <a:lnTo>
                  <a:pt x="1468" y="236"/>
                </a:lnTo>
                <a:lnTo>
                  <a:pt x="1472" y="236"/>
                </a:lnTo>
                <a:lnTo>
                  <a:pt x="1472" y="232"/>
                </a:lnTo>
                <a:lnTo>
                  <a:pt x="1475" y="232"/>
                </a:lnTo>
                <a:lnTo>
                  <a:pt x="1479" y="232"/>
                </a:lnTo>
                <a:lnTo>
                  <a:pt x="1482" y="239"/>
                </a:lnTo>
                <a:lnTo>
                  <a:pt x="1486" y="243"/>
                </a:lnTo>
                <a:lnTo>
                  <a:pt x="1489" y="239"/>
                </a:lnTo>
                <a:lnTo>
                  <a:pt x="1496" y="239"/>
                </a:lnTo>
                <a:lnTo>
                  <a:pt x="1499" y="239"/>
                </a:lnTo>
                <a:lnTo>
                  <a:pt x="1506" y="243"/>
                </a:lnTo>
                <a:lnTo>
                  <a:pt x="1510" y="243"/>
                </a:lnTo>
                <a:lnTo>
                  <a:pt x="1513" y="243"/>
                </a:lnTo>
                <a:lnTo>
                  <a:pt x="1513" y="246"/>
                </a:lnTo>
                <a:lnTo>
                  <a:pt x="1517" y="250"/>
                </a:lnTo>
                <a:lnTo>
                  <a:pt x="1524" y="250"/>
                </a:lnTo>
                <a:lnTo>
                  <a:pt x="1524" y="253"/>
                </a:lnTo>
                <a:lnTo>
                  <a:pt x="1527" y="250"/>
                </a:lnTo>
                <a:lnTo>
                  <a:pt x="1531" y="253"/>
                </a:lnTo>
                <a:lnTo>
                  <a:pt x="1534" y="253"/>
                </a:lnTo>
                <a:lnTo>
                  <a:pt x="1534" y="257"/>
                </a:lnTo>
                <a:lnTo>
                  <a:pt x="1538" y="260"/>
                </a:lnTo>
                <a:lnTo>
                  <a:pt x="1541" y="260"/>
                </a:lnTo>
                <a:lnTo>
                  <a:pt x="1541" y="264"/>
                </a:lnTo>
                <a:lnTo>
                  <a:pt x="1541" y="267"/>
                </a:lnTo>
                <a:lnTo>
                  <a:pt x="1541" y="271"/>
                </a:lnTo>
                <a:lnTo>
                  <a:pt x="1538" y="271"/>
                </a:lnTo>
                <a:lnTo>
                  <a:pt x="1541" y="271"/>
                </a:lnTo>
                <a:lnTo>
                  <a:pt x="1545" y="271"/>
                </a:lnTo>
                <a:lnTo>
                  <a:pt x="1548" y="271"/>
                </a:lnTo>
                <a:lnTo>
                  <a:pt x="1548" y="274"/>
                </a:lnTo>
                <a:lnTo>
                  <a:pt x="1552" y="274"/>
                </a:lnTo>
                <a:lnTo>
                  <a:pt x="1555" y="274"/>
                </a:lnTo>
                <a:lnTo>
                  <a:pt x="1558" y="274"/>
                </a:lnTo>
                <a:lnTo>
                  <a:pt x="1562" y="274"/>
                </a:lnTo>
                <a:lnTo>
                  <a:pt x="1565" y="274"/>
                </a:lnTo>
                <a:lnTo>
                  <a:pt x="1569" y="274"/>
                </a:lnTo>
                <a:lnTo>
                  <a:pt x="1569" y="278"/>
                </a:lnTo>
                <a:lnTo>
                  <a:pt x="1572" y="278"/>
                </a:lnTo>
                <a:lnTo>
                  <a:pt x="1576" y="278"/>
                </a:lnTo>
                <a:lnTo>
                  <a:pt x="1579" y="278"/>
                </a:lnTo>
                <a:lnTo>
                  <a:pt x="1579" y="281"/>
                </a:lnTo>
                <a:lnTo>
                  <a:pt x="1583" y="281"/>
                </a:lnTo>
                <a:lnTo>
                  <a:pt x="1583" y="284"/>
                </a:lnTo>
                <a:lnTo>
                  <a:pt x="1586" y="284"/>
                </a:lnTo>
                <a:lnTo>
                  <a:pt x="1586" y="288"/>
                </a:lnTo>
                <a:lnTo>
                  <a:pt x="1590" y="288"/>
                </a:lnTo>
                <a:lnTo>
                  <a:pt x="1590" y="291"/>
                </a:lnTo>
                <a:lnTo>
                  <a:pt x="1586" y="291"/>
                </a:lnTo>
                <a:lnTo>
                  <a:pt x="1590" y="291"/>
                </a:lnTo>
                <a:lnTo>
                  <a:pt x="1590" y="295"/>
                </a:lnTo>
                <a:lnTo>
                  <a:pt x="1586" y="295"/>
                </a:lnTo>
                <a:lnTo>
                  <a:pt x="1590" y="295"/>
                </a:lnTo>
                <a:lnTo>
                  <a:pt x="1590" y="298"/>
                </a:lnTo>
                <a:lnTo>
                  <a:pt x="1593" y="298"/>
                </a:lnTo>
                <a:lnTo>
                  <a:pt x="1597" y="298"/>
                </a:lnTo>
                <a:lnTo>
                  <a:pt x="1593" y="305"/>
                </a:lnTo>
                <a:lnTo>
                  <a:pt x="1586" y="305"/>
                </a:lnTo>
                <a:lnTo>
                  <a:pt x="1579" y="302"/>
                </a:lnTo>
                <a:lnTo>
                  <a:pt x="1576" y="305"/>
                </a:lnTo>
                <a:lnTo>
                  <a:pt x="1572" y="305"/>
                </a:lnTo>
                <a:lnTo>
                  <a:pt x="1572" y="309"/>
                </a:lnTo>
                <a:lnTo>
                  <a:pt x="1572" y="312"/>
                </a:lnTo>
                <a:lnTo>
                  <a:pt x="1569" y="312"/>
                </a:lnTo>
                <a:lnTo>
                  <a:pt x="1572" y="319"/>
                </a:lnTo>
                <a:lnTo>
                  <a:pt x="1562" y="326"/>
                </a:lnTo>
                <a:lnTo>
                  <a:pt x="1555" y="326"/>
                </a:lnTo>
                <a:lnTo>
                  <a:pt x="1562" y="340"/>
                </a:lnTo>
                <a:lnTo>
                  <a:pt x="1562" y="344"/>
                </a:lnTo>
                <a:lnTo>
                  <a:pt x="1562" y="350"/>
                </a:lnTo>
                <a:lnTo>
                  <a:pt x="1558" y="350"/>
                </a:lnTo>
                <a:lnTo>
                  <a:pt x="1562" y="354"/>
                </a:lnTo>
                <a:lnTo>
                  <a:pt x="1569" y="357"/>
                </a:lnTo>
                <a:lnTo>
                  <a:pt x="1572" y="357"/>
                </a:lnTo>
                <a:lnTo>
                  <a:pt x="1576" y="357"/>
                </a:lnTo>
                <a:lnTo>
                  <a:pt x="1579" y="357"/>
                </a:lnTo>
                <a:lnTo>
                  <a:pt x="1579" y="361"/>
                </a:lnTo>
                <a:lnTo>
                  <a:pt x="1579" y="364"/>
                </a:lnTo>
                <a:lnTo>
                  <a:pt x="1586" y="371"/>
                </a:lnTo>
                <a:lnTo>
                  <a:pt x="1586" y="378"/>
                </a:lnTo>
                <a:lnTo>
                  <a:pt x="1590" y="382"/>
                </a:lnTo>
                <a:lnTo>
                  <a:pt x="1590" y="385"/>
                </a:lnTo>
                <a:lnTo>
                  <a:pt x="1593" y="382"/>
                </a:lnTo>
                <a:lnTo>
                  <a:pt x="1597" y="385"/>
                </a:lnTo>
                <a:lnTo>
                  <a:pt x="1600" y="389"/>
                </a:lnTo>
                <a:lnTo>
                  <a:pt x="1604" y="389"/>
                </a:lnTo>
                <a:lnTo>
                  <a:pt x="1611" y="392"/>
                </a:lnTo>
                <a:lnTo>
                  <a:pt x="1611" y="396"/>
                </a:lnTo>
                <a:lnTo>
                  <a:pt x="1611" y="399"/>
                </a:lnTo>
                <a:lnTo>
                  <a:pt x="1614" y="399"/>
                </a:lnTo>
                <a:lnTo>
                  <a:pt x="1614" y="406"/>
                </a:lnTo>
                <a:lnTo>
                  <a:pt x="1611" y="410"/>
                </a:lnTo>
                <a:lnTo>
                  <a:pt x="1607" y="413"/>
                </a:lnTo>
                <a:lnTo>
                  <a:pt x="1604" y="416"/>
                </a:lnTo>
                <a:lnTo>
                  <a:pt x="1600" y="416"/>
                </a:lnTo>
                <a:lnTo>
                  <a:pt x="1593" y="423"/>
                </a:lnTo>
                <a:lnTo>
                  <a:pt x="1590" y="427"/>
                </a:lnTo>
                <a:lnTo>
                  <a:pt x="1593" y="427"/>
                </a:lnTo>
                <a:lnTo>
                  <a:pt x="1597" y="427"/>
                </a:lnTo>
                <a:lnTo>
                  <a:pt x="1604" y="420"/>
                </a:lnTo>
                <a:lnTo>
                  <a:pt x="1607" y="420"/>
                </a:lnTo>
                <a:lnTo>
                  <a:pt x="1614" y="423"/>
                </a:lnTo>
                <a:lnTo>
                  <a:pt x="1618" y="427"/>
                </a:lnTo>
                <a:lnTo>
                  <a:pt x="1621" y="427"/>
                </a:lnTo>
                <a:lnTo>
                  <a:pt x="1624" y="427"/>
                </a:lnTo>
                <a:lnTo>
                  <a:pt x="1624" y="441"/>
                </a:lnTo>
                <a:lnTo>
                  <a:pt x="1621" y="444"/>
                </a:lnTo>
                <a:lnTo>
                  <a:pt x="1618" y="455"/>
                </a:lnTo>
                <a:lnTo>
                  <a:pt x="1618" y="458"/>
                </a:lnTo>
                <a:lnTo>
                  <a:pt x="1618" y="462"/>
                </a:lnTo>
                <a:lnTo>
                  <a:pt x="1618" y="465"/>
                </a:lnTo>
                <a:lnTo>
                  <a:pt x="1618" y="472"/>
                </a:lnTo>
                <a:lnTo>
                  <a:pt x="1618" y="475"/>
                </a:lnTo>
                <a:lnTo>
                  <a:pt x="1618" y="479"/>
                </a:lnTo>
                <a:lnTo>
                  <a:pt x="1614" y="482"/>
                </a:lnTo>
                <a:lnTo>
                  <a:pt x="1614" y="489"/>
                </a:lnTo>
                <a:lnTo>
                  <a:pt x="1611" y="496"/>
                </a:lnTo>
                <a:lnTo>
                  <a:pt x="1611" y="500"/>
                </a:lnTo>
                <a:lnTo>
                  <a:pt x="1618" y="500"/>
                </a:lnTo>
                <a:lnTo>
                  <a:pt x="1621" y="496"/>
                </a:lnTo>
                <a:lnTo>
                  <a:pt x="1624" y="496"/>
                </a:lnTo>
                <a:lnTo>
                  <a:pt x="1631" y="500"/>
                </a:lnTo>
                <a:lnTo>
                  <a:pt x="1638" y="500"/>
                </a:lnTo>
                <a:lnTo>
                  <a:pt x="1642" y="500"/>
                </a:lnTo>
                <a:lnTo>
                  <a:pt x="1642" y="503"/>
                </a:lnTo>
                <a:lnTo>
                  <a:pt x="1642" y="507"/>
                </a:lnTo>
                <a:lnTo>
                  <a:pt x="1642" y="510"/>
                </a:lnTo>
                <a:lnTo>
                  <a:pt x="1642" y="514"/>
                </a:lnTo>
                <a:lnTo>
                  <a:pt x="1642" y="517"/>
                </a:lnTo>
                <a:lnTo>
                  <a:pt x="1642" y="521"/>
                </a:lnTo>
                <a:lnTo>
                  <a:pt x="1642" y="524"/>
                </a:lnTo>
                <a:lnTo>
                  <a:pt x="1642" y="528"/>
                </a:lnTo>
                <a:lnTo>
                  <a:pt x="1642" y="531"/>
                </a:lnTo>
                <a:lnTo>
                  <a:pt x="1645" y="531"/>
                </a:lnTo>
                <a:lnTo>
                  <a:pt x="1642" y="531"/>
                </a:lnTo>
                <a:lnTo>
                  <a:pt x="1645" y="535"/>
                </a:lnTo>
                <a:lnTo>
                  <a:pt x="1642" y="535"/>
                </a:lnTo>
                <a:lnTo>
                  <a:pt x="1645" y="535"/>
                </a:lnTo>
                <a:lnTo>
                  <a:pt x="1645" y="538"/>
                </a:lnTo>
                <a:lnTo>
                  <a:pt x="1645" y="541"/>
                </a:lnTo>
                <a:lnTo>
                  <a:pt x="1645" y="545"/>
                </a:lnTo>
                <a:lnTo>
                  <a:pt x="1645" y="548"/>
                </a:lnTo>
                <a:lnTo>
                  <a:pt x="1645" y="552"/>
                </a:lnTo>
                <a:lnTo>
                  <a:pt x="1645" y="555"/>
                </a:lnTo>
                <a:lnTo>
                  <a:pt x="1645" y="559"/>
                </a:lnTo>
                <a:lnTo>
                  <a:pt x="1645" y="562"/>
                </a:lnTo>
                <a:lnTo>
                  <a:pt x="1645" y="566"/>
                </a:lnTo>
                <a:lnTo>
                  <a:pt x="1645" y="569"/>
                </a:lnTo>
                <a:lnTo>
                  <a:pt x="1645" y="573"/>
                </a:lnTo>
                <a:lnTo>
                  <a:pt x="1645" y="576"/>
                </a:lnTo>
                <a:lnTo>
                  <a:pt x="1642" y="576"/>
                </a:lnTo>
                <a:lnTo>
                  <a:pt x="1638" y="576"/>
                </a:lnTo>
                <a:lnTo>
                  <a:pt x="1638" y="580"/>
                </a:lnTo>
                <a:lnTo>
                  <a:pt x="1638" y="583"/>
                </a:lnTo>
                <a:lnTo>
                  <a:pt x="1631" y="583"/>
                </a:lnTo>
                <a:lnTo>
                  <a:pt x="1631" y="587"/>
                </a:lnTo>
                <a:lnTo>
                  <a:pt x="1631" y="590"/>
                </a:lnTo>
                <a:lnTo>
                  <a:pt x="1631" y="594"/>
                </a:lnTo>
                <a:lnTo>
                  <a:pt x="1635" y="597"/>
                </a:lnTo>
                <a:lnTo>
                  <a:pt x="1631" y="600"/>
                </a:lnTo>
                <a:lnTo>
                  <a:pt x="1628" y="600"/>
                </a:lnTo>
                <a:lnTo>
                  <a:pt x="1624" y="600"/>
                </a:lnTo>
                <a:lnTo>
                  <a:pt x="1624" y="604"/>
                </a:lnTo>
                <a:lnTo>
                  <a:pt x="1621" y="607"/>
                </a:lnTo>
                <a:lnTo>
                  <a:pt x="1618" y="611"/>
                </a:lnTo>
                <a:lnTo>
                  <a:pt x="1618" y="614"/>
                </a:lnTo>
                <a:lnTo>
                  <a:pt x="1621" y="618"/>
                </a:lnTo>
                <a:lnTo>
                  <a:pt x="1624" y="618"/>
                </a:lnTo>
                <a:lnTo>
                  <a:pt x="1624" y="621"/>
                </a:lnTo>
                <a:lnTo>
                  <a:pt x="1628" y="625"/>
                </a:lnTo>
                <a:lnTo>
                  <a:pt x="1628" y="628"/>
                </a:lnTo>
                <a:lnTo>
                  <a:pt x="1628" y="632"/>
                </a:lnTo>
                <a:lnTo>
                  <a:pt x="1635" y="635"/>
                </a:lnTo>
                <a:lnTo>
                  <a:pt x="1635" y="639"/>
                </a:lnTo>
                <a:lnTo>
                  <a:pt x="1631" y="635"/>
                </a:lnTo>
                <a:lnTo>
                  <a:pt x="1628" y="635"/>
                </a:lnTo>
                <a:lnTo>
                  <a:pt x="1624" y="635"/>
                </a:lnTo>
                <a:lnTo>
                  <a:pt x="1624" y="632"/>
                </a:lnTo>
                <a:lnTo>
                  <a:pt x="1621" y="632"/>
                </a:lnTo>
                <a:lnTo>
                  <a:pt x="1621" y="628"/>
                </a:lnTo>
                <a:lnTo>
                  <a:pt x="1621" y="625"/>
                </a:lnTo>
                <a:lnTo>
                  <a:pt x="1618" y="621"/>
                </a:lnTo>
                <a:lnTo>
                  <a:pt x="1618" y="614"/>
                </a:lnTo>
                <a:lnTo>
                  <a:pt x="1614" y="607"/>
                </a:lnTo>
                <a:lnTo>
                  <a:pt x="1611" y="607"/>
                </a:lnTo>
                <a:lnTo>
                  <a:pt x="1611" y="604"/>
                </a:lnTo>
                <a:lnTo>
                  <a:pt x="1607" y="600"/>
                </a:lnTo>
                <a:lnTo>
                  <a:pt x="1604" y="600"/>
                </a:lnTo>
                <a:lnTo>
                  <a:pt x="1597" y="600"/>
                </a:lnTo>
                <a:lnTo>
                  <a:pt x="1593" y="600"/>
                </a:lnTo>
                <a:lnTo>
                  <a:pt x="1590" y="600"/>
                </a:lnTo>
                <a:lnTo>
                  <a:pt x="1586" y="600"/>
                </a:lnTo>
                <a:lnTo>
                  <a:pt x="1583" y="600"/>
                </a:lnTo>
                <a:lnTo>
                  <a:pt x="1579" y="604"/>
                </a:lnTo>
                <a:lnTo>
                  <a:pt x="1576" y="604"/>
                </a:lnTo>
                <a:lnTo>
                  <a:pt x="1572" y="604"/>
                </a:lnTo>
                <a:lnTo>
                  <a:pt x="1572" y="600"/>
                </a:lnTo>
                <a:lnTo>
                  <a:pt x="1569" y="600"/>
                </a:lnTo>
                <a:lnTo>
                  <a:pt x="1565" y="600"/>
                </a:lnTo>
                <a:lnTo>
                  <a:pt x="1562" y="600"/>
                </a:lnTo>
                <a:lnTo>
                  <a:pt x="1562" y="604"/>
                </a:lnTo>
                <a:lnTo>
                  <a:pt x="1558" y="604"/>
                </a:lnTo>
                <a:lnTo>
                  <a:pt x="1555" y="604"/>
                </a:lnTo>
                <a:lnTo>
                  <a:pt x="1552" y="607"/>
                </a:lnTo>
                <a:lnTo>
                  <a:pt x="1548" y="607"/>
                </a:lnTo>
                <a:lnTo>
                  <a:pt x="1548" y="611"/>
                </a:lnTo>
                <a:lnTo>
                  <a:pt x="1548" y="618"/>
                </a:lnTo>
                <a:lnTo>
                  <a:pt x="1548" y="621"/>
                </a:lnTo>
                <a:lnTo>
                  <a:pt x="1548" y="625"/>
                </a:lnTo>
                <a:lnTo>
                  <a:pt x="1545" y="628"/>
                </a:lnTo>
                <a:lnTo>
                  <a:pt x="1545" y="632"/>
                </a:lnTo>
                <a:lnTo>
                  <a:pt x="1541" y="635"/>
                </a:lnTo>
                <a:lnTo>
                  <a:pt x="1541" y="639"/>
                </a:lnTo>
                <a:lnTo>
                  <a:pt x="1541" y="642"/>
                </a:lnTo>
                <a:lnTo>
                  <a:pt x="1538" y="642"/>
                </a:lnTo>
                <a:lnTo>
                  <a:pt x="1534" y="646"/>
                </a:lnTo>
                <a:lnTo>
                  <a:pt x="1531" y="646"/>
                </a:lnTo>
                <a:lnTo>
                  <a:pt x="1527" y="649"/>
                </a:lnTo>
                <a:lnTo>
                  <a:pt x="1524" y="649"/>
                </a:lnTo>
                <a:lnTo>
                  <a:pt x="1517" y="649"/>
                </a:lnTo>
                <a:lnTo>
                  <a:pt x="1513" y="649"/>
                </a:lnTo>
                <a:lnTo>
                  <a:pt x="1499" y="656"/>
                </a:lnTo>
                <a:lnTo>
                  <a:pt x="1496" y="656"/>
                </a:lnTo>
                <a:lnTo>
                  <a:pt x="1493" y="656"/>
                </a:lnTo>
                <a:lnTo>
                  <a:pt x="1489" y="656"/>
                </a:lnTo>
                <a:lnTo>
                  <a:pt x="1482" y="660"/>
                </a:lnTo>
                <a:lnTo>
                  <a:pt x="1479" y="660"/>
                </a:lnTo>
                <a:lnTo>
                  <a:pt x="1472" y="663"/>
                </a:lnTo>
                <a:lnTo>
                  <a:pt x="1465" y="663"/>
                </a:lnTo>
                <a:lnTo>
                  <a:pt x="1461" y="663"/>
                </a:lnTo>
                <a:lnTo>
                  <a:pt x="1458" y="663"/>
                </a:lnTo>
                <a:lnTo>
                  <a:pt x="1454" y="663"/>
                </a:lnTo>
                <a:lnTo>
                  <a:pt x="1451" y="660"/>
                </a:lnTo>
                <a:lnTo>
                  <a:pt x="1444" y="660"/>
                </a:lnTo>
                <a:lnTo>
                  <a:pt x="1440" y="660"/>
                </a:lnTo>
                <a:lnTo>
                  <a:pt x="1440" y="663"/>
                </a:lnTo>
                <a:lnTo>
                  <a:pt x="1440" y="666"/>
                </a:lnTo>
                <a:lnTo>
                  <a:pt x="1437" y="670"/>
                </a:lnTo>
                <a:lnTo>
                  <a:pt x="1437" y="673"/>
                </a:lnTo>
                <a:lnTo>
                  <a:pt x="1437" y="677"/>
                </a:lnTo>
                <a:lnTo>
                  <a:pt x="1433" y="680"/>
                </a:lnTo>
                <a:lnTo>
                  <a:pt x="1430" y="680"/>
                </a:lnTo>
                <a:lnTo>
                  <a:pt x="1427" y="684"/>
                </a:lnTo>
                <a:lnTo>
                  <a:pt x="1423" y="684"/>
                </a:lnTo>
                <a:lnTo>
                  <a:pt x="1420" y="684"/>
                </a:lnTo>
                <a:lnTo>
                  <a:pt x="1416" y="680"/>
                </a:lnTo>
                <a:lnTo>
                  <a:pt x="1416" y="677"/>
                </a:lnTo>
                <a:lnTo>
                  <a:pt x="1409" y="677"/>
                </a:lnTo>
                <a:lnTo>
                  <a:pt x="1409" y="673"/>
                </a:lnTo>
                <a:lnTo>
                  <a:pt x="1406" y="673"/>
                </a:lnTo>
                <a:lnTo>
                  <a:pt x="1406" y="670"/>
                </a:lnTo>
                <a:lnTo>
                  <a:pt x="1406" y="666"/>
                </a:lnTo>
                <a:lnTo>
                  <a:pt x="1402" y="666"/>
                </a:lnTo>
                <a:lnTo>
                  <a:pt x="1395" y="663"/>
                </a:lnTo>
                <a:lnTo>
                  <a:pt x="1392" y="663"/>
                </a:lnTo>
                <a:lnTo>
                  <a:pt x="1388" y="660"/>
                </a:lnTo>
                <a:lnTo>
                  <a:pt x="1385" y="660"/>
                </a:lnTo>
                <a:lnTo>
                  <a:pt x="1381" y="653"/>
                </a:lnTo>
                <a:lnTo>
                  <a:pt x="1378" y="649"/>
                </a:lnTo>
                <a:lnTo>
                  <a:pt x="1374" y="646"/>
                </a:lnTo>
                <a:lnTo>
                  <a:pt x="1371" y="642"/>
                </a:lnTo>
                <a:lnTo>
                  <a:pt x="1368" y="639"/>
                </a:lnTo>
                <a:lnTo>
                  <a:pt x="1357" y="621"/>
                </a:lnTo>
                <a:lnTo>
                  <a:pt x="1354" y="621"/>
                </a:lnTo>
                <a:lnTo>
                  <a:pt x="1354" y="614"/>
                </a:lnTo>
                <a:lnTo>
                  <a:pt x="1350" y="614"/>
                </a:lnTo>
                <a:lnTo>
                  <a:pt x="1350" y="611"/>
                </a:lnTo>
                <a:lnTo>
                  <a:pt x="1347" y="607"/>
                </a:lnTo>
                <a:lnTo>
                  <a:pt x="1333" y="604"/>
                </a:lnTo>
                <a:lnTo>
                  <a:pt x="1329" y="600"/>
                </a:lnTo>
                <a:lnTo>
                  <a:pt x="1326" y="600"/>
                </a:lnTo>
                <a:lnTo>
                  <a:pt x="1319" y="597"/>
                </a:lnTo>
                <a:lnTo>
                  <a:pt x="1312" y="594"/>
                </a:lnTo>
                <a:lnTo>
                  <a:pt x="1309" y="594"/>
                </a:lnTo>
                <a:lnTo>
                  <a:pt x="1305" y="594"/>
                </a:lnTo>
                <a:lnTo>
                  <a:pt x="1302" y="594"/>
                </a:lnTo>
                <a:lnTo>
                  <a:pt x="1298" y="600"/>
                </a:lnTo>
                <a:lnTo>
                  <a:pt x="1295" y="604"/>
                </a:lnTo>
                <a:lnTo>
                  <a:pt x="1284" y="604"/>
                </a:lnTo>
                <a:lnTo>
                  <a:pt x="1284" y="607"/>
                </a:lnTo>
                <a:lnTo>
                  <a:pt x="1281" y="607"/>
                </a:lnTo>
                <a:lnTo>
                  <a:pt x="1281" y="611"/>
                </a:lnTo>
                <a:lnTo>
                  <a:pt x="1277" y="611"/>
                </a:lnTo>
                <a:lnTo>
                  <a:pt x="1277" y="614"/>
                </a:lnTo>
                <a:lnTo>
                  <a:pt x="1274" y="621"/>
                </a:lnTo>
                <a:lnTo>
                  <a:pt x="1274" y="632"/>
                </a:lnTo>
                <a:lnTo>
                  <a:pt x="1270" y="635"/>
                </a:lnTo>
                <a:lnTo>
                  <a:pt x="1270" y="639"/>
                </a:lnTo>
                <a:lnTo>
                  <a:pt x="1270" y="642"/>
                </a:lnTo>
                <a:lnTo>
                  <a:pt x="1274" y="646"/>
                </a:lnTo>
                <a:lnTo>
                  <a:pt x="1274" y="649"/>
                </a:lnTo>
                <a:lnTo>
                  <a:pt x="1270" y="653"/>
                </a:lnTo>
                <a:lnTo>
                  <a:pt x="1270" y="656"/>
                </a:lnTo>
                <a:lnTo>
                  <a:pt x="1270" y="660"/>
                </a:lnTo>
                <a:lnTo>
                  <a:pt x="1274" y="660"/>
                </a:lnTo>
                <a:lnTo>
                  <a:pt x="1274" y="663"/>
                </a:lnTo>
                <a:lnTo>
                  <a:pt x="1274" y="666"/>
                </a:lnTo>
                <a:lnTo>
                  <a:pt x="1270" y="670"/>
                </a:lnTo>
                <a:lnTo>
                  <a:pt x="1270" y="677"/>
                </a:lnTo>
                <a:lnTo>
                  <a:pt x="1267" y="680"/>
                </a:lnTo>
                <a:lnTo>
                  <a:pt x="1263" y="684"/>
                </a:lnTo>
                <a:lnTo>
                  <a:pt x="1263" y="687"/>
                </a:lnTo>
                <a:lnTo>
                  <a:pt x="1263" y="691"/>
                </a:lnTo>
                <a:lnTo>
                  <a:pt x="1263" y="694"/>
                </a:lnTo>
                <a:lnTo>
                  <a:pt x="1263" y="698"/>
                </a:lnTo>
                <a:lnTo>
                  <a:pt x="1267" y="698"/>
                </a:lnTo>
                <a:lnTo>
                  <a:pt x="1270" y="701"/>
                </a:lnTo>
                <a:lnTo>
                  <a:pt x="1270" y="705"/>
                </a:lnTo>
                <a:lnTo>
                  <a:pt x="1270" y="708"/>
                </a:lnTo>
                <a:lnTo>
                  <a:pt x="1267" y="712"/>
                </a:lnTo>
                <a:lnTo>
                  <a:pt x="1267" y="715"/>
                </a:lnTo>
                <a:lnTo>
                  <a:pt x="1263" y="719"/>
                </a:lnTo>
                <a:lnTo>
                  <a:pt x="1263" y="722"/>
                </a:lnTo>
                <a:lnTo>
                  <a:pt x="1267" y="722"/>
                </a:lnTo>
                <a:lnTo>
                  <a:pt x="1270" y="722"/>
                </a:lnTo>
                <a:lnTo>
                  <a:pt x="1274" y="726"/>
                </a:lnTo>
                <a:lnTo>
                  <a:pt x="1281" y="729"/>
                </a:lnTo>
                <a:lnTo>
                  <a:pt x="1281" y="732"/>
                </a:lnTo>
                <a:lnTo>
                  <a:pt x="1281" y="736"/>
                </a:lnTo>
                <a:lnTo>
                  <a:pt x="1277" y="736"/>
                </a:lnTo>
                <a:lnTo>
                  <a:pt x="1270" y="739"/>
                </a:lnTo>
                <a:lnTo>
                  <a:pt x="1267" y="743"/>
                </a:lnTo>
                <a:lnTo>
                  <a:pt x="1263" y="746"/>
                </a:lnTo>
                <a:lnTo>
                  <a:pt x="1260" y="746"/>
                </a:lnTo>
                <a:lnTo>
                  <a:pt x="1256" y="757"/>
                </a:lnTo>
                <a:lnTo>
                  <a:pt x="1256" y="760"/>
                </a:lnTo>
                <a:lnTo>
                  <a:pt x="1260" y="760"/>
                </a:lnTo>
                <a:lnTo>
                  <a:pt x="1263" y="760"/>
                </a:lnTo>
                <a:lnTo>
                  <a:pt x="1263" y="764"/>
                </a:lnTo>
                <a:lnTo>
                  <a:pt x="1260" y="764"/>
                </a:lnTo>
                <a:lnTo>
                  <a:pt x="1253" y="767"/>
                </a:lnTo>
                <a:lnTo>
                  <a:pt x="1253" y="771"/>
                </a:lnTo>
                <a:lnTo>
                  <a:pt x="1253" y="774"/>
                </a:lnTo>
                <a:lnTo>
                  <a:pt x="1256" y="774"/>
                </a:lnTo>
                <a:lnTo>
                  <a:pt x="1256" y="778"/>
                </a:lnTo>
                <a:lnTo>
                  <a:pt x="1253" y="781"/>
                </a:lnTo>
                <a:lnTo>
                  <a:pt x="1253" y="785"/>
                </a:lnTo>
                <a:lnTo>
                  <a:pt x="1249" y="785"/>
                </a:lnTo>
                <a:lnTo>
                  <a:pt x="1249" y="788"/>
                </a:lnTo>
                <a:lnTo>
                  <a:pt x="1253" y="788"/>
                </a:lnTo>
                <a:lnTo>
                  <a:pt x="1256" y="788"/>
                </a:lnTo>
                <a:lnTo>
                  <a:pt x="1253" y="802"/>
                </a:lnTo>
                <a:lnTo>
                  <a:pt x="1253" y="805"/>
                </a:lnTo>
                <a:lnTo>
                  <a:pt x="1256" y="805"/>
                </a:lnTo>
                <a:lnTo>
                  <a:pt x="1253" y="809"/>
                </a:lnTo>
                <a:lnTo>
                  <a:pt x="1256" y="809"/>
                </a:lnTo>
                <a:lnTo>
                  <a:pt x="1256" y="812"/>
                </a:lnTo>
                <a:lnTo>
                  <a:pt x="1260" y="812"/>
                </a:lnTo>
                <a:lnTo>
                  <a:pt x="1263" y="812"/>
                </a:lnTo>
                <a:lnTo>
                  <a:pt x="1263" y="816"/>
                </a:lnTo>
                <a:lnTo>
                  <a:pt x="1263" y="819"/>
                </a:lnTo>
                <a:lnTo>
                  <a:pt x="1267" y="819"/>
                </a:lnTo>
                <a:lnTo>
                  <a:pt x="1267" y="823"/>
                </a:lnTo>
                <a:lnTo>
                  <a:pt x="1267" y="826"/>
                </a:lnTo>
                <a:lnTo>
                  <a:pt x="1267" y="830"/>
                </a:lnTo>
                <a:lnTo>
                  <a:pt x="1270" y="830"/>
                </a:lnTo>
                <a:lnTo>
                  <a:pt x="1270" y="833"/>
                </a:lnTo>
                <a:lnTo>
                  <a:pt x="1274" y="833"/>
                </a:lnTo>
                <a:lnTo>
                  <a:pt x="1274" y="837"/>
                </a:lnTo>
                <a:lnTo>
                  <a:pt x="1274" y="840"/>
                </a:lnTo>
                <a:lnTo>
                  <a:pt x="1277" y="840"/>
                </a:lnTo>
                <a:lnTo>
                  <a:pt x="1277" y="844"/>
                </a:lnTo>
                <a:lnTo>
                  <a:pt x="1281" y="844"/>
                </a:lnTo>
                <a:lnTo>
                  <a:pt x="1281" y="847"/>
                </a:lnTo>
                <a:lnTo>
                  <a:pt x="1281" y="851"/>
                </a:lnTo>
                <a:lnTo>
                  <a:pt x="1281" y="854"/>
                </a:lnTo>
                <a:lnTo>
                  <a:pt x="1281" y="857"/>
                </a:lnTo>
                <a:lnTo>
                  <a:pt x="1284" y="857"/>
                </a:lnTo>
                <a:lnTo>
                  <a:pt x="1284" y="861"/>
                </a:lnTo>
                <a:lnTo>
                  <a:pt x="1288" y="861"/>
                </a:lnTo>
                <a:lnTo>
                  <a:pt x="1288" y="864"/>
                </a:lnTo>
                <a:lnTo>
                  <a:pt x="1291" y="864"/>
                </a:lnTo>
                <a:lnTo>
                  <a:pt x="1291" y="861"/>
                </a:lnTo>
                <a:lnTo>
                  <a:pt x="1295" y="864"/>
                </a:lnTo>
                <a:lnTo>
                  <a:pt x="1298" y="864"/>
                </a:lnTo>
                <a:lnTo>
                  <a:pt x="1302" y="864"/>
                </a:lnTo>
                <a:lnTo>
                  <a:pt x="1305" y="864"/>
                </a:lnTo>
                <a:lnTo>
                  <a:pt x="1305" y="868"/>
                </a:lnTo>
                <a:lnTo>
                  <a:pt x="1309" y="868"/>
                </a:lnTo>
                <a:lnTo>
                  <a:pt x="1312" y="868"/>
                </a:lnTo>
                <a:lnTo>
                  <a:pt x="1312" y="871"/>
                </a:lnTo>
                <a:lnTo>
                  <a:pt x="1315" y="871"/>
                </a:lnTo>
                <a:lnTo>
                  <a:pt x="1319" y="871"/>
                </a:lnTo>
                <a:lnTo>
                  <a:pt x="1319" y="875"/>
                </a:lnTo>
                <a:lnTo>
                  <a:pt x="1322" y="875"/>
                </a:lnTo>
                <a:lnTo>
                  <a:pt x="1326" y="875"/>
                </a:lnTo>
                <a:lnTo>
                  <a:pt x="1326" y="878"/>
                </a:lnTo>
                <a:lnTo>
                  <a:pt x="1326" y="882"/>
                </a:lnTo>
                <a:lnTo>
                  <a:pt x="1329" y="882"/>
                </a:lnTo>
                <a:lnTo>
                  <a:pt x="1329" y="885"/>
                </a:lnTo>
                <a:lnTo>
                  <a:pt x="1333" y="885"/>
                </a:lnTo>
                <a:lnTo>
                  <a:pt x="1336" y="885"/>
                </a:lnTo>
                <a:lnTo>
                  <a:pt x="1340" y="885"/>
                </a:lnTo>
                <a:lnTo>
                  <a:pt x="1340" y="889"/>
                </a:lnTo>
                <a:lnTo>
                  <a:pt x="1343" y="889"/>
                </a:lnTo>
                <a:lnTo>
                  <a:pt x="1347" y="889"/>
                </a:lnTo>
                <a:lnTo>
                  <a:pt x="1347" y="892"/>
                </a:lnTo>
                <a:lnTo>
                  <a:pt x="1350" y="892"/>
                </a:lnTo>
                <a:lnTo>
                  <a:pt x="1350" y="896"/>
                </a:lnTo>
                <a:lnTo>
                  <a:pt x="1350" y="899"/>
                </a:lnTo>
                <a:lnTo>
                  <a:pt x="1354" y="899"/>
                </a:lnTo>
                <a:lnTo>
                  <a:pt x="1357" y="899"/>
                </a:lnTo>
                <a:lnTo>
                  <a:pt x="1357" y="903"/>
                </a:lnTo>
                <a:lnTo>
                  <a:pt x="1361" y="906"/>
                </a:lnTo>
                <a:lnTo>
                  <a:pt x="1361" y="910"/>
                </a:lnTo>
                <a:lnTo>
                  <a:pt x="1364" y="910"/>
                </a:lnTo>
                <a:lnTo>
                  <a:pt x="1364" y="913"/>
                </a:lnTo>
                <a:lnTo>
                  <a:pt x="1368" y="913"/>
                </a:lnTo>
                <a:lnTo>
                  <a:pt x="1371" y="913"/>
                </a:lnTo>
                <a:lnTo>
                  <a:pt x="1374" y="913"/>
                </a:lnTo>
                <a:lnTo>
                  <a:pt x="1378" y="917"/>
                </a:lnTo>
                <a:lnTo>
                  <a:pt x="1378" y="920"/>
                </a:lnTo>
                <a:lnTo>
                  <a:pt x="1381" y="920"/>
                </a:lnTo>
                <a:lnTo>
                  <a:pt x="1385" y="920"/>
                </a:lnTo>
                <a:lnTo>
                  <a:pt x="1385" y="917"/>
                </a:lnTo>
                <a:lnTo>
                  <a:pt x="1392" y="917"/>
                </a:lnTo>
                <a:lnTo>
                  <a:pt x="1392" y="920"/>
                </a:lnTo>
                <a:lnTo>
                  <a:pt x="1395" y="920"/>
                </a:lnTo>
                <a:lnTo>
                  <a:pt x="1402" y="920"/>
                </a:lnTo>
                <a:lnTo>
                  <a:pt x="1406" y="923"/>
                </a:lnTo>
                <a:lnTo>
                  <a:pt x="1409" y="923"/>
                </a:lnTo>
                <a:lnTo>
                  <a:pt x="1409" y="927"/>
                </a:lnTo>
                <a:lnTo>
                  <a:pt x="1409" y="923"/>
                </a:lnTo>
                <a:lnTo>
                  <a:pt x="1409" y="927"/>
                </a:lnTo>
                <a:lnTo>
                  <a:pt x="1413" y="927"/>
                </a:lnTo>
                <a:lnTo>
                  <a:pt x="1416" y="927"/>
                </a:lnTo>
                <a:lnTo>
                  <a:pt x="1420" y="934"/>
                </a:lnTo>
                <a:lnTo>
                  <a:pt x="1423" y="934"/>
                </a:lnTo>
                <a:lnTo>
                  <a:pt x="1427" y="934"/>
                </a:lnTo>
                <a:lnTo>
                  <a:pt x="1430" y="934"/>
                </a:lnTo>
                <a:lnTo>
                  <a:pt x="1433" y="937"/>
                </a:lnTo>
                <a:lnTo>
                  <a:pt x="1437" y="934"/>
                </a:lnTo>
                <a:lnTo>
                  <a:pt x="1440" y="930"/>
                </a:lnTo>
                <a:lnTo>
                  <a:pt x="1444" y="930"/>
                </a:lnTo>
                <a:lnTo>
                  <a:pt x="1447" y="927"/>
                </a:lnTo>
                <a:lnTo>
                  <a:pt x="1451" y="927"/>
                </a:lnTo>
                <a:lnTo>
                  <a:pt x="1454" y="927"/>
                </a:lnTo>
                <a:lnTo>
                  <a:pt x="1454" y="930"/>
                </a:lnTo>
                <a:lnTo>
                  <a:pt x="1454" y="934"/>
                </a:lnTo>
                <a:lnTo>
                  <a:pt x="1454" y="941"/>
                </a:lnTo>
                <a:lnTo>
                  <a:pt x="1458" y="944"/>
                </a:lnTo>
                <a:lnTo>
                  <a:pt x="1461" y="944"/>
                </a:lnTo>
                <a:lnTo>
                  <a:pt x="1461" y="948"/>
                </a:lnTo>
                <a:lnTo>
                  <a:pt x="1465" y="948"/>
                </a:lnTo>
                <a:lnTo>
                  <a:pt x="1465" y="951"/>
                </a:lnTo>
                <a:lnTo>
                  <a:pt x="1468" y="955"/>
                </a:lnTo>
                <a:lnTo>
                  <a:pt x="1468" y="958"/>
                </a:lnTo>
                <a:lnTo>
                  <a:pt x="1472" y="958"/>
                </a:lnTo>
                <a:lnTo>
                  <a:pt x="1475" y="962"/>
                </a:lnTo>
                <a:lnTo>
                  <a:pt x="1475" y="965"/>
                </a:lnTo>
                <a:lnTo>
                  <a:pt x="1475" y="969"/>
                </a:lnTo>
                <a:lnTo>
                  <a:pt x="1482" y="976"/>
                </a:lnTo>
                <a:lnTo>
                  <a:pt x="1482" y="979"/>
                </a:lnTo>
                <a:lnTo>
                  <a:pt x="1486" y="982"/>
                </a:lnTo>
                <a:lnTo>
                  <a:pt x="1486" y="986"/>
                </a:lnTo>
                <a:lnTo>
                  <a:pt x="1482" y="989"/>
                </a:lnTo>
                <a:lnTo>
                  <a:pt x="1482" y="993"/>
                </a:lnTo>
                <a:lnTo>
                  <a:pt x="1479" y="996"/>
                </a:lnTo>
                <a:lnTo>
                  <a:pt x="1475" y="1000"/>
                </a:lnTo>
                <a:lnTo>
                  <a:pt x="1468" y="1003"/>
                </a:lnTo>
                <a:lnTo>
                  <a:pt x="1465" y="1003"/>
                </a:lnTo>
                <a:lnTo>
                  <a:pt x="1461" y="1003"/>
                </a:lnTo>
                <a:lnTo>
                  <a:pt x="1458" y="1007"/>
                </a:lnTo>
                <a:lnTo>
                  <a:pt x="1454" y="1010"/>
                </a:lnTo>
                <a:lnTo>
                  <a:pt x="1451" y="1010"/>
                </a:lnTo>
                <a:lnTo>
                  <a:pt x="1447" y="1014"/>
                </a:lnTo>
                <a:lnTo>
                  <a:pt x="1440" y="1021"/>
                </a:lnTo>
                <a:lnTo>
                  <a:pt x="1440" y="1024"/>
                </a:lnTo>
                <a:lnTo>
                  <a:pt x="1444" y="1024"/>
                </a:lnTo>
                <a:lnTo>
                  <a:pt x="1444" y="1028"/>
                </a:lnTo>
                <a:lnTo>
                  <a:pt x="1447" y="1028"/>
                </a:lnTo>
                <a:lnTo>
                  <a:pt x="1451" y="1028"/>
                </a:lnTo>
                <a:lnTo>
                  <a:pt x="1451" y="1031"/>
                </a:lnTo>
                <a:lnTo>
                  <a:pt x="1447" y="1031"/>
                </a:lnTo>
                <a:lnTo>
                  <a:pt x="1447" y="1035"/>
                </a:lnTo>
                <a:lnTo>
                  <a:pt x="1447" y="1038"/>
                </a:lnTo>
                <a:lnTo>
                  <a:pt x="1451" y="1038"/>
                </a:lnTo>
                <a:lnTo>
                  <a:pt x="1451" y="1042"/>
                </a:lnTo>
                <a:lnTo>
                  <a:pt x="1447" y="1045"/>
                </a:lnTo>
                <a:lnTo>
                  <a:pt x="1444" y="1045"/>
                </a:lnTo>
                <a:lnTo>
                  <a:pt x="1440" y="1055"/>
                </a:lnTo>
                <a:lnTo>
                  <a:pt x="1440" y="1059"/>
                </a:lnTo>
                <a:lnTo>
                  <a:pt x="1440" y="1062"/>
                </a:lnTo>
                <a:lnTo>
                  <a:pt x="1444" y="1062"/>
                </a:lnTo>
                <a:lnTo>
                  <a:pt x="1447" y="1066"/>
                </a:lnTo>
                <a:lnTo>
                  <a:pt x="1451" y="1066"/>
                </a:lnTo>
                <a:lnTo>
                  <a:pt x="1451" y="1069"/>
                </a:lnTo>
                <a:lnTo>
                  <a:pt x="1454" y="1069"/>
                </a:lnTo>
                <a:lnTo>
                  <a:pt x="1454" y="1073"/>
                </a:lnTo>
                <a:lnTo>
                  <a:pt x="1454" y="1076"/>
                </a:lnTo>
                <a:lnTo>
                  <a:pt x="1447" y="1083"/>
                </a:lnTo>
                <a:lnTo>
                  <a:pt x="1440" y="1087"/>
                </a:lnTo>
                <a:lnTo>
                  <a:pt x="1444" y="1090"/>
                </a:lnTo>
                <a:lnTo>
                  <a:pt x="1444" y="1094"/>
                </a:lnTo>
                <a:lnTo>
                  <a:pt x="1447" y="1101"/>
                </a:lnTo>
                <a:lnTo>
                  <a:pt x="1447" y="1104"/>
                </a:lnTo>
                <a:lnTo>
                  <a:pt x="1447" y="1111"/>
                </a:lnTo>
                <a:lnTo>
                  <a:pt x="1451" y="1111"/>
                </a:lnTo>
                <a:lnTo>
                  <a:pt x="1451" y="1114"/>
                </a:lnTo>
                <a:lnTo>
                  <a:pt x="1451" y="1111"/>
                </a:lnTo>
                <a:lnTo>
                  <a:pt x="1454" y="1114"/>
                </a:lnTo>
                <a:lnTo>
                  <a:pt x="1454" y="1118"/>
                </a:lnTo>
                <a:lnTo>
                  <a:pt x="1458" y="1118"/>
                </a:lnTo>
                <a:lnTo>
                  <a:pt x="1458" y="1121"/>
                </a:lnTo>
                <a:lnTo>
                  <a:pt x="1461" y="1121"/>
                </a:lnTo>
                <a:lnTo>
                  <a:pt x="1465" y="1121"/>
                </a:lnTo>
                <a:lnTo>
                  <a:pt x="1465" y="1125"/>
                </a:lnTo>
                <a:lnTo>
                  <a:pt x="1461" y="1128"/>
                </a:lnTo>
                <a:lnTo>
                  <a:pt x="1461" y="1132"/>
                </a:lnTo>
                <a:lnTo>
                  <a:pt x="1458" y="1132"/>
                </a:lnTo>
                <a:lnTo>
                  <a:pt x="1458" y="1128"/>
                </a:lnTo>
                <a:lnTo>
                  <a:pt x="1454" y="1128"/>
                </a:lnTo>
                <a:lnTo>
                  <a:pt x="1451" y="1125"/>
                </a:lnTo>
                <a:lnTo>
                  <a:pt x="1447" y="1121"/>
                </a:lnTo>
                <a:lnTo>
                  <a:pt x="1444" y="1118"/>
                </a:lnTo>
                <a:lnTo>
                  <a:pt x="1437" y="1118"/>
                </a:lnTo>
                <a:lnTo>
                  <a:pt x="1433" y="1118"/>
                </a:lnTo>
                <a:lnTo>
                  <a:pt x="1433" y="1114"/>
                </a:lnTo>
                <a:lnTo>
                  <a:pt x="1430" y="1114"/>
                </a:lnTo>
                <a:lnTo>
                  <a:pt x="1427" y="1114"/>
                </a:lnTo>
                <a:lnTo>
                  <a:pt x="1423" y="1121"/>
                </a:lnTo>
                <a:lnTo>
                  <a:pt x="1420" y="1125"/>
                </a:lnTo>
                <a:lnTo>
                  <a:pt x="1420" y="1128"/>
                </a:lnTo>
                <a:lnTo>
                  <a:pt x="1409" y="1139"/>
                </a:lnTo>
                <a:lnTo>
                  <a:pt x="1402" y="1142"/>
                </a:lnTo>
                <a:lnTo>
                  <a:pt x="1399" y="1142"/>
                </a:lnTo>
                <a:lnTo>
                  <a:pt x="1395" y="1146"/>
                </a:lnTo>
                <a:lnTo>
                  <a:pt x="1395" y="1149"/>
                </a:lnTo>
                <a:lnTo>
                  <a:pt x="1395" y="1153"/>
                </a:lnTo>
                <a:lnTo>
                  <a:pt x="1395" y="1156"/>
                </a:lnTo>
                <a:lnTo>
                  <a:pt x="1392" y="1156"/>
                </a:lnTo>
                <a:lnTo>
                  <a:pt x="1388" y="1153"/>
                </a:lnTo>
                <a:lnTo>
                  <a:pt x="1385" y="1153"/>
                </a:lnTo>
                <a:lnTo>
                  <a:pt x="1385" y="1156"/>
                </a:lnTo>
                <a:lnTo>
                  <a:pt x="1381" y="1156"/>
                </a:lnTo>
                <a:lnTo>
                  <a:pt x="1381" y="1153"/>
                </a:lnTo>
                <a:lnTo>
                  <a:pt x="1378" y="1153"/>
                </a:lnTo>
                <a:lnTo>
                  <a:pt x="1374" y="1153"/>
                </a:lnTo>
                <a:lnTo>
                  <a:pt x="1371" y="1153"/>
                </a:lnTo>
                <a:lnTo>
                  <a:pt x="1368" y="1153"/>
                </a:lnTo>
                <a:lnTo>
                  <a:pt x="1361" y="1153"/>
                </a:lnTo>
                <a:lnTo>
                  <a:pt x="1357" y="1156"/>
                </a:lnTo>
                <a:lnTo>
                  <a:pt x="1357" y="1160"/>
                </a:lnTo>
                <a:lnTo>
                  <a:pt x="1354" y="1160"/>
                </a:lnTo>
                <a:lnTo>
                  <a:pt x="1350" y="1163"/>
                </a:lnTo>
                <a:lnTo>
                  <a:pt x="1340" y="1167"/>
                </a:lnTo>
                <a:lnTo>
                  <a:pt x="1336" y="1167"/>
                </a:lnTo>
                <a:lnTo>
                  <a:pt x="1333" y="1167"/>
                </a:lnTo>
                <a:lnTo>
                  <a:pt x="1326" y="1163"/>
                </a:lnTo>
                <a:lnTo>
                  <a:pt x="1319" y="1167"/>
                </a:lnTo>
                <a:lnTo>
                  <a:pt x="1315" y="1167"/>
                </a:lnTo>
                <a:lnTo>
                  <a:pt x="1312" y="1170"/>
                </a:lnTo>
                <a:lnTo>
                  <a:pt x="1309" y="1170"/>
                </a:lnTo>
                <a:lnTo>
                  <a:pt x="1305" y="1177"/>
                </a:lnTo>
                <a:lnTo>
                  <a:pt x="1302" y="1177"/>
                </a:lnTo>
                <a:lnTo>
                  <a:pt x="1302" y="1180"/>
                </a:lnTo>
                <a:lnTo>
                  <a:pt x="1305" y="1191"/>
                </a:lnTo>
                <a:lnTo>
                  <a:pt x="1302" y="1201"/>
                </a:lnTo>
                <a:lnTo>
                  <a:pt x="1298" y="1201"/>
                </a:lnTo>
                <a:lnTo>
                  <a:pt x="1291" y="1208"/>
                </a:lnTo>
                <a:lnTo>
                  <a:pt x="1288" y="1208"/>
                </a:lnTo>
                <a:lnTo>
                  <a:pt x="1284" y="1208"/>
                </a:lnTo>
                <a:lnTo>
                  <a:pt x="1284" y="1205"/>
                </a:lnTo>
                <a:lnTo>
                  <a:pt x="1281" y="1205"/>
                </a:lnTo>
                <a:lnTo>
                  <a:pt x="1277" y="1205"/>
                </a:lnTo>
                <a:lnTo>
                  <a:pt x="1274" y="1205"/>
                </a:lnTo>
                <a:lnTo>
                  <a:pt x="1270" y="1208"/>
                </a:lnTo>
                <a:lnTo>
                  <a:pt x="1267" y="1212"/>
                </a:lnTo>
                <a:lnTo>
                  <a:pt x="1263" y="1215"/>
                </a:lnTo>
                <a:lnTo>
                  <a:pt x="1263" y="1219"/>
                </a:lnTo>
                <a:lnTo>
                  <a:pt x="1260" y="1219"/>
                </a:lnTo>
                <a:lnTo>
                  <a:pt x="1256" y="1219"/>
                </a:lnTo>
                <a:lnTo>
                  <a:pt x="1256" y="1222"/>
                </a:lnTo>
                <a:lnTo>
                  <a:pt x="1253" y="1222"/>
                </a:lnTo>
                <a:lnTo>
                  <a:pt x="1249" y="1222"/>
                </a:lnTo>
                <a:lnTo>
                  <a:pt x="1249" y="1226"/>
                </a:lnTo>
                <a:lnTo>
                  <a:pt x="1246" y="1229"/>
                </a:lnTo>
                <a:lnTo>
                  <a:pt x="1246" y="1233"/>
                </a:lnTo>
                <a:lnTo>
                  <a:pt x="1243" y="1236"/>
                </a:lnTo>
                <a:lnTo>
                  <a:pt x="1239" y="1236"/>
                </a:lnTo>
                <a:lnTo>
                  <a:pt x="1236" y="1236"/>
                </a:lnTo>
                <a:lnTo>
                  <a:pt x="1232" y="1236"/>
                </a:lnTo>
                <a:lnTo>
                  <a:pt x="1229" y="1236"/>
                </a:lnTo>
                <a:lnTo>
                  <a:pt x="1229" y="1233"/>
                </a:lnTo>
                <a:lnTo>
                  <a:pt x="1225" y="1233"/>
                </a:lnTo>
                <a:lnTo>
                  <a:pt x="1222" y="1233"/>
                </a:lnTo>
                <a:lnTo>
                  <a:pt x="1218" y="1236"/>
                </a:lnTo>
                <a:lnTo>
                  <a:pt x="1215" y="1236"/>
                </a:lnTo>
                <a:lnTo>
                  <a:pt x="1211" y="1236"/>
                </a:lnTo>
                <a:lnTo>
                  <a:pt x="1208" y="1236"/>
                </a:lnTo>
                <a:lnTo>
                  <a:pt x="1208" y="1239"/>
                </a:lnTo>
                <a:lnTo>
                  <a:pt x="1208" y="1243"/>
                </a:lnTo>
                <a:lnTo>
                  <a:pt x="1208" y="1246"/>
                </a:lnTo>
                <a:lnTo>
                  <a:pt x="1208" y="1250"/>
                </a:lnTo>
                <a:lnTo>
                  <a:pt x="1208" y="1253"/>
                </a:lnTo>
                <a:lnTo>
                  <a:pt x="1204" y="1253"/>
                </a:lnTo>
                <a:lnTo>
                  <a:pt x="1201" y="1257"/>
                </a:lnTo>
                <a:lnTo>
                  <a:pt x="1197" y="1257"/>
                </a:lnTo>
                <a:lnTo>
                  <a:pt x="1194" y="1260"/>
                </a:lnTo>
                <a:lnTo>
                  <a:pt x="1190" y="1260"/>
                </a:lnTo>
                <a:lnTo>
                  <a:pt x="1187" y="1260"/>
                </a:lnTo>
                <a:lnTo>
                  <a:pt x="1184" y="1260"/>
                </a:lnTo>
                <a:lnTo>
                  <a:pt x="1180" y="1264"/>
                </a:lnTo>
                <a:lnTo>
                  <a:pt x="1177" y="1264"/>
                </a:lnTo>
                <a:lnTo>
                  <a:pt x="1177" y="1267"/>
                </a:lnTo>
                <a:lnTo>
                  <a:pt x="1173" y="1267"/>
                </a:lnTo>
                <a:lnTo>
                  <a:pt x="1170" y="1271"/>
                </a:lnTo>
                <a:lnTo>
                  <a:pt x="1163" y="1274"/>
                </a:lnTo>
                <a:lnTo>
                  <a:pt x="1163" y="1278"/>
                </a:lnTo>
                <a:lnTo>
                  <a:pt x="1159" y="1281"/>
                </a:lnTo>
                <a:lnTo>
                  <a:pt x="1159" y="1285"/>
                </a:lnTo>
                <a:lnTo>
                  <a:pt x="1156" y="1285"/>
                </a:lnTo>
                <a:lnTo>
                  <a:pt x="1152" y="1285"/>
                </a:lnTo>
                <a:lnTo>
                  <a:pt x="1149" y="1288"/>
                </a:lnTo>
                <a:lnTo>
                  <a:pt x="1142" y="1285"/>
                </a:lnTo>
                <a:lnTo>
                  <a:pt x="1138" y="1285"/>
                </a:lnTo>
                <a:lnTo>
                  <a:pt x="1135" y="1285"/>
                </a:lnTo>
                <a:lnTo>
                  <a:pt x="1131" y="1281"/>
                </a:lnTo>
                <a:lnTo>
                  <a:pt x="1128" y="1281"/>
                </a:lnTo>
                <a:lnTo>
                  <a:pt x="1124" y="1278"/>
                </a:lnTo>
                <a:lnTo>
                  <a:pt x="1121" y="1278"/>
                </a:lnTo>
                <a:lnTo>
                  <a:pt x="1114" y="1281"/>
                </a:lnTo>
                <a:lnTo>
                  <a:pt x="1111" y="1281"/>
                </a:lnTo>
                <a:lnTo>
                  <a:pt x="1107" y="1281"/>
                </a:lnTo>
                <a:lnTo>
                  <a:pt x="1104" y="1278"/>
                </a:lnTo>
                <a:lnTo>
                  <a:pt x="1104" y="1274"/>
                </a:lnTo>
                <a:lnTo>
                  <a:pt x="1100" y="1274"/>
                </a:lnTo>
                <a:lnTo>
                  <a:pt x="1100" y="1271"/>
                </a:lnTo>
                <a:lnTo>
                  <a:pt x="1090" y="1264"/>
                </a:lnTo>
                <a:lnTo>
                  <a:pt x="1090" y="1260"/>
                </a:lnTo>
                <a:lnTo>
                  <a:pt x="1086" y="1260"/>
                </a:lnTo>
                <a:lnTo>
                  <a:pt x="1086" y="1257"/>
                </a:lnTo>
                <a:lnTo>
                  <a:pt x="1083" y="1250"/>
                </a:lnTo>
                <a:lnTo>
                  <a:pt x="1083" y="1246"/>
                </a:lnTo>
                <a:lnTo>
                  <a:pt x="1086" y="1243"/>
                </a:lnTo>
                <a:lnTo>
                  <a:pt x="1090" y="1239"/>
                </a:lnTo>
                <a:lnTo>
                  <a:pt x="1086" y="1239"/>
                </a:lnTo>
                <a:lnTo>
                  <a:pt x="1083" y="1239"/>
                </a:lnTo>
                <a:lnTo>
                  <a:pt x="1079" y="1239"/>
                </a:lnTo>
                <a:lnTo>
                  <a:pt x="1076" y="1239"/>
                </a:lnTo>
                <a:lnTo>
                  <a:pt x="1072" y="1239"/>
                </a:lnTo>
                <a:lnTo>
                  <a:pt x="1072" y="1236"/>
                </a:lnTo>
                <a:lnTo>
                  <a:pt x="1069" y="1236"/>
                </a:lnTo>
                <a:lnTo>
                  <a:pt x="1059" y="1246"/>
                </a:lnTo>
                <a:lnTo>
                  <a:pt x="1055" y="1246"/>
                </a:lnTo>
                <a:lnTo>
                  <a:pt x="1052" y="1250"/>
                </a:lnTo>
                <a:lnTo>
                  <a:pt x="1048" y="1253"/>
                </a:lnTo>
                <a:lnTo>
                  <a:pt x="1045" y="1250"/>
                </a:lnTo>
                <a:lnTo>
                  <a:pt x="1041" y="1250"/>
                </a:lnTo>
                <a:lnTo>
                  <a:pt x="1038" y="1250"/>
                </a:lnTo>
                <a:lnTo>
                  <a:pt x="1038" y="1253"/>
                </a:lnTo>
                <a:lnTo>
                  <a:pt x="1034" y="1253"/>
                </a:lnTo>
                <a:lnTo>
                  <a:pt x="1031" y="1253"/>
                </a:lnTo>
                <a:lnTo>
                  <a:pt x="1027" y="1253"/>
                </a:lnTo>
                <a:lnTo>
                  <a:pt x="1024" y="1253"/>
                </a:lnTo>
                <a:lnTo>
                  <a:pt x="1017" y="1257"/>
                </a:lnTo>
                <a:lnTo>
                  <a:pt x="1017" y="1260"/>
                </a:lnTo>
                <a:lnTo>
                  <a:pt x="1013" y="1260"/>
                </a:lnTo>
                <a:lnTo>
                  <a:pt x="1013" y="1264"/>
                </a:lnTo>
                <a:lnTo>
                  <a:pt x="1010" y="1264"/>
                </a:lnTo>
                <a:lnTo>
                  <a:pt x="1006" y="1264"/>
                </a:lnTo>
                <a:lnTo>
                  <a:pt x="999" y="1264"/>
                </a:lnTo>
                <a:lnTo>
                  <a:pt x="996" y="1267"/>
                </a:lnTo>
                <a:lnTo>
                  <a:pt x="993" y="1267"/>
                </a:lnTo>
                <a:lnTo>
                  <a:pt x="989" y="1267"/>
                </a:lnTo>
                <a:lnTo>
                  <a:pt x="986" y="1271"/>
                </a:lnTo>
                <a:lnTo>
                  <a:pt x="979" y="1271"/>
                </a:lnTo>
                <a:lnTo>
                  <a:pt x="975" y="1274"/>
                </a:lnTo>
                <a:lnTo>
                  <a:pt x="972" y="1274"/>
                </a:lnTo>
                <a:lnTo>
                  <a:pt x="968" y="1274"/>
                </a:lnTo>
                <a:lnTo>
                  <a:pt x="965" y="1278"/>
                </a:lnTo>
                <a:lnTo>
                  <a:pt x="961" y="1274"/>
                </a:lnTo>
                <a:lnTo>
                  <a:pt x="954" y="1274"/>
                </a:lnTo>
                <a:lnTo>
                  <a:pt x="954" y="1271"/>
                </a:lnTo>
                <a:lnTo>
                  <a:pt x="958" y="1267"/>
                </a:lnTo>
                <a:lnTo>
                  <a:pt x="954" y="1267"/>
                </a:lnTo>
                <a:lnTo>
                  <a:pt x="954" y="1264"/>
                </a:lnTo>
                <a:lnTo>
                  <a:pt x="951" y="1264"/>
                </a:lnTo>
                <a:lnTo>
                  <a:pt x="951" y="1260"/>
                </a:lnTo>
                <a:lnTo>
                  <a:pt x="951" y="1257"/>
                </a:lnTo>
                <a:lnTo>
                  <a:pt x="954" y="1257"/>
                </a:lnTo>
                <a:lnTo>
                  <a:pt x="954" y="1253"/>
                </a:lnTo>
                <a:lnTo>
                  <a:pt x="954" y="1250"/>
                </a:lnTo>
                <a:lnTo>
                  <a:pt x="954" y="1243"/>
                </a:lnTo>
                <a:lnTo>
                  <a:pt x="954" y="1239"/>
                </a:lnTo>
                <a:lnTo>
                  <a:pt x="958" y="1236"/>
                </a:lnTo>
                <a:lnTo>
                  <a:pt x="958" y="1229"/>
                </a:lnTo>
                <a:lnTo>
                  <a:pt x="958" y="1219"/>
                </a:lnTo>
                <a:lnTo>
                  <a:pt x="958" y="1215"/>
                </a:lnTo>
                <a:lnTo>
                  <a:pt x="954" y="1215"/>
                </a:lnTo>
                <a:lnTo>
                  <a:pt x="954" y="1212"/>
                </a:lnTo>
                <a:lnTo>
                  <a:pt x="951" y="1212"/>
                </a:lnTo>
                <a:lnTo>
                  <a:pt x="944" y="1208"/>
                </a:lnTo>
                <a:lnTo>
                  <a:pt x="944" y="1205"/>
                </a:lnTo>
                <a:lnTo>
                  <a:pt x="937" y="1201"/>
                </a:lnTo>
                <a:lnTo>
                  <a:pt x="937" y="1198"/>
                </a:lnTo>
                <a:lnTo>
                  <a:pt x="934" y="1198"/>
                </a:lnTo>
                <a:lnTo>
                  <a:pt x="934" y="1194"/>
                </a:lnTo>
                <a:lnTo>
                  <a:pt x="930" y="1194"/>
                </a:lnTo>
                <a:lnTo>
                  <a:pt x="930" y="1191"/>
                </a:lnTo>
                <a:lnTo>
                  <a:pt x="930" y="1187"/>
                </a:lnTo>
                <a:lnTo>
                  <a:pt x="927" y="1184"/>
                </a:lnTo>
                <a:lnTo>
                  <a:pt x="923" y="1184"/>
                </a:lnTo>
                <a:lnTo>
                  <a:pt x="920" y="1180"/>
                </a:lnTo>
                <a:lnTo>
                  <a:pt x="916" y="1184"/>
                </a:lnTo>
                <a:lnTo>
                  <a:pt x="913" y="1184"/>
                </a:lnTo>
                <a:lnTo>
                  <a:pt x="909" y="1184"/>
                </a:lnTo>
                <a:lnTo>
                  <a:pt x="906" y="1187"/>
                </a:lnTo>
                <a:lnTo>
                  <a:pt x="899" y="1184"/>
                </a:lnTo>
                <a:lnTo>
                  <a:pt x="895" y="1180"/>
                </a:lnTo>
                <a:lnTo>
                  <a:pt x="892" y="1177"/>
                </a:lnTo>
                <a:lnTo>
                  <a:pt x="888" y="1177"/>
                </a:lnTo>
                <a:lnTo>
                  <a:pt x="885" y="1177"/>
                </a:lnTo>
                <a:lnTo>
                  <a:pt x="885" y="1173"/>
                </a:lnTo>
                <a:lnTo>
                  <a:pt x="881" y="1173"/>
                </a:lnTo>
                <a:lnTo>
                  <a:pt x="878" y="1173"/>
                </a:lnTo>
                <a:lnTo>
                  <a:pt x="874" y="1173"/>
                </a:lnTo>
                <a:lnTo>
                  <a:pt x="871" y="1173"/>
                </a:lnTo>
                <a:lnTo>
                  <a:pt x="868" y="1173"/>
                </a:lnTo>
                <a:lnTo>
                  <a:pt x="864" y="1177"/>
                </a:lnTo>
                <a:lnTo>
                  <a:pt x="861" y="1180"/>
                </a:lnTo>
                <a:lnTo>
                  <a:pt x="854" y="1173"/>
                </a:lnTo>
                <a:lnTo>
                  <a:pt x="850" y="1173"/>
                </a:lnTo>
                <a:lnTo>
                  <a:pt x="847" y="1170"/>
                </a:lnTo>
                <a:lnTo>
                  <a:pt x="847" y="1167"/>
                </a:lnTo>
                <a:lnTo>
                  <a:pt x="843" y="1167"/>
                </a:lnTo>
                <a:lnTo>
                  <a:pt x="840" y="1163"/>
                </a:lnTo>
                <a:lnTo>
                  <a:pt x="836" y="1163"/>
                </a:lnTo>
                <a:lnTo>
                  <a:pt x="836" y="1160"/>
                </a:lnTo>
                <a:lnTo>
                  <a:pt x="833" y="1160"/>
                </a:lnTo>
                <a:lnTo>
                  <a:pt x="829" y="1160"/>
                </a:lnTo>
                <a:lnTo>
                  <a:pt x="826" y="1156"/>
                </a:lnTo>
                <a:lnTo>
                  <a:pt x="826" y="1160"/>
                </a:lnTo>
                <a:lnTo>
                  <a:pt x="822" y="1160"/>
                </a:lnTo>
                <a:lnTo>
                  <a:pt x="815" y="1156"/>
                </a:lnTo>
                <a:lnTo>
                  <a:pt x="815" y="1160"/>
                </a:lnTo>
                <a:lnTo>
                  <a:pt x="812" y="1167"/>
                </a:lnTo>
                <a:lnTo>
                  <a:pt x="809" y="1167"/>
                </a:lnTo>
                <a:lnTo>
                  <a:pt x="809" y="1170"/>
                </a:lnTo>
                <a:lnTo>
                  <a:pt x="805" y="1167"/>
                </a:lnTo>
                <a:lnTo>
                  <a:pt x="802" y="1167"/>
                </a:lnTo>
                <a:lnTo>
                  <a:pt x="802" y="1163"/>
                </a:lnTo>
                <a:lnTo>
                  <a:pt x="791" y="1167"/>
                </a:lnTo>
                <a:lnTo>
                  <a:pt x="788" y="1167"/>
                </a:lnTo>
                <a:lnTo>
                  <a:pt x="784" y="1167"/>
                </a:lnTo>
                <a:lnTo>
                  <a:pt x="774" y="1167"/>
                </a:lnTo>
                <a:lnTo>
                  <a:pt x="770" y="1167"/>
                </a:lnTo>
                <a:lnTo>
                  <a:pt x="767" y="1170"/>
                </a:lnTo>
                <a:lnTo>
                  <a:pt x="763" y="1170"/>
                </a:lnTo>
                <a:lnTo>
                  <a:pt x="756" y="1167"/>
                </a:lnTo>
                <a:lnTo>
                  <a:pt x="753" y="1163"/>
                </a:lnTo>
                <a:lnTo>
                  <a:pt x="756" y="1167"/>
                </a:lnTo>
                <a:lnTo>
                  <a:pt x="753" y="1167"/>
                </a:lnTo>
                <a:lnTo>
                  <a:pt x="750" y="1173"/>
                </a:lnTo>
                <a:lnTo>
                  <a:pt x="746" y="1177"/>
                </a:lnTo>
                <a:lnTo>
                  <a:pt x="746" y="1180"/>
                </a:lnTo>
                <a:lnTo>
                  <a:pt x="739" y="1184"/>
                </a:lnTo>
                <a:lnTo>
                  <a:pt x="739" y="1187"/>
                </a:lnTo>
                <a:lnTo>
                  <a:pt x="736" y="1191"/>
                </a:lnTo>
                <a:lnTo>
                  <a:pt x="736" y="1194"/>
                </a:lnTo>
                <a:lnTo>
                  <a:pt x="732" y="1198"/>
                </a:lnTo>
                <a:lnTo>
                  <a:pt x="729" y="1198"/>
                </a:lnTo>
                <a:lnTo>
                  <a:pt x="725" y="1201"/>
                </a:lnTo>
                <a:lnTo>
                  <a:pt x="722" y="1201"/>
                </a:lnTo>
                <a:lnTo>
                  <a:pt x="722" y="1205"/>
                </a:lnTo>
                <a:lnTo>
                  <a:pt x="722" y="1208"/>
                </a:lnTo>
                <a:lnTo>
                  <a:pt x="725" y="1212"/>
                </a:lnTo>
                <a:lnTo>
                  <a:pt x="725" y="1215"/>
                </a:lnTo>
                <a:lnTo>
                  <a:pt x="718" y="1215"/>
                </a:lnTo>
                <a:lnTo>
                  <a:pt x="715" y="1215"/>
                </a:lnTo>
                <a:lnTo>
                  <a:pt x="708" y="1219"/>
                </a:lnTo>
                <a:lnTo>
                  <a:pt x="704" y="1222"/>
                </a:lnTo>
                <a:lnTo>
                  <a:pt x="704" y="1229"/>
                </a:lnTo>
                <a:lnTo>
                  <a:pt x="704" y="1233"/>
                </a:lnTo>
                <a:lnTo>
                  <a:pt x="701" y="1236"/>
                </a:lnTo>
                <a:lnTo>
                  <a:pt x="701" y="1239"/>
                </a:lnTo>
                <a:lnTo>
                  <a:pt x="701" y="1243"/>
                </a:lnTo>
                <a:lnTo>
                  <a:pt x="701" y="1246"/>
                </a:lnTo>
                <a:lnTo>
                  <a:pt x="697" y="1250"/>
                </a:lnTo>
                <a:lnTo>
                  <a:pt x="697" y="1253"/>
                </a:lnTo>
                <a:lnTo>
                  <a:pt x="694" y="1257"/>
                </a:lnTo>
                <a:lnTo>
                  <a:pt x="694" y="1267"/>
                </a:lnTo>
                <a:lnTo>
                  <a:pt x="694" y="1271"/>
                </a:lnTo>
                <a:lnTo>
                  <a:pt x="694" y="1274"/>
                </a:lnTo>
                <a:lnTo>
                  <a:pt x="694" y="1278"/>
                </a:lnTo>
                <a:lnTo>
                  <a:pt x="694" y="1281"/>
                </a:lnTo>
                <a:lnTo>
                  <a:pt x="694" y="1285"/>
                </a:lnTo>
                <a:lnTo>
                  <a:pt x="697" y="1288"/>
                </a:lnTo>
                <a:lnTo>
                  <a:pt x="697" y="1292"/>
                </a:lnTo>
                <a:lnTo>
                  <a:pt x="697" y="1295"/>
                </a:lnTo>
                <a:lnTo>
                  <a:pt x="694" y="1298"/>
                </a:lnTo>
                <a:lnTo>
                  <a:pt x="690" y="1305"/>
                </a:lnTo>
                <a:lnTo>
                  <a:pt x="694" y="1312"/>
                </a:lnTo>
                <a:lnTo>
                  <a:pt x="694" y="1316"/>
                </a:lnTo>
                <a:lnTo>
                  <a:pt x="697" y="1316"/>
                </a:lnTo>
                <a:lnTo>
                  <a:pt x="697" y="1312"/>
                </a:lnTo>
                <a:lnTo>
                  <a:pt x="701" y="1312"/>
                </a:lnTo>
                <a:lnTo>
                  <a:pt x="704" y="1316"/>
                </a:lnTo>
                <a:lnTo>
                  <a:pt x="708" y="1316"/>
                </a:lnTo>
                <a:lnTo>
                  <a:pt x="708" y="1319"/>
                </a:lnTo>
                <a:lnTo>
                  <a:pt x="711" y="1319"/>
                </a:lnTo>
                <a:lnTo>
                  <a:pt x="715" y="1319"/>
                </a:lnTo>
                <a:lnTo>
                  <a:pt x="718" y="1319"/>
                </a:lnTo>
                <a:lnTo>
                  <a:pt x="722" y="1319"/>
                </a:lnTo>
                <a:lnTo>
                  <a:pt x="725" y="1319"/>
                </a:lnTo>
                <a:lnTo>
                  <a:pt x="725" y="1323"/>
                </a:lnTo>
                <a:lnTo>
                  <a:pt x="725" y="1326"/>
                </a:lnTo>
                <a:lnTo>
                  <a:pt x="729" y="1330"/>
                </a:lnTo>
                <a:lnTo>
                  <a:pt x="732" y="1337"/>
                </a:lnTo>
                <a:lnTo>
                  <a:pt x="736" y="1340"/>
                </a:lnTo>
                <a:lnTo>
                  <a:pt x="739" y="1347"/>
                </a:lnTo>
                <a:lnTo>
                  <a:pt x="739" y="1354"/>
                </a:lnTo>
                <a:lnTo>
                  <a:pt x="736" y="1354"/>
                </a:lnTo>
                <a:lnTo>
                  <a:pt x="732" y="1354"/>
                </a:lnTo>
                <a:lnTo>
                  <a:pt x="732" y="1358"/>
                </a:lnTo>
                <a:lnTo>
                  <a:pt x="736" y="1368"/>
                </a:lnTo>
                <a:lnTo>
                  <a:pt x="736" y="1375"/>
                </a:lnTo>
                <a:lnTo>
                  <a:pt x="743" y="1378"/>
                </a:lnTo>
                <a:lnTo>
                  <a:pt x="743" y="1382"/>
                </a:lnTo>
                <a:lnTo>
                  <a:pt x="739" y="1389"/>
                </a:lnTo>
                <a:lnTo>
                  <a:pt x="739" y="1392"/>
                </a:lnTo>
                <a:lnTo>
                  <a:pt x="736" y="1392"/>
                </a:lnTo>
                <a:lnTo>
                  <a:pt x="736" y="1396"/>
                </a:lnTo>
                <a:lnTo>
                  <a:pt x="736" y="1399"/>
                </a:lnTo>
                <a:lnTo>
                  <a:pt x="732" y="1399"/>
                </a:lnTo>
                <a:lnTo>
                  <a:pt x="736" y="1403"/>
                </a:lnTo>
                <a:lnTo>
                  <a:pt x="732" y="1406"/>
                </a:lnTo>
                <a:lnTo>
                  <a:pt x="729" y="1406"/>
                </a:lnTo>
                <a:lnTo>
                  <a:pt x="725" y="1413"/>
                </a:lnTo>
                <a:lnTo>
                  <a:pt x="715" y="1420"/>
                </a:lnTo>
                <a:lnTo>
                  <a:pt x="715" y="1424"/>
                </a:lnTo>
                <a:lnTo>
                  <a:pt x="711" y="1430"/>
                </a:lnTo>
                <a:lnTo>
                  <a:pt x="711" y="1434"/>
                </a:lnTo>
                <a:lnTo>
                  <a:pt x="715" y="1444"/>
                </a:lnTo>
                <a:lnTo>
                  <a:pt x="711" y="1444"/>
                </a:lnTo>
                <a:lnTo>
                  <a:pt x="704" y="1444"/>
                </a:lnTo>
                <a:lnTo>
                  <a:pt x="690" y="1444"/>
                </a:lnTo>
                <a:lnTo>
                  <a:pt x="684" y="1444"/>
                </a:lnTo>
                <a:lnTo>
                  <a:pt x="677" y="1444"/>
                </a:lnTo>
                <a:lnTo>
                  <a:pt x="673" y="1444"/>
                </a:lnTo>
                <a:lnTo>
                  <a:pt x="670" y="1444"/>
                </a:lnTo>
                <a:lnTo>
                  <a:pt x="670" y="1441"/>
                </a:lnTo>
                <a:lnTo>
                  <a:pt x="663" y="1441"/>
                </a:lnTo>
                <a:lnTo>
                  <a:pt x="659" y="1441"/>
                </a:lnTo>
                <a:lnTo>
                  <a:pt x="656" y="1441"/>
                </a:lnTo>
                <a:lnTo>
                  <a:pt x="652" y="1437"/>
                </a:lnTo>
                <a:lnTo>
                  <a:pt x="649" y="1437"/>
                </a:lnTo>
                <a:lnTo>
                  <a:pt x="645" y="1437"/>
                </a:lnTo>
                <a:lnTo>
                  <a:pt x="642" y="1437"/>
                </a:lnTo>
                <a:lnTo>
                  <a:pt x="642" y="1434"/>
                </a:lnTo>
                <a:lnTo>
                  <a:pt x="638" y="1434"/>
                </a:lnTo>
                <a:lnTo>
                  <a:pt x="638" y="1430"/>
                </a:lnTo>
                <a:lnTo>
                  <a:pt x="635" y="1430"/>
                </a:lnTo>
                <a:lnTo>
                  <a:pt x="628" y="1430"/>
                </a:lnTo>
                <a:lnTo>
                  <a:pt x="621" y="1427"/>
                </a:lnTo>
                <a:lnTo>
                  <a:pt x="621" y="1430"/>
                </a:lnTo>
                <a:lnTo>
                  <a:pt x="618" y="1430"/>
                </a:lnTo>
                <a:lnTo>
                  <a:pt x="614" y="1430"/>
                </a:lnTo>
                <a:lnTo>
                  <a:pt x="611" y="1427"/>
                </a:lnTo>
                <a:lnTo>
                  <a:pt x="607" y="1427"/>
                </a:lnTo>
                <a:lnTo>
                  <a:pt x="604" y="1424"/>
                </a:lnTo>
                <a:lnTo>
                  <a:pt x="600" y="1424"/>
                </a:lnTo>
                <a:lnTo>
                  <a:pt x="600" y="1420"/>
                </a:lnTo>
                <a:lnTo>
                  <a:pt x="597" y="1420"/>
                </a:lnTo>
                <a:lnTo>
                  <a:pt x="593" y="1420"/>
                </a:lnTo>
                <a:lnTo>
                  <a:pt x="590" y="1417"/>
                </a:lnTo>
                <a:lnTo>
                  <a:pt x="586" y="1413"/>
                </a:lnTo>
                <a:lnTo>
                  <a:pt x="579" y="1413"/>
                </a:lnTo>
                <a:lnTo>
                  <a:pt x="579" y="1410"/>
                </a:lnTo>
                <a:lnTo>
                  <a:pt x="576" y="1410"/>
                </a:lnTo>
                <a:lnTo>
                  <a:pt x="572" y="1410"/>
                </a:lnTo>
                <a:lnTo>
                  <a:pt x="565" y="1410"/>
                </a:lnTo>
                <a:lnTo>
                  <a:pt x="562" y="1406"/>
                </a:lnTo>
                <a:lnTo>
                  <a:pt x="562" y="1403"/>
                </a:lnTo>
                <a:lnTo>
                  <a:pt x="559" y="1396"/>
                </a:lnTo>
                <a:lnTo>
                  <a:pt x="555" y="1392"/>
                </a:lnTo>
                <a:lnTo>
                  <a:pt x="552" y="1389"/>
                </a:lnTo>
                <a:lnTo>
                  <a:pt x="548" y="1389"/>
                </a:lnTo>
                <a:lnTo>
                  <a:pt x="545" y="1389"/>
                </a:lnTo>
                <a:lnTo>
                  <a:pt x="545" y="1385"/>
                </a:lnTo>
                <a:lnTo>
                  <a:pt x="541" y="1385"/>
                </a:lnTo>
                <a:lnTo>
                  <a:pt x="541" y="1382"/>
                </a:lnTo>
                <a:lnTo>
                  <a:pt x="538" y="1378"/>
                </a:lnTo>
                <a:lnTo>
                  <a:pt x="534" y="1375"/>
                </a:lnTo>
                <a:lnTo>
                  <a:pt x="534" y="1371"/>
                </a:lnTo>
                <a:lnTo>
                  <a:pt x="534" y="1368"/>
                </a:lnTo>
                <a:lnTo>
                  <a:pt x="534" y="1364"/>
                </a:lnTo>
                <a:lnTo>
                  <a:pt x="534" y="1358"/>
                </a:lnTo>
                <a:lnTo>
                  <a:pt x="534" y="1354"/>
                </a:lnTo>
                <a:lnTo>
                  <a:pt x="534" y="1351"/>
                </a:lnTo>
                <a:lnTo>
                  <a:pt x="538" y="1347"/>
                </a:lnTo>
                <a:lnTo>
                  <a:pt x="538" y="1344"/>
                </a:lnTo>
                <a:lnTo>
                  <a:pt x="538" y="1333"/>
                </a:lnTo>
                <a:lnTo>
                  <a:pt x="534" y="1330"/>
                </a:lnTo>
                <a:lnTo>
                  <a:pt x="534" y="1326"/>
                </a:lnTo>
                <a:lnTo>
                  <a:pt x="538" y="1326"/>
                </a:lnTo>
                <a:lnTo>
                  <a:pt x="545" y="1319"/>
                </a:lnTo>
                <a:lnTo>
                  <a:pt x="545" y="1316"/>
                </a:lnTo>
                <a:lnTo>
                  <a:pt x="548" y="1316"/>
                </a:lnTo>
                <a:lnTo>
                  <a:pt x="552" y="1316"/>
                </a:lnTo>
                <a:lnTo>
                  <a:pt x="555" y="1312"/>
                </a:lnTo>
                <a:lnTo>
                  <a:pt x="555" y="1309"/>
                </a:lnTo>
                <a:lnTo>
                  <a:pt x="555" y="1302"/>
                </a:lnTo>
                <a:lnTo>
                  <a:pt x="555" y="1298"/>
                </a:lnTo>
                <a:lnTo>
                  <a:pt x="555" y="1295"/>
                </a:lnTo>
                <a:lnTo>
                  <a:pt x="555" y="1292"/>
                </a:lnTo>
                <a:lnTo>
                  <a:pt x="559" y="1288"/>
                </a:lnTo>
                <a:lnTo>
                  <a:pt x="559" y="1285"/>
                </a:lnTo>
                <a:lnTo>
                  <a:pt x="562" y="1281"/>
                </a:lnTo>
                <a:lnTo>
                  <a:pt x="569" y="1274"/>
                </a:lnTo>
                <a:lnTo>
                  <a:pt x="565" y="1267"/>
                </a:lnTo>
                <a:lnTo>
                  <a:pt x="565" y="1264"/>
                </a:lnTo>
                <a:lnTo>
                  <a:pt x="562" y="1260"/>
                </a:lnTo>
                <a:lnTo>
                  <a:pt x="562" y="1257"/>
                </a:lnTo>
                <a:lnTo>
                  <a:pt x="559" y="1260"/>
                </a:lnTo>
                <a:lnTo>
                  <a:pt x="555" y="1260"/>
                </a:lnTo>
                <a:lnTo>
                  <a:pt x="552" y="1264"/>
                </a:lnTo>
                <a:lnTo>
                  <a:pt x="552" y="1260"/>
                </a:lnTo>
                <a:lnTo>
                  <a:pt x="548" y="1260"/>
                </a:lnTo>
                <a:lnTo>
                  <a:pt x="541" y="1260"/>
                </a:lnTo>
                <a:lnTo>
                  <a:pt x="541" y="1257"/>
                </a:lnTo>
                <a:lnTo>
                  <a:pt x="541" y="1253"/>
                </a:lnTo>
                <a:lnTo>
                  <a:pt x="538" y="1250"/>
                </a:lnTo>
                <a:lnTo>
                  <a:pt x="541" y="1246"/>
                </a:lnTo>
                <a:lnTo>
                  <a:pt x="545" y="1246"/>
                </a:lnTo>
                <a:lnTo>
                  <a:pt x="545" y="1243"/>
                </a:lnTo>
                <a:lnTo>
                  <a:pt x="548" y="1233"/>
                </a:lnTo>
                <a:lnTo>
                  <a:pt x="552" y="1229"/>
                </a:lnTo>
                <a:lnTo>
                  <a:pt x="552" y="1222"/>
                </a:lnTo>
                <a:lnTo>
                  <a:pt x="548" y="1219"/>
                </a:lnTo>
                <a:lnTo>
                  <a:pt x="552" y="1219"/>
                </a:lnTo>
                <a:lnTo>
                  <a:pt x="552" y="1215"/>
                </a:lnTo>
                <a:lnTo>
                  <a:pt x="555" y="1215"/>
                </a:lnTo>
                <a:lnTo>
                  <a:pt x="559" y="1208"/>
                </a:lnTo>
                <a:lnTo>
                  <a:pt x="562" y="1212"/>
                </a:lnTo>
                <a:lnTo>
                  <a:pt x="565" y="1208"/>
                </a:lnTo>
                <a:lnTo>
                  <a:pt x="569" y="1208"/>
                </a:lnTo>
                <a:lnTo>
                  <a:pt x="572" y="1205"/>
                </a:lnTo>
                <a:lnTo>
                  <a:pt x="576" y="1201"/>
                </a:lnTo>
                <a:lnTo>
                  <a:pt x="576" y="1198"/>
                </a:lnTo>
                <a:lnTo>
                  <a:pt x="576" y="1194"/>
                </a:lnTo>
                <a:lnTo>
                  <a:pt x="579" y="1187"/>
                </a:lnTo>
                <a:lnTo>
                  <a:pt x="579" y="1184"/>
                </a:lnTo>
                <a:lnTo>
                  <a:pt x="586" y="1180"/>
                </a:lnTo>
                <a:lnTo>
                  <a:pt x="586" y="1170"/>
                </a:lnTo>
                <a:lnTo>
                  <a:pt x="590" y="1170"/>
                </a:lnTo>
                <a:lnTo>
                  <a:pt x="586" y="1170"/>
                </a:lnTo>
                <a:lnTo>
                  <a:pt x="583" y="1167"/>
                </a:lnTo>
                <a:lnTo>
                  <a:pt x="579" y="1167"/>
                </a:lnTo>
                <a:lnTo>
                  <a:pt x="576" y="1167"/>
                </a:lnTo>
                <a:lnTo>
                  <a:pt x="572" y="1167"/>
                </a:lnTo>
                <a:lnTo>
                  <a:pt x="569" y="1167"/>
                </a:lnTo>
                <a:lnTo>
                  <a:pt x="569" y="1163"/>
                </a:lnTo>
                <a:lnTo>
                  <a:pt x="565" y="1163"/>
                </a:lnTo>
                <a:lnTo>
                  <a:pt x="562" y="1163"/>
                </a:lnTo>
                <a:lnTo>
                  <a:pt x="559" y="1163"/>
                </a:lnTo>
                <a:lnTo>
                  <a:pt x="559" y="1167"/>
                </a:lnTo>
                <a:lnTo>
                  <a:pt x="559" y="1163"/>
                </a:lnTo>
                <a:lnTo>
                  <a:pt x="555" y="1167"/>
                </a:lnTo>
                <a:lnTo>
                  <a:pt x="555" y="1163"/>
                </a:lnTo>
                <a:lnTo>
                  <a:pt x="555" y="1160"/>
                </a:lnTo>
                <a:lnTo>
                  <a:pt x="552" y="1160"/>
                </a:lnTo>
                <a:lnTo>
                  <a:pt x="548" y="1160"/>
                </a:lnTo>
                <a:lnTo>
                  <a:pt x="545" y="1160"/>
                </a:lnTo>
                <a:lnTo>
                  <a:pt x="541" y="1160"/>
                </a:lnTo>
                <a:lnTo>
                  <a:pt x="534" y="1160"/>
                </a:lnTo>
                <a:lnTo>
                  <a:pt x="524" y="1153"/>
                </a:lnTo>
                <a:lnTo>
                  <a:pt x="517" y="1149"/>
                </a:lnTo>
                <a:lnTo>
                  <a:pt x="506" y="1142"/>
                </a:lnTo>
                <a:lnTo>
                  <a:pt x="503" y="1142"/>
                </a:lnTo>
                <a:lnTo>
                  <a:pt x="506" y="1135"/>
                </a:lnTo>
                <a:lnTo>
                  <a:pt x="506" y="1132"/>
                </a:lnTo>
                <a:lnTo>
                  <a:pt x="506" y="1128"/>
                </a:lnTo>
                <a:lnTo>
                  <a:pt x="510" y="1121"/>
                </a:lnTo>
                <a:lnTo>
                  <a:pt x="510" y="1114"/>
                </a:lnTo>
                <a:lnTo>
                  <a:pt x="510" y="1111"/>
                </a:lnTo>
                <a:lnTo>
                  <a:pt x="510" y="1107"/>
                </a:lnTo>
                <a:lnTo>
                  <a:pt x="513" y="1104"/>
                </a:lnTo>
                <a:lnTo>
                  <a:pt x="517" y="1104"/>
                </a:lnTo>
                <a:lnTo>
                  <a:pt x="517" y="1101"/>
                </a:lnTo>
                <a:lnTo>
                  <a:pt x="520" y="1101"/>
                </a:lnTo>
                <a:lnTo>
                  <a:pt x="520" y="1097"/>
                </a:lnTo>
                <a:lnTo>
                  <a:pt x="524" y="1090"/>
                </a:lnTo>
                <a:lnTo>
                  <a:pt x="527" y="1090"/>
                </a:lnTo>
                <a:lnTo>
                  <a:pt x="531" y="1094"/>
                </a:lnTo>
                <a:lnTo>
                  <a:pt x="534" y="1094"/>
                </a:lnTo>
                <a:lnTo>
                  <a:pt x="541" y="1094"/>
                </a:lnTo>
                <a:lnTo>
                  <a:pt x="545" y="1097"/>
                </a:lnTo>
                <a:lnTo>
                  <a:pt x="548" y="1097"/>
                </a:lnTo>
                <a:lnTo>
                  <a:pt x="552" y="1101"/>
                </a:lnTo>
                <a:lnTo>
                  <a:pt x="552" y="1104"/>
                </a:lnTo>
                <a:lnTo>
                  <a:pt x="555" y="1104"/>
                </a:lnTo>
                <a:lnTo>
                  <a:pt x="559" y="1104"/>
                </a:lnTo>
                <a:lnTo>
                  <a:pt x="562" y="1104"/>
                </a:lnTo>
                <a:lnTo>
                  <a:pt x="569" y="1104"/>
                </a:lnTo>
                <a:lnTo>
                  <a:pt x="576" y="1101"/>
                </a:lnTo>
                <a:lnTo>
                  <a:pt x="576" y="1097"/>
                </a:lnTo>
                <a:lnTo>
                  <a:pt x="579" y="1097"/>
                </a:lnTo>
                <a:lnTo>
                  <a:pt x="579" y="1094"/>
                </a:lnTo>
                <a:lnTo>
                  <a:pt x="576" y="1090"/>
                </a:lnTo>
                <a:lnTo>
                  <a:pt x="576" y="1087"/>
                </a:lnTo>
                <a:lnTo>
                  <a:pt x="572" y="1083"/>
                </a:lnTo>
                <a:lnTo>
                  <a:pt x="569" y="1083"/>
                </a:lnTo>
                <a:lnTo>
                  <a:pt x="572" y="1080"/>
                </a:lnTo>
                <a:lnTo>
                  <a:pt x="572" y="1076"/>
                </a:lnTo>
                <a:lnTo>
                  <a:pt x="569" y="1066"/>
                </a:lnTo>
                <a:lnTo>
                  <a:pt x="559" y="1069"/>
                </a:lnTo>
                <a:lnTo>
                  <a:pt x="552" y="1076"/>
                </a:lnTo>
                <a:lnTo>
                  <a:pt x="548" y="1076"/>
                </a:lnTo>
                <a:lnTo>
                  <a:pt x="545" y="1080"/>
                </a:lnTo>
                <a:lnTo>
                  <a:pt x="541" y="1076"/>
                </a:lnTo>
                <a:lnTo>
                  <a:pt x="538" y="1076"/>
                </a:lnTo>
                <a:lnTo>
                  <a:pt x="538" y="1073"/>
                </a:lnTo>
                <a:lnTo>
                  <a:pt x="534" y="1073"/>
                </a:lnTo>
                <a:lnTo>
                  <a:pt x="531" y="1073"/>
                </a:lnTo>
                <a:lnTo>
                  <a:pt x="527" y="1069"/>
                </a:lnTo>
                <a:lnTo>
                  <a:pt x="527" y="1073"/>
                </a:lnTo>
                <a:lnTo>
                  <a:pt x="524" y="1073"/>
                </a:lnTo>
                <a:lnTo>
                  <a:pt x="524" y="1069"/>
                </a:lnTo>
                <a:lnTo>
                  <a:pt x="520" y="1073"/>
                </a:lnTo>
                <a:lnTo>
                  <a:pt x="517" y="1073"/>
                </a:lnTo>
                <a:lnTo>
                  <a:pt x="517" y="1069"/>
                </a:lnTo>
                <a:lnTo>
                  <a:pt x="513" y="1069"/>
                </a:lnTo>
                <a:lnTo>
                  <a:pt x="513" y="1073"/>
                </a:lnTo>
                <a:lnTo>
                  <a:pt x="510" y="1073"/>
                </a:lnTo>
                <a:lnTo>
                  <a:pt x="506" y="1073"/>
                </a:lnTo>
                <a:lnTo>
                  <a:pt x="503" y="1073"/>
                </a:lnTo>
                <a:lnTo>
                  <a:pt x="503" y="1076"/>
                </a:lnTo>
                <a:lnTo>
                  <a:pt x="500" y="1076"/>
                </a:lnTo>
                <a:lnTo>
                  <a:pt x="500" y="1073"/>
                </a:lnTo>
                <a:lnTo>
                  <a:pt x="496" y="1073"/>
                </a:lnTo>
                <a:lnTo>
                  <a:pt x="496" y="1076"/>
                </a:lnTo>
                <a:lnTo>
                  <a:pt x="493" y="1076"/>
                </a:lnTo>
                <a:lnTo>
                  <a:pt x="489" y="1076"/>
                </a:lnTo>
                <a:lnTo>
                  <a:pt x="486" y="1076"/>
                </a:lnTo>
                <a:lnTo>
                  <a:pt x="482" y="1076"/>
                </a:lnTo>
                <a:lnTo>
                  <a:pt x="479" y="1076"/>
                </a:lnTo>
                <a:lnTo>
                  <a:pt x="475" y="1076"/>
                </a:lnTo>
                <a:lnTo>
                  <a:pt x="472" y="1080"/>
                </a:lnTo>
                <a:lnTo>
                  <a:pt x="472" y="1083"/>
                </a:lnTo>
                <a:lnTo>
                  <a:pt x="468" y="1080"/>
                </a:lnTo>
                <a:lnTo>
                  <a:pt x="468" y="1076"/>
                </a:lnTo>
                <a:lnTo>
                  <a:pt x="465" y="1076"/>
                </a:lnTo>
                <a:lnTo>
                  <a:pt x="461" y="1076"/>
                </a:lnTo>
                <a:lnTo>
                  <a:pt x="458" y="1073"/>
                </a:lnTo>
                <a:lnTo>
                  <a:pt x="454" y="1073"/>
                </a:lnTo>
                <a:lnTo>
                  <a:pt x="451" y="1069"/>
                </a:lnTo>
                <a:lnTo>
                  <a:pt x="447" y="1066"/>
                </a:lnTo>
                <a:lnTo>
                  <a:pt x="444" y="1066"/>
                </a:lnTo>
                <a:lnTo>
                  <a:pt x="440" y="1066"/>
                </a:lnTo>
                <a:lnTo>
                  <a:pt x="437" y="1062"/>
                </a:lnTo>
                <a:lnTo>
                  <a:pt x="434" y="1062"/>
                </a:lnTo>
                <a:lnTo>
                  <a:pt x="427" y="1062"/>
                </a:lnTo>
                <a:lnTo>
                  <a:pt x="420" y="1062"/>
                </a:lnTo>
                <a:lnTo>
                  <a:pt x="416" y="1062"/>
                </a:lnTo>
                <a:lnTo>
                  <a:pt x="413" y="1062"/>
                </a:lnTo>
                <a:lnTo>
                  <a:pt x="413" y="1059"/>
                </a:lnTo>
                <a:lnTo>
                  <a:pt x="413" y="1055"/>
                </a:lnTo>
                <a:lnTo>
                  <a:pt x="409" y="1052"/>
                </a:lnTo>
                <a:lnTo>
                  <a:pt x="406" y="1052"/>
                </a:lnTo>
                <a:lnTo>
                  <a:pt x="395" y="1048"/>
                </a:lnTo>
                <a:lnTo>
                  <a:pt x="395" y="1045"/>
                </a:lnTo>
                <a:lnTo>
                  <a:pt x="395" y="1042"/>
                </a:lnTo>
                <a:lnTo>
                  <a:pt x="395" y="1038"/>
                </a:lnTo>
                <a:lnTo>
                  <a:pt x="395" y="1035"/>
                </a:lnTo>
                <a:lnTo>
                  <a:pt x="395" y="1028"/>
                </a:lnTo>
                <a:lnTo>
                  <a:pt x="392" y="1028"/>
                </a:lnTo>
                <a:lnTo>
                  <a:pt x="392" y="1024"/>
                </a:lnTo>
                <a:lnTo>
                  <a:pt x="395" y="1024"/>
                </a:lnTo>
                <a:lnTo>
                  <a:pt x="399" y="1021"/>
                </a:lnTo>
                <a:lnTo>
                  <a:pt x="399" y="1017"/>
                </a:lnTo>
                <a:lnTo>
                  <a:pt x="395" y="1017"/>
                </a:lnTo>
                <a:lnTo>
                  <a:pt x="395" y="1014"/>
                </a:lnTo>
                <a:lnTo>
                  <a:pt x="399" y="1014"/>
                </a:lnTo>
                <a:lnTo>
                  <a:pt x="399" y="1010"/>
                </a:lnTo>
                <a:lnTo>
                  <a:pt x="399" y="1007"/>
                </a:lnTo>
                <a:lnTo>
                  <a:pt x="392" y="996"/>
                </a:lnTo>
                <a:lnTo>
                  <a:pt x="385" y="989"/>
                </a:lnTo>
                <a:lnTo>
                  <a:pt x="385" y="986"/>
                </a:lnTo>
                <a:lnTo>
                  <a:pt x="388" y="986"/>
                </a:lnTo>
                <a:lnTo>
                  <a:pt x="385" y="982"/>
                </a:lnTo>
                <a:lnTo>
                  <a:pt x="381" y="976"/>
                </a:lnTo>
                <a:lnTo>
                  <a:pt x="385" y="972"/>
                </a:lnTo>
                <a:lnTo>
                  <a:pt x="388" y="972"/>
                </a:lnTo>
                <a:lnTo>
                  <a:pt x="388" y="969"/>
                </a:lnTo>
                <a:lnTo>
                  <a:pt x="388" y="962"/>
                </a:lnTo>
                <a:lnTo>
                  <a:pt x="388" y="958"/>
                </a:lnTo>
                <a:lnTo>
                  <a:pt x="392" y="951"/>
                </a:lnTo>
                <a:lnTo>
                  <a:pt x="388" y="948"/>
                </a:lnTo>
                <a:lnTo>
                  <a:pt x="388" y="944"/>
                </a:lnTo>
                <a:lnTo>
                  <a:pt x="388" y="941"/>
                </a:lnTo>
                <a:lnTo>
                  <a:pt x="395" y="941"/>
                </a:lnTo>
                <a:lnTo>
                  <a:pt x="392" y="934"/>
                </a:lnTo>
                <a:lnTo>
                  <a:pt x="392" y="930"/>
                </a:lnTo>
                <a:lnTo>
                  <a:pt x="388" y="927"/>
                </a:lnTo>
                <a:lnTo>
                  <a:pt x="392" y="927"/>
                </a:lnTo>
                <a:lnTo>
                  <a:pt x="388" y="917"/>
                </a:lnTo>
                <a:lnTo>
                  <a:pt x="388" y="910"/>
                </a:lnTo>
                <a:lnTo>
                  <a:pt x="392" y="906"/>
                </a:lnTo>
                <a:lnTo>
                  <a:pt x="388" y="906"/>
                </a:lnTo>
                <a:lnTo>
                  <a:pt x="392" y="906"/>
                </a:lnTo>
                <a:lnTo>
                  <a:pt x="392" y="903"/>
                </a:lnTo>
                <a:lnTo>
                  <a:pt x="395" y="899"/>
                </a:lnTo>
                <a:lnTo>
                  <a:pt x="399" y="899"/>
                </a:lnTo>
                <a:lnTo>
                  <a:pt x="402" y="896"/>
                </a:lnTo>
                <a:lnTo>
                  <a:pt x="406" y="896"/>
                </a:lnTo>
                <a:lnTo>
                  <a:pt x="409" y="896"/>
                </a:lnTo>
                <a:lnTo>
                  <a:pt x="413" y="899"/>
                </a:lnTo>
                <a:lnTo>
                  <a:pt x="413" y="903"/>
                </a:lnTo>
                <a:lnTo>
                  <a:pt x="420" y="903"/>
                </a:lnTo>
                <a:lnTo>
                  <a:pt x="427" y="903"/>
                </a:lnTo>
                <a:lnTo>
                  <a:pt x="430" y="906"/>
                </a:lnTo>
                <a:lnTo>
                  <a:pt x="434" y="910"/>
                </a:lnTo>
                <a:lnTo>
                  <a:pt x="430" y="913"/>
                </a:lnTo>
                <a:lnTo>
                  <a:pt x="434" y="917"/>
                </a:lnTo>
                <a:lnTo>
                  <a:pt x="434" y="920"/>
                </a:lnTo>
                <a:lnTo>
                  <a:pt x="437" y="917"/>
                </a:lnTo>
                <a:lnTo>
                  <a:pt x="440" y="920"/>
                </a:lnTo>
                <a:lnTo>
                  <a:pt x="444" y="920"/>
                </a:lnTo>
                <a:lnTo>
                  <a:pt x="447" y="923"/>
                </a:lnTo>
                <a:lnTo>
                  <a:pt x="447" y="920"/>
                </a:lnTo>
                <a:lnTo>
                  <a:pt x="447" y="917"/>
                </a:lnTo>
                <a:lnTo>
                  <a:pt x="451" y="917"/>
                </a:lnTo>
                <a:lnTo>
                  <a:pt x="451" y="913"/>
                </a:lnTo>
                <a:lnTo>
                  <a:pt x="451" y="910"/>
                </a:lnTo>
                <a:lnTo>
                  <a:pt x="451" y="906"/>
                </a:lnTo>
                <a:lnTo>
                  <a:pt x="447" y="906"/>
                </a:lnTo>
                <a:lnTo>
                  <a:pt x="451" y="906"/>
                </a:lnTo>
                <a:lnTo>
                  <a:pt x="451" y="903"/>
                </a:lnTo>
                <a:lnTo>
                  <a:pt x="454" y="903"/>
                </a:lnTo>
                <a:lnTo>
                  <a:pt x="451" y="899"/>
                </a:lnTo>
                <a:lnTo>
                  <a:pt x="458" y="892"/>
                </a:lnTo>
                <a:lnTo>
                  <a:pt x="454" y="889"/>
                </a:lnTo>
                <a:lnTo>
                  <a:pt x="458" y="885"/>
                </a:lnTo>
                <a:lnTo>
                  <a:pt x="454" y="882"/>
                </a:lnTo>
                <a:lnTo>
                  <a:pt x="444" y="878"/>
                </a:lnTo>
                <a:lnTo>
                  <a:pt x="440" y="878"/>
                </a:lnTo>
                <a:lnTo>
                  <a:pt x="437" y="875"/>
                </a:lnTo>
                <a:lnTo>
                  <a:pt x="434" y="875"/>
                </a:lnTo>
                <a:lnTo>
                  <a:pt x="430" y="871"/>
                </a:lnTo>
                <a:lnTo>
                  <a:pt x="427" y="871"/>
                </a:lnTo>
                <a:lnTo>
                  <a:pt x="423" y="864"/>
                </a:lnTo>
                <a:lnTo>
                  <a:pt x="420" y="868"/>
                </a:lnTo>
                <a:lnTo>
                  <a:pt x="420" y="864"/>
                </a:lnTo>
                <a:lnTo>
                  <a:pt x="413" y="864"/>
                </a:lnTo>
                <a:lnTo>
                  <a:pt x="409" y="864"/>
                </a:lnTo>
                <a:lnTo>
                  <a:pt x="409" y="861"/>
                </a:lnTo>
                <a:lnTo>
                  <a:pt x="406" y="861"/>
                </a:lnTo>
                <a:lnTo>
                  <a:pt x="402" y="857"/>
                </a:lnTo>
                <a:lnTo>
                  <a:pt x="402" y="854"/>
                </a:lnTo>
                <a:lnTo>
                  <a:pt x="406" y="851"/>
                </a:lnTo>
                <a:lnTo>
                  <a:pt x="406" y="847"/>
                </a:lnTo>
                <a:lnTo>
                  <a:pt x="402" y="844"/>
                </a:lnTo>
                <a:lnTo>
                  <a:pt x="402" y="847"/>
                </a:lnTo>
                <a:lnTo>
                  <a:pt x="399" y="847"/>
                </a:lnTo>
                <a:lnTo>
                  <a:pt x="395" y="847"/>
                </a:lnTo>
                <a:lnTo>
                  <a:pt x="392" y="847"/>
                </a:lnTo>
                <a:lnTo>
                  <a:pt x="388" y="851"/>
                </a:lnTo>
                <a:lnTo>
                  <a:pt x="392" y="854"/>
                </a:lnTo>
                <a:lnTo>
                  <a:pt x="388" y="854"/>
                </a:lnTo>
                <a:lnTo>
                  <a:pt x="388" y="857"/>
                </a:lnTo>
                <a:lnTo>
                  <a:pt x="392" y="857"/>
                </a:lnTo>
                <a:lnTo>
                  <a:pt x="388" y="861"/>
                </a:lnTo>
                <a:lnTo>
                  <a:pt x="385" y="857"/>
                </a:lnTo>
                <a:lnTo>
                  <a:pt x="381" y="861"/>
                </a:lnTo>
                <a:lnTo>
                  <a:pt x="378" y="864"/>
                </a:lnTo>
                <a:lnTo>
                  <a:pt x="371" y="864"/>
                </a:lnTo>
                <a:lnTo>
                  <a:pt x="368" y="864"/>
                </a:lnTo>
                <a:lnTo>
                  <a:pt x="364" y="868"/>
                </a:lnTo>
                <a:lnTo>
                  <a:pt x="364" y="864"/>
                </a:lnTo>
                <a:lnTo>
                  <a:pt x="361" y="864"/>
                </a:lnTo>
                <a:lnTo>
                  <a:pt x="357" y="868"/>
                </a:lnTo>
                <a:lnTo>
                  <a:pt x="354" y="871"/>
                </a:lnTo>
                <a:lnTo>
                  <a:pt x="350" y="868"/>
                </a:lnTo>
                <a:lnTo>
                  <a:pt x="347" y="875"/>
                </a:lnTo>
                <a:lnTo>
                  <a:pt x="343" y="875"/>
                </a:lnTo>
                <a:lnTo>
                  <a:pt x="340" y="875"/>
                </a:lnTo>
                <a:lnTo>
                  <a:pt x="340" y="878"/>
                </a:lnTo>
                <a:lnTo>
                  <a:pt x="336" y="878"/>
                </a:lnTo>
                <a:lnTo>
                  <a:pt x="333" y="882"/>
                </a:lnTo>
                <a:lnTo>
                  <a:pt x="329" y="882"/>
                </a:lnTo>
                <a:lnTo>
                  <a:pt x="329" y="885"/>
                </a:lnTo>
                <a:lnTo>
                  <a:pt x="319" y="885"/>
                </a:lnTo>
                <a:lnTo>
                  <a:pt x="315" y="885"/>
                </a:lnTo>
                <a:lnTo>
                  <a:pt x="312" y="885"/>
                </a:lnTo>
                <a:lnTo>
                  <a:pt x="305" y="885"/>
                </a:lnTo>
                <a:lnTo>
                  <a:pt x="305" y="882"/>
                </a:lnTo>
                <a:lnTo>
                  <a:pt x="298" y="885"/>
                </a:lnTo>
                <a:lnTo>
                  <a:pt x="295" y="889"/>
                </a:lnTo>
                <a:lnTo>
                  <a:pt x="291" y="889"/>
                </a:lnTo>
                <a:lnTo>
                  <a:pt x="291" y="885"/>
                </a:lnTo>
                <a:lnTo>
                  <a:pt x="288" y="882"/>
                </a:lnTo>
                <a:lnTo>
                  <a:pt x="291" y="882"/>
                </a:lnTo>
                <a:lnTo>
                  <a:pt x="288" y="878"/>
                </a:lnTo>
                <a:lnTo>
                  <a:pt x="288" y="875"/>
                </a:lnTo>
                <a:lnTo>
                  <a:pt x="288" y="871"/>
                </a:lnTo>
                <a:lnTo>
                  <a:pt x="291" y="871"/>
                </a:lnTo>
                <a:lnTo>
                  <a:pt x="291" y="868"/>
                </a:lnTo>
                <a:lnTo>
                  <a:pt x="295" y="864"/>
                </a:lnTo>
                <a:lnTo>
                  <a:pt x="295" y="861"/>
                </a:lnTo>
                <a:lnTo>
                  <a:pt x="291" y="861"/>
                </a:lnTo>
                <a:lnTo>
                  <a:pt x="288" y="864"/>
                </a:lnTo>
                <a:lnTo>
                  <a:pt x="284" y="864"/>
                </a:lnTo>
                <a:lnTo>
                  <a:pt x="281" y="868"/>
                </a:lnTo>
                <a:lnTo>
                  <a:pt x="277" y="868"/>
                </a:lnTo>
                <a:lnTo>
                  <a:pt x="274" y="868"/>
                </a:lnTo>
                <a:lnTo>
                  <a:pt x="274" y="864"/>
                </a:lnTo>
                <a:lnTo>
                  <a:pt x="274" y="861"/>
                </a:lnTo>
                <a:lnTo>
                  <a:pt x="270" y="861"/>
                </a:lnTo>
                <a:lnTo>
                  <a:pt x="267" y="861"/>
                </a:lnTo>
                <a:lnTo>
                  <a:pt x="263" y="861"/>
                </a:lnTo>
                <a:lnTo>
                  <a:pt x="260" y="861"/>
                </a:lnTo>
                <a:lnTo>
                  <a:pt x="260" y="857"/>
                </a:lnTo>
                <a:lnTo>
                  <a:pt x="256" y="857"/>
                </a:lnTo>
                <a:lnTo>
                  <a:pt x="253" y="861"/>
                </a:lnTo>
                <a:lnTo>
                  <a:pt x="253" y="857"/>
                </a:lnTo>
                <a:lnTo>
                  <a:pt x="250" y="857"/>
                </a:lnTo>
                <a:lnTo>
                  <a:pt x="250" y="854"/>
                </a:lnTo>
                <a:lnTo>
                  <a:pt x="250" y="851"/>
                </a:lnTo>
                <a:lnTo>
                  <a:pt x="250" y="854"/>
                </a:lnTo>
                <a:lnTo>
                  <a:pt x="246" y="851"/>
                </a:lnTo>
                <a:lnTo>
                  <a:pt x="246" y="854"/>
                </a:lnTo>
                <a:lnTo>
                  <a:pt x="243" y="854"/>
                </a:lnTo>
                <a:lnTo>
                  <a:pt x="239" y="851"/>
                </a:lnTo>
                <a:lnTo>
                  <a:pt x="236" y="847"/>
                </a:lnTo>
                <a:lnTo>
                  <a:pt x="239" y="844"/>
                </a:lnTo>
                <a:lnTo>
                  <a:pt x="236" y="840"/>
                </a:lnTo>
                <a:lnTo>
                  <a:pt x="229" y="840"/>
                </a:lnTo>
                <a:lnTo>
                  <a:pt x="225" y="840"/>
                </a:lnTo>
                <a:lnTo>
                  <a:pt x="229" y="837"/>
                </a:lnTo>
                <a:lnTo>
                  <a:pt x="229" y="833"/>
                </a:lnTo>
                <a:lnTo>
                  <a:pt x="225" y="830"/>
                </a:lnTo>
                <a:lnTo>
                  <a:pt x="225" y="826"/>
                </a:lnTo>
                <a:lnTo>
                  <a:pt x="225" y="823"/>
                </a:lnTo>
                <a:lnTo>
                  <a:pt x="222" y="823"/>
                </a:lnTo>
                <a:lnTo>
                  <a:pt x="218" y="826"/>
                </a:lnTo>
                <a:lnTo>
                  <a:pt x="215" y="826"/>
                </a:lnTo>
                <a:lnTo>
                  <a:pt x="218" y="823"/>
                </a:lnTo>
                <a:lnTo>
                  <a:pt x="218" y="819"/>
                </a:lnTo>
                <a:lnTo>
                  <a:pt x="218" y="816"/>
                </a:lnTo>
                <a:lnTo>
                  <a:pt x="218" y="812"/>
                </a:lnTo>
                <a:lnTo>
                  <a:pt x="215" y="812"/>
                </a:lnTo>
                <a:lnTo>
                  <a:pt x="211" y="816"/>
                </a:lnTo>
                <a:lnTo>
                  <a:pt x="208" y="819"/>
                </a:lnTo>
                <a:lnTo>
                  <a:pt x="204" y="819"/>
                </a:lnTo>
                <a:lnTo>
                  <a:pt x="201" y="819"/>
                </a:lnTo>
                <a:lnTo>
                  <a:pt x="197" y="816"/>
                </a:lnTo>
                <a:lnTo>
                  <a:pt x="194" y="816"/>
                </a:lnTo>
                <a:lnTo>
                  <a:pt x="191" y="816"/>
                </a:lnTo>
                <a:lnTo>
                  <a:pt x="191" y="823"/>
                </a:lnTo>
                <a:lnTo>
                  <a:pt x="187" y="823"/>
                </a:lnTo>
                <a:lnTo>
                  <a:pt x="184" y="823"/>
                </a:lnTo>
                <a:lnTo>
                  <a:pt x="180" y="823"/>
                </a:lnTo>
                <a:lnTo>
                  <a:pt x="177" y="826"/>
                </a:lnTo>
                <a:lnTo>
                  <a:pt x="166" y="830"/>
                </a:lnTo>
                <a:lnTo>
                  <a:pt x="163" y="830"/>
                </a:lnTo>
                <a:lnTo>
                  <a:pt x="156" y="819"/>
                </a:lnTo>
                <a:lnTo>
                  <a:pt x="152" y="819"/>
                </a:lnTo>
                <a:lnTo>
                  <a:pt x="149" y="816"/>
                </a:lnTo>
                <a:lnTo>
                  <a:pt x="145" y="819"/>
                </a:lnTo>
                <a:lnTo>
                  <a:pt x="145" y="816"/>
                </a:lnTo>
                <a:lnTo>
                  <a:pt x="138" y="816"/>
                </a:lnTo>
                <a:lnTo>
                  <a:pt x="135" y="819"/>
                </a:lnTo>
                <a:lnTo>
                  <a:pt x="125" y="830"/>
                </a:lnTo>
                <a:lnTo>
                  <a:pt x="118" y="833"/>
                </a:lnTo>
                <a:lnTo>
                  <a:pt x="118" y="837"/>
                </a:lnTo>
                <a:lnTo>
                  <a:pt x="114" y="840"/>
                </a:lnTo>
                <a:lnTo>
                  <a:pt x="111" y="847"/>
                </a:lnTo>
                <a:lnTo>
                  <a:pt x="107" y="851"/>
                </a:lnTo>
                <a:lnTo>
                  <a:pt x="107" y="854"/>
                </a:lnTo>
                <a:lnTo>
                  <a:pt x="107" y="857"/>
                </a:lnTo>
                <a:lnTo>
                  <a:pt x="104" y="857"/>
                </a:lnTo>
                <a:lnTo>
                  <a:pt x="104" y="861"/>
                </a:lnTo>
                <a:lnTo>
                  <a:pt x="104" y="864"/>
                </a:lnTo>
                <a:lnTo>
                  <a:pt x="100" y="864"/>
                </a:lnTo>
                <a:lnTo>
                  <a:pt x="97" y="864"/>
                </a:lnTo>
                <a:lnTo>
                  <a:pt x="97" y="861"/>
                </a:lnTo>
                <a:lnTo>
                  <a:pt x="93" y="861"/>
                </a:lnTo>
                <a:lnTo>
                  <a:pt x="90" y="861"/>
                </a:lnTo>
                <a:lnTo>
                  <a:pt x="83" y="861"/>
                </a:lnTo>
                <a:lnTo>
                  <a:pt x="79" y="857"/>
                </a:lnTo>
                <a:lnTo>
                  <a:pt x="79" y="854"/>
                </a:lnTo>
                <a:lnTo>
                  <a:pt x="79" y="851"/>
                </a:lnTo>
                <a:lnTo>
                  <a:pt x="79" y="847"/>
                </a:lnTo>
                <a:lnTo>
                  <a:pt x="79" y="844"/>
                </a:lnTo>
                <a:lnTo>
                  <a:pt x="76" y="844"/>
                </a:lnTo>
                <a:lnTo>
                  <a:pt x="76" y="840"/>
                </a:lnTo>
                <a:lnTo>
                  <a:pt x="72" y="837"/>
                </a:lnTo>
                <a:lnTo>
                  <a:pt x="69" y="833"/>
                </a:lnTo>
                <a:lnTo>
                  <a:pt x="66" y="830"/>
                </a:lnTo>
                <a:lnTo>
                  <a:pt x="66" y="826"/>
                </a:lnTo>
                <a:lnTo>
                  <a:pt x="62" y="826"/>
                </a:lnTo>
                <a:lnTo>
                  <a:pt x="59" y="823"/>
                </a:lnTo>
                <a:lnTo>
                  <a:pt x="55" y="819"/>
                </a:lnTo>
                <a:lnTo>
                  <a:pt x="52" y="816"/>
                </a:lnTo>
                <a:lnTo>
                  <a:pt x="48" y="812"/>
                </a:lnTo>
                <a:lnTo>
                  <a:pt x="41" y="809"/>
                </a:lnTo>
                <a:lnTo>
                  <a:pt x="41" y="805"/>
                </a:lnTo>
                <a:lnTo>
                  <a:pt x="38" y="805"/>
                </a:lnTo>
                <a:lnTo>
                  <a:pt x="34" y="798"/>
                </a:lnTo>
                <a:lnTo>
                  <a:pt x="31" y="798"/>
                </a:lnTo>
                <a:lnTo>
                  <a:pt x="27" y="795"/>
                </a:lnTo>
                <a:lnTo>
                  <a:pt x="24" y="791"/>
                </a:lnTo>
                <a:lnTo>
                  <a:pt x="17" y="785"/>
                </a:lnTo>
                <a:lnTo>
                  <a:pt x="13" y="781"/>
                </a:lnTo>
                <a:lnTo>
                  <a:pt x="10" y="778"/>
                </a:lnTo>
                <a:lnTo>
                  <a:pt x="10" y="774"/>
                </a:lnTo>
                <a:lnTo>
                  <a:pt x="6" y="771"/>
                </a:lnTo>
                <a:lnTo>
                  <a:pt x="3" y="767"/>
                </a:lnTo>
                <a:lnTo>
                  <a:pt x="3" y="764"/>
                </a:lnTo>
                <a:lnTo>
                  <a:pt x="3" y="760"/>
                </a:lnTo>
                <a:lnTo>
                  <a:pt x="3" y="757"/>
                </a:lnTo>
                <a:lnTo>
                  <a:pt x="0" y="750"/>
                </a:lnTo>
                <a:lnTo>
                  <a:pt x="0" y="746"/>
                </a:lnTo>
                <a:lnTo>
                  <a:pt x="0" y="743"/>
                </a:lnTo>
                <a:lnTo>
                  <a:pt x="0" y="739"/>
                </a:lnTo>
                <a:lnTo>
                  <a:pt x="0" y="736"/>
                </a:lnTo>
                <a:lnTo>
                  <a:pt x="0" y="732"/>
                </a:lnTo>
                <a:lnTo>
                  <a:pt x="3" y="732"/>
                </a:lnTo>
                <a:lnTo>
                  <a:pt x="3" y="729"/>
                </a:lnTo>
                <a:lnTo>
                  <a:pt x="6" y="726"/>
                </a:lnTo>
                <a:lnTo>
                  <a:pt x="6" y="722"/>
                </a:lnTo>
                <a:lnTo>
                  <a:pt x="6" y="719"/>
                </a:lnTo>
                <a:lnTo>
                  <a:pt x="6" y="715"/>
                </a:lnTo>
                <a:lnTo>
                  <a:pt x="10" y="715"/>
                </a:lnTo>
                <a:lnTo>
                  <a:pt x="13" y="715"/>
                </a:lnTo>
                <a:lnTo>
                  <a:pt x="17" y="715"/>
                </a:lnTo>
                <a:lnTo>
                  <a:pt x="20" y="715"/>
                </a:lnTo>
                <a:lnTo>
                  <a:pt x="20" y="719"/>
                </a:lnTo>
                <a:lnTo>
                  <a:pt x="24" y="719"/>
                </a:lnTo>
                <a:lnTo>
                  <a:pt x="24" y="722"/>
                </a:lnTo>
                <a:lnTo>
                  <a:pt x="27" y="722"/>
                </a:lnTo>
                <a:lnTo>
                  <a:pt x="27" y="719"/>
                </a:lnTo>
                <a:lnTo>
                  <a:pt x="31" y="715"/>
                </a:lnTo>
                <a:lnTo>
                  <a:pt x="31" y="712"/>
                </a:lnTo>
                <a:lnTo>
                  <a:pt x="34" y="708"/>
                </a:lnTo>
                <a:lnTo>
                  <a:pt x="34" y="705"/>
                </a:lnTo>
                <a:lnTo>
                  <a:pt x="34" y="701"/>
                </a:lnTo>
                <a:lnTo>
                  <a:pt x="34" y="698"/>
                </a:lnTo>
                <a:lnTo>
                  <a:pt x="34" y="694"/>
                </a:lnTo>
                <a:lnTo>
                  <a:pt x="38" y="694"/>
                </a:lnTo>
                <a:lnTo>
                  <a:pt x="41" y="691"/>
                </a:lnTo>
                <a:lnTo>
                  <a:pt x="45" y="691"/>
                </a:lnTo>
                <a:lnTo>
                  <a:pt x="48" y="687"/>
                </a:lnTo>
                <a:lnTo>
                  <a:pt x="52" y="687"/>
                </a:lnTo>
                <a:lnTo>
                  <a:pt x="55" y="687"/>
                </a:lnTo>
                <a:lnTo>
                  <a:pt x="59" y="687"/>
                </a:lnTo>
                <a:lnTo>
                  <a:pt x="62" y="684"/>
                </a:lnTo>
                <a:lnTo>
                  <a:pt x="62" y="680"/>
                </a:lnTo>
                <a:lnTo>
                  <a:pt x="62" y="677"/>
                </a:lnTo>
                <a:lnTo>
                  <a:pt x="62" y="673"/>
                </a:lnTo>
                <a:lnTo>
                  <a:pt x="66" y="673"/>
                </a:lnTo>
                <a:lnTo>
                  <a:pt x="69" y="673"/>
                </a:lnTo>
                <a:lnTo>
                  <a:pt x="72" y="673"/>
                </a:lnTo>
                <a:lnTo>
                  <a:pt x="72" y="670"/>
                </a:lnTo>
                <a:lnTo>
                  <a:pt x="72" y="666"/>
                </a:lnTo>
                <a:lnTo>
                  <a:pt x="72" y="663"/>
                </a:lnTo>
                <a:lnTo>
                  <a:pt x="76" y="660"/>
                </a:lnTo>
                <a:lnTo>
                  <a:pt x="79" y="656"/>
                </a:lnTo>
                <a:lnTo>
                  <a:pt x="79" y="653"/>
                </a:lnTo>
                <a:lnTo>
                  <a:pt x="83" y="642"/>
                </a:lnTo>
                <a:lnTo>
                  <a:pt x="83" y="639"/>
                </a:lnTo>
                <a:lnTo>
                  <a:pt x="86" y="639"/>
                </a:lnTo>
                <a:lnTo>
                  <a:pt x="86" y="635"/>
                </a:lnTo>
                <a:lnTo>
                  <a:pt x="90" y="635"/>
                </a:lnTo>
                <a:lnTo>
                  <a:pt x="90" y="632"/>
                </a:lnTo>
                <a:lnTo>
                  <a:pt x="97" y="632"/>
                </a:lnTo>
                <a:lnTo>
                  <a:pt x="104" y="632"/>
                </a:lnTo>
                <a:lnTo>
                  <a:pt x="111" y="632"/>
                </a:lnTo>
                <a:lnTo>
                  <a:pt x="118" y="628"/>
                </a:lnTo>
                <a:lnTo>
                  <a:pt x="121" y="628"/>
                </a:lnTo>
                <a:lnTo>
                  <a:pt x="125" y="628"/>
                </a:lnTo>
                <a:lnTo>
                  <a:pt x="128" y="628"/>
                </a:lnTo>
                <a:lnTo>
                  <a:pt x="131" y="628"/>
                </a:lnTo>
                <a:lnTo>
                  <a:pt x="135" y="628"/>
                </a:lnTo>
                <a:lnTo>
                  <a:pt x="142" y="628"/>
                </a:lnTo>
                <a:lnTo>
                  <a:pt x="145" y="628"/>
                </a:lnTo>
                <a:lnTo>
                  <a:pt x="149" y="628"/>
                </a:lnTo>
                <a:lnTo>
                  <a:pt x="149" y="625"/>
                </a:lnTo>
                <a:lnTo>
                  <a:pt x="152" y="625"/>
                </a:lnTo>
                <a:lnTo>
                  <a:pt x="159" y="621"/>
                </a:lnTo>
                <a:lnTo>
                  <a:pt x="159" y="618"/>
                </a:lnTo>
                <a:lnTo>
                  <a:pt x="163" y="614"/>
                </a:lnTo>
                <a:lnTo>
                  <a:pt x="166" y="611"/>
                </a:lnTo>
                <a:lnTo>
                  <a:pt x="173" y="607"/>
                </a:lnTo>
                <a:lnTo>
                  <a:pt x="180" y="597"/>
                </a:lnTo>
                <a:lnTo>
                  <a:pt x="184" y="594"/>
                </a:lnTo>
                <a:lnTo>
                  <a:pt x="187" y="590"/>
                </a:lnTo>
                <a:lnTo>
                  <a:pt x="187" y="587"/>
                </a:lnTo>
                <a:lnTo>
                  <a:pt x="191" y="580"/>
                </a:lnTo>
                <a:lnTo>
                  <a:pt x="194" y="576"/>
                </a:lnTo>
                <a:lnTo>
                  <a:pt x="197" y="573"/>
                </a:lnTo>
                <a:lnTo>
                  <a:pt x="201" y="569"/>
                </a:lnTo>
                <a:lnTo>
                  <a:pt x="208" y="569"/>
                </a:lnTo>
                <a:lnTo>
                  <a:pt x="211" y="569"/>
                </a:lnTo>
                <a:lnTo>
                  <a:pt x="211" y="566"/>
                </a:lnTo>
                <a:lnTo>
                  <a:pt x="215" y="566"/>
                </a:lnTo>
                <a:lnTo>
                  <a:pt x="218" y="566"/>
                </a:lnTo>
                <a:lnTo>
                  <a:pt x="222" y="566"/>
                </a:lnTo>
                <a:lnTo>
                  <a:pt x="225" y="562"/>
                </a:lnTo>
                <a:lnTo>
                  <a:pt x="229" y="562"/>
                </a:lnTo>
                <a:lnTo>
                  <a:pt x="229" y="559"/>
                </a:lnTo>
                <a:lnTo>
                  <a:pt x="232" y="559"/>
                </a:lnTo>
                <a:lnTo>
                  <a:pt x="236" y="555"/>
                </a:lnTo>
                <a:lnTo>
                  <a:pt x="243" y="552"/>
                </a:lnTo>
                <a:lnTo>
                  <a:pt x="246" y="548"/>
                </a:lnTo>
                <a:lnTo>
                  <a:pt x="250" y="548"/>
                </a:lnTo>
                <a:lnTo>
                  <a:pt x="253" y="548"/>
                </a:lnTo>
                <a:lnTo>
                  <a:pt x="256" y="548"/>
                </a:lnTo>
                <a:lnTo>
                  <a:pt x="260" y="552"/>
                </a:lnTo>
                <a:lnTo>
                  <a:pt x="267" y="552"/>
                </a:lnTo>
                <a:lnTo>
                  <a:pt x="274" y="552"/>
                </a:lnTo>
                <a:lnTo>
                  <a:pt x="277" y="548"/>
                </a:lnTo>
                <a:lnTo>
                  <a:pt x="281" y="548"/>
                </a:lnTo>
                <a:lnTo>
                  <a:pt x="288" y="545"/>
                </a:lnTo>
                <a:lnTo>
                  <a:pt x="291" y="545"/>
                </a:lnTo>
                <a:lnTo>
                  <a:pt x="298" y="538"/>
                </a:lnTo>
                <a:lnTo>
                  <a:pt x="305" y="535"/>
                </a:lnTo>
                <a:lnTo>
                  <a:pt x="309" y="535"/>
                </a:lnTo>
                <a:lnTo>
                  <a:pt x="309" y="531"/>
                </a:lnTo>
                <a:lnTo>
                  <a:pt x="315" y="531"/>
                </a:lnTo>
                <a:lnTo>
                  <a:pt x="319" y="531"/>
                </a:lnTo>
                <a:lnTo>
                  <a:pt x="326" y="531"/>
                </a:lnTo>
                <a:lnTo>
                  <a:pt x="329" y="531"/>
                </a:lnTo>
                <a:lnTo>
                  <a:pt x="336" y="531"/>
                </a:lnTo>
                <a:lnTo>
                  <a:pt x="340" y="531"/>
                </a:lnTo>
                <a:lnTo>
                  <a:pt x="361" y="535"/>
                </a:lnTo>
                <a:lnTo>
                  <a:pt x="368" y="535"/>
                </a:lnTo>
                <a:lnTo>
                  <a:pt x="371" y="535"/>
                </a:lnTo>
                <a:lnTo>
                  <a:pt x="375" y="531"/>
                </a:lnTo>
                <a:lnTo>
                  <a:pt x="392" y="521"/>
                </a:lnTo>
                <a:lnTo>
                  <a:pt x="395" y="517"/>
                </a:lnTo>
                <a:lnTo>
                  <a:pt x="402" y="514"/>
                </a:lnTo>
                <a:lnTo>
                  <a:pt x="416" y="507"/>
                </a:lnTo>
                <a:lnTo>
                  <a:pt x="423" y="503"/>
                </a:lnTo>
                <a:lnTo>
                  <a:pt x="423" y="500"/>
                </a:lnTo>
                <a:lnTo>
                  <a:pt x="430" y="496"/>
                </a:lnTo>
                <a:lnTo>
                  <a:pt x="434" y="493"/>
                </a:lnTo>
                <a:lnTo>
                  <a:pt x="434" y="489"/>
                </a:lnTo>
                <a:lnTo>
                  <a:pt x="437" y="489"/>
                </a:lnTo>
                <a:lnTo>
                  <a:pt x="440" y="482"/>
                </a:lnTo>
                <a:lnTo>
                  <a:pt x="444" y="482"/>
                </a:lnTo>
                <a:lnTo>
                  <a:pt x="447" y="475"/>
                </a:lnTo>
                <a:lnTo>
                  <a:pt x="451" y="472"/>
                </a:lnTo>
                <a:lnTo>
                  <a:pt x="451" y="469"/>
                </a:lnTo>
                <a:lnTo>
                  <a:pt x="454" y="465"/>
                </a:lnTo>
                <a:lnTo>
                  <a:pt x="458" y="465"/>
                </a:lnTo>
                <a:lnTo>
                  <a:pt x="479" y="451"/>
                </a:lnTo>
                <a:lnTo>
                  <a:pt x="482" y="448"/>
                </a:lnTo>
                <a:lnTo>
                  <a:pt x="482" y="444"/>
                </a:lnTo>
                <a:lnTo>
                  <a:pt x="486" y="444"/>
                </a:lnTo>
                <a:lnTo>
                  <a:pt x="486" y="441"/>
                </a:lnTo>
                <a:lnTo>
                  <a:pt x="489" y="437"/>
                </a:lnTo>
                <a:lnTo>
                  <a:pt x="489" y="434"/>
                </a:lnTo>
                <a:lnTo>
                  <a:pt x="493" y="434"/>
                </a:lnTo>
                <a:lnTo>
                  <a:pt x="493" y="430"/>
                </a:lnTo>
                <a:lnTo>
                  <a:pt x="493" y="427"/>
                </a:lnTo>
                <a:lnTo>
                  <a:pt x="493" y="420"/>
                </a:lnTo>
                <a:lnTo>
                  <a:pt x="493" y="416"/>
                </a:lnTo>
                <a:lnTo>
                  <a:pt x="493" y="413"/>
                </a:lnTo>
                <a:lnTo>
                  <a:pt x="496" y="406"/>
                </a:lnTo>
                <a:lnTo>
                  <a:pt x="496" y="403"/>
                </a:lnTo>
                <a:lnTo>
                  <a:pt x="503" y="385"/>
                </a:lnTo>
                <a:lnTo>
                  <a:pt x="506" y="382"/>
                </a:lnTo>
                <a:lnTo>
                  <a:pt x="506" y="378"/>
                </a:lnTo>
                <a:lnTo>
                  <a:pt x="506" y="375"/>
                </a:lnTo>
                <a:lnTo>
                  <a:pt x="506" y="371"/>
                </a:lnTo>
                <a:lnTo>
                  <a:pt x="506" y="368"/>
                </a:lnTo>
                <a:lnTo>
                  <a:pt x="503" y="364"/>
                </a:lnTo>
                <a:lnTo>
                  <a:pt x="500" y="361"/>
                </a:lnTo>
                <a:lnTo>
                  <a:pt x="500" y="357"/>
                </a:lnTo>
                <a:lnTo>
                  <a:pt x="500" y="354"/>
                </a:lnTo>
                <a:lnTo>
                  <a:pt x="496" y="354"/>
                </a:lnTo>
                <a:lnTo>
                  <a:pt x="496" y="350"/>
                </a:lnTo>
                <a:lnTo>
                  <a:pt x="500" y="350"/>
                </a:lnTo>
                <a:lnTo>
                  <a:pt x="500" y="347"/>
                </a:lnTo>
                <a:lnTo>
                  <a:pt x="503" y="340"/>
                </a:lnTo>
                <a:lnTo>
                  <a:pt x="506" y="333"/>
                </a:lnTo>
                <a:lnTo>
                  <a:pt x="506" y="330"/>
                </a:lnTo>
                <a:lnTo>
                  <a:pt x="510" y="319"/>
                </a:lnTo>
                <a:lnTo>
                  <a:pt x="513" y="316"/>
                </a:lnTo>
                <a:lnTo>
                  <a:pt x="513" y="312"/>
                </a:lnTo>
                <a:lnTo>
                  <a:pt x="513" y="309"/>
                </a:lnTo>
                <a:lnTo>
                  <a:pt x="513" y="305"/>
                </a:lnTo>
                <a:lnTo>
                  <a:pt x="517" y="298"/>
                </a:lnTo>
                <a:lnTo>
                  <a:pt x="520" y="291"/>
                </a:lnTo>
                <a:lnTo>
                  <a:pt x="520" y="288"/>
                </a:lnTo>
                <a:lnTo>
                  <a:pt x="517" y="284"/>
                </a:lnTo>
                <a:lnTo>
                  <a:pt x="513" y="281"/>
                </a:lnTo>
                <a:lnTo>
                  <a:pt x="513" y="278"/>
                </a:lnTo>
                <a:lnTo>
                  <a:pt x="510" y="278"/>
                </a:lnTo>
                <a:lnTo>
                  <a:pt x="510" y="274"/>
                </a:lnTo>
                <a:lnTo>
                  <a:pt x="510" y="271"/>
                </a:lnTo>
                <a:lnTo>
                  <a:pt x="513" y="271"/>
                </a:lnTo>
                <a:lnTo>
                  <a:pt x="513" y="267"/>
                </a:lnTo>
                <a:lnTo>
                  <a:pt x="513" y="264"/>
                </a:lnTo>
                <a:lnTo>
                  <a:pt x="513" y="260"/>
                </a:lnTo>
                <a:lnTo>
                  <a:pt x="510" y="257"/>
                </a:lnTo>
                <a:lnTo>
                  <a:pt x="506" y="253"/>
                </a:lnTo>
                <a:lnTo>
                  <a:pt x="506" y="250"/>
                </a:lnTo>
                <a:lnTo>
                  <a:pt x="506" y="243"/>
                </a:lnTo>
                <a:lnTo>
                  <a:pt x="506" y="239"/>
                </a:lnTo>
                <a:lnTo>
                  <a:pt x="510" y="236"/>
                </a:lnTo>
                <a:lnTo>
                  <a:pt x="513" y="236"/>
                </a:lnTo>
                <a:lnTo>
                  <a:pt x="513" y="232"/>
                </a:lnTo>
                <a:lnTo>
                  <a:pt x="517" y="232"/>
                </a:lnTo>
                <a:lnTo>
                  <a:pt x="517" y="236"/>
                </a:lnTo>
                <a:lnTo>
                  <a:pt x="520" y="236"/>
                </a:lnTo>
                <a:lnTo>
                  <a:pt x="517" y="236"/>
                </a:lnTo>
                <a:lnTo>
                  <a:pt x="520" y="239"/>
                </a:lnTo>
                <a:lnTo>
                  <a:pt x="520" y="243"/>
                </a:lnTo>
                <a:lnTo>
                  <a:pt x="524" y="243"/>
                </a:lnTo>
                <a:lnTo>
                  <a:pt x="527" y="243"/>
                </a:lnTo>
                <a:lnTo>
                  <a:pt x="531" y="243"/>
                </a:lnTo>
                <a:lnTo>
                  <a:pt x="534" y="243"/>
                </a:lnTo>
                <a:lnTo>
                  <a:pt x="534" y="239"/>
                </a:lnTo>
                <a:lnTo>
                  <a:pt x="534" y="236"/>
                </a:lnTo>
                <a:lnTo>
                  <a:pt x="531" y="236"/>
                </a:lnTo>
                <a:lnTo>
                  <a:pt x="534" y="236"/>
                </a:lnTo>
                <a:lnTo>
                  <a:pt x="534" y="232"/>
                </a:lnTo>
                <a:lnTo>
                  <a:pt x="538" y="232"/>
                </a:lnTo>
                <a:lnTo>
                  <a:pt x="538" y="236"/>
                </a:lnTo>
                <a:lnTo>
                  <a:pt x="541" y="236"/>
                </a:lnTo>
                <a:lnTo>
                  <a:pt x="541" y="232"/>
                </a:lnTo>
                <a:lnTo>
                  <a:pt x="541" y="236"/>
                </a:lnTo>
                <a:lnTo>
                  <a:pt x="545" y="236"/>
                </a:lnTo>
                <a:lnTo>
                  <a:pt x="545" y="232"/>
                </a:lnTo>
                <a:lnTo>
                  <a:pt x="545" y="229"/>
                </a:lnTo>
                <a:lnTo>
                  <a:pt x="548" y="229"/>
                </a:lnTo>
                <a:lnTo>
                  <a:pt x="545" y="229"/>
                </a:lnTo>
                <a:lnTo>
                  <a:pt x="545" y="225"/>
                </a:lnTo>
                <a:lnTo>
                  <a:pt x="548" y="225"/>
                </a:lnTo>
                <a:lnTo>
                  <a:pt x="552" y="225"/>
                </a:lnTo>
                <a:lnTo>
                  <a:pt x="555" y="222"/>
                </a:lnTo>
                <a:lnTo>
                  <a:pt x="555" y="219"/>
                </a:lnTo>
                <a:lnTo>
                  <a:pt x="555" y="215"/>
                </a:lnTo>
                <a:lnTo>
                  <a:pt x="552" y="215"/>
                </a:lnTo>
                <a:lnTo>
                  <a:pt x="555" y="212"/>
                </a:lnTo>
                <a:lnTo>
                  <a:pt x="555" y="208"/>
                </a:lnTo>
                <a:lnTo>
                  <a:pt x="555" y="205"/>
                </a:lnTo>
                <a:lnTo>
                  <a:pt x="559" y="205"/>
                </a:lnTo>
                <a:lnTo>
                  <a:pt x="562" y="205"/>
                </a:lnTo>
                <a:lnTo>
                  <a:pt x="565" y="205"/>
                </a:lnTo>
                <a:lnTo>
                  <a:pt x="569" y="205"/>
                </a:lnTo>
                <a:lnTo>
                  <a:pt x="572" y="208"/>
                </a:lnTo>
                <a:lnTo>
                  <a:pt x="576" y="212"/>
                </a:lnTo>
                <a:lnTo>
                  <a:pt x="583" y="222"/>
                </a:lnTo>
                <a:lnTo>
                  <a:pt x="586" y="222"/>
                </a:lnTo>
                <a:lnTo>
                  <a:pt x="590" y="225"/>
                </a:lnTo>
                <a:lnTo>
                  <a:pt x="593" y="229"/>
                </a:lnTo>
                <a:lnTo>
                  <a:pt x="597" y="232"/>
                </a:lnTo>
                <a:lnTo>
                  <a:pt x="600" y="236"/>
                </a:lnTo>
                <a:lnTo>
                  <a:pt x="604" y="236"/>
                </a:lnTo>
                <a:lnTo>
                  <a:pt x="607" y="236"/>
                </a:lnTo>
                <a:lnTo>
                  <a:pt x="611" y="239"/>
                </a:lnTo>
                <a:lnTo>
                  <a:pt x="611" y="236"/>
                </a:lnTo>
                <a:lnTo>
                  <a:pt x="614" y="236"/>
                </a:lnTo>
                <a:lnTo>
                  <a:pt x="614" y="229"/>
                </a:lnTo>
                <a:lnTo>
                  <a:pt x="618" y="229"/>
                </a:lnTo>
                <a:lnTo>
                  <a:pt x="618" y="225"/>
                </a:lnTo>
                <a:lnTo>
                  <a:pt x="621" y="225"/>
                </a:lnTo>
                <a:lnTo>
                  <a:pt x="625" y="225"/>
                </a:lnTo>
                <a:lnTo>
                  <a:pt x="628" y="229"/>
                </a:lnTo>
                <a:lnTo>
                  <a:pt x="631" y="232"/>
                </a:lnTo>
                <a:lnTo>
                  <a:pt x="631" y="236"/>
                </a:lnTo>
                <a:lnTo>
                  <a:pt x="635" y="236"/>
                </a:lnTo>
                <a:lnTo>
                  <a:pt x="642" y="243"/>
                </a:lnTo>
                <a:lnTo>
                  <a:pt x="645" y="246"/>
                </a:lnTo>
                <a:lnTo>
                  <a:pt x="652" y="246"/>
                </a:lnTo>
                <a:lnTo>
                  <a:pt x="656" y="246"/>
                </a:lnTo>
                <a:lnTo>
                  <a:pt x="663" y="250"/>
                </a:lnTo>
                <a:lnTo>
                  <a:pt x="666" y="250"/>
                </a:lnTo>
                <a:lnTo>
                  <a:pt x="666" y="253"/>
                </a:lnTo>
                <a:lnTo>
                  <a:pt x="666" y="257"/>
                </a:lnTo>
                <a:lnTo>
                  <a:pt x="670" y="264"/>
                </a:lnTo>
                <a:lnTo>
                  <a:pt x="673" y="267"/>
                </a:lnTo>
                <a:lnTo>
                  <a:pt x="677" y="271"/>
                </a:lnTo>
                <a:lnTo>
                  <a:pt x="680" y="271"/>
                </a:lnTo>
                <a:lnTo>
                  <a:pt x="687" y="271"/>
                </a:lnTo>
                <a:lnTo>
                  <a:pt x="687" y="274"/>
                </a:lnTo>
                <a:lnTo>
                  <a:pt x="694" y="278"/>
                </a:lnTo>
                <a:lnTo>
                  <a:pt x="697" y="278"/>
                </a:lnTo>
                <a:lnTo>
                  <a:pt x="697" y="281"/>
                </a:lnTo>
                <a:lnTo>
                  <a:pt x="701" y="284"/>
                </a:lnTo>
                <a:lnTo>
                  <a:pt x="704" y="284"/>
                </a:lnTo>
                <a:lnTo>
                  <a:pt x="708" y="288"/>
                </a:lnTo>
                <a:lnTo>
                  <a:pt x="715" y="288"/>
                </a:lnTo>
                <a:lnTo>
                  <a:pt x="718" y="288"/>
                </a:lnTo>
                <a:lnTo>
                  <a:pt x="722" y="288"/>
                </a:lnTo>
                <a:lnTo>
                  <a:pt x="722" y="284"/>
                </a:lnTo>
                <a:lnTo>
                  <a:pt x="722" y="281"/>
                </a:lnTo>
                <a:lnTo>
                  <a:pt x="722" y="278"/>
                </a:lnTo>
                <a:lnTo>
                  <a:pt x="725" y="274"/>
                </a:lnTo>
                <a:lnTo>
                  <a:pt x="729" y="274"/>
                </a:lnTo>
                <a:lnTo>
                  <a:pt x="732" y="274"/>
                </a:lnTo>
                <a:lnTo>
                  <a:pt x="732" y="271"/>
                </a:lnTo>
                <a:lnTo>
                  <a:pt x="732" y="267"/>
                </a:lnTo>
                <a:lnTo>
                  <a:pt x="736" y="267"/>
                </a:lnTo>
                <a:lnTo>
                  <a:pt x="736" y="264"/>
                </a:lnTo>
                <a:lnTo>
                  <a:pt x="736" y="260"/>
                </a:lnTo>
                <a:lnTo>
                  <a:pt x="732" y="260"/>
                </a:lnTo>
                <a:lnTo>
                  <a:pt x="729" y="257"/>
                </a:lnTo>
                <a:lnTo>
                  <a:pt x="732" y="257"/>
                </a:lnTo>
                <a:lnTo>
                  <a:pt x="729" y="257"/>
                </a:lnTo>
                <a:lnTo>
                  <a:pt x="732" y="253"/>
                </a:lnTo>
                <a:lnTo>
                  <a:pt x="736" y="250"/>
                </a:lnTo>
                <a:lnTo>
                  <a:pt x="739" y="246"/>
                </a:lnTo>
                <a:lnTo>
                  <a:pt x="736" y="246"/>
                </a:lnTo>
                <a:lnTo>
                  <a:pt x="732" y="246"/>
                </a:lnTo>
                <a:lnTo>
                  <a:pt x="732" y="243"/>
                </a:lnTo>
                <a:lnTo>
                  <a:pt x="736" y="243"/>
                </a:lnTo>
                <a:lnTo>
                  <a:pt x="732" y="243"/>
                </a:lnTo>
                <a:lnTo>
                  <a:pt x="736" y="243"/>
                </a:lnTo>
                <a:lnTo>
                  <a:pt x="736" y="239"/>
                </a:lnTo>
                <a:lnTo>
                  <a:pt x="736" y="236"/>
                </a:lnTo>
                <a:lnTo>
                  <a:pt x="739" y="236"/>
                </a:lnTo>
                <a:lnTo>
                  <a:pt x="739" y="232"/>
                </a:lnTo>
                <a:lnTo>
                  <a:pt x="743" y="232"/>
                </a:lnTo>
                <a:lnTo>
                  <a:pt x="746" y="236"/>
                </a:lnTo>
                <a:lnTo>
                  <a:pt x="746" y="239"/>
                </a:lnTo>
                <a:lnTo>
                  <a:pt x="750" y="243"/>
                </a:lnTo>
                <a:lnTo>
                  <a:pt x="746" y="243"/>
                </a:lnTo>
                <a:lnTo>
                  <a:pt x="750" y="246"/>
                </a:lnTo>
                <a:lnTo>
                  <a:pt x="750" y="243"/>
                </a:lnTo>
                <a:lnTo>
                  <a:pt x="753" y="243"/>
                </a:lnTo>
                <a:lnTo>
                  <a:pt x="750" y="243"/>
                </a:lnTo>
                <a:lnTo>
                  <a:pt x="753" y="239"/>
                </a:lnTo>
                <a:lnTo>
                  <a:pt x="753" y="236"/>
                </a:lnTo>
                <a:lnTo>
                  <a:pt x="756" y="236"/>
                </a:lnTo>
                <a:lnTo>
                  <a:pt x="756" y="232"/>
                </a:lnTo>
                <a:lnTo>
                  <a:pt x="760" y="232"/>
                </a:lnTo>
                <a:lnTo>
                  <a:pt x="760" y="229"/>
                </a:lnTo>
                <a:lnTo>
                  <a:pt x="763" y="229"/>
                </a:lnTo>
                <a:lnTo>
                  <a:pt x="763" y="225"/>
                </a:lnTo>
                <a:lnTo>
                  <a:pt x="767" y="225"/>
                </a:lnTo>
                <a:lnTo>
                  <a:pt x="767" y="222"/>
                </a:lnTo>
                <a:lnTo>
                  <a:pt x="767" y="225"/>
                </a:lnTo>
                <a:lnTo>
                  <a:pt x="767" y="222"/>
                </a:lnTo>
                <a:lnTo>
                  <a:pt x="770" y="222"/>
                </a:lnTo>
                <a:lnTo>
                  <a:pt x="774" y="222"/>
                </a:lnTo>
                <a:lnTo>
                  <a:pt x="774" y="219"/>
                </a:lnTo>
                <a:lnTo>
                  <a:pt x="774" y="215"/>
                </a:lnTo>
                <a:lnTo>
                  <a:pt x="777" y="215"/>
                </a:lnTo>
                <a:lnTo>
                  <a:pt x="774" y="215"/>
                </a:lnTo>
                <a:lnTo>
                  <a:pt x="777" y="212"/>
                </a:lnTo>
                <a:lnTo>
                  <a:pt x="777" y="208"/>
                </a:lnTo>
                <a:lnTo>
                  <a:pt x="777" y="205"/>
                </a:lnTo>
                <a:lnTo>
                  <a:pt x="774" y="205"/>
                </a:lnTo>
                <a:lnTo>
                  <a:pt x="777" y="205"/>
                </a:lnTo>
                <a:lnTo>
                  <a:pt x="774" y="205"/>
                </a:lnTo>
                <a:lnTo>
                  <a:pt x="774" y="201"/>
                </a:lnTo>
                <a:lnTo>
                  <a:pt x="774" y="198"/>
                </a:lnTo>
                <a:lnTo>
                  <a:pt x="774" y="194"/>
                </a:lnTo>
                <a:lnTo>
                  <a:pt x="777" y="194"/>
                </a:lnTo>
                <a:lnTo>
                  <a:pt x="777" y="191"/>
                </a:lnTo>
                <a:lnTo>
                  <a:pt x="777" y="187"/>
                </a:lnTo>
                <a:lnTo>
                  <a:pt x="781" y="187"/>
                </a:lnTo>
                <a:lnTo>
                  <a:pt x="777" y="187"/>
                </a:lnTo>
                <a:lnTo>
                  <a:pt x="781" y="187"/>
                </a:lnTo>
                <a:lnTo>
                  <a:pt x="781" y="184"/>
                </a:lnTo>
                <a:lnTo>
                  <a:pt x="784" y="184"/>
                </a:lnTo>
                <a:lnTo>
                  <a:pt x="781" y="184"/>
                </a:lnTo>
                <a:lnTo>
                  <a:pt x="781" y="180"/>
                </a:lnTo>
                <a:lnTo>
                  <a:pt x="784" y="180"/>
                </a:lnTo>
                <a:lnTo>
                  <a:pt x="781" y="180"/>
                </a:lnTo>
                <a:lnTo>
                  <a:pt x="784" y="180"/>
                </a:lnTo>
                <a:lnTo>
                  <a:pt x="781" y="180"/>
                </a:lnTo>
                <a:lnTo>
                  <a:pt x="781" y="177"/>
                </a:lnTo>
                <a:lnTo>
                  <a:pt x="784" y="177"/>
                </a:lnTo>
                <a:lnTo>
                  <a:pt x="788" y="177"/>
                </a:lnTo>
                <a:lnTo>
                  <a:pt x="788" y="173"/>
                </a:lnTo>
                <a:lnTo>
                  <a:pt x="791" y="173"/>
                </a:lnTo>
                <a:lnTo>
                  <a:pt x="791" y="170"/>
                </a:lnTo>
                <a:lnTo>
                  <a:pt x="791" y="166"/>
                </a:lnTo>
                <a:lnTo>
                  <a:pt x="788" y="166"/>
                </a:lnTo>
                <a:lnTo>
                  <a:pt x="791" y="166"/>
                </a:lnTo>
                <a:lnTo>
                  <a:pt x="788" y="166"/>
                </a:lnTo>
                <a:lnTo>
                  <a:pt x="788" y="163"/>
                </a:lnTo>
                <a:lnTo>
                  <a:pt x="791" y="163"/>
                </a:lnTo>
                <a:lnTo>
                  <a:pt x="791" y="159"/>
                </a:lnTo>
                <a:lnTo>
                  <a:pt x="791" y="156"/>
                </a:lnTo>
                <a:lnTo>
                  <a:pt x="791" y="153"/>
                </a:lnTo>
                <a:lnTo>
                  <a:pt x="788" y="153"/>
                </a:lnTo>
                <a:lnTo>
                  <a:pt x="788" y="149"/>
                </a:lnTo>
                <a:lnTo>
                  <a:pt x="788" y="146"/>
                </a:lnTo>
                <a:lnTo>
                  <a:pt x="788" y="142"/>
                </a:lnTo>
                <a:lnTo>
                  <a:pt x="784" y="142"/>
                </a:lnTo>
                <a:lnTo>
                  <a:pt x="784" y="139"/>
                </a:lnTo>
                <a:lnTo>
                  <a:pt x="781" y="139"/>
                </a:lnTo>
                <a:lnTo>
                  <a:pt x="781" y="135"/>
                </a:lnTo>
                <a:lnTo>
                  <a:pt x="784" y="132"/>
                </a:lnTo>
                <a:lnTo>
                  <a:pt x="784" y="128"/>
                </a:lnTo>
                <a:lnTo>
                  <a:pt x="784" y="125"/>
                </a:lnTo>
                <a:lnTo>
                  <a:pt x="784" y="121"/>
                </a:lnTo>
                <a:lnTo>
                  <a:pt x="784" y="118"/>
                </a:lnTo>
                <a:lnTo>
                  <a:pt x="784" y="114"/>
                </a:lnTo>
                <a:lnTo>
                  <a:pt x="788" y="114"/>
                </a:lnTo>
                <a:lnTo>
                  <a:pt x="784" y="114"/>
                </a:lnTo>
                <a:lnTo>
                  <a:pt x="784" y="111"/>
                </a:lnTo>
                <a:lnTo>
                  <a:pt x="784" y="107"/>
                </a:lnTo>
                <a:lnTo>
                  <a:pt x="784" y="104"/>
                </a:lnTo>
                <a:lnTo>
                  <a:pt x="784" y="100"/>
                </a:lnTo>
                <a:lnTo>
                  <a:pt x="781" y="100"/>
                </a:lnTo>
                <a:lnTo>
                  <a:pt x="781" y="97"/>
                </a:lnTo>
                <a:lnTo>
                  <a:pt x="781" y="93"/>
                </a:lnTo>
                <a:lnTo>
                  <a:pt x="781" y="90"/>
                </a:lnTo>
                <a:lnTo>
                  <a:pt x="784" y="90"/>
                </a:lnTo>
                <a:lnTo>
                  <a:pt x="784" y="87"/>
                </a:lnTo>
                <a:lnTo>
                  <a:pt x="788" y="87"/>
                </a:lnTo>
                <a:lnTo>
                  <a:pt x="788" y="90"/>
                </a:lnTo>
                <a:lnTo>
                  <a:pt x="788" y="87"/>
                </a:lnTo>
                <a:lnTo>
                  <a:pt x="788" y="90"/>
                </a:lnTo>
                <a:lnTo>
                  <a:pt x="791" y="90"/>
                </a:lnTo>
                <a:lnTo>
                  <a:pt x="795" y="90"/>
                </a:lnTo>
                <a:lnTo>
                  <a:pt x="798" y="90"/>
                </a:lnTo>
                <a:lnTo>
                  <a:pt x="798" y="87"/>
                </a:lnTo>
                <a:lnTo>
                  <a:pt x="798" y="83"/>
                </a:lnTo>
                <a:lnTo>
                  <a:pt x="798" y="80"/>
                </a:lnTo>
                <a:lnTo>
                  <a:pt x="798" y="83"/>
                </a:lnTo>
                <a:lnTo>
                  <a:pt x="798" y="80"/>
                </a:lnTo>
                <a:lnTo>
                  <a:pt x="795" y="80"/>
                </a:lnTo>
                <a:lnTo>
                  <a:pt x="798" y="80"/>
                </a:lnTo>
                <a:lnTo>
                  <a:pt x="795" y="80"/>
                </a:lnTo>
                <a:lnTo>
                  <a:pt x="795" y="83"/>
                </a:lnTo>
                <a:lnTo>
                  <a:pt x="795" y="80"/>
                </a:lnTo>
                <a:lnTo>
                  <a:pt x="795" y="83"/>
                </a:lnTo>
                <a:lnTo>
                  <a:pt x="791" y="83"/>
                </a:lnTo>
                <a:lnTo>
                  <a:pt x="791" y="80"/>
                </a:lnTo>
                <a:lnTo>
                  <a:pt x="791" y="83"/>
                </a:lnTo>
                <a:lnTo>
                  <a:pt x="791" y="80"/>
                </a:lnTo>
                <a:lnTo>
                  <a:pt x="791" y="83"/>
                </a:lnTo>
                <a:lnTo>
                  <a:pt x="788" y="83"/>
                </a:lnTo>
                <a:lnTo>
                  <a:pt x="784" y="80"/>
                </a:lnTo>
                <a:lnTo>
                  <a:pt x="781" y="80"/>
                </a:lnTo>
                <a:lnTo>
                  <a:pt x="781" y="76"/>
                </a:lnTo>
                <a:lnTo>
                  <a:pt x="781" y="73"/>
                </a:lnTo>
                <a:lnTo>
                  <a:pt x="777" y="73"/>
                </a:lnTo>
                <a:lnTo>
                  <a:pt x="774" y="73"/>
                </a:lnTo>
                <a:lnTo>
                  <a:pt x="770" y="69"/>
                </a:lnTo>
                <a:lnTo>
                  <a:pt x="770" y="66"/>
                </a:lnTo>
                <a:lnTo>
                  <a:pt x="767" y="66"/>
                </a:lnTo>
                <a:lnTo>
                  <a:pt x="770" y="66"/>
                </a:lnTo>
                <a:lnTo>
                  <a:pt x="770" y="62"/>
                </a:lnTo>
                <a:lnTo>
                  <a:pt x="774" y="62"/>
                </a:lnTo>
                <a:lnTo>
                  <a:pt x="774" y="59"/>
                </a:lnTo>
                <a:lnTo>
                  <a:pt x="777" y="55"/>
                </a:lnTo>
                <a:lnTo>
                  <a:pt x="777" y="52"/>
                </a:lnTo>
                <a:lnTo>
                  <a:pt x="781" y="48"/>
                </a:lnTo>
                <a:lnTo>
                  <a:pt x="784" y="48"/>
                </a:lnTo>
                <a:lnTo>
                  <a:pt x="784" y="45"/>
                </a:lnTo>
                <a:lnTo>
                  <a:pt x="784" y="41"/>
                </a:lnTo>
                <a:lnTo>
                  <a:pt x="788" y="38"/>
                </a:lnTo>
                <a:lnTo>
                  <a:pt x="788" y="34"/>
                </a:lnTo>
                <a:lnTo>
                  <a:pt x="788" y="31"/>
                </a:lnTo>
                <a:lnTo>
                  <a:pt x="788" y="28"/>
                </a:lnTo>
                <a:lnTo>
                  <a:pt x="788" y="24"/>
                </a:lnTo>
                <a:lnTo>
                  <a:pt x="788" y="21"/>
                </a:lnTo>
                <a:lnTo>
                  <a:pt x="788" y="17"/>
                </a:lnTo>
                <a:lnTo>
                  <a:pt x="788" y="21"/>
                </a:lnTo>
                <a:lnTo>
                  <a:pt x="788" y="17"/>
                </a:lnTo>
                <a:lnTo>
                  <a:pt x="791" y="17"/>
                </a:lnTo>
                <a:lnTo>
                  <a:pt x="795" y="14"/>
                </a:lnTo>
                <a:lnTo>
                  <a:pt x="798" y="14"/>
                </a:lnTo>
                <a:lnTo>
                  <a:pt x="798" y="10"/>
                </a:lnTo>
                <a:lnTo>
                  <a:pt x="802" y="7"/>
                </a:lnTo>
                <a:lnTo>
                  <a:pt x="802" y="3"/>
                </a:lnTo>
                <a:lnTo>
                  <a:pt x="802" y="0"/>
                </a:lnTo>
                <a:lnTo>
                  <a:pt x="805" y="0"/>
                </a:lnTo>
                <a:lnTo>
                  <a:pt x="805" y="3"/>
                </a:lnTo>
                <a:lnTo>
                  <a:pt x="809" y="3"/>
                </a:lnTo>
                <a:lnTo>
                  <a:pt x="812" y="3"/>
                </a:lnTo>
                <a:lnTo>
                  <a:pt x="815" y="3"/>
                </a:lnTo>
                <a:lnTo>
                  <a:pt x="819" y="3"/>
                </a:lnTo>
                <a:lnTo>
                  <a:pt x="822" y="3"/>
                </a:lnTo>
                <a:lnTo>
                  <a:pt x="826" y="7"/>
                </a:lnTo>
                <a:lnTo>
                  <a:pt x="829" y="7"/>
                </a:lnTo>
                <a:lnTo>
                  <a:pt x="833" y="14"/>
                </a:lnTo>
                <a:lnTo>
                  <a:pt x="836" y="17"/>
                </a:lnTo>
                <a:lnTo>
                  <a:pt x="840" y="17"/>
                </a:lnTo>
                <a:lnTo>
                  <a:pt x="843" y="17"/>
                </a:lnTo>
                <a:lnTo>
                  <a:pt x="847" y="24"/>
                </a:lnTo>
                <a:lnTo>
                  <a:pt x="850" y="28"/>
                </a:lnTo>
                <a:lnTo>
                  <a:pt x="854" y="28"/>
                </a:lnTo>
                <a:lnTo>
                  <a:pt x="854" y="31"/>
                </a:lnTo>
                <a:lnTo>
                  <a:pt x="857" y="34"/>
                </a:lnTo>
                <a:lnTo>
                  <a:pt x="861" y="38"/>
                </a:lnTo>
                <a:lnTo>
                  <a:pt x="861" y="41"/>
                </a:lnTo>
                <a:lnTo>
                  <a:pt x="864" y="41"/>
                </a:lnTo>
                <a:lnTo>
                  <a:pt x="864" y="45"/>
                </a:lnTo>
                <a:lnTo>
                  <a:pt x="868" y="48"/>
                </a:lnTo>
                <a:lnTo>
                  <a:pt x="871" y="52"/>
                </a:lnTo>
                <a:lnTo>
                  <a:pt x="874" y="55"/>
                </a:lnTo>
                <a:lnTo>
                  <a:pt x="874" y="59"/>
                </a:lnTo>
                <a:lnTo>
                  <a:pt x="878" y="59"/>
                </a:lnTo>
                <a:lnTo>
                  <a:pt x="878" y="55"/>
                </a:lnTo>
                <a:lnTo>
                  <a:pt x="881" y="59"/>
                </a:lnTo>
                <a:lnTo>
                  <a:pt x="885" y="59"/>
                </a:lnTo>
                <a:lnTo>
                  <a:pt x="885" y="62"/>
                </a:lnTo>
                <a:lnTo>
                  <a:pt x="885" y="66"/>
                </a:lnTo>
                <a:lnTo>
                  <a:pt x="888" y="66"/>
                </a:lnTo>
                <a:lnTo>
                  <a:pt x="892" y="66"/>
                </a:lnTo>
                <a:lnTo>
                  <a:pt x="895" y="69"/>
                </a:lnTo>
                <a:lnTo>
                  <a:pt x="895" y="66"/>
                </a:lnTo>
                <a:lnTo>
                  <a:pt x="899" y="69"/>
                </a:lnTo>
                <a:lnTo>
                  <a:pt x="902" y="69"/>
                </a:lnTo>
                <a:lnTo>
                  <a:pt x="906" y="69"/>
                </a:lnTo>
                <a:lnTo>
                  <a:pt x="909" y="69"/>
                </a:lnTo>
                <a:lnTo>
                  <a:pt x="913" y="69"/>
                </a:lnTo>
                <a:lnTo>
                  <a:pt x="920" y="73"/>
                </a:lnTo>
                <a:lnTo>
                  <a:pt x="923" y="73"/>
                </a:lnTo>
                <a:lnTo>
                  <a:pt x="923" y="76"/>
                </a:lnTo>
                <a:lnTo>
                  <a:pt x="927" y="76"/>
                </a:lnTo>
                <a:lnTo>
                  <a:pt x="923" y="76"/>
                </a:lnTo>
                <a:lnTo>
                  <a:pt x="923" y="80"/>
                </a:lnTo>
                <a:lnTo>
                  <a:pt x="927" y="83"/>
                </a:lnTo>
                <a:lnTo>
                  <a:pt x="930" y="83"/>
                </a:lnTo>
                <a:lnTo>
                  <a:pt x="927" y="87"/>
                </a:lnTo>
                <a:lnTo>
                  <a:pt x="930" y="83"/>
                </a:lnTo>
                <a:lnTo>
                  <a:pt x="930" y="87"/>
                </a:lnTo>
                <a:lnTo>
                  <a:pt x="934" y="87"/>
                </a:lnTo>
                <a:lnTo>
                  <a:pt x="934" y="90"/>
                </a:lnTo>
                <a:lnTo>
                  <a:pt x="930" y="90"/>
                </a:lnTo>
                <a:lnTo>
                  <a:pt x="934" y="93"/>
                </a:lnTo>
                <a:lnTo>
                  <a:pt x="937" y="93"/>
                </a:lnTo>
                <a:lnTo>
                  <a:pt x="937" y="97"/>
                </a:lnTo>
                <a:lnTo>
                  <a:pt x="940" y="97"/>
                </a:lnTo>
                <a:lnTo>
                  <a:pt x="937" y="97"/>
                </a:lnTo>
                <a:lnTo>
                  <a:pt x="937" y="100"/>
                </a:lnTo>
                <a:lnTo>
                  <a:pt x="940" y="100"/>
                </a:lnTo>
                <a:lnTo>
                  <a:pt x="940" y="104"/>
                </a:lnTo>
                <a:lnTo>
                  <a:pt x="944" y="104"/>
                </a:lnTo>
                <a:lnTo>
                  <a:pt x="944" y="107"/>
                </a:lnTo>
                <a:lnTo>
                  <a:pt x="947" y="107"/>
                </a:lnTo>
                <a:lnTo>
                  <a:pt x="951" y="107"/>
                </a:lnTo>
                <a:lnTo>
                  <a:pt x="954" y="107"/>
                </a:lnTo>
                <a:lnTo>
                  <a:pt x="954" y="111"/>
                </a:lnTo>
                <a:lnTo>
                  <a:pt x="958" y="107"/>
                </a:lnTo>
                <a:lnTo>
                  <a:pt x="961" y="111"/>
                </a:lnTo>
                <a:lnTo>
                  <a:pt x="961" y="114"/>
                </a:lnTo>
                <a:lnTo>
                  <a:pt x="961" y="118"/>
                </a:lnTo>
                <a:lnTo>
                  <a:pt x="961" y="121"/>
                </a:lnTo>
                <a:lnTo>
                  <a:pt x="961" y="125"/>
                </a:lnTo>
                <a:lnTo>
                  <a:pt x="961" y="128"/>
                </a:lnTo>
                <a:lnTo>
                  <a:pt x="958" y="132"/>
                </a:lnTo>
                <a:lnTo>
                  <a:pt x="958" y="135"/>
                </a:lnTo>
                <a:lnTo>
                  <a:pt x="954" y="135"/>
                </a:lnTo>
                <a:lnTo>
                  <a:pt x="951" y="132"/>
                </a:lnTo>
                <a:lnTo>
                  <a:pt x="947" y="132"/>
                </a:lnTo>
                <a:lnTo>
                  <a:pt x="944" y="132"/>
                </a:lnTo>
                <a:lnTo>
                  <a:pt x="940" y="132"/>
                </a:lnTo>
                <a:lnTo>
                  <a:pt x="940" y="135"/>
                </a:lnTo>
                <a:lnTo>
                  <a:pt x="937" y="135"/>
                </a:lnTo>
                <a:lnTo>
                  <a:pt x="937" y="139"/>
                </a:lnTo>
                <a:lnTo>
                  <a:pt x="937" y="142"/>
                </a:lnTo>
                <a:lnTo>
                  <a:pt x="934" y="142"/>
                </a:lnTo>
                <a:lnTo>
                  <a:pt x="930" y="146"/>
                </a:lnTo>
                <a:lnTo>
                  <a:pt x="930" y="149"/>
                </a:lnTo>
                <a:lnTo>
                  <a:pt x="927" y="149"/>
                </a:lnTo>
                <a:lnTo>
                  <a:pt x="930" y="153"/>
                </a:lnTo>
                <a:lnTo>
                  <a:pt x="934" y="153"/>
                </a:lnTo>
                <a:lnTo>
                  <a:pt x="934" y="156"/>
                </a:lnTo>
                <a:lnTo>
                  <a:pt x="937" y="156"/>
                </a:lnTo>
                <a:lnTo>
                  <a:pt x="937" y="159"/>
                </a:lnTo>
                <a:lnTo>
                  <a:pt x="940" y="159"/>
                </a:lnTo>
                <a:lnTo>
                  <a:pt x="940" y="163"/>
                </a:lnTo>
                <a:lnTo>
                  <a:pt x="944" y="163"/>
                </a:lnTo>
                <a:lnTo>
                  <a:pt x="947" y="163"/>
                </a:lnTo>
                <a:lnTo>
                  <a:pt x="951" y="159"/>
                </a:lnTo>
                <a:lnTo>
                  <a:pt x="954" y="163"/>
                </a:lnTo>
                <a:lnTo>
                  <a:pt x="951" y="166"/>
                </a:lnTo>
                <a:lnTo>
                  <a:pt x="951" y="170"/>
                </a:lnTo>
                <a:lnTo>
                  <a:pt x="951" y="173"/>
                </a:lnTo>
                <a:lnTo>
                  <a:pt x="947" y="173"/>
                </a:lnTo>
                <a:lnTo>
                  <a:pt x="951" y="177"/>
                </a:lnTo>
                <a:lnTo>
                  <a:pt x="951" y="180"/>
                </a:lnTo>
                <a:lnTo>
                  <a:pt x="954" y="180"/>
                </a:lnTo>
                <a:lnTo>
                  <a:pt x="958" y="184"/>
                </a:lnTo>
                <a:lnTo>
                  <a:pt x="954" y="184"/>
                </a:lnTo>
                <a:lnTo>
                  <a:pt x="958" y="184"/>
                </a:lnTo>
                <a:lnTo>
                  <a:pt x="958" y="187"/>
                </a:lnTo>
                <a:lnTo>
                  <a:pt x="961" y="187"/>
                </a:lnTo>
                <a:lnTo>
                  <a:pt x="965" y="187"/>
                </a:lnTo>
                <a:lnTo>
                  <a:pt x="968" y="187"/>
                </a:lnTo>
                <a:lnTo>
                  <a:pt x="968" y="184"/>
                </a:lnTo>
                <a:lnTo>
                  <a:pt x="968" y="187"/>
                </a:lnTo>
                <a:lnTo>
                  <a:pt x="968" y="191"/>
                </a:lnTo>
                <a:lnTo>
                  <a:pt x="968" y="194"/>
                </a:lnTo>
                <a:lnTo>
                  <a:pt x="968" y="198"/>
                </a:lnTo>
                <a:lnTo>
                  <a:pt x="972" y="198"/>
                </a:lnTo>
                <a:lnTo>
                  <a:pt x="972" y="194"/>
                </a:lnTo>
                <a:lnTo>
                  <a:pt x="975" y="194"/>
                </a:lnTo>
                <a:lnTo>
                  <a:pt x="979" y="194"/>
                </a:lnTo>
                <a:lnTo>
                  <a:pt x="982" y="194"/>
                </a:lnTo>
                <a:lnTo>
                  <a:pt x="986" y="194"/>
                </a:lnTo>
                <a:lnTo>
                  <a:pt x="989" y="194"/>
                </a:lnTo>
                <a:lnTo>
                  <a:pt x="989" y="198"/>
                </a:lnTo>
                <a:lnTo>
                  <a:pt x="989" y="201"/>
                </a:lnTo>
                <a:lnTo>
                  <a:pt x="993" y="201"/>
                </a:lnTo>
                <a:lnTo>
                  <a:pt x="993" y="205"/>
                </a:lnTo>
                <a:lnTo>
                  <a:pt x="996" y="205"/>
                </a:lnTo>
                <a:lnTo>
                  <a:pt x="999" y="205"/>
                </a:lnTo>
                <a:lnTo>
                  <a:pt x="1003" y="205"/>
                </a:lnTo>
                <a:lnTo>
                  <a:pt x="1006" y="205"/>
                </a:lnTo>
                <a:lnTo>
                  <a:pt x="1006" y="201"/>
                </a:lnTo>
                <a:lnTo>
                  <a:pt x="1010" y="201"/>
                </a:lnTo>
                <a:lnTo>
                  <a:pt x="1010" y="198"/>
                </a:lnTo>
                <a:lnTo>
                  <a:pt x="1013" y="198"/>
                </a:lnTo>
                <a:lnTo>
                  <a:pt x="1013" y="194"/>
                </a:lnTo>
                <a:lnTo>
                  <a:pt x="1017" y="194"/>
                </a:lnTo>
                <a:lnTo>
                  <a:pt x="1017" y="198"/>
                </a:lnTo>
                <a:lnTo>
                  <a:pt x="1020" y="198"/>
                </a:lnTo>
                <a:lnTo>
                  <a:pt x="1020" y="201"/>
                </a:lnTo>
                <a:lnTo>
                  <a:pt x="1024" y="201"/>
                </a:lnTo>
                <a:lnTo>
                  <a:pt x="1024" y="198"/>
                </a:lnTo>
                <a:lnTo>
                  <a:pt x="1027" y="198"/>
                </a:lnTo>
                <a:lnTo>
                  <a:pt x="1031" y="198"/>
                </a:lnTo>
                <a:lnTo>
                  <a:pt x="1034" y="198"/>
                </a:lnTo>
                <a:lnTo>
                  <a:pt x="1034" y="201"/>
                </a:lnTo>
                <a:lnTo>
                  <a:pt x="1038" y="201"/>
                </a:lnTo>
                <a:lnTo>
                  <a:pt x="1038" y="205"/>
                </a:lnTo>
                <a:lnTo>
                  <a:pt x="1041" y="205"/>
                </a:lnTo>
                <a:lnTo>
                  <a:pt x="1045" y="205"/>
                </a:lnTo>
                <a:lnTo>
                  <a:pt x="1045" y="201"/>
                </a:lnTo>
                <a:lnTo>
                  <a:pt x="1048" y="201"/>
                </a:lnTo>
                <a:lnTo>
                  <a:pt x="1048" y="205"/>
                </a:lnTo>
                <a:lnTo>
                  <a:pt x="1048" y="201"/>
                </a:lnTo>
                <a:lnTo>
                  <a:pt x="1052" y="201"/>
                </a:lnTo>
                <a:lnTo>
                  <a:pt x="1055" y="201"/>
                </a:lnTo>
                <a:lnTo>
                  <a:pt x="1059" y="201"/>
                </a:lnTo>
                <a:lnTo>
                  <a:pt x="1062" y="201"/>
                </a:lnTo>
                <a:lnTo>
                  <a:pt x="1062" y="205"/>
                </a:lnTo>
                <a:lnTo>
                  <a:pt x="1065" y="205"/>
                </a:lnTo>
                <a:lnTo>
                  <a:pt x="1069" y="205"/>
                </a:lnTo>
                <a:lnTo>
                  <a:pt x="1072" y="205"/>
                </a:lnTo>
                <a:lnTo>
                  <a:pt x="1076" y="205"/>
                </a:lnTo>
                <a:lnTo>
                  <a:pt x="1076" y="208"/>
                </a:lnTo>
                <a:lnTo>
                  <a:pt x="1079" y="208"/>
                </a:lnTo>
                <a:lnTo>
                  <a:pt x="1083" y="208"/>
                </a:lnTo>
                <a:lnTo>
                  <a:pt x="1086" y="212"/>
                </a:lnTo>
                <a:lnTo>
                  <a:pt x="1090" y="212"/>
                </a:lnTo>
                <a:lnTo>
                  <a:pt x="1093" y="215"/>
                </a:lnTo>
                <a:lnTo>
                  <a:pt x="1093" y="219"/>
                </a:lnTo>
                <a:lnTo>
                  <a:pt x="1097" y="219"/>
                </a:lnTo>
                <a:lnTo>
                  <a:pt x="1100" y="219"/>
                </a:lnTo>
                <a:lnTo>
                  <a:pt x="1100" y="215"/>
                </a:lnTo>
                <a:lnTo>
                  <a:pt x="1104" y="215"/>
                </a:lnTo>
                <a:lnTo>
                  <a:pt x="1107" y="215"/>
                </a:lnTo>
                <a:lnTo>
                  <a:pt x="1111" y="212"/>
                </a:lnTo>
                <a:lnTo>
                  <a:pt x="1114" y="215"/>
                </a:lnTo>
                <a:lnTo>
                  <a:pt x="1118" y="215"/>
                </a:lnTo>
                <a:lnTo>
                  <a:pt x="1121" y="219"/>
                </a:lnTo>
                <a:lnTo>
                  <a:pt x="1121" y="222"/>
                </a:lnTo>
                <a:lnTo>
                  <a:pt x="1124" y="222"/>
                </a:lnTo>
                <a:lnTo>
                  <a:pt x="1128" y="222"/>
                </a:lnTo>
                <a:lnTo>
                  <a:pt x="1131" y="225"/>
                </a:lnTo>
                <a:lnTo>
                  <a:pt x="1135" y="225"/>
                </a:lnTo>
                <a:lnTo>
                  <a:pt x="1138" y="229"/>
                </a:lnTo>
                <a:lnTo>
                  <a:pt x="1142" y="229"/>
                </a:lnTo>
                <a:lnTo>
                  <a:pt x="1145" y="232"/>
                </a:lnTo>
                <a:lnTo>
                  <a:pt x="1152" y="232"/>
                </a:lnTo>
                <a:lnTo>
                  <a:pt x="1152" y="236"/>
                </a:lnTo>
                <a:lnTo>
                  <a:pt x="1156" y="232"/>
                </a:lnTo>
                <a:lnTo>
                  <a:pt x="1156" y="236"/>
                </a:lnTo>
                <a:lnTo>
                  <a:pt x="1156" y="239"/>
                </a:lnTo>
                <a:lnTo>
                  <a:pt x="1159" y="239"/>
                </a:lnTo>
                <a:lnTo>
                  <a:pt x="1159" y="243"/>
                </a:lnTo>
                <a:lnTo>
                  <a:pt x="1159" y="246"/>
                </a:lnTo>
                <a:lnTo>
                  <a:pt x="1163" y="246"/>
                </a:lnTo>
                <a:lnTo>
                  <a:pt x="1166" y="246"/>
                </a:lnTo>
                <a:lnTo>
                  <a:pt x="1166" y="243"/>
                </a:lnTo>
                <a:lnTo>
                  <a:pt x="1170" y="243"/>
                </a:lnTo>
                <a:lnTo>
                  <a:pt x="1173" y="243"/>
                </a:lnTo>
                <a:lnTo>
                  <a:pt x="1173" y="239"/>
                </a:lnTo>
                <a:lnTo>
                  <a:pt x="1173" y="236"/>
                </a:lnTo>
                <a:lnTo>
                  <a:pt x="1177" y="236"/>
                </a:lnTo>
                <a:lnTo>
                  <a:pt x="1177" y="232"/>
                </a:lnTo>
                <a:lnTo>
                  <a:pt x="1177" y="229"/>
                </a:lnTo>
                <a:lnTo>
                  <a:pt x="1177" y="225"/>
                </a:lnTo>
                <a:lnTo>
                  <a:pt x="1180" y="225"/>
                </a:lnTo>
                <a:lnTo>
                  <a:pt x="1180" y="222"/>
                </a:lnTo>
                <a:lnTo>
                  <a:pt x="1184" y="222"/>
                </a:lnTo>
                <a:lnTo>
                  <a:pt x="1187" y="222"/>
                </a:lnTo>
                <a:lnTo>
                  <a:pt x="1187" y="219"/>
                </a:lnTo>
                <a:lnTo>
                  <a:pt x="1187" y="222"/>
                </a:lnTo>
                <a:lnTo>
                  <a:pt x="1190" y="222"/>
                </a:lnTo>
                <a:lnTo>
                  <a:pt x="1190" y="225"/>
                </a:lnTo>
                <a:lnTo>
                  <a:pt x="1194" y="229"/>
                </a:lnTo>
                <a:lnTo>
                  <a:pt x="1197" y="229"/>
                </a:lnTo>
                <a:lnTo>
                  <a:pt x="1201" y="225"/>
                </a:lnTo>
                <a:lnTo>
                  <a:pt x="1204" y="225"/>
                </a:lnTo>
                <a:lnTo>
                  <a:pt x="1204" y="222"/>
                </a:lnTo>
                <a:lnTo>
                  <a:pt x="1208" y="219"/>
                </a:lnTo>
                <a:lnTo>
                  <a:pt x="1208" y="215"/>
                </a:lnTo>
                <a:lnTo>
                  <a:pt x="1204" y="215"/>
                </a:lnTo>
                <a:lnTo>
                  <a:pt x="1208" y="215"/>
                </a:lnTo>
                <a:lnTo>
                  <a:pt x="1208" y="212"/>
                </a:lnTo>
                <a:lnTo>
                  <a:pt x="1204" y="212"/>
                </a:lnTo>
                <a:lnTo>
                  <a:pt x="1204" y="208"/>
                </a:lnTo>
                <a:lnTo>
                  <a:pt x="1204" y="205"/>
                </a:lnTo>
                <a:lnTo>
                  <a:pt x="1201" y="201"/>
                </a:lnTo>
                <a:lnTo>
                  <a:pt x="1204" y="201"/>
                </a:lnTo>
                <a:lnTo>
                  <a:pt x="1208" y="201"/>
                </a:lnTo>
                <a:lnTo>
                  <a:pt x="1211" y="201"/>
                </a:lnTo>
                <a:lnTo>
                  <a:pt x="1215" y="201"/>
                </a:lnTo>
                <a:lnTo>
                  <a:pt x="1218" y="201"/>
                </a:lnTo>
                <a:lnTo>
                  <a:pt x="1222" y="201"/>
                </a:lnTo>
                <a:lnTo>
                  <a:pt x="1225" y="201"/>
                </a:lnTo>
                <a:lnTo>
                  <a:pt x="1229" y="205"/>
                </a:lnTo>
                <a:lnTo>
                  <a:pt x="1232" y="205"/>
                </a:lnTo>
                <a:lnTo>
                  <a:pt x="1236" y="205"/>
                </a:lnTo>
                <a:lnTo>
                  <a:pt x="1236" y="201"/>
                </a:lnTo>
                <a:lnTo>
                  <a:pt x="1239" y="198"/>
                </a:lnTo>
                <a:lnTo>
                  <a:pt x="1239" y="194"/>
                </a:lnTo>
                <a:lnTo>
                  <a:pt x="1243" y="194"/>
                </a:lnTo>
                <a:lnTo>
                  <a:pt x="1243" y="191"/>
                </a:lnTo>
                <a:lnTo>
                  <a:pt x="1243" y="187"/>
                </a:lnTo>
                <a:lnTo>
                  <a:pt x="1246" y="187"/>
                </a:lnTo>
                <a:lnTo>
                  <a:pt x="1246" y="184"/>
                </a:lnTo>
                <a:lnTo>
                  <a:pt x="1246" y="180"/>
                </a:lnTo>
                <a:lnTo>
                  <a:pt x="1249" y="177"/>
                </a:lnTo>
                <a:lnTo>
                  <a:pt x="1246" y="173"/>
                </a:lnTo>
                <a:lnTo>
                  <a:pt x="1246" y="170"/>
                </a:lnTo>
                <a:lnTo>
                  <a:pt x="1249" y="170"/>
                </a:lnTo>
                <a:lnTo>
                  <a:pt x="1249" y="166"/>
                </a:lnTo>
                <a:lnTo>
                  <a:pt x="1253" y="166"/>
                </a:lnTo>
                <a:lnTo>
                  <a:pt x="1253" y="163"/>
                </a:lnTo>
                <a:lnTo>
                  <a:pt x="1253" y="159"/>
                </a:lnTo>
                <a:lnTo>
                  <a:pt x="1249" y="156"/>
                </a:lnTo>
                <a:lnTo>
                  <a:pt x="1246" y="153"/>
                </a:lnTo>
                <a:lnTo>
                  <a:pt x="1246" y="149"/>
                </a:lnTo>
                <a:lnTo>
                  <a:pt x="1246" y="146"/>
                </a:lnTo>
                <a:lnTo>
                  <a:pt x="1253" y="146"/>
                </a:lnTo>
                <a:lnTo>
                  <a:pt x="1253" y="142"/>
                </a:lnTo>
                <a:lnTo>
                  <a:pt x="1256" y="146"/>
                </a:lnTo>
                <a:lnTo>
                  <a:pt x="1256" y="142"/>
                </a:lnTo>
                <a:lnTo>
                  <a:pt x="1260" y="142"/>
                </a:lnTo>
                <a:lnTo>
                  <a:pt x="1263" y="142"/>
                </a:lnTo>
                <a:lnTo>
                  <a:pt x="1263" y="139"/>
                </a:lnTo>
                <a:lnTo>
                  <a:pt x="1263" y="142"/>
                </a:lnTo>
                <a:lnTo>
                  <a:pt x="1267" y="142"/>
                </a:lnTo>
                <a:lnTo>
                  <a:pt x="1267" y="146"/>
                </a:lnTo>
                <a:lnTo>
                  <a:pt x="1270" y="146"/>
                </a:lnTo>
                <a:lnTo>
                  <a:pt x="1267" y="146"/>
                </a:lnTo>
                <a:lnTo>
                  <a:pt x="1267" y="149"/>
                </a:lnTo>
                <a:lnTo>
                  <a:pt x="1270" y="149"/>
                </a:lnTo>
                <a:lnTo>
                  <a:pt x="1270" y="153"/>
                </a:lnTo>
                <a:lnTo>
                  <a:pt x="1274" y="153"/>
                </a:lnTo>
                <a:lnTo>
                  <a:pt x="1274" y="156"/>
                </a:lnTo>
                <a:lnTo>
                  <a:pt x="1277" y="156"/>
                </a:lnTo>
                <a:lnTo>
                  <a:pt x="1281" y="156"/>
                </a:lnTo>
                <a:lnTo>
                  <a:pt x="1281" y="159"/>
                </a:lnTo>
                <a:lnTo>
                  <a:pt x="1284" y="163"/>
                </a:lnTo>
                <a:lnTo>
                  <a:pt x="1284" y="166"/>
                </a:lnTo>
                <a:lnTo>
                  <a:pt x="1281" y="166"/>
                </a:lnTo>
                <a:lnTo>
                  <a:pt x="1281" y="170"/>
                </a:lnTo>
                <a:lnTo>
                  <a:pt x="1284" y="170"/>
                </a:lnTo>
                <a:lnTo>
                  <a:pt x="1288" y="173"/>
                </a:lnTo>
                <a:lnTo>
                  <a:pt x="1291" y="173"/>
                </a:lnTo>
                <a:lnTo>
                  <a:pt x="1295" y="173"/>
                </a:lnTo>
                <a:lnTo>
                  <a:pt x="1295" y="170"/>
                </a:lnTo>
                <a:lnTo>
                  <a:pt x="1298" y="170"/>
                </a:lnTo>
                <a:lnTo>
                  <a:pt x="1298" y="173"/>
                </a:lnTo>
                <a:lnTo>
                  <a:pt x="1302" y="173"/>
                </a:lnTo>
                <a:lnTo>
                  <a:pt x="1302" y="177"/>
                </a:lnTo>
                <a:lnTo>
                  <a:pt x="1305" y="177"/>
                </a:lnTo>
                <a:lnTo>
                  <a:pt x="1309" y="177"/>
                </a:lnTo>
                <a:lnTo>
                  <a:pt x="1312" y="177"/>
                </a:lnTo>
                <a:lnTo>
                  <a:pt x="1315" y="177"/>
                </a:lnTo>
                <a:lnTo>
                  <a:pt x="1319" y="177"/>
                </a:lnTo>
                <a:lnTo>
                  <a:pt x="1322" y="177"/>
                </a:lnTo>
                <a:lnTo>
                  <a:pt x="1322" y="180"/>
                </a:lnTo>
                <a:lnTo>
                  <a:pt x="1322" y="184"/>
                </a:lnTo>
                <a:lnTo>
                  <a:pt x="1326" y="184"/>
                </a:lnTo>
                <a:lnTo>
                  <a:pt x="1326" y="187"/>
                </a:lnTo>
                <a:lnTo>
                  <a:pt x="1329" y="187"/>
                </a:lnTo>
                <a:lnTo>
                  <a:pt x="1333" y="187"/>
                </a:lnTo>
                <a:lnTo>
                  <a:pt x="1333" y="184"/>
                </a:lnTo>
                <a:lnTo>
                  <a:pt x="1336" y="184"/>
                </a:lnTo>
                <a:lnTo>
                  <a:pt x="1336" y="180"/>
                </a:lnTo>
                <a:lnTo>
                  <a:pt x="1340" y="180"/>
                </a:lnTo>
                <a:lnTo>
                  <a:pt x="1343" y="177"/>
                </a:lnTo>
                <a:lnTo>
                  <a:pt x="1343" y="173"/>
                </a:lnTo>
                <a:lnTo>
                  <a:pt x="1347" y="173"/>
                </a:lnTo>
                <a:lnTo>
                  <a:pt x="1350" y="173"/>
                </a:lnTo>
                <a:lnTo>
                  <a:pt x="1354" y="173"/>
                </a:lnTo>
                <a:lnTo>
                  <a:pt x="1354" y="170"/>
                </a:lnTo>
                <a:lnTo>
                  <a:pt x="1357" y="170"/>
                </a:lnTo>
                <a:lnTo>
                  <a:pt x="1357" y="166"/>
                </a:lnTo>
                <a:lnTo>
                  <a:pt x="1357" y="163"/>
                </a:lnTo>
                <a:lnTo>
                  <a:pt x="1361" y="163"/>
                </a:lnTo>
                <a:lnTo>
                  <a:pt x="1364" y="163"/>
                </a:lnTo>
                <a:lnTo>
                  <a:pt x="1368" y="163"/>
                </a:lnTo>
                <a:lnTo>
                  <a:pt x="1371" y="163"/>
                </a:lnTo>
                <a:lnTo>
                  <a:pt x="1371" y="166"/>
                </a:lnTo>
                <a:lnTo>
                  <a:pt x="1371" y="170"/>
                </a:lnTo>
                <a:lnTo>
                  <a:pt x="1374" y="170"/>
                </a:lnTo>
                <a:lnTo>
                  <a:pt x="1374" y="173"/>
                </a:lnTo>
                <a:lnTo>
                  <a:pt x="1374" y="177"/>
                </a:lnTo>
                <a:lnTo>
                  <a:pt x="1374" y="180"/>
                </a:lnTo>
                <a:lnTo>
                  <a:pt x="1378" y="184"/>
                </a:lnTo>
                <a:lnTo>
                  <a:pt x="1378" y="187"/>
                </a:lnTo>
                <a:lnTo>
                  <a:pt x="1381" y="191"/>
                </a:lnTo>
                <a:lnTo>
                  <a:pt x="1381" y="187"/>
                </a:lnTo>
                <a:lnTo>
                  <a:pt x="1385" y="187"/>
                </a:lnTo>
                <a:lnTo>
                  <a:pt x="1388" y="187"/>
                </a:lnTo>
                <a:lnTo>
                  <a:pt x="1388" y="184"/>
                </a:lnTo>
                <a:lnTo>
                  <a:pt x="1392" y="184"/>
                </a:lnTo>
                <a:lnTo>
                  <a:pt x="1395" y="184"/>
                </a:lnTo>
                <a:lnTo>
                  <a:pt x="1395" y="187"/>
                </a:lnTo>
                <a:lnTo>
                  <a:pt x="1399" y="187"/>
                </a:lnTo>
                <a:lnTo>
                  <a:pt x="1399" y="191"/>
                </a:lnTo>
                <a:lnTo>
                  <a:pt x="1399" y="194"/>
                </a:lnTo>
                <a:lnTo>
                  <a:pt x="1402" y="194"/>
                </a:lnTo>
                <a:lnTo>
                  <a:pt x="1402" y="198"/>
                </a:lnTo>
                <a:lnTo>
                  <a:pt x="1406" y="208"/>
                </a:lnTo>
                <a:lnTo>
                  <a:pt x="1406" y="215"/>
                </a:lnTo>
                <a:lnTo>
                  <a:pt x="1409" y="212"/>
                </a:lnTo>
                <a:lnTo>
                  <a:pt x="1409" y="215"/>
                </a:lnTo>
                <a:lnTo>
                  <a:pt x="1413" y="215"/>
                </a:lnTo>
                <a:lnTo>
                  <a:pt x="1413" y="212"/>
                </a:lnTo>
                <a:lnTo>
                  <a:pt x="1416" y="212"/>
                </a:lnTo>
                <a:lnTo>
                  <a:pt x="1420" y="212"/>
                </a:lnTo>
                <a:lnTo>
                  <a:pt x="1423" y="212"/>
                </a:lnTo>
                <a:lnTo>
                  <a:pt x="1423" y="208"/>
                </a:lnTo>
                <a:lnTo>
                  <a:pt x="1427" y="208"/>
                </a:lnTo>
                <a:lnTo>
                  <a:pt x="1427" y="212"/>
                </a:lnTo>
                <a:close/>
              </a:path>
            </a:pathLst>
          </a:custGeom>
          <a:solidFill>
            <a:srgbClr val="E6E6E6"/>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168" name="Freeform 13">
            <a:extLst>
              <a:ext uri="{FF2B5EF4-FFF2-40B4-BE49-F238E27FC236}">
                <a16:creationId xmlns:a16="http://schemas.microsoft.com/office/drawing/2014/main" id="{35054406-1992-4580-9F9F-A273255178D4}"/>
              </a:ext>
            </a:extLst>
          </p:cNvPr>
          <p:cNvSpPr>
            <a:spLocks/>
          </p:cNvSpPr>
          <p:nvPr/>
        </p:nvSpPr>
        <p:spPr bwMode="gray">
          <a:xfrm>
            <a:off x="9559185" y="2597788"/>
            <a:ext cx="465710" cy="380656"/>
          </a:xfrm>
          <a:custGeom>
            <a:avLst/>
            <a:gdLst>
              <a:gd name="T0" fmla="*/ 163 w 292"/>
              <a:gd name="T1" fmla="*/ 3 h 226"/>
              <a:gd name="T2" fmla="*/ 188 w 292"/>
              <a:gd name="T3" fmla="*/ 7 h 226"/>
              <a:gd name="T4" fmla="*/ 195 w 292"/>
              <a:gd name="T5" fmla="*/ 38 h 226"/>
              <a:gd name="T6" fmla="*/ 216 w 292"/>
              <a:gd name="T7" fmla="*/ 52 h 226"/>
              <a:gd name="T8" fmla="*/ 222 w 292"/>
              <a:gd name="T9" fmla="*/ 38 h 226"/>
              <a:gd name="T10" fmla="*/ 243 w 292"/>
              <a:gd name="T11" fmla="*/ 38 h 226"/>
              <a:gd name="T12" fmla="*/ 240 w 292"/>
              <a:gd name="T13" fmla="*/ 55 h 226"/>
              <a:gd name="T14" fmla="*/ 250 w 292"/>
              <a:gd name="T15" fmla="*/ 66 h 226"/>
              <a:gd name="T16" fmla="*/ 268 w 292"/>
              <a:gd name="T17" fmla="*/ 76 h 226"/>
              <a:gd name="T18" fmla="*/ 271 w 292"/>
              <a:gd name="T19" fmla="*/ 107 h 226"/>
              <a:gd name="T20" fmla="*/ 261 w 292"/>
              <a:gd name="T21" fmla="*/ 135 h 226"/>
              <a:gd name="T22" fmla="*/ 264 w 292"/>
              <a:gd name="T23" fmla="*/ 153 h 226"/>
              <a:gd name="T24" fmla="*/ 264 w 292"/>
              <a:gd name="T25" fmla="*/ 166 h 226"/>
              <a:gd name="T26" fmla="*/ 268 w 292"/>
              <a:gd name="T27" fmla="*/ 160 h 226"/>
              <a:gd name="T28" fmla="*/ 278 w 292"/>
              <a:gd name="T29" fmla="*/ 177 h 226"/>
              <a:gd name="T30" fmla="*/ 281 w 292"/>
              <a:gd name="T31" fmla="*/ 177 h 226"/>
              <a:gd name="T32" fmla="*/ 288 w 292"/>
              <a:gd name="T33" fmla="*/ 184 h 226"/>
              <a:gd name="T34" fmla="*/ 281 w 292"/>
              <a:gd name="T35" fmla="*/ 205 h 226"/>
              <a:gd name="T36" fmla="*/ 254 w 292"/>
              <a:gd name="T37" fmla="*/ 187 h 226"/>
              <a:gd name="T38" fmla="*/ 233 w 292"/>
              <a:gd name="T39" fmla="*/ 184 h 226"/>
              <a:gd name="T40" fmla="*/ 219 w 292"/>
              <a:gd name="T41" fmla="*/ 184 h 226"/>
              <a:gd name="T42" fmla="*/ 209 w 292"/>
              <a:gd name="T43" fmla="*/ 194 h 226"/>
              <a:gd name="T44" fmla="*/ 202 w 292"/>
              <a:gd name="T45" fmla="*/ 205 h 226"/>
              <a:gd name="T46" fmla="*/ 184 w 292"/>
              <a:gd name="T47" fmla="*/ 212 h 226"/>
              <a:gd name="T48" fmla="*/ 181 w 292"/>
              <a:gd name="T49" fmla="*/ 222 h 226"/>
              <a:gd name="T50" fmla="*/ 167 w 292"/>
              <a:gd name="T51" fmla="*/ 226 h 226"/>
              <a:gd name="T52" fmla="*/ 153 w 292"/>
              <a:gd name="T53" fmla="*/ 219 h 226"/>
              <a:gd name="T54" fmla="*/ 132 w 292"/>
              <a:gd name="T55" fmla="*/ 215 h 226"/>
              <a:gd name="T56" fmla="*/ 108 w 292"/>
              <a:gd name="T57" fmla="*/ 205 h 226"/>
              <a:gd name="T58" fmla="*/ 97 w 292"/>
              <a:gd name="T59" fmla="*/ 219 h 226"/>
              <a:gd name="T60" fmla="*/ 91 w 292"/>
              <a:gd name="T61" fmla="*/ 222 h 226"/>
              <a:gd name="T62" fmla="*/ 73 w 292"/>
              <a:gd name="T63" fmla="*/ 212 h 226"/>
              <a:gd name="T64" fmla="*/ 59 w 292"/>
              <a:gd name="T65" fmla="*/ 212 h 226"/>
              <a:gd name="T66" fmla="*/ 35 w 292"/>
              <a:gd name="T67" fmla="*/ 219 h 226"/>
              <a:gd name="T68" fmla="*/ 31 w 292"/>
              <a:gd name="T69" fmla="*/ 215 h 226"/>
              <a:gd name="T70" fmla="*/ 31 w 292"/>
              <a:gd name="T71" fmla="*/ 208 h 226"/>
              <a:gd name="T72" fmla="*/ 21 w 292"/>
              <a:gd name="T73" fmla="*/ 194 h 226"/>
              <a:gd name="T74" fmla="*/ 31 w 292"/>
              <a:gd name="T75" fmla="*/ 187 h 226"/>
              <a:gd name="T76" fmla="*/ 14 w 292"/>
              <a:gd name="T77" fmla="*/ 180 h 226"/>
              <a:gd name="T78" fmla="*/ 4 w 292"/>
              <a:gd name="T79" fmla="*/ 170 h 226"/>
              <a:gd name="T80" fmla="*/ 11 w 292"/>
              <a:gd name="T81" fmla="*/ 156 h 226"/>
              <a:gd name="T82" fmla="*/ 18 w 292"/>
              <a:gd name="T83" fmla="*/ 146 h 226"/>
              <a:gd name="T84" fmla="*/ 18 w 292"/>
              <a:gd name="T85" fmla="*/ 128 h 226"/>
              <a:gd name="T86" fmla="*/ 14 w 292"/>
              <a:gd name="T87" fmla="*/ 118 h 226"/>
              <a:gd name="T88" fmla="*/ 7 w 292"/>
              <a:gd name="T89" fmla="*/ 107 h 226"/>
              <a:gd name="T90" fmla="*/ 11 w 292"/>
              <a:gd name="T91" fmla="*/ 97 h 226"/>
              <a:gd name="T92" fmla="*/ 14 w 292"/>
              <a:gd name="T93" fmla="*/ 76 h 226"/>
              <a:gd name="T94" fmla="*/ 25 w 292"/>
              <a:gd name="T95" fmla="*/ 69 h 226"/>
              <a:gd name="T96" fmla="*/ 42 w 292"/>
              <a:gd name="T97" fmla="*/ 80 h 226"/>
              <a:gd name="T98" fmla="*/ 49 w 292"/>
              <a:gd name="T99" fmla="*/ 94 h 226"/>
              <a:gd name="T100" fmla="*/ 63 w 292"/>
              <a:gd name="T101" fmla="*/ 80 h 226"/>
              <a:gd name="T102" fmla="*/ 70 w 292"/>
              <a:gd name="T103" fmla="*/ 73 h 226"/>
              <a:gd name="T104" fmla="*/ 84 w 292"/>
              <a:gd name="T105" fmla="*/ 66 h 226"/>
              <a:gd name="T106" fmla="*/ 84 w 292"/>
              <a:gd name="T107" fmla="*/ 55 h 226"/>
              <a:gd name="T108" fmla="*/ 101 w 292"/>
              <a:gd name="T109" fmla="*/ 52 h 226"/>
              <a:gd name="T110" fmla="*/ 115 w 292"/>
              <a:gd name="T111" fmla="*/ 45 h 226"/>
              <a:gd name="T112" fmla="*/ 125 w 292"/>
              <a:gd name="T113" fmla="*/ 35 h 226"/>
              <a:gd name="T114" fmla="*/ 136 w 292"/>
              <a:gd name="T115" fmla="*/ 41 h 226"/>
              <a:gd name="T116" fmla="*/ 146 w 292"/>
              <a:gd name="T117" fmla="*/ 28 h 226"/>
              <a:gd name="T118" fmla="*/ 150 w 292"/>
              <a:gd name="T119" fmla="*/ 17 h 226"/>
              <a:gd name="T120" fmla="*/ 153 w 292"/>
              <a:gd name="T121" fmla="*/ 3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2" h="226">
                <a:moveTo>
                  <a:pt x="156" y="0"/>
                </a:moveTo>
                <a:lnTo>
                  <a:pt x="160" y="3"/>
                </a:lnTo>
                <a:lnTo>
                  <a:pt x="156" y="3"/>
                </a:lnTo>
                <a:lnTo>
                  <a:pt x="163" y="7"/>
                </a:lnTo>
                <a:lnTo>
                  <a:pt x="163" y="3"/>
                </a:lnTo>
                <a:lnTo>
                  <a:pt x="174" y="0"/>
                </a:lnTo>
                <a:lnTo>
                  <a:pt x="177" y="0"/>
                </a:lnTo>
                <a:lnTo>
                  <a:pt x="181" y="0"/>
                </a:lnTo>
                <a:lnTo>
                  <a:pt x="181" y="3"/>
                </a:lnTo>
                <a:lnTo>
                  <a:pt x="188" y="7"/>
                </a:lnTo>
                <a:lnTo>
                  <a:pt x="191" y="7"/>
                </a:lnTo>
                <a:lnTo>
                  <a:pt x="191" y="14"/>
                </a:lnTo>
                <a:lnTo>
                  <a:pt x="191" y="21"/>
                </a:lnTo>
                <a:lnTo>
                  <a:pt x="191" y="35"/>
                </a:lnTo>
                <a:lnTo>
                  <a:pt x="195" y="38"/>
                </a:lnTo>
                <a:lnTo>
                  <a:pt x="202" y="41"/>
                </a:lnTo>
                <a:lnTo>
                  <a:pt x="209" y="45"/>
                </a:lnTo>
                <a:lnTo>
                  <a:pt x="209" y="48"/>
                </a:lnTo>
                <a:lnTo>
                  <a:pt x="212" y="48"/>
                </a:lnTo>
                <a:lnTo>
                  <a:pt x="216" y="52"/>
                </a:lnTo>
                <a:lnTo>
                  <a:pt x="222" y="55"/>
                </a:lnTo>
                <a:lnTo>
                  <a:pt x="222" y="52"/>
                </a:lnTo>
                <a:lnTo>
                  <a:pt x="222" y="48"/>
                </a:lnTo>
                <a:lnTo>
                  <a:pt x="222" y="41"/>
                </a:lnTo>
                <a:lnTo>
                  <a:pt x="222" y="38"/>
                </a:lnTo>
                <a:lnTo>
                  <a:pt x="222" y="31"/>
                </a:lnTo>
                <a:lnTo>
                  <a:pt x="233" y="35"/>
                </a:lnTo>
                <a:lnTo>
                  <a:pt x="236" y="35"/>
                </a:lnTo>
                <a:lnTo>
                  <a:pt x="240" y="38"/>
                </a:lnTo>
                <a:lnTo>
                  <a:pt x="243" y="38"/>
                </a:lnTo>
                <a:lnTo>
                  <a:pt x="243" y="41"/>
                </a:lnTo>
                <a:lnTo>
                  <a:pt x="247" y="41"/>
                </a:lnTo>
                <a:lnTo>
                  <a:pt x="243" y="45"/>
                </a:lnTo>
                <a:lnTo>
                  <a:pt x="243" y="52"/>
                </a:lnTo>
                <a:lnTo>
                  <a:pt x="240" y="55"/>
                </a:lnTo>
                <a:lnTo>
                  <a:pt x="243" y="55"/>
                </a:lnTo>
                <a:lnTo>
                  <a:pt x="247" y="59"/>
                </a:lnTo>
                <a:lnTo>
                  <a:pt x="243" y="62"/>
                </a:lnTo>
                <a:lnTo>
                  <a:pt x="250" y="62"/>
                </a:lnTo>
                <a:lnTo>
                  <a:pt x="250" y="66"/>
                </a:lnTo>
                <a:lnTo>
                  <a:pt x="257" y="66"/>
                </a:lnTo>
                <a:lnTo>
                  <a:pt x="261" y="66"/>
                </a:lnTo>
                <a:lnTo>
                  <a:pt x="264" y="66"/>
                </a:lnTo>
                <a:lnTo>
                  <a:pt x="271" y="66"/>
                </a:lnTo>
                <a:lnTo>
                  <a:pt x="268" y="76"/>
                </a:lnTo>
                <a:lnTo>
                  <a:pt x="264" y="80"/>
                </a:lnTo>
                <a:lnTo>
                  <a:pt x="264" y="90"/>
                </a:lnTo>
                <a:lnTo>
                  <a:pt x="271" y="90"/>
                </a:lnTo>
                <a:lnTo>
                  <a:pt x="275" y="94"/>
                </a:lnTo>
                <a:lnTo>
                  <a:pt x="271" y="107"/>
                </a:lnTo>
                <a:lnTo>
                  <a:pt x="271" y="114"/>
                </a:lnTo>
                <a:lnTo>
                  <a:pt x="268" y="121"/>
                </a:lnTo>
                <a:lnTo>
                  <a:pt x="264" y="125"/>
                </a:lnTo>
                <a:lnTo>
                  <a:pt x="264" y="132"/>
                </a:lnTo>
                <a:lnTo>
                  <a:pt x="261" y="135"/>
                </a:lnTo>
                <a:lnTo>
                  <a:pt x="264" y="139"/>
                </a:lnTo>
                <a:lnTo>
                  <a:pt x="264" y="142"/>
                </a:lnTo>
                <a:lnTo>
                  <a:pt x="264" y="146"/>
                </a:lnTo>
                <a:lnTo>
                  <a:pt x="264" y="149"/>
                </a:lnTo>
                <a:lnTo>
                  <a:pt x="264" y="153"/>
                </a:lnTo>
                <a:lnTo>
                  <a:pt x="264" y="156"/>
                </a:lnTo>
                <a:lnTo>
                  <a:pt x="261" y="160"/>
                </a:lnTo>
                <a:lnTo>
                  <a:pt x="261" y="163"/>
                </a:lnTo>
                <a:lnTo>
                  <a:pt x="261" y="166"/>
                </a:lnTo>
                <a:lnTo>
                  <a:pt x="264" y="166"/>
                </a:lnTo>
                <a:lnTo>
                  <a:pt x="268" y="166"/>
                </a:lnTo>
                <a:lnTo>
                  <a:pt x="268" y="163"/>
                </a:lnTo>
                <a:lnTo>
                  <a:pt x="264" y="163"/>
                </a:lnTo>
                <a:lnTo>
                  <a:pt x="264" y="160"/>
                </a:lnTo>
                <a:lnTo>
                  <a:pt x="268" y="160"/>
                </a:lnTo>
                <a:lnTo>
                  <a:pt x="271" y="160"/>
                </a:lnTo>
                <a:lnTo>
                  <a:pt x="271" y="166"/>
                </a:lnTo>
                <a:lnTo>
                  <a:pt x="271" y="173"/>
                </a:lnTo>
                <a:lnTo>
                  <a:pt x="275" y="177"/>
                </a:lnTo>
                <a:lnTo>
                  <a:pt x="278" y="177"/>
                </a:lnTo>
                <a:lnTo>
                  <a:pt x="275" y="177"/>
                </a:lnTo>
                <a:lnTo>
                  <a:pt x="275" y="173"/>
                </a:lnTo>
                <a:lnTo>
                  <a:pt x="278" y="173"/>
                </a:lnTo>
                <a:lnTo>
                  <a:pt x="281" y="180"/>
                </a:lnTo>
                <a:lnTo>
                  <a:pt x="281" y="177"/>
                </a:lnTo>
                <a:lnTo>
                  <a:pt x="285" y="177"/>
                </a:lnTo>
                <a:lnTo>
                  <a:pt x="288" y="177"/>
                </a:lnTo>
                <a:lnTo>
                  <a:pt x="292" y="177"/>
                </a:lnTo>
                <a:lnTo>
                  <a:pt x="292" y="180"/>
                </a:lnTo>
                <a:lnTo>
                  <a:pt x="288" y="184"/>
                </a:lnTo>
                <a:lnTo>
                  <a:pt x="292" y="187"/>
                </a:lnTo>
                <a:lnTo>
                  <a:pt x="292" y="198"/>
                </a:lnTo>
                <a:lnTo>
                  <a:pt x="292" y="201"/>
                </a:lnTo>
                <a:lnTo>
                  <a:pt x="292" y="205"/>
                </a:lnTo>
                <a:lnTo>
                  <a:pt x="281" y="205"/>
                </a:lnTo>
                <a:lnTo>
                  <a:pt x="268" y="198"/>
                </a:lnTo>
                <a:lnTo>
                  <a:pt x="264" y="198"/>
                </a:lnTo>
                <a:lnTo>
                  <a:pt x="264" y="194"/>
                </a:lnTo>
                <a:lnTo>
                  <a:pt x="261" y="191"/>
                </a:lnTo>
                <a:lnTo>
                  <a:pt x="254" y="187"/>
                </a:lnTo>
                <a:lnTo>
                  <a:pt x="247" y="180"/>
                </a:lnTo>
                <a:lnTo>
                  <a:pt x="243" y="180"/>
                </a:lnTo>
                <a:lnTo>
                  <a:pt x="240" y="184"/>
                </a:lnTo>
                <a:lnTo>
                  <a:pt x="236" y="184"/>
                </a:lnTo>
                <a:lnTo>
                  <a:pt x="233" y="184"/>
                </a:lnTo>
                <a:lnTo>
                  <a:pt x="229" y="180"/>
                </a:lnTo>
                <a:lnTo>
                  <a:pt x="229" y="184"/>
                </a:lnTo>
                <a:lnTo>
                  <a:pt x="226" y="184"/>
                </a:lnTo>
                <a:lnTo>
                  <a:pt x="222" y="184"/>
                </a:lnTo>
                <a:lnTo>
                  <a:pt x="219" y="184"/>
                </a:lnTo>
                <a:lnTo>
                  <a:pt x="219" y="187"/>
                </a:lnTo>
                <a:lnTo>
                  <a:pt x="216" y="187"/>
                </a:lnTo>
                <a:lnTo>
                  <a:pt x="216" y="191"/>
                </a:lnTo>
                <a:lnTo>
                  <a:pt x="212" y="194"/>
                </a:lnTo>
                <a:lnTo>
                  <a:pt x="209" y="194"/>
                </a:lnTo>
                <a:lnTo>
                  <a:pt x="212" y="194"/>
                </a:lnTo>
                <a:lnTo>
                  <a:pt x="209" y="198"/>
                </a:lnTo>
                <a:lnTo>
                  <a:pt x="205" y="198"/>
                </a:lnTo>
                <a:lnTo>
                  <a:pt x="205" y="201"/>
                </a:lnTo>
                <a:lnTo>
                  <a:pt x="202" y="205"/>
                </a:lnTo>
                <a:lnTo>
                  <a:pt x="198" y="205"/>
                </a:lnTo>
                <a:lnTo>
                  <a:pt x="195" y="205"/>
                </a:lnTo>
                <a:lnTo>
                  <a:pt x="191" y="205"/>
                </a:lnTo>
                <a:lnTo>
                  <a:pt x="188" y="205"/>
                </a:lnTo>
                <a:lnTo>
                  <a:pt x="184" y="212"/>
                </a:lnTo>
                <a:lnTo>
                  <a:pt x="188" y="212"/>
                </a:lnTo>
                <a:lnTo>
                  <a:pt x="188" y="219"/>
                </a:lnTo>
                <a:lnTo>
                  <a:pt x="188" y="226"/>
                </a:lnTo>
                <a:lnTo>
                  <a:pt x="184" y="222"/>
                </a:lnTo>
                <a:lnTo>
                  <a:pt x="181" y="222"/>
                </a:lnTo>
                <a:lnTo>
                  <a:pt x="177" y="222"/>
                </a:lnTo>
                <a:lnTo>
                  <a:pt x="174" y="222"/>
                </a:lnTo>
                <a:lnTo>
                  <a:pt x="170" y="222"/>
                </a:lnTo>
                <a:lnTo>
                  <a:pt x="170" y="226"/>
                </a:lnTo>
                <a:lnTo>
                  <a:pt x="167" y="226"/>
                </a:lnTo>
                <a:lnTo>
                  <a:pt x="167" y="222"/>
                </a:lnTo>
                <a:lnTo>
                  <a:pt x="163" y="222"/>
                </a:lnTo>
                <a:lnTo>
                  <a:pt x="160" y="222"/>
                </a:lnTo>
                <a:lnTo>
                  <a:pt x="156" y="219"/>
                </a:lnTo>
                <a:lnTo>
                  <a:pt x="153" y="219"/>
                </a:lnTo>
                <a:lnTo>
                  <a:pt x="150" y="219"/>
                </a:lnTo>
                <a:lnTo>
                  <a:pt x="143" y="215"/>
                </a:lnTo>
                <a:lnTo>
                  <a:pt x="139" y="215"/>
                </a:lnTo>
                <a:lnTo>
                  <a:pt x="136" y="215"/>
                </a:lnTo>
                <a:lnTo>
                  <a:pt x="132" y="215"/>
                </a:lnTo>
                <a:lnTo>
                  <a:pt x="129" y="212"/>
                </a:lnTo>
                <a:lnTo>
                  <a:pt x="125" y="212"/>
                </a:lnTo>
                <a:lnTo>
                  <a:pt x="122" y="208"/>
                </a:lnTo>
                <a:lnTo>
                  <a:pt x="111" y="205"/>
                </a:lnTo>
                <a:lnTo>
                  <a:pt x="108" y="205"/>
                </a:lnTo>
                <a:lnTo>
                  <a:pt x="104" y="208"/>
                </a:lnTo>
                <a:lnTo>
                  <a:pt x="104" y="212"/>
                </a:lnTo>
                <a:lnTo>
                  <a:pt x="104" y="215"/>
                </a:lnTo>
                <a:lnTo>
                  <a:pt x="101" y="219"/>
                </a:lnTo>
                <a:lnTo>
                  <a:pt x="97" y="219"/>
                </a:lnTo>
                <a:lnTo>
                  <a:pt x="97" y="222"/>
                </a:lnTo>
                <a:lnTo>
                  <a:pt x="97" y="226"/>
                </a:lnTo>
                <a:lnTo>
                  <a:pt x="94" y="226"/>
                </a:lnTo>
                <a:lnTo>
                  <a:pt x="94" y="222"/>
                </a:lnTo>
                <a:lnTo>
                  <a:pt x="91" y="222"/>
                </a:lnTo>
                <a:lnTo>
                  <a:pt x="87" y="219"/>
                </a:lnTo>
                <a:lnTo>
                  <a:pt x="87" y="215"/>
                </a:lnTo>
                <a:lnTo>
                  <a:pt x="80" y="212"/>
                </a:lnTo>
                <a:lnTo>
                  <a:pt x="77" y="212"/>
                </a:lnTo>
                <a:lnTo>
                  <a:pt x="73" y="212"/>
                </a:lnTo>
                <a:lnTo>
                  <a:pt x="70" y="208"/>
                </a:lnTo>
                <a:lnTo>
                  <a:pt x="66" y="208"/>
                </a:lnTo>
                <a:lnTo>
                  <a:pt x="63" y="208"/>
                </a:lnTo>
                <a:lnTo>
                  <a:pt x="63" y="212"/>
                </a:lnTo>
                <a:lnTo>
                  <a:pt x="59" y="212"/>
                </a:lnTo>
                <a:lnTo>
                  <a:pt x="56" y="212"/>
                </a:lnTo>
                <a:lnTo>
                  <a:pt x="52" y="212"/>
                </a:lnTo>
                <a:lnTo>
                  <a:pt x="49" y="212"/>
                </a:lnTo>
                <a:lnTo>
                  <a:pt x="42" y="212"/>
                </a:lnTo>
                <a:lnTo>
                  <a:pt x="35" y="219"/>
                </a:lnTo>
                <a:lnTo>
                  <a:pt x="31" y="219"/>
                </a:lnTo>
                <a:lnTo>
                  <a:pt x="28" y="219"/>
                </a:lnTo>
                <a:lnTo>
                  <a:pt x="25" y="219"/>
                </a:lnTo>
                <a:lnTo>
                  <a:pt x="28" y="215"/>
                </a:lnTo>
                <a:lnTo>
                  <a:pt x="31" y="215"/>
                </a:lnTo>
                <a:lnTo>
                  <a:pt x="42" y="212"/>
                </a:lnTo>
                <a:lnTo>
                  <a:pt x="42" y="208"/>
                </a:lnTo>
                <a:lnTo>
                  <a:pt x="42" y="205"/>
                </a:lnTo>
                <a:lnTo>
                  <a:pt x="35" y="205"/>
                </a:lnTo>
                <a:lnTo>
                  <a:pt x="31" y="208"/>
                </a:lnTo>
                <a:lnTo>
                  <a:pt x="31" y="205"/>
                </a:lnTo>
                <a:lnTo>
                  <a:pt x="28" y="201"/>
                </a:lnTo>
                <a:lnTo>
                  <a:pt x="25" y="198"/>
                </a:lnTo>
                <a:lnTo>
                  <a:pt x="25" y="194"/>
                </a:lnTo>
                <a:lnTo>
                  <a:pt x="21" y="194"/>
                </a:lnTo>
                <a:lnTo>
                  <a:pt x="21" y="191"/>
                </a:lnTo>
                <a:lnTo>
                  <a:pt x="25" y="191"/>
                </a:lnTo>
                <a:lnTo>
                  <a:pt x="28" y="191"/>
                </a:lnTo>
                <a:lnTo>
                  <a:pt x="28" y="187"/>
                </a:lnTo>
                <a:lnTo>
                  <a:pt x="31" y="187"/>
                </a:lnTo>
                <a:lnTo>
                  <a:pt x="28" y="187"/>
                </a:lnTo>
                <a:lnTo>
                  <a:pt x="18" y="184"/>
                </a:lnTo>
                <a:lnTo>
                  <a:pt x="14" y="187"/>
                </a:lnTo>
                <a:lnTo>
                  <a:pt x="14" y="184"/>
                </a:lnTo>
                <a:lnTo>
                  <a:pt x="14" y="180"/>
                </a:lnTo>
                <a:lnTo>
                  <a:pt x="14" y="177"/>
                </a:lnTo>
                <a:lnTo>
                  <a:pt x="11" y="177"/>
                </a:lnTo>
                <a:lnTo>
                  <a:pt x="11" y="173"/>
                </a:lnTo>
                <a:lnTo>
                  <a:pt x="7" y="170"/>
                </a:lnTo>
                <a:lnTo>
                  <a:pt x="4" y="170"/>
                </a:lnTo>
                <a:lnTo>
                  <a:pt x="0" y="166"/>
                </a:lnTo>
                <a:lnTo>
                  <a:pt x="4" y="166"/>
                </a:lnTo>
                <a:lnTo>
                  <a:pt x="7" y="163"/>
                </a:lnTo>
                <a:lnTo>
                  <a:pt x="7" y="160"/>
                </a:lnTo>
                <a:lnTo>
                  <a:pt x="11" y="156"/>
                </a:lnTo>
                <a:lnTo>
                  <a:pt x="11" y="153"/>
                </a:lnTo>
                <a:lnTo>
                  <a:pt x="14" y="153"/>
                </a:lnTo>
                <a:lnTo>
                  <a:pt x="14" y="149"/>
                </a:lnTo>
                <a:lnTo>
                  <a:pt x="18" y="149"/>
                </a:lnTo>
                <a:lnTo>
                  <a:pt x="18" y="146"/>
                </a:lnTo>
                <a:lnTo>
                  <a:pt x="18" y="142"/>
                </a:lnTo>
                <a:lnTo>
                  <a:pt x="18" y="139"/>
                </a:lnTo>
                <a:lnTo>
                  <a:pt x="21" y="132"/>
                </a:lnTo>
                <a:lnTo>
                  <a:pt x="18" y="132"/>
                </a:lnTo>
                <a:lnTo>
                  <a:pt x="18" y="128"/>
                </a:lnTo>
                <a:lnTo>
                  <a:pt x="21" y="128"/>
                </a:lnTo>
                <a:lnTo>
                  <a:pt x="21" y="125"/>
                </a:lnTo>
                <a:lnTo>
                  <a:pt x="18" y="121"/>
                </a:lnTo>
                <a:lnTo>
                  <a:pt x="14" y="121"/>
                </a:lnTo>
                <a:lnTo>
                  <a:pt x="14" y="118"/>
                </a:lnTo>
                <a:lnTo>
                  <a:pt x="11" y="114"/>
                </a:lnTo>
                <a:lnTo>
                  <a:pt x="14" y="111"/>
                </a:lnTo>
                <a:lnTo>
                  <a:pt x="4" y="111"/>
                </a:lnTo>
                <a:lnTo>
                  <a:pt x="4" y="107"/>
                </a:lnTo>
                <a:lnTo>
                  <a:pt x="7" y="107"/>
                </a:lnTo>
                <a:lnTo>
                  <a:pt x="11" y="104"/>
                </a:lnTo>
                <a:lnTo>
                  <a:pt x="14" y="104"/>
                </a:lnTo>
                <a:lnTo>
                  <a:pt x="14" y="100"/>
                </a:lnTo>
                <a:lnTo>
                  <a:pt x="11" y="100"/>
                </a:lnTo>
                <a:lnTo>
                  <a:pt x="11" y="97"/>
                </a:lnTo>
                <a:lnTo>
                  <a:pt x="11" y="94"/>
                </a:lnTo>
                <a:lnTo>
                  <a:pt x="11" y="87"/>
                </a:lnTo>
                <a:lnTo>
                  <a:pt x="11" y="83"/>
                </a:lnTo>
                <a:lnTo>
                  <a:pt x="11" y="80"/>
                </a:lnTo>
                <a:lnTo>
                  <a:pt x="14" y="76"/>
                </a:lnTo>
                <a:lnTo>
                  <a:pt x="18" y="73"/>
                </a:lnTo>
                <a:lnTo>
                  <a:pt x="18" y="69"/>
                </a:lnTo>
                <a:lnTo>
                  <a:pt x="18" y="66"/>
                </a:lnTo>
                <a:lnTo>
                  <a:pt x="21" y="66"/>
                </a:lnTo>
                <a:lnTo>
                  <a:pt x="25" y="69"/>
                </a:lnTo>
                <a:lnTo>
                  <a:pt x="28" y="69"/>
                </a:lnTo>
                <a:lnTo>
                  <a:pt x="31" y="73"/>
                </a:lnTo>
                <a:lnTo>
                  <a:pt x="35" y="76"/>
                </a:lnTo>
                <a:lnTo>
                  <a:pt x="38" y="80"/>
                </a:lnTo>
                <a:lnTo>
                  <a:pt x="42" y="80"/>
                </a:lnTo>
                <a:lnTo>
                  <a:pt x="45" y="83"/>
                </a:lnTo>
                <a:lnTo>
                  <a:pt x="42" y="87"/>
                </a:lnTo>
                <a:lnTo>
                  <a:pt x="42" y="90"/>
                </a:lnTo>
                <a:lnTo>
                  <a:pt x="45" y="94"/>
                </a:lnTo>
                <a:lnTo>
                  <a:pt x="49" y="94"/>
                </a:lnTo>
                <a:lnTo>
                  <a:pt x="52" y="90"/>
                </a:lnTo>
                <a:lnTo>
                  <a:pt x="56" y="90"/>
                </a:lnTo>
                <a:lnTo>
                  <a:pt x="59" y="87"/>
                </a:lnTo>
                <a:lnTo>
                  <a:pt x="63" y="83"/>
                </a:lnTo>
                <a:lnTo>
                  <a:pt x="63" y="80"/>
                </a:lnTo>
                <a:lnTo>
                  <a:pt x="66" y="80"/>
                </a:lnTo>
                <a:lnTo>
                  <a:pt x="66" y="76"/>
                </a:lnTo>
                <a:lnTo>
                  <a:pt x="63" y="76"/>
                </a:lnTo>
                <a:lnTo>
                  <a:pt x="66" y="76"/>
                </a:lnTo>
                <a:lnTo>
                  <a:pt x="70" y="73"/>
                </a:lnTo>
                <a:lnTo>
                  <a:pt x="73" y="73"/>
                </a:lnTo>
                <a:lnTo>
                  <a:pt x="77" y="73"/>
                </a:lnTo>
                <a:lnTo>
                  <a:pt x="77" y="69"/>
                </a:lnTo>
                <a:lnTo>
                  <a:pt x="80" y="69"/>
                </a:lnTo>
                <a:lnTo>
                  <a:pt x="84" y="66"/>
                </a:lnTo>
                <a:lnTo>
                  <a:pt x="84" y="62"/>
                </a:lnTo>
                <a:lnTo>
                  <a:pt x="80" y="62"/>
                </a:lnTo>
                <a:lnTo>
                  <a:pt x="77" y="62"/>
                </a:lnTo>
                <a:lnTo>
                  <a:pt x="80" y="59"/>
                </a:lnTo>
                <a:lnTo>
                  <a:pt x="84" y="55"/>
                </a:lnTo>
                <a:lnTo>
                  <a:pt x="87" y="55"/>
                </a:lnTo>
                <a:lnTo>
                  <a:pt x="91" y="55"/>
                </a:lnTo>
                <a:lnTo>
                  <a:pt x="94" y="55"/>
                </a:lnTo>
                <a:lnTo>
                  <a:pt x="97" y="55"/>
                </a:lnTo>
                <a:lnTo>
                  <a:pt x="101" y="52"/>
                </a:lnTo>
                <a:lnTo>
                  <a:pt x="104" y="48"/>
                </a:lnTo>
                <a:lnTo>
                  <a:pt x="108" y="52"/>
                </a:lnTo>
                <a:lnTo>
                  <a:pt x="111" y="48"/>
                </a:lnTo>
                <a:lnTo>
                  <a:pt x="111" y="45"/>
                </a:lnTo>
                <a:lnTo>
                  <a:pt x="115" y="45"/>
                </a:lnTo>
                <a:lnTo>
                  <a:pt x="118" y="41"/>
                </a:lnTo>
                <a:lnTo>
                  <a:pt x="122" y="41"/>
                </a:lnTo>
                <a:lnTo>
                  <a:pt x="118" y="38"/>
                </a:lnTo>
                <a:lnTo>
                  <a:pt x="122" y="38"/>
                </a:lnTo>
                <a:lnTo>
                  <a:pt x="125" y="35"/>
                </a:lnTo>
                <a:lnTo>
                  <a:pt x="129" y="45"/>
                </a:lnTo>
                <a:lnTo>
                  <a:pt x="132" y="45"/>
                </a:lnTo>
                <a:lnTo>
                  <a:pt x="136" y="45"/>
                </a:lnTo>
                <a:lnTo>
                  <a:pt x="139" y="45"/>
                </a:lnTo>
                <a:lnTo>
                  <a:pt x="136" y="41"/>
                </a:lnTo>
                <a:lnTo>
                  <a:pt x="139" y="38"/>
                </a:lnTo>
                <a:lnTo>
                  <a:pt x="146" y="38"/>
                </a:lnTo>
                <a:lnTo>
                  <a:pt x="146" y="35"/>
                </a:lnTo>
                <a:lnTo>
                  <a:pt x="143" y="31"/>
                </a:lnTo>
                <a:lnTo>
                  <a:pt x="146" y="28"/>
                </a:lnTo>
                <a:lnTo>
                  <a:pt x="146" y="24"/>
                </a:lnTo>
                <a:lnTo>
                  <a:pt x="150" y="24"/>
                </a:lnTo>
                <a:lnTo>
                  <a:pt x="153" y="24"/>
                </a:lnTo>
                <a:lnTo>
                  <a:pt x="150" y="21"/>
                </a:lnTo>
                <a:lnTo>
                  <a:pt x="150" y="17"/>
                </a:lnTo>
                <a:lnTo>
                  <a:pt x="150" y="14"/>
                </a:lnTo>
                <a:lnTo>
                  <a:pt x="146" y="10"/>
                </a:lnTo>
                <a:lnTo>
                  <a:pt x="150" y="7"/>
                </a:lnTo>
                <a:lnTo>
                  <a:pt x="150" y="3"/>
                </a:lnTo>
                <a:lnTo>
                  <a:pt x="153" y="3"/>
                </a:lnTo>
                <a:lnTo>
                  <a:pt x="156" y="3"/>
                </a:lnTo>
                <a:lnTo>
                  <a:pt x="156" y="0"/>
                </a:lnTo>
                <a:close/>
              </a:path>
            </a:pathLst>
          </a:custGeom>
          <a:solidFill>
            <a:srgbClr val="E6E6E6"/>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169" name="Freeform 14">
            <a:extLst>
              <a:ext uri="{FF2B5EF4-FFF2-40B4-BE49-F238E27FC236}">
                <a16:creationId xmlns:a16="http://schemas.microsoft.com/office/drawing/2014/main" id="{B3175D74-4B64-4089-B0A0-360873B5EE68}"/>
              </a:ext>
            </a:extLst>
          </p:cNvPr>
          <p:cNvSpPr>
            <a:spLocks noEditPoints="1"/>
          </p:cNvSpPr>
          <p:nvPr/>
        </p:nvSpPr>
        <p:spPr bwMode="gray">
          <a:xfrm>
            <a:off x="7532068" y="1292440"/>
            <a:ext cx="3068586" cy="2966089"/>
          </a:xfrm>
          <a:custGeom>
            <a:avLst/>
            <a:gdLst>
              <a:gd name="T0" fmla="*/ 1855 w 1924"/>
              <a:gd name="T1" fmla="*/ 1091 h 1761"/>
              <a:gd name="T2" fmla="*/ 1761 w 1924"/>
              <a:gd name="T3" fmla="*/ 1077 h 1761"/>
              <a:gd name="T4" fmla="*/ 1681 w 1924"/>
              <a:gd name="T5" fmla="*/ 1115 h 1761"/>
              <a:gd name="T6" fmla="*/ 1559 w 1924"/>
              <a:gd name="T7" fmla="*/ 1247 h 1761"/>
              <a:gd name="T8" fmla="*/ 1480 w 1924"/>
              <a:gd name="T9" fmla="*/ 1198 h 1761"/>
              <a:gd name="T10" fmla="*/ 1414 w 1924"/>
              <a:gd name="T11" fmla="*/ 1271 h 1761"/>
              <a:gd name="T12" fmla="*/ 1341 w 1924"/>
              <a:gd name="T13" fmla="*/ 1341 h 1761"/>
              <a:gd name="T14" fmla="*/ 1403 w 1924"/>
              <a:gd name="T15" fmla="*/ 1508 h 1761"/>
              <a:gd name="T16" fmla="*/ 1368 w 1924"/>
              <a:gd name="T17" fmla="*/ 1629 h 1761"/>
              <a:gd name="T18" fmla="*/ 1316 w 1924"/>
              <a:gd name="T19" fmla="*/ 1747 h 1761"/>
              <a:gd name="T20" fmla="*/ 1219 w 1924"/>
              <a:gd name="T21" fmla="*/ 1667 h 1761"/>
              <a:gd name="T22" fmla="*/ 1101 w 1924"/>
              <a:gd name="T23" fmla="*/ 1657 h 1761"/>
              <a:gd name="T24" fmla="*/ 1004 w 1924"/>
              <a:gd name="T25" fmla="*/ 1528 h 1761"/>
              <a:gd name="T26" fmla="*/ 910 w 1924"/>
              <a:gd name="T27" fmla="*/ 1452 h 1761"/>
              <a:gd name="T28" fmla="*/ 785 w 1924"/>
              <a:gd name="T29" fmla="*/ 1389 h 1761"/>
              <a:gd name="T30" fmla="*/ 639 w 1924"/>
              <a:gd name="T31" fmla="*/ 1327 h 1761"/>
              <a:gd name="T32" fmla="*/ 553 w 1924"/>
              <a:gd name="T33" fmla="*/ 1396 h 1761"/>
              <a:gd name="T34" fmla="*/ 379 w 1924"/>
              <a:gd name="T35" fmla="*/ 1417 h 1761"/>
              <a:gd name="T36" fmla="*/ 264 w 1924"/>
              <a:gd name="T37" fmla="*/ 1421 h 1761"/>
              <a:gd name="T38" fmla="*/ 191 w 1924"/>
              <a:gd name="T39" fmla="*/ 1334 h 1761"/>
              <a:gd name="T40" fmla="*/ 205 w 1924"/>
              <a:gd name="T41" fmla="*/ 1202 h 1761"/>
              <a:gd name="T42" fmla="*/ 87 w 1924"/>
              <a:gd name="T43" fmla="*/ 1160 h 1761"/>
              <a:gd name="T44" fmla="*/ 7 w 1924"/>
              <a:gd name="T45" fmla="*/ 1087 h 1761"/>
              <a:gd name="T46" fmla="*/ 14 w 1924"/>
              <a:gd name="T47" fmla="*/ 962 h 1761"/>
              <a:gd name="T48" fmla="*/ 136 w 1924"/>
              <a:gd name="T49" fmla="*/ 935 h 1761"/>
              <a:gd name="T50" fmla="*/ 292 w 1924"/>
              <a:gd name="T51" fmla="*/ 910 h 1761"/>
              <a:gd name="T52" fmla="*/ 372 w 1924"/>
              <a:gd name="T53" fmla="*/ 893 h 1761"/>
              <a:gd name="T54" fmla="*/ 382 w 1924"/>
              <a:gd name="T55" fmla="*/ 775 h 1761"/>
              <a:gd name="T56" fmla="*/ 330 w 1924"/>
              <a:gd name="T57" fmla="*/ 636 h 1761"/>
              <a:gd name="T58" fmla="*/ 303 w 1924"/>
              <a:gd name="T59" fmla="*/ 549 h 1761"/>
              <a:gd name="T60" fmla="*/ 188 w 1924"/>
              <a:gd name="T61" fmla="*/ 490 h 1761"/>
              <a:gd name="T62" fmla="*/ 230 w 1924"/>
              <a:gd name="T63" fmla="*/ 344 h 1761"/>
              <a:gd name="T64" fmla="*/ 282 w 1924"/>
              <a:gd name="T65" fmla="*/ 264 h 1761"/>
              <a:gd name="T66" fmla="*/ 389 w 1924"/>
              <a:gd name="T67" fmla="*/ 275 h 1761"/>
              <a:gd name="T68" fmla="*/ 393 w 1924"/>
              <a:gd name="T69" fmla="*/ 160 h 1761"/>
              <a:gd name="T70" fmla="*/ 396 w 1924"/>
              <a:gd name="T71" fmla="*/ 11 h 1761"/>
              <a:gd name="T72" fmla="*/ 497 w 1924"/>
              <a:gd name="T73" fmla="*/ 25 h 1761"/>
              <a:gd name="T74" fmla="*/ 546 w 1924"/>
              <a:gd name="T75" fmla="*/ 84 h 1761"/>
              <a:gd name="T76" fmla="*/ 632 w 1924"/>
              <a:gd name="T77" fmla="*/ 46 h 1761"/>
              <a:gd name="T78" fmla="*/ 750 w 1924"/>
              <a:gd name="T79" fmla="*/ 80 h 1761"/>
              <a:gd name="T80" fmla="*/ 875 w 1924"/>
              <a:gd name="T81" fmla="*/ 150 h 1761"/>
              <a:gd name="T82" fmla="*/ 1004 w 1924"/>
              <a:gd name="T83" fmla="*/ 164 h 1761"/>
              <a:gd name="T84" fmla="*/ 1066 w 1924"/>
              <a:gd name="T85" fmla="*/ 198 h 1761"/>
              <a:gd name="T86" fmla="*/ 1112 w 1924"/>
              <a:gd name="T87" fmla="*/ 247 h 1761"/>
              <a:gd name="T88" fmla="*/ 1254 w 1924"/>
              <a:gd name="T89" fmla="*/ 303 h 1761"/>
              <a:gd name="T90" fmla="*/ 1393 w 1924"/>
              <a:gd name="T91" fmla="*/ 309 h 1761"/>
              <a:gd name="T92" fmla="*/ 1466 w 1924"/>
              <a:gd name="T93" fmla="*/ 261 h 1761"/>
              <a:gd name="T94" fmla="*/ 1573 w 1924"/>
              <a:gd name="T95" fmla="*/ 261 h 1761"/>
              <a:gd name="T96" fmla="*/ 1657 w 1924"/>
              <a:gd name="T97" fmla="*/ 316 h 1761"/>
              <a:gd name="T98" fmla="*/ 1747 w 1924"/>
              <a:gd name="T99" fmla="*/ 341 h 1761"/>
              <a:gd name="T100" fmla="*/ 1806 w 1924"/>
              <a:gd name="T101" fmla="*/ 379 h 1761"/>
              <a:gd name="T102" fmla="*/ 1827 w 1924"/>
              <a:gd name="T103" fmla="*/ 473 h 1761"/>
              <a:gd name="T104" fmla="*/ 1809 w 1924"/>
              <a:gd name="T105" fmla="*/ 577 h 1761"/>
              <a:gd name="T106" fmla="*/ 1771 w 1924"/>
              <a:gd name="T107" fmla="*/ 664 h 1761"/>
              <a:gd name="T108" fmla="*/ 1792 w 1924"/>
              <a:gd name="T109" fmla="*/ 764 h 1761"/>
              <a:gd name="T110" fmla="*/ 1837 w 1924"/>
              <a:gd name="T111" fmla="*/ 858 h 1761"/>
              <a:gd name="T112" fmla="*/ 1921 w 1924"/>
              <a:gd name="T113" fmla="*/ 990 h 1761"/>
              <a:gd name="T114" fmla="*/ 1348 w 1924"/>
              <a:gd name="T115" fmla="*/ 837 h 1761"/>
              <a:gd name="T116" fmla="*/ 1275 w 1924"/>
              <a:gd name="T117" fmla="*/ 886 h 1761"/>
              <a:gd name="T118" fmla="*/ 1313 w 1924"/>
              <a:gd name="T119" fmla="*/ 980 h 1761"/>
              <a:gd name="T120" fmla="*/ 1431 w 1924"/>
              <a:gd name="T121" fmla="*/ 997 h 1761"/>
              <a:gd name="T122" fmla="*/ 1563 w 1924"/>
              <a:gd name="T123" fmla="*/ 976 h 1761"/>
              <a:gd name="T124" fmla="*/ 1535 w 1924"/>
              <a:gd name="T125" fmla="*/ 841 h 1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24" h="1761">
                <a:moveTo>
                  <a:pt x="1921" y="1001"/>
                </a:moveTo>
                <a:lnTo>
                  <a:pt x="1917" y="1007"/>
                </a:lnTo>
                <a:lnTo>
                  <a:pt x="1921" y="1011"/>
                </a:lnTo>
                <a:lnTo>
                  <a:pt x="1907" y="1018"/>
                </a:lnTo>
                <a:lnTo>
                  <a:pt x="1903" y="1018"/>
                </a:lnTo>
                <a:lnTo>
                  <a:pt x="1900" y="1039"/>
                </a:lnTo>
                <a:lnTo>
                  <a:pt x="1879" y="1032"/>
                </a:lnTo>
                <a:lnTo>
                  <a:pt x="1875" y="1028"/>
                </a:lnTo>
                <a:lnTo>
                  <a:pt x="1893" y="1021"/>
                </a:lnTo>
                <a:lnTo>
                  <a:pt x="1886" y="1014"/>
                </a:lnTo>
                <a:lnTo>
                  <a:pt x="1882" y="1018"/>
                </a:lnTo>
                <a:lnTo>
                  <a:pt x="1879" y="1018"/>
                </a:lnTo>
                <a:lnTo>
                  <a:pt x="1875" y="1021"/>
                </a:lnTo>
                <a:lnTo>
                  <a:pt x="1875" y="1018"/>
                </a:lnTo>
                <a:lnTo>
                  <a:pt x="1872" y="1018"/>
                </a:lnTo>
                <a:lnTo>
                  <a:pt x="1872" y="1011"/>
                </a:lnTo>
                <a:lnTo>
                  <a:pt x="1861" y="1007"/>
                </a:lnTo>
                <a:lnTo>
                  <a:pt x="1861" y="1014"/>
                </a:lnTo>
                <a:lnTo>
                  <a:pt x="1858" y="1018"/>
                </a:lnTo>
                <a:lnTo>
                  <a:pt x="1855" y="1014"/>
                </a:lnTo>
                <a:lnTo>
                  <a:pt x="1851" y="1021"/>
                </a:lnTo>
                <a:lnTo>
                  <a:pt x="1851" y="1025"/>
                </a:lnTo>
                <a:lnTo>
                  <a:pt x="1858" y="1025"/>
                </a:lnTo>
                <a:lnTo>
                  <a:pt x="1861" y="1032"/>
                </a:lnTo>
                <a:lnTo>
                  <a:pt x="1872" y="1039"/>
                </a:lnTo>
                <a:lnTo>
                  <a:pt x="1879" y="1042"/>
                </a:lnTo>
                <a:lnTo>
                  <a:pt x="1886" y="1049"/>
                </a:lnTo>
                <a:lnTo>
                  <a:pt x="1882" y="1053"/>
                </a:lnTo>
                <a:lnTo>
                  <a:pt x="1879" y="1063"/>
                </a:lnTo>
                <a:lnTo>
                  <a:pt x="1875" y="1066"/>
                </a:lnTo>
                <a:lnTo>
                  <a:pt x="1872" y="1070"/>
                </a:lnTo>
                <a:lnTo>
                  <a:pt x="1872" y="1073"/>
                </a:lnTo>
                <a:lnTo>
                  <a:pt x="1868" y="1077"/>
                </a:lnTo>
                <a:lnTo>
                  <a:pt x="1868" y="1080"/>
                </a:lnTo>
                <a:lnTo>
                  <a:pt x="1865" y="1087"/>
                </a:lnTo>
                <a:lnTo>
                  <a:pt x="1861" y="1101"/>
                </a:lnTo>
                <a:lnTo>
                  <a:pt x="1858" y="1105"/>
                </a:lnTo>
                <a:lnTo>
                  <a:pt x="1855" y="1105"/>
                </a:lnTo>
                <a:lnTo>
                  <a:pt x="1851" y="1101"/>
                </a:lnTo>
                <a:lnTo>
                  <a:pt x="1851" y="1098"/>
                </a:lnTo>
                <a:lnTo>
                  <a:pt x="1851" y="1094"/>
                </a:lnTo>
                <a:lnTo>
                  <a:pt x="1851" y="1091"/>
                </a:lnTo>
                <a:lnTo>
                  <a:pt x="1855" y="1091"/>
                </a:lnTo>
                <a:lnTo>
                  <a:pt x="1855" y="1094"/>
                </a:lnTo>
                <a:lnTo>
                  <a:pt x="1855" y="1091"/>
                </a:lnTo>
                <a:lnTo>
                  <a:pt x="1851" y="1087"/>
                </a:lnTo>
                <a:lnTo>
                  <a:pt x="1848" y="1087"/>
                </a:lnTo>
                <a:lnTo>
                  <a:pt x="1844" y="1084"/>
                </a:lnTo>
                <a:lnTo>
                  <a:pt x="1841" y="1080"/>
                </a:lnTo>
                <a:lnTo>
                  <a:pt x="1837" y="1080"/>
                </a:lnTo>
                <a:lnTo>
                  <a:pt x="1834" y="1080"/>
                </a:lnTo>
                <a:lnTo>
                  <a:pt x="1830" y="1080"/>
                </a:lnTo>
                <a:lnTo>
                  <a:pt x="1830" y="1077"/>
                </a:lnTo>
                <a:lnTo>
                  <a:pt x="1827" y="1077"/>
                </a:lnTo>
                <a:lnTo>
                  <a:pt x="1823" y="1077"/>
                </a:lnTo>
                <a:lnTo>
                  <a:pt x="1820" y="1077"/>
                </a:lnTo>
                <a:lnTo>
                  <a:pt x="1816" y="1077"/>
                </a:lnTo>
                <a:lnTo>
                  <a:pt x="1816" y="1073"/>
                </a:lnTo>
                <a:lnTo>
                  <a:pt x="1813" y="1073"/>
                </a:lnTo>
                <a:lnTo>
                  <a:pt x="1813" y="1070"/>
                </a:lnTo>
                <a:lnTo>
                  <a:pt x="1809" y="1070"/>
                </a:lnTo>
                <a:lnTo>
                  <a:pt x="1813" y="1066"/>
                </a:lnTo>
                <a:lnTo>
                  <a:pt x="1813" y="1063"/>
                </a:lnTo>
                <a:lnTo>
                  <a:pt x="1813" y="1060"/>
                </a:lnTo>
                <a:lnTo>
                  <a:pt x="1813" y="1056"/>
                </a:lnTo>
                <a:lnTo>
                  <a:pt x="1809" y="1056"/>
                </a:lnTo>
                <a:lnTo>
                  <a:pt x="1806" y="1056"/>
                </a:lnTo>
                <a:lnTo>
                  <a:pt x="1806" y="1053"/>
                </a:lnTo>
                <a:lnTo>
                  <a:pt x="1802" y="1053"/>
                </a:lnTo>
                <a:lnTo>
                  <a:pt x="1799" y="1053"/>
                </a:lnTo>
                <a:lnTo>
                  <a:pt x="1796" y="1053"/>
                </a:lnTo>
                <a:lnTo>
                  <a:pt x="1796" y="1049"/>
                </a:lnTo>
                <a:lnTo>
                  <a:pt x="1792" y="1049"/>
                </a:lnTo>
                <a:lnTo>
                  <a:pt x="1792" y="1053"/>
                </a:lnTo>
                <a:lnTo>
                  <a:pt x="1789" y="1053"/>
                </a:lnTo>
                <a:lnTo>
                  <a:pt x="1789" y="1056"/>
                </a:lnTo>
                <a:lnTo>
                  <a:pt x="1785" y="1056"/>
                </a:lnTo>
                <a:lnTo>
                  <a:pt x="1782" y="1053"/>
                </a:lnTo>
                <a:lnTo>
                  <a:pt x="1778" y="1053"/>
                </a:lnTo>
                <a:lnTo>
                  <a:pt x="1778" y="1056"/>
                </a:lnTo>
                <a:lnTo>
                  <a:pt x="1775" y="1060"/>
                </a:lnTo>
                <a:lnTo>
                  <a:pt x="1771" y="1060"/>
                </a:lnTo>
                <a:lnTo>
                  <a:pt x="1771" y="1063"/>
                </a:lnTo>
                <a:lnTo>
                  <a:pt x="1771" y="1066"/>
                </a:lnTo>
                <a:lnTo>
                  <a:pt x="1771" y="1070"/>
                </a:lnTo>
                <a:lnTo>
                  <a:pt x="1768" y="1070"/>
                </a:lnTo>
                <a:lnTo>
                  <a:pt x="1764" y="1070"/>
                </a:lnTo>
                <a:lnTo>
                  <a:pt x="1761" y="1070"/>
                </a:lnTo>
                <a:lnTo>
                  <a:pt x="1761" y="1073"/>
                </a:lnTo>
                <a:lnTo>
                  <a:pt x="1761" y="1077"/>
                </a:lnTo>
                <a:lnTo>
                  <a:pt x="1761" y="1080"/>
                </a:lnTo>
                <a:lnTo>
                  <a:pt x="1757" y="1080"/>
                </a:lnTo>
                <a:lnTo>
                  <a:pt x="1757" y="1084"/>
                </a:lnTo>
                <a:lnTo>
                  <a:pt x="1754" y="1084"/>
                </a:lnTo>
                <a:lnTo>
                  <a:pt x="1750" y="1084"/>
                </a:lnTo>
                <a:lnTo>
                  <a:pt x="1750" y="1087"/>
                </a:lnTo>
                <a:lnTo>
                  <a:pt x="1754" y="1091"/>
                </a:lnTo>
                <a:lnTo>
                  <a:pt x="1754" y="1098"/>
                </a:lnTo>
                <a:lnTo>
                  <a:pt x="1750" y="1098"/>
                </a:lnTo>
                <a:lnTo>
                  <a:pt x="1747" y="1098"/>
                </a:lnTo>
                <a:lnTo>
                  <a:pt x="1743" y="1098"/>
                </a:lnTo>
                <a:lnTo>
                  <a:pt x="1740" y="1098"/>
                </a:lnTo>
                <a:lnTo>
                  <a:pt x="1737" y="1098"/>
                </a:lnTo>
                <a:lnTo>
                  <a:pt x="1737" y="1101"/>
                </a:lnTo>
                <a:lnTo>
                  <a:pt x="1733" y="1098"/>
                </a:lnTo>
                <a:lnTo>
                  <a:pt x="1730" y="1098"/>
                </a:lnTo>
                <a:lnTo>
                  <a:pt x="1730" y="1101"/>
                </a:lnTo>
                <a:lnTo>
                  <a:pt x="1730" y="1098"/>
                </a:lnTo>
                <a:lnTo>
                  <a:pt x="1726" y="1101"/>
                </a:lnTo>
                <a:lnTo>
                  <a:pt x="1730" y="1101"/>
                </a:lnTo>
                <a:lnTo>
                  <a:pt x="1726" y="1101"/>
                </a:lnTo>
                <a:lnTo>
                  <a:pt x="1726" y="1098"/>
                </a:lnTo>
                <a:lnTo>
                  <a:pt x="1726" y="1101"/>
                </a:lnTo>
                <a:lnTo>
                  <a:pt x="1726" y="1105"/>
                </a:lnTo>
                <a:lnTo>
                  <a:pt x="1723" y="1105"/>
                </a:lnTo>
                <a:lnTo>
                  <a:pt x="1719" y="1108"/>
                </a:lnTo>
                <a:lnTo>
                  <a:pt x="1716" y="1108"/>
                </a:lnTo>
                <a:lnTo>
                  <a:pt x="1716" y="1105"/>
                </a:lnTo>
                <a:lnTo>
                  <a:pt x="1712" y="1105"/>
                </a:lnTo>
                <a:lnTo>
                  <a:pt x="1712" y="1108"/>
                </a:lnTo>
                <a:lnTo>
                  <a:pt x="1709" y="1108"/>
                </a:lnTo>
                <a:lnTo>
                  <a:pt x="1705" y="1108"/>
                </a:lnTo>
                <a:lnTo>
                  <a:pt x="1705" y="1112"/>
                </a:lnTo>
                <a:lnTo>
                  <a:pt x="1702" y="1112"/>
                </a:lnTo>
                <a:lnTo>
                  <a:pt x="1702" y="1115"/>
                </a:lnTo>
                <a:lnTo>
                  <a:pt x="1698" y="1115"/>
                </a:lnTo>
                <a:lnTo>
                  <a:pt x="1695" y="1115"/>
                </a:lnTo>
                <a:lnTo>
                  <a:pt x="1691" y="1115"/>
                </a:lnTo>
                <a:lnTo>
                  <a:pt x="1691" y="1119"/>
                </a:lnTo>
                <a:lnTo>
                  <a:pt x="1691" y="1115"/>
                </a:lnTo>
                <a:lnTo>
                  <a:pt x="1688" y="1115"/>
                </a:lnTo>
                <a:lnTo>
                  <a:pt x="1688" y="1119"/>
                </a:lnTo>
                <a:lnTo>
                  <a:pt x="1688" y="1115"/>
                </a:lnTo>
                <a:lnTo>
                  <a:pt x="1684" y="1115"/>
                </a:lnTo>
                <a:lnTo>
                  <a:pt x="1681" y="1115"/>
                </a:lnTo>
                <a:lnTo>
                  <a:pt x="1681" y="1119"/>
                </a:lnTo>
                <a:lnTo>
                  <a:pt x="1677" y="1119"/>
                </a:lnTo>
                <a:lnTo>
                  <a:pt x="1674" y="1122"/>
                </a:lnTo>
                <a:lnTo>
                  <a:pt x="1674" y="1119"/>
                </a:lnTo>
                <a:lnTo>
                  <a:pt x="1671" y="1119"/>
                </a:lnTo>
                <a:lnTo>
                  <a:pt x="1667" y="1119"/>
                </a:lnTo>
                <a:lnTo>
                  <a:pt x="1664" y="1119"/>
                </a:lnTo>
                <a:lnTo>
                  <a:pt x="1660" y="1119"/>
                </a:lnTo>
                <a:lnTo>
                  <a:pt x="1657" y="1119"/>
                </a:lnTo>
                <a:lnTo>
                  <a:pt x="1653" y="1119"/>
                </a:lnTo>
                <a:lnTo>
                  <a:pt x="1653" y="1122"/>
                </a:lnTo>
                <a:lnTo>
                  <a:pt x="1653" y="1132"/>
                </a:lnTo>
                <a:lnTo>
                  <a:pt x="1653" y="1143"/>
                </a:lnTo>
                <a:lnTo>
                  <a:pt x="1650" y="1143"/>
                </a:lnTo>
                <a:lnTo>
                  <a:pt x="1650" y="1150"/>
                </a:lnTo>
                <a:lnTo>
                  <a:pt x="1653" y="1160"/>
                </a:lnTo>
                <a:lnTo>
                  <a:pt x="1653" y="1164"/>
                </a:lnTo>
                <a:lnTo>
                  <a:pt x="1653" y="1167"/>
                </a:lnTo>
                <a:lnTo>
                  <a:pt x="1650" y="1171"/>
                </a:lnTo>
                <a:lnTo>
                  <a:pt x="1643" y="1171"/>
                </a:lnTo>
                <a:lnTo>
                  <a:pt x="1643" y="1174"/>
                </a:lnTo>
                <a:lnTo>
                  <a:pt x="1639" y="1174"/>
                </a:lnTo>
                <a:lnTo>
                  <a:pt x="1632" y="1174"/>
                </a:lnTo>
                <a:lnTo>
                  <a:pt x="1625" y="1178"/>
                </a:lnTo>
                <a:lnTo>
                  <a:pt x="1622" y="1174"/>
                </a:lnTo>
                <a:lnTo>
                  <a:pt x="1618" y="1178"/>
                </a:lnTo>
                <a:lnTo>
                  <a:pt x="1618" y="1181"/>
                </a:lnTo>
                <a:lnTo>
                  <a:pt x="1618" y="1188"/>
                </a:lnTo>
                <a:lnTo>
                  <a:pt x="1615" y="1188"/>
                </a:lnTo>
                <a:lnTo>
                  <a:pt x="1612" y="1188"/>
                </a:lnTo>
                <a:lnTo>
                  <a:pt x="1608" y="1192"/>
                </a:lnTo>
                <a:lnTo>
                  <a:pt x="1605" y="1192"/>
                </a:lnTo>
                <a:lnTo>
                  <a:pt x="1601" y="1198"/>
                </a:lnTo>
                <a:lnTo>
                  <a:pt x="1601" y="1205"/>
                </a:lnTo>
                <a:lnTo>
                  <a:pt x="1605" y="1209"/>
                </a:lnTo>
                <a:lnTo>
                  <a:pt x="1598" y="1212"/>
                </a:lnTo>
                <a:lnTo>
                  <a:pt x="1591" y="1219"/>
                </a:lnTo>
                <a:lnTo>
                  <a:pt x="1584" y="1226"/>
                </a:lnTo>
                <a:lnTo>
                  <a:pt x="1580" y="1233"/>
                </a:lnTo>
                <a:lnTo>
                  <a:pt x="1577" y="1237"/>
                </a:lnTo>
                <a:lnTo>
                  <a:pt x="1573" y="1240"/>
                </a:lnTo>
                <a:lnTo>
                  <a:pt x="1563" y="1254"/>
                </a:lnTo>
                <a:lnTo>
                  <a:pt x="1559" y="1257"/>
                </a:lnTo>
                <a:lnTo>
                  <a:pt x="1559" y="1251"/>
                </a:lnTo>
                <a:lnTo>
                  <a:pt x="1559" y="1247"/>
                </a:lnTo>
                <a:lnTo>
                  <a:pt x="1556" y="1247"/>
                </a:lnTo>
                <a:lnTo>
                  <a:pt x="1556" y="1244"/>
                </a:lnTo>
                <a:lnTo>
                  <a:pt x="1556" y="1240"/>
                </a:lnTo>
                <a:lnTo>
                  <a:pt x="1552" y="1240"/>
                </a:lnTo>
                <a:lnTo>
                  <a:pt x="1549" y="1240"/>
                </a:lnTo>
                <a:lnTo>
                  <a:pt x="1549" y="1237"/>
                </a:lnTo>
                <a:lnTo>
                  <a:pt x="1546" y="1237"/>
                </a:lnTo>
                <a:lnTo>
                  <a:pt x="1546" y="1233"/>
                </a:lnTo>
                <a:lnTo>
                  <a:pt x="1546" y="1230"/>
                </a:lnTo>
                <a:lnTo>
                  <a:pt x="1546" y="1226"/>
                </a:lnTo>
                <a:lnTo>
                  <a:pt x="1539" y="1223"/>
                </a:lnTo>
                <a:lnTo>
                  <a:pt x="1539" y="1219"/>
                </a:lnTo>
                <a:lnTo>
                  <a:pt x="1535" y="1219"/>
                </a:lnTo>
                <a:lnTo>
                  <a:pt x="1535" y="1216"/>
                </a:lnTo>
                <a:lnTo>
                  <a:pt x="1532" y="1216"/>
                </a:lnTo>
                <a:lnTo>
                  <a:pt x="1532" y="1212"/>
                </a:lnTo>
                <a:lnTo>
                  <a:pt x="1528" y="1209"/>
                </a:lnTo>
                <a:lnTo>
                  <a:pt x="1528" y="1205"/>
                </a:lnTo>
                <a:lnTo>
                  <a:pt x="1525" y="1205"/>
                </a:lnTo>
                <a:lnTo>
                  <a:pt x="1525" y="1202"/>
                </a:lnTo>
                <a:lnTo>
                  <a:pt x="1521" y="1202"/>
                </a:lnTo>
                <a:lnTo>
                  <a:pt x="1521" y="1198"/>
                </a:lnTo>
                <a:lnTo>
                  <a:pt x="1521" y="1195"/>
                </a:lnTo>
                <a:lnTo>
                  <a:pt x="1521" y="1192"/>
                </a:lnTo>
                <a:lnTo>
                  <a:pt x="1518" y="1192"/>
                </a:lnTo>
                <a:lnTo>
                  <a:pt x="1518" y="1195"/>
                </a:lnTo>
                <a:lnTo>
                  <a:pt x="1514" y="1195"/>
                </a:lnTo>
                <a:lnTo>
                  <a:pt x="1514" y="1198"/>
                </a:lnTo>
                <a:lnTo>
                  <a:pt x="1514" y="1195"/>
                </a:lnTo>
                <a:lnTo>
                  <a:pt x="1511" y="1195"/>
                </a:lnTo>
                <a:lnTo>
                  <a:pt x="1511" y="1198"/>
                </a:lnTo>
                <a:lnTo>
                  <a:pt x="1507" y="1198"/>
                </a:lnTo>
                <a:lnTo>
                  <a:pt x="1507" y="1195"/>
                </a:lnTo>
                <a:lnTo>
                  <a:pt x="1504" y="1195"/>
                </a:lnTo>
                <a:lnTo>
                  <a:pt x="1507" y="1195"/>
                </a:lnTo>
                <a:lnTo>
                  <a:pt x="1504" y="1195"/>
                </a:lnTo>
                <a:lnTo>
                  <a:pt x="1500" y="1195"/>
                </a:lnTo>
                <a:lnTo>
                  <a:pt x="1497" y="1195"/>
                </a:lnTo>
                <a:lnTo>
                  <a:pt x="1493" y="1195"/>
                </a:lnTo>
                <a:lnTo>
                  <a:pt x="1493" y="1198"/>
                </a:lnTo>
                <a:lnTo>
                  <a:pt x="1490" y="1198"/>
                </a:lnTo>
                <a:lnTo>
                  <a:pt x="1487" y="1198"/>
                </a:lnTo>
                <a:lnTo>
                  <a:pt x="1483" y="1198"/>
                </a:lnTo>
                <a:lnTo>
                  <a:pt x="1483" y="1195"/>
                </a:lnTo>
                <a:lnTo>
                  <a:pt x="1480" y="1198"/>
                </a:lnTo>
                <a:lnTo>
                  <a:pt x="1476" y="1198"/>
                </a:lnTo>
                <a:lnTo>
                  <a:pt x="1476" y="1202"/>
                </a:lnTo>
                <a:lnTo>
                  <a:pt x="1473" y="1202"/>
                </a:lnTo>
                <a:lnTo>
                  <a:pt x="1469" y="1202"/>
                </a:lnTo>
                <a:lnTo>
                  <a:pt x="1469" y="1205"/>
                </a:lnTo>
                <a:lnTo>
                  <a:pt x="1466" y="1205"/>
                </a:lnTo>
                <a:lnTo>
                  <a:pt x="1466" y="1209"/>
                </a:lnTo>
                <a:lnTo>
                  <a:pt x="1462" y="1209"/>
                </a:lnTo>
                <a:lnTo>
                  <a:pt x="1459" y="1212"/>
                </a:lnTo>
                <a:lnTo>
                  <a:pt x="1459" y="1216"/>
                </a:lnTo>
                <a:lnTo>
                  <a:pt x="1455" y="1216"/>
                </a:lnTo>
                <a:lnTo>
                  <a:pt x="1455" y="1219"/>
                </a:lnTo>
                <a:lnTo>
                  <a:pt x="1452" y="1219"/>
                </a:lnTo>
                <a:lnTo>
                  <a:pt x="1452" y="1223"/>
                </a:lnTo>
                <a:lnTo>
                  <a:pt x="1452" y="1226"/>
                </a:lnTo>
                <a:lnTo>
                  <a:pt x="1448" y="1226"/>
                </a:lnTo>
                <a:lnTo>
                  <a:pt x="1448" y="1230"/>
                </a:lnTo>
                <a:lnTo>
                  <a:pt x="1448" y="1226"/>
                </a:lnTo>
                <a:lnTo>
                  <a:pt x="1452" y="1226"/>
                </a:lnTo>
                <a:lnTo>
                  <a:pt x="1452" y="1230"/>
                </a:lnTo>
                <a:lnTo>
                  <a:pt x="1448" y="1230"/>
                </a:lnTo>
                <a:lnTo>
                  <a:pt x="1448" y="1233"/>
                </a:lnTo>
                <a:lnTo>
                  <a:pt x="1448" y="1237"/>
                </a:lnTo>
                <a:lnTo>
                  <a:pt x="1448" y="1240"/>
                </a:lnTo>
                <a:lnTo>
                  <a:pt x="1448" y="1244"/>
                </a:lnTo>
                <a:lnTo>
                  <a:pt x="1445" y="1244"/>
                </a:lnTo>
                <a:lnTo>
                  <a:pt x="1448" y="1244"/>
                </a:lnTo>
                <a:lnTo>
                  <a:pt x="1448" y="1247"/>
                </a:lnTo>
                <a:lnTo>
                  <a:pt x="1445" y="1247"/>
                </a:lnTo>
                <a:lnTo>
                  <a:pt x="1445" y="1244"/>
                </a:lnTo>
                <a:lnTo>
                  <a:pt x="1441" y="1244"/>
                </a:lnTo>
                <a:lnTo>
                  <a:pt x="1441" y="1247"/>
                </a:lnTo>
                <a:lnTo>
                  <a:pt x="1438" y="1247"/>
                </a:lnTo>
                <a:lnTo>
                  <a:pt x="1441" y="1251"/>
                </a:lnTo>
                <a:lnTo>
                  <a:pt x="1441" y="1254"/>
                </a:lnTo>
                <a:lnTo>
                  <a:pt x="1438" y="1257"/>
                </a:lnTo>
                <a:lnTo>
                  <a:pt x="1441" y="1261"/>
                </a:lnTo>
                <a:lnTo>
                  <a:pt x="1438" y="1261"/>
                </a:lnTo>
                <a:lnTo>
                  <a:pt x="1431" y="1268"/>
                </a:lnTo>
                <a:lnTo>
                  <a:pt x="1424" y="1261"/>
                </a:lnTo>
                <a:lnTo>
                  <a:pt x="1421" y="1264"/>
                </a:lnTo>
                <a:lnTo>
                  <a:pt x="1421" y="1268"/>
                </a:lnTo>
                <a:lnTo>
                  <a:pt x="1417" y="1268"/>
                </a:lnTo>
                <a:lnTo>
                  <a:pt x="1417" y="1271"/>
                </a:lnTo>
                <a:lnTo>
                  <a:pt x="1414" y="1271"/>
                </a:lnTo>
                <a:lnTo>
                  <a:pt x="1410" y="1271"/>
                </a:lnTo>
                <a:lnTo>
                  <a:pt x="1410" y="1275"/>
                </a:lnTo>
                <a:lnTo>
                  <a:pt x="1407" y="1275"/>
                </a:lnTo>
                <a:lnTo>
                  <a:pt x="1403" y="1275"/>
                </a:lnTo>
                <a:lnTo>
                  <a:pt x="1403" y="1278"/>
                </a:lnTo>
                <a:lnTo>
                  <a:pt x="1400" y="1278"/>
                </a:lnTo>
                <a:lnTo>
                  <a:pt x="1396" y="1278"/>
                </a:lnTo>
                <a:lnTo>
                  <a:pt x="1396" y="1275"/>
                </a:lnTo>
                <a:lnTo>
                  <a:pt x="1393" y="1275"/>
                </a:lnTo>
                <a:lnTo>
                  <a:pt x="1396" y="1275"/>
                </a:lnTo>
                <a:lnTo>
                  <a:pt x="1396" y="1278"/>
                </a:lnTo>
                <a:lnTo>
                  <a:pt x="1414" y="1292"/>
                </a:lnTo>
                <a:lnTo>
                  <a:pt x="1417" y="1296"/>
                </a:lnTo>
                <a:lnTo>
                  <a:pt x="1421" y="1299"/>
                </a:lnTo>
                <a:lnTo>
                  <a:pt x="1424" y="1299"/>
                </a:lnTo>
                <a:lnTo>
                  <a:pt x="1424" y="1303"/>
                </a:lnTo>
                <a:lnTo>
                  <a:pt x="1421" y="1306"/>
                </a:lnTo>
                <a:lnTo>
                  <a:pt x="1417" y="1310"/>
                </a:lnTo>
                <a:lnTo>
                  <a:pt x="1410" y="1317"/>
                </a:lnTo>
                <a:lnTo>
                  <a:pt x="1414" y="1320"/>
                </a:lnTo>
                <a:lnTo>
                  <a:pt x="1407" y="1323"/>
                </a:lnTo>
                <a:lnTo>
                  <a:pt x="1400" y="1327"/>
                </a:lnTo>
                <a:lnTo>
                  <a:pt x="1393" y="1334"/>
                </a:lnTo>
                <a:lnTo>
                  <a:pt x="1393" y="1337"/>
                </a:lnTo>
                <a:lnTo>
                  <a:pt x="1393" y="1341"/>
                </a:lnTo>
                <a:lnTo>
                  <a:pt x="1396" y="1344"/>
                </a:lnTo>
                <a:lnTo>
                  <a:pt x="1393" y="1344"/>
                </a:lnTo>
                <a:lnTo>
                  <a:pt x="1393" y="1348"/>
                </a:lnTo>
                <a:lnTo>
                  <a:pt x="1389" y="1348"/>
                </a:lnTo>
                <a:lnTo>
                  <a:pt x="1382" y="1351"/>
                </a:lnTo>
                <a:lnTo>
                  <a:pt x="1379" y="1351"/>
                </a:lnTo>
                <a:lnTo>
                  <a:pt x="1379" y="1358"/>
                </a:lnTo>
                <a:lnTo>
                  <a:pt x="1375" y="1362"/>
                </a:lnTo>
                <a:lnTo>
                  <a:pt x="1372" y="1365"/>
                </a:lnTo>
                <a:lnTo>
                  <a:pt x="1368" y="1369"/>
                </a:lnTo>
                <a:lnTo>
                  <a:pt x="1368" y="1365"/>
                </a:lnTo>
                <a:lnTo>
                  <a:pt x="1365" y="1362"/>
                </a:lnTo>
                <a:lnTo>
                  <a:pt x="1365" y="1358"/>
                </a:lnTo>
                <a:lnTo>
                  <a:pt x="1365" y="1355"/>
                </a:lnTo>
                <a:lnTo>
                  <a:pt x="1365" y="1348"/>
                </a:lnTo>
                <a:lnTo>
                  <a:pt x="1368" y="1344"/>
                </a:lnTo>
                <a:lnTo>
                  <a:pt x="1365" y="1341"/>
                </a:lnTo>
                <a:lnTo>
                  <a:pt x="1348" y="1337"/>
                </a:lnTo>
                <a:lnTo>
                  <a:pt x="1344" y="1337"/>
                </a:lnTo>
                <a:lnTo>
                  <a:pt x="1341" y="1341"/>
                </a:lnTo>
                <a:lnTo>
                  <a:pt x="1341" y="1348"/>
                </a:lnTo>
                <a:lnTo>
                  <a:pt x="1337" y="1348"/>
                </a:lnTo>
                <a:lnTo>
                  <a:pt x="1337" y="1355"/>
                </a:lnTo>
                <a:lnTo>
                  <a:pt x="1337" y="1358"/>
                </a:lnTo>
                <a:lnTo>
                  <a:pt x="1341" y="1362"/>
                </a:lnTo>
                <a:lnTo>
                  <a:pt x="1341" y="1358"/>
                </a:lnTo>
                <a:lnTo>
                  <a:pt x="1355" y="1365"/>
                </a:lnTo>
                <a:lnTo>
                  <a:pt x="1362" y="1365"/>
                </a:lnTo>
                <a:lnTo>
                  <a:pt x="1362" y="1369"/>
                </a:lnTo>
                <a:lnTo>
                  <a:pt x="1358" y="1376"/>
                </a:lnTo>
                <a:lnTo>
                  <a:pt x="1355" y="1382"/>
                </a:lnTo>
                <a:lnTo>
                  <a:pt x="1355" y="1386"/>
                </a:lnTo>
                <a:lnTo>
                  <a:pt x="1358" y="1393"/>
                </a:lnTo>
                <a:lnTo>
                  <a:pt x="1358" y="1396"/>
                </a:lnTo>
                <a:lnTo>
                  <a:pt x="1358" y="1403"/>
                </a:lnTo>
                <a:lnTo>
                  <a:pt x="1358" y="1407"/>
                </a:lnTo>
                <a:lnTo>
                  <a:pt x="1355" y="1410"/>
                </a:lnTo>
                <a:lnTo>
                  <a:pt x="1355" y="1414"/>
                </a:lnTo>
                <a:lnTo>
                  <a:pt x="1355" y="1417"/>
                </a:lnTo>
                <a:lnTo>
                  <a:pt x="1355" y="1421"/>
                </a:lnTo>
                <a:lnTo>
                  <a:pt x="1351" y="1431"/>
                </a:lnTo>
                <a:lnTo>
                  <a:pt x="1351" y="1435"/>
                </a:lnTo>
                <a:lnTo>
                  <a:pt x="1351" y="1438"/>
                </a:lnTo>
                <a:lnTo>
                  <a:pt x="1355" y="1442"/>
                </a:lnTo>
                <a:lnTo>
                  <a:pt x="1358" y="1448"/>
                </a:lnTo>
                <a:lnTo>
                  <a:pt x="1362" y="1455"/>
                </a:lnTo>
                <a:lnTo>
                  <a:pt x="1362" y="1462"/>
                </a:lnTo>
                <a:lnTo>
                  <a:pt x="1365" y="1462"/>
                </a:lnTo>
                <a:lnTo>
                  <a:pt x="1365" y="1466"/>
                </a:lnTo>
                <a:lnTo>
                  <a:pt x="1365" y="1469"/>
                </a:lnTo>
                <a:lnTo>
                  <a:pt x="1365" y="1473"/>
                </a:lnTo>
                <a:lnTo>
                  <a:pt x="1372" y="1476"/>
                </a:lnTo>
                <a:lnTo>
                  <a:pt x="1375" y="1480"/>
                </a:lnTo>
                <a:lnTo>
                  <a:pt x="1382" y="1483"/>
                </a:lnTo>
                <a:lnTo>
                  <a:pt x="1386" y="1483"/>
                </a:lnTo>
                <a:lnTo>
                  <a:pt x="1389" y="1483"/>
                </a:lnTo>
                <a:lnTo>
                  <a:pt x="1393" y="1480"/>
                </a:lnTo>
                <a:lnTo>
                  <a:pt x="1400" y="1483"/>
                </a:lnTo>
                <a:lnTo>
                  <a:pt x="1396" y="1487"/>
                </a:lnTo>
                <a:lnTo>
                  <a:pt x="1396" y="1490"/>
                </a:lnTo>
                <a:lnTo>
                  <a:pt x="1400" y="1497"/>
                </a:lnTo>
                <a:lnTo>
                  <a:pt x="1403" y="1497"/>
                </a:lnTo>
                <a:lnTo>
                  <a:pt x="1403" y="1501"/>
                </a:lnTo>
                <a:lnTo>
                  <a:pt x="1403" y="1504"/>
                </a:lnTo>
                <a:lnTo>
                  <a:pt x="1403" y="1508"/>
                </a:lnTo>
                <a:lnTo>
                  <a:pt x="1407" y="1511"/>
                </a:lnTo>
                <a:lnTo>
                  <a:pt x="1407" y="1514"/>
                </a:lnTo>
                <a:lnTo>
                  <a:pt x="1410" y="1514"/>
                </a:lnTo>
                <a:lnTo>
                  <a:pt x="1414" y="1518"/>
                </a:lnTo>
                <a:lnTo>
                  <a:pt x="1414" y="1521"/>
                </a:lnTo>
                <a:lnTo>
                  <a:pt x="1410" y="1525"/>
                </a:lnTo>
                <a:lnTo>
                  <a:pt x="1410" y="1528"/>
                </a:lnTo>
                <a:lnTo>
                  <a:pt x="1407" y="1532"/>
                </a:lnTo>
                <a:lnTo>
                  <a:pt x="1410" y="1535"/>
                </a:lnTo>
                <a:lnTo>
                  <a:pt x="1410" y="1539"/>
                </a:lnTo>
                <a:lnTo>
                  <a:pt x="1410" y="1542"/>
                </a:lnTo>
                <a:lnTo>
                  <a:pt x="1410" y="1546"/>
                </a:lnTo>
                <a:lnTo>
                  <a:pt x="1407" y="1546"/>
                </a:lnTo>
                <a:lnTo>
                  <a:pt x="1400" y="1546"/>
                </a:lnTo>
                <a:lnTo>
                  <a:pt x="1393" y="1553"/>
                </a:lnTo>
                <a:lnTo>
                  <a:pt x="1396" y="1556"/>
                </a:lnTo>
                <a:lnTo>
                  <a:pt x="1396" y="1560"/>
                </a:lnTo>
                <a:lnTo>
                  <a:pt x="1393" y="1567"/>
                </a:lnTo>
                <a:lnTo>
                  <a:pt x="1389" y="1567"/>
                </a:lnTo>
                <a:lnTo>
                  <a:pt x="1386" y="1567"/>
                </a:lnTo>
                <a:lnTo>
                  <a:pt x="1382" y="1570"/>
                </a:lnTo>
                <a:lnTo>
                  <a:pt x="1379" y="1570"/>
                </a:lnTo>
                <a:lnTo>
                  <a:pt x="1379" y="1573"/>
                </a:lnTo>
                <a:lnTo>
                  <a:pt x="1379" y="1577"/>
                </a:lnTo>
                <a:lnTo>
                  <a:pt x="1382" y="1580"/>
                </a:lnTo>
                <a:lnTo>
                  <a:pt x="1382" y="1584"/>
                </a:lnTo>
                <a:lnTo>
                  <a:pt x="1379" y="1587"/>
                </a:lnTo>
                <a:lnTo>
                  <a:pt x="1379" y="1591"/>
                </a:lnTo>
                <a:lnTo>
                  <a:pt x="1375" y="1594"/>
                </a:lnTo>
                <a:lnTo>
                  <a:pt x="1372" y="1601"/>
                </a:lnTo>
                <a:lnTo>
                  <a:pt x="1372" y="1605"/>
                </a:lnTo>
                <a:lnTo>
                  <a:pt x="1368" y="1605"/>
                </a:lnTo>
                <a:lnTo>
                  <a:pt x="1368" y="1608"/>
                </a:lnTo>
                <a:lnTo>
                  <a:pt x="1372" y="1608"/>
                </a:lnTo>
                <a:lnTo>
                  <a:pt x="1372" y="1612"/>
                </a:lnTo>
                <a:lnTo>
                  <a:pt x="1368" y="1612"/>
                </a:lnTo>
                <a:lnTo>
                  <a:pt x="1372" y="1612"/>
                </a:lnTo>
                <a:lnTo>
                  <a:pt x="1372" y="1615"/>
                </a:lnTo>
                <a:lnTo>
                  <a:pt x="1368" y="1615"/>
                </a:lnTo>
                <a:lnTo>
                  <a:pt x="1368" y="1619"/>
                </a:lnTo>
                <a:lnTo>
                  <a:pt x="1368" y="1622"/>
                </a:lnTo>
                <a:lnTo>
                  <a:pt x="1368" y="1626"/>
                </a:lnTo>
                <a:lnTo>
                  <a:pt x="1365" y="1626"/>
                </a:lnTo>
                <a:lnTo>
                  <a:pt x="1365" y="1629"/>
                </a:lnTo>
                <a:lnTo>
                  <a:pt x="1368" y="1629"/>
                </a:lnTo>
                <a:lnTo>
                  <a:pt x="1368" y="1633"/>
                </a:lnTo>
                <a:lnTo>
                  <a:pt x="1372" y="1633"/>
                </a:lnTo>
                <a:lnTo>
                  <a:pt x="1372" y="1636"/>
                </a:lnTo>
                <a:lnTo>
                  <a:pt x="1375" y="1636"/>
                </a:lnTo>
                <a:lnTo>
                  <a:pt x="1375" y="1639"/>
                </a:lnTo>
                <a:lnTo>
                  <a:pt x="1379" y="1639"/>
                </a:lnTo>
                <a:lnTo>
                  <a:pt x="1379" y="1643"/>
                </a:lnTo>
                <a:lnTo>
                  <a:pt x="1382" y="1646"/>
                </a:lnTo>
                <a:lnTo>
                  <a:pt x="1386" y="1646"/>
                </a:lnTo>
                <a:lnTo>
                  <a:pt x="1386" y="1650"/>
                </a:lnTo>
                <a:lnTo>
                  <a:pt x="1389" y="1653"/>
                </a:lnTo>
                <a:lnTo>
                  <a:pt x="1389" y="1657"/>
                </a:lnTo>
                <a:lnTo>
                  <a:pt x="1386" y="1657"/>
                </a:lnTo>
                <a:lnTo>
                  <a:pt x="1386" y="1660"/>
                </a:lnTo>
                <a:lnTo>
                  <a:pt x="1389" y="1660"/>
                </a:lnTo>
                <a:lnTo>
                  <a:pt x="1386" y="1660"/>
                </a:lnTo>
                <a:lnTo>
                  <a:pt x="1382" y="1671"/>
                </a:lnTo>
                <a:lnTo>
                  <a:pt x="1379" y="1674"/>
                </a:lnTo>
                <a:lnTo>
                  <a:pt x="1379" y="1678"/>
                </a:lnTo>
                <a:lnTo>
                  <a:pt x="1379" y="1681"/>
                </a:lnTo>
                <a:lnTo>
                  <a:pt x="1375" y="1681"/>
                </a:lnTo>
                <a:lnTo>
                  <a:pt x="1372" y="1685"/>
                </a:lnTo>
                <a:lnTo>
                  <a:pt x="1368" y="1688"/>
                </a:lnTo>
                <a:lnTo>
                  <a:pt x="1372" y="1692"/>
                </a:lnTo>
                <a:lnTo>
                  <a:pt x="1368" y="1692"/>
                </a:lnTo>
                <a:lnTo>
                  <a:pt x="1368" y="1695"/>
                </a:lnTo>
                <a:lnTo>
                  <a:pt x="1365" y="1699"/>
                </a:lnTo>
                <a:lnTo>
                  <a:pt x="1358" y="1702"/>
                </a:lnTo>
                <a:lnTo>
                  <a:pt x="1362" y="1705"/>
                </a:lnTo>
                <a:lnTo>
                  <a:pt x="1362" y="1709"/>
                </a:lnTo>
                <a:lnTo>
                  <a:pt x="1362" y="1712"/>
                </a:lnTo>
                <a:lnTo>
                  <a:pt x="1358" y="1712"/>
                </a:lnTo>
                <a:lnTo>
                  <a:pt x="1358" y="1716"/>
                </a:lnTo>
                <a:lnTo>
                  <a:pt x="1351" y="1716"/>
                </a:lnTo>
                <a:lnTo>
                  <a:pt x="1351" y="1719"/>
                </a:lnTo>
                <a:lnTo>
                  <a:pt x="1348" y="1723"/>
                </a:lnTo>
                <a:lnTo>
                  <a:pt x="1344" y="1726"/>
                </a:lnTo>
                <a:lnTo>
                  <a:pt x="1337" y="1726"/>
                </a:lnTo>
                <a:lnTo>
                  <a:pt x="1334" y="1726"/>
                </a:lnTo>
                <a:lnTo>
                  <a:pt x="1327" y="1730"/>
                </a:lnTo>
                <a:lnTo>
                  <a:pt x="1327" y="1733"/>
                </a:lnTo>
                <a:lnTo>
                  <a:pt x="1323" y="1733"/>
                </a:lnTo>
                <a:lnTo>
                  <a:pt x="1323" y="1737"/>
                </a:lnTo>
                <a:lnTo>
                  <a:pt x="1316" y="1740"/>
                </a:lnTo>
                <a:lnTo>
                  <a:pt x="1316" y="1747"/>
                </a:lnTo>
                <a:lnTo>
                  <a:pt x="1313" y="1747"/>
                </a:lnTo>
                <a:lnTo>
                  <a:pt x="1309" y="1751"/>
                </a:lnTo>
                <a:lnTo>
                  <a:pt x="1306" y="1751"/>
                </a:lnTo>
                <a:lnTo>
                  <a:pt x="1306" y="1754"/>
                </a:lnTo>
                <a:lnTo>
                  <a:pt x="1302" y="1754"/>
                </a:lnTo>
                <a:lnTo>
                  <a:pt x="1302" y="1758"/>
                </a:lnTo>
                <a:lnTo>
                  <a:pt x="1299" y="1758"/>
                </a:lnTo>
                <a:lnTo>
                  <a:pt x="1292" y="1758"/>
                </a:lnTo>
                <a:lnTo>
                  <a:pt x="1292" y="1761"/>
                </a:lnTo>
                <a:lnTo>
                  <a:pt x="1289" y="1761"/>
                </a:lnTo>
                <a:lnTo>
                  <a:pt x="1285" y="1761"/>
                </a:lnTo>
                <a:lnTo>
                  <a:pt x="1282" y="1761"/>
                </a:lnTo>
                <a:lnTo>
                  <a:pt x="1278" y="1761"/>
                </a:lnTo>
                <a:lnTo>
                  <a:pt x="1275" y="1761"/>
                </a:lnTo>
                <a:lnTo>
                  <a:pt x="1268" y="1761"/>
                </a:lnTo>
                <a:lnTo>
                  <a:pt x="1264" y="1761"/>
                </a:lnTo>
                <a:lnTo>
                  <a:pt x="1261" y="1758"/>
                </a:lnTo>
                <a:lnTo>
                  <a:pt x="1257" y="1758"/>
                </a:lnTo>
                <a:lnTo>
                  <a:pt x="1250" y="1751"/>
                </a:lnTo>
                <a:lnTo>
                  <a:pt x="1247" y="1747"/>
                </a:lnTo>
                <a:lnTo>
                  <a:pt x="1243" y="1744"/>
                </a:lnTo>
                <a:lnTo>
                  <a:pt x="1240" y="1740"/>
                </a:lnTo>
                <a:lnTo>
                  <a:pt x="1240" y="1737"/>
                </a:lnTo>
                <a:lnTo>
                  <a:pt x="1240" y="1733"/>
                </a:lnTo>
                <a:lnTo>
                  <a:pt x="1237" y="1730"/>
                </a:lnTo>
                <a:lnTo>
                  <a:pt x="1237" y="1723"/>
                </a:lnTo>
                <a:lnTo>
                  <a:pt x="1240" y="1719"/>
                </a:lnTo>
                <a:lnTo>
                  <a:pt x="1237" y="1716"/>
                </a:lnTo>
                <a:lnTo>
                  <a:pt x="1237" y="1712"/>
                </a:lnTo>
                <a:lnTo>
                  <a:pt x="1230" y="1712"/>
                </a:lnTo>
                <a:lnTo>
                  <a:pt x="1226" y="1709"/>
                </a:lnTo>
                <a:lnTo>
                  <a:pt x="1230" y="1705"/>
                </a:lnTo>
                <a:lnTo>
                  <a:pt x="1223" y="1705"/>
                </a:lnTo>
                <a:lnTo>
                  <a:pt x="1226" y="1702"/>
                </a:lnTo>
                <a:lnTo>
                  <a:pt x="1226" y="1695"/>
                </a:lnTo>
                <a:lnTo>
                  <a:pt x="1226" y="1692"/>
                </a:lnTo>
                <a:lnTo>
                  <a:pt x="1223" y="1688"/>
                </a:lnTo>
                <a:lnTo>
                  <a:pt x="1223" y="1685"/>
                </a:lnTo>
                <a:lnTo>
                  <a:pt x="1223" y="1681"/>
                </a:lnTo>
                <a:lnTo>
                  <a:pt x="1223" y="1678"/>
                </a:lnTo>
                <a:lnTo>
                  <a:pt x="1226" y="1674"/>
                </a:lnTo>
                <a:lnTo>
                  <a:pt x="1226" y="1667"/>
                </a:lnTo>
                <a:lnTo>
                  <a:pt x="1226" y="1664"/>
                </a:lnTo>
                <a:lnTo>
                  <a:pt x="1223" y="1671"/>
                </a:lnTo>
                <a:lnTo>
                  <a:pt x="1219" y="1667"/>
                </a:lnTo>
                <a:lnTo>
                  <a:pt x="1223" y="1660"/>
                </a:lnTo>
                <a:lnTo>
                  <a:pt x="1219" y="1660"/>
                </a:lnTo>
                <a:lnTo>
                  <a:pt x="1219" y="1653"/>
                </a:lnTo>
                <a:lnTo>
                  <a:pt x="1219" y="1650"/>
                </a:lnTo>
                <a:lnTo>
                  <a:pt x="1212" y="1653"/>
                </a:lnTo>
                <a:lnTo>
                  <a:pt x="1209" y="1650"/>
                </a:lnTo>
                <a:lnTo>
                  <a:pt x="1209" y="1657"/>
                </a:lnTo>
                <a:lnTo>
                  <a:pt x="1205" y="1660"/>
                </a:lnTo>
                <a:lnTo>
                  <a:pt x="1209" y="1660"/>
                </a:lnTo>
                <a:lnTo>
                  <a:pt x="1209" y="1664"/>
                </a:lnTo>
                <a:lnTo>
                  <a:pt x="1205" y="1667"/>
                </a:lnTo>
                <a:lnTo>
                  <a:pt x="1202" y="1671"/>
                </a:lnTo>
                <a:lnTo>
                  <a:pt x="1198" y="1671"/>
                </a:lnTo>
                <a:lnTo>
                  <a:pt x="1198" y="1674"/>
                </a:lnTo>
                <a:lnTo>
                  <a:pt x="1198" y="1678"/>
                </a:lnTo>
                <a:lnTo>
                  <a:pt x="1195" y="1678"/>
                </a:lnTo>
                <a:lnTo>
                  <a:pt x="1191" y="1674"/>
                </a:lnTo>
                <a:lnTo>
                  <a:pt x="1188" y="1674"/>
                </a:lnTo>
                <a:lnTo>
                  <a:pt x="1184" y="1678"/>
                </a:lnTo>
                <a:lnTo>
                  <a:pt x="1184" y="1681"/>
                </a:lnTo>
                <a:lnTo>
                  <a:pt x="1184" y="1685"/>
                </a:lnTo>
                <a:lnTo>
                  <a:pt x="1184" y="1688"/>
                </a:lnTo>
                <a:lnTo>
                  <a:pt x="1184" y="1692"/>
                </a:lnTo>
                <a:lnTo>
                  <a:pt x="1181" y="1695"/>
                </a:lnTo>
                <a:lnTo>
                  <a:pt x="1181" y="1692"/>
                </a:lnTo>
                <a:lnTo>
                  <a:pt x="1178" y="1692"/>
                </a:lnTo>
                <a:lnTo>
                  <a:pt x="1174" y="1688"/>
                </a:lnTo>
                <a:lnTo>
                  <a:pt x="1171" y="1681"/>
                </a:lnTo>
                <a:lnTo>
                  <a:pt x="1167" y="1681"/>
                </a:lnTo>
                <a:lnTo>
                  <a:pt x="1167" y="1678"/>
                </a:lnTo>
                <a:lnTo>
                  <a:pt x="1167" y="1674"/>
                </a:lnTo>
                <a:lnTo>
                  <a:pt x="1164" y="1674"/>
                </a:lnTo>
                <a:lnTo>
                  <a:pt x="1160" y="1671"/>
                </a:lnTo>
                <a:lnTo>
                  <a:pt x="1160" y="1667"/>
                </a:lnTo>
                <a:lnTo>
                  <a:pt x="1157" y="1664"/>
                </a:lnTo>
                <a:lnTo>
                  <a:pt x="1150" y="1660"/>
                </a:lnTo>
                <a:lnTo>
                  <a:pt x="1143" y="1657"/>
                </a:lnTo>
                <a:lnTo>
                  <a:pt x="1139" y="1660"/>
                </a:lnTo>
                <a:lnTo>
                  <a:pt x="1129" y="1660"/>
                </a:lnTo>
                <a:lnTo>
                  <a:pt x="1125" y="1657"/>
                </a:lnTo>
                <a:lnTo>
                  <a:pt x="1122" y="1657"/>
                </a:lnTo>
                <a:lnTo>
                  <a:pt x="1118" y="1657"/>
                </a:lnTo>
                <a:lnTo>
                  <a:pt x="1112" y="1657"/>
                </a:lnTo>
                <a:lnTo>
                  <a:pt x="1108" y="1657"/>
                </a:lnTo>
                <a:lnTo>
                  <a:pt x="1101" y="1657"/>
                </a:lnTo>
                <a:lnTo>
                  <a:pt x="1094" y="1650"/>
                </a:lnTo>
                <a:lnTo>
                  <a:pt x="1080" y="1646"/>
                </a:lnTo>
                <a:lnTo>
                  <a:pt x="1077" y="1646"/>
                </a:lnTo>
                <a:lnTo>
                  <a:pt x="1073" y="1646"/>
                </a:lnTo>
                <a:lnTo>
                  <a:pt x="1073" y="1639"/>
                </a:lnTo>
                <a:lnTo>
                  <a:pt x="1073" y="1636"/>
                </a:lnTo>
                <a:lnTo>
                  <a:pt x="1066" y="1629"/>
                </a:lnTo>
                <a:lnTo>
                  <a:pt x="1066" y="1626"/>
                </a:lnTo>
                <a:lnTo>
                  <a:pt x="1066" y="1619"/>
                </a:lnTo>
                <a:lnTo>
                  <a:pt x="1070" y="1615"/>
                </a:lnTo>
                <a:lnTo>
                  <a:pt x="1070" y="1612"/>
                </a:lnTo>
                <a:lnTo>
                  <a:pt x="1066" y="1608"/>
                </a:lnTo>
                <a:lnTo>
                  <a:pt x="1059" y="1605"/>
                </a:lnTo>
                <a:lnTo>
                  <a:pt x="1056" y="1598"/>
                </a:lnTo>
                <a:lnTo>
                  <a:pt x="1046" y="1598"/>
                </a:lnTo>
                <a:lnTo>
                  <a:pt x="1042" y="1598"/>
                </a:lnTo>
                <a:lnTo>
                  <a:pt x="1039" y="1605"/>
                </a:lnTo>
                <a:lnTo>
                  <a:pt x="1035" y="1605"/>
                </a:lnTo>
                <a:lnTo>
                  <a:pt x="1028" y="1605"/>
                </a:lnTo>
                <a:lnTo>
                  <a:pt x="1025" y="1605"/>
                </a:lnTo>
                <a:lnTo>
                  <a:pt x="1025" y="1601"/>
                </a:lnTo>
                <a:lnTo>
                  <a:pt x="1025" y="1594"/>
                </a:lnTo>
                <a:lnTo>
                  <a:pt x="1025" y="1584"/>
                </a:lnTo>
                <a:lnTo>
                  <a:pt x="1025" y="1580"/>
                </a:lnTo>
                <a:lnTo>
                  <a:pt x="1028" y="1580"/>
                </a:lnTo>
                <a:lnTo>
                  <a:pt x="1025" y="1573"/>
                </a:lnTo>
                <a:lnTo>
                  <a:pt x="1032" y="1567"/>
                </a:lnTo>
                <a:lnTo>
                  <a:pt x="1035" y="1553"/>
                </a:lnTo>
                <a:lnTo>
                  <a:pt x="1039" y="1553"/>
                </a:lnTo>
                <a:lnTo>
                  <a:pt x="1035" y="1553"/>
                </a:lnTo>
                <a:lnTo>
                  <a:pt x="1035" y="1549"/>
                </a:lnTo>
                <a:lnTo>
                  <a:pt x="1035" y="1546"/>
                </a:lnTo>
                <a:lnTo>
                  <a:pt x="1032" y="1546"/>
                </a:lnTo>
                <a:lnTo>
                  <a:pt x="1028" y="1549"/>
                </a:lnTo>
                <a:lnTo>
                  <a:pt x="1025" y="1549"/>
                </a:lnTo>
                <a:lnTo>
                  <a:pt x="1021" y="1549"/>
                </a:lnTo>
                <a:lnTo>
                  <a:pt x="1014" y="1546"/>
                </a:lnTo>
                <a:lnTo>
                  <a:pt x="1014" y="1542"/>
                </a:lnTo>
                <a:lnTo>
                  <a:pt x="1014" y="1539"/>
                </a:lnTo>
                <a:lnTo>
                  <a:pt x="1014" y="1535"/>
                </a:lnTo>
                <a:lnTo>
                  <a:pt x="1014" y="1532"/>
                </a:lnTo>
                <a:lnTo>
                  <a:pt x="1011" y="1532"/>
                </a:lnTo>
                <a:lnTo>
                  <a:pt x="1011" y="1528"/>
                </a:lnTo>
                <a:lnTo>
                  <a:pt x="1007" y="1528"/>
                </a:lnTo>
                <a:lnTo>
                  <a:pt x="1004" y="1528"/>
                </a:lnTo>
                <a:lnTo>
                  <a:pt x="1000" y="1528"/>
                </a:lnTo>
                <a:lnTo>
                  <a:pt x="997" y="1528"/>
                </a:lnTo>
                <a:lnTo>
                  <a:pt x="997" y="1532"/>
                </a:lnTo>
                <a:lnTo>
                  <a:pt x="987" y="1528"/>
                </a:lnTo>
                <a:lnTo>
                  <a:pt x="983" y="1525"/>
                </a:lnTo>
                <a:lnTo>
                  <a:pt x="980" y="1525"/>
                </a:lnTo>
                <a:lnTo>
                  <a:pt x="976" y="1525"/>
                </a:lnTo>
                <a:lnTo>
                  <a:pt x="976" y="1521"/>
                </a:lnTo>
                <a:lnTo>
                  <a:pt x="969" y="1525"/>
                </a:lnTo>
                <a:lnTo>
                  <a:pt x="962" y="1532"/>
                </a:lnTo>
                <a:lnTo>
                  <a:pt x="955" y="1532"/>
                </a:lnTo>
                <a:lnTo>
                  <a:pt x="952" y="1535"/>
                </a:lnTo>
                <a:lnTo>
                  <a:pt x="952" y="1532"/>
                </a:lnTo>
                <a:lnTo>
                  <a:pt x="948" y="1532"/>
                </a:lnTo>
                <a:lnTo>
                  <a:pt x="948" y="1528"/>
                </a:lnTo>
                <a:lnTo>
                  <a:pt x="952" y="1525"/>
                </a:lnTo>
                <a:lnTo>
                  <a:pt x="948" y="1521"/>
                </a:lnTo>
                <a:lnTo>
                  <a:pt x="941" y="1518"/>
                </a:lnTo>
                <a:lnTo>
                  <a:pt x="938" y="1518"/>
                </a:lnTo>
                <a:lnTo>
                  <a:pt x="934" y="1518"/>
                </a:lnTo>
                <a:lnTo>
                  <a:pt x="934" y="1514"/>
                </a:lnTo>
                <a:lnTo>
                  <a:pt x="938" y="1511"/>
                </a:lnTo>
                <a:lnTo>
                  <a:pt x="938" y="1508"/>
                </a:lnTo>
                <a:lnTo>
                  <a:pt x="938" y="1504"/>
                </a:lnTo>
                <a:lnTo>
                  <a:pt x="938" y="1497"/>
                </a:lnTo>
                <a:lnTo>
                  <a:pt x="938" y="1494"/>
                </a:lnTo>
                <a:lnTo>
                  <a:pt x="934" y="1494"/>
                </a:lnTo>
                <a:lnTo>
                  <a:pt x="934" y="1490"/>
                </a:lnTo>
                <a:lnTo>
                  <a:pt x="934" y="1487"/>
                </a:lnTo>
                <a:lnTo>
                  <a:pt x="934" y="1483"/>
                </a:lnTo>
                <a:lnTo>
                  <a:pt x="931" y="1480"/>
                </a:lnTo>
                <a:lnTo>
                  <a:pt x="931" y="1476"/>
                </a:lnTo>
                <a:lnTo>
                  <a:pt x="931" y="1473"/>
                </a:lnTo>
                <a:lnTo>
                  <a:pt x="931" y="1469"/>
                </a:lnTo>
                <a:lnTo>
                  <a:pt x="931" y="1466"/>
                </a:lnTo>
                <a:lnTo>
                  <a:pt x="928" y="1466"/>
                </a:lnTo>
                <a:lnTo>
                  <a:pt x="928" y="1462"/>
                </a:lnTo>
                <a:lnTo>
                  <a:pt x="931" y="1448"/>
                </a:lnTo>
                <a:lnTo>
                  <a:pt x="928" y="1445"/>
                </a:lnTo>
                <a:lnTo>
                  <a:pt x="921" y="1445"/>
                </a:lnTo>
                <a:lnTo>
                  <a:pt x="917" y="1445"/>
                </a:lnTo>
                <a:lnTo>
                  <a:pt x="914" y="1445"/>
                </a:lnTo>
                <a:lnTo>
                  <a:pt x="914" y="1448"/>
                </a:lnTo>
                <a:lnTo>
                  <a:pt x="914" y="1452"/>
                </a:lnTo>
                <a:lnTo>
                  <a:pt x="910" y="1452"/>
                </a:lnTo>
                <a:lnTo>
                  <a:pt x="910" y="1455"/>
                </a:lnTo>
                <a:lnTo>
                  <a:pt x="907" y="1455"/>
                </a:lnTo>
                <a:lnTo>
                  <a:pt x="903" y="1459"/>
                </a:lnTo>
                <a:lnTo>
                  <a:pt x="900" y="1459"/>
                </a:lnTo>
                <a:lnTo>
                  <a:pt x="900" y="1455"/>
                </a:lnTo>
                <a:lnTo>
                  <a:pt x="896" y="1452"/>
                </a:lnTo>
                <a:lnTo>
                  <a:pt x="896" y="1448"/>
                </a:lnTo>
                <a:lnTo>
                  <a:pt x="889" y="1445"/>
                </a:lnTo>
                <a:lnTo>
                  <a:pt x="886" y="1442"/>
                </a:lnTo>
                <a:lnTo>
                  <a:pt x="882" y="1442"/>
                </a:lnTo>
                <a:lnTo>
                  <a:pt x="879" y="1442"/>
                </a:lnTo>
                <a:lnTo>
                  <a:pt x="875" y="1442"/>
                </a:lnTo>
                <a:lnTo>
                  <a:pt x="872" y="1442"/>
                </a:lnTo>
                <a:lnTo>
                  <a:pt x="868" y="1442"/>
                </a:lnTo>
                <a:lnTo>
                  <a:pt x="868" y="1438"/>
                </a:lnTo>
                <a:lnTo>
                  <a:pt x="868" y="1435"/>
                </a:lnTo>
                <a:lnTo>
                  <a:pt x="865" y="1431"/>
                </a:lnTo>
                <a:lnTo>
                  <a:pt x="865" y="1428"/>
                </a:lnTo>
                <a:lnTo>
                  <a:pt x="858" y="1417"/>
                </a:lnTo>
                <a:lnTo>
                  <a:pt x="858" y="1410"/>
                </a:lnTo>
                <a:lnTo>
                  <a:pt x="855" y="1407"/>
                </a:lnTo>
                <a:lnTo>
                  <a:pt x="855" y="1403"/>
                </a:lnTo>
                <a:lnTo>
                  <a:pt x="851" y="1403"/>
                </a:lnTo>
                <a:lnTo>
                  <a:pt x="848" y="1403"/>
                </a:lnTo>
                <a:lnTo>
                  <a:pt x="841" y="1403"/>
                </a:lnTo>
                <a:lnTo>
                  <a:pt x="837" y="1407"/>
                </a:lnTo>
                <a:lnTo>
                  <a:pt x="834" y="1407"/>
                </a:lnTo>
                <a:lnTo>
                  <a:pt x="823" y="1407"/>
                </a:lnTo>
                <a:lnTo>
                  <a:pt x="820" y="1407"/>
                </a:lnTo>
                <a:lnTo>
                  <a:pt x="816" y="1410"/>
                </a:lnTo>
                <a:lnTo>
                  <a:pt x="809" y="1410"/>
                </a:lnTo>
                <a:lnTo>
                  <a:pt x="809" y="1407"/>
                </a:lnTo>
                <a:lnTo>
                  <a:pt x="799" y="1407"/>
                </a:lnTo>
                <a:lnTo>
                  <a:pt x="792" y="1410"/>
                </a:lnTo>
                <a:lnTo>
                  <a:pt x="785" y="1407"/>
                </a:lnTo>
                <a:lnTo>
                  <a:pt x="785" y="1410"/>
                </a:lnTo>
                <a:lnTo>
                  <a:pt x="782" y="1407"/>
                </a:lnTo>
                <a:lnTo>
                  <a:pt x="778" y="1403"/>
                </a:lnTo>
                <a:lnTo>
                  <a:pt x="778" y="1400"/>
                </a:lnTo>
                <a:lnTo>
                  <a:pt x="782" y="1400"/>
                </a:lnTo>
                <a:lnTo>
                  <a:pt x="782" y="1396"/>
                </a:lnTo>
                <a:lnTo>
                  <a:pt x="785" y="1396"/>
                </a:lnTo>
                <a:lnTo>
                  <a:pt x="782" y="1396"/>
                </a:lnTo>
                <a:lnTo>
                  <a:pt x="785" y="1393"/>
                </a:lnTo>
                <a:lnTo>
                  <a:pt x="785" y="1389"/>
                </a:lnTo>
                <a:lnTo>
                  <a:pt x="782" y="1389"/>
                </a:lnTo>
                <a:lnTo>
                  <a:pt x="775" y="1386"/>
                </a:lnTo>
                <a:lnTo>
                  <a:pt x="771" y="1386"/>
                </a:lnTo>
                <a:lnTo>
                  <a:pt x="768" y="1382"/>
                </a:lnTo>
                <a:lnTo>
                  <a:pt x="764" y="1386"/>
                </a:lnTo>
                <a:lnTo>
                  <a:pt x="764" y="1382"/>
                </a:lnTo>
                <a:lnTo>
                  <a:pt x="761" y="1382"/>
                </a:lnTo>
                <a:lnTo>
                  <a:pt x="757" y="1382"/>
                </a:lnTo>
                <a:lnTo>
                  <a:pt x="754" y="1382"/>
                </a:lnTo>
                <a:lnTo>
                  <a:pt x="750" y="1382"/>
                </a:lnTo>
                <a:lnTo>
                  <a:pt x="743" y="1382"/>
                </a:lnTo>
                <a:lnTo>
                  <a:pt x="737" y="1379"/>
                </a:lnTo>
                <a:lnTo>
                  <a:pt x="733" y="1379"/>
                </a:lnTo>
                <a:lnTo>
                  <a:pt x="733" y="1376"/>
                </a:lnTo>
                <a:lnTo>
                  <a:pt x="730" y="1372"/>
                </a:lnTo>
                <a:lnTo>
                  <a:pt x="730" y="1369"/>
                </a:lnTo>
                <a:lnTo>
                  <a:pt x="726" y="1365"/>
                </a:lnTo>
                <a:lnTo>
                  <a:pt x="726" y="1362"/>
                </a:lnTo>
                <a:lnTo>
                  <a:pt x="723" y="1358"/>
                </a:lnTo>
                <a:lnTo>
                  <a:pt x="719" y="1362"/>
                </a:lnTo>
                <a:lnTo>
                  <a:pt x="712" y="1365"/>
                </a:lnTo>
                <a:lnTo>
                  <a:pt x="709" y="1365"/>
                </a:lnTo>
                <a:lnTo>
                  <a:pt x="705" y="1365"/>
                </a:lnTo>
                <a:lnTo>
                  <a:pt x="702" y="1358"/>
                </a:lnTo>
                <a:lnTo>
                  <a:pt x="698" y="1351"/>
                </a:lnTo>
                <a:lnTo>
                  <a:pt x="702" y="1348"/>
                </a:lnTo>
                <a:lnTo>
                  <a:pt x="702" y="1344"/>
                </a:lnTo>
                <a:lnTo>
                  <a:pt x="702" y="1341"/>
                </a:lnTo>
                <a:lnTo>
                  <a:pt x="702" y="1337"/>
                </a:lnTo>
                <a:lnTo>
                  <a:pt x="698" y="1334"/>
                </a:lnTo>
                <a:lnTo>
                  <a:pt x="695" y="1334"/>
                </a:lnTo>
                <a:lnTo>
                  <a:pt x="691" y="1337"/>
                </a:lnTo>
                <a:lnTo>
                  <a:pt x="691" y="1334"/>
                </a:lnTo>
                <a:lnTo>
                  <a:pt x="684" y="1327"/>
                </a:lnTo>
                <a:lnTo>
                  <a:pt x="681" y="1323"/>
                </a:lnTo>
                <a:lnTo>
                  <a:pt x="678" y="1323"/>
                </a:lnTo>
                <a:lnTo>
                  <a:pt x="667" y="1323"/>
                </a:lnTo>
                <a:lnTo>
                  <a:pt x="664" y="1320"/>
                </a:lnTo>
                <a:lnTo>
                  <a:pt x="660" y="1320"/>
                </a:lnTo>
                <a:lnTo>
                  <a:pt x="657" y="1323"/>
                </a:lnTo>
                <a:lnTo>
                  <a:pt x="653" y="1320"/>
                </a:lnTo>
                <a:lnTo>
                  <a:pt x="650" y="1320"/>
                </a:lnTo>
                <a:lnTo>
                  <a:pt x="646" y="1320"/>
                </a:lnTo>
                <a:lnTo>
                  <a:pt x="643" y="1327"/>
                </a:lnTo>
                <a:lnTo>
                  <a:pt x="639" y="1327"/>
                </a:lnTo>
                <a:lnTo>
                  <a:pt x="636" y="1327"/>
                </a:lnTo>
                <a:lnTo>
                  <a:pt x="632" y="1327"/>
                </a:lnTo>
                <a:lnTo>
                  <a:pt x="629" y="1330"/>
                </a:lnTo>
                <a:lnTo>
                  <a:pt x="625" y="1327"/>
                </a:lnTo>
                <a:lnTo>
                  <a:pt x="622" y="1330"/>
                </a:lnTo>
                <a:lnTo>
                  <a:pt x="622" y="1334"/>
                </a:lnTo>
                <a:lnTo>
                  <a:pt x="622" y="1337"/>
                </a:lnTo>
                <a:lnTo>
                  <a:pt x="619" y="1341"/>
                </a:lnTo>
                <a:lnTo>
                  <a:pt x="622" y="1341"/>
                </a:lnTo>
                <a:lnTo>
                  <a:pt x="622" y="1344"/>
                </a:lnTo>
                <a:lnTo>
                  <a:pt x="622" y="1348"/>
                </a:lnTo>
                <a:lnTo>
                  <a:pt x="622" y="1351"/>
                </a:lnTo>
                <a:lnTo>
                  <a:pt x="619" y="1351"/>
                </a:lnTo>
                <a:lnTo>
                  <a:pt x="619" y="1355"/>
                </a:lnTo>
                <a:lnTo>
                  <a:pt x="619" y="1358"/>
                </a:lnTo>
                <a:lnTo>
                  <a:pt x="615" y="1358"/>
                </a:lnTo>
                <a:lnTo>
                  <a:pt x="615" y="1362"/>
                </a:lnTo>
                <a:lnTo>
                  <a:pt x="612" y="1362"/>
                </a:lnTo>
                <a:lnTo>
                  <a:pt x="612" y="1358"/>
                </a:lnTo>
                <a:lnTo>
                  <a:pt x="598" y="1358"/>
                </a:lnTo>
                <a:lnTo>
                  <a:pt x="594" y="1358"/>
                </a:lnTo>
                <a:lnTo>
                  <a:pt x="591" y="1358"/>
                </a:lnTo>
                <a:lnTo>
                  <a:pt x="587" y="1358"/>
                </a:lnTo>
                <a:lnTo>
                  <a:pt x="587" y="1355"/>
                </a:lnTo>
                <a:lnTo>
                  <a:pt x="584" y="1355"/>
                </a:lnTo>
                <a:lnTo>
                  <a:pt x="580" y="1355"/>
                </a:lnTo>
                <a:lnTo>
                  <a:pt x="580" y="1351"/>
                </a:lnTo>
                <a:lnTo>
                  <a:pt x="577" y="1351"/>
                </a:lnTo>
                <a:lnTo>
                  <a:pt x="573" y="1351"/>
                </a:lnTo>
                <a:lnTo>
                  <a:pt x="566" y="1355"/>
                </a:lnTo>
                <a:lnTo>
                  <a:pt x="563" y="1355"/>
                </a:lnTo>
                <a:lnTo>
                  <a:pt x="563" y="1358"/>
                </a:lnTo>
                <a:lnTo>
                  <a:pt x="563" y="1362"/>
                </a:lnTo>
                <a:lnTo>
                  <a:pt x="559" y="1362"/>
                </a:lnTo>
                <a:lnTo>
                  <a:pt x="556" y="1365"/>
                </a:lnTo>
                <a:lnTo>
                  <a:pt x="556" y="1369"/>
                </a:lnTo>
                <a:lnTo>
                  <a:pt x="556" y="1376"/>
                </a:lnTo>
                <a:lnTo>
                  <a:pt x="553" y="1379"/>
                </a:lnTo>
                <a:lnTo>
                  <a:pt x="553" y="1382"/>
                </a:lnTo>
                <a:lnTo>
                  <a:pt x="556" y="1382"/>
                </a:lnTo>
                <a:lnTo>
                  <a:pt x="559" y="1386"/>
                </a:lnTo>
                <a:lnTo>
                  <a:pt x="556" y="1386"/>
                </a:lnTo>
                <a:lnTo>
                  <a:pt x="559" y="1389"/>
                </a:lnTo>
                <a:lnTo>
                  <a:pt x="556" y="1396"/>
                </a:lnTo>
                <a:lnTo>
                  <a:pt x="553" y="1396"/>
                </a:lnTo>
                <a:lnTo>
                  <a:pt x="553" y="1400"/>
                </a:lnTo>
                <a:lnTo>
                  <a:pt x="549" y="1400"/>
                </a:lnTo>
                <a:lnTo>
                  <a:pt x="546" y="1400"/>
                </a:lnTo>
                <a:lnTo>
                  <a:pt x="546" y="1396"/>
                </a:lnTo>
                <a:lnTo>
                  <a:pt x="539" y="1396"/>
                </a:lnTo>
                <a:lnTo>
                  <a:pt x="528" y="1400"/>
                </a:lnTo>
                <a:lnTo>
                  <a:pt x="525" y="1400"/>
                </a:lnTo>
                <a:lnTo>
                  <a:pt x="521" y="1396"/>
                </a:lnTo>
                <a:lnTo>
                  <a:pt x="518" y="1396"/>
                </a:lnTo>
                <a:lnTo>
                  <a:pt x="514" y="1396"/>
                </a:lnTo>
                <a:lnTo>
                  <a:pt x="511" y="1396"/>
                </a:lnTo>
                <a:lnTo>
                  <a:pt x="507" y="1393"/>
                </a:lnTo>
                <a:lnTo>
                  <a:pt x="504" y="1393"/>
                </a:lnTo>
                <a:lnTo>
                  <a:pt x="500" y="1403"/>
                </a:lnTo>
                <a:lnTo>
                  <a:pt x="500" y="1407"/>
                </a:lnTo>
                <a:lnTo>
                  <a:pt x="494" y="1407"/>
                </a:lnTo>
                <a:lnTo>
                  <a:pt x="480" y="1410"/>
                </a:lnTo>
                <a:lnTo>
                  <a:pt x="476" y="1414"/>
                </a:lnTo>
                <a:lnTo>
                  <a:pt x="469" y="1414"/>
                </a:lnTo>
                <a:lnTo>
                  <a:pt x="462" y="1414"/>
                </a:lnTo>
                <a:lnTo>
                  <a:pt x="455" y="1414"/>
                </a:lnTo>
                <a:lnTo>
                  <a:pt x="455" y="1417"/>
                </a:lnTo>
                <a:lnTo>
                  <a:pt x="448" y="1414"/>
                </a:lnTo>
                <a:lnTo>
                  <a:pt x="445" y="1414"/>
                </a:lnTo>
                <a:lnTo>
                  <a:pt x="441" y="1414"/>
                </a:lnTo>
                <a:lnTo>
                  <a:pt x="441" y="1410"/>
                </a:lnTo>
                <a:lnTo>
                  <a:pt x="438" y="1410"/>
                </a:lnTo>
                <a:lnTo>
                  <a:pt x="438" y="1407"/>
                </a:lnTo>
                <a:lnTo>
                  <a:pt x="434" y="1407"/>
                </a:lnTo>
                <a:lnTo>
                  <a:pt x="431" y="1403"/>
                </a:lnTo>
                <a:lnTo>
                  <a:pt x="428" y="1403"/>
                </a:lnTo>
                <a:lnTo>
                  <a:pt x="424" y="1403"/>
                </a:lnTo>
                <a:lnTo>
                  <a:pt x="421" y="1407"/>
                </a:lnTo>
                <a:lnTo>
                  <a:pt x="414" y="1410"/>
                </a:lnTo>
                <a:lnTo>
                  <a:pt x="410" y="1410"/>
                </a:lnTo>
                <a:lnTo>
                  <a:pt x="407" y="1414"/>
                </a:lnTo>
                <a:lnTo>
                  <a:pt x="403" y="1414"/>
                </a:lnTo>
                <a:lnTo>
                  <a:pt x="400" y="1414"/>
                </a:lnTo>
                <a:lnTo>
                  <a:pt x="396" y="1414"/>
                </a:lnTo>
                <a:lnTo>
                  <a:pt x="393" y="1417"/>
                </a:lnTo>
                <a:lnTo>
                  <a:pt x="393" y="1414"/>
                </a:lnTo>
                <a:lnTo>
                  <a:pt x="386" y="1414"/>
                </a:lnTo>
                <a:lnTo>
                  <a:pt x="382" y="1410"/>
                </a:lnTo>
                <a:lnTo>
                  <a:pt x="382" y="1414"/>
                </a:lnTo>
                <a:lnTo>
                  <a:pt x="379" y="1417"/>
                </a:lnTo>
                <a:lnTo>
                  <a:pt x="375" y="1421"/>
                </a:lnTo>
                <a:lnTo>
                  <a:pt x="372" y="1421"/>
                </a:lnTo>
                <a:lnTo>
                  <a:pt x="369" y="1424"/>
                </a:lnTo>
                <a:lnTo>
                  <a:pt x="362" y="1431"/>
                </a:lnTo>
                <a:lnTo>
                  <a:pt x="362" y="1435"/>
                </a:lnTo>
                <a:lnTo>
                  <a:pt x="358" y="1435"/>
                </a:lnTo>
                <a:lnTo>
                  <a:pt x="355" y="1438"/>
                </a:lnTo>
                <a:lnTo>
                  <a:pt x="355" y="1442"/>
                </a:lnTo>
                <a:lnTo>
                  <a:pt x="351" y="1442"/>
                </a:lnTo>
                <a:lnTo>
                  <a:pt x="351" y="1445"/>
                </a:lnTo>
                <a:lnTo>
                  <a:pt x="351" y="1448"/>
                </a:lnTo>
                <a:lnTo>
                  <a:pt x="344" y="1448"/>
                </a:lnTo>
                <a:lnTo>
                  <a:pt x="341" y="1448"/>
                </a:lnTo>
                <a:lnTo>
                  <a:pt x="337" y="1448"/>
                </a:lnTo>
                <a:lnTo>
                  <a:pt x="334" y="1448"/>
                </a:lnTo>
                <a:lnTo>
                  <a:pt x="330" y="1448"/>
                </a:lnTo>
                <a:lnTo>
                  <a:pt x="327" y="1445"/>
                </a:lnTo>
                <a:lnTo>
                  <a:pt x="323" y="1445"/>
                </a:lnTo>
                <a:lnTo>
                  <a:pt x="320" y="1445"/>
                </a:lnTo>
                <a:lnTo>
                  <a:pt x="316" y="1445"/>
                </a:lnTo>
                <a:lnTo>
                  <a:pt x="313" y="1442"/>
                </a:lnTo>
                <a:lnTo>
                  <a:pt x="313" y="1438"/>
                </a:lnTo>
                <a:lnTo>
                  <a:pt x="313" y="1435"/>
                </a:lnTo>
                <a:lnTo>
                  <a:pt x="313" y="1431"/>
                </a:lnTo>
                <a:lnTo>
                  <a:pt x="313" y="1428"/>
                </a:lnTo>
                <a:lnTo>
                  <a:pt x="309" y="1424"/>
                </a:lnTo>
                <a:lnTo>
                  <a:pt x="306" y="1421"/>
                </a:lnTo>
                <a:lnTo>
                  <a:pt x="306" y="1417"/>
                </a:lnTo>
                <a:lnTo>
                  <a:pt x="303" y="1417"/>
                </a:lnTo>
                <a:lnTo>
                  <a:pt x="303" y="1414"/>
                </a:lnTo>
                <a:lnTo>
                  <a:pt x="299" y="1414"/>
                </a:lnTo>
                <a:lnTo>
                  <a:pt x="296" y="1417"/>
                </a:lnTo>
                <a:lnTo>
                  <a:pt x="292" y="1417"/>
                </a:lnTo>
                <a:lnTo>
                  <a:pt x="289" y="1421"/>
                </a:lnTo>
                <a:lnTo>
                  <a:pt x="285" y="1424"/>
                </a:lnTo>
                <a:lnTo>
                  <a:pt x="282" y="1417"/>
                </a:lnTo>
                <a:lnTo>
                  <a:pt x="282" y="1414"/>
                </a:lnTo>
                <a:lnTo>
                  <a:pt x="282" y="1410"/>
                </a:lnTo>
                <a:lnTo>
                  <a:pt x="278" y="1410"/>
                </a:lnTo>
                <a:lnTo>
                  <a:pt x="275" y="1410"/>
                </a:lnTo>
                <a:lnTo>
                  <a:pt x="271" y="1410"/>
                </a:lnTo>
                <a:lnTo>
                  <a:pt x="268" y="1414"/>
                </a:lnTo>
                <a:lnTo>
                  <a:pt x="264" y="1414"/>
                </a:lnTo>
                <a:lnTo>
                  <a:pt x="264" y="1417"/>
                </a:lnTo>
                <a:lnTo>
                  <a:pt x="264" y="1421"/>
                </a:lnTo>
                <a:lnTo>
                  <a:pt x="261" y="1417"/>
                </a:lnTo>
                <a:lnTo>
                  <a:pt x="257" y="1417"/>
                </a:lnTo>
                <a:lnTo>
                  <a:pt x="254" y="1421"/>
                </a:lnTo>
                <a:lnTo>
                  <a:pt x="247" y="1424"/>
                </a:lnTo>
                <a:lnTo>
                  <a:pt x="240" y="1428"/>
                </a:lnTo>
                <a:lnTo>
                  <a:pt x="233" y="1431"/>
                </a:lnTo>
                <a:lnTo>
                  <a:pt x="230" y="1428"/>
                </a:lnTo>
                <a:lnTo>
                  <a:pt x="230" y="1424"/>
                </a:lnTo>
                <a:lnTo>
                  <a:pt x="226" y="1424"/>
                </a:lnTo>
                <a:lnTo>
                  <a:pt x="226" y="1421"/>
                </a:lnTo>
                <a:lnTo>
                  <a:pt x="223" y="1421"/>
                </a:lnTo>
                <a:lnTo>
                  <a:pt x="219" y="1421"/>
                </a:lnTo>
                <a:lnTo>
                  <a:pt x="219" y="1417"/>
                </a:lnTo>
                <a:lnTo>
                  <a:pt x="216" y="1417"/>
                </a:lnTo>
                <a:lnTo>
                  <a:pt x="216" y="1414"/>
                </a:lnTo>
                <a:lnTo>
                  <a:pt x="212" y="1414"/>
                </a:lnTo>
                <a:lnTo>
                  <a:pt x="209" y="1410"/>
                </a:lnTo>
                <a:lnTo>
                  <a:pt x="212" y="1407"/>
                </a:lnTo>
                <a:lnTo>
                  <a:pt x="212" y="1403"/>
                </a:lnTo>
                <a:lnTo>
                  <a:pt x="216" y="1400"/>
                </a:lnTo>
                <a:lnTo>
                  <a:pt x="216" y="1396"/>
                </a:lnTo>
                <a:lnTo>
                  <a:pt x="212" y="1396"/>
                </a:lnTo>
                <a:lnTo>
                  <a:pt x="209" y="1396"/>
                </a:lnTo>
                <a:lnTo>
                  <a:pt x="209" y="1393"/>
                </a:lnTo>
                <a:lnTo>
                  <a:pt x="205" y="1393"/>
                </a:lnTo>
                <a:lnTo>
                  <a:pt x="205" y="1389"/>
                </a:lnTo>
                <a:lnTo>
                  <a:pt x="202" y="1386"/>
                </a:lnTo>
                <a:lnTo>
                  <a:pt x="202" y="1389"/>
                </a:lnTo>
                <a:lnTo>
                  <a:pt x="202" y="1386"/>
                </a:lnTo>
                <a:lnTo>
                  <a:pt x="198" y="1386"/>
                </a:lnTo>
                <a:lnTo>
                  <a:pt x="198" y="1379"/>
                </a:lnTo>
                <a:lnTo>
                  <a:pt x="198" y="1376"/>
                </a:lnTo>
                <a:lnTo>
                  <a:pt x="195" y="1369"/>
                </a:lnTo>
                <a:lnTo>
                  <a:pt x="195" y="1365"/>
                </a:lnTo>
                <a:lnTo>
                  <a:pt x="191" y="1362"/>
                </a:lnTo>
                <a:lnTo>
                  <a:pt x="198" y="1358"/>
                </a:lnTo>
                <a:lnTo>
                  <a:pt x="205" y="1351"/>
                </a:lnTo>
                <a:lnTo>
                  <a:pt x="205" y="1348"/>
                </a:lnTo>
                <a:lnTo>
                  <a:pt x="205" y="1344"/>
                </a:lnTo>
                <a:lnTo>
                  <a:pt x="202" y="1344"/>
                </a:lnTo>
                <a:lnTo>
                  <a:pt x="202" y="1341"/>
                </a:lnTo>
                <a:lnTo>
                  <a:pt x="198" y="1341"/>
                </a:lnTo>
                <a:lnTo>
                  <a:pt x="195" y="1337"/>
                </a:lnTo>
                <a:lnTo>
                  <a:pt x="191" y="1337"/>
                </a:lnTo>
                <a:lnTo>
                  <a:pt x="191" y="1334"/>
                </a:lnTo>
                <a:lnTo>
                  <a:pt x="191" y="1330"/>
                </a:lnTo>
                <a:lnTo>
                  <a:pt x="195" y="1320"/>
                </a:lnTo>
                <a:lnTo>
                  <a:pt x="198" y="1320"/>
                </a:lnTo>
                <a:lnTo>
                  <a:pt x="202" y="1317"/>
                </a:lnTo>
                <a:lnTo>
                  <a:pt x="202" y="1313"/>
                </a:lnTo>
                <a:lnTo>
                  <a:pt x="198" y="1313"/>
                </a:lnTo>
                <a:lnTo>
                  <a:pt x="198" y="1310"/>
                </a:lnTo>
                <a:lnTo>
                  <a:pt x="198" y="1306"/>
                </a:lnTo>
                <a:lnTo>
                  <a:pt x="202" y="1306"/>
                </a:lnTo>
                <a:lnTo>
                  <a:pt x="202" y="1303"/>
                </a:lnTo>
                <a:lnTo>
                  <a:pt x="198" y="1303"/>
                </a:lnTo>
                <a:lnTo>
                  <a:pt x="195" y="1303"/>
                </a:lnTo>
                <a:lnTo>
                  <a:pt x="195" y="1299"/>
                </a:lnTo>
                <a:lnTo>
                  <a:pt x="191" y="1299"/>
                </a:lnTo>
                <a:lnTo>
                  <a:pt x="191" y="1296"/>
                </a:lnTo>
                <a:lnTo>
                  <a:pt x="198" y="1289"/>
                </a:lnTo>
                <a:lnTo>
                  <a:pt x="202" y="1285"/>
                </a:lnTo>
                <a:lnTo>
                  <a:pt x="205" y="1285"/>
                </a:lnTo>
                <a:lnTo>
                  <a:pt x="209" y="1282"/>
                </a:lnTo>
                <a:lnTo>
                  <a:pt x="212" y="1278"/>
                </a:lnTo>
                <a:lnTo>
                  <a:pt x="216" y="1278"/>
                </a:lnTo>
                <a:lnTo>
                  <a:pt x="219" y="1278"/>
                </a:lnTo>
                <a:lnTo>
                  <a:pt x="226" y="1275"/>
                </a:lnTo>
                <a:lnTo>
                  <a:pt x="230" y="1271"/>
                </a:lnTo>
                <a:lnTo>
                  <a:pt x="233" y="1268"/>
                </a:lnTo>
                <a:lnTo>
                  <a:pt x="233" y="1264"/>
                </a:lnTo>
                <a:lnTo>
                  <a:pt x="237" y="1261"/>
                </a:lnTo>
                <a:lnTo>
                  <a:pt x="237" y="1257"/>
                </a:lnTo>
                <a:lnTo>
                  <a:pt x="233" y="1254"/>
                </a:lnTo>
                <a:lnTo>
                  <a:pt x="233" y="1251"/>
                </a:lnTo>
                <a:lnTo>
                  <a:pt x="226" y="1244"/>
                </a:lnTo>
                <a:lnTo>
                  <a:pt x="226" y="1240"/>
                </a:lnTo>
                <a:lnTo>
                  <a:pt x="226" y="1237"/>
                </a:lnTo>
                <a:lnTo>
                  <a:pt x="223" y="1233"/>
                </a:lnTo>
                <a:lnTo>
                  <a:pt x="219" y="1233"/>
                </a:lnTo>
                <a:lnTo>
                  <a:pt x="219" y="1230"/>
                </a:lnTo>
                <a:lnTo>
                  <a:pt x="216" y="1226"/>
                </a:lnTo>
                <a:lnTo>
                  <a:pt x="216" y="1223"/>
                </a:lnTo>
                <a:lnTo>
                  <a:pt x="212" y="1223"/>
                </a:lnTo>
                <a:lnTo>
                  <a:pt x="212" y="1219"/>
                </a:lnTo>
                <a:lnTo>
                  <a:pt x="209" y="1219"/>
                </a:lnTo>
                <a:lnTo>
                  <a:pt x="205" y="1216"/>
                </a:lnTo>
                <a:lnTo>
                  <a:pt x="205" y="1209"/>
                </a:lnTo>
                <a:lnTo>
                  <a:pt x="205" y="1205"/>
                </a:lnTo>
                <a:lnTo>
                  <a:pt x="205" y="1202"/>
                </a:lnTo>
                <a:lnTo>
                  <a:pt x="202" y="1202"/>
                </a:lnTo>
                <a:lnTo>
                  <a:pt x="198" y="1202"/>
                </a:lnTo>
                <a:lnTo>
                  <a:pt x="195" y="1205"/>
                </a:lnTo>
                <a:lnTo>
                  <a:pt x="191" y="1205"/>
                </a:lnTo>
                <a:lnTo>
                  <a:pt x="188" y="1209"/>
                </a:lnTo>
                <a:lnTo>
                  <a:pt x="184" y="1212"/>
                </a:lnTo>
                <a:lnTo>
                  <a:pt x="181" y="1209"/>
                </a:lnTo>
                <a:lnTo>
                  <a:pt x="178" y="1209"/>
                </a:lnTo>
                <a:lnTo>
                  <a:pt x="174" y="1209"/>
                </a:lnTo>
                <a:lnTo>
                  <a:pt x="171" y="1209"/>
                </a:lnTo>
                <a:lnTo>
                  <a:pt x="167" y="1202"/>
                </a:lnTo>
                <a:lnTo>
                  <a:pt x="164" y="1202"/>
                </a:lnTo>
                <a:lnTo>
                  <a:pt x="160" y="1202"/>
                </a:lnTo>
                <a:lnTo>
                  <a:pt x="160" y="1198"/>
                </a:lnTo>
                <a:lnTo>
                  <a:pt x="160" y="1202"/>
                </a:lnTo>
                <a:lnTo>
                  <a:pt x="160" y="1198"/>
                </a:lnTo>
                <a:lnTo>
                  <a:pt x="157" y="1198"/>
                </a:lnTo>
                <a:lnTo>
                  <a:pt x="153" y="1195"/>
                </a:lnTo>
                <a:lnTo>
                  <a:pt x="146" y="1195"/>
                </a:lnTo>
                <a:lnTo>
                  <a:pt x="143" y="1195"/>
                </a:lnTo>
                <a:lnTo>
                  <a:pt x="143" y="1192"/>
                </a:lnTo>
                <a:lnTo>
                  <a:pt x="136" y="1192"/>
                </a:lnTo>
                <a:lnTo>
                  <a:pt x="136" y="1195"/>
                </a:lnTo>
                <a:lnTo>
                  <a:pt x="132" y="1195"/>
                </a:lnTo>
                <a:lnTo>
                  <a:pt x="129" y="1195"/>
                </a:lnTo>
                <a:lnTo>
                  <a:pt x="129" y="1192"/>
                </a:lnTo>
                <a:lnTo>
                  <a:pt x="125" y="1188"/>
                </a:lnTo>
                <a:lnTo>
                  <a:pt x="122" y="1188"/>
                </a:lnTo>
                <a:lnTo>
                  <a:pt x="119" y="1188"/>
                </a:lnTo>
                <a:lnTo>
                  <a:pt x="115" y="1188"/>
                </a:lnTo>
                <a:lnTo>
                  <a:pt x="115" y="1185"/>
                </a:lnTo>
                <a:lnTo>
                  <a:pt x="112" y="1185"/>
                </a:lnTo>
                <a:lnTo>
                  <a:pt x="112" y="1181"/>
                </a:lnTo>
                <a:lnTo>
                  <a:pt x="108" y="1178"/>
                </a:lnTo>
                <a:lnTo>
                  <a:pt x="108" y="1174"/>
                </a:lnTo>
                <a:lnTo>
                  <a:pt x="105" y="1174"/>
                </a:lnTo>
                <a:lnTo>
                  <a:pt x="101" y="1174"/>
                </a:lnTo>
                <a:lnTo>
                  <a:pt x="101" y="1171"/>
                </a:lnTo>
                <a:lnTo>
                  <a:pt x="101" y="1167"/>
                </a:lnTo>
                <a:lnTo>
                  <a:pt x="98" y="1167"/>
                </a:lnTo>
                <a:lnTo>
                  <a:pt x="98" y="1164"/>
                </a:lnTo>
                <a:lnTo>
                  <a:pt x="94" y="1164"/>
                </a:lnTo>
                <a:lnTo>
                  <a:pt x="91" y="1164"/>
                </a:lnTo>
                <a:lnTo>
                  <a:pt x="91" y="1160"/>
                </a:lnTo>
                <a:lnTo>
                  <a:pt x="87" y="1160"/>
                </a:lnTo>
                <a:lnTo>
                  <a:pt x="84" y="1160"/>
                </a:lnTo>
                <a:lnTo>
                  <a:pt x="80" y="1160"/>
                </a:lnTo>
                <a:lnTo>
                  <a:pt x="80" y="1157"/>
                </a:lnTo>
                <a:lnTo>
                  <a:pt x="77" y="1157"/>
                </a:lnTo>
                <a:lnTo>
                  <a:pt x="77" y="1153"/>
                </a:lnTo>
                <a:lnTo>
                  <a:pt x="77" y="1150"/>
                </a:lnTo>
                <a:lnTo>
                  <a:pt x="73" y="1150"/>
                </a:lnTo>
                <a:lnTo>
                  <a:pt x="70" y="1150"/>
                </a:lnTo>
                <a:lnTo>
                  <a:pt x="70" y="1146"/>
                </a:lnTo>
                <a:lnTo>
                  <a:pt x="66" y="1146"/>
                </a:lnTo>
                <a:lnTo>
                  <a:pt x="63" y="1146"/>
                </a:lnTo>
                <a:lnTo>
                  <a:pt x="63" y="1143"/>
                </a:lnTo>
                <a:lnTo>
                  <a:pt x="60" y="1143"/>
                </a:lnTo>
                <a:lnTo>
                  <a:pt x="56" y="1143"/>
                </a:lnTo>
                <a:lnTo>
                  <a:pt x="56" y="1139"/>
                </a:lnTo>
                <a:lnTo>
                  <a:pt x="53" y="1139"/>
                </a:lnTo>
                <a:lnTo>
                  <a:pt x="49" y="1139"/>
                </a:lnTo>
                <a:lnTo>
                  <a:pt x="46" y="1139"/>
                </a:lnTo>
                <a:lnTo>
                  <a:pt x="42" y="1136"/>
                </a:lnTo>
                <a:lnTo>
                  <a:pt x="42" y="1139"/>
                </a:lnTo>
                <a:lnTo>
                  <a:pt x="39" y="1139"/>
                </a:lnTo>
                <a:lnTo>
                  <a:pt x="39" y="1136"/>
                </a:lnTo>
                <a:lnTo>
                  <a:pt x="35" y="1136"/>
                </a:lnTo>
                <a:lnTo>
                  <a:pt x="35" y="1132"/>
                </a:lnTo>
                <a:lnTo>
                  <a:pt x="32" y="1132"/>
                </a:lnTo>
                <a:lnTo>
                  <a:pt x="32" y="1129"/>
                </a:lnTo>
                <a:lnTo>
                  <a:pt x="32" y="1126"/>
                </a:lnTo>
                <a:lnTo>
                  <a:pt x="32" y="1122"/>
                </a:lnTo>
                <a:lnTo>
                  <a:pt x="32" y="1119"/>
                </a:lnTo>
                <a:lnTo>
                  <a:pt x="28" y="1119"/>
                </a:lnTo>
                <a:lnTo>
                  <a:pt x="28" y="1115"/>
                </a:lnTo>
                <a:lnTo>
                  <a:pt x="25" y="1115"/>
                </a:lnTo>
                <a:lnTo>
                  <a:pt x="25" y="1112"/>
                </a:lnTo>
                <a:lnTo>
                  <a:pt x="25" y="1108"/>
                </a:lnTo>
                <a:lnTo>
                  <a:pt x="21" y="1108"/>
                </a:lnTo>
                <a:lnTo>
                  <a:pt x="21" y="1105"/>
                </a:lnTo>
                <a:lnTo>
                  <a:pt x="18" y="1105"/>
                </a:lnTo>
                <a:lnTo>
                  <a:pt x="18" y="1101"/>
                </a:lnTo>
                <a:lnTo>
                  <a:pt x="18" y="1098"/>
                </a:lnTo>
                <a:lnTo>
                  <a:pt x="18" y="1094"/>
                </a:lnTo>
                <a:lnTo>
                  <a:pt x="14" y="1094"/>
                </a:lnTo>
                <a:lnTo>
                  <a:pt x="14" y="1091"/>
                </a:lnTo>
                <a:lnTo>
                  <a:pt x="14" y="1087"/>
                </a:lnTo>
                <a:lnTo>
                  <a:pt x="11" y="1087"/>
                </a:lnTo>
                <a:lnTo>
                  <a:pt x="7" y="1087"/>
                </a:lnTo>
                <a:lnTo>
                  <a:pt x="7" y="1084"/>
                </a:lnTo>
                <a:lnTo>
                  <a:pt x="4" y="1084"/>
                </a:lnTo>
                <a:lnTo>
                  <a:pt x="7" y="1080"/>
                </a:lnTo>
                <a:lnTo>
                  <a:pt x="4" y="1080"/>
                </a:lnTo>
                <a:lnTo>
                  <a:pt x="4" y="1077"/>
                </a:lnTo>
                <a:lnTo>
                  <a:pt x="7" y="1063"/>
                </a:lnTo>
                <a:lnTo>
                  <a:pt x="4" y="1063"/>
                </a:lnTo>
                <a:lnTo>
                  <a:pt x="0" y="1063"/>
                </a:lnTo>
                <a:lnTo>
                  <a:pt x="0" y="1060"/>
                </a:lnTo>
                <a:lnTo>
                  <a:pt x="4" y="1060"/>
                </a:lnTo>
                <a:lnTo>
                  <a:pt x="4" y="1056"/>
                </a:lnTo>
                <a:lnTo>
                  <a:pt x="7" y="1053"/>
                </a:lnTo>
                <a:lnTo>
                  <a:pt x="7" y="1049"/>
                </a:lnTo>
                <a:lnTo>
                  <a:pt x="4" y="1049"/>
                </a:lnTo>
                <a:lnTo>
                  <a:pt x="4" y="1046"/>
                </a:lnTo>
                <a:lnTo>
                  <a:pt x="4" y="1042"/>
                </a:lnTo>
                <a:lnTo>
                  <a:pt x="11" y="1039"/>
                </a:lnTo>
                <a:lnTo>
                  <a:pt x="14" y="1039"/>
                </a:lnTo>
                <a:lnTo>
                  <a:pt x="14" y="1035"/>
                </a:lnTo>
                <a:lnTo>
                  <a:pt x="11" y="1035"/>
                </a:lnTo>
                <a:lnTo>
                  <a:pt x="7" y="1035"/>
                </a:lnTo>
                <a:lnTo>
                  <a:pt x="7" y="1032"/>
                </a:lnTo>
                <a:lnTo>
                  <a:pt x="11" y="1021"/>
                </a:lnTo>
                <a:lnTo>
                  <a:pt x="14" y="1021"/>
                </a:lnTo>
                <a:lnTo>
                  <a:pt x="18" y="1018"/>
                </a:lnTo>
                <a:lnTo>
                  <a:pt x="21" y="1014"/>
                </a:lnTo>
                <a:lnTo>
                  <a:pt x="28" y="1011"/>
                </a:lnTo>
                <a:lnTo>
                  <a:pt x="32" y="1011"/>
                </a:lnTo>
                <a:lnTo>
                  <a:pt x="32" y="1007"/>
                </a:lnTo>
                <a:lnTo>
                  <a:pt x="32" y="1004"/>
                </a:lnTo>
                <a:lnTo>
                  <a:pt x="25" y="1001"/>
                </a:lnTo>
                <a:lnTo>
                  <a:pt x="21" y="997"/>
                </a:lnTo>
                <a:lnTo>
                  <a:pt x="18" y="997"/>
                </a:lnTo>
                <a:lnTo>
                  <a:pt x="14" y="997"/>
                </a:lnTo>
                <a:lnTo>
                  <a:pt x="14" y="994"/>
                </a:lnTo>
                <a:lnTo>
                  <a:pt x="18" y="990"/>
                </a:lnTo>
                <a:lnTo>
                  <a:pt x="18" y="987"/>
                </a:lnTo>
                <a:lnTo>
                  <a:pt x="21" y="983"/>
                </a:lnTo>
                <a:lnTo>
                  <a:pt x="21" y="980"/>
                </a:lnTo>
                <a:lnTo>
                  <a:pt x="21" y="976"/>
                </a:lnTo>
                <a:lnTo>
                  <a:pt x="18" y="973"/>
                </a:lnTo>
                <a:lnTo>
                  <a:pt x="14" y="973"/>
                </a:lnTo>
                <a:lnTo>
                  <a:pt x="14" y="969"/>
                </a:lnTo>
                <a:lnTo>
                  <a:pt x="14" y="966"/>
                </a:lnTo>
                <a:lnTo>
                  <a:pt x="14" y="962"/>
                </a:lnTo>
                <a:lnTo>
                  <a:pt x="14" y="959"/>
                </a:lnTo>
                <a:lnTo>
                  <a:pt x="18" y="955"/>
                </a:lnTo>
                <a:lnTo>
                  <a:pt x="21" y="952"/>
                </a:lnTo>
                <a:lnTo>
                  <a:pt x="21" y="945"/>
                </a:lnTo>
                <a:lnTo>
                  <a:pt x="25" y="941"/>
                </a:lnTo>
                <a:lnTo>
                  <a:pt x="25" y="938"/>
                </a:lnTo>
                <a:lnTo>
                  <a:pt x="25" y="935"/>
                </a:lnTo>
                <a:lnTo>
                  <a:pt x="21" y="935"/>
                </a:lnTo>
                <a:lnTo>
                  <a:pt x="21" y="931"/>
                </a:lnTo>
                <a:lnTo>
                  <a:pt x="21" y="928"/>
                </a:lnTo>
                <a:lnTo>
                  <a:pt x="25" y="924"/>
                </a:lnTo>
                <a:lnTo>
                  <a:pt x="25" y="921"/>
                </a:lnTo>
                <a:lnTo>
                  <a:pt x="21" y="917"/>
                </a:lnTo>
                <a:lnTo>
                  <a:pt x="21" y="914"/>
                </a:lnTo>
                <a:lnTo>
                  <a:pt x="21" y="910"/>
                </a:lnTo>
                <a:lnTo>
                  <a:pt x="25" y="907"/>
                </a:lnTo>
                <a:lnTo>
                  <a:pt x="25" y="896"/>
                </a:lnTo>
                <a:lnTo>
                  <a:pt x="28" y="889"/>
                </a:lnTo>
                <a:lnTo>
                  <a:pt x="28" y="886"/>
                </a:lnTo>
                <a:lnTo>
                  <a:pt x="32" y="886"/>
                </a:lnTo>
                <a:lnTo>
                  <a:pt x="32" y="882"/>
                </a:lnTo>
                <a:lnTo>
                  <a:pt x="35" y="882"/>
                </a:lnTo>
                <a:lnTo>
                  <a:pt x="35" y="879"/>
                </a:lnTo>
                <a:lnTo>
                  <a:pt x="46" y="879"/>
                </a:lnTo>
                <a:lnTo>
                  <a:pt x="49" y="875"/>
                </a:lnTo>
                <a:lnTo>
                  <a:pt x="53" y="869"/>
                </a:lnTo>
                <a:lnTo>
                  <a:pt x="56" y="869"/>
                </a:lnTo>
                <a:lnTo>
                  <a:pt x="60" y="869"/>
                </a:lnTo>
                <a:lnTo>
                  <a:pt x="63" y="869"/>
                </a:lnTo>
                <a:lnTo>
                  <a:pt x="70" y="872"/>
                </a:lnTo>
                <a:lnTo>
                  <a:pt x="77" y="875"/>
                </a:lnTo>
                <a:lnTo>
                  <a:pt x="80" y="875"/>
                </a:lnTo>
                <a:lnTo>
                  <a:pt x="84" y="879"/>
                </a:lnTo>
                <a:lnTo>
                  <a:pt x="98" y="882"/>
                </a:lnTo>
                <a:lnTo>
                  <a:pt x="101" y="886"/>
                </a:lnTo>
                <a:lnTo>
                  <a:pt x="101" y="889"/>
                </a:lnTo>
                <a:lnTo>
                  <a:pt x="105" y="889"/>
                </a:lnTo>
                <a:lnTo>
                  <a:pt x="105" y="896"/>
                </a:lnTo>
                <a:lnTo>
                  <a:pt x="108" y="896"/>
                </a:lnTo>
                <a:lnTo>
                  <a:pt x="119" y="914"/>
                </a:lnTo>
                <a:lnTo>
                  <a:pt x="122" y="917"/>
                </a:lnTo>
                <a:lnTo>
                  <a:pt x="125" y="921"/>
                </a:lnTo>
                <a:lnTo>
                  <a:pt x="129" y="924"/>
                </a:lnTo>
                <a:lnTo>
                  <a:pt x="132" y="928"/>
                </a:lnTo>
                <a:lnTo>
                  <a:pt x="136" y="935"/>
                </a:lnTo>
                <a:lnTo>
                  <a:pt x="139" y="935"/>
                </a:lnTo>
                <a:lnTo>
                  <a:pt x="143" y="938"/>
                </a:lnTo>
                <a:lnTo>
                  <a:pt x="146" y="938"/>
                </a:lnTo>
                <a:lnTo>
                  <a:pt x="153" y="941"/>
                </a:lnTo>
                <a:lnTo>
                  <a:pt x="157" y="941"/>
                </a:lnTo>
                <a:lnTo>
                  <a:pt x="157" y="945"/>
                </a:lnTo>
                <a:lnTo>
                  <a:pt x="157" y="948"/>
                </a:lnTo>
                <a:lnTo>
                  <a:pt x="160" y="948"/>
                </a:lnTo>
                <a:lnTo>
                  <a:pt x="160" y="952"/>
                </a:lnTo>
                <a:lnTo>
                  <a:pt x="167" y="952"/>
                </a:lnTo>
                <a:lnTo>
                  <a:pt x="167" y="955"/>
                </a:lnTo>
                <a:lnTo>
                  <a:pt x="171" y="959"/>
                </a:lnTo>
                <a:lnTo>
                  <a:pt x="174" y="959"/>
                </a:lnTo>
                <a:lnTo>
                  <a:pt x="178" y="959"/>
                </a:lnTo>
                <a:lnTo>
                  <a:pt x="181" y="955"/>
                </a:lnTo>
                <a:lnTo>
                  <a:pt x="184" y="955"/>
                </a:lnTo>
                <a:lnTo>
                  <a:pt x="188" y="952"/>
                </a:lnTo>
                <a:lnTo>
                  <a:pt x="188" y="948"/>
                </a:lnTo>
                <a:lnTo>
                  <a:pt x="188" y="945"/>
                </a:lnTo>
                <a:lnTo>
                  <a:pt x="191" y="941"/>
                </a:lnTo>
                <a:lnTo>
                  <a:pt x="191" y="938"/>
                </a:lnTo>
                <a:lnTo>
                  <a:pt x="191" y="935"/>
                </a:lnTo>
                <a:lnTo>
                  <a:pt x="195" y="935"/>
                </a:lnTo>
                <a:lnTo>
                  <a:pt x="202" y="935"/>
                </a:lnTo>
                <a:lnTo>
                  <a:pt x="205" y="938"/>
                </a:lnTo>
                <a:lnTo>
                  <a:pt x="209" y="938"/>
                </a:lnTo>
                <a:lnTo>
                  <a:pt x="212" y="938"/>
                </a:lnTo>
                <a:lnTo>
                  <a:pt x="216" y="938"/>
                </a:lnTo>
                <a:lnTo>
                  <a:pt x="223" y="938"/>
                </a:lnTo>
                <a:lnTo>
                  <a:pt x="230" y="935"/>
                </a:lnTo>
                <a:lnTo>
                  <a:pt x="233" y="935"/>
                </a:lnTo>
                <a:lnTo>
                  <a:pt x="240" y="931"/>
                </a:lnTo>
                <a:lnTo>
                  <a:pt x="244" y="931"/>
                </a:lnTo>
                <a:lnTo>
                  <a:pt x="247" y="931"/>
                </a:lnTo>
                <a:lnTo>
                  <a:pt x="250" y="931"/>
                </a:lnTo>
                <a:lnTo>
                  <a:pt x="264" y="924"/>
                </a:lnTo>
                <a:lnTo>
                  <a:pt x="268" y="924"/>
                </a:lnTo>
                <a:lnTo>
                  <a:pt x="275" y="924"/>
                </a:lnTo>
                <a:lnTo>
                  <a:pt x="278" y="924"/>
                </a:lnTo>
                <a:lnTo>
                  <a:pt x="282" y="921"/>
                </a:lnTo>
                <a:lnTo>
                  <a:pt x="285" y="921"/>
                </a:lnTo>
                <a:lnTo>
                  <a:pt x="289" y="917"/>
                </a:lnTo>
                <a:lnTo>
                  <a:pt x="292" y="917"/>
                </a:lnTo>
                <a:lnTo>
                  <a:pt x="292" y="914"/>
                </a:lnTo>
                <a:lnTo>
                  <a:pt x="292" y="910"/>
                </a:lnTo>
                <a:lnTo>
                  <a:pt x="296" y="907"/>
                </a:lnTo>
                <a:lnTo>
                  <a:pt x="296" y="903"/>
                </a:lnTo>
                <a:lnTo>
                  <a:pt x="299" y="900"/>
                </a:lnTo>
                <a:lnTo>
                  <a:pt x="299" y="896"/>
                </a:lnTo>
                <a:lnTo>
                  <a:pt x="299" y="893"/>
                </a:lnTo>
                <a:lnTo>
                  <a:pt x="299" y="886"/>
                </a:lnTo>
                <a:lnTo>
                  <a:pt x="299" y="882"/>
                </a:lnTo>
                <a:lnTo>
                  <a:pt x="303" y="882"/>
                </a:lnTo>
                <a:lnTo>
                  <a:pt x="306" y="879"/>
                </a:lnTo>
                <a:lnTo>
                  <a:pt x="309" y="879"/>
                </a:lnTo>
                <a:lnTo>
                  <a:pt x="313" y="879"/>
                </a:lnTo>
                <a:lnTo>
                  <a:pt x="313" y="875"/>
                </a:lnTo>
                <a:lnTo>
                  <a:pt x="316" y="875"/>
                </a:lnTo>
                <a:lnTo>
                  <a:pt x="320" y="875"/>
                </a:lnTo>
                <a:lnTo>
                  <a:pt x="323" y="875"/>
                </a:lnTo>
                <a:lnTo>
                  <a:pt x="323" y="879"/>
                </a:lnTo>
                <a:lnTo>
                  <a:pt x="327" y="879"/>
                </a:lnTo>
                <a:lnTo>
                  <a:pt x="330" y="879"/>
                </a:lnTo>
                <a:lnTo>
                  <a:pt x="334" y="875"/>
                </a:lnTo>
                <a:lnTo>
                  <a:pt x="337" y="875"/>
                </a:lnTo>
                <a:lnTo>
                  <a:pt x="341" y="875"/>
                </a:lnTo>
                <a:lnTo>
                  <a:pt x="344" y="875"/>
                </a:lnTo>
                <a:lnTo>
                  <a:pt x="348" y="875"/>
                </a:lnTo>
                <a:lnTo>
                  <a:pt x="355" y="875"/>
                </a:lnTo>
                <a:lnTo>
                  <a:pt x="358" y="875"/>
                </a:lnTo>
                <a:lnTo>
                  <a:pt x="362" y="879"/>
                </a:lnTo>
                <a:lnTo>
                  <a:pt x="362" y="882"/>
                </a:lnTo>
                <a:lnTo>
                  <a:pt x="365" y="882"/>
                </a:lnTo>
                <a:lnTo>
                  <a:pt x="369" y="889"/>
                </a:lnTo>
                <a:lnTo>
                  <a:pt x="369" y="896"/>
                </a:lnTo>
                <a:lnTo>
                  <a:pt x="372" y="900"/>
                </a:lnTo>
                <a:lnTo>
                  <a:pt x="372" y="903"/>
                </a:lnTo>
                <a:lnTo>
                  <a:pt x="372" y="907"/>
                </a:lnTo>
                <a:lnTo>
                  <a:pt x="375" y="907"/>
                </a:lnTo>
                <a:lnTo>
                  <a:pt x="375" y="910"/>
                </a:lnTo>
                <a:lnTo>
                  <a:pt x="379" y="910"/>
                </a:lnTo>
                <a:lnTo>
                  <a:pt x="382" y="910"/>
                </a:lnTo>
                <a:lnTo>
                  <a:pt x="386" y="914"/>
                </a:lnTo>
                <a:lnTo>
                  <a:pt x="386" y="910"/>
                </a:lnTo>
                <a:lnTo>
                  <a:pt x="379" y="907"/>
                </a:lnTo>
                <a:lnTo>
                  <a:pt x="379" y="903"/>
                </a:lnTo>
                <a:lnTo>
                  <a:pt x="379" y="900"/>
                </a:lnTo>
                <a:lnTo>
                  <a:pt x="375" y="896"/>
                </a:lnTo>
                <a:lnTo>
                  <a:pt x="375" y="893"/>
                </a:lnTo>
                <a:lnTo>
                  <a:pt x="372" y="893"/>
                </a:lnTo>
                <a:lnTo>
                  <a:pt x="369" y="889"/>
                </a:lnTo>
                <a:lnTo>
                  <a:pt x="369" y="886"/>
                </a:lnTo>
                <a:lnTo>
                  <a:pt x="372" y="882"/>
                </a:lnTo>
                <a:lnTo>
                  <a:pt x="375" y="879"/>
                </a:lnTo>
                <a:lnTo>
                  <a:pt x="375" y="875"/>
                </a:lnTo>
                <a:lnTo>
                  <a:pt x="379" y="875"/>
                </a:lnTo>
                <a:lnTo>
                  <a:pt x="382" y="875"/>
                </a:lnTo>
                <a:lnTo>
                  <a:pt x="386" y="872"/>
                </a:lnTo>
                <a:lnTo>
                  <a:pt x="382" y="869"/>
                </a:lnTo>
                <a:lnTo>
                  <a:pt x="382" y="865"/>
                </a:lnTo>
                <a:lnTo>
                  <a:pt x="382" y="862"/>
                </a:lnTo>
                <a:lnTo>
                  <a:pt x="382" y="858"/>
                </a:lnTo>
                <a:lnTo>
                  <a:pt x="389" y="858"/>
                </a:lnTo>
                <a:lnTo>
                  <a:pt x="389" y="855"/>
                </a:lnTo>
                <a:lnTo>
                  <a:pt x="389" y="851"/>
                </a:lnTo>
                <a:lnTo>
                  <a:pt x="393" y="851"/>
                </a:lnTo>
                <a:lnTo>
                  <a:pt x="396" y="851"/>
                </a:lnTo>
                <a:lnTo>
                  <a:pt x="396" y="848"/>
                </a:lnTo>
                <a:lnTo>
                  <a:pt x="396" y="844"/>
                </a:lnTo>
                <a:lnTo>
                  <a:pt x="396" y="841"/>
                </a:lnTo>
                <a:lnTo>
                  <a:pt x="396" y="837"/>
                </a:lnTo>
                <a:lnTo>
                  <a:pt x="396" y="834"/>
                </a:lnTo>
                <a:lnTo>
                  <a:pt x="396" y="830"/>
                </a:lnTo>
                <a:lnTo>
                  <a:pt x="396" y="827"/>
                </a:lnTo>
                <a:lnTo>
                  <a:pt x="396" y="823"/>
                </a:lnTo>
                <a:lnTo>
                  <a:pt x="396" y="820"/>
                </a:lnTo>
                <a:lnTo>
                  <a:pt x="396" y="816"/>
                </a:lnTo>
                <a:lnTo>
                  <a:pt x="396" y="813"/>
                </a:lnTo>
                <a:lnTo>
                  <a:pt x="396" y="810"/>
                </a:lnTo>
                <a:lnTo>
                  <a:pt x="393" y="810"/>
                </a:lnTo>
                <a:lnTo>
                  <a:pt x="396" y="810"/>
                </a:lnTo>
                <a:lnTo>
                  <a:pt x="393" y="806"/>
                </a:lnTo>
                <a:lnTo>
                  <a:pt x="396" y="806"/>
                </a:lnTo>
                <a:lnTo>
                  <a:pt x="393" y="806"/>
                </a:lnTo>
                <a:lnTo>
                  <a:pt x="393" y="803"/>
                </a:lnTo>
                <a:lnTo>
                  <a:pt x="393" y="799"/>
                </a:lnTo>
                <a:lnTo>
                  <a:pt x="393" y="796"/>
                </a:lnTo>
                <a:lnTo>
                  <a:pt x="393" y="792"/>
                </a:lnTo>
                <a:lnTo>
                  <a:pt x="393" y="789"/>
                </a:lnTo>
                <a:lnTo>
                  <a:pt x="393" y="785"/>
                </a:lnTo>
                <a:lnTo>
                  <a:pt x="393" y="782"/>
                </a:lnTo>
                <a:lnTo>
                  <a:pt x="393" y="778"/>
                </a:lnTo>
                <a:lnTo>
                  <a:pt x="393" y="775"/>
                </a:lnTo>
                <a:lnTo>
                  <a:pt x="389" y="775"/>
                </a:lnTo>
                <a:lnTo>
                  <a:pt x="382" y="775"/>
                </a:lnTo>
                <a:lnTo>
                  <a:pt x="375" y="771"/>
                </a:lnTo>
                <a:lnTo>
                  <a:pt x="372" y="771"/>
                </a:lnTo>
                <a:lnTo>
                  <a:pt x="369" y="775"/>
                </a:lnTo>
                <a:lnTo>
                  <a:pt x="362" y="775"/>
                </a:lnTo>
                <a:lnTo>
                  <a:pt x="362" y="771"/>
                </a:lnTo>
                <a:lnTo>
                  <a:pt x="365" y="764"/>
                </a:lnTo>
                <a:lnTo>
                  <a:pt x="365" y="757"/>
                </a:lnTo>
                <a:lnTo>
                  <a:pt x="369" y="754"/>
                </a:lnTo>
                <a:lnTo>
                  <a:pt x="369" y="750"/>
                </a:lnTo>
                <a:lnTo>
                  <a:pt x="369" y="747"/>
                </a:lnTo>
                <a:lnTo>
                  <a:pt x="369" y="740"/>
                </a:lnTo>
                <a:lnTo>
                  <a:pt x="369" y="737"/>
                </a:lnTo>
                <a:lnTo>
                  <a:pt x="369" y="733"/>
                </a:lnTo>
                <a:lnTo>
                  <a:pt x="369" y="730"/>
                </a:lnTo>
                <a:lnTo>
                  <a:pt x="372" y="719"/>
                </a:lnTo>
                <a:lnTo>
                  <a:pt x="375" y="716"/>
                </a:lnTo>
                <a:lnTo>
                  <a:pt x="375" y="702"/>
                </a:lnTo>
                <a:lnTo>
                  <a:pt x="372" y="702"/>
                </a:lnTo>
                <a:lnTo>
                  <a:pt x="369" y="702"/>
                </a:lnTo>
                <a:lnTo>
                  <a:pt x="365" y="698"/>
                </a:lnTo>
                <a:lnTo>
                  <a:pt x="358" y="695"/>
                </a:lnTo>
                <a:lnTo>
                  <a:pt x="355" y="695"/>
                </a:lnTo>
                <a:lnTo>
                  <a:pt x="348" y="702"/>
                </a:lnTo>
                <a:lnTo>
                  <a:pt x="344" y="702"/>
                </a:lnTo>
                <a:lnTo>
                  <a:pt x="341" y="702"/>
                </a:lnTo>
                <a:lnTo>
                  <a:pt x="344" y="698"/>
                </a:lnTo>
                <a:lnTo>
                  <a:pt x="351" y="691"/>
                </a:lnTo>
                <a:lnTo>
                  <a:pt x="355" y="691"/>
                </a:lnTo>
                <a:lnTo>
                  <a:pt x="358" y="688"/>
                </a:lnTo>
                <a:lnTo>
                  <a:pt x="362" y="685"/>
                </a:lnTo>
                <a:lnTo>
                  <a:pt x="365" y="681"/>
                </a:lnTo>
                <a:lnTo>
                  <a:pt x="365" y="674"/>
                </a:lnTo>
                <a:lnTo>
                  <a:pt x="362" y="674"/>
                </a:lnTo>
                <a:lnTo>
                  <a:pt x="362" y="671"/>
                </a:lnTo>
                <a:lnTo>
                  <a:pt x="362" y="667"/>
                </a:lnTo>
                <a:lnTo>
                  <a:pt x="355" y="664"/>
                </a:lnTo>
                <a:lnTo>
                  <a:pt x="351" y="664"/>
                </a:lnTo>
                <a:lnTo>
                  <a:pt x="348" y="660"/>
                </a:lnTo>
                <a:lnTo>
                  <a:pt x="344" y="657"/>
                </a:lnTo>
                <a:lnTo>
                  <a:pt x="341" y="660"/>
                </a:lnTo>
                <a:lnTo>
                  <a:pt x="341" y="657"/>
                </a:lnTo>
                <a:lnTo>
                  <a:pt x="337" y="653"/>
                </a:lnTo>
                <a:lnTo>
                  <a:pt x="337" y="646"/>
                </a:lnTo>
                <a:lnTo>
                  <a:pt x="330" y="639"/>
                </a:lnTo>
                <a:lnTo>
                  <a:pt x="330" y="636"/>
                </a:lnTo>
                <a:lnTo>
                  <a:pt x="330" y="632"/>
                </a:lnTo>
                <a:lnTo>
                  <a:pt x="327" y="632"/>
                </a:lnTo>
                <a:lnTo>
                  <a:pt x="323" y="632"/>
                </a:lnTo>
                <a:lnTo>
                  <a:pt x="320" y="632"/>
                </a:lnTo>
                <a:lnTo>
                  <a:pt x="313" y="629"/>
                </a:lnTo>
                <a:lnTo>
                  <a:pt x="309" y="625"/>
                </a:lnTo>
                <a:lnTo>
                  <a:pt x="313" y="625"/>
                </a:lnTo>
                <a:lnTo>
                  <a:pt x="313" y="619"/>
                </a:lnTo>
                <a:lnTo>
                  <a:pt x="313" y="615"/>
                </a:lnTo>
                <a:lnTo>
                  <a:pt x="306" y="601"/>
                </a:lnTo>
                <a:lnTo>
                  <a:pt x="313" y="601"/>
                </a:lnTo>
                <a:lnTo>
                  <a:pt x="323" y="594"/>
                </a:lnTo>
                <a:lnTo>
                  <a:pt x="320" y="587"/>
                </a:lnTo>
                <a:lnTo>
                  <a:pt x="323" y="587"/>
                </a:lnTo>
                <a:lnTo>
                  <a:pt x="323" y="584"/>
                </a:lnTo>
                <a:lnTo>
                  <a:pt x="323" y="580"/>
                </a:lnTo>
                <a:lnTo>
                  <a:pt x="327" y="580"/>
                </a:lnTo>
                <a:lnTo>
                  <a:pt x="330" y="577"/>
                </a:lnTo>
                <a:lnTo>
                  <a:pt x="337" y="580"/>
                </a:lnTo>
                <a:lnTo>
                  <a:pt x="344" y="580"/>
                </a:lnTo>
                <a:lnTo>
                  <a:pt x="348" y="573"/>
                </a:lnTo>
                <a:lnTo>
                  <a:pt x="344" y="573"/>
                </a:lnTo>
                <a:lnTo>
                  <a:pt x="341" y="573"/>
                </a:lnTo>
                <a:lnTo>
                  <a:pt x="341" y="570"/>
                </a:lnTo>
                <a:lnTo>
                  <a:pt x="337" y="570"/>
                </a:lnTo>
                <a:lnTo>
                  <a:pt x="341" y="570"/>
                </a:lnTo>
                <a:lnTo>
                  <a:pt x="341" y="566"/>
                </a:lnTo>
                <a:lnTo>
                  <a:pt x="337" y="566"/>
                </a:lnTo>
                <a:lnTo>
                  <a:pt x="341" y="566"/>
                </a:lnTo>
                <a:lnTo>
                  <a:pt x="341" y="563"/>
                </a:lnTo>
                <a:lnTo>
                  <a:pt x="337" y="563"/>
                </a:lnTo>
                <a:lnTo>
                  <a:pt x="337" y="559"/>
                </a:lnTo>
                <a:lnTo>
                  <a:pt x="334" y="559"/>
                </a:lnTo>
                <a:lnTo>
                  <a:pt x="334" y="556"/>
                </a:lnTo>
                <a:lnTo>
                  <a:pt x="330" y="556"/>
                </a:lnTo>
                <a:lnTo>
                  <a:pt x="330" y="553"/>
                </a:lnTo>
                <a:lnTo>
                  <a:pt x="327" y="553"/>
                </a:lnTo>
                <a:lnTo>
                  <a:pt x="323" y="553"/>
                </a:lnTo>
                <a:lnTo>
                  <a:pt x="320" y="553"/>
                </a:lnTo>
                <a:lnTo>
                  <a:pt x="320" y="549"/>
                </a:lnTo>
                <a:lnTo>
                  <a:pt x="316" y="549"/>
                </a:lnTo>
                <a:lnTo>
                  <a:pt x="313" y="549"/>
                </a:lnTo>
                <a:lnTo>
                  <a:pt x="309" y="549"/>
                </a:lnTo>
                <a:lnTo>
                  <a:pt x="306" y="549"/>
                </a:lnTo>
                <a:lnTo>
                  <a:pt x="303" y="549"/>
                </a:lnTo>
                <a:lnTo>
                  <a:pt x="299" y="549"/>
                </a:lnTo>
                <a:lnTo>
                  <a:pt x="299" y="546"/>
                </a:lnTo>
                <a:lnTo>
                  <a:pt x="296" y="546"/>
                </a:lnTo>
                <a:lnTo>
                  <a:pt x="292" y="546"/>
                </a:lnTo>
                <a:lnTo>
                  <a:pt x="289" y="546"/>
                </a:lnTo>
                <a:lnTo>
                  <a:pt x="292" y="546"/>
                </a:lnTo>
                <a:lnTo>
                  <a:pt x="292" y="542"/>
                </a:lnTo>
                <a:lnTo>
                  <a:pt x="292" y="539"/>
                </a:lnTo>
                <a:lnTo>
                  <a:pt x="292" y="535"/>
                </a:lnTo>
                <a:lnTo>
                  <a:pt x="289" y="535"/>
                </a:lnTo>
                <a:lnTo>
                  <a:pt x="285" y="532"/>
                </a:lnTo>
                <a:lnTo>
                  <a:pt x="285" y="528"/>
                </a:lnTo>
                <a:lnTo>
                  <a:pt x="282" y="528"/>
                </a:lnTo>
                <a:lnTo>
                  <a:pt x="278" y="525"/>
                </a:lnTo>
                <a:lnTo>
                  <a:pt x="275" y="528"/>
                </a:lnTo>
                <a:lnTo>
                  <a:pt x="275" y="525"/>
                </a:lnTo>
                <a:lnTo>
                  <a:pt x="268" y="525"/>
                </a:lnTo>
                <a:lnTo>
                  <a:pt x="264" y="521"/>
                </a:lnTo>
                <a:lnTo>
                  <a:pt x="264" y="518"/>
                </a:lnTo>
                <a:lnTo>
                  <a:pt x="261" y="518"/>
                </a:lnTo>
                <a:lnTo>
                  <a:pt x="257" y="518"/>
                </a:lnTo>
                <a:lnTo>
                  <a:pt x="250" y="514"/>
                </a:lnTo>
                <a:lnTo>
                  <a:pt x="247" y="514"/>
                </a:lnTo>
                <a:lnTo>
                  <a:pt x="240" y="514"/>
                </a:lnTo>
                <a:lnTo>
                  <a:pt x="237" y="518"/>
                </a:lnTo>
                <a:lnTo>
                  <a:pt x="233" y="514"/>
                </a:lnTo>
                <a:lnTo>
                  <a:pt x="230" y="507"/>
                </a:lnTo>
                <a:lnTo>
                  <a:pt x="226" y="507"/>
                </a:lnTo>
                <a:lnTo>
                  <a:pt x="223" y="507"/>
                </a:lnTo>
                <a:lnTo>
                  <a:pt x="223" y="511"/>
                </a:lnTo>
                <a:lnTo>
                  <a:pt x="219" y="511"/>
                </a:lnTo>
                <a:lnTo>
                  <a:pt x="219" y="514"/>
                </a:lnTo>
                <a:lnTo>
                  <a:pt x="216" y="514"/>
                </a:lnTo>
                <a:lnTo>
                  <a:pt x="216" y="518"/>
                </a:lnTo>
                <a:lnTo>
                  <a:pt x="216" y="521"/>
                </a:lnTo>
                <a:lnTo>
                  <a:pt x="212" y="521"/>
                </a:lnTo>
                <a:lnTo>
                  <a:pt x="209" y="521"/>
                </a:lnTo>
                <a:lnTo>
                  <a:pt x="212" y="518"/>
                </a:lnTo>
                <a:lnTo>
                  <a:pt x="205" y="511"/>
                </a:lnTo>
                <a:lnTo>
                  <a:pt x="202" y="511"/>
                </a:lnTo>
                <a:lnTo>
                  <a:pt x="198" y="507"/>
                </a:lnTo>
                <a:lnTo>
                  <a:pt x="198" y="504"/>
                </a:lnTo>
                <a:lnTo>
                  <a:pt x="198" y="500"/>
                </a:lnTo>
                <a:lnTo>
                  <a:pt x="191" y="494"/>
                </a:lnTo>
                <a:lnTo>
                  <a:pt x="188" y="490"/>
                </a:lnTo>
                <a:lnTo>
                  <a:pt x="178" y="490"/>
                </a:lnTo>
                <a:lnTo>
                  <a:pt x="178" y="487"/>
                </a:lnTo>
                <a:lnTo>
                  <a:pt x="178" y="483"/>
                </a:lnTo>
                <a:lnTo>
                  <a:pt x="181" y="483"/>
                </a:lnTo>
                <a:lnTo>
                  <a:pt x="181" y="487"/>
                </a:lnTo>
                <a:lnTo>
                  <a:pt x="184" y="487"/>
                </a:lnTo>
                <a:lnTo>
                  <a:pt x="188" y="487"/>
                </a:lnTo>
                <a:lnTo>
                  <a:pt x="188" y="483"/>
                </a:lnTo>
                <a:lnTo>
                  <a:pt x="188" y="480"/>
                </a:lnTo>
                <a:lnTo>
                  <a:pt x="188" y="476"/>
                </a:lnTo>
                <a:lnTo>
                  <a:pt x="191" y="476"/>
                </a:lnTo>
                <a:lnTo>
                  <a:pt x="191" y="473"/>
                </a:lnTo>
                <a:lnTo>
                  <a:pt x="195" y="473"/>
                </a:lnTo>
                <a:lnTo>
                  <a:pt x="195" y="469"/>
                </a:lnTo>
                <a:lnTo>
                  <a:pt x="198" y="466"/>
                </a:lnTo>
                <a:lnTo>
                  <a:pt x="198" y="462"/>
                </a:lnTo>
                <a:lnTo>
                  <a:pt x="195" y="452"/>
                </a:lnTo>
                <a:lnTo>
                  <a:pt x="195" y="448"/>
                </a:lnTo>
                <a:lnTo>
                  <a:pt x="198" y="428"/>
                </a:lnTo>
                <a:lnTo>
                  <a:pt x="202" y="424"/>
                </a:lnTo>
                <a:lnTo>
                  <a:pt x="198" y="424"/>
                </a:lnTo>
                <a:lnTo>
                  <a:pt x="198" y="421"/>
                </a:lnTo>
                <a:lnTo>
                  <a:pt x="198" y="417"/>
                </a:lnTo>
                <a:lnTo>
                  <a:pt x="198" y="414"/>
                </a:lnTo>
                <a:lnTo>
                  <a:pt x="195" y="414"/>
                </a:lnTo>
                <a:lnTo>
                  <a:pt x="195" y="410"/>
                </a:lnTo>
                <a:lnTo>
                  <a:pt x="198" y="396"/>
                </a:lnTo>
                <a:lnTo>
                  <a:pt x="198" y="389"/>
                </a:lnTo>
                <a:lnTo>
                  <a:pt x="202" y="386"/>
                </a:lnTo>
                <a:lnTo>
                  <a:pt x="202" y="382"/>
                </a:lnTo>
                <a:lnTo>
                  <a:pt x="202" y="379"/>
                </a:lnTo>
                <a:lnTo>
                  <a:pt x="202" y="375"/>
                </a:lnTo>
                <a:lnTo>
                  <a:pt x="202" y="372"/>
                </a:lnTo>
                <a:lnTo>
                  <a:pt x="205" y="368"/>
                </a:lnTo>
                <a:lnTo>
                  <a:pt x="205" y="365"/>
                </a:lnTo>
                <a:lnTo>
                  <a:pt x="209" y="365"/>
                </a:lnTo>
                <a:lnTo>
                  <a:pt x="209" y="362"/>
                </a:lnTo>
                <a:lnTo>
                  <a:pt x="209" y="358"/>
                </a:lnTo>
                <a:lnTo>
                  <a:pt x="212" y="358"/>
                </a:lnTo>
                <a:lnTo>
                  <a:pt x="216" y="355"/>
                </a:lnTo>
                <a:lnTo>
                  <a:pt x="219" y="355"/>
                </a:lnTo>
                <a:lnTo>
                  <a:pt x="223" y="355"/>
                </a:lnTo>
                <a:lnTo>
                  <a:pt x="226" y="351"/>
                </a:lnTo>
                <a:lnTo>
                  <a:pt x="226" y="348"/>
                </a:lnTo>
                <a:lnTo>
                  <a:pt x="230" y="344"/>
                </a:lnTo>
                <a:lnTo>
                  <a:pt x="233" y="344"/>
                </a:lnTo>
                <a:lnTo>
                  <a:pt x="237" y="344"/>
                </a:lnTo>
                <a:lnTo>
                  <a:pt x="240" y="344"/>
                </a:lnTo>
                <a:lnTo>
                  <a:pt x="240" y="341"/>
                </a:lnTo>
                <a:lnTo>
                  <a:pt x="244" y="341"/>
                </a:lnTo>
                <a:lnTo>
                  <a:pt x="244" y="337"/>
                </a:lnTo>
                <a:lnTo>
                  <a:pt x="247" y="337"/>
                </a:lnTo>
                <a:lnTo>
                  <a:pt x="247" y="334"/>
                </a:lnTo>
                <a:lnTo>
                  <a:pt x="247" y="330"/>
                </a:lnTo>
                <a:lnTo>
                  <a:pt x="250" y="330"/>
                </a:lnTo>
                <a:lnTo>
                  <a:pt x="254" y="327"/>
                </a:lnTo>
                <a:lnTo>
                  <a:pt x="250" y="327"/>
                </a:lnTo>
                <a:lnTo>
                  <a:pt x="254" y="323"/>
                </a:lnTo>
                <a:lnTo>
                  <a:pt x="257" y="323"/>
                </a:lnTo>
                <a:lnTo>
                  <a:pt x="257" y="320"/>
                </a:lnTo>
                <a:lnTo>
                  <a:pt x="257" y="323"/>
                </a:lnTo>
                <a:lnTo>
                  <a:pt x="261" y="320"/>
                </a:lnTo>
                <a:lnTo>
                  <a:pt x="264" y="320"/>
                </a:lnTo>
                <a:lnTo>
                  <a:pt x="261" y="316"/>
                </a:lnTo>
                <a:lnTo>
                  <a:pt x="261" y="313"/>
                </a:lnTo>
                <a:lnTo>
                  <a:pt x="257" y="309"/>
                </a:lnTo>
                <a:lnTo>
                  <a:pt x="257" y="306"/>
                </a:lnTo>
                <a:lnTo>
                  <a:pt x="257" y="303"/>
                </a:lnTo>
                <a:lnTo>
                  <a:pt x="261" y="299"/>
                </a:lnTo>
                <a:lnTo>
                  <a:pt x="261" y="296"/>
                </a:lnTo>
                <a:lnTo>
                  <a:pt x="261" y="292"/>
                </a:lnTo>
                <a:lnTo>
                  <a:pt x="264" y="292"/>
                </a:lnTo>
                <a:lnTo>
                  <a:pt x="264" y="289"/>
                </a:lnTo>
                <a:lnTo>
                  <a:pt x="264" y="285"/>
                </a:lnTo>
                <a:lnTo>
                  <a:pt x="268" y="285"/>
                </a:lnTo>
                <a:lnTo>
                  <a:pt x="264" y="285"/>
                </a:lnTo>
                <a:lnTo>
                  <a:pt x="264" y="282"/>
                </a:lnTo>
                <a:lnTo>
                  <a:pt x="264" y="278"/>
                </a:lnTo>
                <a:lnTo>
                  <a:pt x="261" y="278"/>
                </a:lnTo>
                <a:lnTo>
                  <a:pt x="264" y="275"/>
                </a:lnTo>
                <a:lnTo>
                  <a:pt x="264" y="271"/>
                </a:lnTo>
                <a:lnTo>
                  <a:pt x="264" y="268"/>
                </a:lnTo>
                <a:lnTo>
                  <a:pt x="268" y="268"/>
                </a:lnTo>
                <a:lnTo>
                  <a:pt x="271" y="268"/>
                </a:lnTo>
                <a:lnTo>
                  <a:pt x="271" y="264"/>
                </a:lnTo>
                <a:lnTo>
                  <a:pt x="275" y="264"/>
                </a:lnTo>
                <a:lnTo>
                  <a:pt x="278" y="264"/>
                </a:lnTo>
                <a:lnTo>
                  <a:pt x="278" y="268"/>
                </a:lnTo>
                <a:lnTo>
                  <a:pt x="282" y="268"/>
                </a:lnTo>
                <a:lnTo>
                  <a:pt x="282" y="264"/>
                </a:lnTo>
                <a:lnTo>
                  <a:pt x="285" y="264"/>
                </a:lnTo>
                <a:lnTo>
                  <a:pt x="289" y="264"/>
                </a:lnTo>
                <a:lnTo>
                  <a:pt x="289" y="268"/>
                </a:lnTo>
                <a:lnTo>
                  <a:pt x="292" y="268"/>
                </a:lnTo>
                <a:lnTo>
                  <a:pt x="296" y="271"/>
                </a:lnTo>
                <a:lnTo>
                  <a:pt x="299" y="271"/>
                </a:lnTo>
                <a:lnTo>
                  <a:pt x="303" y="271"/>
                </a:lnTo>
                <a:lnTo>
                  <a:pt x="306" y="268"/>
                </a:lnTo>
                <a:lnTo>
                  <a:pt x="309" y="268"/>
                </a:lnTo>
                <a:lnTo>
                  <a:pt x="313" y="268"/>
                </a:lnTo>
                <a:lnTo>
                  <a:pt x="316" y="268"/>
                </a:lnTo>
                <a:lnTo>
                  <a:pt x="320" y="268"/>
                </a:lnTo>
                <a:lnTo>
                  <a:pt x="320" y="271"/>
                </a:lnTo>
                <a:lnTo>
                  <a:pt x="320" y="275"/>
                </a:lnTo>
                <a:lnTo>
                  <a:pt x="320" y="278"/>
                </a:lnTo>
                <a:lnTo>
                  <a:pt x="323" y="278"/>
                </a:lnTo>
                <a:lnTo>
                  <a:pt x="327" y="275"/>
                </a:lnTo>
                <a:lnTo>
                  <a:pt x="330" y="278"/>
                </a:lnTo>
                <a:lnTo>
                  <a:pt x="334" y="278"/>
                </a:lnTo>
                <a:lnTo>
                  <a:pt x="334" y="282"/>
                </a:lnTo>
                <a:lnTo>
                  <a:pt x="337" y="282"/>
                </a:lnTo>
                <a:lnTo>
                  <a:pt x="341" y="282"/>
                </a:lnTo>
                <a:lnTo>
                  <a:pt x="344" y="282"/>
                </a:lnTo>
                <a:lnTo>
                  <a:pt x="344" y="278"/>
                </a:lnTo>
                <a:lnTo>
                  <a:pt x="344" y="282"/>
                </a:lnTo>
                <a:lnTo>
                  <a:pt x="348" y="282"/>
                </a:lnTo>
                <a:lnTo>
                  <a:pt x="351" y="282"/>
                </a:lnTo>
                <a:lnTo>
                  <a:pt x="355" y="282"/>
                </a:lnTo>
                <a:lnTo>
                  <a:pt x="355" y="285"/>
                </a:lnTo>
                <a:lnTo>
                  <a:pt x="358" y="285"/>
                </a:lnTo>
                <a:lnTo>
                  <a:pt x="358" y="289"/>
                </a:lnTo>
                <a:lnTo>
                  <a:pt x="362" y="289"/>
                </a:lnTo>
                <a:lnTo>
                  <a:pt x="365" y="289"/>
                </a:lnTo>
                <a:lnTo>
                  <a:pt x="365" y="285"/>
                </a:lnTo>
                <a:lnTo>
                  <a:pt x="369" y="289"/>
                </a:lnTo>
                <a:lnTo>
                  <a:pt x="372" y="292"/>
                </a:lnTo>
                <a:lnTo>
                  <a:pt x="375" y="292"/>
                </a:lnTo>
                <a:lnTo>
                  <a:pt x="375" y="289"/>
                </a:lnTo>
                <a:lnTo>
                  <a:pt x="379" y="285"/>
                </a:lnTo>
                <a:lnTo>
                  <a:pt x="382" y="285"/>
                </a:lnTo>
                <a:lnTo>
                  <a:pt x="382" y="282"/>
                </a:lnTo>
                <a:lnTo>
                  <a:pt x="386" y="282"/>
                </a:lnTo>
                <a:lnTo>
                  <a:pt x="386" y="278"/>
                </a:lnTo>
                <a:lnTo>
                  <a:pt x="389" y="278"/>
                </a:lnTo>
                <a:lnTo>
                  <a:pt x="389" y="275"/>
                </a:lnTo>
                <a:lnTo>
                  <a:pt x="389" y="271"/>
                </a:lnTo>
                <a:lnTo>
                  <a:pt x="389" y="268"/>
                </a:lnTo>
                <a:lnTo>
                  <a:pt x="386" y="268"/>
                </a:lnTo>
                <a:lnTo>
                  <a:pt x="386" y="264"/>
                </a:lnTo>
                <a:lnTo>
                  <a:pt x="382" y="264"/>
                </a:lnTo>
                <a:lnTo>
                  <a:pt x="379" y="261"/>
                </a:lnTo>
                <a:lnTo>
                  <a:pt x="375" y="261"/>
                </a:lnTo>
                <a:lnTo>
                  <a:pt x="372" y="257"/>
                </a:lnTo>
                <a:lnTo>
                  <a:pt x="372" y="261"/>
                </a:lnTo>
                <a:lnTo>
                  <a:pt x="372" y="257"/>
                </a:lnTo>
                <a:lnTo>
                  <a:pt x="369" y="257"/>
                </a:lnTo>
                <a:lnTo>
                  <a:pt x="372" y="254"/>
                </a:lnTo>
                <a:lnTo>
                  <a:pt x="369" y="250"/>
                </a:lnTo>
                <a:lnTo>
                  <a:pt x="372" y="247"/>
                </a:lnTo>
                <a:lnTo>
                  <a:pt x="372" y="243"/>
                </a:lnTo>
                <a:lnTo>
                  <a:pt x="375" y="240"/>
                </a:lnTo>
                <a:lnTo>
                  <a:pt x="372" y="237"/>
                </a:lnTo>
                <a:lnTo>
                  <a:pt x="372" y="233"/>
                </a:lnTo>
                <a:lnTo>
                  <a:pt x="375" y="230"/>
                </a:lnTo>
                <a:lnTo>
                  <a:pt x="375" y="226"/>
                </a:lnTo>
                <a:lnTo>
                  <a:pt x="379" y="223"/>
                </a:lnTo>
                <a:lnTo>
                  <a:pt x="379" y="219"/>
                </a:lnTo>
                <a:lnTo>
                  <a:pt x="382" y="219"/>
                </a:lnTo>
                <a:lnTo>
                  <a:pt x="382" y="216"/>
                </a:lnTo>
                <a:lnTo>
                  <a:pt x="382" y="212"/>
                </a:lnTo>
                <a:lnTo>
                  <a:pt x="379" y="212"/>
                </a:lnTo>
                <a:lnTo>
                  <a:pt x="379" y="209"/>
                </a:lnTo>
                <a:lnTo>
                  <a:pt x="382" y="209"/>
                </a:lnTo>
                <a:lnTo>
                  <a:pt x="382" y="205"/>
                </a:lnTo>
                <a:lnTo>
                  <a:pt x="382" y="202"/>
                </a:lnTo>
                <a:lnTo>
                  <a:pt x="382" y="198"/>
                </a:lnTo>
                <a:lnTo>
                  <a:pt x="386" y="198"/>
                </a:lnTo>
                <a:lnTo>
                  <a:pt x="393" y="198"/>
                </a:lnTo>
                <a:lnTo>
                  <a:pt x="393" y="195"/>
                </a:lnTo>
                <a:lnTo>
                  <a:pt x="389" y="191"/>
                </a:lnTo>
                <a:lnTo>
                  <a:pt x="389" y="188"/>
                </a:lnTo>
                <a:lnTo>
                  <a:pt x="389" y="184"/>
                </a:lnTo>
                <a:lnTo>
                  <a:pt x="386" y="184"/>
                </a:lnTo>
                <a:lnTo>
                  <a:pt x="386" y="181"/>
                </a:lnTo>
                <a:lnTo>
                  <a:pt x="382" y="181"/>
                </a:lnTo>
                <a:lnTo>
                  <a:pt x="382" y="177"/>
                </a:lnTo>
                <a:lnTo>
                  <a:pt x="386" y="174"/>
                </a:lnTo>
                <a:lnTo>
                  <a:pt x="386" y="171"/>
                </a:lnTo>
                <a:lnTo>
                  <a:pt x="386" y="164"/>
                </a:lnTo>
                <a:lnTo>
                  <a:pt x="393" y="160"/>
                </a:lnTo>
                <a:lnTo>
                  <a:pt x="393" y="143"/>
                </a:lnTo>
                <a:lnTo>
                  <a:pt x="396" y="143"/>
                </a:lnTo>
                <a:lnTo>
                  <a:pt x="396" y="139"/>
                </a:lnTo>
                <a:lnTo>
                  <a:pt x="396" y="136"/>
                </a:lnTo>
                <a:lnTo>
                  <a:pt x="400" y="136"/>
                </a:lnTo>
                <a:lnTo>
                  <a:pt x="400" y="132"/>
                </a:lnTo>
                <a:lnTo>
                  <a:pt x="400" y="129"/>
                </a:lnTo>
                <a:lnTo>
                  <a:pt x="400" y="125"/>
                </a:lnTo>
                <a:lnTo>
                  <a:pt x="396" y="122"/>
                </a:lnTo>
                <a:lnTo>
                  <a:pt x="396" y="115"/>
                </a:lnTo>
                <a:lnTo>
                  <a:pt x="393" y="112"/>
                </a:lnTo>
                <a:lnTo>
                  <a:pt x="393" y="108"/>
                </a:lnTo>
                <a:lnTo>
                  <a:pt x="393" y="105"/>
                </a:lnTo>
                <a:lnTo>
                  <a:pt x="389" y="101"/>
                </a:lnTo>
                <a:lnTo>
                  <a:pt x="389" y="98"/>
                </a:lnTo>
                <a:lnTo>
                  <a:pt x="393" y="98"/>
                </a:lnTo>
                <a:lnTo>
                  <a:pt x="393" y="94"/>
                </a:lnTo>
                <a:lnTo>
                  <a:pt x="393" y="91"/>
                </a:lnTo>
                <a:lnTo>
                  <a:pt x="393" y="87"/>
                </a:lnTo>
                <a:lnTo>
                  <a:pt x="389" y="84"/>
                </a:lnTo>
                <a:lnTo>
                  <a:pt x="389" y="80"/>
                </a:lnTo>
                <a:lnTo>
                  <a:pt x="386" y="70"/>
                </a:lnTo>
                <a:lnTo>
                  <a:pt x="389" y="66"/>
                </a:lnTo>
                <a:lnTo>
                  <a:pt x="389" y="63"/>
                </a:lnTo>
                <a:lnTo>
                  <a:pt x="386" y="56"/>
                </a:lnTo>
                <a:lnTo>
                  <a:pt x="386" y="52"/>
                </a:lnTo>
                <a:lnTo>
                  <a:pt x="389" y="52"/>
                </a:lnTo>
                <a:lnTo>
                  <a:pt x="389" y="49"/>
                </a:lnTo>
                <a:lnTo>
                  <a:pt x="389" y="46"/>
                </a:lnTo>
                <a:lnTo>
                  <a:pt x="389" y="42"/>
                </a:lnTo>
                <a:lnTo>
                  <a:pt x="389" y="39"/>
                </a:lnTo>
                <a:lnTo>
                  <a:pt x="393" y="39"/>
                </a:lnTo>
                <a:lnTo>
                  <a:pt x="393" y="35"/>
                </a:lnTo>
                <a:lnTo>
                  <a:pt x="393" y="39"/>
                </a:lnTo>
                <a:lnTo>
                  <a:pt x="393" y="35"/>
                </a:lnTo>
                <a:lnTo>
                  <a:pt x="396" y="35"/>
                </a:lnTo>
                <a:lnTo>
                  <a:pt x="400" y="35"/>
                </a:lnTo>
                <a:lnTo>
                  <a:pt x="400" y="32"/>
                </a:lnTo>
                <a:lnTo>
                  <a:pt x="400" y="28"/>
                </a:lnTo>
                <a:lnTo>
                  <a:pt x="400" y="25"/>
                </a:lnTo>
                <a:lnTo>
                  <a:pt x="403" y="25"/>
                </a:lnTo>
                <a:lnTo>
                  <a:pt x="403" y="21"/>
                </a:lnTo>
                <a:lnTo>
                  <a:pt x="403" y="18"/>
                </a:lnTo>
                <a:lnTo>
                  <a:pt x="400" y="14"/>
                </a:lnTo>
                <a:lnTo>
                  <a:pt x="396" y="11"/>
                </a:lnTo>
                <a:lnTo>
                  <a:pt x="400" y="11"/>
                </a:lnTo>
                <a:lnTo>
                  <a:pt x="400" y="7"/>
                </a:lnTo>
                <a:lnTo>
                  <a:pt x="400" y="4"/>
                </a:lnTo>
                <a:lnTo>
                  <a:pt x="403" y="4"/>
                </a:lnTo>
                <a:lnTo>
                  <a:pt x="403" y="7"/>
                </a:lnTo>
                <a:lnTo>
                  <a:pt x="407" y="7"/>
                </a:lnTo>
                <a:lnTo>
                  <a:pt x="410" y="7"/>
                </a:lnTo>
                <a:lnTo>
                  <a:pt x="414" y="7"/>
                </a:lnTo>
                <a:lnTo>
                  <a:pt x="414" y="4"/>
                </a:lnTo>
                <a:lnTo>
                  <a:pt x="414" y="0"/>
                </a:lnTo>
                <a:lnTo>
                  <a:pt x="417" y="0"/>
                </a:lnTo>
                <a:lnTo>
                  <a:pt x="421" y="0"/>
                </a:lnTo>
                <a:lnTo>
                  <a:pt x="424" y="0"/>
                </a:lnTo>
                <a:lnTo>
                  <a:pt x="424" y="4"/>
                </a:lnTo>
                <a:lnTo>
                  <a:pt x="428" y="4"/>
                </a:lnTo>
                <a:lnTo>
                  <a:pt x="428" y="7"/>
                </a:lnTo>
                <a:lnTo>
                  <a:pt x="431" y="7"/>
                </a:lnTo>
                <a:lnTo>
                  <a:pt x="434" y="7"/>
                </a:lnTo>
                <a:lnTo>
                  <a:pt x="438" y="7"/>
                </a:lnTo>
                <a:lnTo>
                  <a:pt x="441" y="7"/>
                </a:lnTo>
                <a:lnTo>
                  <a:pt x="441" y="4"/>
                </a:lnTo>
                <a:lnTo>
                  <a:pt x="445" y="4"/>
                </a:lnTo>
                <a:lnTo>
                  <a:pt x="448" y="4"/>
                </a:lnTo>
                <a:lnTo>
                  <a:pt x="448" y="7"/>
                </a:lnTo>
                <a:lnTo>
                  <a:pt x="452" y="4"/>
                </a:lnTo>
                <a:lnTo>
                  <a:pt x="452" y="7"/>
                </a:lnTo>
                <a:lnTo>
                  <a:pt x="452" y="11"/>
                </a:lnTo>
                <a:lnTo>
                  <a:pt x="455" y="14"/>
                </a:lnTo>
                <a:lnTo>
                  <a:pt x="452" y="14"/>
                </a:lnTo>
                <a:lnTo>
                  <a:pt x="452" y="18"/>
                </a:lnTo>
                <a:lnTo>
                  <a:pt x="452" y="21"/>
                </a:lnTo>
                <a:lnTo>
                  <a:pt x="455" y="21"/>
                </a:lnTo>
                <a:lnTo>
                  <a:pt x="455" y="25"/>
                </a:lnTo>
                <a:lnTo>
                  <a:pt x="459" y="25"/>
                </a:lnTo>
                <a:lnTo>
                  <a:pt x="462" y="25"/>
                </a:lnTo>
                <a:lnTo>
                  <a:pt x="466" y="25"/>
                </a:lnTo>
                <a:lnTo>
                  <a:pt x="473" y="25"/>
                </a:lnTo>
                <a:lnTo>
                  <a:pt x="476" y="28"/>
                </a:lnTo>
                <a:lnTo>
                  <a:pt x="480" y="28"/>
                </a:lnTo>
                <a:lnTo>
                  <a:pt x="483" y="25"/>
                </a:lnTo>
                <a:lnTo>
                  <a:pt x="483" y="21"/>
                </a:lnTo>
                <a:lnTo>
                  <a:pt x="487" y="21"/>
                </a:lnTo>
                <a:lnTo>
                  <a:pt x="490" y="21"/>
                </a:lnTo>
                <a:lnTo>
                  <a:pt x="494" y="25"/>
                </a:lnTo>
                <a:lnTo>
                  <a:pt x="497" y="25"/>
                </a:lnTo>
                <a:lnTo>
                  <a:pt x="500" y="25"/>
                </a:lnTo>
                <a:lnTo>
                  <a:pt x="500" y="21"/>
                </a:lnTo>
                <a:lnTo>
                  <a:pt x="504" y="21"/>
                </a:lnTo>
                <a:lnTo>
                  <a:pt x="504" y="25"/>
                </a:lnTo>
                <a:lnTo>
                  <a:pt x="507" y="25"/>
                </a:lnTo>
                <a:lnTo>
                  <a:pt x="511" y="25"/>
                </a:lnTo>
                <a:lnTo>
                  <a:pt x="518" y="28"/>
                </a:lnTo>
                <a:lnTo>
                  <a:pt x="518" y="32"/>
                </a:lnTo>
                <a:lnTo>
                  <a:pt x="521" y="32"/>
                </a:lnTo>
                <a:lnTo>
                  <a:pt x="521" y="35"/>
                </a:lnTo>
                <a:lnTo>
                  <a:pt x="518" y="35"/>
                </a:lnTo>
                <a:lnTo>
                  <a:pt x="518" y="39"/>
                </a:lnTo>
                <a:lnTo>
                  <a:pt x="514" y="39"/>
                </a:lnTo>
                <a:lnTo>
                  <a:pt x="514" y="42"/>
                </a:lnTo>
                <a:lnTo>
                  <a:pt x="514" y="46"/>
                </a:lnTo>
                <a:lnTo>
                  <a:pt x="518" y="46"/>
                </a:lnTo>
                <a:lnTo>
                  <a:pt x="521" y="46"/>
                </a:lnTo>
                <a:lnTo>
                  <a:pt x="525" y="46"/>
                </a:lnTo>
                <a:lnTo>
                  <a:pt x="525" y="49"/>
                </a:lnTo>
                <a:lnTo>
                  <a:pt x="521" y="52"/>
                </a:lnTo>
                <a:lnTo>
                  <a:pt x="525" y="56"/>
                </a:lnTo>
                <a:lnTo>
                  <a:pt x="528" y="56"/>
                </a:lnTo>
                <a:lnTo>
                  <a:pt x="528" y="59"/>
                </a:lnTo>
                <a:lnTo>
                  <a:pt x="528" y="63"/>
                </a:lnTo>
                <a:lnTo>
                  <a:pt x="528" y="66"/>
                </a:lnTo>
                <a:lnTo>
                  <a:pt x="525" y="70"/>
                </a:lnTo>
                <a:lnTo>
                  <a:pt x="525" y="73"/>
                </a:lnTo>
                <a:lnTo>
                  <a:pt x="521" y="73"/>
                </a:lnTo>
                <a:lnTo>
                  <a:pt x="521" y="77"/>
                </a:lnTo>
                <a:lnTo>
                  <a:pt x="521" y="80"/>
                </a:lnTo>
                <a:lnTo>
                  <a:pt x="518" y="80"/>
                </a:lnTo>
                <a:lnTo>
                  <a:pt x="518" y="84"/>
                </a:lnTo>
                <a:lnTo>
                  <a:pt x="521" y="84"/>
                </a:lnTo>
                <a:lnTo>
                  <a:pt x="521" y="87"/>
                </a:lnTo>
                <a:lnTo>
                  <a:pt x="525" y="84"/>
                </a:lnTo>
                <a:lnTo>
                  <a:pt x="528" y="84"/>
                </a:lnTo>
                <a:lnTo>
                  <a:pt x="528" y="87"/>
                </a:lnTo>
                <a:lnTo>
                  <a:pt x="532" y="84"/>
                </a:lnTo>
                <a:lnTo>
                  <a:pt x="532" y="80"/>
                </a:lnTo>
                <a:lnTo>
                  <a:pt x="535" y="80"/>
                </a:lnTo>
                <a:lnTo>
                  <a:pt x="539" y="84"/>
                </a:lnTo>
                <a:lnTo>
                  <a:pt x="542" y="84"/>
                </a:lnTo>
                <a:lnTo>
                  <a:pt x="542" y="87"/>
                </a:lnTo>
                <a:lnTo>
                  <a:pt x="542" y="84"/>
                </a:lnTo>
                <a:lnTo>
                  <a:pt x="546" y="84"/>
                </a:lnTo>
                <a:lnTo>
                  <a:pt x="546" y="80"/>
                </a:lnTo>
                <a:lnTo>
                  <a:pt x="549" y="80"/>
                </a:lnTo>
                <a:lnTo>
                  <a:pt x="549" y="77"/>
                </a:lnTo>
                <a:lnTo>
                  <a:pt x="553" y="77"/>
                </a:lnTo>
                <a:lnTo>
                  <a:pt x="556" y="73"/>
                </a:lnTo>
                <a:lnTo>
                  <a:pt x="559" y="70"/>
                </a:lnTo>
                <a:lnTo>
                  <a:pt x="563" y="70"/>
                </a:lnTo>
                <a:lnTo>
                  <a:pt x="566" y="70"/>
                </a:lnTo>
                <a:lnTo>
                  <a:pt x="570" y="66"/>
                </a:lnTo>
                <a:lnTo>
                  <a:pt x="573" y="66"/>
                </a:lnTo>
                <a:lnTo>
                  <a:pt x="577" y="66"/>
                </a:lnTo>
                <a:lnTo>
                  <a:pt x="577" y="70"/>
                </a:lnTo>
                <a:lnTo>
                  <a:pt x="580" y="70"/>
                </a:lnTo>
                <a:lnTo>
                  <a:pt x="580" y="66"/>
                </a:lnTo>
                <a:lnTo>
                  <a:pt x="584" y="66"/>
                </a:lnTo>
                <a:lnTo>
                  <a:pt x="587" y="66"/>
                </a:lnTo>
                <a:lnTo>
                  <a:pt x="587" y="70"/>
                </a:lnTo>
                <a:lnTo>
                  <a:pt x="591" y="70"/>
                </a:lnTo>
                <a:lnTo>
                  <a:pt x="594" y="73"/>
                </a:lnTo>
                <a:lnTo>
                  <a:pt x="598" y="70"/>
                </a:lnTo>
                <a:lnTo>
                  <a:pt x="601" y="70"/>
                </a:lnTo>
                <a:lnTo>
                  <a:pt x="601" y="66"/>
                </a:lnTo>
                <a:lnTo>
                  <a:pt x="601" y="63"/>
                </a:lnTo>
                <a:lnTo>
                  <a:pt x="598" y="63"/>
                </a:lnTo>
                <a:lnTo>
                  <a:pt x="601" y="59"/>
                </a:lnTo>
                <a:lnTo>
                  <a:pt x="605" y="59"/>
                </a:lnTo>
                <a:lnTo>
                  <a:pt x="605" y="56"/>
                </a:lnTo>
                <a:lnTo>
                  <a:pt x="608" y="52"/>
                </a:lnTo>
                <a:lnTo>
                  <a:pt x="612" y="49"/>
                </a:lnTo>
                <a:lnTo>
                  <a:pt x="612" y="46"/>
                </a:lnTo>
                <a:lnTo>
                  <a:pt x="612" y="42"/>
                </a:lnTo>
                <a:lnTo>
                  <a:pt x="608" y="42"/>
                </a:lnTo>
                <a:lnTo>
                  <a:pt x="608" y="39"/>
                </a:lnTo>
                <a:lnTo>
                  <a:pt x="608" y="35"/>
                </a:lnTo>
                <a:lnTo>
                  <a:pt x="608" y="32"/>
                </a:lnTo>
                <a:lnTo>
                  <a:pt x="608" y="28"/>
                </a:lnTo>
                <a:lnTo>
                  <a:pt x="612" y="28"/>
                </a:lnTo>
                <a:lnTo>
                  <a:pt x="615" y="28"/>
                </a:lnTo>
                <a:lnTo>
                  <a:pt x="619" y="32"/>
                </a:lnTo>
                <a:lnTo>
                  <a:pt x="619" y="35"/>
                </a:lnTo>
                <a:lnTo>
                  <a:pt x="619" y="39"/>
                </a:lnTo>
                <a:lnTo>
                  <a:pt x="622" y="42"/>
                </a:lnTo>
                <a:lnTo>
                  <a:pt x="625" y="46"/>
                </a:lnTo>
                <a:lnTo>
                  <a:pt x="629" y="46"/>
                </a:lnTo>
                <a:lnTo>
                  <a:pt x="632" y="46"/>
                </a:lnTo>
                <a:lnTo>
                  <a:pt x="639" y="49"/>
                </a:lnTo>
                <a:lnTo>
                  <a:pt x="643" y="46"/>
                </a:lnTo>
                <a:lnTo>
                  <a:pt x="646" y="42"/>
                </a:lnTo>
                <a:lnTo>
                  <a:pt x="646" y="39"/>
                </a:lnTo>
                <a:lnTo>
                  <a:pt x="650" y="39"/>
                </a:lnTo>
                <a:lnTo>
                  <a:pt x="650" y="42"/>
                </a:lnTo>
                <a:lnTo>
                  <a:pt x="653" y="42"/>
                </a:lnTo>
                <a:lnTo>
                  <a:pt x="657" y="39"/>
                </a:lnTo>
                <a:lnTo>
                  <a:pt x="660" y="39"/>
                </a:lnTo>
                <a:lnTo>
                  <a:pt x="664" y="39"/>
                </a:lnTo>
                <a:lnTo>
                  <a:pt x="667" y="42"/>
                </a:lnTo>
                <a:lnTo>
                  <a:pt x="671" y="42"/>
                </a:lnTo>
                <a:lnTo>
                  <a:pt x="674" y="42"/>
                </a:lnTo>
                <a:lnTo>
                  <a:pt x="678" y="46"/>
                </a:lnTo>
                <a:lnTo>
                  <a:pt x="681" y="46"/>
                </a:lnTo>
                <a:lnTo>
                  <a:pt x="681" y="49"/>
                </a:lnTo>
                <a:lnTo>
                  <a:pt x="684" y="49"/>
                </a:lnTo>
                <a:lnTo>
                  <a:pt x="684" y="52"/>
                </a:lnTo>
                <a:lnTo>
                  <a:pt x="688" y="52"/>
                </a:lnTo>
                <a:lnTo>
                  <a:pt x="691" y="52"/>
                </a:lnTo>
                <a:lnTo>
                  <a:pt x="691" y="56"/>
                </a:lnTo>
                <a:lnTo>
                  <a:pt x="691" y="59"/>
                </a:lnTo>
                <a:lnTo>
                  <a:pt x="695" y="59"/>
                </a:lnTo>
                <a:lnTo>
                  <a:pt x="695" y="63"/>
                </a:lnTo>
                <a:lnTo>
                  <a:pt x="698" y="63"/>
                </a:lnTo>
                <a:lnTo>
                  <a:pt x="702" y="63"/>
                </a:lnTo>
                <a:lnTo>
                  <a:pt x="702" y="66"/>
                </a:lnTo>
                <a:lnTo>
                  <a:pt x="705" y="70"/>
                </a:lnTo>
                <a:lnTo>
                  <a:pt x="709" y="70"/>
                </a:lnTo>
                <a:lnTo>
                  <a:pt x="712" y="73"/>
                </a:lnTo>
                <a:lnTo>
                  <a:pt x="716" y="73"/>
                </a:lnTo>
                <a:lnTo>
                  <a:pt x="716" y="77"/>
                </a:lnTo>
                <a:lnTo>
                  <a:pt x="719" y="77"/>
                </a:lnTo>
                <a:lnTo>
                  <a:pt x="723" y="77"/>
                </a:lnTo>
                <a:lnTo>
                  <a:pt x="726" y="77"/>
                </a:lnTo>
                <a:lnTo>
                  <a:pt x="730" y="77"/>
                </a:lnTo>
                <a:lnTo>
                  <a:pt x="733" y="77"/>
                </a:lnTo>
                <a:lnTo>
                  <a:pt x="737" y="77"/>
                </a:lnTo>
                <a:lnTo>
                  <a:pt x="737" y="80"/>
                </a:lnTo>
                <a:lnTo>
                  <a:pt x="740" y="84"/>
                </a:lnTo>
                <a:lnTo>
                  <a:pt x="740" y="80"/>
                </a:lnTo>
                <a:lnTo>
                  <a:pt x="743" y="80"/>
                </a:lnTo>
                <a:lnTo>
                  <a:pt x="747" y="77"/>
                </a:lnTo>
                <a:lnTo>
                  <a:pt x="750" y="77"/>
                </a:lnTo>
                <a:lnTo>
                  <a:pt x="750" y="80"/>
                </a:lnTo>
                <a:lnTo>
                  <a:pt x="754" y="80"/>
                </a:lnTo>
                <a:lnTo>
                  <a:pt x="754" y="84"/>
                </a:lnTo>
                <a:lnTo>
                  <a:pt x="757" y="84"/>
                </a:lnTo>
                <a:lnTo>
                  <a:pt x="761" y="84"/>
                </a:lnTo>
                <a:lnTo>
                  <a:pt x="761" y="87"/>
                </a:lnTo>
                <a:lnTo>
                  <a:pt x="764" y="87"/>
                </a:lnTo>
                <a:lnTo>
                  <a:pt x="768" y="91"/>
                </a:lnTo>
                <a:lnTo>
                  <a:pt x="771" y="91"/>
                </a:lnTo>
                <a:lnTo>
                  <a:pt x="771" y="94"/>
                </a:lnTo>
                <a:lnTo>
                  <a:pt x="775" y="94"/>
                </a:lnTo>
                <a:lnTo>
                  <a:pt x="775" y="98"/>
                </a:lnTo>
                <a:lnTo>
                  <a:pt x="775" y="101"/>
                </a:lnTo>
                <a:lnTo>
                  <a:pt x="775" y="105"/>
                </a:lnTo>
                <a:lnTo>
                  <a:pt x="775" y="108"/>
                </a:lnTo>
                <a:lnTo>
                  <a:pt x="775" y="112"/>
                </a:lnTo>
                <a:lnTo>
                  <a:pt x="778" y="112"/>
                </a:lnTo>
                <a:lnTo>
                  <a:pt x="778" y="115"/>
                </a:lnTo>
                <a:lnTo>
                  <a:pt x="782" y="118"/>
                </a:lnTo>
                <a:lnTo>
                  <a:pt x="785" y="118"/>
                </a:lnTo>
                <a:lnTo>
                  <a:pt x="789" y="118"/>
                </a:lnTo>
                <a:lnTo>
                  <a:pt x="792" y="122"/>
                </a:lnTo>
                <a:lnTo>
                  <a:pt x="796" y="122"/>
                </a:lnTo>
                <a:lnTo>
                  <a:pt x="799" y="122"/>
                </a:lnTo>
                <a:lnTo>
                  <a:pt x="803" y="125"/>
                </a:lnTo>
                <a:lnTo>
                  <a:pt x="806" y="125"/>
                </a:lnTo>
                <a:lnTo>
                  <a:pt x="809" y="129"/>
                </a:lnTo>
                <a:lnTo>
                  <a:pt x="816" y="129"/>
                </a:lnTo>
                <a:lnTo>
                  <a:pt x="823" y="136"/>
                </a:lnTo>
                <a:lnTo>
                  <a:pt x="827" y="136"/>
                </a:lnTo>
                <a:lnTo>
                  <a:pt x="827" y="139"/>
                </a:lnTo>
                <a:lnTo>
                  <a:pt x="830" y="139"/>
                </a:lnTo>
                <a:lnTo>
                  <a:pt x="834" y="139"/>
                </a:lnTo>
                <a:lnTo>
                  <a:pt x="837" y="139"/>
                </a:lnTo>
                <a:lnTo>
                  <a:pt x="844" y="136"/>
                </a:lnTo>
                <a:lnTo>
                  <a:pt x="848" y="136"/>
                </a:lnTo>
                <a:lnTo>
                  <a:pt x="851" y="136"/>
                </a:lnTo>
                <a:lnTo>
                  <a:pt x="855" y="136"/>
                </a:lnTo>
                <a:lnTo>
                  <a:pt x="858" y="139"/>
                </a:lnTo>
                <a:lnTo>
                  <a:pt x="862" y="143"/>
                </a:lnTo>
                <a:lnTo>
                  <a:pt x="865" y="143"/>
                </a:lnTo>
                <a:lnTo>
                  <a:pt x="865" y="146"/>
                </a:lnTo>
                <a:lnTo>
                  <a:pt x="865" y="150"/>
                </a:lnTo>
                <a:lnTo>
                  <a:pt x="868" y="150"/>
                </a:lnTo>
                <a:lnTo>
                  <a:pt x="872" y="150"/>
                </a:lnTo>
                <a:lnTo>
                  <a:pt x="875" y="150"/>
                </a:lnTo>
                <a:lnTo>
                  <a:pt x="879" y="150"/>
                </a:lnTo>
                <a:lnTo>
                  <a:pt x="882" y="153"/>
                </a:lnTo>
                <a:lnTo>
                  <a:pt x="886" y="153"/>
                </a:lnTo>
                <a:lnTo>
                  <a:pt x="886" y="157"/>
                </a:lnTo>
                <a:lnTo>
                  <a:pt x="889" y="157"/>
                </a:lnTo>
                <a:lnTo>
                  <a:pt x="889" y="160"/>
                </a:lnTo>
                <a:lnTo>
                  <a:pt x="893" y="160"/>
                </a:lnTo>
                <a:lnTo>
                  <a:pt x="893" y="164"/>
                </a:lnTo>
                <a:lnTo>
                  <a:pt x="896" y="167"/>
                </a:lnTo>
                <a:lnTo>
                  <a:pt x="896" y="171"/>
                </a:lnTo>
                <a:lnTo>
                  <a:pt x="900" y="171"/>
                </a:lnTo>
                <a:lnTo>
                  <a:pt x="903" y="174"/>
                </a:lnTo>
                <a:lnTo>
                  <a:pt x="907" y="174"/>
                </a:lnTo>
                <a:lnTo>
                  <a:pt x="907" y="177"/>
                </a:lnTo>
                <a:lnTo>
                  <a:pt x="907" y="181"/>
                </a:lnTo>
                <a:lnTo>
                  <a:pt x="910" y="181"/>
                </a:lnTo>
                <a:lnTo>
                  <a:pt x="910" y="184"/>
                </a:lnTo>
                <a:lnTo>
                  <a:pt x="914" y="184"/>
                </a:lnTo>
                <a:lnTo>
                  <a:pt x="917" y="181"/>
                </a:lnTo>
                <a:lnTo>
                  <a:pt x="924" y="177"/>
                </a:lnTo>
                <a:lnTo>
                  <a:pt x="928" y="177"/>
                </a:lnTo>
                <a:lnTo>
                  <a:pt x="931" y="177"/>
                </a:lnTo>
                <a:lnTo>
                  <a:pt x="928" y="181"/>
                </a:lnTo>
                <a:lnTo>
                  <a:pt x="938" y="181"/>
                </a:lnTo>
                <a:lnTo>
                  <a:pt x="941" y="184"/>
                </a:lnTo>
                <a:lnTo>
                  <a:pt x="948" y="184"/>
                </a:lnTo>
                <a:lnTo>
                  <a:pt x="952" y="184"/>
                </a:lnTo>
                <a:lnTo>
                  <a:pt x="955" y="188"/>
                </a:lnTo>
                <a:lnTo>
                  <a:pt x="959" y="188"/>
                </a:lnTo>
                <a:lnTo>
                  <a:pt x="959" y="184"/>
                </a:lnTo>
                <a:lnTo>
                  <a:pt x="962" y="184"/>
                </a:lnTo>
                <a:lnTo>
                  <a:pt x="969" y="177"/>
                </a:lnTo>
                <a:lnTo>
                  <a:pt x="973" y="174"/>
                </a:lnTo>
                <a:lnTo>
                  <a:pt x="973" y="171"/>
                </a:lnTo>
                <a:lnTo>
                  <a:pt x="973" y="167"/>
                </a:lnTo>
                <a:lnTo>
                  <a:pt x="976" y="164"/>
                </a:lnTo>
                <a:lnTo>
                  <a:pt x="976" y="160"/>
                </a:lnTo>
                <a:lnTo>
                  <a:pt x="976" y="164"/>
                </a:lnTo>
                <a:lnTo>
                  <a:pt x="980" y="164"/>
                </a:lnTo>
                <a:lnTo>
                  <a:pt x="987" y="164"/>
                </a:lnTo>
                <a:lnTo>
                  <a:pt x="990" y="164"/>
                </a:lnTo>
                <a:lnTo>
                  <a:pt x="993" y="164"/>
                </a:lnTo>
                <a:lnTo>
                  <a:pt x="997" y="164"/>
                </a:lnTo>
                <a:lnTo>
                  <a:pt x="1000" y="164"/>
                </a:lnTo>
                <a:lnTo>
                  <a:pt x="1004" y="164"/>
                </a:lnTo>
                <a:lnTo>
                  <a:pt x="1007" y="164"/>
                </a:lnTo>
                <a:lnTo>
                  <a:pt x="1011" y="167"/>
                </a:lnTo>
                <a:lnTo>
                  <a:pt x="1014" y="167"/>
                </a:lnTo>
                <a:lnTo>
                  <a:pt x="1014" y="164"/>
                </a:lnTo>
                <a:lnTo>
                  <a:pt x="1018" y="160"/>
                </a:lnTo>
                <a:lnTo>
                  <a:pt x="1021" y="160"/>
                </a:lnTo>
                <a:lnTo>
                  <a:pt x="1025" y="160"/>
                </a:lnTo>
                <a:lnTo>
                  <a:pt x="1025" y="164"/>
                </a:lnTo>
                <a:lnTo>
                  <a:pt x="1025" y="167"/>
                </a:lnTo>
                <a:lnTo>
                  <a:pt x="1028" y="167"/>
                </a:lnTo>
                <a:lnTo>
                  <a:pt x="1032" y="171"/>
                </a:lnTo>
                <a:lnTo>
                  <a:pt x="1028" y="171"/>
                </a:lnTo>
                <a:lnTo>
                  <a:pt x="1028" y="174"/>
                </a:lnTo>
                <a:lnTo>
                  <a:pt x="1025" y="174"/>
                </a:lnTo>
                <a:lnTo>
                  <a:pt x="1021" y="177"/>
                </a:lnTo>
                <a:lnTo>
                  <a:pt x="1025" y="177"/>
                </a:lnTo>
                <a:lnTo>
                  <a:pt x="1025" y="181"/>
                </a:lnTo>
                <a:lnTo>
                  <a:pt x="1028" y="181"/>
                </a:lnTo>
                <a:lnTo>
                  <a:pt x="1032" y="181"/>
                </a:lnTo>
                <a:lnTo>
                  <a:pt x="1035" y="181"/>
                </a:lnTo>
                <a:lnTo>
                  <a:pt x="1035" y="184"/>
                </a:lnTo>
                <a:lnTo>
                  <a:pt x="1039" y="184"/>
                </a:lnTo>
                <a:lnTo>
                  <a:pt x="1039" y="188"/>
                </a:lnTo>
                <a:lnTo>
                  <a:pt x="1042" y="188"/>
                </a:lnTo>
                <a:lnTo>
                  <a:pt x="1042" y="184"/>
                </a:lnTo>
                <a:lnTo>
                  <a:pt x="1046" y="184"/>
                </a:lnTo>
                <a:lnTo>
                  <a:pt x="1046" y="181"/>
                </a:lnTo>
                <a:lnTo>
                  <a:pt x="1042" y="181"/>
                </a:lnTo>
                <a:lnTo>
                  <a:pt x="1046" y="177"/>
                </a:lnTo>
                <a:lnTo>
                  <a:pt x="1049" y="177"/>
                </a:lnTo>
                <a:lnTo>
                  <a:pt x="1049" y="181"/>
                </a:lnTo>
                <a:lnTo>
                  <a:pt x="1049" y="184"/>
                </a:lnTo>
                <a:lnTo>
                  <a:pt x="1053" y="184"/>
                </a:lnTo>
                <a:lnTo>
                  <a:pt x="1049" y="184"/>
                </a:lnTo>
                <a:lnTo>
                  <a:pt x="1049" y="188"/>
                </a:lnTo>
                <a:lnTo>
                  <a:pt x="1049" y="191"/>
                </a:lnTo>
                <a:lnTo>
                  <a:pt x="1053" y="195"/>
                </a:lnTo>
                <a:lnTo>
                  <a:pt x="1053" y="198"/>
                </a:lnTo>
                <a:lnTo>
                  <a:pt x="1056" y="198"/>
                </a:lnTo>
                <a:lnTo>
                  <a:pt x="1059" y="198"/>
                </a:lnTo>
                <a:lnTo>
                  <a:pt x="1059" y="195"/>
                </a:lnTo>
                <a:lnTo>
                  <a:pt x="1059" y="191"/>
                </a:lnTo>
                <a:lnTo>
                  <a:pt x="1063" y="191"/>
                </a:lnTo>
                <a:lnTo>
                  <a:pt x="1066" y="195"/>
                </a:lnTo>
                <a:lnTo>
                  <a:pt x="1066" y="198"/>
                </a:lnTo>
                <a:lnTo>
                  <a:pt x="1070" y="198"/>
                </a:lnTo>
                <a:lnTo>
                  <a:pt x="1070" y="202"/>
                </a:lnTo>
                <a:lnTo>
                  <a:pt x="1066" y="202"/>
                </a:lnTo>
                <a:lnTo>
                  <a:pt x="1063" y="202"/>
                </a:lnTo>
                <a:lnTo>
                  <a:pt x="1059" y="198"/>
                </a:lnTo>
                <a:lnTo>
                  <a:pt x="1059" y="202"/>
                </a:lnTo>
                <a:lnTo>
                  <a:pt x="1059" y="205"/>
                </a:lnTo>
                <a:lnTo>
                  <a:pt x="1059" y="209"/>
                </a:lnTo>
                <a:lnTo>
                  <a:pt x="1063" y="209"/>
                </a:lnTo>
                <a:lnTo>
                  <a:pt x="1063" y="205"/>
                </a:lnTo>
                <a:lnTo>
                  <a:pt x="1066" y="205"/>
                </a:lnTo>
                <a:lnTo>
                  <a:pt x="1070" y="205"/>
                </a:lnTo>
                <a:lnTo>
                  <a:pt x="1073" y="205"/>
                </a:lnTo>
                <a:lnTo>
                  <a:pt x="1077" y="205"/>
                </a:lnTo>
                <a:lnTo>
                  <a:pt x="1077" y="202"/>
                </a:lnTo>
                <a:lnTo>
                  <a:pt x="1080" y="202"/>
                </a:lnTo>
                <a:lnTo>
                  <a:pt x="1080" y="205"/>
                </a:lnTo>
                <a:lnTo>
                  <a:pt x="1084" y="205"/>
                </a:lnTo>
                <a:lnTo>
                  <a:pt x="1087" y="205"/>
                </a:lnTo>
                <a:lnTo>
                  <a:pt x="1087" y="209"/>
                </a:lnTo>
                <a:lnTo>
                  <a:pt x="1084" y="212"/>
                </a:lnTo>
                <a:lnTo>
                  <a:pt x="1084" y="216"/>
                </a:lnTo>
                <a:lnTo>
                  <a:pt x="1084" y="219"/>
                </a:lnTo>
                <a:lnTo>
                  <a:pt x="1087" y="223"/>
                </a:lnTo>
                <a:lnTo>
                  <a:pt x="1091" y="223"/>
                </a:lnTo>
                <a:lnTo>
                  <a:pt x="1094" y="223"/>
                </a:lnTo>
                <a:lnTo>
                  <a:pt x="1094" y="219"/>
                </a:lnTo>
                <a:lnTo>
                  <a:pt x="1094" y="216"/>
                </a:lnTo>
                <a:lnTo>
                  <a:pt x="1098" y="212"/>
                </a:lnTo>
                <a:lnTo>
                  <a:pt x="1098" y="216"/>
                </a:lnTo>
                <a:lnTo>
                  <a:pt x="1101" y="216"/>
                </a:lnTo>
                <a:lnTo>
                  <a:pt x="1098" y="219"/>
                </a:lnTo>
                <a:lnTo>
                  <a:pt x="1101" y="219"/>
                </a:lnTo>
                <a:lnTo>
                  <a:pt x="1105" y="219"/>
                </a:lnTo>
                <a:lnTo>
                  <a:pt x="1108" y="219"/>
                </a:lnTo>
                <a:lnTo>
                  <a:pt x="1108" y="223"/>
                </a:lnTo>
                <a:lnTo>
                  <a:pt x="1105" y="226"/>
                </a:lnTo>
                <a:lnTo>
                  <a:pt x="1105" y="230"/>
                </a:lnTo>
                <a:lnTo>
                  <a:pt x="1101" y="233"/>
                </a:lnTo>
                <a:lnTo>
                  <a:pt x="1101" y="237"/>
                </a:lnTo>
                <a:lnTo>
                  <a:pt x="1101" y="240"/>
                </a:lnTo>
                <a:lnTo>
                  <a:pt x="1105" y="243"/>
                </a:lnTo>
                <a:lnTo>
                  <a:pt x="1108" y="243"/>
                </a:lnTo>
                <a:lnTo>
                  <a:pt x="1108" y="247"/>
                </a:lnTo>
                <a:lnTo>
                  <a:pt x="1112" y="247"/>
                </a:lnTo>
                <a:lnTo>
                  <a:pt x="1115" y="247"/>
                </a:lnTo>
                <a:lnTo>
                  <a:pt x="1115" y="250"/>
                </a:lnTo>
                <a:lnTo>
                  <a:pt x="1118" y="250"/>
                </a:lnTo>
                <a:lnTo>
                  <a:pt x="1118" y="254"/>
                </a:lnTo>
                <a:lnTo>
                  <a:pt x="1125" y="257"/>
                </a:lnTo>
                <a:lnTo>
                  <a:pt x="1129" y="261"/>
                </a:lnTo>
                <a:lnTo>
                  <a:pt x="1129" y="264"/>
                </a:lnTo>
                <a:lnTo>
                  <a:pt x="1132" y="268"/>
                </a:lnTo>
                <a:lnTo>
                  <a:pt x="1136" y="268"/>
                </a:lnTo>
                <a:lnTo>
                  <a:pt x="1136" y="271"/>
                </a:lnTo>
                <a:lnTo>
                  <a:pt x="1139" y="271"/>
                </a:lnTo>
                <a:lnTo>
                  <a:pt x="1143" y="271"/>
                </a:lnTo>
                <a:lnTo>
                  <a:pt x="1146" y="275"/>
                </a:lnTo>
                <a:lnTo>
                  <a:pt x="1150" y="275"/>
                </a:lnTo>
                <a:lnTo>
                  <a:pt x="1153" y="275"/>
                </a:lnTo>
                <a:lnTo>
                  <a:pt x="1157" y="278"/>
                </a:lnTo>
                <a:lnTo>
                  <a:pt x="1160" y="282"/>
                </a:lnTo>
                <a:lnTo>
                  <a:pt x="1167" y="285"/>
                </a:lnTo>
                <a:lnTo>
                  <a:pt x="1174" y="289"/>
                </a:lnTo>
                <a:lnTo>
                  <a:pt x="1178" y="289"/>
                </a:lnTo>
                <a:lnTo>
                  <a:pt x="1181" y="292"/>
                </a:lnTo>
                <a:lnTo>
                  <a:pt x="1184" y="296"/>
                </a:lnTo>
                <a:lnTo>
                  <a:pt x="1188" y="296"/>
                </a:lnTo>
                <a:lnTo>
                  <a:pt x="1191" y="299"/>
                </a:lnTo>
                <a:lnTo>
                  <a:pt x="1198" y="303"/>
                </a:lnTo>
                <a:lnTo>
                  <a:pt x="1202" y="303"/>
                </a:lnTo>
                <a:lnTo>
                  <a:pt x="1205" y="306"/>
                </a:lnTo>
                <a:lnTo>
                  <a:pt x="1209" y="306"/>
                </a:lnTo>
                <a:lnTo>
                  <a:pt x="1212" y="306"/>
                </a:lnTo>
                <a:lnTo>
                  <a:pt x="1216" y="306"/>
                </a:lnTo>
                <a:lnTo>
                  <a:pt x="1219" y="306"/>
                </a:lnTo>
                <a:lnTo>
                  <a:pt x="1223" y="306"/>
                </a:lnTo>
                <a:lnTo>
                  <a:pt x="1223" y="303"/>
                </a:lnTo>
                <a:lnTo>
                  <a:pt x="1226" y="303"/>
                </a:lnTo>
                <a:lnTo>
                  <a:pt x="1226" y="306"/>
                </a:lnTo>
                <a:lnTo>
                  <a:pt x="1230" y="306"/>
                </a:lnTo>
                <a:lnTo>
                  <a:pt x="1237" y="309"/>
                </a:lnTo>
                <a:lnTo>
                  <a:pt x="1240" y="309"/>
                </a:lnTo>
                <a:lnTo>
                  <a:pt x="1240" y="306"/>
                </a:lnTo>
                <a:lnTo>
                  <a:pt x="1243" y="306"/>
                </a:lnTo>
                <a:lnTo>
                  <a:pt x="1247" y="309"/>
                </a:lnTo>
                <a:lnTo>
                  <a:pt x="1250" y="309"/>
                </a:lnTo>
                <a:lnTo>
                  <a:pt x="1250" y="306"/>
                </a:lnTo>
                <a:lnTo>
                  <a:pt x="1250" y="303"/>
                </a:lnTo>
                <a:lnTo>
                  <a:pt x="1254" y="303"/>
                </a:lnTo>
                <a:lnTo>
                  <a:pt x="1257" y="303"/>
                </a:lnTo>
                <a:lnTo>
                  <a:pt x="1257" y="306"/>
                </a:lnTo>
                <a:lnTo>
                  <a:pt x="1261" y="306"/>
                </a:lnTo>
                <a:lnTo>
                  <a:pt x="1264" y="306"/>
                </a:lnTo>
                <a:lnTo>
                  <a:pt x="1268" y="306"/>
                </a:lnTo>
                <a:lnTo>
                  <a:pt x="1271" y="306"/>
                </a:lnTo>
                <a:lnTo>
                  <a:pt x="1275" y="306"/>
                </a:lnTo>
                <a:lnTo>
                  <a:pt x="1278" y="309"/>
                </a:lnTo>
                <a:lnTo>
                  <a:pt x="1282" y="309"/>
                </a:lnTo>
                <a:lnTo>
                  <a:pt x="1289" y="309"/>
                </a:lnTo>
                <a:lnTo>
                  <a:pt x="1296" y="309"/>
                </a:lnTo>
                <a:lnTo>
                  <a:pt x="1299" y="309"/>
                </a:lnTo>
                <a:lnTo>
                  <a:pt x="1302" y="313"/>
                </a:lnTo>
                <a:lnTo>
                  <a:pt x="1306" y="313"/>
                </a:lnTo>
                <a:lnTo>
                  <a:pt x="1313" y="313"/>
                </a:lnTo>
                <a:lnTo>
                  <a:pt x="1323" y="313"/>
                </a:lnTo>
                <a:lnTo>
                  <a:pt x="1327" y="313"/>
                </a:lnTo>
                <a:lnTo>
                  <a:pt x="1330" y="316"/>
                </a:lnTo>
                <a:lnTo>
                  <a:pt x="1334" y="313"/>
                </a:lnTo>
                <a:lnTo>
                  <a:pt x="1337" y="309"/>
                </a:lnTo>
                <a:lnTo>
                  <a:pt x="1341" y="309"/>
                </a:lnTo>
                <a:lnTo>
                  <a:pt x="1344" y="309"/>
                </a:lnTo>
                <a:lnTo>
                  <a:pt x="1348" y="313"/>
                </a:lnTo>
                <a:lnTo>
                  <a:pt x="1351" y="313"/>
                </a:lnTo>
                <a:lnTo>
                  <a:pt x="1355" y="313"/>
                </a:lnTo>
                <a:lnTo>
                  <a:pt x="1358" y="316"/>
                </a:lnTo>
                <a:lnTo>
                  <a:pt x="1358" y="313"/>
                </a:lnTo>
                <a:lnTo>
                  <a:pt x="1362" y="313"/>
                </a:lnTo>
                <a:lnTo>
                  <a:pt x="1365" y="313"/>
                </a:lnTo>
                <a:lnTo>
                  <a:pt x="1365" y="316"/>
                </a:lnTo>
                <a:lnTo>
                  <a:pt x="1365" y="320"/>
                </a:lnTo>
                <a:lnTo>
                  <a:pt x="1368" y="320"/>
                </a:lnTo>
                <a:lnTo>
                  <a:pt x="1372" y="320"/>
                </a:lnTo>
                <a:lnTo>
                  <a:pt x="1375" y="320"/>
                </a:lnTo>
                <a:lnTo>
                  <a:pt x="1379" y="320"/>
                </a:lnTo>
                <a:lnTo>
                  <a:pt x="1382" y="320"/>
                </a:lnTo>
                <a:lnTo>
                  <a:pt x="1382" y="323"/>
                </a:lnTo>
                <a:lnTo>
                  <a:pt x="1382" y="320"/>
                </a:lnTo>
                <a:lnTo>
                  <a:pt x="1386" y="320"/>
                </a:lnTo>
                <a:lnTo>
                  <a:pt x="1386" y="316"/>
                </a:lnTo>
                <a:lnTo>
                  <a:pt x="1389" y="313"/>
                </a:lnTo>
                <a:lnTo>
                  <a:pt x="1389" y="309"/>
                </a:lnTo>
                <a:lnTo>
                  <a:pt x="1389" y="306"/>
                </a:lnTo>
                <a:lnTo>
                  <a:pt x="1393" y="306"/>
                </a:lnTo>
                <a:lnTo>
                  <a:pt x="1393" y="309"/>
                </a:lnTo>
                <a:lnTo>
                  <a:pt x="1393" y="313"/>
                </a:lnTo>
                <a:lnTo>
                  <a:pt x="1396" y="309"/>
                </a:lnTo>
                <a:lnTo>
                  <a:pt x="1400" y="313"/>
                </a:lnTo>
                <a:lnTo>
                  <a:pt x="1400" y="316"/>
                </a:lnTo>
                <a:lnTo>
                  <a:pt x="1396" y="320"/>
                </a:lnTo>
                <a:lnTo>
                  <a:pt x="1400" y="320"/>
                </a:lnTo>
                <a:lnTo>
                  <a:pt x="1403" y="323"/>
                </a:lnTo>
                <a:lnTo>
                  <a:pt x="1403" y="327"/>
                </a:lnTo>
                <a:lnTo>
                  <a:pt x="1407" y="327"/>
                </a:lnTo>
                <a:lnTo>
                  <a:pt x="1410" y="327"/>
                </a:lnTo>
                <a:lnTo>
                  <a:pt x="1410" y="323"/>
                </a:lnTo>
                <a:lnTo>
                  <a:pt x="1417" y="323"/>
                </a:lnTo>
                <a:lnTo>
                  <a:pt x="1421" y="323"/>
                </a:lnTo>
                <a:lnTo>
                  <a:pt x="1421" y="320"/>
                </a:lnTo>
                <a:lnTo>
                  <a:pt x="1424" y="316"/>
                </a:lnTo>
                <a:lnTo>
                  <a:pt x="1424" y="313"/>
                </a:lnTo>
                <a:lnTo>
                  <a:pt x="1427" y="313"/>
                </a:lnTo>
                <a:lnTo>
                  <a:pt x="1427" y="316"/>
                </a:lnTo>
                <a:lnTo>
                  <a:pt x="1431" y="316"/>
                </a:lnTo>
                <a:lnTo>
                  <a:pt x="1431" y="313"/>
                </a:lnTo>
                <a:lnTo>
                  <a:pt x="1434" y="313"/>
                </a:lnTo>
                <a:lnTo>
                  <a:pt x="1431" y="313"/>
                </a:lnTo>
                <a:lnTo>
                  <a:pt x="1434" y="313"/>
                </a:lnTo>
                <a:lnTo>
                  <a:pt x="1434" y="309"/>
                </a:lnTo>
                <a:lnTo>
                  <a:pt x="1438" y="313"/>
                </a:lnTo>
                <a:lnTo>
                  <a:pt x="1438" y="309"/>
                </a:lnTo>
                <a:lnTo>
                  <a:pt x="1441" y="309"/>
                </a:lnTo>
                <a:lnTo>
                  <a:pt x="1441" y="306"/>
                </a:lnTo>
                <a:lnTo>
                  <a:pt x="1441" y="303"/>
                </a:lnTo>
                <a:lnTo>
                  <a:pt x="1441" y="299"/>
                </a:lnTo>
                <a:lnTo>
                  <a:pt x="1445" y="299"/>
                </a:lnTo>
                <a:lnTo>
                  <a:pt x="1445" y="296"/>
                </a:lnTo>
                <a:lnTo>
                  <a:pt x="1445" y="292"/>
                </a:lnTo>
                <a:lnTo>
                  <a:pt x="1448" y="289"/>
                </a:lnTo>
                <a:lnTo>
                  <a:pt x="1452" y="289"/>
                </a:lnTo>
                <a:lnTo>
                  <a:pt x="1455" y="285"/>
                </a:lnTo>
                <a:lnTo>
                  <a:pt x="1459" y="285"/>
                </a:lnTo>
                <a:lnTo>
                  <a:pt x="1459" y="282"/>
                </a:lnTo>
                <a:lnTo>
                  <a:pt x="1462" y="275"/>
                </a:lnTo>
                <a:lnTo>
                  <a:pt x="1459" y="271"/>
                </a:lnTo>
                <a:lnTo>
                  <a:pt x="1459" y="268"/>
                </a:lnTo>
                <a:lnTo>
                  <a:pt x="1462" y="268"/>
                </a:lnTo>
                <a:lnTo>
                  <a:pt x="1462" y="264"/>
                </a:lnTo>
                <a:lnTo>
                  <a:pt x="1462" y="261"/>
                </a:lnTo>
                <a:lnTo>
                  <a:pt x="1466" y="261"/>
                </a:lnTo>
                <a:lnTo>
                  <a:pt x="1469" y="257"/>
                </a:lnTo>
                <a:lnTo>
                  <a:pt x="1469" y="254"/>
                </a:lnTo>
                <a:lnTo>
                  <a:pt x="1466" y="250"/>
                </a:lnTo>
                <a:lnTo>
                  <a:pt x="1469" y="247"/>
                </a:lnTo>
                <a:lnTo>
                  <a:pt x="1469" y="243"/>
                </a:lnTo>
                <a:lnTo>
                  <a:pt x="1473" y="243"/>
                </a:lnTo>
                <a:lnTo>
                  <a:pt x="1476" y="243"/>
                </a:lnTo>
                <a:lnTo>
                  <a:pt x="1476" y="240"/>
                </a:lnTo>
                <a:lnTo>
                  <a:pt x="1480" y="240"/>
                </a:lnTo>
                <a:lnTo>
                  <a:pt x="1476" y="240"/>
                </a:lnTo>
                <a:lnTo>
                  <a:pt x="1480" y="240"/>
                </a:lnTo>
                <a:lnTo>
                  <a:pt x="1476" y="237"/>
                </a:lnTo>
                <a:lnTo>
                  <a:pt x="1480" y="237"/>
                </a:lnTo>
                <a:lnTo>
                  <a:pt x="1480" y="233"/>
                </a:lnTo>
                <a:lnTo>
                  <a:pt x="1480" y="237"/>
                </a:lnTo>
                <a:lnTo>
                  <a:pt x="1483" y="237"/>
                </a:lnTo>
                <a:lnTo>
                  <a:pt x="1487" y="240"/>
                </a:lnTo>
                <a:lnTo>
                  <a:pt x="1490" y="243"/>
                </a:lnTo>
                <a:lnTo>
                  <a:pt x="1504" y="243"/>
                </a:lnTo>
                <a:lnTo>
                  <a:pt x="1511" y="243"/>
                </a:lnTo>
                <a:lnTo>
                  <a:pt x="1514" y="243"/>
                </a:lnTo>
                <a:lnTo>
                  <a:pt x="1518" y="243"/>
                </a:lnTo>
                <a:lnTo>
                  <a:pt x="1518" y="247"/>
                </a:lnTo>
                <a:lnTo>
                  <a:pt x="1521" y="247"/>
                </a:lnTo>
                <a:lnTo>
                  <a:pt x="1525" y="243"/>
                </a:lnTo>
                <a:lnTo>
                  <a:pt x="1528" y="240"/>
                </a:lnTo>
                <a:lnTo>
                  <a:pt x="1528" y="237"/>
                </a:lnTo>
                <a:lnTo>
                  <a:pt x="1532" y="237"/>
                </a:lnTo>
                <a:lnTo>
                  <a:pt x="1532" y="233"/>
                </a:lnTo>
                <a:lnTo>
                  <a:pt x="1535" y="230"/>
                </a:lnTo>
                <a:lnTo>
                  <a:pt x="1539" y="233"/>
                </a:lnTo>
                <a:lnTo>
                  <a:pt x="1542" y="237"/>
                </a:lnTo>
                <a:lnTo>
                  <a:pt x="1542" y="240"/>
                </a:lnTo>
                <a:lnTo>
                  <a:pt x="1546" y="240"/>
                </a:lnTo>
                <a:lnTo>
                  <a:pt x="1549" y="243"/>
                </a:lnTo>
                <a:lnTo>
                  <a:pt x="1552" y="247"/>
                </a:lnTo>
                <a:lnTo>
                  <a:pt x="1552" y="250"/>
                </a:lnTo>
                <a:lnTo>
                  <a:pt x="1552" y="254"/>
                </a:lnTo>
                <a:lnTo>
                  <a:pt x="1556" y="254"/>
                </a:lnTo>
                <a:lnTo>
                  <a:pt x="1559" y="254"/>
                </a:lnTo>
                <a:lnTo>
                  <a:pt x="1563" y="254"/>
                </a:lnTo>
                <a:lnTo>
                  <a:pt x="1566" y="254"/>
                </a:lnTo>
                <a:lnTo>
                  <a:pt x="1570" y="257"/>
                </a:lnTo>
                <a:lnTo>
                  <a:pt x="1573" y="257"/>
                </a:lnTo>
                <a:lnTo>
                  <a:pt x="1573" y="261"/>
                </a:lnTo>
                <a:lnTo>
                  <a:pt x="1573" y="264"/>
                </a:lnTo>
                <a:lnTo>
                  <a:pt x="1577" y="264"/>
                </a:lnTo>
                <a:lnTo>
                  <a:pt x="1580" y="264"/>
                </a:lnTo>
                <a:lnTo>
                  <a:pt x="1584" y="268"/>
                </a:lnTo>
                <a:lnTo>
                  <a:pt x="1587" y="268"/>
                </a:lnTo>
                <a:lnTo>
                  <a:pt x="1591" y="268"/>
                </a:lnTo>
                <a:lnTo>
                  <a:pt x="1591" y="264"/>
                </a:lnTo>
                <a:lnTo>
                  <a:pt x="1594" y="268"/>
                </a:lnTo>
                <a:lnTo>
                  <a:pt x="1598" y="268"/>
                </a:lnTo>
                <a:lnTo>
                  <a:pt x="1601" y="268"/>
                </a:lnTo>
                <a:lnTo>
                  <a:pt x="1601" y="264"/>
                </a:lnTo>
                <a:lnTo>
                  <a:pt x="1605" y="264"/>
                </a:lnTo>
                <a:lnTo>
                  <a:pt x="1605" y="261"/>
                </a:lnTo>
                <a:lnTo>
                  <a:pt x="1608" y="261"/>
                </a:lnTo>
                <a:lnTo>
                  <a:pt x="1612" y="261"/>
                </a:lnTo>
                <a:lnTo>
                  <a:pt x="1615" y="261"/>
                </a:lnTo>
                <a:lnTo>
                  <a:pt x="1618" y="261"/>
                </a:lnTo>
                <a:lnTo>
                  <a:pt x="1618" y="264"/>
                </a:lnTo>
                <a:lnTo>
                  <a:pt x="1622" y="264"/>
                </a:lnTo>
                <a:lnTo>
                  <a:pt x="1625" y="264"/>
                </a:lnTo>
                <a:lnTo>
                  <a:pt x="1625" y="268"/>
                </a:lnTo>
                <a:lnTo>
                  <a:pt x="1629" y="271"/>
                </a:lnTo>
                <a:lnTo>
                  <a:pt x="1625" y="271"/>
                </a:lnTo>
                <a:lnTo>
                  <a:pt x="1625" y="275"/>
                </a:lnTo>
                <a:lnTo>
                  <a:pt x="1629" y="275"/>
                </a:lnTo>
                <a:lnTo>
                  <a:pt x="1636" y="278"/>
                </a:lnTo>
                <a:lnTo>
                  <a:pt x="1636" y="285"/>
                </a:lnTo>
                <a:lnTo>
                  <a:pt x="1639" y="289"/>
                </a:lnTo>
                <a:lnTo>
                  <a:pt x="1639" y="296"/>
                </a:lnTo>
                <a:lnTo>
                  <a:pt x="1639" y="299"/>
                </a:lnTo>
                <a:lnTo>
                  <a:pt x="1639" y="303"/>
                </a:lnTo>
                <a:lnTo>
                  <a:pt x="1636" y="306"/>
                </a:lnTo>
                <a:lnTo>
                  <a:pt x="1632" y="309"/>
                </a:lnTo>
                <a:lnTo>
                  <a:pt x="1632" y="313"/>
                </a:lnTo>
                <a:lnTo>
                  <a:pt x="1636" y="313"/>
                </a:lnTo>
                <a:lnTo>
                  <a:pt x="1636" y="316"/>
                </a:lnTo>
                <a:lnTo>
                  <a:pt x="1639" y="320"/>
                </a:lnTo>
                <a:lnTo>
                  <a:pt x="1639" y="323"/>
                </a:lnTo>
                <a:lnTo>
                  <a:pt x="1639" y="327"/>
                </a:lnTo>
                <a:lnTo>
                  <a:pt x="1643" y="323"/>
                </a:lnTo>
                <a:lnTo>
                  <a:pt x="1646" y="323"/>
                </a:lnTo>
                <a:lnTo>
                  <a:pt x="1646" y="320"/>
                </a:lnTo>
                <a:lnTo>
                  <a:pt x="1650" y="320"/>
                </a:lnTo>
                <a:lnTo>
                  <a:pt x="1653" y="316"/>
                </a:lnTo>
                <a:lnTo>
                  <a:pt x="1657" y="316"/>
                </a:lnTo>
                <a:lnTo>
                  <a:pt x="1660" y="316"/>
                </a:lnTo>
                <a:lnTo>
                  <a:pt x="1664" y="313"/>
                </a:lnTo>
                <a:lnTo>
                  <a:pt x="1667" y="313"/>
                </a:lnTo>
                <a:lnTo>
                  <a:pt x="1671" y="313"/>
                </a:lnTo>
                <a:lnTo>
                  <a:pt x="1674" y="316"/>
                </a:lnTo>
                <a:lnTo>
                  <a:pt x="1674" y="320"/>
                </a:lnTo>
                <a:lnTo>
                  <a:pt x="1677" y="320"/>
                </a:lnTo>
                <a:lnTo>
                  <a:pt x="1681" y="320"/>
                </a:lnTo>
                <a:lnTo>
                  <a:pt x="1677" y="323"/>
                </a:lnTo>
                <a:lnTo>
                  <a:pt x="1681" y="323"/>
                </a:lnTo>
                <a:lnTo>
                  <a:pt x="1684" y="323"/>
                </a:lnTo>
                <a:lnTo>
                  <a:pt x="1684" y="320"/>
                </a:lnTo>
                <a:lnTo>
                  <a:pt x="1684" y="323"/>
                </a:lnTo>
                <a:lnTo>
                  <a:pt x="1688" y="320"/>
                </a:lnTo>
                <a:lnTo>
                  <a:pt x="1688" y="323"/>
                </a:lnTo>
                <a:lnTo>
                  <a:pt x="1691" y="327"/>
                </a:lnTo>
                <a:lnTo>
                  <a:pt x="1691" y="330"/>
                </a:lnTo>
                <a:lnTo>
                  <a:pt x="1691" y="334"/>
                </a:lnTo>
                <a:lnTo>
                  <a:pt x="1695" y="334"/>
                </a:lnTo>
                <a:lnTo>
                  <a:pt x="1695" y="337"/>
                </a:lnTo>
                <a:lnTo>
                  <a:pt x="1698" y="337"/>
                </a:lnTo>
                <a:lnTo>
                  <a:pt x="1702" y="337"/>
                </a:lnTo>
                <a:lnTo>
                  <a:pt x="1705" y="341"/>
                </a:lnTo>
                <a:lnTo>
                  <a:pt x="1709" y="344"/>
                </a:lnTo>
                <a:lnTo>
                  <a:pt x="1709" y="341"/>
                </a:lnTo>
                <a:lnTo>
                  <a:pt x="1712" y="341"/>
                </a:lnTo>
                <a:lnTo>
                  <a:pt x="1712" y="344"/>
                </a:lnTo>
                <a:lnTo>
                  <a:pt x="1712" y="341"/>
                </a:lnTo>
                <a:lnTo>
                  <a:pt x="1712" y="344"/>
                </a:lnTo>
                <a:lnTo>
                  <a:pt x="1716" y="344"/>
                </a:lnTo>
                <a:lnTo>
                  <a:pt x="1719" y="341"/>
                </a:lnTo>
                <a:lnTo>
                  <a:pt x="1719" y="344"/>
                </a:lnTo>
                <a:lnTo>
                  <a:pt x="1723" y="344"/>
                </a:lnTo>
                <a:lnTo>
                  <a:pt x="1726" y="344"/>
                </a:lnTo>
                <a:lnTo>
                  <a:pt x="1726" y="348"/>
                </a:lnTo>
                <a:lnTo>
                  <a:pt x="1726" y="351"/>
                </a:lnTo>
                <a:lnTo>
                  <a:pt x="1726" y="348"/>
                </a:lnTo>
                <a:lnTo>
                  <a:pt x="1730" y="348"/>
                </a:lnTo>
                <a:lnTo>
                  <a:pt x="1730" y="344"/>
                </a:lnTo>
                <a:lnTo>
                  <a:pt x="1733" y="344"/>
                </a:lnTo>
                <a:lnTo>
                  <a:pt x="1737" y="344"/>
                </a:lnTo>
                <a:lnTo>
                  <a:pt x="1740" y="344"/>
                </a:lnTo>
                <a:lnTo>
                  <a:pt x="1743" y="344"/>
                </a:lnTo>
                <a:lnTo>
                  <a:pt x="1747" y="344"/>
                </a:lnTo>
                <a:lnTo>
                  <a:pt x="1747" y="341"/>
                </a:lnTo>
                <a:lnTo>
                  <a:pt x="1750" y="341"/>
                </a:lnTo>
                <a:lnTo>
                  <a:pt x="1750" y="337"/>
                </a:lnTo>
                <a:lnTo>
                  <a:pt x="1754" y="341"/>
                </a:lnTo>
                <a:lnTo>
                  <a:pt x="1757" y="344"/>
                </a:lnTo>
                <a:lnTo>
                  <a:pt x="1761" y="344"/>
                </a:lnTo>
                <a:lnTo>
                  <a:pt x="1764" y="344"/>
                </a:lnTo>
                <a:lnTo>
                  <a:pt x="1778" y="344"/>
                </a:lnTo>
                <a:lnTo>
                  <a:pt x="1778" y="341"/>
                </a:lnTo>
                <a:lnTo>
                  <a:pt x="1782" y="341"/>
                </a:lnTo>
                <a:lnTo>
                  <a:pt x="1778" y="337"/>
                </a:lnTo>
                <a:lnTo>
                  <a:pt x="1782" y="337"/>
                </a:lnTo>
                <a:lnTo>
                  <a:pt x="1782" y="334"/>
                </a:lnTo>
                <a:lnTo>
                  <a:pt x="1785" y="330"/>
                </a:lnTo>
                <a:lnTo>
                  <a:pt x="1785" y="334"/>
                </a:lnTo>
                <a:lnTo>
                  <a:pt x="1789" y="334"/>
                </a:lnTo>
                <a:lnTo>
                  <a:pt x="1785" y="334"/>
                </a:lnTo>
                <a:lnTo>
                  <a:pt x="1789" y="337"/>
                </a:lnTo>
                <a:lnTo>
                  <a:pt x="1789" y="341"/>
                </a:lnTo>
                <a:lnTo>
                  <a:pt x="1792" y="337"/>
                </a:lnTo>
                <a:lnTo>
                  <a:pt x="1796" y="341"/>
                </a:lnTo>
                <a:lnTo>
                  <a:pt x="1796" y="337"/>
                </a:lnTo>
                <a:lnTo>
                  <a:pt x="1799" y="337"/>
                </a:lnTo>
                <a:lnTo>
                  <a:pt x="1799" y="341"/>
                </a:lnTo>
                <a:lnTo>
                  <a:pt x="1799" y="337"/>
                </a:lnTo>
                <a:lnTo>
                  <a:pt x="1802" y="337"/>
                </a:lnTo>
                <a:lnTo>
                  <a:pt x="1802" y="341"/>
                </a:lnTo>
                <a:lnTo>
                  <a:pt x="1806" y="341"/>
                </a:lnTo>
                <a:lnTo>
                  <a:pt x="1802" y="341"/>
                </a:lnTo>
                <a:lnTo>
                  <a:pt x="1802" y="344"/>
                </a:lnTo>
                <a:lnTo>
                  <a:pt x="1802" y="348"/>
                </a:lnTo>
                <a:lnTo>
                  <a:pt x="1806" y="348"/>
                </a:lnTo>
                <a:lnTo>
                  <a:pt x="1809" y="348"/>
                </a:lnTo>
                <a:lnTo>
                  <a:pt x="1809" y="351"/>
                </a:lnTo>
                <a:lnTo>
                  <a:pt x="1806" y="351"/>
                </a:lnTo>
                <a:lnTo>
                  <a:pt x="1809" y="355"/>
                </a:lnTo>
                <a:lnTo>
                  <a:pt x="1813" y="355"/>
                </a:lnTo>
                <a:lnTo>
                  <a:pt x="1813" y="358"/>
                </a:lnTo>
                <a:lnTo>
                  <a:pt x="1813" y="362"/>
                </a:lnTo>
                <a:lnTo>
                  <a:pt x="1813" y="365"/>
                </a:lnTo>
                <a:lnTo>
                  <a:pt x="1813" y="368"/>
                </a:lnTo>
                <a:lnTo>
                  <a:pt x="1813" y="372"/>
                </a:lnTo>
                <a:lnTo>
                  <a:pt x="1809" y="372"/>
                </a:lnTo>
                <a:lnTo>
                  <a:pt x="1809" y="375"/>
                </a:lnTo>
                <a:lnTo>
                  <a:pt x="1809" y="379"/>
                </a:lnTo>
                <a:lnTo>
                  <a:pt x="1806" y="379"/>
                </a:lnTo>
                <a:lnTo>
                  <a:pt x="1806" y="382"/>
                </a:lnTo>
                <a:lnTo>
                  <a:pt x="1809" y="386"/>
                </a:lnTo>
                <a:lnTo>
                  <a:pt x="1813" y="386"/>
                </a:lnTo>
                <a:lnTo>
                  <a:pt x="1816" y="386"/>
                </a:lnTo>
                <a:lnTo>
                  <a:pt x="1816" y="389"/>
                </a:lnTo>
                <a:lnTo>
                  <a:pt x="1816" y="393"/>
                </a:lnTo>
                <a:lnTo>
                  <a:pt x="1813" y="393"/>
                </a:lnTo>
                <a:lnTo>
                  <a:pt x="1816" y="393"/>
                </a:lnTo>
                <a:lnTo>
                  <a:pt x="1816" y="396"/>
                </a:lnTo>
                <a:lnTo>
                  <a:pt x="1816" y="400"/>
                </a:lnTo>
                <a:lnTo>
                  <a:pt x="1816" y="403"/>
                </a:lnTo>
                <a:lnTo>
                  <a:pt x="1816" y="407"/>
                </a:lnTo>
                <a:lnTo>
                  <a:pt x="1813" y="407"/>
                </a:lnTo>
                <a:lnTo>
                  <a:pt x="1813" y="410"/>
                </a:lnTo>
                <a:lnTo>
                  <a:pt x="1813" y="414"/>
                </a:lnTo>
                <a:lnTo>
                  <a:pt x="1816" y="414"/>
                </a:lnTo>
                <a:lnTo>
                  <a:pt x="1816" y="417"/>
                </a:lnTo>
                <a:lnTo>
                  <a:pt x="1816" y="421"/>
                </a:lnTo>
                <a:lnTo>
                  <a:pt x="1820" y="421"/>
                </a:lnTo>
                <a:lnTo>
                  <a:pt x="1820" y="424"/>
                </a:lnTo>
                <a:lnTo>
                  <a:pt x="1816" y="424"/>
                </a:lnTo>
                <a:lnTo>
                  <a:pt x="1820" y="428"/>
                </a:lnTo>
                <a:lnTo>
                  <a:pt x="1820" y="431"/>
                </a:lnTo>
                <a:lnTo>
                  <a:pt x="1816" y="434"/>
                </a:lnTo>
                <a:lnTo>
                  <a:pt x="1816" y="438"/>
                </a:lnTo>
                <a:lnTo>
                  <a:pt x="1813" y="438"/>
                </a:lnTo>
                <a:lnTo>
                  <a:pt x="1813" y="441"/>
                </a:lnTo>
                <a:lnTo>
                  <a:pt x="1816" y="441"/>
                </a:lnTo>
                <a:lnTo>
                  <a:pt x="1813" y="441"/>
                </a:lnTo>
                <a:lnTo>
                  <a:pt x="1813" y="445"/>
                </a:lnTo>
                <a:lnTo>
                  <a:pt x="1816" y="445"/>
                </a:lnTo>
                <a:lnTo>
                  <a:pt x="1820" y="445"/>
                </a:lnTo>
                <a:lnTo>
                  <a:pt x="1820" y="448"/>
                </a:lnTo>
                <a:lnTo>
                  <a:pt x="1823" y="448"/>
                </a:lnTo>
                <a:lnTo>
                  <a:pt x="1827" y="448"/>
                </a:lnTo>
                <a:lnTo>
                  <a:pt x="1830" y="448"/>
                </a:lnTo>
                <a:lnTo>
                  <a:pt x="1830" y="452"/>
                </a:lnTo>
                <a:lnTo>
                  <a:pt x="1830" y="455"/>
                </a:lnTo>
                <a:lnTo>
                  <a:pt x="1830" y="459"/>
                </a:lnTo>
                <a:lnTo>
                  <a:pt x="1830" y="462"/>
                </a:lnTo>
                <a:lnTo>
                  <a:pt x="1830" y="466"/>
                </a:lnTo>
                <a:lnTo>
                  <a:pt x="1827" y="466"/>
                </a:lnTo>
                <a:lnTo>
                  <a:pt x="1823" y="466"/>
                </a:lnTo>
                <a:lnTo>
                  <a:pt x="1823" y="469"/>
                </a:lnTo>
                <a:lnTo>
                  <a:pt x="1827" y="473"/>
                </a:lnTo>
                <a:lnTo>
                  <a:pt x="1827" y="476"/>
                </a:lnTo>
                <a:lnTo>
                  <a:pt x="1827" y="480"/>
                </a:lnTo>
                <a:lnTo>
                  <a:pt x="1827" y="483"/>
                </a:lnTo>
                <a:lnTo>
                  <a:pt x="1830" y="487"/>
                </a:lnTo>
                <a:lnTo>
                  <a:pt x="1830" y="490"/>
                </a:lnTo>
                <a:lnTo>
                  <a:pt x="1827" y="494"/>
                </a:lnTo>
                <a:lnTo>
                  <a:pt x="1827" y="497"/>
                </a:lnTo>
                <a:lnTo>
                  <a:pt x="1827" y="500"/>
                </a:lnTo>
                <a:lnTo>
                  <a:pt x="1827" y="504"/>
                </a:lnTo>
                <a:lnTo>
                  <a:pt x="1827" y="507"/>
                </a:lnTo>
                <a:lnTo>
                  <a:pt x="1830" y="507"/>
                </a:lnTo>
                <a:lnTo>
                  <a:pt x="1830" y="511"/>
                </a:lnTo>
                <a:lnTo>
                  <a:pt x="1834" y="511"/>
                </a:lnTo>
                <a:lnTo>
                  <a:pt x="1834" y="514"/>
                </a:lnTo>
                <a:lnTo>
                  <a:pt x="1834" y="518"/>
                </a:lnTo>
                <a:lnTo>
                  <a:pt x="1830" y="518"/>
                </a:lnTo>
                <a:lnTo>
                  <a:pt x="1830" y="521"/>
                </a:lnTo>
                <a:lnTo>
                  <a:pt x="1834" y="521"/>
                </a:lnTo>
                <a:lnTo>
                  <a:pt x="1834" y="525"/>
                </a:lnTo>
                <a:lnTo>
                  <a:pt x="1837" y="528"/>
                </a:lnTo>
                <a:lnTo>
                  <a:pt x="1841" y="528"/>
                </a:lnTo>
                <a:lnTo>
                  <a:pt x="1841" y="532"/>
                </a:lnTo>
                <a:lnTo>
                  <a:pt x="1837" y="535"/>
                </a:lnTo>
                <a:lnTo>
                  <a:pt x="1837" y="539"/>
                </a:lnTo>
                <a:lnTo>
                  <a:pt x="1837" y="542"/>
                </a:lnTo>
                <a:lnTo>
                  <a:pt x="1834" y="542"/>
                </a:lnTo>
                <a:lnTo>
                  <a:pt x="1834" y="546"/>
                </a:lnTo>
                <a:lnTo>
                  <a:pt x="1830" y="546"/>
                </a:lnTo>
                <a:lnTo>
                  <a:pt x="1830" y="549"/>
                </a:lnTo>
                <a:lnTo>
                  <a:pt x="1830" y="553"/>
                </a:lnTo>
                <a:lnTo>
                  <a:pt x="1834" y="553"/>
                </a:lnTo>
                <a:lnTo>
                  <a:pt x="1834" y="556"/>
                </a:lnTo>
                <a:lnTo>
                  <a:pt x="1830" y="556"/>
                </a:lnTo>
                <a:lnTo>
                  <a:pt x="1827" y="556"/>
                </a:lnTo>
                <a:lnTo>
                  <a:pt x="1823" y="556"/>
                </a:lnTo>
                <a:lnTo>
                  <a:pt x="1816" y="556"/>
                </a:lnTo>
                <a:lnTo>
                  <a:pt x="1813" y="559"/>
                </a:lnTo>
                <a:lnTo>
                  <a:pt x="1816" y="559"/>
                </a:lnTo>
                <a:lnTo>
                  <a:pt x="1816" y="563"/>
                </a:lnTo>
                <a:lnTo>
                  <a:pt x="1816" y="566"/>
                </a:lnTo>
                <a:lnTo>
                  <a:pt x="1813" y="566"/>
                </a:lnTo>
                <a:lnTo>
                  <a:pt x="1809" y="566"/>
                </a:lnTo>
                <a:lnTo>
                  <a:pt x="1809" y="570"/>
                </a:lnTo>
                <a:lnTo>
                  <a:pt x="1809" y="573"/>
                </a:lnTo>
                <a:lnTo>
                  <a:pt x="1809" y="577"/>
                </a:lnTo>
                <a:lnTo>
                  <a:pt x="1809" y="580"/>
                </a:lnTo>
                <a:lnTo>
                  <a:pt x="1813" y="580"/>
                </a:lnTo>
                <a:lnTo>
                  <a:pt x="1813" y="584"/>
                </a:lnTo>
                <a:lnTo>
                  <a:pt x="1809" y="584"/>
                </a:lnTo>
                <a:lnTo>
                  <a:pt x="1806" y="584"/>
                </a:lnTo>
                <a:lnTo>
                  <a:pt x="1806" y="580"/>
                </a:lnTo>
                <a:lnTo>
                  <a:pt x="1802" y="580"/>
                </a:lnTo>
                <a:lnTo>
                  <a:pt x="1799" y="580"/>
                </a:lnTo>
                <a:lnTo>
                  <a:pt x="1799" y="584"/>
                </a:lnTo>
                <a:lnTo>
                  <a:pt x="1796" y="584"/>
                </a:lnTo>
                <a:lnTo>
                  <a:pt x="1792" y="587"/>
                </a:lnTo>
                <a:lnTo>
                  <a:pt x="1792" y="591"/>
                </a:lnTo>
                <a:lnTo>
                  <a:pt x="1796" y="591"/>
                </a:lnTo>
                <a:lnTo>
                  <a:pt x="1796" y="594"/>
                </a:lnTo>
                <a:lnTo>
                  <a:pt x="1796" y="598"/>
                </a:lnTo>
                <a:lnTo>
                  <a:pt x="1792" y="598"/>
                </a:lnTo>
                <a:lnTo>
                  <a:pt x="1792" y="601"/>
                </a:lnTo>
                <a:lnTo>
                  <a:pt x="1792" y="605"/>
                </a:lnTo>
                <a:lnTo>
                  <a:pt x="1789" y="605"/>
                </a:lnTo>
                <a:lnTo>
                  <a:pt x="1785" y="605"/>
                </a:lnTo>
                <a:lnTo>
                  <a:pt x="1785" y="608"/>
                </a:lnTo>
                <a:lnTo>
                  <a:pt x="1782" y="608"/>
                </a:lnTo>
                <a:lnTo>
                  <a:pt x="1782" y="612"/>
                </a:lnTo>
                <a:lnTo>
                  <a:pt x="1782" y="615"/>
                </a:lnTo>
                <a:lnTo>
                  <a:pt x="1778" y="615"/>
                </a:lnTo>
                <a:lnTo>
                  <a:pt x="1775" y="615"/>
                </a:lnTo>
                <a:lnTo>
                  <a:pt x="1775" y="619"/>
                </a:lnTo>
                <a:lnTo>
                  <a:pt x="1771" y="622"/>
                </a:lnTo>
                <a:lnTo>
                  <a:pt x="1771" y="625"/>
                </a:lnTo>
                <a:lnTo>
                  <a:pt x="1771" y="629"/>
                </a:lnTo>
                <a:lnTo>
                  <a:pt x="1775" y="629"/>
                </a:lnTo>
                <a:lnTo>
                  <a:pt x="1775" y="632"/>
                </a:lnTo>
                <a:lnTo>
                  <a:pt x="1771" y="632"/>
                </a:lnTo>
                <a:lnTo>
                  <a:pt x="1768" y="632"/>
                </a:lnTo>
                <a:lnTo>
                  <a:pt x="1764" y="632"/>
                </a:lnTo>
                <a:lnTo>
                  <a:pt x="1764" y="636"/>
                </a:lnTo>
                <a:lnTo>
                  <a:pt x="1764" y="639"/>
                </a:lnTo>
                <a:lnTo>
                  <a:pt x="1764" y="643"/>
                </a:lnTo>
                <a:lnTo>
                  <a:pt x="1764" y="646"/>
                </a:lnTo>
                <a:lnTo>
                  <a:pt x="1764" y="650"/>
                </a:lnTo>
                <a:lnTo>
                  <a:pt x="1764" y="653"/>
                </a:lnTo>
                <a:lnTo>
                  <a:pt x="1768" y="657"/>
                </a:lnTo>
                <a:lnTo>
                  <a:pt x="1768" y="660"/>
                </a:lnTo>
                <a:lnTo>
                  <a:pt x="1768" y="664"/>
                </a:lnTo>
                <a:lnTo>
                  <a:pt x="1771" y="664"/>
                </a:lnTo>
                <a:lnTo>
                  <a:pt x="1771" y="667"/>
                </a:lnTo>
                <a:lnTo>
                  <a:pt x="1775" y="667"/>
                </a:lnTo>
                <a:lnTo>
                  <a:pt x="1771" y="671"/>
                </a:lnTo>
                <a:lnTo>
                  <a:pt x="1768" y="674"/>
                </a:lnTo>
                <a:lnTo>
                  <a:pt x="1764" y="678"/>
                </a:lnTo>
                <a:lnTo>
                  <a:pt x="1764" y="681"/>
                </a:lnTo>
                <a:lnTo>
                  <a:pt x="1764" y="685"/>
                </a:lnTo>
                <a:lnTo>
                  <a:pt x="1764" y="688"/>
                </a:lnTo>
                <a:lnTo>
                  <a:pt x="1768" y="691"/>
                </a:lnTo>
                <a:lnTo>
                  <a:pt x="1768" y="695"/>
                </a:lnTo>
                <a:lnTo>
                  <a:pt x="1768" y="698"/>
                </a:lnTo>
                <a:lnTo>
                  <a:pt x="1764" y="698"/>
                </a:lnTo>
                <a:lnTo>
                  <a:pt x="1764" y="702"/>
                </a:lnTo>
                <a:lnTo>
                  <a:pt x="1764" y="705"/>
                </a:lnTo>
                <a:lnTo>
                  <a:pt x="1764" y="709"/>
                </a:lnTo>
                <a:lnTo>
                  <a:pt x="1761" y="709"/>
                </a:lnTo>
                <a:lnTo>
                  <a:pt x="1757" y="709"/>
                </a:lnTo>
                <a:lnTo>
                  <a:pt x="1754" y="709"/>
                </a:lnTo>
                <a:lnTo>
                  <a:pt x="1750" y="709"/>
                </a:lnTo>
                <a:lnTo>
                  <a:pt x="1750" y="712"/>
                </a:lnTo>
                <a:lnTo>
                  <a:pt x="1754" y="716"/>
                </a:lnTo>
                <a:lnTo>
                  <a:pt x="1754" y="719"/>
                </a:lnTo>
                <a:lnTo>
                  <a:pt x="1757" y="719"/>
                </a:lnTo>
                <a:lnTo>
                  <a:pt x="1757" y="723"/>
                </a:lnTo>
                <a:lnTo>
                  <a:pt x="1757" y="726"/>
                </a:lnTo>
                <a:lnTo>
                  <a:pt x="1754" y="726"/>
                </a:lnTo>
                <a:lnTo>
                  <a:pt x="1754" y="730"/>
                </a:lnTo>
                <a:lnTo>
                  <a:pt x="1757" y="733"/>
                </a:lnTo>
                <a:lnTo>
                  <a:pt x="1757" y="737"/>
                </a:lnTo>
                <a:lnTo>
                  <a:pt x="1757" y="740"/>
                </a:lnTo>
                <a:lnTo>
                  <a:pt x="1757" y="744"/>
                </a:lnTo>
                <a:lnTo>
                  <a:pt x="1761" y="747"/>
                </a:lnTo>
                <a:lnTo>
                  <a:pt x="1764" y="747"/>
                </a:lnTo>
                <a:lnTo>
                  <a:pt x="1768" y="747"/>
                </a:lnTo>
                <a:lnTo>
                  <a:pt x="1771" y="747"/>
                </a:lnTo>
                <a:lnTo>
                  <a:pt x="1775" y="747"/>
                </a:lnTo>
                <a:lnTo>
                  <a:pt x="1778" y="747"/>
                </a:lnTo>
                <a:lnTo>
                  <a:pt x="1782" y="747"/>
                </a:lnTo>
                <a:lnTo>
                  <a:pt x="1782" y="750"/>
                </a:lnTo>
                <a:lnTo>
                  <a:pt x="1778" y="754"/>
                </a:lnTo>
                <a:lnTo>
                  <a:pt x="1778" y="757"/>
                </a:lnTo>
                <a:lnTo>
                  <a:pt x="1782" y="761"/>
                </a:lnTo>
                <a:lnTo>
                  <a:pt x="1785" y="761"/>
                </a:lnTo>
                <a:lnTo>
                  <a:pt x="1789" y="761"/>
                </a:lnTo>
                <a:lnTo>
                  <a:pt x="1792" y="764"/>
                </a:lnTo>
                <a:lnTo>
                  <a:pt x="1796" y="764"/>
                </a:lnTo>
                <a:lnTo>
                  <a:pt x="1796" y="768"/>
                </a:lnTo>
                <a:lnTo>
                  <a:pt x="1799" y="768"/>
                </a:lnTo>
                <a:lnTo>
                  <a:pt x="1802" y="771"/>
                </a:lnTo>
                <a:lnTo>
                  <a:pt x="1806" y="771"/>
                </a:lnTo>
                <a:lnTo>
                  <a:pt x="1806" y="775"/>
                </a:lnTo>
                <a:lnTo>
                  <a:pt x="1806" y="778"/>
                </a:lnTo>
                <a:lnTo>
                  <a:pt x="1802" y="778"/>
                </a:lnTo>
                <a:lnTo>
                  <a:pt x="1802" y="782"/>
                </a:lnTo>
                <a:lnTo>
                  <a:pt x="1799" y="782"/>
                </a:lnTo>
                <a:lnTo>
                  <a:pt x="1799" y="785"/>
                </a:lnTo>
                <a:lnTo>
                  <a:pt x="1796" y="785"/>
                </a:lnTo>
                <a:lnTo>
                  <a:pt x="1796" y="789"/>
                </a:lnTo>
                <a:lnTo>
                  <a:pt x="1796" y="792"/>
                </a:lnTo>
                <a:lnTo>
                  <a:pt x="1799" y="792"/>
                </a:lnTo>
                <a:lnTo>
                  <a:pt x="1799" y="796"/>
                </a:lnTo>
                <a:lnTo>
                  <a:pt x="1799" y="799"/>
                </a:lnTo>
                <a:lnTo>
                  <a:pt x="1799" y="803"/>
                </a:lnTo>
                <a:lnTo>
                  <a:pt x="1802" y="803"/>
                </a:lnTo>
                <a:lnTo>
                  <a:pt x="1802" y="806"/>
                </a:lnTo>
                <a:lnTo>
                  <a:pt x="1806" y="806"/>
                </a:lnTo>
                <a:lnTo>
                  <a:pt x="1806" y="810"/>
                </a:lnTo>
                <a:lnTo>
                  <a:pt x="1806" y="813"/>
                </a:lnTo>
                <a:lnTo>
                  <a:pt x="1806" y="816"/>
                </a:lnTo>
                <a:lnTo>
                  <a:pt x="1809" y="816"/>
                </a:lnTo>
                <a:lnTo>
                  <a:pt x="1809" y="820"/>
                </a:lnTo>
                <a:lnTo>
                  <a:pt x="1809" y="823"/>
                </a:lnTo>
                <a:lnTo>
                  <a:pt x="1813" y="823"/>
                </a:lnTo>
                <a:lnTo>
                  <a:pt x="1816" y="827"/>
                </a:lnTo>
                <a:lnTo>
                  <a:pt x="1813" y="827"/>
                </a:lnTo>
                <a:lnTo>
                  <a:pt x="1813" y="830"/>
                </a:lnTo>
                <a:lnTo>
                  <a:pt x="1816" y="830"/>
                </a:lnTo>
                <a:lnTo>
                  <a:pt x="1820" y="834"/>
                </a:lnTo>
                <a:lnTo>
                  <a:pt x="1823" y="834"/>
                </a:lnTo>
                <a:lnTo>
                  <a:pt x="1827" y="834"/>
                </a:lnTo>
                <a:lnTo>
                  <a:pt x="1830" y="834"/>
                </a:lnTo>
                <a:lnTo>
                  <a:pt x="1834" y="834"/>
                </a:lnTo>
                <a:lnTo>
                  <a:pt x="1837" y="834"/>
                </a:lnTo>
                <a:lnTo>
                  <a:pt x="1837" y="837"/>
                </a:lnTo>
                <a:lnTo>
                  <a:pt x="1841" y="841"/>
                </a:lnTo>
                <a:lnTo>
                  <a:pt x="1841" y="844"/>
                </a:lnTo>
                <a:lnTo>
                  <a:pt x="1837" y="848"/>
                </a:lnTo>
                <a:lnTo>
                  <a:pt x="1837" y="851"/>
                </a:lnTo>
                <a:lnTo>
                  <a:pt x="1837" y="855"/>
                </a:lnTo>
                <a:lnTo>
                  <a:pt x="1837" y="858"/>
                </a:lnTo>
                <a:lnTo>
                  <a:pt x="1837" y="862"/>
                </a:lnTo>
                <a:lnTo>
                  <a:pt x="1834" y="862"/>
                </a:lnTo>
                <a:lnTo>
                  <a:pt x="1834" y="865"/>
                </a:lnTo>
                <a:lnTo>
                  <a:pt x="1834" y="869"/>
                </a:lnTo>
                <a:lnTo>
                  <a:pt x="1834" y="872"/>
                </a:lnTo>
                <a:lnTo>
                  <a:pt x="1837" y="875"/>
                </a:lnTo>
                <a:lnTo>
                  <a:pt x="1841" y="879"/>
                </a:lnTo>
                <a:lnTo>
                  <a:pt x="1844" y="882"/>
                </a:lnTo>
                <a:lnTo>
                  <a:pt x="1844" y="886"/>
                </a:lnTo>
                <a:lnTo>
                  <a:pt x="1844" y="889"/>
                </a:lnTo>
                <a:lnTo>
                  <a:pt x="1844" y="893"/>
                </a:lnTo>
                <a:lnTo>
                  <a:pt x="1844" y="896"/>
                </a:lnTo>
                <a:lnTo>
                  <a:pt x="1848" y="896"/>
                </a:lnTo>
                <a:lnTo>
                  <a:pt x="1848" y="900"/>
                </a:lnTo>
                <a:lnTo>
                  <a:pt x="1848" y="903"/>
                </a:lnTo>
                <a:lnTo>
                  <a:pt x="1851" y="907"/>
                </a:lnTo>
                <a:lnTo>
                  <a:pt x="1851" y="910"/>
                </a:lnTo>
                <a:lnTo>
                  <a:pt x="1851" y="914"/>
                </a:lnTo>
                <a:lnTo>
                  <a:pt x="1855" y="917"/>
                </a:lnTo>
                <a:lnTo>
                  <a:pt x="1855" y="921"/>
                </a:lnTo>
                <a:lnTo>
                  <a:pt x="1855" y="924"/>
                </a:lnTo>
                <a:lnTo>
                  <a:pt x="1858" y="928"/>
                </a:lnTo>
                <a:lnTo>
                  <a:pt x="1858" y="931"/>
                </a:lnTo>
                <a:lnTo>
                  <a:pt x="1858" y="935"/>
                </a:lnTo>
                <a:lnTo>
                  <a:pt x="1855" y="938"/>
                </a:lnTo>
                <a:lnTo>
                  <a:pt x="1855" y="941"/>
                </a:lnTo>
                <a:lnTo>
                  <a:pt x="1858" y="945"/>
                </a:lnTo>
                <a:lnTo>
                  <a:pt x="1868" y="952"/>
                </a:lnTo>
                <a:lnTo>
                  <a:pt x="1872" y="955"/>
                </a:lnTo>
                <a:lnTo>
                  <a:pt x="1875" y="959"/>
                </a:lnTo>
                <a:lnTo>
                  <a:pt x="1882" y="962"/>
                </a:lnTo>
                <a:lnTo>
                  <a:pt x="1886" y="969"/>
                </a:lnTo>
                <a:lnTo>
                  <a:pt x="1889" y="973"/>
                </a:lnTo>
                <a:lnTo>
                  <a:pt x="1893" y="973"/>
                </a:lnTo>
                <a:lnTo>
                  <a:pt x="1896" y="976"/>
                </a:lnTo>
                <a:lnTo>
                  <a:pt x="1900" y="976"/>
                </a:lnTo>
                <a:lnTo>
                  <a:pt x="1903" y="976"/>
                </a:lnTo>
                <a:lnTo>
                  <a:pt x="1907" y="976"/>
                </a:lnTo>
                <a:lnTo>
                  <a:pt x="1910" y="976"/>
                </a:lnTo>
                <a:lnTo>
                  <a:pt x="1914" y="973"/>
                </a:lnTo>
                <a:lnTo>
                  <a:pt x="1917" y="973"/>
                </a:lnTo>
                <a:lnTo>
                  <a:pt x="1917" y="976"/>
                </a:lnTo>
                <a:lnTo>
                  <a:pt x="1917" y="980"/>
                </a:lnTo>
                <a:lnTo>
                  <a:pt x="1921" y="987"/>
                </a:lnTo>
                <a:lnTo>
                  <a:pt x="1921" y="990"/>
                </a:lnTo>
                <a:lnTo>
                  <a:pt x="1924" y="990"/>
                </a:lnTo>
                <a:lnTo>
                  <a:pt x="1924" y="994"/>
                </a:lnTo>
                <a:lnTo>
                  <a:pt x="1917" y="997"/>
                </a:lnTo>
                <a:lnTo>
                  <a:pt x="1921" y="997"/>
                </a:lnTo>
                <a:lnTo>
                  <a:pt x="1921" y="1001"/>
                </a:lnTo>
                <a:close/>
                <a:moveTo>
                  <a:pt x="1427" y="775"/>
                </a:moveTo>
                <a:lnTo>
                  <a:pt x="1427" y="778"/>
                </a:lnTo>
                <a:lnTo>
                  <a:pt x="1424" y="778"/>
                </a:lnTo>
                <a:lnTo>
                  <a:pt x="1421" y="778"/>
                </a:lnTo>
                <a:lnTo>
                  <a:pt x="1421" y="782"/>
                </a:lnTo>
                <a:lnTo>
                  <a:pt x="1417" y="785"/>
                </a:lnTo>
                <a:lnTo>
                  <a:pt x="1421" y="789"/>
                </a:lnTo>
                <a:lnTo>
                  <a:pt x="1421" y="792"/>
                </a:lnTo>
                <a:lnTo>
                  <a:pt x="1421" y="796"/>
                </a:lnTo>
                <a:lnTo>
                  <a:pt x="1424" y="799"/>
                </a:lnTo>
                <a:lnTo>
                  <a:pt x="1421" y="799"/>
                </a:lnTo>
                <a:lnTo>
                  <a:pt x="1417" y="799"/>
                </a:lnTo>
                <a:lnTo>
                  <a:pt x="1417" y="803"/>
                </a:lnTo>
                <a:lnTo>
                  <a:pt x="1414" y="806"/>
                </a:lnTo>
                <a:lnTo>
                  <a:pt x="1417" y="810"/>
                </a:lnTo>
                <a:lnTo>
                  <a:pt x="1417" y="813"/>
                </a:lnTo>
                <a:lnTo>
                  <a:pt x="1410" y="813"/>
                </a:lnTo>
                <a:lnTo>
                  <a:pt x="1407" y="816"/>
                </a:lnTo>
                <a:lnTo>
                  <a:pt x="1410" y="820"/>
                </a:lnTo>
                <a:lnTo>
                  <a:pt x="1407" y="820"/>
                </a:lnTo>
                <a:lnTo>
                  <a:pt x="1403" y="820"/>
                </a:lnTo>
                <a:lnTo>
                  <a:pt x="1400" y="820"/>
                </a:lnTo>
                <a:lnTo>
                  <a:pt x="1396" y="810"/>
                </a:lnTo>
                <a:lnTo>
                  <a:pt x="1393" y="813"/>
                </a:lnTo>
                <a:lnTo>
                  <a:pt x="1389" y="813"/>
                </a:lnTo>
                <a:lnTo>
                  <a:pt x="1393" y="816"/>
                </a:lnTo>
                <a:lnTo>
                  <a:pt x="1389" y="816"/>
                </a:lnTo>
                <a:lnTo>
                  <a:pt x="1386" y="820"/>
                </a:lnTo>
                <a:lnTo>
                  <a:pt x="1382" y="820"/>
                </a:lnTo>
                <a:lnTo>
                  <a:pt x="1382" y="823"/>
                </a:lnTo>
                <a:lnTo>
                  <a:pt x="1379" y="827"/>
                </a:lnTo>
                <a:lnTo>
                  <a:pt x="1375" y="823"/>
                </a:lnTo>
                <a:lnTo>
                  <a:pt x="1372" y="827"/>
                </a:lnTo>
                <a:lnTo>
                  <a:pt x="1368" y="830"/>
                </a:lnTo>
                <a:lnTo>
                  <a:pt x="1365" y="830"/>
                </a:lnTo>
                <a:lnTo>
                  <a:pt x="1362" y="830"/>
                </a:lnTo>
                <a:lnTo>
                  <a:pt x="1358" y="830"/>
                </a:lnTo>
                <a:lnTo>
                  <a:pt x="1355" y="830"/>
                </a:lnTo>
                <a:lnTo>
                  <a:pt x="1351" y="834"/>
                </a:lnTo>
                <a:lnTo>
                  <a:pt x="1348" y="837"/>
                </a:lnTo>
                <a:lnTo>
                  <a:pt x="1351" y="837"/>
                </a:lnTo>
                <a:lnTo>
                  <a:pt x="1355" y="837"/>
                </a:lnTo>
                <a:lnTo>
                  <a:pt x="1355" y="841"/>
                </a:lnTo>
                <a:lnTo>
                  <a:pt x="1351" y="844"/>
                </a:lnTo>
                <a:lnTo>
                  <a:pt x="1348" y="844"/>
                </a:lnTo>
                <a:lnTo>
                  <a:pt x="1348" y="848"/>
                </a:lnTo>
                <a:lnTo>
                  <a:pt x="1344" y="848"/>
                </a:lnTo>
                <a:lnTo>
                  <a:pt x="1341" y="848"/>
                </a:lnTo>
                <a:lnTo>
                  <a:pt x="1337" y="851"/>
                </a:lnTo>
                <a:lnTo>
                  <a:pt x="1334" y="851"/>
                </a:lnTo>
                <a:lnTo>
                  <a:pt x="1337" y="851"/>
                </a:lnTo>
                <a:lnTo>
                  <a:pt x="1337" y="855"/>
                </a:lnTo>
                <a:lnTo>
                  <a:pt x="1334" y="855"/>
                </a:lnTo>
                <a:lnTo>
                  <a:pt x="1334" y="858"/>
                </a:lnTo>
                <a:lnTo>
                  <a:pt x="1330" y="862"/>
                </a:lnTo>
                <a:lnTo>
                  <a:pt x="1327" y="865"/>
                </a:lnTo>
                <a:lnTo>
                  <a:pt x="1323" y="865"/>
                </a:lnTo>
                <a:lnTo>
                  <a:pt x="1320" y="869"/>
                </a:lnTo>
                <a:lnTo>
                  <a:pt x="1316" y="869"/>
                </a:lnTo>
                <a:lnTo>
                  <a:pt x="1313" y="865"/>
                </a:lnTo>
                <a:lnTo>
                  <a:pt x="1313" y="862"/>
                </a:lnTo>
                <a:lnTo>
                  <a:pt x="1316" y="858"/>
                </a:lnTo>
                <a:lnTo>
                  <a:pt x="1313" y="855"/>
                </a:lnTo>
                <a:lnTo>
                  <a:pt x="1309" y="855"/>
                </a:lnTo>
                <a:lnTo>
                  <a:pt x="1306" y="851"/>
                </a:lnTo>
                <a:lnTo>
                  <a:pt x="1302" y="848"/>
                </a:lnTo>
                <a:lnTo>
                  <a:pt x="1299" y="844"/>
                </a:lnTo>
                <a:lnTo>
                  <a:pt x="1296" y="844"/>
                </a:lnTo>
                <a:lnTo>
                  <a:pt x="1292" y="841"/>
                </a:lnTo>
                <a:lnTo>
                  <a:pt x="1289" y="841"/>
                </a:lnTo>
                <a:lnTo>
                  <a:pt x="1289" y="844"/>
                </a:lnTo>
                <a:lnTo>
                  <a:pt x="1289" y="848"/>
                </a:lnTo>
                <a:lnTo>
                  <a:pt x="1285" y="851"/>
                </a:lnTo>
                <a:lnTo>
                  <a:pt x="1282" y="855"/>
                </a:lnTo>
                <a:lnTo>
                  <a:pt x="1282" y="858"/>
                </a:lnTo>
                <a:lnTo>
                  <a:pt x="1282" y="862"/>
                </a:lnTo>
                <a:lnTo>
                  <a:pt x="1282" y="869"/>
                </a:lnTo>
                <a:lnTo>
                  <a:pt x="1282" y="872"/>
                </a:lnTo>
                <a:lnTo>
                  <a:pt x="1282" y="875"/>
                </a:lnTo>
                <a:lnTo>
                  <a:pt x="1285" y="875"/>
                </a:lnTo>
                <a:lnTo>
                  <a:pt x="1285" y="879"/>
                </a:lnTo>
                <a:lnTo>
                  <a:pt x="1282" y="879"/>
                </a:lnTo>
                <a:lnTo>
                  <a:pt x="1278" y="882"/>
                </a:lnTo>
                <a:lnTo>
                  <a:pt x="1275" y="882"/>
                </a:lnTo>
                <a:lnTo>
                  <a:pt x="1275" y="886"/>
                </a:lnTo>
                <a:lnTo>
                  <a:pt x="1285" y="886"/>
                </a:lnTo>
                <a:lnTo>
                  <a:pt x="1282" y="889"/>
                </a:lnTo>
                <a:lnTo>
                  <a:pt x="1285" y="893"/>
                </a:lnTo>
                <a:lnTo>
                  <a:pt x="1285" y="896"/>
                </a:lnTo>
                <a:lnTo>
                  <a:pt x="1289" y="896"/>
                </a:lnTo>
                <a:lnTo>
                  <a:pt x="1292" y="900"/>
                </a:lnTo>
                <a:lnTo>
                  <a:pt x="1292" y="903"/>
                </a:lnTo>
                <a:lnTo>
                  <a:pt x="1289" y="903"/>
                </a:lnTo>
                <a:lnTo>
                  <a:pt x="1289" y="907"/>
                </a:lnTo>
                <a:lnTo>
                  <a:pt x="1292" y="907"/>
                </a:lnTo>
                <a:lnTo>
                  <a:pt x="1289" y="914"/>
                </a:lnTo>
                <a:lnTo>
                  <a:pt x="1289" y="917"/>
                </a:lnTo>
                <a:lnTo>
                  <a:pt x="1289" y="921"/>
                </a:lnTo>
                <a:lnTo>
                  <a:pt x="1289" y="924"/>
                </a:lnTo>
                <a:lnTo>
                  <a:pt x="1285" y="924"/>
                </a:lnTo>
                <a:lnTo>
                  <a:pt x="1285" y="928"/>
                </a:lnTo>
                <a:lnTo>
                  <a:pt x="1282" y="928"/>
                </a:lnTo>
                <a:lnTo>
                  <a:pt x="1282" y="931"/>
                </a:lnTo>
                <a:lnTo>
                  <a:pt x="1278" y="935"/>
                </a:lnTo>
                <a:lnTo>
                  <a:pt x="1278" y="938"/>
                </a:lnTo>
                <a:lnTo>
                  <a:pt x="1275" y="941"/>
                </a:lnTo>
                <a:lnTo>
                  <a:pt x="1271" y="941"/>
                </a:lnTo>
                <a:lnTo>
                  <a:pt x="1275" y="945"/>
                </a:lnTo>
                <a:lnTo>
                  <a:pt x="1278" y="945"/>
                </a:lnTo>
                <a:lnTo>
                  <a:pt x="1282" y="948"/>
                </a:lnTo>
                <a:lnTo>
                  <a:pt x="1282" y="952"/>
                </a:lnTo>
                <a:lnTo>
                  <a:pt x="1285" y="952"/>
                </a:lnTo>
                <a:lnTo>
                  <a:pt x="1285" y="955"/>
                </a:lnTo>
                <a:lnTo>
                  <a:pt x="1285" y="959"/>
                </a:lnTo>
                <a:lnTo>
                  <a:pt x="1285" y="962"/>
                </a:lnTo>
                <a:lnTo>
                  <a:pt x="1289" y="959"/>
                </a:lnTo>
                <a:lnTo>
                  <a:pt x="1299" y="962"/>
                </a:lnTo>
                <a:lnTo>
                  <a:pt x="1302" y="962"/>
                </a:lnTo>
                <a:lnTo>
                  <a:pt x="1299" y="962"/>
                </a:lnTo>
                <a:lnTo>
                  <a:pt x="1299" y="966"/>
                </a:lnTo>
                <a:lnTo>
                  <a:pt x="1296" y="966"/>
                </a:lnTo>
                <a:lnTo>
                  <a:pt x="1292" y="966"/>
                </a:lnTo>
                <a:lnTo>
                  <a:pt x="1292" y="969"/>
                </a:lnTo>
                <a:lnTo>
                  <a:pt x="1296" y="969"/>
                </a:lnTo>
                <a:lnTo>
                  <a:pt x="1296" y="973"/>
                </a:lnTo>
                <a:lnTo>
                  <a:pt x="1299" y="976"/>
                </a:lnTo>
                <a:lnTo>
                  <a:pt x="1302" y="980"/>
                </a:lnTo>
                <a:lnTo>
                  <a:pt x="1302" y="983"/>
                </a:lnTo>
                <a:lnTo>
                  <a:pt x="1306" y="980"/>
                </a:lnTo>
                <a:lnTo>
                  <a:pt x="1313" y="980"/>
                </a:lnTo>
                <a:lnTo>
                  <a:pt x="1313" y="983"/>
                </a:lnTo>
                <a:lnTo>
                  <a:pt x="1313" y="987"/>
                </a:lnTo>
                <a:lnTo>
                  <a:pt x="1302" y="990"/>
                </a:lnTo>
                <a:lnTo>
                  <a:pt x="1299" y="990"/>
                </a:lnTo>
                <a:lnTo>
                  <a:pt x="1296" y="994"/>
                </a:lnTo>
                <a:lnTo>
                  <a:pt x="1299" y="994"/>
                </a:lnTo>
                <a:lnTo>
                  <a:pt x="1302" y="994"/>
                </a:lnTo>
                <a:lnTo>
                  <a:pt x="1306" y="994"/>
                </a:lnTo>
                <a:lnTo>
                  <a:pt x="1313" y="987"/>
                </a:lnTo>
                <a:lnTo>
                  <a:pt x="1320" y="987"/>
                </a:lnTo>
                <a:lnTo>
                  <a:pt x="1323" y="987"/>
                </a:lnTo>
                <a:lnTo>
                  <a:pt x="1327" y="987"/>
                </a:lnTo>
                <a:lnTo>
                  <a:pt x="1330" y="987"/>
                </a:lnTo>
                <a:lnTo>
                  <a:pt x="1334" y="987"/>
                </a:lnTo>
                <a:lnTo>
                  <a:pt x="1334" y="983"/>
                </a:lnTo>
                <a:lnTo>
                  <a:pt x="1337" y="983"/>
                </a:lnTo>
                <a:lnTo>
                  <a:pt x="1341" y="983"/>
                </a:lnTo>
                <a:lnTo>
                  <a:pt x="1344" y="987"/>
                </a:lnTo>
                <a:lnTo>
                  <a:pt x="1348" y="987"/>
                </a:lnTo>
                <a:lnTo>
                  <a:pt x="1351" y="987"/>
                </a:lnTo>
                <a:lnTo>
                  <a:pt x="1358" y="990"/>
                </a:lnTo>
                <a:lnTo>
                  <a:pt x="1358" y="994"/>
                </a:lnTo>
                <a:lnTo>
                  <a:pt x="1362" y="997"/>
                </a:lnTo>
                <a:lnTo>
                  <a:pt x="1365" y="997"/>
                </a:lnTo>
                <a:lnTo>
                  <a:pt x="1365" y="1001"/>
                </a:lnTo>
                <a:lnTo>
                  <a:pt x="1368" y="1001"/>
                </a:lnTo>
                <a:lnTo>
                  <a:pt x="1368" y="997"/>
                </a:lnTo>
                <a:lnTo>
                  <a:pt x="1368" y="994"/>
                </a:lnTo>
                <a:lnTo>
                  <a:pt x="1372" y="994"/>
                </a:lnTo>
                <a:lnTo>
                  <a:pt x="1375" y="990"/>
                </a:lnTo>
                <a:lnTo>
                  <a:pt x="1375" y="987"/>
                </a:lnTo>
                <a:lnTo>
                  <a:pt x="1375" y="983"/>
                </a:lnTo>
                <a:lnTo>
                  <a:pt x="1379" y="980"/>
                </a:lnTo>
                <a:lnTo>
                  <a:pt x="1382" y="980"/>
                </a:lnTo>
                <a:lnTo>
                  <a:pt x="1393" y="983"/>
                </a:lnTo>
                <a:lnTo>
                  <a:pt x="1396" y="987"/>
                </a:lnTo>
                <a:lnTo>
                  <a:pt x="1400" y="987"/>
                </a:lnTo>
                <a:lnTo>
                  <a:pt x="1403" y="990"/>
                </a:lnTo>
                <a:lnTo>
                  <a:pt x="1407" y="990"/>
                </a:lnTo>
                <a:lnTo>
                  <a:pt x="1410" y="990"/>
                </a:lnTo>
                <a:lnTo>
                  <a:pt x="1414" y="990"/>
                </a:lnTo>
                <a:lnTo>
                  <a:pt x="1421" y="994"/>
                </a:lnTo>
                <a:lnTo>
                  <a:pt x="1424" y="994"/>
                </a:lnTo>
                <a:lnTo>
                  <a:pt x="1427" y="994"/>
                </a:lnTo>
                <a:lnTo>
                  <a:pt x="1431" y="997"/>
                </a:lnTo>
                <a:lnTo>
                  <a:pt x="1434" y="997"/>
                </a:lnTo>
                <a:lnTo>
                  <a:pt x="1438" y="997"/>
                </a:lnTo>
                <a:lnTo>
                  <a:pt x="1438" y="1001"/>
                </a:lnTo>
                <a:lnTo>
                  <a:pt x="1441" y="1001"/>
                </a:lnTo>
                <a:lnTo>
                  <a:pt x="1441" y="997"/>
                </a:lnTo>
                <a:lnTo>
                  <a:pt x="1445" y="997"/>
                </a:lnTo>
                <a:lnTo>
                  <a:pt x="1448" y="997"/>
                </a:lnTo>
                <a:lnTo>
                  <a:pt x="1452" y="997"/>
                </a:lnTo>
                <a:lnTo>
                  <a:pt x="1455" y="997"/>
                </a:lnTo>
                <a:lnTo>
                  <a:pt x="1459" y="1001"/>
                </a:lnTo>
                <a:lnTo>
                  <a:pt x="1459" y="994"/>
                </a:lnTo>
                <a:lnTo>
                  <a:pt x="1459" y="987"/>
                </a:lnTo>
                <a:lnTo>
                  <a:pt x="1455" y="987"/>
                </a:lnTo>
                <a:lnTo>
                  <a:pt x="1459" y="980"/>
                </a:lnTo>
                <a:lnTo>
                  <a:pt x="1462" y="980"/>
                </a:lnTo>
                <a:lnTo>
                  <a:pt x="1466" y="980"/>
                </a:lnTo>
                <a:lnTo>
                  <a:pt x="1469" y="980"/>
                </a:lnTo>
                <a:lnTo>
                  <a:pt x="1473" y="980"/>
                </a:lnTo>
                <a:lnTo>
                  <a:pt x="1476" y="976"/>
                </a:lnTo>
                <a:lnTo>
                  <a:pt x="1476" y="973"/>
                </a:lnTo>
                <a:lnTo>
                  <a:pt x="1480" y="973"/>
                </a:lnTo>
                <a:lnTo>
                  <a:pt x="1483" y="969"/>
                </a:lnTo>
                <a:lnTo>
                  <a:pt x="1480" y="969"/>
                </a:lnTo>
                <a:lnTo>
                  <a:pt x="1483" y="969"/>
                </a:lnTo>
                <a:lnTo>
                  <a:pt x="1487" y="966"/>
                </a:lnTo>
                <a:lnTo>
                  <a:pt x="1487" y="962"/>
                </a:lnTo>
                <a:lnTo>
                  <a:pt x="1490" y="962"/>
                </a:lnTo>
                <a:lnTo>
                  <a:pt x="1490" y="959"/>
                </a:lnTo>
                <a:lnTo>
                  <a:pt x="1493" y="959"/>
                </a:lnTo>
                <a:lnTo>
                  <a:pt x="1497" y="959"/>
                </a:lnTo>
                <a:lnTo>
                  <a:pt x="1500" y="959"/>
                </a:lnTo>
                <a:lnTo>
                  <a:pt x="1500" y="955"/>
                </a:lnTo>
                <a:lnTo>
                  <a:pt x="1504" y="959"/>
                </a:lnTo>
                <a:lnTo>
                  <a:pt x="1507" y="959"/>
                </a:lnTo>
                <a:lnTo>
                  <a:pt x="1511" y="959"/>
                </a:lnTo>
                <a:lnTo>
                  <a:pt x="1514" y="955"/>
                </a:lnTo>
                <a:lnTo>
                  <a:pt x="1518" y="955"/>
                </a:lnTo>
                <a:lnTo>
                  <a:pt x="1525" y="962"/>
                </a:lnTo>
                <a:lnTo>
                  <a:pt x="1532" y="966"/>
                </a:lnTo>
                <a:lnTo>
                  <a:pt x="1535" y="969"/>
                </a:lnTo>
                <a:lnTo>
                  <a:pt x="1535" y="973"/>
                </a:lnTo>
                <a:lnTo>
                  <a:pt x="1539" y="973"/>
                </a:lnTo>
                <a:lnTo>
                  <a:pt x="1552" y="980"/>
                </a:lnTo>
                <a:lnTo>
                  <a:pt x="1563" y="980"/>
                </a:lnTo>
                <a:lnTo>
                  <a:pt x="1563" y="976"/>
                </a:lnTo>
                <a:lnTo>
                  <a:pt x="1563" y="973"/>
                </a:lnTo>
                <a:lnTo>
                  <a:pt x="1563" y="962"/>
                </a:lnTo>
                <a:lnTo>
                  <a:pt x="1559" y="959"/>
                </a:lnTo>
                <a:lnTo>
                  <a:pt x="1563" y="955"/>
                </a:lnTo>
                <a:lnTo>
                  <a:pt x="1563" y="952"/>
                </a:lnTo>
                <a:lnTo>
                  <a:pt x="1559" y="952"/>
                </a:lnTo>
                <a:lnTo>
                  <a:pt x="1556" y="952"/>
                </a:lnTo>
                <a:lnTo>
                  <a:pt x="1552" y="952"/>
                </a:lnTo>
                <a:lnTo>
                  <a:pt x="1552" y="955"/>
                </a:lnTo>
                <a:lnTo>
                  <a:pt x="1549" y="948"/>
                </a:lnTo>
                <a:lnTo>
                  <a:pt x="1546" y="948"/>
                </a:lnTo>
                <a:lnTo>
                  <a:pt x="1546" y="952"/>
                </a:lnTo>
                <a:lnTo>
                  <a:pt x="1549" y="952"/>
                </a:lnTo>
                <a:lnTo>
                  <a:pt x="1546" y="952"/>
                </a:lnTo>
                <a:lnTo>
                  <a:pt x="1542" y="948"/>
                </a:lnTo>
                <a:lnTo>
                  <a:pt x="1542" y="941"/>
                </a:lnTo>
                <a:lnTo>
                  <a:pt x="1542" y="935"/>
                </a:lnTo>
                <a:lnTo>
                  <a:pt x="1539" y="935"/>
                </a:lnTo>
                <a:lnTo>
                  <a:pt x="1535" y="935"/>
                </a:lnTo>
                <a:lnTo>
                  <a:pt x="1535" y="938"/>
                </a:lnTo>
                <a:lnTo>
                  <a:pt x="1539" y="938"/>
                </a:lnTo>
                <a:lnTo>
                  <a:pt x="1539" y="941"/>
                </a:lnTo>
                <a:lnTo>
                  <a:pt x="1535" y="941"/>
                </a:lnTo>
                <a:lnTo>
                  <a:pt x="1532" y="941"/>
                </a:lnTo>
                <a:lnTo>
                  <a:pt x="1532" y="938"/>
                </a:lnTo>
                <a:lnTo>
                  <a:pt x="1532" y="935"/>
                </a:lnTo>
                <a:lnTo>
                  <a:pt x="1535" y="931"/>
                </a:lnTo>
                <a:lnTo>
                  <a:pt x="1535" y="928"/>
                </a:lnTo>
                <a:lnTo>
                  <a:pt x="1535" y="924"/>
                </a:lnTo>
                <a:lnTo>
                  <a:pt x="1535" y="921"/>
                </a:lnTo>
                <a:lnTo>
                  <a:pt x="1535" y="917"/>
                </a:lnTo>
                <a:lnTo>
                  <a:pt x="1535" y="914"/>
                </a:lnTo>
                <a:lnTo>
                  <a:pt x="1532" y="910"/>
                </a:lnTo>
                <a:lnTo>
                  <a:pt x="1535" y="907"/>
                </a:lnTo>
                <a:lnTo>
                  <a:pt x="1535" y="900"/>
                </a:lnTo>
                <a:lnTo>
                  <a:pt x="1539" y="896"/>
                </a:lnTo>
                <a:lnTo>
                  <a:pt x="1542" y="889"/>
                </a:lnTo>
                <a:lnTo>
                  <a:pt x="1542" y="882"/>
                </a:lnTo>
                <a:lnTo>
                  <a:pt x="1546" y="869"/>
                </a:lnTo>
                <a:lnTo>
                  <a:pt x="1542" y="865"/>
                </a:lnTo>
                <a:lnTo>
                  <a:pt x="1535" y="865"/>
                </a:lnTo>
                <a:lnTo>
                  <a:pt x="1535" y="855"/>
                </a:lnTo>
                <a:lnTo>
                  <a:pt x="1539" y="851"/>
                </a:lnTo>
                <a:lnTo>
                  <a:pt x="1542" y="841"/>
                </a:lnTo>
                <a:lnTo>
                  <a:pt x="1535" y="841"/>
                </a:lnTo>
                <a:lnTo>
                  <a:pt x="1532" y="841"/>
                </a:lnTo>
                <a:lnTo>
                  <a:pt x="1528" y="841"/>
                </a:lnTo>
                <a:lnTo>
                  <a:pt x="1521" y="841"/>
                </a:lnTo>
                <a:lnTo>
                  <a:pt x="1521" y="837"/>
                </a:lnTo>
                <a:lnTo>
                  <a:pt x="1514" y="837"/>
                </a:lnTo>
                <a:lnTo>
                  <a:pt x="1518" y="834"/>
                </a:lnTo>
                <a:lnTo>
                  <a:pt x="1514" y="830"/>
                </a:lnTo>
                <a:lnTo>
                  <a:pt x="1511" y="830"/>
                </a:lnTo>
                <a:lnTo>
                  <a:pt x="1514" y="827"/>
                </a:lnTo>
                <a:lnTo>
                  <a:pt x="1514" y="820"/>
                </a:lnTo>
                <a:lnTo>
                  <a:pt x="1518" y="816"/>
                </a:lnTo>
                <a:lnTo>
                  <a:pt x="1514" y="816"/>
                </a:lnTo>
                <a:lnTo>
                  <a:pt x="1514" y="813"/>
                </a:lnTo>
                <a:lnTo>
                  <a:pt x="1511" y="813"/>
                </a:lnTo>
                <a:lnTo>
                  <a:pt x="1507" y="810"/>
                </a:lnTo>
                <a:lnTo>
                  <a:pt x="1504" y="810"/>
                </a:lnTo>
                <a:lnTo>
                  <a:pt x="1493" y="806"/>
                </a:lnTo>
                <a:lnTo>
                  <a:pt x="1493" y="813"/>
                </a:lnTo>
                <a:lnTo>
                  <a:pt x="1493" y="816"/>
                </a:lnTo>
                <a:lnTo>
                  <a:pt x="1493" y="823"/>
                </a:lnTo>
                <a:lnTo>
                  <a:pt x="1493" y="827"/>
                </a:lnTo>
                <a:lnTo>
                  <a:pt x="1493" y="830"/>
                </a:lnTo>
                <a:lnTo>
                  <a:pt x="1487" y="827"/>
                </a:lnTo>
                <a:lnTo>
                  <a:pt x="1483" y="823"/>
                </a:lnTo>
                <a:lnTo>
                  <a:pt x="1480" y="823"/>
                </a:lnTo>
                <a:lnTo>
                  <a:pt x="1480" y="820"/>
                </a:lnTo>
                <a:lnTo>
                  <a:pt x="1473" y="816"/>
                </a:lnTo>
                <a:lnTo>
                  <a:pt x="1466" y="813"/>
                </a:lnTo>
                <a:lnTo>
                  <a:pt x="1462" y="810"/>
                </a:lnTo>
                <a:lnTo>
                  <a:pt x="1462" y="796"/>
                </a:lnTo>
                <a:lnTo>
                  <a:pt x="1462" y="789"/>
                </a:lnTo>
                <a:lnTo>
                  <a:pt x="1462" y="782"/>
                </a:lnTo>
                <a:lnTo>
                  <a:pt x="1459" y="782"/>
                </a:lnTo>
                <a:lnTo>
                  <a:pt x="1452" y="778"/>
                </a:lnTo>
                <a:lnTo>
                  <a:pt x="1452" y="775"/>
                </a:lnTo>
                <a:lnTo>
                  <a:pt x="1448" y="775"/>
                </a:lnTo>
                <a:lnTo>
                  <a:pt x="1445" y="775"/>
                </a:lnTo>
                <a:lnTo>
                  <a:pt x="1434" y="778"/>
                </a:lnTo>
                <a:lnTo>
                  <a:pt x="1434" y="782"/>
                </a:lnTo>
                <a:lnTo>
                  <a:pt x="1427" y="778"/>
                </a:lnTo>
                <a:lnTo>
                  <a:pt x="1431" y="778"/>
                </a:lnTo>
                <a:lnTo>
                  <a:pt x="1427" y="775"/>
                </a:lnTo>
                <a:close/>
              </a:path>
            </a:pathLst>
          </a:custGeom>
          <a:solidFill>
            <a:srgbClr val="E6E6E6"/>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170" name="Freeform 15">
            <a:extLst>
              <a:ext uri="{FF2B5EF4-FFF2-40B4-BE49-F238E27FC236}">
                <a16:creationId xmlns:a16="http://schemas.microsoft.com/office/drawing/2014/main" id="{6E9AC05F-4031-4A3E-90F8-005583D6CE2E}"/>
              </a:ext>
            </a:extLst>
          </p:cNvPr>
          <p:cNvSpPr>
            <a:spLocks/>
          </p:cNvSpPr>
          <p:nvPr/>
        </p:nvSpPr>
        <p:spPr bwMode="gray">
          <a:xfrm>
            <a:off x="9343873" y="2978442"/>
            <a:ext cx="1362044" cy="2356365"/>
          </a:xfrm>
          <a:custGeom>
            <a:avLst/>
            <a:gdLst>
              <a:gd name="T0" fmla="*/ 830 w 854"/>
              <a:gd name="T1" fmla="*/ 107 h 1399"/>
              <a:gd name="T2" fmla="*/ 812 w 854"/>
              <a:gd name="T3" fmla="*/ 191 h 1399"/>
              <a:gd name="T4" fmla="*/ 791 w 854"/>
              <a:gd name="T5" fmla="*/ 340 h 1399"/>
              <a:gd name="T6" fmla="*/ 646 w 854"/>
              <a:gd name="T7" fmla="*/ 472 h 1399"/>
              <a:gd name="T8" fmla="*/ 531 w 854"/>
              <a:gd name="T9" fmla="*/ 420 h 1399"/>
              <a:gd name="T10" fmla="*/ 441 w 854"/>
              <a:gd name="T11" fmla="*/ 395 h 1399"/>
              <a:gd name="T12" fmla="*/ 392 w 854"/>
              <a:gd name="T13" fmla="*/ 447 h 1399"/>
              <a:gd name="T14" fmla="*/ 337 w 854"/>
              <a:gd name="T15" fmla="*/ 461 h 1399"/>
              <a:gd name="T16" fmla="*/ 351 w 854"/>
              <a:gd name="T17" fmla="*/ 510 h 1399"/>
              <a:gd name="T18" fmla="*/ 441 w 854"/>
              <a:gd name="T19" fmla="*/ 548 h 1399"/>
              <a:gd name="T20" fmla="*/ 489 w 854"/>
              <a:gd name="T21" fmla="*/ 600 h 1399"/>
              <a:gd name="T22" fmla="*/ 514 w 854"/>
              <a:gd name="T23" fmla="*/ 656 h 1399"/>
              <a:gd name="T24" fmla="*/ 489 w 854"/>
              <a:gd name="T25" fmla="*/ 725 h 1399"/>
              <a:gd name="T26" fmla="*/ 434 w 854"/>
              <a:gd name="T27" fmla="*/ 763 h 1399"/>
              <a:gd name="T28" fmla="*/ 378 w 854"/>
              <a:gd name="T29" fmla="*/ 784 h 1399"/>
              <a:gd name="T30" fmla="*/ 337 w 854"/>
              <a:gd name="T31" fmla="*/ 770 h 1399"/>
              <a:gd name="T32" fmla="*/ 326 w 854"/>
              <a:gd name="T33" fmla="*/ 833 h 1399"/>
              <a:gd name="T34" fmla="*/ 357 w 854"/>
              <a:gd name="T35" fmla="*/ 916 h 1399"/>
              <a:gd name="T36" fmla="*/ 319 w 854"/>
              <a:gd name="T37" fmla="*/ 989 h 1399"/>
              <a:gd name="T38" fmla="*/ 340 w 854"/>
              <a:gd name="T39" fmla="*/ 1038 h 1399"/>
              <a:gd name="T40" fmla="*/ 368 w 854"/>
              <a:gd name="T41" fmla="*/ 1083 h 1399"/>
              <a:gd name="T42" fmla="*/ 361 w 854"/>
              <a:gd name="T43" fmla="*/ 1142 h 1399"/>
              <a:gd name="T44" fmla="*/ 330 w 854"/>
              <a:gd name="T45" fmla="*/ 1180 h 1399"/>
              <a:gd name="T46" fmla="*/ 375 w 854"/>
              <a:gd name="T47" fmla="*/ 1215 h 1399"/>
              <a:gd name="T48" fmla="*/ 319 w 854"/>
              <a:gd name="T49" fmla="*/ 1225 h 1399"/>
              <a:gd name="T50" fmla="*/ 257 w 854"/>
              <a:gd name="T51" fmla="*/ 1215 h 1399"/>
              <a:gd name="T52" fmla="*/ 208 w 854"/>
              <a:gd name="T53" fmla="*/ 1229 h 1399"/>
              <a:gd name="T54" fmla="*/ 166 w 854"/>
              <a:gd name="T55" fmla="*/ 1284 h 1399"/>
              <a:gd name="T56" fmla="*/ 121 w 854"/>
              <a:gd name="T57" fmla="*/ 1319 h 1399"/>
              <a:gd name="T58" fmla="*/ 73 w 854"/>
              <a:gd name="T59" fmla="*/ 1368 h 1399"/>
              <a:gd name="T60" fmla="*/ 28 w 854"/>
              <a:gd name="T61" fmla="*/ 1396 h 1399"/>
              <a:gd name="T62" fmla="*/ 7 w 854"/>
              <a:gd name="T63" fmla="*/ 1371 h 1399"/>
              <a:gd name="T64" fmla="*/ 52 w 854"/>
              <a:gd name="T65" fmla="*/ 1295 h 1399"/>
              <a:gd name="T66" fmla="*/ 94 w 854"/>
              <a:gd name="T67" fmla="*/ 1229 h 1399"/>
              <a:gd name="T68" fmla="*/ 104 w 854"/>
              <a:gd name="T69" fmla="*/ 1211 h 1399"/>
              <a:gd name="T70" fmla="*/ 87 w 854"/>
              <a:gd name="T71" fmla="*/ 1180 h 1399"/>
              <a:gd name="T72" fmla="*/ 69 w 854"/>
              <a:gd name="T73" fmla="*/ 1135 h 1399"/>
              <a:gd name="T74" fmla="*/ 80 w 854"/>
              <a:gd name="T75" fmla="*/ 1093 h 1399"/>
              <a:gd name="T76" fmla="*/ 83 w 854"/>
              <a:gd name="T77" fmla="*/ 1041 h 1399"/>
              <a:gd name="T78" fmla="*/ 69 w 854"/>
              <a:gd name="T79" fmla="*/ 1003 h 1399"/>
              <a:gd name="T80" fmla="*/ 62 w 854"/>
              <a:gd name="T81" fmla="*/ 948 h 1399"/>
              <a:gd name="T82" fmla="*/ 52 w 854"/>
              <a:gd name="T83" fmla="*/ 902 h 1399"/>
              <a:gd name="T84" fmla="*/ 38 w 854"/>
              <a:gd name="T85" fmla="*/ 868 h 1399"/>
              <a:gd name="T86" fmla="*/ 24 w 854"/>
              <a:gd name="T87" fmla="*/ 829 h 1399"/>
              <a:gd name="T88" fmla="*/ 73 w 854"/>
              <a:gd name="T89" fmla="*/ 777 h 1399"/>
              <a:gd name="T90" fmla="*/ 149 w 854"/>
              <a:gd name="T91" fmla="*/ 760 h 1399"/>
              <a:gd name="T92" fmla="*/ 226 w 854"/>
              <a:gd name="T93" fmla="*/ 704 h 1399"/>
              <a:gd name="T94" fmla="*/ 236 w 854"/>
              <a:gd name="T95" fmla="*/ 632 h 1399"/>
              <a:gd name="T96" fmla="*/ 250 w 854"/>
              <a:gd name="T97" fmla="*/ 566 h 1399"/>
              <a:gd name="T98" fmla="*/ 264 w 854"/>
              <a:gd name="T99" fmla="*/ 482 h 1399"/>
              <a:gd name="T100" fmla="*/ 219 w 854"/>
              <a:gd name="T101" fmla="*/ 381 h 1399"/>
              <a:gd name="T102" fmla="*/ 253 w 854"/>
              <a:gd name="T103" fmla="*/ 347 h 1399"/>
              <a:gd name="T104" fmla="*/ 274 w 854"/>
              <a:gd name="T105" fmla="*/ 274 h 1399"/>
              <a:gd name="T106" fmla="*/ 316 w 854"/>
              <a:gd name="T107" fmla="*/ 229 h 1399"/>
              <a:gd name="T108" fmla="*/ 361 w 854"/>
              <a:gd name="T109" fmla="*/ 194 h 1399"/>
              <a:gd name="T110" fmla="*/ 403 w 854"/>
              <a:gd name="T111" fmla="*/ 222 h 1399"/>
              <a:gd name="T112" fmla="*/ 479 w 854"/>
              <a:gd name="T113" fmla="*/ 187 h 1399"/>
              <a:gd name="T114" fmla="*/ 541 w 854"/>
              <a:gd name="T115" fmla="*/ 118 h 1399"/>
              <a:gd name="T116" fmla="*/ 594 w 854"/>
              <a:gd name="T117" fmla="*/ 100 h 1399"/>
              <a:gd name="T118" fmla="*/ 635 w 854"/>
              <a:gd name="T119" fmla="*/ 62 h 1399"/>
              <a:gd name="T120" fmla="*/ 684 w 854"/>
              <a:gd name="T121" fmla="*/ 76 h 1399"/>
              <a:gd name="T122" fmla="*/ 743 w 854"/>
              <a:gd name="T123" fmla="*/ 62 h 1399"/>
              <a:gd name="T124" fmla="*/ 781 w 854"/>
              <a:gd name="T125" fmla="*/ 6 h 1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54" h="1399">
                <a:moveTo>
                  <a:pt x="785" y="0"/>
                </a:moveTo>
                <a:lnTo>
                  <a:pt x="791" y="3"/>
                </a:lnTo>
                <a:lnTo>
                  <a:pt x="795" y="3"/>
                </a:lnTo>
                <a:lnTo>
                  <a:pt x="791" y="10"/>
                </a:lnTo>
                <a:lnTo>
                  <a:pt x="795" y="10"/>
                </a:lnTo>
                <a:lnTo>
                  <a:pt x="795" y="13"/>
                </a:lnTo>
                <a:lnTo>
                  <a:pt x="798" y="17"/>
                </a:lnTo>
                <a:lnTo>
                  <a:pt x="805" y="20"/>
                </a:lnTo>
                <a:lnTo>
                  <a:pt x="802" y="24"/>
                </a:lnTo>
                <a:lnTo>
                  <a:pt x="805" y="31"/>
                </a:lnTo>
                <a:lnTo>
                  <a:pt x="802" y="31"/>
                </a:lnTo>
                <a:lnTo>
                  <a:pt x="791" y="38"/>
                </a:lnTo>
                <a:lnTo>
                  <a:pt x="788" y="41"/>
                </a:lnTo>
                <a:lnTo>
                  <a:pt x="795" y="45"/>
                </a:lnTo>
                <a:lnTo>
                  <a:pt x="791" y="52"/>
                </a:lnTo>
                <a:lnTo>
                  <a:pt x="802" y="59"/>
                </a:lnTo>
                <a:lnTo>
                  <a:pt x="788" y="69"/>
                </a:lnTo>
                <a:lnTo>
                  <a:pt x="798" y="76"/>
                </a:lnTo>
                <a:lnTo>
                  <a:pt x="802" y="79"/>
                </a:lnTo>
                <a:lnTo>
                  <a:pt x="791" y="90"/>
                </a:lnTo>
                <a:lnTo>
                  <a:pt x="785" y="97"/>
                </a:lnTo>
                <a:lnTo>
                  <a:pt x="791" y="100"/>
                </a:lnTo>
                <a:lnTo>
                  <a:pt x="798" y="104"/>
                </a:lnTo>
                <a:lnTo>
                  <a:pt x="802" y="107"/>
                </a:lnTo>
                <a:lnTo>
                  <a:pt x="819" y="97"/>
                </a:lnTo>
                <a:lnTo>
                  <a:pt x="823" y="97"/>
                </a:lnTo>
                <a:lnTo>
                  <a:pt x="830" y="107"/>
                </a:lnTo>
                <a:lnTo>
                  <a:pt x="833" y="104"/>
                </a:lnTo>
                <a:lnTo>
                  <a:pt x="837" y="104"/>
                </a:lnTo>
                <a:lnTo>
                  <a:pt x="840" y="107"/>
                </a:lnTo>
                <a:lnTo>
                  <a:pt x="844" y="107"/>
                </a:lnTo>
                <a:lnTo>
                  <a:pt x="847" y="114"/>
                </a:lnTo>
                <a:lnTo>
                  <a:pt x="854" y="125"/>
                </a:lnTo>
                <a:lnTo>
                  <a:pt x="850" y="125"/>
                </a:lnTo>
                <a:lnTo>
                  <a:pt x="847" y="128"/>
                </a:lnTo>
                <a:lnTo>
                  <a:pt x="844" y="131"/>
                </a:lnTo>
                <a:lnTo>
                  <a:pt x="837" y="135"/>
                </a:lnTo>
                <a:lnTo>
                  <a:pt x="837" y="138"/>
                </a:lnTo>
                <a:lnTo>
                  <a:pt x="833" y="142"/>
                </a:lnTo>
                <a:lnTo>
                  <a:pt x="830" y="145"/>
                </a:lnTo>
                <a:lnTo>
                  <a:pt x="826" y="145"/>
                </a:lnTo>
                <a:lnTo>
                  <a:pt x="823" y="149"/>
                </a:lnTo>
                <a:lnTo>
                  <a:pt x="819" y="152"/>
                </a:lnTo>
                <a:lnTo>
                  <a:pt x="812" y="156"/>
                </a:lnTo>
                <a:lnTo>
                  <a:pt x="809" y="163"/>
                </a:lnTo>
                <a:lnTo>
                  <a:pt x="812" y="166"/>
                </a:lnTo>
                <a:lnTo>
                  <a:pt x="816" y="166"/>
                </a:lnTo>
                <a:lnTo>
                  <a:pt x="816" y="170"/>
                </a:lnTo>
                <a:lnTo>
                  <a:pt x="819" y="170"/>
                </a:lnTo>
                <a:lnTo>
                  <a:pt x="823" y="170"/>
                </a:lnTo>
                <a:lnTo>
                  <a:pt x="823" y="173"/>
                </a:lnTo>
                <a:lnTo>
                  <a:pt x="816" y="184"/>
                </a:lnTo>
                <a:lnTo>
                  <a:pt x="816" y="187"/>
                </a:lnTo>
                <a:lnTo>
                  <a:pt x="812" y="191"/>
                </a:lnTo>
                <a:lnTo>
                  <a:pt x="812" y="194"/>
                </a:lnTo>
                <a:lnTo>
                  <a:pt x="809" y="197"/>
                </a:lnTo>
                <a:lnTo>
                  <a:pt x="805" y="201"/>
                </a:lnTo>
                <a:lnTo>
                  <a:pt x="809" y="204"/>
                </a:lnTo>
                <a:lnTo>
                  <a:pt x="819" y="208"/>
                </a:lnTo>
                <a:lnTo>
                  <a:pt x="819" y="211"/>
                </a:lnTo>
                <a:lnTo>
                  <a:pt x="816" y="222"/>
                </a:lnTo>
                <a:lnTo>
                  <a:pt x="812" y="229"/>
                </a:lnTo>
                <a:lnTo>
                  <a:pt x="809" y="232"/>
                </a:lnTo>
                <a:lnTo>
                  <a:pt x="809" y="236"/>
                </a:lnTo>
                <a:lnTo>
                  <a:pt x="812" y="239"/>
                </a:lnTo>
                <a:lnTo>
                  <a:pt x="798" y="267"/>
                </a:lnTo>
                <a:lnTo>
                  <a:pt x="795" y="267"/>
                </a:lnTo>
                <a:lnTo>
                  <a:pt x="795" y="263"/>
                </a:lnTo>
                <a:lnTo>
                  <a:pt x="785" y="267"/>
                </a:lnTo>
                <a:lnTo>
                  <a:pt x="774" y="270"/>
                </a:lnTo>
                <a:lnTo>
                  <a:pt x="774" y="274"/>
                </a:lnTo>
                <a:lnTo>
                  <a:pt x="767" y="277"/>
                </a:lnTo>
                <a:lnTo>
                  <a:pt x="750" y="274"/>
                </a:lnTo>
                <a:lnTo>
                  <a:pt x="743" y="284"/>
                </a:lnTo>
                <a:lnTo>
                  <a:pt x="774" y="309"/>
                </a:lnTo>
                <a:lnTo>
                  <a:pt x="771" y="312"/>
                </a:lnTo>
                <a:lnTo>
                  <a:pt x="774" y="316"/>
                </a:lnTo>
                <a:lnTo>
                  <a:pt x="771" y="319"/>
                </a:lnTo>
                <a:lnTo>
                  <a:pt x="781" y="326"/>
                </a:lnTo>
                <a:lnTo>
                  <a:pt x="788" y="333"/>
                </a:lnTo>
                <a:lnTo>
                  <a:pt x="791" y="340"/>
                </a:lnTo>
                <a:lnTo>
                  <a:pt x="788" y="340"/>
                </a:lnTo>
                <a:lnTo>
                  <a:pt x="781" y="347"/>
                </a:lnTo>
                <a:lnTo>
                  <a:pt x="778" y="350"/>
                </a:lnTo>
                <a:lnTo>
                  <a:pt x="774" y="357"/>
                </a:lnTo>
                <a:lnTo>
                  <a:pt x="781" y="364"/>
                </a:lnTo>
                <a:lnTo>
                  <a:pt x="781" y="375"/>
                </a:lnTo>
                <a:lnTo>
                  <a:pt x="785" y="375"/>
                </a:lnTo>
                <a:lnTo>
                  <a:pt x="785" y="385"/>
                </a:lnTo>
                <a:lnTo>
                  <a:pt x="788" y="395"/>
                </a:lnTo>
                <a:lnTo>
                  <a:pt x="788" y="402"/>
                </a:lnTo>
                <a:lnTo>
                  <a:pt x="788" y="427"/>
                </a:lnTo>
                <a:lnTo>
                  <a:pt x="805" y="447"/>
                </a:lnTo>
                <a:lnTo>
                  <a:pt x="809" y="451"/>
                </a:lnTo>
                <a:lnTo>
                  <a:pt x="788" y="451"/>
                </a:lnTo>
                <a:lnTo>
                  <a:pt x="774" y="454"/>
                </a:lnTo>
                <a:lnTo>
                  <a:pt x="771" y="454"/>
                </a:lnTo>
                <a:lnTo>
                  <a:pt x="764" y="454"/>
                </a:lnTo>
                <a:lnTo>
                  <a:pt x="757" y="458"/>
                </a:lnTo>
                <a:lnTo>
                  <a:pt x="739" y="461"/>
                </a:lnTo>
                <a:lnTo>
                  <a:pt x="722" y="465"/>
                </a:lnTo>
                <a:lnTo>
                  <a:pt x="708" y="468"/>
                </a:lnTo>
                <a:lnTo>
                  <a:pt x="705" y="468"/>
                </a:lnTo>
                <a:lnTo>
                  <a:pt x="691" y="468"/>
                </a:lnTo>
                <a:lnTo>
                  <a:pt x="677" y="472"/>
                </a:lnTo>
                <a:lnTo>
                  <a:pt x="673" y="472"/>
                </a:lnTo>
                <a:lnTo>
                  <a:pt x="653" y="472"/>
                </a:lnTo>
                <a:lnTo>
                  <a:pt x="646" y="472"/>
                </a:lnTo>
                <a:lnTo>
                  <a:pt x="642" y="468"/>
                </a:lnTo>
                <a:lnTo>
                  <a:pt x="642" y="437"/>
                </a:lnTo>
                <a:lnTo>
                  <a:pt x="639" y="437"/>
                </a:lnTo>
                <a:lnTo>
                  <a:pt x="635" y="441"/>
                </a:lnTo>
                <a:lnTo>
                  <a:pt x="632" y="444"/>
                </a:lnTo>
                <a:lnTo>
                  <a:pt x="632" y="447"/>
                </a:lnTo>
                <a:lnTo>
                  <a:pt x="628" y="447"/>
                </a:lnTo>
                <a:lnTo>
                  <a:pt x="625" y="447"/>
                </a:lnTo>
                <a:lnTo>
                  <a:pt x="621" y="451"/>
                </a:lnTo>
                <a:lnTo>
                  <a:pt x="618" y="454"/>
                </a:lnTo>
                <a:lnTo>
                  <a:pt x="618" y="461"/>
                </a:lnTo>
                <a:lnTo>
                  <a:pt x="614" y="468"/>
                </a:lnTo>
                <a:lnTo>
                  <a:pt x="614" y="472"/>
                </a:lnTo>
                <a:lnTo>
                  <a:pt x="611" y="475"/>
                </a:lnTo>
                <a:lnTo>
                  <a:pt x="611" y="479"/>
                </a:lnTo>
                <a:lnTo>
                  <a:pt x="601" y="479"/>
                </a:lnTo>
                <a:lnTo>
                  <a:pt x="580" y="479"/>
                </a:lnTo>
                <a:lnTo>
                  <a:pt x="552" y="479"/>
                </a:lnTo>
                <a:lnTo>
                  <a:pt x="545" y="465"/>
                </a:lnTo>
                <a:lnTo>
                  <a:pt x="545" y="458"/>
                </a:lnTo>
                <a:lnTo>
                  <a:pt x="541" y="451"/>
                </a:lnTo>
                <a:lnTo>
                  <a:pt x="538" y="444"/>
                </a:lnTo>
                <a:lnTo>
                  <a:pt x="535" y="441"/>
                </a:lnTo>
                <a:lnTo>
                  <a:pt x="531" y="434"/>
                </a:lnTo>
                <a:lnTo>
                  <a:pt x="531" y="430"/>
                </a:lnTo>
                <a:lnTo>
                  <a:pt x="531" y="427"/>
                </a:lnTo>
                <a:lnTo>
                  <a:pt x="531" y="420"/>
                </a:lnTo>
                <a:lnTo>
                  <a:pt x="528" y="420"/>
                </a:lnTo>
                <a:lnTo>
                  <a:pt x="524" y="420"/>
                </a:lnTo>
                <a:lnTo>
                  <a:pt x="521" y="416"/>
                </a:lnTo>
                <a:lnTo>
                  <a:pt x="517" y="416"/>
                </a:lnTo>
                <a:lnTo>
                  <a:pt x="514" y="416"/>
                </a:lnTo>
                <a:lnTo>
                  <a:pt x="510" y="416"/>
                </a:lnTo>
                <a:lnTo>
                  <a:pt x="507" y="416"/>
                </a:lnTo>
                <a:lnTo>
                  <a:pt x="496" y="413"/>
                </a:lnTo>
                <a:lnTo>
                  <a:pt x="489" y="413"/>
                </a:lnTo>
                <a:lnTo>
                  <a:pt x="486" y="409"/>
                </a:lnTo>
                <a:lnTo>
                  <a:pt x="486" y="413"/>
                </a:lnTo>
                <a:lnTo>
                  <a:pt x="482" y="409"/>
                </a:lnTo>
                <a:lnTo>
                  <a:pt x="479" y="409"/>
                </a:lnTo>
                <a:lnTo>
                  <a:pt x="476" y="409"/>
                </a:lnTo>
                <a:lnTo>
                  <a:pt x="472" y="406"/>
                </a:lnTo>
                <a:lnTo>
                  <a:pt x="472" y="402"/>
                </a:lnTo>
                <a:lnTo>
                  <a:pt x="472" y="399"/>
                </a:lnTo>
                <a:lnTo>
                  <a:pt x="469" y="395"/>
                </a:lnTo>
                <a:lnTo>
                  <a:pt x="469" y="392"/>
                </a:lnTo>
                <a:lnTo>
                  <a:pt x="465" y="392"/>
                </a:lnTo>
                <a:lnTo>
                  <a:pt x="465" y="395"/>
                </a:lnTo>
                <a:lnTo>
                  <a:pt x="462" y="395"/>
                </a:lnTo>
                <a:lnTo>
                  <a:pt x="458" y="395"/>
                </a:lnTo>
                <a:lnTo>
                  <a:pt x="455" y="392"/>
                </a:lnTo>
                <a:lnTo>
                  <a:pt x="451" y="392"/>
                </a:lnTo>
                <a:lnTo>
                  <a:pt x="444" y="395"/>
                </a:lnTo>
                <a:lnTo>
                  <a:pt x="441" y="395"/>
                </a:lnTo>
                <a:lnTo>
                  <a:pt x="437" y="395"/>
                </a:lnTo>
                <a:lnTo>
                  <a:pt x="434" y="395"/>
                </a:lnTo>
                <a:lnTo>
                  <a:pt x="434" y="399"/>
                </a:lnTo>
                <a:lnTo>
                  <a:pt x="430" y="399"/>
                </a:lnTo>
                <a:lnTo>
                  <a:pt x="427" y="399"/>
                </a:lnTo>
                <a:lnTo>
                  <a:pt x="420" y="402"/>
                </a:lnTo>
                <a:lnTo>
                  <a:pt x="416" y="402"/>
                </a:lnTo>
                <a:lnTo>
                  <a:pt x="413" y="402"/>
                </a:lnTo>
                <a:lnTo>
                  <a:pt x="406" y="402"/>
                </a:lnTo>
                <a:lnTo>
                  <a:pt x="406" y="406"/>
                </a:lnTo>
                <a:lnTo>
                  <a:pt x="403" y="406"/>
                </a:lnTo>
                <a:lnTo>
                  <a:pt x="406" y="409"/>
                </a:lnTo>
                <a:lnTo>
                  <a:pt x="406" y="413"/>
                </a:lnTo>
                <a:lnTo>
                  <a:pt x="403" y="413"/>
                </a:lnTo>
                <a:lnTo>
                  <a:pt x="399" y="413"/>
                </a:lnTo>
                <a:lnTo>
                  <a:pt x="399" y="416"/>
                </a:lnTo>
                <a:lnTo>
                  <a:pt x="396" y="420"/>
                </a:lnTo>
                <a:lnTo>
                  <a:pt x="399" y="423"/>
                </a:lnTo>
                <a:lnTo>
                  <a:pt x="403" y="427"/>
                </a:lnTo>
                <a:lnTo>
                  <a:pt x="406" y="430"/>
                </a:lnTo>
                <a:lnTo>
                  <a:pt x="410" y="434"/>
                </a:lnTo>
                <a:lnTo>
                  <a:pt x="406" y="434"/>
                </a:lnTo>
                <a:lnTo>
                  <a:pt x="403" y="441"/>
                </a:lnTo>
                <a:lnTo>
                  <a:pt x="399" y="444"/>
                </a:lnTo>
                <a:lnTo>
                  <a:pt x="396" y="444"/>
                </a:lnTo>
                <a:lnTo>
                  <a:pt x="396" y="447"/>
                </a:lnTo>
                <a:lnTo>
                  <a:pt x="392" y="447"/>
                </a:lnTo>
                <a:lnTo>
                  <a:pt x="389" y="447"/>
                </a:lnTo>
                <a:lnTo>
                  <a:pt x="385" y="444"/>
                </a:lnTo>
                <a:lnTo>
                  <a:pt x="385" y="447"/>
                </a:lnTo>
                <a:lnTo>
                  <a:pt x="382" y="451"/>
                </a:lnTo>
                <a:lnTo>
                  <a:pt x="378" y="451"/>
                </a:lnTo>
                <a:lnTo>
                  <a:pt x="375" y="454"/>
                </a:lnTo>
                <a:lnTo>
                  <a:pt x="371" y="454"/>
                </a:lnTo>
                <a:lnTo>
                  <a:pt x="368" y="454"/>
                </a:lnTo>
                <a:lnTo>
                  <a:pt x="368" y="458"/>
                </a:lnTo>
                <a:lnTo>
                  <a:pt x="364" y="458"/>
                </a:lnTo>
                <a:lnTo>
                  <a:pt x="364" y="461"/>
                </a:lnTo>
                <a:lnTo>
                  <a:pt x="361" y="461"/>
                </a:lnTo>
                <a:lnTo>
                  <a:pt x="357" y="461"/>
                </a:lnTo>
                <a:lnTo>
                  <a:pt x="357" y="465"/>
                </a:lnTo>
                <a:lnTo>
                  <a:pt x="361" y="468"/>
                </a:lnTo>
                <a:lnTo>
                  <a:pt x="357" y="468"/>
                </a:lnTo>
                <a:lnTo>
                  <a:pt x="354" y="468"/>
                </a:lnTo>
                <a:lnTo>
                  <a:pt x="351" y="468"/>
                </a:lnTo>
                <a:lnTo>
                  <a:pt x="351" y="472"/>
                </a:lnTo>
                <a:lnTo>
                  <a:pt x="354" y="475"/>
                </a:lnTo>
                <a:lnTo>
                  <a:pt x="351" y="479"/>
                </a:lnTo>
                <a:lnTo>
                  <a:pt x="347" y="479"/>
                </a:lnTo>
                <a:lnTo>
                  <a:pt x="344" y="479"/>
                </a:lnTo>
                <a:lnTo>
                  <a:pt x="344" y="475"/>
                </a:lnTo>
                <a:lnTo>
                  <a:pt x="340" y="475"/>
                </a:lnTo>
                <a:lnTo>
                  <a:pt x="340" y="472"/>
                </a:lnTo>
                <a:lnTo>
                  <a:pt x="337" y="461"/>
                </a:lnTo>
                <a:lnTo>
                  <a:pt x="333" y="461"/>
                </a:lnTo>
                <a:lnTo>
                  <a:pt x="333" y="465"/>
                </a:lnTo>
                <a:lnTo>
                  <a:pt x="330" y="465"/>
                </a:lnTo>
                <a:lnTo>
                  <a:pt x="330" y="468"/>
                </a:lnTo>
                <a:lnTo>
                  <a:pt x="330" y="472"/>
                </a:lnTo>
                <a:lnTo>
                  <a:pt x="330" y="475"/>
                </a:lnTo>
                <a:lnTo>
                  <a:pt x="330" y="479"/>
                </a:lnTo>
                <a:lnTo>
                  <a:pt x="326" y="482"/>
                </a:lnTo>
                <a:lnTo>
                  <a:pt x="330" y="486"/>
                </a:lnTo>
                <a:lnTo>
                  <a:pt x="326" y="486"/>
                </a:lnTo>
                <a:lnTo>
                  <a:pt x="326" y="489"/>
                </a:lnTo>
                <a:lnTo>
                  <a:pt x="323" y="489"/>
                </a:lnTo>
                <a:lnTo>
                  <a:pt x="316" y="493"/>
                </a:lnTo>
                <a:lnTo>
                  <a:pt x="312" y="496"/>
                </a:lnTo>
                <a:lnTo>
                  <a:pt x="316" y="500"/>
                </a:lnTo>
                <a:lnTo>
                  <a:pt x="319" y="500"/>
                </a:lnTo>
                <a:lnTo>
                  <a:pt x="319" y="503"/>
                </a:lnTo>
                <a:lnTo>
                  <a:pt x="323" y="503"/>
                </a:lnTo>
                <a:lnTo>
                  <a:pt x="326" y="507"/>
                </a:lnTo>
                <a:lnTo>
                  <a:pt x="330" y="507"/>
                </a:lnTo>
                <a:lnTo>
                  <a:pt x="333" y="507"/>
                </a:lnTo>
                <a:lnTo>
                  <a:pt x="337" y="507"/>
                </a:lnTo>
                <a:lnTo>
                  <a:pt x="340" y="507"/>
                </a:lnTo>
                <a:lnTo>
                  <a:pt x="340" y="510"/>
                </a:lnTo>
                <a:lnTo>
                  <a:pt x="344" y="510"/>
                </a:lnTo>
                <a:lnTo>
                  <a:pt x="347" y="510"/>
                </a:lnTo>
                <a:lnTo>
                  <a:pt x="351" y="510"/>
                </a:lnTo>
                <a:lnTo>
                  <a:pt x="351" y="513"/>
                </a:lnTo>
                <a:lnTo>
                  <a:pt x="354" y="513"/>
                </a:lnTo>
                <a:lnTo>
                  <a:pt x="357" y="513"/>
                </a:lnTo>
                <a:lnTo>
                  <a:pt x="357" y="517"/>
                </a:lnTo>
                <a:lnTo>
                  <a:pt x="361" y="520"/>
                </a:lnTo>
                <a:lnTo>
                  <a:pt x="364" y="520"/>
                </a:lnTo>
                <a:lnTo>
                  <a:pt x="368" y="524"/>
                </a:lnTo>
                <a:lnTo>
                  <a:pt x="371" y="524"/>
                </a:lnTo>
                <a:lnTo>
                  <a:pt x="375" y="524"/>
                </a:lnTo>
                <a:lnTo>
                  <a:pt x="378" y="524"/>
                </a:lnTo>
                <a:lnTo>
                  <a:pt x="378" y="520"/>
                </a:lnTo>
                <a:lnTo>
                  <a:pt x="382" y="520"/>
                </a:lnTo>
                <a:lnTo>
                  <a:pt x="382" y="517"/>
                </a:lnTo>
                <a:lnTo>
                  <a:pt x="385" y="520"/>
                </a:lnTo>
                <a:lnTo>
                  <a:pt x="389" y="524"/>
                </a:lnTo>
                <a:lnTo>
                  <a:pt x="389" y="520"/>
                </a:lnTo>
                <a:lnTo>
                  <a:pt x="392" y="524"/>
                </a:lnTo>
                <a:lnTo>
                  <a:pt x="396" y="524"/>
                </a:lnTo>
                <a:lnTo>
                  <a:pt x="399" y="527"/>
                </a:lnTo>
                <a:lnTo>
                  <a:pt x="406" y="531"/>
                </a:lnTo>
                <a:lnTo>
                  <a:pt x="410" y="534"/>
                </a:lnTo>
                <a:lnTo>
                  <a:pt x="413" y="538"/>
                </a:lnTo>
                <a:lnTo>
                  <a:pt x="423" y="545"/>
                </a:lnTo>
                <a:lnTo>
                  <a:pt x="427" y="545"/>
                </a:lnTo>
                <a:lnTo>
                  <a:pt x="430" y="548"/>
                </a:lnTo>
                <a:lnTo>
                  <a:pt x="437" y="548"/>
                </a:lnTo>
                <a:lnTo>
                  <a:pt x="441" y="548"/>
                </a:lnTo>
                <a:lnTo>
                  <a:pt x="444" y="545"/>
                </a:lnTo>
                <a:lnTo>
                  <a:pt x="448" y="545"/>
                </a:lnTo>
                <a:lnTo>
                  <a:pt x="451" y="545"/>
                </a:lnTo>
                <a:lnTo>
                  <a:pt x="455" y="541"/>
                </a:lnTo>
                <a:lnTo>
                  <a:pt x="462" y="538"/>
                </a:lnTo>
                <a:lnTo>
                  <a:pt x="469" y="538"/>
                </a:lnTo>
                <a:lnTo>
                  <a:pt x="472" y="538"/>
                </a:lnTo>
                <a:lnTo>
                  <a:pt x="479" y="541"/>
                </a:lnTo>
                <a:lnTo>
                  <a:pt x="482" y="541"/>
                </a:lnTo>
                <a:lnTo>
                  <a:pt x="486" y="548"/>
                </a:lnTo>
                <a:lnTo>
                  <a:pt x="486" y="555"/>
                </a:lnTo>
                <a:lnTo>
                  <a:pt x="486" y="559"/>
                </a:lnTo>
                <a:lnTo>
                  <a:pt x="489" y="562"/>
                </a:lnTo>
                <a:lnTo>
                  <a:pt x="496" y="559"/>
                </a:lnTo>
                <a:lnTo>
                  <a:pt x="496" y="562"/>
                </a:lnTo>
                <a:lnTo>
                  <a:pt x="496" y="566"/>
                </a:lnTo>
                <a:lnTo>
                  <a:pt x="493" y="569"/>
                </a:lnTo>
                <a:lnTo>
                  <a:pt x="493" y="572"/>
                </a:lnTo>
                <a:lnTo>
                  <a:pt x="496" y="576"/>
                </a:lnTo>
                <a:lnTo>
                  <a:pt x="496" y="579"/>
                </a:lnTo>
                <a:lnTo>
                  <a:pt x="500" y="583"/>
                </a:lnTo>
                <a:lnTo>
                  <a:pt x="500" y="586"/>
                </a:lnTo>
                <a:lnTo>
                  <a:pt x="500" y="590"/>
                </a:lnTo>
                <a:lnTo>
                  <a:pt x="496" y="593"/>
                </a:lnTo>
                <a:lnTo>
                  <a:pt x="496" y="597"/>
                </a:lnTo>
                <a:lnTo>
                  <a:pt x="493" y="600"/>
                </a:lnTo>
                <a:lnTo>
                  <a:pt x="489" y="600"/>
                </a:lnTo>
                <a:lnTo>
                  <a:pt x="489" y="604"/>
                </a:lnTo>
                <a:lnTo>
                  <a:pt x="493" y="604"/>
                </a:lnTo>
                <a:lnTo>
                  <a:pt x="493" y="607"/>
                </a:lnTo>
                <a:lnTo>
                  <a:pt x="496" y="611"/>
                </a:lnTo>
                <a:lnTo>
                  <a:pt x="500" y="611"/>
                </a:lnTo>
                <a:lnTo>
                  <a:pt x="503" y="611"/>
                </a:lnTo>
                <a:lnTo>
                  <a:pt x="507" y="611"/>
                </a:lnTo>
                <a:lnTo>
                  <a:pt x="510" y="611"/>
                </a:lnTo>
                <a:lnTo>
                  <a:pt x="510" y="614"/>
                </a:lnTo>
                <a:lnTo>
                  <a:pt x="510" y="618"/>
                </a:lnTo>
                <a:lnTo>
                  <a:pt x="514" y="621"/>
                </a:lnTo>
                <a:lnTo>
                  <a:pt x="514" y="625"/>
                </a:lnTo>
                <a:lnTo>
                  <a:pt x="517" y="628"/>
                </a:lnTo>
                <a:lnTo>
                  <a:pt x="517" y="625"/>
                </a:lnTo>
                <a:lnTo>
                  <a:pt x="521" y="628"/>
                </a:lnTo>
                <a:lnTo>
                  <a:pt x="521" y="632"/>
                </a:lnTo>
                <a:lnTo>
                  <a:pt x="524" y="628"/>
                </a:lnTo>
                <a:lnTo>
                  <a:pt x="528" y="632"/>
                </a:lnTo>
                <a:lnTo>
                  <a:pt x="528" y="635"/>
                </a:lnTo>
                <a:lnTo>
                  <a:pt x="524" y="635"/>
                </a:lnTo>
                <a:lnTo>
                  <a:pt x="521" y="638"/>
                </a:lnTo>
                <a:lnTo>
                  <a:pt x="521" y="642"/>
                </a:lnTo>
                <a:lnTo>
                  <a:pt x="521" y="645"/>
                </a:lnTo>
                <a:lnTo>
                  <a:pt x="521" y="649"/>
                </a:lnTo>
                <a:lnTo>
                  <a:pt x="521" y="652"/>
                </a:lnTo>
                <a:lnTo>
                  <a:pt x="517" y="652"/>
                </a:lnTo>
                <a:lnTo>
                  <a:pt x="514" y="656"/>
                </a:lnTo>
                <a:lnTo>
                  <a:pt x="514" y="659"/>
                </a:lnTo>
                <a:lnTo>
                  <a:pt x="510" y="663"/>
                </a:lnTo>
                <a:lnTo>
                  <a:pt x="510" y="666"/>
                </a:lnTo>
                <a:lnTo>
                  <a:pt x="507" y="666"/>
                </a:lnTo>
                <a:lnTo>
                  <a:pt x="503" y="666"/>
                </a:lnTo>
                <a:lnTo>
                  <a:pt x="500" y="670"/>
                </a:lnTo>
                <a:lnTo>
                  <a:pt x="496" y="670"/>
                </a:lnTo>
                <a:lnTo>
                  <a:pt x="493" y="673"/>
                </a:lnTo>
                <a:lnTo>
                  <a:pt x="489" y="670"/>
                </a:lnTo>
                <a:lnTo>
                  <a:pt x="489" y="666"/>
                </a:lnTo>
                <a:lnTo>
                  <a:pt x="486" y="670"/>
                </a:lnTo>
                <a:lnTo>
                  <a:pt x="486" y="673"/>
                </a:lnTo>
                <a:lnTo>
                  <a:pt x="482" y="673"/>
                </a:lnTo>
                <a:lnTo>
                  <a:pt x="482" y="677"/>
                </a:lnTo>
                <a:lnTo>
                  <a:pt x="482" y="680"/>
                </a:lnTo>
                <a:lnTo>
                  <a:pt x="486" y="687"/>
                </a:lnTo>
                <a:lnTo>
                  <a:pt x="489" y="691"/>
                </a:lnTo>
                <a:lnTo>
                  <a:pt x="489" y="694"/>
                </a:lnTo>
                <a:lnTo>
                  <a:pt x="493" y="698"/>
                </a:lnTo>
                <a:lnTo>
                  <a:pt x="496" y="701"/>
                </a:lnTo>
                <a:lnTo>
                  <a:pt x="496" y="704"/>
                </a:lnTo>
                <a:lnTo>
                  <a:pt x="493" y="708"/>
                </a:lnTo>
                <a:lnTo>
                  <a:pt x="489" y="711"/>
                </a:lnTo>
                <a:lnTo>
                  <a:pt x="489" y="715"/>
                </a:lnTo>
                <a:lnTo>
                  <a:pt x="486" y="718"/>
                </a:lnTo>
                <a:lnTo>
                  <a:pt x="489" y="722"/>
                </a:lnTo>
                <a:lnTo>
                  <a:pt x="489" y="725"/>
                </a:lnTo>
                <a:lnTo>
                  <a:pt x="486" y="725"/>
                </a:lnTo>
                <a:lnTo>
                  <a:pt x="479" y="729"/>
                </a:lnTo>
                <a:lnTo>
                  <a:pt x="482" y="732"/>
                </a:lnTo>
                <a:lnTo>
                  <a:pt x="479" y="732"/>
                </a:lnTo>
                <a:lnTo>
                  <a:pt x="479" y="736"/>
                </a:lnTo>
                <a:lnTo>
                  <a:pt x="476" y="736"/>
                </a:lnTo>
                <a:lnTo>
                  <a:pt x="472" y="736"/>
                </a:lnTo>
                <a:lnTo>
                  <a:pt x="469" y="736"/>
                </a:lnTo>
                <a:lnTo>
                  <a:pt x="465" y="739"/>
                </a:lnTo>
                <a:lnTo>
                  <a:pt x="462" y="739"/>
                </a:lnTo>
                <a:lnTo>
                  <a:pt x="462" y="743"/>
                </a:lnTo>
                <a:lnTo>
                  <a:pt x="462" y="746"/>
                </a:lnTo>
                <a:lnTo>
                  <a:pt x="458" y="746"/>
                </a:lnTo>
                <a:lnTo>
                  <a:pt x="458" y="750"/>
                </a:lnTo>
                <a:lnTo>
                  <a:pt x="458" y="753"/>
                </a:lnTo>
                <a:lnTo>
                  <a:pt x="455" y="750"/>
                </a:lnTo>
                <a:lnTo>
                  <a:pt x="455" y="753"/>
                </a:lnTo>
                <a:lnTo>
                  <a:pt x="451" y="753"/>
                </a:lnTo>
                <a:lnTo>
                  <a:pt x="451" y="750"/>
                </a:lnTo>
                <a:lnTo>
                  <a:pt x="451" y="753"/>
                </a:lnTo>
                <a:lnTo>
                  <a:pt x="448" y="753"/>
                </a:lnTo>
                <a:lnTo>
                  <a:pt x="448" y="757"/>
                </a:lnTo>
                <a:lnTo>
                  <a:pt x="444" y="757"/>
                </a:lnTo>
                <a:lnTo>
                  <a:pt x="441" y="760"/>
                </a:lnTo>
                <a:lnTo>
                  <a:pt x="437" y="760"/>
                </a:lnTo>
                <a:lnTo>
                  <a:pt x="434" y="760"/>
                </a:lnTo>
                <a:lnTo>
                  <a:pt x="434" y="763"/>
                </a:lnTo>
                <a:lnTo>
                  <a:pt x="437" y="763"/>
                </a:lnTo>
                <a:lnTo>
                  <a:pt x="434" y="763"/>
                </a:lnTo>
                <a:lnTo>
                  <a:pt x="430" y="763"/>
                </a:lnTo>
                <a:lnTo>
                  <a:pt x="427" y="767"/>
                </a:lnTo>
                <a:lnTo>
                  <a:pt x="430" y="767"/>
                </a:lnTo>
                <a:lnTo>
                  <a:pt x="430" y="770"/>
                </a:lnTo>
                <a:lnTo>
                  <a:pt x="427" y="770"/>
                </a:lnTo>
                <a:lnTo>
                  <a:pt x="423" y="770"/>
                </a:lnTo>
                <a:lnTo>
                  <a:pt x="427" y="774"/>
                </a:lnTo>
                <a:lnTo>
                  <a:pt x="427" y="777"/>
                </a:lnTo>
                <a:lnTo>
                  <a:pt x="423" y="777"/>
                </a:lnTo>
                <a:lnTo>
                  <a:pt x="420" y="777"/>
                </a:lnTo>
                <a:lnTo>
                  <a:pt x="416" y="777"/>
                </a:lnTo>
                <a:lnTo>
                  <a:pt x="413" y="777"/>
                </a:lnTo>
                <a:lnTo>
                  <a:pt x="410" y="777"/>
                </a:lnTo>
                <a:lnTo>
                  <a:pt x="406" y="777"/>
                </a:lnTo>
                <a:lnTo>
                  <a:pt x="403" y="777"/>
                </a:lnTo>
                <a:lnTo>
                  <a:pt x="399" y="774"/>
                </a:lnTo>
                <a:lnTo>
                  <a:pt x="396" y="774"/>
                </a:lnTo>
                <a:lnTo>
                  <a:pt x="392" y="774"/>
                </a:lnTo>
                <a:lnTo>
                  <a:pt x="389" y="774"/>
                </a:lnTo>
                <a:lnTo>
                  <a:pt x="382" y="774"/>
                </a:lnTo>
                <a:lnTo>
                  <a:pt x="382" y="777"/>
                </a:lnTo>
                <a:lnTo>
                  <a:pt x="378" y="777"/>
                </a:lnTo>
                <a:lnTo>
                  <a:pt x="375" y="777"/>
                </a:lnTo>
                <a:lnTo>
                  <a:pt x="375" y="781"/>
                </a:lnTo>
                <a:lnTo>
                  <a:pt x="378" y="784"/>
                </a:lnTo>
                <a:lnTo>
                  <a:pt x="378" y="788"/>
                </a:lnTo>
                <a:lnTo>
                  <a:pt x="375" y="791"/>
                </a:lnTo>
                <a:lnTo>
                  <a:pt x="371" y="795"/>
                </a:lnTo>
                <a:lnTo>
                  <a:pt x="368" y="795"/>
                </a:lnTo>
                <a:lnTo>
                  <a:pt x="368" y="798"/>
                </a:lnTo>
                <a:lnTo>
                  <a:pt x="368" y="795"/>
                </a:lnTo>
                <a:lnTo>
                  <a:pt x="368" y="791"/>
                </a:lnTo>
                <a:lnTo>
                  <a:pt x="368" y="788"/>
                </a:lnTo>
                <a:lnTo>
                  <a:pt x="364" y="788"/>
                </a:lnTo>
                <a:lnTo>
                  <a:pt x="364" y="791"/>
                </a:lnTo>
                <a:lnTo>
                  <a:pt x="361" y="791"/>
                </a:lnTo>
                <a:lnTo>
                  <a:pt x="361" y="788"/>
                </a:lnTo>
                <a:lnTo>
                  <a:pt x="361" y="784"/>
                </a:lnTo>
                <a:lnTo>
                  <a:pt x="357" y="788"/>
                </a:lnTo>
                <a:lnTo>
                  <a:pt x="361" y="788"/>
                </a:lnTo>
                <a:lnTo>
                  <a:pt x="357" y="784"/>
                </a:lnTo>
                <a:lnTo>
                  <a:pt x="361" y="781"/>
                </a:lnTo>
                <a:lnTo>
                  <a:pt x="364" y="777"/>
                </a:lnTo>
                <a:lnTo>
                  <a:pt x="361" y="777"/>
                </a:lnTo>
                <a:lnTo>
                  <a:pt x="361" y="774"/>
                </a:lnTo>
                <a:lnTo>
                  <a:pt x="357" y="774"/>
                </a:lnTo>
                <a:lnTo>
                  <a:pt x="354" y="774"/>
                </a:lnTo>
                <a:lnTo>
                  <a:pt x="351" y="774"/>
                </a:lnTo>
                <a:lnTo>
                  <a:pt x="347" y="774"/>
                </a:lnTo>
                <a:lnTo>
                  <a:pt x="344" y="770"/>
                </a:lnTo>
                <a:lnTo>
                  <a:pt x="340" y="770"/>
                </a:lnTo>
                <a:lnTo>
                  <a:pt x="337" y="770"/>
                </a:lnTo>
                <a:lnTo>
                  <a:pt x="337" y="774"/>
                </a:lnTo>
                <a:lnTo>
                  <a:pt x="333" y="774"/>
                </a:lnTo>
                <a:lnTo>
                  <a:pt x="330" y="777"/>
                </a:lnTo>
                <a:lnTo>
                  <a:pt x="330" y="781"/>
                </a:lnTo>
                <a:lnTo>
                  <a:pt x="330" y="784"/>
                </a:lnTo>
                <a:lnTo>
                  <a:pt x="333" y="788"/>
                </a:lnTo>
                <a:lnTo>
                  <a:pt x="333" y="791"/>
                </a:lnTo>
                <a:lnTo>
                  <a:pt x="337" y="795"/>
                </a:lnTo>
                <a:lnTo>
                  <a:pt x="337" y="798"/>
                </a:lnTo>
                <a:lnTo>
                  <a:pt x="340" y="798"/>
                </a:lnTo>
                <a:lnTo>
                  <a:pt x="340" y="802"/>
                </a:lnTo>
                <a:lnTo>
                  <a:pt x="344" y="802"/>
                </a:lnTo>
                <a:lnTo>
                  <a:pt x="340" y="805"/>
                </a:lnTo>
                <a:lnTo>
                  <a:pt x="340" y="802"/>
                </a:lnTo>
                <a:lnTo>
                  <a:pt x="337" y="802"/>
                </a:lnTo>
                <a:lnTo>
                  <a:pt x="333" y="805"/>
                </a:lnTo>
                <a:lnTo>
                  <a:pt x="333" y="809"/>
                </a:lnTo>
                <a:lnTo>
                  <a:pt x="333" y="812"/>
                </a:lnTo>
                <a:lnTo>
                  <a:pt x="337" y="812"/>
                </a:lnTo>
                <a:lnTo>
                  <a:pt x="337" y="816"/>
                </a:lnTo>
                <a:lnTo>
                  <a:pt x="337" y="819"/>
                </a:lnTo>
                <a:lnTo>
                  <a:pt x="337" y="823"/>
                </a:lnTo>
                <a:lnTo>
                  <a:pt x="333" y="826"/>
                </a:lnTo>
                <a:lnTo>
                  <a:pt x="337" y="833"/>
                </a:lnTo>
                <a:lnTo>
                  <a:pt x="333" y="833"/>
                </a:lnTo>
                <a:lnTo>
                  <a:pt x="330" y="833"/>
                </a:lnTo>
                <a:lnTo>
                  <a:pt x="326" y="833"/>
                </a:lnTo>
                <a:lnTo>
                  <a:pt x="323" y="833"/>
                </a:lnTo>
                <a:lnTo>
                  <a:pt x="323" y="836"/>
                </a:lnTo>
                <a:lnTo>
                  <a:pt x="323" y="840"/>
                </a:lnTo>
                <a:lnTo>
                  <a:pt x="326" y="840"/>
                </a:lnTo>
                <a:lnTo>
                  <a:pt x="330" y="843"/>
                </a:lnTo>
                <a:lnTo>
                  <a:pt x="330" y="847"/>
                </a:lnTo>
                <a:lnTo>
                  <a:pt x="333" y="850"/>
                </a:lnTo>
                <a:lnTo>
                  <a:pt x="337" y="850"/>
                </a:lnTo>
                <a:lnTo>
                  <a:pt x="340" y="850"/>
                </a:lnTo>
                <a:lnTo>
                  <a:pt x="344" y="854"/>
                </a:lnTo>
                <a:lnTo>
                  <a:pt x="344" y="857"/>
                </a:lnTo>
                <a:lnTo>
                  <a:pt x="344" y="861"/>
                </a:lnTo>
                <a:lnTo>
                  <a:pt x="347" y="864"/>
                </a:lnTo>
                <a:lnTo>
                  <a:pt x="347" y="868"/>
                </a:lnTo>
                <a:lnTo>
                  <a:pt x="347" y="871"/>
                </a:lnTo>
                <a:lnTo>
                  <a:pt x="347" y="875"/>
                </a:lnTo>
                <a:lnTo>
                  <a:pt x="351" y="878"/>
                </a:lnTo>
                <a:lnTo>
                  <a:pt x="354" y="882"/>
                </a:lnTo>
                <a:lnTo>
                  <a:pt x="354" y="889"/>
                </a:lnTo>
                <a:lnTo>
                  <a:pt x="357" y="895"/>
                </a:lnTo>
                <a:lnTo>
                  <a:pt x="357" y="899"/>
                </a:lnTo>
                <a:lnTo>
                  <a:pt x="357" y="902"/>
                </a:lnTo>
                <a:lnTo>
                  <a:pt x="357" y="906"/>
                </a:lnTo>
                <a:lnTo>
                  <a:pt x="357" y="909"/>
                </a:lnTo>
                <a:lnTo>
                  <a:pt x="361" y="909"/>
                </a:lnTo>
                <a:lnTo>
                  <a:pt x="361" y="916"/>
                </a:lnTo>
                <a:lnTo>
                  <a:pt x="357" y="916"/>
                </a:lnTo>
                <a:lnTo>
                  <a:pt x="354" y="916"/>
                </a:lnTo>
                <a:lnTo>
                  <a:pt x="354" y="923"/>
                </a:lnTo>
                <a:lnTo>
                  <a:pt x="354" y="930"/>
                </a:lnTo>
                <a:lnTo>
                  <a:pt x="354" y="934"/>
                </a:lnTo>
                <a:lnTo>
                  <a:pt x="354" y="937"/>
                </a:lnTo>
                <a:lnTo>
                  <a:pt x="351" y="937"/>
                </a:lnTo>
                <a:lnTo>
                  <a:pt x="347" y="941"/>
                </a:lnTo>
                <a:lnTo>
                  <a:pt x="347" y="944"/>
                </a:lnTo>
                <a:lnTo>
                  <a:pt x="340" y="941"/>
                </a:lnTo>
                <a:lnTo>
                  <a:pt x="337" y="944"/>
                </a:lnTo>
                <a:lnTo>
                  <a:pt x="333" y="944"/>
                </a:lnTo>
                <a:lnTo>
                  <a:pt x="330" y="944"/>
                </a:lnTo>
                <a:lnTo>
                  <a:pt x="333" y="948"/>
                </a:lnTo>
                <a:lnTo>
                  <a:pt x="330" y="948"/>
                </a:lnTo>
                <a:lnTo>
                  <a:pt x="319" y="944"/>
                </a:lnTo>
                <a:lnTo>
                  <a:pt x="319" y="948"/>
                </a:lnTo>
                <a:lnTo>
                  <a:pt x="326" y="948"/>
                </a:lnTo>
                <a:lnTo>
                  <a:pt x="326" y="951"/>
                </a:lnTo>
                <a:lnTo>
                  <a:pt x="326" y="961"/>
                </a:lnTo>
                <a:lnTo>
                  <a:pt x="326" y="965"/>
                </a:lnTo>
                <a:lnTo>
                  <a:pt x="326" y="968"/>
                </a:lnTo>
                <a:lnTo>
                  <a:pt x="326" y="975"/>
                </a:lnTo>
                <a:lnTo>
                  <a:pt x="323" y="975"/>
                </a:lnTo>
                <a:lnTo>
                  <a:pt x="326" y="982"/>
                </a:lnTo>
                <a:lnTo>
                  <a:pt x="323" y="986"/>
                </a:lnTo>
                <a:lnTo>
                  <a:pt x="323" y="989"/>
                </a:lnTo>
                <a:lnTo>
                  <a:pt x="319" y="989"/>
                </a:lnTo>
                <a:lnTo>
                  <a:pt x="316" y="993"/>
                </a:lnTo>
                <a:lnTo>
                  <a:pt x="312" y="993"/>
                </a:lnTo>
                <a:lnTo>
                  <a:pt x="312" y="989"/>
                </a:lnTo>
                <a:lnTo>
                  <a:pt x="312" y="993"/>
                </a:lnTo>
                <a:lnTo>
                  <a:pt x="309" y="993"/>
                </a:lnTo>
                <a:lnTo>
                  <a:pt x="309" y="996"/>
                </a:lnTo>
                <a:lnTo>
                  <a:pt x="309" y="1000"/>
                </a:lnTo>
                <a:lnTo>
                  <a:pt x="312" y="1003"/>
                </a:lnTo>
                <a:lnTo>
                  <a:pt x="312" y="1007"/>
                </a:lnTo>
                <a:lnTo>
                  <a:pt x="312" y="1010"/>
                </a:lnTo>
                <a:lnTo>
                  <a:pt x="316" y="1014"/>
                </a:lnTo>
                <a:lnTo>
                  <a:pt x="316" y="1017"/>
                </a:lnTo>
                <a:lnTo>
                  <a:pt x="319" y="1017"/>
                </a:lnTo>
                <a:lnTo>
                  <a:pt x="326" y="1017"/>
                </a:lnTo>
                <a:lnTo>
                  <a:pt x="330" y="1017"/>
                </a:lnTo>
                <a:lnTo>
                  <a:pt x="333" y="1017"/>
                </a:lnTo>
                <a:lnTo>
                  <a:pt x="333" y="1014"/>
                </a:lnTo>
                <a:lnTo>
                  <a:pt x="337" y="1014"/>
                </a:lnTo>
                <a:lnTo>
                  <a:pt x="337" y="1017"/>
                </a:lnTo>
                <a:lnTo>
                  <a:pt x="337" y="1020"/>
                </a:lnTo>
                <a:lnTo>
                  <a:pt x="337" y="1024"/>
                </a:lnTo>
                <a:lnTo>
                  <a:pt x="340" y="1024"/>
                </a:lnTo>
                <a:lnTo>
                  <a:pt x="340" y="1027"/>
                </a:lnTo>
                <a:lnTo>
                  <a:pt x="340" y="1031"/>
                </a:lnTo>
                <a:lnTo>
                  <a:pt x="344" y="1034"/>
                </a:lnTo>
                <a:lnTo>
                  <a:pt x="344" y="1038"/>
                </a:lnTo>
                <a:lnTo>
                  <a:pt x="340" y="1038"/>
                </a:lnTo>
                <a:lnTo>
                  <a:pt x="344" y="1041"/>
                </a:lnTo>
                <a:lnTo>
                  <a:pt x="344" y="1045"/>
                </a:lnTo>
                <a:lnTo>
                  <a:pt x="340" y="1045"/>
                </a:lnTo>
                <a:lnTo>
                  <a:pt x="340" y="1048"/>
                </a:lnTo>
                <a:lnTo>
                  <a:pt x="337" y="1048"/>
                </a:lnTo>
                <a:lnTo>
                  <a:pt x="333" y="1052"/>
                </a:lnTo>
                <a:lnTo>
                  <a:pt x="333" y="1055"/>
                </a:lnTo>
                <a:lnTo>
                  <a:pt x="333" y="1059"/>
                </a:lnTo>
                <a:lnTo>
                  <a:pt x="333" y="1062"/>
                </a:lnTo>
                <a:lnTo>
                  <a:pt x="337" y="1062"/>
                </a:lnTo>
                <a:lnTo>
                  <a:pt x="340" y="1062"/>
                </a:lnTo>
                <a:lnTo>
                  <a:pt x="340" y="1066"/>
                </a:lnTo>
                <a:lnTo>
                  <a:pt x="344" y="1062"/>
                </a:lnTo>
                <a:lnTo>
                  <a:pt x="347" y="1062"/>
                </a:lnTo>
                <a:lnTo>
                  <a:pt x="354" y="1062"/>
                </a:lnTo>
                <a:lnTo>
                  <a:pt x="361" y="1059"/>
                </a:lnTo>
                <a:lnTo>
                  <a:pt x="368" y="1055"/>
                </a:lnTo>
                <a:lnTo>
                  <a:pt x="378" y="1055"/>
                </a:lnTo>
                <a:lnTo>
                  <a:pt x="382" y="1055"/>
                </a:lnTo>
                <a:lnTo>
                  <a:pt x="385" y="1059"/>
                </a:lnTo>
                <a:lnTo>
                  <a:pt x="385" y="1066"/>
                </a:lnTo>
                <a:lnTo>
                  <a:pt x="389" y="1069"/>
                </a:lnTo>
                <a:lnTo>
                  <a:pt x="392" y="1069"/>
                </a:lnTo>
                <a:lnTo>
                  <a:pt x="392" y="1079"/>
                </a:lnTo>
                <a:lnTo>
                  <a:pt x="382" y="1083"/>
                </a:lnTo>
                <a:lnTo>
                  <a:pt x="378" y="1083"/>
                </a:lnTo>
                <a:lnTo>
                  <a:pt x="368" y="1083"/>
                </a:lnTo>
                <a:lnTo>
                  <a:pt x="371" y="1090"/>
                </a:lnTo>
                <a:lnTo>
                  <a:pt x="371" y="1097"/>
                </a:lnTo>
                <a:lnTo>
                  <a:pt x="371" y="1100"/>
                </a:lnTo>
                <a:lnTo>
                  <a:pt x="364" y="1100"/>
                </a:lnTo>
                <a:lnTo>
                  <a:pt x="361" y="1100"/>
                </a:lnTo>
                <a:lnTo>
                  <a:pt x="357" y="1100"/>
                </a:lnTo>
                <a:lnTo>
                  <a:pt x="357" y="1107"/>
                </a:lnTo>
                <a:lnTo>
                  <a:pt x="354" y="1107"/>
                </a:lnTo>
                <a:lnTo>
                  <a:pt x="351" y="1104"/>
                </a:lnTo>
                <a:lnTo>
                  <a:pt x="351" y="1107"/>
                </a:lnTo>
                <a:lnTo>
                  <a:pt x="351" y="1111"/>
                </a:lnTo>
                <a:lnTo>
                  <a:pt x="344" y="1111"/>
                </a:lnTo>
                <a:lnTo>
                  <a:pt x="347" y="1114"/>
                </a:lnTo>
                <a:lnTo>
                  <a:pt x="344" y="1114"/>
                </a:lnTo>
                <a:lnTo>
                  <a:pt x="344" y="1118"/>
                </a:lnTo>
                <a:lnTo>
                  <a:pt x="344" y="1121"/>
                </a:lnTo>
                <a:lnTo>
                  <a:pt x="347" y="1121"/>
                </a:lnTo>
                <a:lnTo>
                  <a:pt x="347" y="1125"/>
                </a:lnTo>
                <a:lnTo>
                  <a:pt x="351" y="1125"/>
                </a:lnTo>
                <a:lnTo>
                  <a:pt x="351" y="1128"/>
                </a:lnTo>
                <a:lnTo>
                  <a:pt x="351" y="1132"/>
                </a:lnTo>
                <a:lnTo>
                  <a:pt x="351" y="1135"/>
                </a:lnTo>
                <a:lnTo>
                  <a:pt x="351" y="1139"/>
                </a:lnTo>
                <a:lnTo>
                  <a:pt x="357" y="1135"/>
                </a:lnTo>
                <a:lnTo>
                  <a:pt x="357" y="1139"/>
                </a:lnTo>
                <a:lnTo>
                  <a:pt x="357" y="1142"/>
                </a:lnTo>
                <a:lnTo>
                  <a:pt x="361" y="1142"/>
                </a:lnTo>
                <a:lnTo>
                  <a:pt x="361" y="1145"/>
                </a:lnTo>
                <a:lnTo>
                  <a:pt x="364" y="1142"/>
                </a:lnTo>
                <a:lnTo>
                  <a:pt x="368" y="1142"/>
                </a:lnTo>
                <a:lnTo>
                  <a:pt x="375" y="1145"/>
                </a:lnTo>
                <a:lnTo>
                  <a:pt x="382" y="1149"/>
                </a:lnTo>
                <a:lnTo>
                  <a:pt x="385" y="1152"/>
                </a:lnTo>
                <a:lnTo>
                  <a:pt x="385" y="1156"/>
                </a:lnTo>
                <a:lnTo>
                  <a:pt x="382" y="1159"/>
                </a:lnTo>
                <a:lnTo>
                  <a:pt x="378" y="1163"/>
                </a:lnTo>
                <a:lnTo>
                  <a:pt x="375" y="1163"/>
                </a:lnTo>
                <a:lnTo>
                  <a:pt x="371" y="1163"/>
                </a:lnTo>
                <a:lnTo>
                  <a:pt x="368" y="1163"/>
                </a:lnTo>
                <a:lnTo>
                  <a:pt x="368" y="1166"/>
                </a:lnTo>
                <a:lnTo>
                  <a:pt x="364" y="1166"/>
                </a:lnTo>
                <a:lnTo>
                  <a:pt x="361" y="1166"/>
                </a:lnTo>
                <a:lnTo>
                  <a:pt x="357" y="1166"/>
                </a:lnTo>
                <a:lnTo>
                  <a:pt x="354" y="1166"/>
                </a:lnTo>
                <a:lnTo>
                  <a:pt x="351" y="1166"/>
                </a:lnTo>
                <a:lnTo>
                  <a:pt x="351" y="1170"/>
                </a:lnTo>
                <a:lnTo>
                  <a:pt x="347" y="1170"/>
                </a:lnTo>
                <a:lnTo>
                  <a:pt x="344" y="1170"/>
                </a:lnTo>
                <a:lnTo>
                  <a:pt x="340" y="1170"/>
                </a:lnTo>
                <a:lnTo>
                  <a:pt x="337" y="1173"/>
                </a:lnTo>
                <a:lnTo>
                  <a:pt x="333" y="1173"/>
                </a:lnTo>
                <a:lnTo>
                  <a:pt x="330" y="1177"/>
                </a:lnTo>
                <a:lnTo>
                  <a:pt x="326" y="1177"/>
                </a:lnTo>
                <a:lnTo>
                  <a:pt x="330" y="1180"/>
                </a:lnTo>
                <a:lnTo>
                  <a:pt x="323" y="1184"/>
                </a:lnTo>
                <a:lnTo>
                  <a:pt x="330" y="1187"/>
                </a:lnTo>
                <a:lnTo>
                  <a:pt x="330" y="1191"/>
                </a:lnTo>
                <a:lnTo>
                  <a:pt x="330" y="1194"/>
                </a:lnTo>
                <a:lnTo>
                  <a:pt x="337" y="1187"/>
                </a:lnTo>
                <a:lnTo>
                  <a:pt x="340" y="1184"/>
                </a:lnTo>
                <a:lnTo>
                  <a:pt x="344" y="1184"/>
                </a:lnTo>
                <a:lnTo>
                  <a:pt x="347" y="1184"/>
                </a:lnTo>
                <a:lnTo>
                  <a:pt x="347" y="1187"/>
                </a:lnTo>
                <a:lnTo>
                  <a:pt x="351" y="1187"/>
                </a:lnTo>
                <a:lnTo>
                  <a:pt x="354" y="1191"/>
                </a:lnTo>
                <a:lnTo>
                  <a:pt x="354" y="1194"/>
                </a:lnTo>
                <a:lnTo>
                  <a:pt x="357" y="1194"/>
                </a:lnTo>
                <a:lnTo>
                  <a:pt x="357" y="1198"/>
                </a:lnTo>
                <a:lnTo>
                  <a:pt x="361" y="1198"/>
                </a:lnTo>
                <a:lnTo>
                  <a:pt x="361" y="1201"/>
                </a:lnTo>
                <a:lnTo>
                  <a:pt x="361" y="1205"/>
                </a:lnTo>
                <a:lnTo>
                  <a:pt x="364" y="1205"/>
                </a:lnTo>
                <a:lnTo>
                  <a:pt x="364" y="1208"/>
                </a:lnTo>
                <a:lnTo>
                  <a:pt x="368" y="1208"/>
                </a:lnTo>
                <a:lnTo>
                  <a:pt x="371" y="1208"/>
                </a:lnTo>
                <a:lnTo>
                  <a:pt x="371" y="1211"/>
                </a:lnTo>
                <a:lnTo>
                  <a:pt x="375" y="1211"/>
                </a:lnTo>
                <a:lnTo>
                  <a:pt x="378" y="1211"/>
                </a:lnTo>
                <a:lnTo>
                  <a:pt x="378" y="1215"/>
                </a:lnTo>
                <a:lnTo>
                  <a:pt x="375" y="1218"/>
                </a:lnTo>
                <a:lnTo>
                  <a:pt x="375" y="1215"/>
                </a:lnTo>
                <a:lnTo>
                  <a:pt x="375" y="1218"/>
                </a:lnTo>
                <a:lnTo>
                  <a:pt x="375" y="1215"/>
                </a:lnTo>
                <a:lnTo>
                  <a:pt x="371" y="1215"/>
                </a:lnTo>
                <a:lnTo>
                  <a:pt x="371" y="1218"/>
                </a:lnTo>
                <a:lnTo>
                  <a:pt x="368" y="1218"/>
                </a:lnTo>
                <a:lnTo>
                  <a:pt x="364" y="1218"/>
                </a:lnTo>
                <a:lnTo>
                  <a:pt x="361" y="1218"/>
                </a:lnTo>
                <a:lnTo>
                  <a:pt x="361" y="1215"/>
                </a:lnTo>
                <a:lnTo>
                  <a:pt x="361" y="1218"/>
                </a:lnTo>
                <a:lnTo>
                  <a:pt x="361" y="1222"/>
                </a:lnTo>
                <a:lnTo>
                  <a:pt x="357" y="1225"/>
                </a:lnTo>
                <a:lnTo>
                  <a:pt x="354" y="1225"/>
                </a:lnTo>
                <a:lnTo>
                  <a:pt x="354" y="1222"/>
                </a:lnTo>
                <a:lnTo>
                  <a:pt x="351" y="1222"/>
                </a:lnTo>
                <a:lnTo>
                  <a:pt x="347" y="1218"/>
                </a:lnTo>
                <a:lnTo>
                  <a:pt x="344" y="1218"/>
                </a:lnTo>
                <a:lnTo>
                  <a:pt x="344" y="1222"/>
                </a:lnTo>
                <a:lnTo>
                  <a:pt x="340" y="1218"/>
                </a:lnTo>
                <a:lnTo>
                  <a:pt x="340" y="1215"/>
                </a:lnTo>
                <a:lnTo>
                  <a:pt x="337" y="1215"/>
                </a:lnTo>
                <a:lnTo>
                  <a:pt x="333" y="1211"/>
                </a:lnTo>
                <a:lnTo>
                  <a:pt x="333" y="1215"/>
                </a:lnTo>
                <a:lnTo>
                  <a:pt x="330" y="1215"/>
                </a:lnTo>
                <a:lnTo>
                  <a:pt x="330" y="1218"/>
                </a:lnTo>
                <a:lnTo>
                  <a:pt x="330" y="1222"/>
                </a:lnTo>
                <a:lnTo>
                  <a:pt x="330" y="1225"/>
                </a:lnTo>
                <a:lnTo>
                  <a:pt x="319" y="1225"/>
                </a:lnTo>
                <a:lnTo>
                  <a:pt x="316" y="1225"/>
                </a:lnTo>
                <a:lnTo>
                  <a:pt x="312" y="1225"/>
                </a:lnTo>
                <a:lnTo>
                  <a:pt x="312" y="1222"/>
                </a:lnTo>
                <a:lnTo>
                  <a:pt x="309" y="1218"/>
                </a:lnTo>
                <a:lnTo>
                  <a:pt x="309" y="1215"/>
                </a:lnTo>
                <a:lnTo>
                  <a:pt x="305" y="1211"/>
                </a:lnTo>
                <a:lnTo>
                  <a:pt x="302" y="1215"/>
                </a:lnTo>
                <a:lnTo>
                  <a:pt x="302" y="1211"/>
                </a:lnTo>
                <a:lnTo>
                  <a:pt x="298" y="1215"/>
                </a:lnTo>
                <a:lnTo>
                  <a:pt x="295" y="1215"/>
                </a:lnTo>
                <a:lnTo>
                  <a:pt x="291" y="1215"/>
                </a:lnTo>
                <a:lnTo>
                  <a:pt x="288" y="1215"/>
                </a:lnTo>
                <a:lnTo>
                  <a:pt x="285" y="1218"/>
                </a:lnTo>
                <a:lnTo>
                  <a:pt x="281" y="1218"/>
                </a:lnTo>
                <a:lnTo>
                  <a:pt x="278" y="1218"/>
                </a:lnTo>
                <a:lnTo>
                  <a:pt x="274" y="1218"/>
                </a:lnTo>
                <a:lnTo>
                  <a:pt x="274" y="1215"/>
                </a:lnTo>
                <a:lnTo>
                  <a:pt x="271" y="1211"/>
                </a:lnTo>
                <a:lnTo>
                  <a:pt x="271" y="1208"/>
                </a:lnTo>
                <a:lnTo>
                  <a:pt x="267" y="1211"/>
                </a:lnTo>
                <a:lnTo>
                  <a:pt x="264" y="1211"/>
                </a:lnTo>
                <a:lnTo>
                  <a:pt x="264" y="1208"/>
                </a:lnTo>
                <a:lnTo>
                  <a:pt x="260" y="1205"/>
                </a:lnTo>
                <a:lnTo>
                  <a:pt x="257" y="1208"/>
                </a:lnTo>
                <a:lnTo>
                  <a:pt x="257" y="1211"/>
                </a:lnTo>
                <a:lnTo>
                  <a:pt x="253" y="1211"/>
                </a:lnTo>
                <a:lnTo>
                  <a:pt x="257" y="1215"/>
                </a:lnTo>
                <a:lnTo>
                  <a:pt x="253" y="1218"/>
                </a:lnTo>
                <a:lnTo>
                  <a:pt x="253" y="1222"/>
                </a:lnTo>
                <a:lnTo>
                  <a:pt x="250" y="1222"/>
                </a:lnTo>
                <a:lnTo>
                  <a:pt x="246" y="1218"/>
                </a:lnTo>
                <a:lnTo>
                  <a:pt x="243" y="1215"/>
                </a:lnTo>
                <a:lnTo>
                  <a:pt x="239" y="1215"/>
                </a:lnTo>
                <a:lnTo>
                  <a:pt x="236" y="1215"/>
                </a:lnTo>
                <a:lnTo>
                  <a:pt x="232" y="1218"/>
                </a:lnTo>
                <a:lnTo>
                  <a:pt x="229" y="1218"/>
                </a:lnTo>
                <a:lnTo>
                  <a:pt x="226" y="1218"/>
                </a:lnTo>
                <a:lnTo>
                  <a:pt x="226" y="1222"/>
                </a:lnTo>
                <a:lnTo>
                  <a:pt x="226" y="1218"/>
                </a:lnTo>
                <a:lnTo>
                  <a:pt x="222" y="1215"/>
                </a:lnTo>
                <a:lnTo>
                  <a:pt x="222" y="1211"/>
                </a:lnTo>
                <a:lnTo>
                  <a:pt x="222" y="1208"/>
                </a:lnTo>
                <a:lnTo>
                  <a:pt x="219" y="1205"/>
                </a:lnTo>
                <a:lnTo>
                  <a:pt x="219" y="1201"/>
                </a:lnTo>
                <a:lnTo>
                  <a:pt x="215" y="1201"/>
                </a:lnTo>
                <a:lnTo>
                  <a:pt x="215" y="1205"/>
                </a:lnTo>
                <a:lnTo>
                  <a:pt x="215" y="1208"/>
                </a:lnTo>
                <a:lnTo>
                  <a:pt x="212" y="1208"/>
                </a:lnTo>
                <a:lnTo>
                  <a:pt x="212" y="1211"/>
                </a:lnTo>
                <a:lnTo>
                  <a:pt x="212" y="1215"/>
                </a:lnTo>
                <a:lnTo>
                  <a:pt x="208" y="1218"/>
                </a:lnTo>
                <a:lnTo>
                  <a:pt x="212" y="1222"/>
                </a:lnTo>
                <a:lnTo>
                  <a:pt x="208" y="1225"/>
                </a:lnTo>
                <a:lnTo>
                  <a:pt x="208" y="1229"/>
                </a:lnTo>
                <a:lnTo>
                  <a:pt x="205" y="1232"/>
                </a:lnTo>
                <a:lnTo>
                  <a:pt x="205" y="1239"/>
                </a:lnTo>
                <a:lnTo>
                  <a:pt x="205" y="1243"/>
                </a:lnTo>
                <a:lnTo>
                  <a:pt x="205" y="1246"/>
                </a:lnTo>
                <a:lnTo>
                  <a:pt x="205" y="1250"/>
                </a:lnTo>
                <a:lnTo>
                  <a:pt x="205" y="1253"/>
                </a:lnTo>
                <a:lnTo>
                  <a:pt x="205" y="1257"/>
                </a:lnTo>
                <a:lnTo>
                  <a:pt x="201" y="1260"/>
                </a:lnTo>
                <a:lnTo>
                  <a:pt x="198" y="1257"/>
                </a:lnTo>
                <a:lnTo>
                  <a:pt x="194" y="1257"/>
                </a:lnTo>
                <a:lnTo>
                  <a:pt x="191" y="1257"/>
                </a:lnTo>
                <a:lnTo>
                  <a:pt x="187" y="1257"/>
                </a:lnTo>
                <a:lnTo>
                  <a:pt x="184" y="1260"/>
                </a:lnTo>
                <a:lnTo>
                  <a:pt x="180" y="1264"/>
                </a:lnTo>
                <a:lnTo>
                  <a:pt x="184" y="1270"/>
                </a:lnTo>
                <a:lnTo>
                  <a:pt x="184" y="1274"/>
                </a:lnTo>
                <a:lnTo>
                  <a:pt x="184" y="1277"/>
                </a:lnTo>
                <a:lnTo>
                  <a:pt x="180" y="1274"/>
                </a:lnTo>
                <a:lnTo>
                  <a:pt x="177" y="1274"/>
                </a:lnTo>
                <a:lnTo>
                  <a:pt x="177" y="1277"/>
                </a:lnTo>
                <a:lnTo>
                  <a:pt x="173" y="1277"/>
                </a:lnTo>
                <a:lnTo>
                  <a:pt x="173" y="1281"/>
                </a:lnTo>
                <a:lnTo>
                  <a:pt x="173" y="1277"/>
                </a:lnTo>
                <a:lnTo>
                  <a:pt x="170" y="1277"/>
                </a:lnTo>
                <a:lnTo>
                  <a:pt x="170" y="1281"/>
                </a:lnTo>
                <a:lnTo>
                  <a:pt x="166" y="1281"/>
                </a:lnTo>
                <a:lnTo>
                  <a:pt x="166" y="1284"/>
                </a:lnTo>
                <a:lnTo>
                  <a:pt x="166" y="1288"/>
                </a:lnTo>
                <a:lnTo>
                  <a:pt x="163" y="1288"/>
                </a:lnTo>
                <a:lnTo>
                  <a:pt x="163" y="1284"/>
                </a:lnTo>
                <a:lnTo>
                  <a:pt x="163" y="1281"/>
                </a:lnTo>
                <a:lnTo>
                  <a:pt x="160" y="1281"/>
                </a:lnTo>
                <a:lnTo>
                  <a:pt x="156" y="1281"/>
                </a:lnTo>
                <a:lnTo>
                  <a:pt x="156" y="1284"/>
                </a:lnTo>
                <a:lnTo>
                  <a:pt x="156" y="1277"/>
                </a:lnTo>
                <a:lnTo>
                  <a:pt x="153" y="1281"/>
                </a:lnTo>
                <a:lnTo>
                  <a:pt x="149" y="1281"/>
                </a:lnTo>
                <a:lnTo>
                  <a:pt x="149" y="1284"/>
                </a:lnTo>
                <a:lnTo>
                  <a:pt x="146" y="1284"/>
                </a:lnTo>
                <a:lnTo>
                  <a:pt x="146" y="1288"/>
                </a:lnTo>
                <a:lnTo>
                  <a:pt x="146" y="1291"/>
                </a:lnTo>
                <a:lnTo>
                  <a:pt x="142" y="1291"/>
                </a:lnTo>
                <a:lnTo>
                  <a:pt x="142" y="1295"/>
                </a:lnTo>
                <a:lnTo>
                  <a:pt x="142" y="1298"/>
                </a:lnTo>
                <a:lnTo>
                  <a:pt x="139" y="1302"/>
                </a:lnTo>
                <a:lnTo>
                  <a:pt x="139" y="1305"/>
                </a:lnTo>
                <a:lnTo>
                  <a:pt x="135" y="1309"/>
                </a:lnTo>
                <a:lnTo>
                  <a:pt x="135" y="1312"/>
                </a:lnTo>
                <a:lnTo>
                  <a:pt x="135" y="1316"/>
                </a:lnTo>
                <a:lnTo>
                  <a:pt x="135" y="1319"/>
                </a:lnTo>
                <a:lnTo>
                  <a:pt x="132" y="1319"/>
                </a:lnTo>
                <a:lnTo>
                  <a:pt x="128" y="1319"/>
                </a:lnTo>
                <a:lnTo>
                  <a:pt x="125" y="1323"/>
                </a:lnTo>
                <a:lnTo>
                  <a:pt x="121" y="1319"/>
                </a:lnTo>
                <a:lnTo>
                  <a:pt x="121" y="1323"/>
                </a:lnTo>
                <a:lnTo>
                  <a:pt x="118" y="1326"/>
                </a:lnTo>
                <a:lnTo>
                  <a:pt x="118" y="1330"/>
                </a:lnTo>
                <a:lnTo>
                  <a:pt x="114" y="1330"/>
                </a:lnTo>
                <a:lnTo>
                  <a:pt x="118" y="1330"/>
                </a:lnTo>
                <a:lnTo>
                  <a:pt x="118" y="1333"/>
                </a:lnTo>
                <a:lnTo>
                  <a:pt x="114" y="1333"/>
                </a:lnTo>
                <a:lnTo>
                  <a:pt x="111" y="1333"/>
                </a:lnTo>
                <a:lnTo>
                  <a:pt x="111" y="1336"/>
                </a:lnTo>
                <a:lnTo>
                  <a:pt x="111" y="1340"/>
                </a:lnTo>
                <a:lnTo>
                  <a:pt x="107" y="1340"/>
                </a:lnTo>
                <a:lnTo>
                  <a:pt x="104" y="1340"/>
                </a:lnTo>
                <a:lnTo>
                  <a:pt x="104" y="1343"/>
                </a:lnTo>
                <a:lnTo>
                  <a:pt x="104" y="1347"/>
                </a:lnTo>
                <a:lnTo>
                  <a:pt x="101" y="1347"/>
                </a:lnTo>
                <a:lnTo>
                  <a:pt x="101" y="1350"/>
                </a:lnTo>
                <a:lnTo>
                  <a:pt x="97" y="1350"/>
                </a:lnTo>
                <a:lnTo>
                  <a:pt x="94" y="1354"/>
                </a:lnTo>
                <a:lnTo>
                  <a:pt x="90" y="1354"/>
                </a:lnTo>
                <a:lnTo>
                  <a:pt x="87" y="1357"/>
                </a:lnTo>
                <a:lnTo>
                  <a:pt x="83" y="1357"/>
                </a:lnTo>
                <a:lnTo>
                  <a:pt x="83" y="1361"/>
                </a:lnTo>
                <a:lnTo>
                  <a:pt x="80" y="1361"/>
                </a:lnTo>
                <a:lnTo>
                  <a:pt x="80" y="1364"/>
                </a:lnTo>
                <a:lnTo>
                  <a:pt x="76" y="1364"/>
                </a:lnTo>
                <a:lnTo>
                  <a:pt x="76" y="1368"/>
                </a:lnTo>
                <a:lnTo>
                  <a:pt x="73" y="1368"/>
                </a:lnTo>
                <a:lnTo>
                  <a:pt x="73" y="1364"/>
                </a:lnTo>
                <a:lnTo>
                  <a:pt x="69" y="1364"/>
                </a:lnTo>
                <a:lnTo>
                  <a:pt x="69" y="1368"/>
                </a:lnTo>
                <a:lnTo>
                  <a:pt x="66" y="1368"/>
                </a:lnTo>
                <a:lnTo>
                  <a:pt x="66" y="1371"/>
                </a:lnTo>
                <a:lnTo>
                  <a:pt x="62" y="1371"/>
                </a:lnTo>
                <a:lnTo>
                  <a:pt x="62" y="1375"/>
                </a:lnTo>
                <a:lnTo>
                  <a:pt x="59" y="1375"/>
                </a:lnTo>
                <a:lnTo>
                  <a:pt x="55" y="1375"/>
                </a:lnTo>
                <a:lnTo>
                  <a:pt x="55" y="1378"/>
                </a:lnTo>
                <a:lnTo>
                  <a:pt x="52" y="1378"/>
                </a:lnTo>
                <a:lnTo>
                  <a:pt x="52" y="1382"/>
                </a:lnTo>
                <a:lnTo>
                  <a:pt x="48" y="1385"/>
                </a:lnTo>
                <a:lnTo>
                  <a:pt x="48" y="1389"/>
                </a:lnTo>
                <a:lnTo>
                  <a:pt x="45" y="1392"/>
                </a:lnTo>
                <a:lnTo>
                  <a:pt x="45" y="1389"/>
                </a:lnTo>
                <a:lnTo>
                  <a:pt x="42" y="1389"/>
                </a:lnTo>
                <a:lnTo>
                  <a:pt x="42" y="1392"/>
                </a:lnTo>
                <a:lnTo>
                  <a:pt x="38" y="1392"/>
                </a:lnTo>
                <a:lnTo>
                  <a:pt x="35" y="1392"/>
                </a:lnTo>
                <a:lnTo>
                  <a:pt x="35" y="1389"/>
                </a:lnTo>
                <a:lnTo>
                  <a:pt x="35" y="1392"/>
                </a:lnTo>
                <a:lnTo>
                  <a:pt x="31" y="1392"/>
                </a:lnTo>
                <a:lnTo>
                  <a:pt x="31" y="1396"/>
                </a:lnTo>
                <a:lnTo>
                  <a:pt x="28" y="1396"/>
                </a:lnTo>
                <a:lnTo>
                  <a:pt x="28" y="1399"/>
                </a:lnTo>
                <a:lnTo>
                  <a:pt x="28" y="1396"/>
                </a:lnTo>
                <a:lnTo>
                  <a:pt x="28" y="1392"/>
                </a:lnTo>
                <a:lnTo>
                  <a:pt x="24" y="1392"/>
                </a:lnTo>
                <a:lnTo>
                  <a:pt x="24" y="1389"/>
                </a:lnTo>
                <a:lnTo>
                  <a:pt x="21" y="1389"/>
                </a:lnTo>
                <a:lnTo>
                  <a:pt x="21" y="1392"/>
                </a:lnTo>
                <a:lnTo>
                  <a:pt x="17" y="1392"/>
                </a:lnTo>
                <a:lnTo>
                  <a:pt x="14" y="1392"/>
                </a:lnTo>
                <a:lnTo>
                  <a:pt x="14" y="1396"/>
                </a:lnTo>
                <a:lnTo>
                  <a:pt x="14" y="1392"/>
                </a:lnTo>
                <a:lnTo>
                  <a:pt x="14" y="1396"/>
                </a:lnTo>
                <a:lnTo>
                  <a:pt x="10" y="1396"/>
                </a:lnTo>
                <a:lnTo>
                  <a:pt x="10" y="1399"/>
                </a:lnTo>
                <a:lnTo>
                  <a:pt x="7" y="1399"/>
                </a:lnTo>
                <a:lnTo>
                  <a:pt x="3" y="1399"/>
                </a:lnTo>
                <a:lnTo>
                  <a:pt x="0" y="1396"/>
                </a:lnTo>
                <a:lnTo>
                  <a:pt x="3" y="1392"/>
                </a:lnTo>
                <a:lnTo>
                  <a:pt x="3" y="1396"/>
                </a:lnTo>
                <a:lnTo>
                  <a:pt x="3" y="1392"/>
                </a:lnTo>
                <a:lnTo>
                  <a:pt x="3" y="1389"/>
                </a:lnTo>
                <a:lnTo>
                  <a:pt x="7" y="1389"/>
                </a:lnTo>
                <a:lnTo>
                  <a:pt x="7" y="1385"/>
                </a:lnTo>
                <a:lnTo>
                  <a:pt x="7" y="1382"/>
                </a:lnTo>
                <a:lnTo>
                  <a:pt x="3" y="1382"/>
                </a:lnTo>
                <a:lnTo>
                  <a:pt x="3" y="1378"/>
                </a:lnTo>
                <a:lnTo>
                  <a:pt x="7" y="1378"/>
                </a:lnTo>
                <a:lnTo>
                  <a:pt x="7" y="1375"/>
                </a:lnTo>
                <a:lnTo>
                  <a:pt x="7" y="1371"/>
                </a:lnTo>
                <a:lnTo>
                  <a:pt x="10" y="1371"/>
                </a:lnTo>
                <a:lnTo>
                  <a:pt x="10" y="1368"/>
                </a:lnTo>
                <a:lnTo>
                  <a:pt x="10" y="1364"/>
                </a:lnTo>
                <a:lnTo>
                  <a:pt x="10" y="1361"/>
                </a:lnTo>
                <a:lnTo>
                  <a:pt x="10" y="1357"/>
                </a:lnTo>
                <a:lnTo>
                  <a:pt x="7" y="1357"/>
                </a:lnTo>
                <a:lnTo>
                  <a:pt x="10" y="1350"/>
                </a:lnTo>
                <a:lnTo>
                  <a:pt x="14" y="1343"/>
                </a:lnTo>
                <a:lnTo>
                  <a:pt x="21" y="1336"/>
                </a:lnTo>
                <a:lnTo>
                  <a:pt x="24" y="1333"/>
                </a:lnTo>
                <a:lnTo>
                  <a:pt x="28" y="1333"/>
                </a:lnTo>
                <a:lnTo>
                  <a:pt x="28" y="1330"/>
                </a:lnTo>
                <a:lnTo>
                  <a:pt x="28" y="1326"/>
                </a:lnTo>
                <a:lnTo>
                  <a:pt x="31" y="1326"/>
                </a:lnTo>
                <a:lnTo>
                  <a:pt x="28" y="1323"/>
                </a:lnTo>
                <a:lnTo>
                  <a:pt x="31" y="1319"/>
                </a:lnTo>
                <a:lnTo>
                  <a:pt x="35" y="1319"/>
                </a:lnTo>
                <a:lnTo>
                  <a:pt x="35" y="1316"/>
                </a:lnTo>
                <a:lnTo>
                  <a:pt x="38" y="1316"/>
                </a:lnTo>
                <a:lnTo>
                  <a:pt x="42" y="1316"/>
                </a:lnTo>
                <a:lnTo>
                  <a:pt x="45" y="1312"/>
                </a:lnTo>
                <a:lnTo>
                  <a:pt x="48" y="1312"/>
                </a:lnTo>
                <a:lnTo>
                  <a:pt x="48" y="1309"/>
                </a:lnTo>
                <a:lnTo>
                  <a:pt x="48" y="1305"/>
                </a:lnTo>
                <a:lnTo>
                  <a:pt x="48" y="1302"/>
                </a:lnTo>
                <a:lnTo>
                  <a:pt x="48" y="1298"/>
                </a:lnTo>
                <a:lnTo>
                  <a:pt x="52" y="1295"/>
                </a:lnTo>
                <a:lnTo>
                  <a:pt x="52" y="1291"/>
                </a:lnTo>
                <a:lnTo>
                  <a:pt x="52" y="1288"/>
                </a:lnTo>
                <a:lnTo>
                  <a:pt x="55" y="1288"/>
                </a:lnTo>
                <a:lnTo>
                  <a:pt x="59" y="1288"/>
                </a:lnTo>
                <a:lnTo>
                  <a:pt x="62" y="1288"/>
                </a:lnTo>
                <a:lnTo>
                  <a:pt x="66" y="1288"/>
                </a:lnTo>
                <a:lnTo>
                  <a:pt x="69" y="1288"/>
                </a:lnTo>
                <a:lnTo>
                  <a:pt x="73" y="1288"/>
                </a:lnTo>
                <a:lnTo>
                  <a:pt x="73" y="1284"/>
                </a:lnTo>
                <a:lnTo>
                  <a:pt x="73" y="1281"/>
                </a:lnTo>
                <a:lnTo>
                  <a:pt x="73" y="1277"/>
                </a:lnTo>
                <a:lnTo>
                  <a:pt x="73" y="1274"/>
                </a:lnTo>
                <a:lnTo>
                  <a:pt x="73" y="1270"/>
                </a:lnTo>
                <a:lnTo>
                  <a:pt x="73" y="1267"/>
                </a:lnTo>
                <a:lnTo>
                  <a:pt x="76" y="1264"/>
                </a:lnTo>
                <a:lnTo>
                  <a:pt x="76" y="1260"/>
                </a:lnTo>
                <a:lnTo>
                  <a:pt x="80" y="1260"/>
                </a:lnTo>
                <a:lnTo>
                  <a:pt x="80" y="1257"/>
                </a:lnTo>
                <a:lnTo>
                  <a:pt x="83" y="1253"/>
                </a:lnTo>
                <a:lnTo>
                  <a:pt x="80" y="1250"/>
                </a:lnTo>
                <a:lnTo>
                  <a:pt x="83" y="1246"/>
                </a:lnTo>
                <a:lnTo>
                  <a:pt x="87" y="1239"/>
                </a:lnTo>
                <a:lnTo>
                  <a:pt x="90" y="1239"/>
                </a:lnTo>
                <a:lnTo>
                  <a:pt x="90" y="1236"/>
                </a:lnTo>
                <a:lnTo>
                  <a:pt x="94" y="1232"/>
                </a:lnTo>
                <a:lnTo>
                  <a:pt x="90" y="1232"/>
                </a:lnTo>
                <a:lnTo>
                  <a:pt x="94" y="1229"/>
                </a:lnTo>
                <a:lnTo>
                  <a:pt x="97" y="1225"/>
                </a:lnTo>
                <a:lnTo>
                  <a:pt x="97" y="1222"/>
                </a:lnTo>
                <a:lnTo>
                  <a:pt x="101" y="1222"/>
                </a:lnTo>
                <a:lnTo>
                  <a:pt x="104" y="1222"/>
                </a:lnTo>
                <a:lnTo>
                  <a:pt x="104" y="1225"/>
                </a:lnTo>
                <a:lnTo>
                  <a:pt x="107" y="1225"/>
                </a:lnTo>
                <a:lnTo>
                  <a:pt x="111" y="1225"/>
                </a:lnTo>
                <a:lnTo>
                  <a:pt x="114" y="1225"/>
                </a:lnTo>
                <a:lnTo>
                  <a:pt x="114" y="1229"/>
                </a:lnTo>
                <a:lnTo>
                  <a:pt x="118" y="1229"/>
                </a:lnTo>
                <a:lnTo>
                  <a:pt x="118" y="1225"/>
                </a:lnTo>
                <a:lnTo>
                  <a:pt x="114" y="1225"/>
                </a:lnTo>
                <a:lnTo>
                  <a:pt x="111" y="1225"/>
                </a:lnTo>
                <a:lnTo>
                  <a:pt x="114" y="1225"/>
                </a:lnTo>
                <a:lnTo>
                  <a:pt x="111" y="1225"/>
                </a:lnTo>
                <a:lnTo>
                  <a:pt x="111" y="1222"/>
                </a:lnTo>
                <a:lnTo>
                  <a:pt x="114" y="1222"/>
                </a:lnTo>
                <a:lnTo>
                  <a:pt x="111" y="1222"/>
                </a:lnTo>
                <a:lnTo>
                  <a:pt x="111" y="1218"/>
                </a:lnTo>
                <a:lnTo>
                  <a:pt x="111" y="1215"/>
                </a:lnTo>
                <a:lnTo>
                  <a:pt x="111" y="1218"/>
                </a:lnTo>
                <a:lnTo>
                  <a:pt x="107" y="1218"/>
                </a:lnTo>
                <a:lnTo>
                  <a:pt x="107" y="1215"/>
                </a:lnTo>
                <a:lnTo>
                  <a:pt x="104" y="1215"/>
                </a:lnTo>
                <a:lnTo>
                  <a:pt x="104" y="1211"/>
                </a:lnTo>
                <a:lnTo>
                  <a:pt x="101" y="1211"/>
                </a:lnTo>
                <a:lnTo>
                  <a:pt x="104" y="1211"/>
                </a:lnTo>
                <a:lnTo>
                  <a:pt x="104" y="1208"/>
                </a:lnTo>
                <a:lnTo>
                  <a:pt x="107" y="1208"/>
                </a:lnTo>
                <a:lnTo>
                  <a:pt x="104" y="1208"/>
                </a:lnTo>
                <a:lnTo>
                  <a:pt x="104" y="1205"/>
                </a:lnTo>
                <a:lnTo>
                  <a:pt x="101" y="1205"/>
                </a:lnTo>
                <a:lnTo>
                  <a:pt x="97" y="1205"/>
                </a:lnTo>
                <a:lnTo>
                  <a:pt x="101" y="1205"/>
                </a:lnTo>
                <a:lnTo>
                  <a:pt x="101" y="1201"/>
                </a:lnTo>
                <a:lnTo>
                  <a:pt x="97" y="1201"/>
                </a:lnTo>
                <a:lnTo>
                  <a:pt x="97" y="1198"/>
                </a:lnTo>
                <a:lnTo>
                  <a:pt x="94" y="1198"/>
                </a:lnTo>
                <a:lnTo>
                  <a:pt x="94" y="1194"/>
                </a:lnTo>
                <a:lnTo>
                  <a:pt x="90" y="1194"/>
                </a:lnTo>
                <a:lnTo>
                  <a:pt x="90" y="1191"/>
                </a:lnTo>
                <a:lnTo>
                  <a:pt x="94" y="1191"/>
                </a:lnTo>
                <a:lnTo>
                  <a:pt x="94" y="1187"/>
                </a:lnTo>
                <a:lnTo>
                  <a:pt x="94" y="1191"/>
                </a:lnTo>
                <a:lnTo>
                  <a:pt x="90" y="1187"/>
                </a:lnTo>
                <a:lnTo>
                  <a:pt x="87" y="1187"/>
                </a:lnTo>
                <a:lnTo>
                  <a:pt x="87" y="1184"/>
                </a:lnTo>
                <a:lnTo>
                  <a:pt x="90" y="1184"/>
                </a:lnTo>
                <a:lnTo>
                  <a:pt x="90" y="1187"/>
                </a:lnTo>
                <a:lnTo>
                  <a:pt x="90" y="1184"/>
                </a:lnTo>
                <a:lnTo>
                  <a:pt x="94" y="1184"/>
                </a:lnTo>
                <a:lnTo>
                  <a:pt x="90" y="1184"/>
                </a:lnTo>
                <a:lnTo>
                  <a:pt x="87" y="1184"/>
                </a:lnTo>
                <a:lnTo>
                  <a:pt x="87" y="1180"/>
                </a:lnTo>
                <a:lnTo>
                  <a:pt x="90" y="1177"/>
                </a:lnTo>
                <a:lnTo>
                  <a:pt x="87" y="1177"/>
                </a:lnTo>
                <a:lnTo>
                  <a:pt x="90" y="1173"/>
                </a:lnTo>
                <a:lnTo>
                  <a:pt x="94" y="1173"/>
                </a:lnTo>
                <a:lnTo>
                  <a:pt x="90" y="1173"/>
                </a:lnTo>
                <a:lnTo>
                  <a:pt x="90" y="1170"/>
                </a:lnTo>
                <a:lnTo>
                  <a:pt x="90" y="1166"/>
                </a:lnTo>
                <a:lnTo>
                  <a:pt x="87" y="1166"/>
                </a:lnTo>
                <a:lnTo>
                  <a:pt x="87" y="1163"/>
                </a:lnTo>
                <a:lnTo>
                  <a:pt x="83" y="1166"/>
                </a:lnTo>
                <a:lnTo>
                  <a:pt x="83" y="1163"/>
                </a:lnTo>
                <a:lnTo>
                  <a:pt x="83" y="1159"/>
                </a:lnTo>
                <a:lnTo>
                  <a:pt x="80" y="1152"/>
                </a:lnTo>
                <a:lnTo>
                  <a:pt x="76" y="1156"/>
                </a:lnTo>
                <a:lnTo>
                  <a:pt x="73" y="1156"/>
                </a:lnTo>
                <a:lnTo>
                  <a:pt x="73" y="1152"/>
                </a:lnTo>
                <a:lnTo>
                  <a:pt x="76" y="1152"/>
                </a:lnTo>
                <a:lnTo>
                  <a:pt x="73" y="1152"/>
                </a:lnTo>
                <a:lnTo>
                  <a:pt x="73" y="1149"/>
                </a:lnTo>
                <a:lnTo>
                  <a:pt x="73" y="1145"/>
                </a:lnTo>
                <a:lnTo>
                  <a:pt x="73" y="1142"/>
                </a:lnTo>
                <a:lnTo>
                  <a:pt x="69" y="1142"/>
                </a:lnTo>
                <a:lnTo>
                  <a:pt x="73" y="1142"/>
                </a:lnTo>
                <a:lnTo>
                  <a:pt x="69" y="1142"/>
                </a:lnTo>
                <a:lnTo>
                  <a:pt x="69" y="1139"/>
                </a:lnTo>
                <a:lnTo>
                  <a:pt x="66" y="1139"/>
                </a:lnTo>
                <a:lnTo>
                  <a:pt x="69" y="1135"/>
                </a:lnTo>
                <a:lnTo>
                  <a:pt x="66" y="1135"/>
                </a:lnTo>
                <a:lnTo>
                  <a:pt x="66" y="1132"/>
                </a:lnTo>
                <a:lnTo>
                  <a:pt x="69" y="1132"/>
                </a:lnTo>
                <a:lnTo>
                  <a:pt x="66" y="1132"/>
                </a:lnTo>
                <a:lnTo>
                  <a:pt x="69" y="1132"/>
                </a:lnTo>
                <a:lnTo>
                  <a:pt x="69" y="1128"/>
                </a:lnTo>
                <a:lnTo>
                  <a:pt x="66" y="1125"/>
                </a:lnTo>
                <a:lnTo>
                  <a:pt x="66" y="1121"/>
                </a:lnTo>
                <a:lnTo>
                  <a:pt x="69" y="1121"/>
                </a:lnTo>
                <a:lnTo>
                  <a:pt x="69" y="1118"/>
                </a:lnTo>
                <a:lnTo>
                  <a:pt x="73" y="1118"/>
                </a:lnTo>
                <a:lnTo>
                  <a:pt x="69" y="1114"/>
                </a:lnTo>
                <a:lnTo>
                  <a:pt x="73" y="1114"/>
                </a:lnTo>
                <a:lnTo>
                  <a:pt x="69" y="1114"/>
                </a:lnTo>
                <a:lnTo>
                  <a:pt x="69" y="1111"/>
                </a:lnTo>
                <a:lnTo>
                  <a:pt x="69" y="1107"/>
                </a:lnTo>
                <a:lnTo>
                  <a:pt x="69" y="1104"/>
                </a:lnTo>
                <a:lnTo>
                  <a:pt x="73" y="1104"/>
                </a:lnTo>
                <a:lnTo>
                  <a:pt x="73" y="1100"/>
                </a:lnTo>
                <a:lnTo>
                  <a:pt x="69" y="1100"/>
                </a:lnTo>
                <a:lnTo>
                  <a:pt x="73" y="1100"/>
                </a:lnTo>
                <a:lnTo>
                  <a:pt x="73" y="1097"/>
                </a:lnTo>
                <a:lnTo>
                  <a:pt x="76" y="1097"/>
                </a:lnTo>
                <a:lnTo>
                  <a:pt x="80" y="1097"/>
                </a:lnTo>
                <a:lnTo>
                  <a:pt x="80" y="1093"/>
                </a:lnTo>
                <a:lnTo>
                  <a:pt x="80" y="1090"/>
                </a:lnTo>
                <a:lnTo>
                  <a:pt x="80" y="1093"/>
                </a:lnTo>
                <a:lnTo>
                  <a:pt x="80" y="1090"/>
                </a:lnTo>
                <a:lnTo>
                  <a:pt x="83" y="1090"/>
                </a:lnTo>
                <a:lnTo>
                  <a:pt x="83" y="1086"/>
                </a:lnTo>
                <a:lnTo>
                  <a:pt x="83" y="1083"/>
                </a:lnTo>
                <a:lnTo>
                  <a:pt x="83" y="1079"/>
                </a:lnTo>
                <a:lnTo>
                  <a:pt x="87" y="1076"/>
                </a:lnTo>
                <a:lnTo>
                  <a:pt x="87" y="1073"/>
                </a:lnTo>
                <a:lnTo>
                  <a:pt x="87" y="1069"/>
                </a:lnTo>
                <a:lnTo>
                  <a:pt x="87" y="1066"/>
                </a:lnTo>
                <a:lnTo>
                  <a:pt x="87" y="1062"/>
                </a:lnTo>
                <a:lnTo>
                  <a:pt x="90" y="1062"/>
                </a:lnTo>
                <a:lnTo>
                  <a:pt x="87" y="1062"/>
                </a:lnTo>
                <a:lnTo>
                  <a:pt x="87" y="1059"/>
                </a:lnTo>
                <a:lnTo>
                  <a:pt x="87" y="1055"/>
                </a:lnTo>
                <a:lnTo>
                  <a:pt x="87" y="1052"/>
                </a:lnTo>
                <a:lnTo>
                  <a:pt x="87" y="1048"/>
                </a:lnTo>
                <a:lnTo>
                  <a:pt x="87" y="1052"/>
                </a:lnTo>
                <a:lnTo>
                  <a:pt x="87" y="1048"/>
                </a:lnTo>
                <a:lnTo>
                  <a:pt x="83" y="1048"/>
                </a:lnTo>
                <a:lnTo>
                  <a:pt x="87" y="1048"/>
                </a:lnTo>
                <a:lnTo>
                  <a:pt x="83" y="1048"/>
                </a:lnTo>
                <a:lnTo>
                  <a:pt x="87" y="1048"/>
                </a:lnTo>
                <a:lnTo>
                  <a:pt x="87" y="1045"/>
                </a:lnTo>
                <a:lnTo>
                  <a:pt x="87" y="1041"/>
                </a:lnTo>
                <a:lnTo>
                  <a:pt x="83" y="1041"/>
                </a:lnTo>
                <a:lnTo>
                  <a:pt x="87" y="1041"/>
                </a:lnTo>
                <a:lnTo>
                  <a:pt x="83" y="1041"/>
                </a:lnTo>
                <a:lnTo>
                  <a:pt x="83" y="1038"/>
                </a:lnTo>
                <a:lnTo>
                  <a:pt x="87" y="1038"/>
                </a:lnTo>
                <a:lnTo>
                  <a:pt x="83" y="1038"/>
                </a:lnTo>
                <a:lnTo>
                  <a:pt x="83" y="1034"/>
                </a:lnTo>
                <a:lnTo>
                  <a:pt x="80" y="1034"/>
                </a:lnTo>
                <a:lnTo>
                  <a:pt x="83" y="1034"/>
                </a:lnTo>
                <a:lnTo>
                  <a:pt x="83" y="1031"/>
                </a:lnTo>
                <a:lnTo>
                  <a:pt x="80" y="1031"/>
                </a:lnTo>
                <a:lnTo>
                  <a:pt x="80" y="1027"/>
                </a:lnTo>
                <a:lnTo>
                  <a:pt x="83" y="1027"/>
                </a:lnTo>
                <a:lnTo>
                  <a:pt x="80" y="1027"/>
                </a:lnTo>
                <a:lnTo>
                  <a:pt x="80" y="1024"/>
                </a:lnTo>
                <a:lnTo>
                  <a:pt x="83" y="1024"/>
                </a:lnTo>
                <a:lnTo>
                  <a:pt x="80" y="1024"/>
                </a:lnTo>
                <a:lnTo>
                  <a:pt x="80" y="1020"/>
                </a:lnTo>
                <a:lnTo>
                  <a:pt x="80" y="1017"/>
                </a:lnTo>
                <a:lnTo>
                  <a:pt x="76" y="1017"/>
                </a:lnTo>
                <a:lnTo>
                  <a:pt x="76" y="1014"/>
                </a:lnTo>
                <a:lnTo>
                  <a:pt x="76" y="1010"/>
                </a:lnTo>
                <a:lnTo>
                  <a:pt x="73" y="1010"/>
                </a:lnTo>
                <a:lnTo>
                  <a:pt x="76" y="1010"/>
                </a:lnTo>
                <a:lnTo>
                  <a:pt x="73" y="1010"/>
                </a:lnTo>
                <a:lnTo>
                  <a:pt x="73" y="1007"/>
                </a:lnTo>
                <a:lnTo>
                  <a:pt x="73" y="1003"/>
                </a:lnTo>
                <a:lnTo>
                  <a:pt x="69" y="1003"/>
                </a:lnTo>
                <a:lnTo>
                  <a:pt x="73" y="1003"/>
                </a:lnTo>
                <a:lnTo>
                  <a:pt x="69" y="1003"/>
                </a:lnTo>
                <a:lnTo>
                  <a:pt x="69" y="1000"/>
                </a:lnTo>
                <a:lnTo>
                  <a:pt x="73" y="1000"/>
                </a:lnTo>
                <a:lnTo>
                  <a:pt x="73" y="996"/>
                </a:lnTo>
                <a:lnTo>
                  <a:pt x="69" y="996"/>
                </a:lnTo>
                <a:lnTo>
                  <a:pt x="69" y="993"/>
                </a:lnTo>
                <a:lnTo>
                  <a:pt x="69" y="996"/>
                </a:lnTo>
                <a:lnTo>
                  <a:pt x="69" y="993"/>
                </a:lnTo>
                <a:lnTo>
                  <a:pt x="69" y="989"/>
                </a:lnTo>
                <a:lnTo>
                  <a:pt x="66" y="993"/>
                </a:lnTo>
                <a:lnTo>
                  <a:pt x="66" y="989"/>
                </a:lnTo>
                <a:lnTo>
                  <a:pt x="66" y="986"/>
                </a:lnTo>
                <a:lnTo>
                  <a:pt x="66" y="982"/>
                </a:lnTo>
                <a:lnTo>
                  <a:pt x="66" y="979"/>
                </a:lnTo>
                <a:lnTo>
                  <a:pt x="66" y="975"/>
                </a:lnTo>
                <a:lnTo>
                  <a:pt x="62" y="975"/>
                </a:lnTo>
                <a:lnTo>
                  <a:pt x="62" y="972"/>
                </a:lnTo>
                <a:lnTo>
                  <a:pt x="62" y="968"/>
                </a:lnTo>
                <a:lnTo>
                  <a:pt x="66" y="968"/>
                </a:lnTo>
                <a:lnTo>
                  <a:pt x="66" y="965"/>
                </a:lnTo>
                <a:lnTo>
                  <a:pt x="66" y="961"/>
                </a:lnTo>
                <a:lnTo>
                  <a:pt x="66" y="958"/>
                </a:lnTo>
                <a:lnTo>
                  <a:pt x="66" y="954"/>
                </a:lnTo>
                <a:lnTo>
                  <a:pt x="66" y="951"/>
                </a:lnTo>
                <a:lnTo>
                  <a:pt x="66" y="948"/>
                </a:lnTo>
                <a:lnTo>
                  <a:pt x="66" y="944"/>
                </a:lnTo>
                <a:lnTo>
                  <a:pt x="62" y="944"/>
                </a:lnTo>
                <a:lnTo>
                  <a:pt x="62" y="948"/>
                </a:lnTo>
                <a:lnTo>
                  <a:pt x="62" y="944"/>
                </a:lnTo>
                <a:lnTo>
                  <a:pt x="62" y="948"/>
                </a:lnTo>
                <a:lnTo>
                  <a:pt x="62" y="944"/>
                </a:lnTo>
                <a:lnTo>
                  <a:pt x="62" y="941"/>
                </a:lnTo>
                <a:lnTo>
                  <a:pt x="62" y="937"/>
                </a:lnTo>
                <a:lnTo>
                  <a:pt x="59" y="937"/>
                </a:lnTo>
                <a:lnTo>
                  <a:pt x="62" y="937"/>
                </a:lnTo>
                <a:lnTo>
                  <a:pt x="59" y="937"/>
                </a:lnTo>
                <a:lnTo>
                  <a:pt x="62" y="937"/>
                </a:lnTo>
                <a:lnTo>
                  <a:pt x="62" y="934"/>
                </a:lnTo>
                <a:lnTo>
                  <a:pt x="62" y="930"/>
                </a:lnTo>
                <a:lnTo>
                  <a:pt x="62" y="934"/>
                </a:lnTo>
                <a:lnTo>
                  <a:pt x="62" y="930"/>
                </a:lnTo>
                <a:lnTo>
                  <a:pt x="59" y="930"/>
                </a:lnTo>
                <a:lnTo>
                  <a:pt x="59" y="927"/>
                </a:lnTo>
                <a:lnTo>
                  <a:pt x="59" y="923"/>
                </a:lnTo>
                <a:lnTo>
                  <a:pt x="59" y="920"/>
                </a:lnTo>
                <a:lnTo>
                  <a:pt x="55" y="920"/>
                </a:lnTo>
                <a:lnTo>
                  <a:pt x="55" y="916"/>
                </a:lnTo>
                <a:lnTo>
                  <a:pt x="52" y="913"/>
                </a:lnTo>
                <a:lnTo>
                  <a:pt x="52" y="909"/>
                </a:lnTo>
                <a:lnTo>
                  <a:pt x="48" y="909"/>
                </a:lnTo>
                <a:lnTo>
                  <a:pt x="52" y="909"/>
                </a:lnTo>
                <a:lnTo>
                  <a:pt x="52" y="906"/>
                </a:lnTo>
                <a:lnTo>
                  <a:pt x="52" y="902"/>
                </a:lnTo>
                <a:lnTo>
                  <a:pt x="48" y="902"/>
                </a:lnTo>
                <a:lnTo>
                  <a:pt x="52" y="902"/>
                </a:lnTo>
                <a:lnTo>
                  <a:pt x="52" y="899"/>
                </a:lnTo>
                <a:lnTo>
                  <a:pt x="48" y="899"/>
                </a:lnTo>
                <a:lnTo>
                  <a:pt x="45" y="899"/>
                </a:lnTo>
                <a:lnTo>
                  <a:pt x="48" y="899"/>
                </a:lnTo>
                <a:lnTo>
                  <a:pt x="48" y="895"/>
                </a:lnTo>
                <a:lnTo>
                  <a:pt x="48" y="892"/>
                </a:lnTo>
                <a:lnTo>
                  <a:pt x="48" y="889"/>
                </a:lnTo>
                <a:lnTo>
                  <a:pt x="48" y="892"/>
                </a:lnTo>
                <a:lnTo>
                  <a:pt x="48" y="889"/>
                </a:lnTo>
                <a:lnTo>
                  <a:pt x="45" y="889"/>
                </a:lnTo>
                <a:lnTo>
                  <a:pt x="45" y="885"/>
                </a:lnTo>
                <a:lnTo>
                  <a:pt x="45" y="882"/>
                </a:lnTo>
                <a:lnTo>
                  <a:pt x="48" y="882"/>
                </a:lnTo>
                <a:lnTo>
                  <a:pt x="45" y="882"/>
                </a:lnTo>
                <a:lnTo>
                  <a:pt x="45" y="878"/>
                </a:lnTo>
                <a:lnTo>
                  <a:pt x="48" y="878"/>
                </a:lnTo>
                <a:lnTo>
                  <a:pt x="45" y="878"/>
                </a:lnTo>
                <a:lnTo>
                  <a:pt x="45" y="875"/>
                </a:lnTo>
                <a:lnTo>
                  <a:pt x="42" y="878"/>
                </a:lnTo>
                <a:lnTo>
                  <a:pt x="42" y="875"/>
                </a:lnTo>
                <a:lnTo>
                  <a:pt x="38" y="875"/>
                </a:lnTo>
                <a:lnTo>
                  <a:pt x="42" y="875"/>
                </a:lnTo>
                <a:lnTo>
                  <a:pt x="42" y="871"/>
                </a:lnTo>
                <a:lnTo>
                  <a:pt x="38" y="871"/>
                </a:lnTo>
                <a:lnTo>
                  <a:pt x="42" y="871"/>
                </a:lnTo>
                <a:lnTo>
                  <a:pt x="42" y="868"/>
                </a:lnTo>
                <a:lnTo>
                  <a:pt x="38" y="868"/>
                </a:lnTo>
                <a:lnTo>
                  <a:pt x="38" y="864"/>
                </a:lnTo>
                <a:lnTo>
                  <a:pt x="38" y="861"/>
                </a:lnTo>
                <a:lnTo>
                  <a:pt x="38" y="857"/>
                </a:lnTo>
                <a:lnTo>
                  <a:pt x="38" y="861"/>
                </a:lnTo>
                <a:lnTo>
                  <a:pt x="38" y="857"/>
                </a:lnTo>
                <a:lnTo>
                  <a:pt x="42" y="857"/>
                </a:lnTo>
                <a:lnTo>
                  <a:pt x="38" y="857"/>
                </a:lnTo>
                <a:lnTo>
                  <a:pt x="38" y="854"/>
                </a:lnTo>
                <a:lnTo>
                  <a:pt x="35" y="854"/>
                </a:lnTo>
                <a:lnTo>
                  <a:pt x="35" y="850"/>
                </a:lnTo>
                <a:lnTo>
                  <a:pt x="35" y="847"/>
                </a:lnTo>
                <a:lnTo>
                  <a:pt x="31" y="847"/>
                </a:lnTo>
                <a:lnTo>
                  <a:pt x="28" y="847"/>
                </a:lnTo>
                <a:lnTo>
                  <a:pt x="31" y="847"/>
                </a:lnTo>
                <a:lnTo>
                  <a:pt x="31" y="843"/>
                </a:lnTo>
                <a:lnTo>
                  <a:pt x="28" y="843"/>
                </a:lnTo>
                <a:lnTo>
                  <a:pt x="31" y="843"/>
                </a:lnTo>
                <a:lnTo>
                  <a:pt x="31" y="840"/>
                </a:lnTo>
                <a:lnTo>
                  <a:pt x="28" y="840"/>
                </a:lnTo>
                <a:lnTo>
                  <a:pt x="31" y="840"/>
                </a:lnTo>
                <a:lnTo>
                  <a:pt x="31" y="836"/>
                </a:lnTo>
                <a:lnTo>
                  <a:pt x="28" y="836"/>
                </a:lnTo>
                <a:lnTo>
                  <a:pt x="28" y="840"/>
                </a:lnTo>
                <a:lnTo>
                  <a:pt x="28" y="836"/>
                </a:lnTo>
                <a:lnTo>
                  <a:pt x="28" y="833"/>
                </a:lnTo>
                <a:lnTo>
                  <a:pt x="24" y="833"/>
                </a:lnTo>
                <a:lnTo>
                  <a:pt x="24" y="829"/>
                </a:lnTo>
                <a:lnTo>
                  <a:pt x="24" y="833"/>
                </a:lnTo>
                <a:lnTo>
                  <a:pt x="24" y="829"/>
                </a:lnTo>
                <a:lnTo>
                  <a:pt x="21" y="829"/>
                </a:lnTo>
                <a:lnTo>
                  <a:pt x="24" y="826"/>
                </a:lnTo>
                <a:lnTo>
                  <a:pt x="21" y="826"/>
                </a:lnTo>
                <a:lnTo>
                  <a:pt x="17" y="826"/>
                </a:lnTo>
                <a:lnTo>
                  <a:pt x="17" y="823"/>
                </a:lnTo>
                <a:lnTo>
                  <a:pt x="14" y="823"/>
                </a:lnTo>
                <a:lnTo>
                  <a:pt x="14" y="819"/>
                </a:lnTo>
                <a:lnTo>
                  <a:pt x="17" y="819"/>
                </a:lnTo>
                <a:lnTo>
                  <a:pt x="24" y="816"/>
                </a:lnTo>
                <a:lnTo>
                  <a:pt x="28" y="816"/>
                </a:lnTo>
                <a:lnTo>
                  <a:pt x="28" y="812"/>
                </a:lnTo>
                <a:lnTo>
                  <a:pt x="28" y="809"/>
                </a:lnTo>
                <a:lnTo>
                  <a:pt x="24" y="809"/>
                </a:lnTo>
                <a:lnTo>
                  <a:pt x="28" y="805"/>
                </a:lnTo>
                <a:lnTo>
                  <a:pt x="35" y="805"/>
                </a:lnTo>
                <a:lnTo>
                  <a:pt x="45" y="802"/>
                </a:lnTo>
                <a:lnTo>
                  <a:pt x="48" y="802"/>
                </a:lnTo>
                <a:lnTo>
                  <a:pt x="52" y="798"/>
                </a:lnTo>
                <a:lnTo>
                  <a:pt x="48" y="795"/>
                </a:lnTo>
                <a:lnTo>
                  <a:pt x="52" y="791"/>
                </a:lnTo>
                <a:lnTo>
                  <a:pt x="55" y="781"/>
                </a:lnTo>
                <a:lnTo>
                  <a:pt x="59" y="777"/>
                </a:lnTo>
                <a:lnTo>
                  <a:pt x="62" y="777"/>
                </a:lnTo>
                <a:lnTo>
                  <a:pt x="66" y="777"/>
                </a:lnTo>
                <a:lnTo>
                  <a:pt x="73" y="777"/>
                </a:lnTo>
                <a:lnTo>
                  <a:pt x="66" y="781"/>
                </a:lnTo>
                <a:lnTo>
                  <a:pt x="66" y="784"/>
                </a:lnTo>
                <a:lnTo>
                  <a:pt x="62" y="788"/>
                </a:lnTo>
                <a:lnTo>
                  <a:pt x="69" y="791"/>
                </a:lnTo>
                <a:lnTo>
                  <a:pt x="73" y="795"/>
                </a:lnTo>
                <a:lnTo>
                  <a:pt x="76" y="791"/>
                </a:lnTo>
                <a:lnTo>
                  <a:pt x="80" y="791"/>
                </a:lnTo>
                <a:lnTo>
                  <a:pt x="80" y="788"/>
                </a:lnTo>
                <a:lnTo>
                  <a:pt x="80" y="784"/>
                </a:lnTo>
                <a:lnTo>
                  <a:pt x="76" y="777"/>
                </a:lnTo>
                <a:lnTo>
                  <a:pt x="76" y="770"/>
                </a:lnTo>
                <a:lnTo>
                  <a:pt x="76" y="767"/>
                </a:lnTo>
                <a:lnTo>
                  <a:pt x="80" y="770"/>
                </a:lnTo>
                <a:lnTo>
                  <a:pt x="87" y="770"/>
                </a:lnTo>
                <a:lnTo>
                  <a:pt x="97" y="770"/>
                </a:lnTo>
                <a:lnTo>
                  <a:pt x="101" y="767"/>
                </a:lnTo>
                <a:lnTo>
                  <a:pt x="104" y="767"/>
                </a:lnTo>
                <a:lnTo>
                  <a:pt x="107" y="767"/>
                </a:lnTo>
                <a:lnTo>
                  <a:pt x="111" y="763"/>
                </a:lnTo>
                <a:lnTo>
                  <a:pt x="118" y="763"/>
                </a:lnTo>
                <a:lnTo>
                  <a:pt x="125" y="763"/>
                </a:lnTo>
                <a:lnTo>
                  <a:pt x="128" y="760"/>
                </a:lnTo>
                <a:lnTo>
                  <a:pt x="132" y="760"/>
                </a:lnTo>
                <a:lnTo>
                  <a:pt x="139" y="760"/>
                </a:lnTo>
                <a:lnTo>
                  <a:pt x="142" y="760"/>
                </a:lnTo>
                <a:lnTo>
                  <a:pt x="146" y="760"/>
                </a:lnTo>
                <a:lnTo>
                  <a:pt x="149" y="760"/>
                </a:lnTo>
                <a:lnTo>
                  <a:pt x="153" y="760"/>
                </a:lnTo>
                <a:lnTo>
                  <a:pt x="156" y="760"/>
                </a:lnTo>
                <a:lnTo>
                  <a:pt x="156" y="757"/>
                </a:lnTo>
                <a:lnTo>
                  <a:pt x="163" y="757"/>
                </a:lnTo>
                <a:lnTo>
                  <a:pt x="166" y="757"/>
                </a:lnTo>
                <a:lnTo>
                  <a:pt x="166" y="753"/>
                </a:lnTo>
                <a:lnTo>
                  <a:pt x="170" y="753"/>
                </a:lnTo>
                <a:lnTo>
                  <a:pt x="170" y="750"/>
                </a:lnTo>
                <a:lnTo>
                  <a:pt x="173" y="750"/>
                </a:lnTo>
                <a:lnTo>
                  <a:pt x="177" y="746"/>
                </a:lnTo>
                <a:lnTo>
                  <a:pt x="180" y="746"/>
                </a:lnTo>
                <a:lnTo>
                  <a:pt x="180" y="739"/>
                </a:lnTo>
                <a:lnTo>
                  <a:pt x="187" y="736"/>
                </a:lnTo>
                <a:lnTo>
                  <a:pt x="187" y="732"/>
                </a:lnTo>
                <a:lnTo>
                  <a:pt x="191" y="732"/>
                </a:lnTo>
                <a:lnTo>
                  <a:pt x="191" y="729"/>
                </a:lnTo>
                <a:lnTo>
                  <a:pt x="198" y="725"/>
                </a:lnTo>
                <a:lnTo>
                  <a:pt x="201" y="725"/>
                </a:lnTo>
                <a:lnTo>
                  <a:pt x="208" y="725"/>
                </a:lnTo>
                <a:lnTo>
                  <a:pt x="212" y="722"/>
                </a:lnTo>
                <a:lnTo>
                  <a:pt x="215" y="718"/>
                </a:lnTo>
                <a:lnTo>
                  <a:pt x="215" y="715"/>
                </a:lnTo>
                <a:lnTo>
                  <a:pt x="222" y="715"/>
                </a:lnTo>
                <a:lnTo>
                  <a:pt x="222" y="711"/>
                </a:lnTo>
                <a:lnTo>
                  <a:pt x="226" y="711"/>
                </a:lnTo>
                <a:lnTo>
                  <a:pt x="226" y="708"/>
                </a:lnTo>
                <a:lnTo>
                  <a:pt x="226" y="704"/>
                </a:lnTo>
                <a:lnTo>
                  <a:pt x="222" y="701"/>
                </a:lnTo>
                <a:lnTo>
                  <a:pt x="229" y="698"/>
                </a:lnTo>
                <a:lnTo>
                  <a:pt x="232" y="694"/>
                </a:lnTo>
                <a:lnTo>
                  <a:pt x="232" y="691"/>
                </a:lnTo>
                <a:lnTo>
                  <a:pt x="236" y="691"/>
                </a:lnTo>
                <a:lnTo>
                  <a:pt x="232" y="687"/>
                </a:lnTo>
                <a:lnTo>
                  <a:pt x="236" y="684"/>
                </a:lnTo>
                <a:lnTo>
                  <a:pt x="239" y="680"/>
                </a:lnTo>
                <a:lnTo>
                  <a:pt x="243" y="680"/>
                </a:lnTo>
                <a:lnTo>
                  <a:pt x="243" y="677"/>
                </a:lnTo>
                <a:lnTo>
                  <a:pt x="243" y="673"/>
                </a:lnTo>
                <a:lnTo>
                  <a:pt x="246" y="670"/>
                </a:lnTo>
                <a:lnTo>
                  <a:pt x="250" y="659"/>
                </a:lnTo>
                <a:lnTo>
                  <a:pt x="253" y="659"/>
                </a:lnTo>
                <a:lnTo>
                  <a:pt x="250" y="659"/>
                </a:lnTo>
                <a:lnTo>
                  <a:pt x="250" y="656"/>
                </a:lnTo>
                <a:lnTo>
                  <a:pt x="253" y="656"/>
                </a:lnTo>
                <a:lnTo>
                  <a:pt x="253" y="652"/>
                </a:lnTo>
                <a:lnTo>
                  <a:pt x="250" y="649"/>
                </a:lnTo>
                <a:lnTo>
                  <a:pt x="250" y="645"/>
                </a:lnTo>
                <a:lnTo>
                  <a:pt x="246" y="645"/>
                </a:lnTo>
                <a:lnTo>
                  <a:pt x="243" y="642"/>
                </a:lnTo>
                <a:lnTo>
                  <a:pt x="243" y="638"/>
                </a:lnTo>
                <a:lnTo>
                  <a:pt x="239" y="638"/>
                </a:lnTo>
                <a:lnTo>
                  <a:pt x="239" y="635"/>
                </a:lnTo>
                <a:lnTo>
                  <a:pt x="236" y="635"/>
                </a:lnTo>
                <a:lnTo>
                  <a:pt x="236" y="632"/>
                </a:lnTo>
                <a:lnTo>
                  <a:pt x="232" y="632"/>
                </a:lnTo>
                <a:lnTo>
                  <a:pt x="232" y="628"/>
                </a:lnTo>
                <a:lnTo>
                  <a:pt x="229" y="628"/>
                </a:lnTo>
                <a:lnTo>
                  <a:pt x="229" y="625"/>
                </a:lnTo>
                <a:lnTo>
                  <a:pt x="232" y="625"/>
                </a:lnTo>
                <a:lnTo>
                  <a:pt x="232" y="621"/>
                </a:lnTo>
                <a:lnTo>
                  <a:pt x="232" y="618"/>
                </a:lnTo>
                <a:lnTo>
                  <a:pt x="232" y="614"/>
                </a:lnTo>
                <a:lnTo>
                  <a:pt x="236" y="614"/>
                </a:lnTo>
                <a:lnTo>
                  <a:pt x="236" y="611"/>
                </a:lnTo>
                <a:lnTo>
                  <a:pt x="232" y="611"/>
                </a:lnTo>
                <a:lnTo>
                  <a:pt x="236" y="611"/>
                </a:lnTo>
                <a:lnTo>
                  <a:pt x="236" y="607"/>
                </a:lnTo>
                <a:lnTo>
                  <a:pt x="232" y="607"/>
                </a:lnTo>
                <a:lnTo>
                  <a:pt x="232" y="604"/>
                </a:lnTo>
                <a:lnTo>
                  <a:pt x="236" y="604"/>
                </a:lnTo>
                <a:lnTo>
                  <a:pt x="236" y="600"/>
                </a:lnTo>
                <a:lnTo>
                  <a:pt x="239" y="593"/>
                </a:lnTo>
                <a:lnTo>
                  <a:pt x="243" y="590"/>
                </a:lnTo>
                <a:lnTo>
                  <a:pt x="243" y="586"/>
                </a:lnTo>
                <a:lnTo>
                  <a:pt x="246" y="583"/>
                </a:lnTo>
                <a:lnTo>
                  <a:pt x="246" y="579"/>
                </a:lnTo>
                <a:lnTo>
                  <a:pt x="243" y="576"/>
                </a:lnTo>
                <a:lnTo>
                  <a:pt x="243" y="572"/>
                </a:lnTo>
                <a:lnTo>
                  <a:pt x="243" y="569"/>
                </a:lnTo>
                <a:lnTo>
                  <a:pt x="246" y="569"/>
                </a:lnTo>
                <a:lnTo>
                  <a:pt x="250" y="566"/>
                </a:lnTo>
                <a:lnTo>
                  <a:pt x="253" y="566"/>
                </a:lnTo>
                <a:lnTo>
                  <a:pt x="257" y="566"/>
                </a:lnTo>
                <a:lnTo>
                  <a:pt x="260" y="559"/>
                </a:lnTo>
                <a:lnTo>
                  <a:pt x="260" y="555"/>
                </a:lnTo>
                <a:lnTo>
                  <a:pt x="257" y="552"/>
                </a:lnTo>
                <a:lnTo>
                  <a:pt x="264" y="545"/>
                </a:lnTo>
                <a:lnTo>
                  <a:pt x="271" y="545"/>
                </a:lnTo>
                <a:lnTo>
                  <a:pt x="274" y="545"/>
                </a:lnTo>
                <a:lnTo>
                  <a:pt x="274" y="541"/>
                </a:lnTo>
                <a:lnTo>
                  <a:pt x="274" y="538"/>
                </a:lnTo>
                <a:lnTo>
                  <a:pt x="274" y="534"/>
                </a:lnTo>
                <a:lnTo>
                  <a:pt x="271" y="531"/>
                </a:lnTo>
                <a:lnTo>
                  <a:pt x="274" y="527"/>
                </a:lnTo>
                <a:lnTo>
                  <a:pt x="274" y="524"/>
                </a:lnTo>
                <a:lnTo>
                  <a:pt x="278" y="520"/>
                </a:lnTo>
                <a:lnTo>
                  <a:pt x="278" y="517"/>
                </a:lnTo>
                <a:lnTo>
                  <a:pt x="274" y="513"/>
                </a:lnTo>
                <a:lnTo>
                  <a:pt x="271" y="513"/>
                </a:lnTo>
                <a:lnTo>
                  <a:pt x="271" y="510"/>
                </a:lnTo>
                <a:lnTo>
                  <a:pt x="267" y="507"/>
                </a:lnTo>
                <a:lnTo>
                  <a:pt x="267" y="503"/>
                </a:lnTo>
                <a:lnTo>
                  <a:pt x="267" y="500"/>
                </a:lnTo>
                <a:lnTo>
                  <a:pt x="267" y="496"/>
                </a:lnTo>
                <a:lnTo>
                  <a:pt x="264" y="496"/>
                </a:lnTo>
                <a:lnTo>
                  <a:pt x="260" y="489"/>
                </a:lnTo>
                <a:lnTo>
                  <a:pt x="260" y="486"/>
                </a:lnTo>
                <a:lnTo>
                  <a:pt x="264" y="482"/>
                </a:lnTo>
                <a:lnTo>
                  <a:pt x="257" y="479"/>
                </a:lnTo>
                <a:lnTo>
                  <a:pt x="253" y="482"/>
                </a:lnTo>
                <a:lnTo>
                  <a:pt x="250" y="482"/>
                </a:lnTo>
                <a:lnTo>
                  <a:pt x="246" y="482"/>
                </a:lnTo>
                <a:lnTo>
                  <a:pt x="239" y="479"/>
                </a:lnTo>
                <a:lnTo>
                  <a:pt x="236" y="475"/>
                </a:lnTo>
                <a:lnTo>
                  <a:pt x="229" y="472"/>
                </a:lnTo>
                <a:lnTo>
                  <a:pt x="229" y="468"/>
                </a:lnTo>
                <a:lnTo>
                  <a:pt x="229" y="465"/>
                </a:lnTo>
                <a:lnTo>
                  <a:pt x="229" y="461"/>
                </a:lnTo>
                <a:lnTo>
                  <a:pt x="226" y="461"/>
                </a:lnTo>
                <a:lnTo>
                  <a:pt x="226" y="454"/>
                </a:lnTo>
                <a:lnTo>
                  <a:pt x="222" y="447"/>
                </a:lnTo>
                <a:lnTo>
                  <a:pt x="219" y="441"/>
                </a:lnTo>
                <a:lnTo>
                  <a:pt x="215" y="437"/>
                </a:lnTo>
                <a:lnTo>
                  <a:pt x="215" y="434"/>
                </a:lnTo>
                <a:lnTo>
                  <a:pt x="215" y="430"/>
                </a:lnTo>
                <a:lnTo>
                  <a:pt x="219" y="420"/>
                </a:lnTo>
                <a:lnTo>
                  <a:pt x="219" y="416"/>
                </a:lnTo>
                <a:lnTo>
                  <a:pt x="219" y="413"/>
                </a:lnTo>
                <a:lnTo>
                  <a:pt x="219" y="409"/>
                </a:lnTo>
                <a:lnTo>
                  <a:pt x="222" y="406"/>
                </a:lnTo>
                <a:lnTo>
                  <a:pt x="222" y="402"/>
                </a:lnTo>
                <a:lnTo>
                  <a:pt x="222" y="395"/>
                </a:lnTo>
                <a:lnTo>
                  <a:pt x="222" y="392"/>
                </a:lnTo>
                <a:lnTo>
                  <a:pt x="219" y="385"/>
                </a:lnTo>
                <a:lnTo>
                  <a:pt x="219" y="381"/>
                </a:lnTo>
                <a:lnTo>
                  <a:pt x="222" y="375"/>
                </a:lnTo>
                <a:lnTo>
                  <a:pt x="226" y="368"/>
                </a:lnTo>
                <a:lnTo>
                  <a:pt x="226" y="364"/>
                </a:lnTo>
                <a:lnTo>
                  <a:pt x="219" y="364"/>
                </a:lnTo>
                <a:lnTo>
                  <a:pt x="205" y="357"/>
                </a:lnTo>
                <a:lnTo>
                  <a:pt x="205" y="361"/>
                </a:lnTo>
                <a:lnTo>
                  <a:pt x="201" y="357"/>
                </a:lnTo>
                <a:lnTo>
                  <a:pt x="201" y="354"/>
                </a:lnTo>
                <a:lnTo>
                  <a:pt x="201" y="347"/>
                </a:lnTo>
                <a:lnTo>
                  <a:pt x="205" y="347"/>
                </a:lnTo>
                <a:lnTo>
                  <a:pt x="205" y="340"/>
                </a:lnTo>
                <a:lnTo>
                  <a:pt x="208" y="336"/>
                </a:lnTo>
                <a:lnTo>
                  <a:pt x="212" y="336"/>
                </a:lnTo>
                <a:lnTo>
                  <a:pt x="229" y="340"/>
                </a:lnTo>
                <a:lnTo>
                  <a:pt x="232" y="343"/>
                </a:lnTo>
                <a:lnTo>
                  <a:pt x="229" y="347"/>
                </a:lnTo>
                <a:lnTo>
                  <a:pt x="229" y="354"/>
                </a:lnTo>
                <a:lnTo>
                  <a:pt x="229" y="357"/>
                </a:lnTo>
                <a:lnTo>
                  <a:pt x="229" y="361"/>
                </a:lnTo>
                <a:lnTo>
                  <a:pt x="232" y="364"/>
                </a:lnTo>
                <a:lnTo>
                  <a:pt x="232" y="368"/>
                </a:lnTo>
                <a:lnTo>
                  <a:pt x="236" y="364"/>
                </a:lnTo>
                <a:lnTo>
                  <a:pt x="239" y="361"/>
                </a:lnTo>
                <a:lnTo>
                  <a:pt x="243" y="357"/>
                </a:lnTo>
                <a:lnTo>
                  <a:pt x="243" y="350"/>
                </a:lnTo>
                <a:lnTo>
                  <a:pt x="246" y="350"/>
                </a:lnTo>
                <a:lnTo>
                  <a:pt x="253" y="347"/>
                </a:lnTo>
                <a:lnTo>
                  <a:pt x="257" y="347"/>
                </a:lnTo>
                <a:lnTo>
                  <a:pt x="257" y="343"/>
                </a:lnTo>
                <a:lnTo>
                  <a:pt x="260" y="343"/>
                </a:lnTo>
                <a:lnTo>
                  <a:pt x="257" y="340"/>
                </a:lnTo>
                <a:lnTo>
                  <a:pt x="257" y="336"/>
                </a:lnTo>
                <a:lnTo>
                  <a:pt x="257" y="333"/>
                </a:lnTo>
                <a:lnTo>
                  <a:pt x="264" y="326"/>
                </a:lnTo>
                <a:lnTo>
                  <a:pt x="271" y="322"/>
                </a:lnTo>
                <a:lnTo>
                  <a:pt x="278" y="319"/>
                </a:lnTo>
                <a:lnTo>
                  <a:pt x="274" y="316"/>
                </a:lnTo>
                <a:lnTo>
                  <a:pt x="281" y="309"/>
                </a:lnTo>
                <a:lnTo>
                  <a:pt x="285" y="305"/>
                </a:lnTo>
                <a:lnTo>
                  <a:pt x="288" y="302"/>
                </a:lnTo>
                <a:lnTo>
                  <a:pt x="288" y="298"/>
                </a:lnTo>
                <a:lnTo>
                  <a:pt x="285" y="298"/>
                </a:lnTo>
                <a:lnTo>
                  <a:pt x="281" y="295"/>
                </a:lnTo>
                <a:lnTo>
                  <a:pt x="278" y="291"/>
                </a:lnTo>
                <a:lnTo>
                  <a:pt x="260" y="277"/>
                </a:lnTo>
                <a:lnTo>
                  <a:pt x="260" y="274"/>
                </a:lnTo>
                <a:lnTo>
                  <a:pt x="257" y="274"/>
                </a:lnTo>
                <a:lnTo>
                  <a:pt x="260" y="274"/>
                </a:lnTo>
                <a:lnTo>
                  <a:pt x="260" y="277"/>
                </a:lnTo>
                <a:lnTo>
                  <a:pt x="264" y="277"/>
                </a:lnTo>
                <a:lnTo>
                  <a:pt x="267" y="277"/>
                </a:lnTo>
                <a:lnTo>
                  <a:pt x="267" y="274"/>
                </a:lnTo>
                <a:lnTo>
                  <a:pt x="271" y="274"/>
                </a:lnTo>
                <a:lnTo>
                  <a:pt x="274" y="274"/>
                </a:lnTo>
                <a:lnTo>
                  <a:pt x="274" y="270"/>
                </a:lnTo>
                <a:lnTo>
                  <a:pt x="278" y="270"/>
                </a:lnTo>
                <a:lnTo>
                  <a:pt x="281" y="270"/>
                </a:lnTo>
                <a:lnTo>
                  <a:pt x="281" y="267"/>
                </a:lnTo>
                <a:lnTo>
                  <a:pt x="285" y="267"/>
                </a:lnTo>
                <a:lnTo>
                  <a:pt x="285" y="263"/>
                </a:lnTo>
                <a:lnTo>
                  <a:pt x="288" y="260"/>
                </a:lnTo>
                <a:lnTo>
                  <a:pt x="295" y="267"/>
                </a:lnTo>
                <a:lnTo>
                  <a:pt x="302" y="260"/>
                </a:lnTo>
                <a:lnTo>
                  <a:pt x="305" y="260"/>
                </a:lnTo>
                <a:lnTo>
                  <a:pt x="302" y="256"/>
                </a:lnTo>
                <a:lnTo>
                  <a:pt x="305" y="253"/>
                </a:lnTo>
                <a:lnTo>
                  <a:pt x="305" y="250"/>
                </a:lnTo>
                <a:lnTo>
                  <a:pt x="302" y="246"/>
                </a:lnTo>
                <a:lnTo>
                  <a:pt x="305" y="246"/>
                </a:lnTo>
                <a:lnTo>
                  <a:pt x="305" y="243"/>
                </a:lnTo>
                <a:lnTo>
                  <a:pt x="309" y="243"/>
                </a:lnTo>
                <a:lnTo>
                  <a:pt x="309" y="246"/>
                </a:lnTo>
                <a:lnTo>
                  <a:pt x="312" y="246"/>
                </a:lnTo>
                <a:lnTo>
                  <a:pt x="312" y="243"/>
                </a:lnTo>
                <a:lnTo>
                  <a:pt x="309" y="243"/>
                </a:lnTo>
                <a:lnTo>
                  <a:pt x="312" y="243"/>
                </a:lnTo>
                <a:lnTo>
                  <a:pt x="312" y="239"/>
                </a:lnTo>
                <a:lnTo>
                  <a:pt x="312" y="236"/>
                </a:lnTo>
                <a:lnTo>
                  <a:pt x="312" y="232"/>
                </a:lnTo>
                <a:lnTo>
                  <a:pt x="312" y="229"/>
                </a:lnTo>
                <a:lnTo>
                  <a:pt x="316" y="229"/>
                </a:lnTo>
                <a:lnTo>
                  <a:pt x="316" y="225"/>
                </a:lnTo>
                <a:lnTo>
                  <a:pt x="312" y="225"/>
                </a:lnTo>
                <a:lnTo>
                  <a:pt x="312" y="229"/>
                </a:lnTo>
                <a:lnTo>
                  <a:pt x="312" y="225"/>
                </a:lnTo>
                <a:lnTo>
                  <a:pt x="316" y="225"/>
                </a:lnTo>
                <a:lnTo>
                  <a:pt x="316" y="222"/>
                </a:lnTo>
                <a:lnTo>
                  <a:pt x="316" y="218"/>
                </a:lnTo>
                <a:lnTo>
                  <a:pt x="319" y="218"/>
                </a:lnTo>
                <a:lnTo>
                  <a:pt x="319" y="215"/>
                </a:lnTo>
                <a:lnTo>
                  <a:pt x="323" y="215"/>
                </a:lnTo>
                <a:lnTo>
                  <a:pt x="323" y="211"/>
                </a:lnTo>
                <a:lnTo>
                  <a:pt x="326" y="208"/>
                </a:lnTo>
                <a:lnTo>
                  <a:pt x="330" y="208"/>
                </a:lnTo>
                <a:lnTo>
                  <a:pt x="330" y="204"/>
                </a:lnTo>
                <a:lnTo>
                  <a:pt x="333" y="204"/>
                </a:lnTo>
                <a:lnTo>
                  <a:pt x="333" y="201"/>
                </a:lnTo>
                <a:lnTo>
                  <a:pt x="337" y="201"/>
                </a:lnTo>
                <a:lnTo>
                  <a:pt x="340" y="201"/>
                </a:lnTo>
                <a:lnTo>
                  <a:pt x="340" y="197"/>
                </a:lnTo>
                <a:lnTo>
                  <a:pt x="344" y="197"/>
                </a:lnTo>
                <a:lnTo>
                  <a:pt x="347" y="194"/>
                </a:lnTo>
                <a:lnTo>
                  <a:pt x="347" y="197"/>
                </a:lnTo>
                <a:lnTo>
                  <a:pt x="351" y="197"/>
                </a:lnTo>
                <a:lnTo>
                  <a:pt x="354" y="197"/>
                </a:lnTo>
                <a:lnTo>
                  <a:pt x="357" y="197"/>
                </a:lnTo>
                <a:lnTo>
                  <a:pt x="357" y="194"/>
                </a:lnTo>
                <a:lnTo>
                  <a:pt x="361" y="194"/>
                </a:lnTo>
                <a:lnTo>
                  <a:pt x="364" y="194"/>
                </a:lnTo>
                <a:lnTo>
                  <a:pt x="368" y="194"/>
                </a:lnTo>
                <a:lnTo>
                  <a:pt x="371" y="194"/>
                </a:lnTo>
                <a:lnTo>
                  <a:pt x="368" y="194"/>
                </a:lnTo>
                <a:lnTo>
                  <a:pt x="371" y="194"/>
                </a:lnTo>
                <a:lnTo>
                  <a:pt x="371" y="197"/>
                </a:lnTo>
                <a:lnTo>
                  <a:pt x="375" y="197"/>
                </a:lnTo>
                <a:lnTo>
                  <a:pt x="375" y="194"/>
                </a:lnTo>
                <a:lnTo>
                  <a:pt x="378" y="194"/>
                </a:lnTo>
                <a:lnTo>
                  <a:pt x="378" y="197"/>
                </a:lnTo>
                <a:lnTo>
                  <a:pt x="378" y="194"/>
                </a:lnTo>
                <a:lnTo>
                  <a:pt x="382" y="194"/>
                </a:lnTo>
                <a:lnTo>
                  <a:pt x="382" y="191"/>
                </a:lnTo>
                <a:lnTo>
                  <a:pt x="385" y="191"/>
                </a:lnTo>
                <a:lnTo>
                  <a:pt x="385" y="194"/>
                </a:lnTo>
                <a:lnTo>
                  <a:pt x="385" y="197"/>
                </a:lnTo>
                <a:lnTo>
                  <a:pt x="385" y="201"/>
                </a:lnTo>
                <a:lnTo>
                  <a:pt x="389" y="201"/>
                </a:lnTo>
                <a:lnTo>
                  <a:pt x="389" y="204"/>
                </a:lnTo>
                <a:lnTo>
                  <a:pt x="392" y="204"/>
                </a:lnTo>
                <a:lnTo>
                  <a:pt x="392" y="208"/>
                </a:lnTo>
                <a:lnTo>
                  <a:pt x="396" y="211"/>
                </a:lnTo>
                <a:lnTo>
                  <a:pt x="396" y="215"/>
                </a:lnTo>
                <a:lnTo>
                  <a:pt x="399" y="215"/>
                </a:lnTo>
                <a:lnTo>
                  <a:pt x="399" y="218"/>
                </a:lnTo>
                <a:lnTo>
                  <a:pt x="403" y="218"/>
                </a:lnTo>
                <a:lnTo>
                  <a:pt x="403" y="222"/>
                </a:lnTo>
                <a:lnTo>
                  <a:pt x="410" y="225"/>
                </a:lnTo>
                <a:lnTo>
                  <a:pt x="410" y="229"/>
                </a:lnTo>
                <a:lnTo>
                  <a:pt x="410" y="232"/>
                </a:lnTo>
                <a:lnTo>
                  <a:pt x="410" y="236"/>
                </a:lnTo>
                <a:lnTo>
                  <a:pt x="413" y="236"/>
                </a:lnTo>
                <a:lnTo>
                  <a:pt x="413" y="239"/>
                </a:lnTo>
                <a:lnTo>
                  <a:pt x="416" y="239"/>
                </a:lnTo>
                <a:lnTo>
                  <a:pt x="420" y="239"/>
                </a:lnTo>
                <a:lnTo>
                  <a:pt x="420" y="243"/>
                </a:lnTo>
                <a:lnTo>
                  <a:pt x="420" y="246"/>
                </a:lnTo>
                <a:lnTo>
                  <a:pt x="423" y="246"/>
                </a:lnTo>
                <a:lnTo>
                  <a:pt x="423" y="250"/>
                </a:lnTo>
                <a:lnTo>
                  <a:pt x="423" y="256"/>
                </a:lnTo>
                <a:lnTo>
                  <a:pt x="427" y="253"/>
                </a:lnTo>
                <a:lnTo>
                  <a:pt x="437" y="239"/>
                </a:lnTo>
                <a:lnTo>
                  <a:pt x="441" y="236"/>
                </a:lnTo>
                <a:lnTo>
                  <a:pt x="444" y="232"/>
                </a:lnTo>
                <a:lnTo>
                  <a:pt x="448" y="225"/>
                </a:lnTo>
                <a:lnTo>
                  <a:pt x="455" y="218"/>
                </a:lnTo>
                <a:lnTo>
                  <a:pt x="462" y="211"/>
                </a:lnTo>
                <a:lnTo>
                  <a:pt x="469" y="208"/>
                </a:lnTo>
                <a:lnTo>
                  <a:pt x="465" y="204"/>
                </a:lnTo>
                <a:lnTo>
                  <a:pt x="465" y="197"/>
                </a:lnTo>
                <a:lnTo>
                  <a:pt x="469" y="191"/>
                </a:lnTo>
                <a:lnTo>
                  <a:pt x="472" y="191"/>
                </a:lnTo>
                <a:lnTo>
                  <a:pt x="476" y="187"/>
                </a:lnTo>
                <a:lnTo>
                  <a:pt x="479" y="187"/>
                </a:lnTo>
                <a:lnTo>
                  <a:pt x="482" y="187"/>
                </a:lnTo>
                <a:lnTo>
                  <a:pt x="482" y="180"/>
                </a:lnTo>
                <a:lnTo>
                  <a:pt x="482" y="177"/>
                </a:lnTo>
                <a:lnTo>
                  <a:pt x="486" y="173"/>
                </a:lnTo>
                <a:lnTo>
                  <a:pt x="489" y="177"/>
                </a:lnTo>
                <a:lnTo>
                  <a:pt x="496" y="173"/>
                </a:lnTo>
                <a:lnTo>
                  <a:pt x="503" y="173"/>
                </a:lnTo>
                <a:lnTo>
                  <a:pt x="507" y="173"/>
                </a:lnTo>
                <a:lnTo>
                  <a:pt x="507" y="170"/>
                </a:lnTo>
                <a:lnTo>
                  <a:pt x="514" y="170"/>
                </a:lnTo>
                <a:lnTo>
                  <a:pt x="517" y="166"/>
                </a:lnTo>
                <a:lnTo>
                  <a:pt x="517" y="163"/>
                </a:lnTo>
                <a:lnTo>
                  <a:pt x="517" y="159"/>
                </a:lnTo>
                <a:lnTo>
                  <a:pt x="514" y="149"/>
                </a:lnTo>
                <a:lnTo>
                  <a:pt x="514" y="142"/>
                </a:lnTo>
                <a:lnTo>
                  <a:pt x="517" y="142"/>
                </a:lnTo>
                <a:lnTo>
                  <a:pt x="517" y="131"/>
                </a:lnTo>
                <a:lnTo>
                  <a:pt x="517" y="121"/>
                </a:lnTo>
                <a:lnTo>
                  <a:pt x="517" y="118"/>
                </a:lnTo>
                <a:lnTo>
                  <a:pt x="521" y="118"/>
                </a:lnTo>
                <a:lnTo>
                  <a:pt x="524" y="118"/>
                </a:lnTo>
                <a:lnTo>
                  <a:pt x="528" y="118"/>
                </a:lnTo>
                <a:lnTo>
                  <a:pt x="531" y="118"/>
                </a:lnTo>
                <a:lnTo>
                  <a:pt x="535" y="118"/>
                </a:lnTo>
                <a:lnTo>
                  <a:pt x="538" y="118"/>
                </a:lnTo>
                <a:lnTo>
                  <a:pt x="538" y="121"/>
                </a:lnTo>
                <a:lnTo>
                  <a:pt x="541" y="118"/>
                </a:lnTo>
                <a:lnTo>
                  <a:pt x="545" y="118"/>
                </a:lnTo>
                <a:lnTo>
                  <a:pt x="545" y="114"/>
                </a:lnTo>
                <a:lnTo>
                  <a:pt x="548" y="114"/>
                </a:lnTo>
                <a:lnTo>
                  <a:pt x="552" y="114"/>
                </a:lnTo>
                <a:lnTo>
                  <a:pt x="552" y="118"/>
                </a:lnTo>
                <a:lnTo>
                  <a:pt x="552" y="114"/>
                </a:lnTo>
                <a:lnTo>
                  <a:pt x="555" y="114"/>
                </a:lnTo>
                <a:lnTo>
                  <a:pt x="555" y="118"/>
                </a:lnTo>
                <a:lnTo>
                  <a:pt x="555" y="114"/>
                </a:lnTo>
                <a:lnTo>
                  <a:pt x="559" y="114"/>
                </a:lnTo>
                <a:lnTo>
                  <a:pt x="562" y="114"/>
                </a:lnTo>
                <a:lnTo>
                  <a:pt x="566" y="114"/>
                </a:lnTo>
                <a:lnTo>
                  <a:pt x="566" y="111"/>
                </a:lnTo>
                <a:lnTo>
                  <a:pt x="569" y="111"/>
                </a:lnTo>
                <a:lnTo>
                  <a:pt x="569" y="107"/>
                </a:lnTo>
                <a:lnTo>
                  <a:pt x="573" y="107"/>
                </a:lnTo>
                <a:lnTo>
                  <a:pt x="576" y="107"/>
                </a:lnTo>
                <a:lnTo>
                  <a:pt x="576" y="104"/>
                </a:lnTo>
                <a:lnTo>
                  <a:pt x="580" y="104"/>
                </a:lnTo>
                <a:lnTo>
                  <a:pt x="580" y="107"/>
                </a:lnTo>
                <a:lnTo>
                  <a:pt x="583" y="107"/>
                </a:lnTo>
                <a:lnTo>
                  <a:pt x="587" y="104"/>
                </a:lnTo>
                <a:lnTo>
                  <a:pt x="590" y="104"/>
                </a:lnTo>
                <a:lnTo>
                  <a:pt x="590" y="100"/>
                </a:lnTo>
                <a:lnTo>
                  <a:pt x="590" y="97"/>
                </a:lnTo>
                <a:lnTo>
                  <a:pt x="590" y="100"/>
                </a:lnTo>
                <a:lnTo>
                  <a:pt x="594" y="100"/>
                </a:lnTo>
                <a:lnTo>
                  <a:pt x="590" y="100"/>
                </a:lnTo>
                <a:lnTo>
                  <a:pt x="594" y="97"/>
                </a:lnTo>
                <a:lnTo>
                  <a:pt x="594" y="100"/>
                </a:lnTo>
                <a:lnTo>
                  <a:pt x="594" y="97"/>
                </a:lnTo>
                <a:lnTo>
                  <a:pt x="597" y="97"/>
                </a:lnTo>
                <a:lnTo>
                  <a:pt x="601" y="100"/>
                </a:lnTo>
                <a:lnTo>
                  <a:pt x="601" y="97"/>
                </a:lnTo>
                <a:lnTo>
                  <a:pt x="604" y="97"/>
                </a:lnTo>
                <a:lnTo>
                  <a:pt x="607" y="97"/>
                </a:lnTo>
                <a:lnTo>
                  <a:pt x="611" y="97"/>
                </a:lnTo>
                <a:lnTo>
                  <a:pt x="614" y="97"/>
                </a:lnTo>
                <a:lnTo>
                  <a:pt x="618" y="97"/>
                </a:lnTo>
                <a:lnTo>
                  <a:pt x="618" y="90"/>
                </a:lnTo>
                <a:lnTo>
                  <a:pt x="614" y="86"/>
                </a:lnTo>
                <a:lnTo>
                  <a:pt x="614" y="83"/>
                </a:lnTo>
                <a:lnTo>
                  <a:pt x="618" y="83"/>
                </a:lnTo>
                <a:lnTo>
                  <a:pt x="621" y="83"/>
                </a:lnTo>
                <a:lnTo>
                  <a:pt x="621" y="79"/>
                </a:lnTo>
                <a:lnTo>
                  <a:pt x="625" y="79"/>
                </a:lnTo>
                <a:lnTo>
                  <a:pt x="625" y="76"/>
                </a:lnTo>
                <a:lnTo>
                  <a:pt x="625" y="72"/>
                </a:lnTo>
                <a:lnTo>
                  <a:pt x="625" y="69"/>
                </a:lnTo>
                <a:lnTo>
                  <a:pt x="628" y="69"/>
                </a:lnTo>
                <a:lnTo>
                  <a:pt x="632" y="69"/>
                </a:lnTo>
                <a:lnTo>
                  <a:pt x="635" y="69"/>
                </a:lnTo>
                <a:lnTo>
                  <a:pt x="635" y="65"/>
                </a:lnTo>
                <a:lnTo>
                  <a:pt x="635" y="62"/>
                </a:lnTo>
                <a:lnTo>
                  <a:pt x="635" y="59"/>
                </a:lnTo>
                <a:lnTo>
                  <a:pt x="639" y="59"/>
                </a:lnTo>
                <a:lnTo>
                  <a:pt x="642" y="55"/>
                </a:lnTo>
                <a:lnTo>
                  <a:pt x="642" y="52"/>
                </a:lnTo>
                <a:lnTo>
                  <a:pt x="646" y="52"/>
                </a:lnTo>
                <a:lnTo>
                  <a:pt x="649" y="55"/>
                </a:lnTo>
                <a:lnTo>
                  <a:pt x="653" y="55"/>
                </a:lnTo>
                <a:lnTo>
                  <a:pt x="653" y="52"/>
                </a:lnTo>
                <a:lnTo>
                  <a:pt x="656" y="52"/>
                </a:lnTo>
                <a:lnTo>
                  <a:pt x="656" y="48"/>
                </a:lnTo>
                <a:lnTo>
                  <a:pt x="660" y="48"/>
                </a:lnTo>
                <a:lnTo>
                  <a:pt x="660" y="52"/>
                </a:lnTo>
                <a:lnTo>
                  <a:pt x="663" y="52"/>
                </a:lnTo>
                <a:lnTo>
                  <a:pt x="666" y="52"/>
                </a:lnTo>
                <a:lnTo>
                  <a:pt x="670" y="52"/>
                </a:lnTo>
                <a:lnTo>
                  <a:pt x="670" y="55"/>
                </a:lnTo>
                <a:lnTo>
                  <a:pt x="673" y="55"/>
                </a:lnTo>
                <a:lnTo>
                  <a:pt x="677" y="55"/>
                </a:lnTo>
                <a:lnTo>
                  <a:pt x="677" y="59"/>
                </a:lnTo>
                <a:lnTo>
                  <a:pt x="677" y="62"/>
                </a:lnTo>
                <a:lnTo>
                  <a:pt x="677" y="65"/>
                </a:lnTo>
                <a:lnTo>
                  <a:pt x="673" y="69"/>
                </a:lnTo>
                <a:lnTo>
                  <a:pt x="677" y="69"/>
                </a:lnTo>
                <a:lnTo>
                  <a:pt x="677" y="72"/>
                </a:lnTo>
                <a:lnTo>
                  <a:pt x="680" y="72"/>
                </a:lnTo>
                <a:lnTo>
                  <a:pt x="680" y="76"/>
                </a:lnTo>
                <a:lnTo>
                  <a:pt x="684" y="76"/>
                </a:lnTo>
                <a:lnTo>
                  <a:pt x="687" y="76"/>
                </a:lnTo>
                <a:lnTo>
                  <a:pt x="691" y="76"/>
                </a:lnTo>
                <a:lnTo>
                  <a:pt x="694" y="76"/>
                </a:lnTo>
                <a:lnTo>
                  <a:pt x="694" y="79"/>
                </a:lnTo>
                <a:lnTo>
                  <a:pt x="698" y="79"/>
                </a:lnTo>
                <a:lnTo>
                  <a:pt x="701" y="79"/>
                </a:lnTo>
                <a:lnTo>
                  <a:pt x="705" y="79"/>
                </a:lnTo>
                <a:lnTo>
                  <a:pt x="708" y="83"/>
                </a:lnTo>
                <a:lnTo>
                  <a:pt x="712" y="86"/>
                </a:lnTo>
                <a:lnTo>
                  <a:pt x="715" y="86"/>
                </a:lnTo>
                <a:lnTo>
                  <a:pt x="719" y="90"/>
                </a:lnTo>
                <a:lnTo>
                  <a:pt x="719" y="93"/>
                </a:lnTo>
                <a:lnTo>
                  <a:pt x="719" y="90"/>
                </a:lnTo>
                <a:lnTo>
                  <a:pt x="715" y="90"/>
                </a:lnTo>
                <a:lnTo>
                  <a:pt x="715" y="93"/>
                </a:lnTo>
                <a:lnTo>
                  <a:pt x="715" y="97"/>
                </a:lnTo>
                <a:lnTo>
                  <a:pt x="715" y="100"/>
                </a:lnTo>
                <a:lnTo>
                  <a:pt x="719" y="104"/>
                </a:lnTo>
                <a:lnTo>
                  <a:pt x="722" y="104"/>
                </a:lnTo>
                <a:lnTo>
                  <a:pt x="725" y="100"/>
                </a:lnTo>
                <a:lnTo>
                  <a:pt x="729" y="86"/>
                </a:lnTo>
                <a:lnTo>
                  <a:pt x="732" y="79"/>
                </a:lnTo>
                <a:lnTo>
                  <a:pt x="732" y="76"/>
                </a:lnTo>
                <a:lnTo>
                  <a:pt x="736" y="72"/>
                </a:lnTo>
                <a:lnTo>
                  <a:pt x="736" y="69"/>
                </a:lnTo>
                <a:lnTo>
                  <a:pt x="739" y="65"/>
                </a:lnTo>
                <a:lnTo>
                  <a:pt x="743" y="62"/>
                </a:lnTo>
                <a:lnTo>
                  <a:pt x="746" y="52"/>
                </a:lnTo>
                <a:lnTo>
                  <a:pt x="750" y="48"/>
                </a:lnTo>
                <a:lnTo>
                  <a:pt x="743" y="41"/>
                </a:lnTo>
                <a:lnTo>
                  <a:pt x="736" y="38"/>
                </a:lnTo>
                <a:lnTo>
                  <a:pt x="725" y="31"/>
                </a:lnTo>
                <a:lnTo>
                  <a:pt x="722" y="24"/>
                </a:lnTo>
                <a:lnTo>
                  <a:pt x="715" y="24"/>
                </a:lnTo>
                <a:lnTo>
                  <a:pt x="715" y="20"/>
                </a:lnTo>
                <a:lnTo>
                  <a:pt x="719" y="13"/>
                </a:lnTo>
                <a:lnTo>
                  <a:pt x="722" y="17"/>
                </a:lnTo>
                <a:lnTo>
                  <a:pt x="725" y="13"/>
                </a:lnTo>
                <a:lnTo>
                  <a:pt x="725" y="6"/>
                </a:lnTo>
                <a:lnTo>
                  <a:pt x="736" y="10"/>
                </a:lnTo>
                <a:lnTo>
                  <a:pt x="736" y="17"/>
                </a:lnTo>
                <a:lnTo>
                  <a:pt x="739" y="17"/>
                </a:lnTo>
                <a:lnTo>
                  <a:pt x="739" y="20"/>
                </a:lnTo>
                <a:lnTo>
                  <a:pt x="743" y="17"/>
                </a:lnTo>
                <a:lnTo>
                  <a:pt x="746" y="17"/>
                </a:lnTo>
                <a:lnTo>
                  <a:pt x="750" y="13"/>
                </a:lnTo>
                <a:lnTo>
                  <a:pt x="757" y="20"/>
                </a:lnTo>
                <a:lnTo>
                  <a:pt x="739" y="27"/>
                </a:lnTo>
                <a:lnTo>
                  <a:pt x="743" y="31"/>
                </a:lnTo>
                <a:lnTo>
                  <a:pt x="764" y="38"/>
                </a:lnTo>
                <a:lnTo>
                  <a:pt x="767" y="17"/>
                </a:lnTo>
                <a:lnTo>
                  <a:pt x="771" y="17"/>
                </a:lnTo>
                <a:lnTo>
                  <a:pt x="785" y="10"/>
                </a:lnTo>
                <a:lnTo>
                  <a:pt x="781" y="6"/>
                </a:lnTo>
                <a:lnTo>
                  <a:pt x="785" y="0"/>
                </a:lnTo>
                <a:close/>
              </a:path>
            </a:pathLst>
          </a:custGeom>
          <a:solidFill>
            <a:srgbClr val="E6E6E6"/>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171" name="Freeform 16">
            <a:extLst>
              <a:ext uri="{FF2B5EF4-FFF2-40B4-BE49-F238E27FC236}">
                <a16:creationId xmlns:a16="http://schemas.microsoft.com/office/drawing/2014/main" id="{740B22F2-EAD6-4EA0-B1CA-40140E6C0963}"/>
              </a:ext>
            </a:extLst>
          </p:cNvPr>
          <p:cNvSpPr>
            <a:spLocks/>
          </p:cNvSpPr>
          <p:nvPr/>
        </p:nvSpPr>
        <p:spPr bwMode="gray">
          <a:xfrm>
            <a:off x="6492193" y="3515743"/>
            <a:ext cx="3055828" cy="2216566"/>
          </a:xfrm>
          <a:custGeom>
            <a:avLst/>
            <a:gdLst>
              <a:gd name="T0" fmla="*/ 1816 w 1916"/>
              <a:gd name="T1" fmla="*/ 490 h 1316"/>
              <a:gd name="T2" fmla="*/ 1826 w 1916"/>
              <a:gd name="T3" fmla="*/ 538 h 1316"/>
              <a:gd name="T4" fmla="*/ 1840 w 1916"/>
              <a:gd name="T5" fmla="*/ 590 h 1316"/>
              <a:gd name="T6" fmla="*/ 1854 w 1916"/>
              <a:gd name="T7" fmla="*/ 656 h 1316"/>
              <a:gd name="T8" fmla="*/ 1868 w 1916"/>
              <a:gd name="T9" fmla="*/ 715 h 1316"/>
              <a:gd name="T10" fmla="*/ 1864 w 1916"/>
              <a:gd name="T11" fmla="*/ 778 h 1316"/>
              <a:gd name="T12" fmla="*/ 1864 w 1916"/>
              <a:gd name="T13" fmla="*/ 837 h 1316"/>
              <a:gd name="T14" fmla="*/ 1889 w 1916"/>
              <a:gd name="T15" fmla="*/ 886 h 1316"/>
              <a:gd name="T16" fmla="*/ 1878 w 1916"/>
              <a:gd name="T17" fmla="*/ 920 h 1316"/>
              <a:gd name="T18" fmla="*/ 1819 w 1916"/>
              <a:gd name="T19" fmla="*/ 1007 h 1316"/>
              <a:gd name="T20" fmla="*/ 1784 w 1916"/>
              <a:gd name="T21" fmla="*/ 1097 h 1316"/>
              <a:gd name="T22" fmla="*/ 1791 w 1916"/>
              <a:gd name="T23" fmla="*/ 1195 h 1316"/>
              <a:gd name="T24" fmla="*/ 1819 w 1916"/>
              <a:gd name="T25" fmla="*/ 1264 h 1316"/>
              <a:gd name="T26" fmla="*/ 1732 w 1916"/>
              <a:gd name="T27" fmla="*/ 1212 h 1316"/>
              <a:gd name="T28" fmla="*/ 1621 w 1916"/>
              <a:gd name="T29" fmla="*/ 1222 h 1316"/>
              <a:gd name="T30" fmla="*/ 1527 w 1916"/>
              <a:gd name="T31" fmla="*/ 1233 h 1316"/>
              <a:gd name="T32" fmla="*/ 1472 w 1916"/>
              <a:gd name="T33" fmla="*/ 1247 h 1316"/>
              <a:gd name="T34" fmla="*/ 1437 w 1916"/>
              <a:gd name="T35" fmla="*/ 1306 h 1316"/>
              <a:gd name="T36" fmla="*/ 1385 w 1916"/>
              <a:gd name="T37" fmla="*/ 1281 h 1316"/>
              <a:gd name="T38" fmla="*/ 1298 w 1916"/>
              <a:gd name="T39" fmla="*/ 1271 h 1316"/>
              <a:gd name="T40" fmla="*/ 1198 w 1916"/>
              <a:gd name="T41" fmla="*/ 1278 h 1316"/>
              <a:gd name="T42" fmla="*/ 1118 w 1916"/>
              <a:gd name="T43" fmla="*/ 1278 h 1316"/>
              <a:gd name="T44" fmla="*/ 1080 w 1916"/>
              <a:gd name="T45" fmla="*/ 1177 h 1316"/>
              <a:gd name="T46" fmla="*/ 1062 w 1916"/>
              <a:gd name="T47" fmla="*/ 1049 h 1316"/>
              <a:gd name="T48" fmla="*/ 1031 w 1916"/>
              <a:gd name="T49" fmla="*/ 920 h 1316"/>
              <a:gd name="T50" fmla="*/ 885 w 1916"/>
              <a:gd name="T51" fmla="*/ 858 h 1316"/>
              <a:gd name="T52" fmla="*/ 750 w 1916"/>
              <a:gd name="T53" fmla="*/ 886 h 1316"/>
              <a:gd name="T54" fmla="*/ 656 w 1916"/>
              <a:gd name="T55" fmla="*/ 903 h 1316"/>
              <a:gd name="T56" fmla="*/ 600 w 1916"/>
              <a:gd name="T57" fmla="*/ 886 h 1316"/>
              <a:gd name="T58" fmla="*/ 493 w 1916"/>
              <a:gd name="T59" fmla="*/ 868 h 1316"/>
              <a:gd name="T60" fmla="*/ 409 w 1916"/>
              <a:gd name="T61" fmla="*/ 854 h 1316"/>
              <a:gd name="T62" fmla="*/ 316 w 1916"/>
              <a:gd name="T63" fmla="*/ 931 h 1316"/>
              <a:gd name="T64" fmla="*/ 232 w 1916"/>
              <a:gd name="T65" fmla="*/ 986 h 1316"/>
              <a:gd name="T66" fmla="*/ 191 w 1916"/>
              <a:gd name="T67" fmla="*/ 941 h 1316"/>
              <a:gd name="T68" fmla="*/ 239 w 1916"/>
              <a:gd name="T69" fmla="*/ 806 h 1316"/>
              <a:gd name="T70" fmla="*/ 302 w 1916"/>
              <a:gd name="T71" fmla="*/ 740 h 1316"/>
              <a:gd name="T72" fmla="*/ 222 w 1916"/>
              <a:gd name="T73" fmla="*/ 663 h 1316"/>
              <a:gd name="T74" fmla="*/ 180 w 1916"/>
              <a:gd name="T75" fmla="*/ 583 h 1316"/>
              <a:gd name="T76" fmla="*/ 97 w 1916"/>
              <a:gd name="T77" fmla="*/ 615 h 1316"/>
              <a:gd name="T78" fmla="*/ 28 w 1916"/>
              <a:gd name="T79" fmla="*/ 538 h 1316"/>
              <a:gd name="T80" fmla="*/ 10 w 1916"/>
              <a:gd name="T81" fmla="*/ 434 h 1316"/>
              <a:gd name="T82" fmla="*/ 73 w 1916"/>
              <a:gd name="T83" fmla="*/ 399 h 1316"/>
              <a:gd name="T84" fmla="*/ 128 w 1916"/>
              <a:gd name="T85" fmla="*/ 274 h 1316"/>
              <a:gd name="T86" fmla="*/ 121 w 1916"/>
              <a:gd name="T87" fmla="*/ 170 h 1316"/>
              <a:gd name="T88" fmla="*/ 229 w 1916"/>
              <a:gd name="T89" fmla="*/ 115 h 1316"/>
              <a:gd name="T90" fmla="*/ 337 w 1916"/>
              <a:gd name="T91" fmla="*/ 153 h 1316"/>
              <a:gd name="T92" fmla="*/ 409 w 1916"/>
              <a:gd name="T93" fmla="*/ 219 h 1316"/>
              <a:gd name="T94" fmla="*/ 507 w 1916"/>
              <a:gd name="T95" fmla="*/ 233 h 1316"/>
              <a:gd name="T96" fmla="*/ 614 w 1916"/>
              <a:gd name="T97" fmla="*/ 191 h 1316"/>
              <a:gd name="T98" fmla="*/ 712 w 1916"/>
              <a:gd name="T99" fmla="*/ 125 h 1316"/>
              <a:gd name="T100" fmla="*/ 836 w 1916"/>
              <a:gd name="T101" fmla="*/ 73 h 1316"/>
              <a:gd name="T102" fmla="*/ 937 w 1916"/>
              <a:gd name="T103" fmla="*/ 104 h 1316"/>
              <a:gd name="T104" fmla="*/ 1034 w 1916"/>
              <a:gd name="T105" fmla="*/ 94 h 1316"/>
              <a:gd name="T106" fmla="*/ 1173 w 1916"/>
              <a:gd name="T107" fmla="*/ 76 h 1316"/>
              <a:gd name="T108" fmla="*/ 1267 w 1916"/>
              <a:gd name="T109" fmla="*/ 42 h 1316"/>
              <a:gd name="T110" fmla="*/ 1354 w 1916"/>
              <a:gd name="T111" fmla="*/ 28 h 1316"/>
              <a:gd name="T112" fmla="*/ 1437 w 1916"/>
              <a:gd name="T113" fmla="*/ 87 h 1316"/>
              <a:gd name="T114" fmla="*/ 1566 w 1916"/>
              <a:gd name="T115" fmla="*/ 132 h 1316"/>
              <a:gd name="T116" fmla="*/ 1628 w 1916"/>
              <a:gd name="T117" fmla="*/ 201 h 1316"/>
              <a:gd name="T118" fmla="*/ 1691 w 1916"/>
              <a:gd name="T119" fmla="*/ 285 h 1316"/>
              <a:gd name="T120" fmla="*/ 1830 w 1916"/>
              <a:gd name="T121" fmla="*/ 372 h 1316"/>
              <a:gd name="T122" fmla="*/ 1878 w 1916"/>
              <a:gd name="T123" fmla="*/ 375 h 1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16" h="1316">
                <a:moveTo>
                  <a:pt x="1916" y="441"/>
                </a:moveTo>
                <a:lnTo>
                  <a:pt x="1913" y="444"/>
                </a:lnTo>
                <a:lnTo>
                  <a:pt x="1906" y="444"/>
                </a:lnTo>
                <a:lnTo>
                  <a:pt x="1899" y="444"/>
                </a:lnTo>
                <a:lnTo>
                  <a:pt x="1895" y="448"/>
                </a:lnTo>
                <a:lnTo>
                  <a:pt x="1892" y="448"/>
                </a:lnTo>
                <a:lnTo>
                  <a:pt x="1889" y="448"/>
                </a:lnTo>
                <a:lnTo>
                  <a:pt x="1885" y="451"/>
                </a:lnTo>
                <a:lnTo>
                  <a:pt x="1875" y="451"/>
                </a:lnTo>
                <a:lnTo>
                  <a:pt x="1868" y="451"/>
                </a:lnTo>
                <a:lnTo>
                  <a:pt x="1864" y="448"/>
                </a:lnTo>
                <a:lnTo>
                  <a:pt x="1864" y="451"/>
                </a:lnTo>
                <a:lnTo>
                  <a:pt x="1864" y="458"/>
                </a:lnTo>
                <a:lnTo>
                  <a:pt x="1868" y="465"/>
                </a:lnTo>
                <a:lnTo>
                  <a:pt x="1868" y="469"/>
                </a:lnTo>
                <a:lnTo>
                  <a:pt x="1868" y="472"/>
                </a:lnTo>
                <a:lnTo>
                  <a:pt x="1864" y="472"/>
                </a:lnTo>
                <a:lnTo>
                  <a:pt x="1861" y="476"/>
                </a:lnTo>
                <a:lnTo>
                  <a:pt x="1857" y="472"/>
                </a:lnTo>
                <a:lnTo>
                  <a:pt x="1850" y="469"/>
                </a:lnTo>
                <a:lnTo>
                  <a:pt x="1854" y="465"/>
                </a:lnTo>
                <a:lnTo>
                  <a:pt x="1854" y="462"/>
                </a:lnTo>
                <a:lnTo>
                  <a:pt x="1861" y="458"/>
                </a:lnTo>
                <a:lnTo>
                  <a:pt x="1854" y="458"/>
                </a:lnTo>
                <a:lnTo>
                  <a:pt x="1850" y="458"/>
                </a:lnTo>
                <a:lnTo>
                  <a:pt x="1847" y="458"/>
                </a:lnTo>
                <a:lnTo>
                  <a:pt x="1843" y="462"/>
                </a:lnTo>
                <a:lnTo>
                  <a:pt x="1840" y="472"/>
                </a:lnTo>
                <a:lnTo>
                  <a:pt x="1836" y="476"/>
                </a:lnTo>
                <a:lnTo>
                  <a:pt x="1840" y="479"/>
                </a:lnTo>
                <a:lnTo>
                  <a:pt x="1836" y="483"/>
                </a:lnTo>
                <a:lnTo>
                  <a:pt x="1833" y="483"/>
                </a:lnTo>
                <a:lnTo>
                  <a:pt x="1823" y="486"/>
                </a:lnTo>
                <a:lnTo>
                  <a:pt x="1816" y="486"/>
                </a:lnTo>
                <a:lnTo>
                  <a:pt x="1812" y="490"/>
                </a:lnTo>
                <a:lnTo>
                  <a:pt x="1816" y="490"/>
                </a:lnTo>
                <a:lnTo>
                  <a:pt x="1816" y="493"/>
                </a:lnTo>
                <a:lnTo>
                  <a:pt x="1816" y="497"/>
                </a:lnTo>
                <a:lnTo>
                  <a:pt x="1812" y="497"/>
                </a:lnTo>
                <a:lnTo>
                  <a:pt x="1805" y="500"/>
                </a:lnTo>
                <a:lnTo>
                  <a:pt x="1802" y="500"/>
                </a:lnTo>
                <a:lnTo>
                  <a:pt x="1802" y="504"/>
                </a:lnTo>
                <a:lnTo>
                  <a:pt x="1805" y="504"/>
                </a:lnTo>
                <a:lnTo>
                  <a:pt x="1805" y="507"/>
                </a:lnTo>
                <a:lnTo>
                  <a:pt x="1809" y="507"/>
                </a:lnTo>
                <a:lnTo>
                  <a:pt x="1812" y="507"/>
                </a:lnTo>
                <a:lnTo>
                  <a:pt x="1809" y="510"/>
                </a:lnTo>
                <a:lnTo>
                  <a:pt x="1812" y="510"/>
                </a:lnTo>
                <a:lnTo>
                  <a:pt x="1812" y="514"/>
                </a:lnTo>
                <a:lnTo>
                  <a:pt x="1812" y="510"/>
                </a:lnTo>
                <a:lnTo>
                  <a:pt x="1812" y="514"/>
                </a:lnTo>
                <a:lnTo>
                  <a:pt x="1816" y="514"/>
                </a:lnTo>
                <a:lnTo>
                  <a:pt x="1816" y="517"/>
                </a:lnTo>
                <a:lnTo>
                  <a:pt x="1816" y="521"/>
                </a:lnTo>
                <a:lnTo>
                  <a:pt x="1816" y="517"/>
                </a:lnTo>
                <a:lnTo>
                  <a:pt x="1819" y="517"/>
                </a:lnTo>
                <a:lnTo>
                  <a:pt x="1819" y="521"/>
                </a:lnTo>
                <a:lnTo>
                  <a:pt x="1816" y="521"/>
                </a:lnTo>
                <a:lnTo>
                  <a:pt x="1819" y="521"/>
                </a:lnTo>
                <a:lnTo>
                  <a:pt x="1819" y="524"/>
                </a:lnTo>
                <a:lnTo>
                  <a:pt x="1816" y="524"/>
                </a:lnTo>
                <a:lnTo>
                  <a:pt x="1819" y="524"/>
                </a:lnTo>
                <a:lnTo>
                  <a:pt x="1819" y="528"/>
                </a:lnTo>
                <a:lnTo>
                  <a:pt x="1816" y="528"/>
                </a:lnTo>
                <a:lnTo>
                  <a:pt x="1819" y="528"/>
                </a:lnTo>
                <a:lnTo>
                  <a:pt x="1823" y="528"/>
                </a:lnTo>
                <a:lnTo>
                  <a:pt x="1823" y="531"/>
                </a:lnTo>
                <a:lnTo>
                  <a:pt x="1823" y="535"/>
                </a:lnTo>
                <a:lnTo>
                  <a:pt x="1826" y="535"/>
                </a:lnTo>
                <a:lnTo>
                  <a:pt x="1826" y="538"/>
                </a:lnTo>
                <a:lnTo>
                  <a:pt x="1830" y="538"/>
                </a:lnTo>
                <a:lnTo>
                  <a:pt x="1826" y="538"/>
                </a:lnTo>
                <a:lnTo>
                  <a:pt x="1826" y="542"/>
                </a:lnTo>
                <a:lnTo>
                  <a:pt x="1826" y="538"/>
                </a:lnTo>
                <a:lnTo>
                  <a:pt x="1826" y="542"/>
                </a:lnTo>
                <a:lnTo>
                  <a:pt x="1826" y="545"/>
                </a:lnTo>
                <a:lnTo>
                  <a:pt x="1826" y="549"/>
                </a:lnTo>
                <a:lnTo>
                  <a:pt x="1830" y="549"/>
                </a:lnTo>
                <a:lnTo>
                  <a:pt x="1830" y="552"/>
                </a:lnTo>
                <a:lnTo>
                  <a:pt x="1826" y="552"/>
                </a:lnTo>
                <a:lnTo>
                  <a:pt x="1830" y="552"/>
                </a:lnTo>
                <a:lnTo>
                  <a:pt x="1830" y="556"/>
                </a:lnTo>
                <a:lnTo>
                  <a:pt x="1826" y="556"/>
                </a:lnTo>
                <a:lnTo>
                  <a:pt x="1830" y="556"/>
                </a:lnTo>
                <a:lnTo>
                  <a:pt x="1830" y="559"/>
                </a:lnTo>
                <a:lnTo>
                  <a:pt x="1833" y="556"/>
                </a:lnTo>
                <a:lnTo>
                  <a:pt x="1833" y="559"/>
                </a:lnTo>
                <a:lnTo>
                  <a:pt x="1836" y="559"/>
                </a:lnTo>
                <a:lnTo>
                  <a:pt x="1833" y="559"/>
                </a:lnTo>
                <a:lnTo>
                  <a:pt x="1833" y="563"/>
                </a:lnTo>
                <a:lnTo>
                  <a:pt x="1836" y="563"/>
                </a:lnTo>
                <a:lnTo>
                  <a:pt x="1833" y="563"/>
                </a:lnTo>
                <a:lnTo>
                  <a:pt x="1833" y="566"/>
                </a:lnTo>
                <a:lnTo>
                  <a:pt x="1833" y="570"/>
                </a:lnTo>
                <a:lnTo>
                  <a:pt x="1836" y="570"/>
                </a:lnTo>
                <a:lnTo>
                  <a:pt x="1836" y="573"/>
                </a:lnTo>
                <a:lnTo>
                  <a:pt x="1836" y="570"/>
                </a:lnTo>
                <a:lnTo>
                  <a:pt x="1836" y="573"/>
                </a:lnTo>
                <a:lnTo>
                  <a:pt x="1836" y="576"/>
                </a:lnTo>
                <a:lnTo>
                  <a:pt x="1836" y="580"/>
                </a:lnTo>
                <a:lnTo>
                  <a:pt x="1833" y="580"/>
                </a:lnTo>
                <a:lnTo>
                  <a:pt x="1836" y="580"/>
                </a:lnTo>
                <a:lnTo>
                  <a:pt x="1840" y="580"/>
                </a:lnTo>
                <a:lnTo>
                  <a:pt x="1840" y="583"/>
                </a:lnTo>
                <a:lnTo>
                  <a:pt x="1836" y="583"/>
                </a:lnTo>
                <a:lnTo>
                  <a:pt x="1840" y="583"/>
                </a:lnTo>
                <a:lnTo>
                  <a:pt x="1840" y="587"/>
                </a:lnTo>
                <a:lnTo>
                  <a:pt x="1840" y="590"/>
                </a:lnTo>
                <a:lnTo>
                  <a:pt x="1836" y="590"/>
                </a:lnTo>
                <a:lnTo>
                  <a:pt x="1840" y="590"/>
                </a:lnTo>
                <a:lnTo>
                  <a:pt x="1840" y="594"/>
                </a:lnTo>
                <a:lnTo>
                  <a:pt x="1843" y="597"/>
                </a:lnTo>
                <a:lnTo>
                  <a:pt x="1843" y="601"/>
                </a:lnTo>
                <a:lnTo>
                  <a:pt x="1847" y="601"/>
                </a:lnTo>
                <a:lnTo>
                  <a:pt x="1847" y="604"/>
                </a:lnTo>
                <a:lnTo>
                  <a:pt x="1847" y="608"/>
                </a:lnTo>
                <a:lnTo>
                  <a:pt x="1847" y="611"/>
                </a:lnTo>
                <a:lnTo>
                  <a:pt x="1850" y="611"/>
                </a:lnTo>
                <a:lnTo>
                  <a:pt x="1850" y="615"/>
                </a:lnTo>
                <a:lnTo>
                  <a:pt x="1850" y="611"/>
                </a:lnTo>
                <a:lnTo>
                  <a:pt x="1850" y="615"/>
                </a:lnTo>
                <a:lnTo>
                  <a:pt x="1850" y="618"/>
                </a:lnTo>
                <a:lnTo>
                  <a:pt x="1847" y="618"/>
                </a:lnTo>
                <a:lnTo>
                  <a:pt x="1850" y="618"/>
                </a:lnTo>
                <a:lnTo>
                  <a:pt x="1847" y="618"/>
                </a:lnTo>
                <a:lnTo>
                  <a:pt x="1850" y="618"/>
                </a:lnTo>
                <a:lnTo>
                  <a:pt x="1850" y="622"/>
                </a:lnTo>
                <a:lnTo>
                  <a:pt x="1850" y="625"/>
                </a:lnTo>
                <a:lnTo>
                  <a:pt x="1850" y="629"/>
                </a:lnTo>
                <a:lnTo>
                  <a:pt x="1850" y="625"/>
                </a:lnTo>
                <a:lnTo>
                  <a:pt x="1850" y="629"/>
                </a:lnTo>
                <a:lnTo>
                  <a:pt x="1850" y="625"/>
                </a:lnTo>
                <a:lnTo>
                  <a:pt x="1854" y="625"/>
                </a:lnTo>
                <a:lnTo>
                  <a:pt x="1854" y="629"/>
                </a:lnTo>
                <a:lnTo>
                  <a:pt x="1854" y="632"/>
                </a:lnTo>
                <a:lnTo>
                  <a:pt x="1854" y="635"/>
                </a:lnTo>
                <a:lnTo>
                  <a:pt x="1854" y="639"/>
                </a:lnTo>
                <a:lnTo>
                  <a:pt x="1854" y="642"/>
                </a:lnTo>
                <a:lnTo>
                  <a:pt x="1854" y="646"/>
                </a:lnTo>
                <a:lnTo>
                  <a:pt x="1854" y="649"/>
                </a:lnTo>
                <a:lnTo>
                  <a:pt x="1850" y="649"/>
                </a:lnTo>
                <a:lnTo>
                  <a:pt x="1850" y="653"/>
                </a:lnTo>
                <a:lnTo>
                  <a:pt x="1850" y="656"/>
                </a:lnTo>
                <a:lnTo>
                  <a:pt x="1854" y="656"/>
                </a:lnTo>
                <a:lnTo>
                  <a:pt x="1854" y="660"/>
                </a:lnTo>
                <a:lnTo>
                  <a:pt x="1854" y="663"/>
                </a:lnTo>
                <a:lnTo>
                  <a:pt x="1854" y="667"/>
                </a:lnTo>
                <a:lnTo>
                  <a:pt x="1854" y="670"/>
                </a:lnTo>
                <a:lnTo>
                  <a:pt x="1854" y="674"/>
                </a:lnTo>
                <a:lnTo>
                  <a:pt x="1857" y="670"/>
                </a:lnTo>
                <a:lnTo>
                  <a:pt x="1857" y="674"/>
                </a:lnTo>
                <a:lnTo>
                  <a:pt x="1857" y="677"/>
                </a:lnTo>
                <a:lnTo>
                  <a:pt x="1857" y="674"/>
                </a:lnTo>
                <a:lnTo>
                  <a:pt x="1857" y="677"/>
                </a:lnTo>
                <a:lnTo>
                  <a:pt x="1861" y="677"/>
                </a:lnTo>
                <a:lnTo>
                  <a:pt x="1861" y="681"/>
                </a:lnTo>
                <a:lnTo>
                  <a:pt x="1857" y="681"/>
                </a:lnTo>
                <a:lnTo>
                  <a:pt x="1857" y="684"/>
                </a:lnTo>
                <a:lnTo>
                  <a:pt x="1861" y="684"/>
                </a:lnTo>
                <a:lnTo>
                  <a:pt x="1857" y="684"/>
                </a:lnTo>
                <a:lnTo>
                  <a:pt x="1861" y="684"/>
                </a:lnTo>
                <a:lnTo>
                  <a:pt x="1861" y="688"/>
                </a:lnTo>
                <a:lnTo>
                  <a:pt x="1861" y="691"/>
                </a:lnTo>
                <a:lnTo>
                  <a:pt x="1864" y="691"/>
                </a:lnTo>
                <a:lnTo>
                  <a:pt x="1861" y="691"/>
                </a:lnTo>
                <a:lnTo>
                  <a:pt x="1864" y="691"/>
                </a:lnTo>
                <a:lnTo>
                  <a:pt x="1864" y="695"/>
                </a:lnTo>
                <a:lnTo>
                  <a:pt x="1864" y="698"/>
                </a:lnTo>
                <a:lnTo>
                  <a:pt x="1868" y="698"/>
                </a:lnTo>
                <a:lnTo>
                  <a:pt x="1868" y="701"/>
                </a:lnTo>
                <a:lnTo>
                  <a:pt x="1868" y="705"/>
                </a:lnTo>
                <a:lnTo>
                  <a:pt x="1871" y="705"/>
                </a:lnTo>
                <a:lnTo>
                  <a:pt x="1868" y="705"/>
                </a:lnTo>
                <a:lnTo>
                  <a:pt x="1868" y="708"/>
                </a:lnTo>
                <a:lnTo>
                  <a:pt x="1871" y="708"/>
                </a:lnTo>
                <a:lnTo>
                  <a:pt x="1868" y="708"/>
                </a:lnTo>
                <a:lnTo>
                  <a:pt x="1868" y="712"/>
                </a:lnTo>
                <a:lnTo>
                  <a:pt x="1871" y="712"/>
                </a:lnTo>
                <a:lnTo>
                  <a:pt x="1871" y="715"/>
                </a:lnTo>
                <a:lnTo>
                  <a:pt x="1868" y="715"/>
                </a:lnTo>
                <a:lnTo>
                  <a:pt x="1871" y="715"/>
                </a:lnTo>
                <a:lnTo>
                  <a:pt x="1871" y="719"/>
                </a:lnTo>
                <a:lnTo>
                  <a:pt x="1875" y="719"/>
                </a:lnTo>
                <a:lnTo>
                  <a:pt x="1871" y="719"/>
                </a:lnTo>
                <a:lnTo>
                  <a:pt x="1871" y="722"/>
                </a:lnTo>
                <a:lnTo>
                  <a:pt x="1875" y="722"/>
                </a:lnTo>
                <a:lnTo>
                  <a:pt x="1871" y="722"/>
                </a:lnTo>
                <a:lnTo>
                  <a:pt x="1875" y="722"/>
                </a:lnTo>
                <a:lnTo>
                  <a:pt x="1875" y="726"/>
                </a:lnTo>
                <a:lnTo>
                  <a:pt x="1875" y="729"/>
                </a:lnTo>
                <a:lnTo>
                  <a:pt x="1871" y="729"/>
                </a:lnTo>
                <a:lnTo>
                  <a:pt x="1875" y="729"/>
                </a:lnTo>
                <a:lnTo>
                  <a:pt x="1871" y="729"/>
                </a:lnTo>
                <a:lnTo>
                  <a:pt x="1875" y="729"/>
                </a:lnTo>
                <a:lnTo>
                  <a:pt x="1875" y="733"/>
                </a:lnTo>
                <a:lnTo>
                  <a:pt x="1875" y="729"/>
                </a:lnTo>
                <a:lnTo>
                  <a:pt x="1875" y="733"/>
                </a:lnTo>
                <a:lnTo>
                  <a:pt x="1875" y="736"/>
                </a:lnTo>
                <a:lnTo>
                  <a:pt x="1875" y="740"/>
                </a:lnTo>
                <a:lnTo>
                  <a:pt x="1875" y="743"/>
                </a:lnTo>
                <a:lnTo>
                  <a:pt x="1878" y="743"/>
                </a:lnTo>
                <a:lnTo>
                  <a:pt x="1875" y="743"/>
                </a:lnTo>
                <a:lnTo>
                  <a:pt x="1875" y="747"/>
                </a:lnTo>
                <a:lnTo>
                  <a:pt x="1875" y="750"/>
                </a:lnTo>
                <a:lnTo>
                  <a:pt x="1875" y="754"/>
                </a:lnTo>
                <a:lnTo>
                  <a:pt x="1875" y="757"/>
                </a:lnTo>
                <a:lnTo>
                  <a:pt x="1871" y="760"/>
                </a:lnTo>
                <a:lnTo>
                  <a:pt x="1871" y="764"/>
                </a:lnTo>
                <a:lnTo>
                  <a:pt x="1871" y="767"/>
                </a:lnTo>
                <a:lnTo>
                  <a:pt x="1871" y="771"/>
                </a:lnTo>
                <a:lnTo>
                  <a:pt x="1868" y="771"/>
                </a:lnTo>
                <a:lnTo>
                  <a:pt x="1868" y="774"/>
                </a:lnTo>
                <a:lnTo>
                  <a:pt x="1868" y="771"/>
                </a:lnTo>
                <a:lnTo>
                  <a:pt x="1868" y="774"/>
                </a:lnTo>
                <a:lnTo>
                  <a:pt x="1868" y="778"/>
                </a:lnTo>
                <a:lnTo>
                  <a:pt x="1864" y="778"/>
                </a:lnTo>
                <a:lnTo>
                  <a:pt x="1861" y="778"/>
                </a:lnTo>
                <a:lnTo>
                  <a:pt x="1861" y="781"/>
                </a:lnTo>
                <a:lnTo>
                  <a:pt x="1857" y="781"/>
                </a:lnTo>
                <a:lnTo>
                  <a:pt x="1861" y="781"/>
                </a:lnTo>
                <a:lnTo>
                  <a:pt x="1861" y="785"/>
                </a:lnTo>
                <a:lnTo>
                  <a:pt x="1857" y="785"/>
                </a:lnTo>
                <a:lnTo>
                  <a:pt x="1857" y="788"/>
                </a:lnTo>
                <a:lnTo>
                  <a:pt x="1857" y="792"/>
                </a:lnTo>
                <a:lnTo>
                  <a:pt x="1857" y="795"/>
                </a:lnTo>
                <a:lnTo>
                  <a:pt x="1861" y="795"/>
                </a:lnTo>
                <a:lnTo>
                  <a:pt x="1857" y="795"/>
                </a:lnTo>
                <a:lnTo>
                  <a:pt x="1861" y="799"/>
                </a:lnTo>
                <a:lnTo>
                  <a:pt x="1857" y="799"/>
                </a:lnTo>
                <a:lnTo>
                  <a:pt x="1857" y="802"/>
                </a:lnTo>
                <a:lnTo>
                  <a:pt x="1854" y="802"/>
                </a:lnTo>
                <a:lnTo>
                  <a:pt x="1854" y="806"/>
                </a:lnTo>
                <a:lnTo>
                  <a:pt x="1857" y="809"/>
                </a:lnTo>
                <a:lnTo>
                  <a:pt x="1857" y="813"/>
                </a:lnTo>
                <a:lnTo>
                  <a:pt x="1854" y="813"/>
                </a:lnTo>
                <a:lnTo>
                  <a:pt x="1857" y="813"/>
                </a:lnTo>
                <a:lnTo>
                  <a:pt x="1854" y="813"/>
                </a:lnTo>
                <a:lnTo>
                  <a:pt x="1854" y="816"/>
                </a:lnTo>
                <a:lnTo>
                  <a:pt x="1857" y="816"/>
                </a:lnTo>
                <a:lnTo>
                  <a:pt x="1854" y="820"/>
                </a:lnTo>
                <a:lnTo>
                  <a:pt x="1857" y="820"/>
                </a:lnTo>
                <a:lnTo>
                  <a:pt x="1857" y="823"/>
                </a:lnTo>
                <a:lnTo>
                  <a:pt x="1861" y="823"/>
                </a:lnTo>
                <a:lnTo>
                  <a:pt x="1857" y="823"/>
                </a:lnTo>
                <a:lnTo>
                  <a:pt x="1861" y="823"/>
                </a:lnTo>
                <a:lnTo>
                  <a:pt x="1861" y="826"/>
                </a:lnTo>
                <a:lnTo>
                  <a:pt x="1861" y="830"/>
                </a:lnTo>
                <a:lnTo>
                  <a:pt x="1861" y="833"/>
                </a:lnTo>
                <a:lnTo>
                  <a:pt x="1864" y="833"/>
                </a:lnTo>
                <a:lnTo>
                  <a:pt x="1861" y="833"/>
                </a:lnTo>
                <a:lnTo>
                  <a:pt x="1861" y="837"/>
                </a:lnTo>
                <a:lnTo>
                  <a:pt x="1864" y="837"/>
                </a:lnTo>
                <a:lnTo>
                  <a:pt x="1868" y="833"/>
                </a:lnTo>
                <a:lnTo>
                  <a:pt x="1871" y="840"/>
                </a:lnTo>
                <a:lnTo>
                  <a:pt x="1871" y="844"/>
                </a:lnTo>
                <a:lnTo>
                  <a:pt x="1871" y="847"/>
                </a:lnTo>
                <a:lnTo>
                  <a:pt x="1875" y="844"/>
                </a:lnTo>
                <a:lnTo>
                  <a:pt x="1875" y="847"/>
                </a:lnTo>
                <a:lnTo>
                  <a:pt x="1878" y="847"/>
                </a:lnTo>
                <a:lnTo>
                  <a:pt x="1878" y="851"/>
                </a:lnTo>
                <a:lnTo>
                  <a:pt x="1878" y="854"/>
                </a:lnTo>
                <a:lnTo>
                  <a:pt x="1882" y="854"/>
                </a:lnTo>
                <a:lnTo>
                  <a:pt x="1878" y="854"/>
                </a:lnTo>
                <a:lnTo>
                  <a:pt x="1875" y="858"/>
                </a:lnTo>
                <a:lnTo>
                  <a:pt x="1878" y="858"/>
                </a:lnTo>
                <a:lnTo>
                  <a:pt x="1875" y="861"/>
                </a:lnTo>
                <a:lnTo>
                  <a:pt x="1875" y="865"/>
                </a:lnTo>
                <a:lnTo>
                  <a:pt x="1878" y="865"/>
                </a:lnTo>
                <a:lnTo>
                  <a:pt x="1882" y="865"/>
                </a:lnTo>
                <a:lnTo>
                  <a:pt x="1878" y="865"/>
                </a:lnTo>
                <a:lnTo>
                  <a:pt x="1878" y="868"/>
                </a:lnTo>
                <a:lnTo>
                  <a:pt x="1878" y="865"/>
                </a:lnTo>
                <a:lnTo>
                  <a:pt x="1875" y="865"/>
                </a:lnTo>
                <a:lnTo>
                  <a:pt x="1875" y="868"/>
                </a:lnTo>
                <a:lnTo>
                  <a:pt x="1878" y="868"/>
                </a:lnTo>
                <a:lnTo>
                  <a:pt x="1882" y="872"/>
                </a:lnTo>
                <a:lnTo>
                  <a:pt x="1882" y="868"/>
                </a:lnTo>
                <a:lnTo>
                  <a:pt x="1882" y="872"/>
                </a:lnTo>
                <a:lnTo>
                  <a:pt x="1878" y="872"/>
                </a:lnTo>
                <a:lnTo>
                  <a:pt x="1878" y="875"/>
                </a:lnTo>
                <a:lnTo>
                  <a:pt x="1882" y="875"/>
                </a:lnTo>
                <a:lnTo>
                  <a:pt x="1882" y="879"/>
                </a:lnTo>
                <a:lnTo>
                  <a:pt x="1885" y="879"/>
                </a:lnTo>
                <a:lnTo>
                  <a:pt x="1885" y="882"/>
                </a:lnTo>
                <a:lnTo>
                  <a:pt x="1889" y="882"/>
                </a:lnTo>
                <a:lnTo>
                  <a:pt x="1889" y="886"/>
                </a:lnTo>
                <a:lnTo>
                  <a:pt x="1885" y="886"/>
                </a:lnTo>
                <a:lnTo>
                  <a:pt x="1889" y="886"/>
                </a:lnTo>
                <a:lnTo>
                  <a:pt x="1892" y="886"/>
                </a:lnTo>
                <a:lnTo>
                  <a:pt x="1892" y="889"/>
                </a:lnTo>
                <a:lnTo>
                  <a:pt x="1895" y="889"/>
                </a:lnTo>
                <a:lnTo>
                  <a:pt x="1892" y="889"/>
                </a:lnTo>
                <a:lnTo>
                  <a:pt x="1892" y="892"/>
                </a:lnTo>
                <a:lnTo>
                  <a:pt x="1889" y="892"/>
                </a:lnTo>
                <a:lnTo>
                  <a:pt x="1892" y="892"/>
                </a:lnTo>
                <a:lnTo>
                  <a:pt x="1892" y="896"/>
                </a:lnTo>
                <a:lnTo>
                  <a:pt x="1895" y="896"/>
                </a:lnTo>
                <a:lnTo>
                  <a:pt x="1895" y="899"/>
                </a:lnTo>
                <a:lnTo>
                  <a:pt x="1899" y="899"/>
                </a:lnTo>
                <a:lnTo>
                  <a:pt x="1899" y="896"/>
                </a:lnTo>
                <a:lnTo>
                  <a:pt x="1899" y="899"/>
                </a:lnTo>
                <a:lnTo>
                  <a:pt x="1899" y="903"/>
                </a:lnTo>
                <a:lnTo>
                  <a:pt x="1902" y="903"/>
                </a:lnTo>
                <a:lnTo>
                  <a:pt x="1899" y="903"/>
                </a:lnTo>
                <a:lnTo>
                  <a:pt x="1899" y="906"/>
                </a:lnTo>
                <a:lnTo>
                  <a:pt x="1902" y="906"/>
                </a:lnTo>
                <a:lnTo>
                  <a:pt x="1899" y="906"/>
                </a:lnTo>
                <a:lnTo>
                  <a:pt x="1902" y="906"/>
                </a:lnTo>
                <a:lnTo>
                  <a:pt x="1906" y="906"/>
                </a:lnTo>
                <a:lnTo>
                  <a:pt x="1906" y="910"/>
                </a:lnTo>
                <a:lnTo>
                  <a:pt x="1902" y="910"/>
                </a:lnTo>
                <a:lnTo>
                  <a:pt x="1902" y="906"/>
                </a:lnTo>
                <a:lnTo>
                  <a:pt x="1899" y="906"/>
                </a:lnTo>
                <a:lnTo>
                  <a:pt x="1895" y="906"/>
                </a:lnTo>
                <a:lnTo>
                  <a:pt x="1892" y="906"/>
                </a:lnTo>
                <a:lnTo>
                  <a:pt x="1892" y="903"/>
                </a:lnTo>
                <a:lnTo>
                  <a:pt x="1889" y="903"/>
                </a:lnTo>
                <a:lnTo>
                  <a:pt x="1885" y="903"/>
                </a:lnTo>
                <a:lnTo>
                  <a:pt x="1885" y="906"/>
                </a:lnTo>
                <a:lnTo>
                  <a:pt x="1882" y="910"/>
                </a:lnTo>
                <a:lnTo>
                  <a:pt x="1878" y="913"/>
                </a:lnTo>
                <a:lnTo>
                  <a:pt x="1882" y="913"/>
                </a:lnTo>
                <a:lnTo>
                  <a:pt x="1878" y="917"/>
                </a:lnTo>
                <a:lnTo>
                  <a:pt x="1878" y="920"/>
                </a:lnTo>
                <a:lnTo>
                  <a:pt x="1875" y="920"/>
                </a:lnTo>
                <a:lnTo>
                  <a:pt x="1871" y="927"/>
                </a:lnTo>
                <a:lnTo>
                  <a:pt x="1868" y="931"/>
                </a:lnTo>
                <a:lnTo>
                  <a:pt x="1871" y="934"/>
                </a:lnTo>
                <a:lnTo>
                  <a:pt x="1868" y="938"/>
                </a:lnTo>
                <a:lnTo>
                  <a:pt x="1868" y="941"/>
                </a:lnTo>
                <a:lnTo>
                  <a:pt x="1864" y="941"/>
                </a:lnTo>
                <a:lnTo>
                  <a:pt x="1864" y="945"/>
                </a:lnTo>
                <a:lnTo>
                  <a:pt x="1861" y="948"/>
                </a:lnTo>
                <a:lnTo>
                  <a:pt x="1861" y="951"/>
                </a:lnTo>
                <a:lnTo>
                  <a:pt x="1861" y="955"/>
                </a:lnTo>
                <a:lnTo>
                  <a:pt x="1861" y="958"/>
                </a:lnTo>
                <a:lnTo>
                  <a:pt x="1861" y="962"/>
                </a:lnTo>
                <a:lnTo>
                  <a:pt x="1861" y="965"/>
                </a:lnTo>
                <a:lnTo>
                  <a:pt x="1861" y="969"/>
                </a:lnTo>
                <a:lnTo>
                  <a:pt x="1857" y="969"/>
                </a:lnTo>
                <a:lnTo>
                  <a:pt x="1854" y="969"/>
                </a:lnTo>
                <a:lnTo>
                  <a:pt x="1850" y="969"/>
                </a:lnTo>
                <a:lnTo>
                  <a:pt x="1847" y="969"/>
                </a:lnTo>
                <a:lnTo>
                  <a:pt x="1843" y="969"/>
                </a:lnTo>
                <a:lnTo>
                  <a:pt x="1840" y="969"/>
                </a:lnTo>
                <a:lnTo>
                  <a:pt x="1840" y="972"/>
                </a:lnTo>
                <a:lnTo>
                  <a:pt x="1840" y="976"/>
                </a:lnTo>
                <a:lnTo>
                  <a:pt x="1836" y="979"/>
                </a:lnTo>
                <a:lnTo>
                  <a:pt x="1836" y="983"/>
                </a:lnTo>
                <a:lnTo>
                  <a:pt x="1836" y="986"/>
                </a:lnTo>
                <a:lnTo>
                  <a:pt x="1836" y="990"/>
                </a:lnTo>
                <a:lnTo>
                  <a:pt x="1836" y="993"/>
                </a:lnTo>
                <a:lnTo>
                  <a:pt x="1833" y="993"/>
                </a:lnTo>
                <a:lnTo>
                  <a:pt x="1830" y="997"/>
                </a:lnTo>
                <a:lnTo>
                  <a:pt x="1826" y="997"/>
                </a:lnTo>
                <a:lnTo>
                  <a:pt x="1823" y="997"/>
                </a:lnTo>
                <a:lnTo>
                  <a:pt x="1823" y="1000"/>
                </a:lnTo>
                <a:lnTo>
                  <a:pt x="1819" y="1000"/>
                </a:lnTo>
                <a:lnTo>
                  <a:pt x="1816" y="1004"/>
                </a:lnTo>
                <a:lnTo>
                  <a:pt x="1819" y="1007"/>
                </a:lnTo>
                <a:lnTo>
                  <a:pt x="1816" y="1007"/>
                </a:lnTo>
                <a:lnTo>
                  <a:pt x="1816" y="1011"/>
                </a:lnTo>
                <a:lnTo>
                  <a:pt x="1816" y="1014"/>
                </a:lnTo>
                <a:lnTo>
                  <a:pt x="1812" y="1014"/>
                </a:lnTo>
                <a:lnTo>
                  <a:pt x="1809" y="1017"/>
                </a:lnTo>
                <a:lnTo>
                  <a:pt x="1802" y="1024"/>
                </a:lnTo>
                <a:lnTo>
                  <a:pt x="1798" y="1031"/>
                </a:lnTo>
                <a:lnTo>
                  <a:pt x="1795" y="1038"/>
                </a:lnTo>
                <a:lnTo>
                  <a:pt x="1798" y="1038"/>
                </a:lnTo>
                <a:lnTo>
                  <a:pt x="1798" y="1042"/>
                </a:lnTo>
                <a:lnTo>
                  <a:pt x="1798" y="1045"/>
                </a:lnTo>
                <a:lnTo>
                  <a:pt x="1798" y="1049"/>
                </a:lnTo>
                <a:lnTo>
                  <a:pt x="1798" y="1052"/>
                </a:lnTo>
                <a:lnTo>
                  <a:pt x="1795" y="1052"/>
                </a:lnTo>
                <a:lnTo>
                  <a:pt x="1795" y="1056"/>
                </a:lnTo>
                <a:lnTo>
                  <a:pt x="1795" y="1059"/>
                </a:lnTo>
                <a:lnTo>
                  <a:pt x="1791" y="1059"/>
                </a:lnTo>
                <a:lnTo>
                  <a:pt x="1791" y="1063"/>
                </a:lnTo>
                <a:lnTo>
                  <a:pt x="1795" y="1063"/>
                </a:lnTo>
                <a:lnTo>
                  <a:pt x="1795" y="1066"/>
                </a:lnTo>
                <a:lnTo>
                  <a:pt x="1795" y="1070"/>
                </a:lnTo>
                <a:lnTo>
                  <a:pt x="1791" y="1070"/>
                </a:lnTo>
                <a:lnTo>
                  <a:pt x="1791" y="1073"/>
                </a:lnTo>
                <a:lnTo>
                  <a:pt x="1791" y="1077"/>
                </a:lnTo>
                <a:lnTo>
                  <a:pt x="1791" y="1073"/>
                </a:lnTo>
                <a:lnTo>
                  <a:pt x="1788" y="1077"/>
                </a:lnTo>
                <a:lnTo>
                  <a:pt x="1784" y="1077"/>
                </a:lnTo>
                <a:lnTo>
                  <a:pt x="1784" y="1080"/>
                </a:lnTo>
                <a:lnTo>
                  <a:pt x="1781" y="1080"/>
                </a:lnTo>
                <a:lnTo>
                  <a:pt x="1784" y="1083"/>
                </a:lnTo>
                <a:lnTo>
                  <a:pt x="1781" y="1083"/>
                </a:lnTo>
                <a:lnTo>
                  <a:pt x="1781" y="1087"/>
                </a:lnTo>
                <a:lnTo>
                  <a:pt x="1781" y="1090"/>
                </a:lnTo>
                <a:lnTo>
                  <a:pt x="1781" y="1094"/>
                </a:lnTo>
                <a:lnTo>
                  <a:pt x="1784" y="1094"/>
                </a:lnTo>
                <a:lnTo>
                  <a:pt x="1784" y="1097"/>
                </a:lnTo>
                <a:lnTo>
                  <a:pt x="1788" y="1101"/>
                </a:lnTo>
                <a:lnTo>
                  <a:pt x="1788" y="1104"/>
                </a:lnTo>
                <a:lnTo>
                  <a:pt x="1788" y="1108"/>
                </a:lnTo>
                <a:lnTo>
                  <a:pt x="1784" y="1108"/>
                </a:lnTo>
                <a:lnTo>
                  <a:pt x="1784" y="1111"/>
                </a:lnTo>
                <a:lnTo>
                  <a:pt x="1784" y="1115"/>
                </a:lnTo>
                <a:lnTo>
                  <a:pt x="1784" y="1118"/>
                </a:lnTo>
                <a:lnTo>
                  <a:pt x="1788" y="1118"/>
                </a:lnTo>
                <a:lnTo>
                  <a:pt x="1788" y="1122"/>
                </a:lnTo>
                <a:lnTo>
                  <a:pt x="1784" y="1125"/>
                </a:lnTo>
                <a:lnTo>
                  <a:pt x="1784" y="1132"/>
                </a:lnTo>
                <a:lnTo>
                  <a:pt x="1784" y="1136"/>
                </a:lnTo>
                <a:lnTo>
                  <a:pt x="1784" y="1139"/>
                </a:lnTo>
                <a:lnTo>
                  <a:pt x="1781" y="1139"/>
                </a:lnTo>
                <a:lnTo>
                  <a:pt x="1784" y="1139"/>
                </a:lnTo>
                <a:lnTo>
                  <a:pt x="1784" y="1142"/>
                </a:lnTo>
                <a:lnTo>
                  <a:pt x="1784" y="1146"/>
                </a:lnTo>
                <a:lnTo>
                  <a:pt x="1781" y="1146"/>
                </a:lnTo>
                <a:lnTo>
                  <a:pt x="1784" y="1149"/>
                </a:lnTo>
                <a:lnTo>
                  <a:pt x="1784" y="1153"/>
                </a:lnTo>
                <a:lnTo>
                  <a:pt x="1781" y="1153"/>
                </a:lnTo>
                <a:lnTo>
                  <a:pt x="1781" y="1156"/>
                </a:lnTo>
                <a:lnTo>
                  <a:pt x="1784" y="1156"/>
                </a:lnTo>
                <a:lnTo>
                  <a:pt x="1784" y="1160"/>
                </a:lnTo>
                <a:lnTo>
                  <a:pt x="1781" y="1163"/>
                </a:lnTo>
                <a:lnTo>
                  <a:pt x="1781" y="1167"/>
                </a:lnTo>
                <a:lnTo>
                  <a:pt x="1781" y="1170"/>
                </a:lnTo>
                <a:lnTo>
                  <a:pt x="1781" y="1174"/>
                </a:lnTo>
                <a:lnTo>
                  <a:pt x="1781" y="1177"/>
                </a:lnTo>
                <a:lnTo>
                  <a:pt x="1784" y="1177"/>
                </a:lnTo>
                <a:lnTo>
                  <a:pt x="1784" y="1181"/>
                </a:lnTo>
                <a:lnTo>
                  <a:pt x="1784" y="1184"/>
                </a:lnTo>
                <a:lnTo>
                  <a:pt x="1784" y="1188"/>
                </a:lnTo>
                <a:lnTo>
                  <a:pt x="1788" y="1188"/>
                </a:lnTo>
                <a:lnTo>
                  <a:pt x="1791" y="1191"/>
                </a:lnTo>
                <a:lnTo>
                  <a:pt x="1791" y="1195"/>
                </a:lnTo>
                <a:lnTo>
                  <a:pt x="1795" y="1195"/>
                </a:lnTo>
                <a:lnTo>
                  <a:pt x="1795" y="1198"/>
                </a:lnTo>
                <a:lnTo>
                  <a:pt x="1791" y="1198"/>
                </a:lnTo>
                <a:lnTo>
                  <a:pt x="1791" y="1202"/>
                </a:lnTo>
                <a:lnTo>
                  <a:pt x="1795" y="1202"/>
                </a:lnTo>
                <a:lnTo>
                  <a:pt x="1795" y="1205"/>
                </a:lnTo>
                <a:lnTo>
                  <a:pt x="1798" y="1205"/>
                </a:lnTo>
                <a:lnTo>
                  <a:pt x="1798" y="1202"/>
                </a:lnTo>
                <a:lnTo>
                  <a:pt x="1802" y="1202"/>
                </a:lnTo>
                <a:lnTo>
                  <a:pt x="1802" y="1205"/>
                </a:lnTo>
                <a:lnTo>
                  <a:pt x="1805" y="1205"/>
                </a:lnTo>
                <a:lnTo>
                  <a:pt x="1805" y="1208"/>
                </a:lnTo>
                <a:lnTo>
                  <a:pt x="1809" y="1208"/>
                </a:lnTo>
                <a:lnTo>
                  <a:pt x="1812" y="1208"/>
                </a:lnTo>
                <a:lnTo>
                  <a:pt x="1812" y="1212"/>
                </a:lnTo>
                <a:lnTo>
                  <a:pt x="1812" y="1215"/>
                </a:lnTo>
                <a:lnTo>
                  <a:pt x="1812" y="1219"/>
                </a:lnTo>
                <a:lnTo>
                  <a:pt x="1812" y="1222"/>
                </a:lnTo>
                <a:lnTo>
                  <a:pt x="1816" y="1222"/>
                </a:lnTo>
                <a:lnTo>
                  <a:pt x="1816" y="1226"/>
                </a:lnTo>
                <a:lnTo>
                  <a:pt x="1819" y="1226"/>
                </a:lnTo>
                <a:lnTo>
                  <a:pt x="1819" y="1229"/>
                </a:lnTo>
                <a:lnTo>
                  <a:pt x="1819" y="1233"/>
                </a:lnTo>
                <a:lnTo>
                  <a:pt x="1823" y="1233"/>
                </a:lnTo>
                <a:lnTo>
                  <a:pt x="1823" y="1236"/>
                </a:lnTo>
                <a:lnTo>
                  <a:pt x="1823" y="1240"/>
                </a:lnTo>
                <a:lnTo>
                  <a:pt x="1823" y="1243"/>
                </a:lnTo>
                <a:lnTo>
                  <a:pt x="1819" y="1243"/>
                </a:lnTo>
                <a:lnTo>
                  <a:pt x="1819" y="1247"/>
                </a:lnTo>
                <a:lnTo>
                  <a:pt x="1819" y="1250"/>
                </a:lnTo>
                <a:lnTo>
                  <a:pt x="1819" y="1254"/>
                </a:lnTo>
                <a:lnTo>
                  <a:pt x="1823" y="1254"/>
                </a:lnTo>
                <a:lnTo>
                  <a:pt x="1819" y="1254"/>
                </a:lnTo>
                <a:lnTo>
                  <a:pt x="1819" y="1257"/>
                </a:lnTo>
                <a:lnTo>
                  <a:pt x="1819" y="1261"/>
                </a:lnTo>
                <a:lnTo>
                  <a:pt x="1819" y="1264"/>
                </a:lnTo>
                <a:lnTo>
                  <a:pt x="1819" y="1268"/>
                </a:lnTo>
                <a:lnTo>
                  <a:pt x="1816" y="1268"/>
                </a:lnTo>
                <a:lnTo>
                  <a:pt x="1816" y="1264"/>
                </a:lnTo>
                <a:lnTo>
                  <a:pt x="1812" y="1264"/>
                </a:lnTo>
                <a:lnTo>
                  <a:pt x="1809" y="1264"/>
                </a:lnTo>
                <a:lnTo>
                  <a:pt x="1809" y="1261"/>
                </a:lnTo>
                <a:lnTo>
                  <a:pt x="1805" y="1261"/>
                </a:lnTo>
                <a:lnTo>
                  <a:pt x="1802" y="1261"/>
                </a:lnTo>
                <a:lnTo>
                  <a:pt x="1798" y="1257"/>
                </a:lnTo>
                <a:lnTo>
                  <a:pt x="1795" y="1257"/>
                </a:lnTo>
                <a:lnTo>
                  <a:pt x="1795" y="1254"/>
                </a:lnTo>
                <a:lnTo>
                  <a:pt x="1795" y="1250"/>
                </a:lnTo>
                <a:lnTo>
                  <a:pt x="1795" y="1247"/>
                </a:lnTo>
                <a:lnTo>
                  <a:pt x="1791" y="1243"/>
                </a:lnTo>
                <a:lnTo>
                  <a:pt x="1788" y="1240"/>
                </a:lnTo>
                <a:lnTo>
                  <a:pt x="1784" y="1240"/>
                </a:lnTo>
                <a:lnTo>
                  <a:pt x="1781" y="1240"/>
                </a:lnTo>
                <a:lnTo>
                  <a:pt x="1781" y="1236"/>
                </a:lnTo>
                <a:lnTo>
                  <a:pt x="1777" y="1236"/>
                </a:lnTo>
                <a:lnTo>
                  <a:pt x="1770" y="1236"/>
                </a:lnTo>
                <a:lnTo>
                  <a:pt x="1767" y="1236"/>
                </a:lnTo>
                <a:lnTo>
                  <a:pt x="1764" y="1236"/>
                </a:lnTo>
                <a:lnTo>
                  <a:pt x="1760" y="1236"/>
                </a:lnTo>
                <a:lnTo>
                  <a:pt x="1760" y="1233"/>
                </a:lnTo>
                <a:lnTo>
                  <a:pt x="1757" y="1233"/>
                </a:lnTo>
                <a:lnTo>
                  <a:pt x="1753" y="1233"/>
                </a:lnTo>
                <a:lnTo>
                  <a:pt x="1750" y="1233"/>
                </a:lnTo>
                <a:lnTo>
                  <a:pt x="1750" y="1229"/>
                </a:lnTo>
                <a:lnTo>
                  <a:pt x="1746" y="1229"/>
                </a:lnTo>
                <a:lnTo>
                  <a:pt x="1746" y="1226"/>
                </a:lnTo>
                <a:lnTo>
                  <a:pt x="1743" y="1226"/>
                </a:lnTo>
                <a:lnTo>
                  <a:pt x="1743" y="1222"/>
                </a:lnTo>
                <a:lnTo>
                  <a:pt x="1739" y="1222"/>
                </a:lnTo>
                <a:lnTo>
                  <a:pt x="1736" y="1215"/>
                </a:lnTo>
                <a:lnTo>
                  <a:pt x="1732" y="1215"/>
                </a:lnTo>
                <a:lnTo>
                  <a:pt x="1732" y="1212"/>
                </a:lnTo>
                <a:lnTo>
                  <a:pt x="1729" y="1212"/>
                </a:lnTo>
                <a:lnTo>
                  <a:pt x="1725" y="1212"/>
                </a:lnTo>
                <a:lnTo>
                  <a:pt x="1725" y="1208"/>
                </a:lnTo>
                <a:lnTo>
                  <a:pt x="1722" y="1208"/>
                </a:lnTo>
                <a:lnTo>
                  <a:pt x="1718" y="1208"/>
                </a:lnTo>
                <a:lnTo>
                  <a:pt x="1715" y="1205"/>
                </a:lnTo>
                <a:lnTo>
                  <a:pt x="1711" y="1205"/>
                </a:lnTo>
                <a:lnTo>
                  <a:pt x="1708" y="1205"/>
                </a:lnTo>
                <a:lnTo>
                  <a:pt x="1708" y="1202"/>
                </a:lnTo>
                <a:lnTo>
                  <a:pt x="1705" y="1202"/>
                </a:lnTo>
                <a:lnTo>
                  <a:pt x="1701" y="1198"/>
                </a:lnTo>
                <a:lnTo>
                  <a:pt x="1698" y="1198"/>
                </a:lnTo>
                <a:lnTo>
                  <a:pt x="1694" y="1198"/>
                </a:lnTo>
                <a:lnTo>
                  <a:pt x="1691" y="1198"/>
                </a:lnTo>
                <a:lnTo>
                  <a:pt x="1687" y="1198"/>
                </a:lnTo>
                <a:lnTo>
                  <a:pt x="1684" y="1198"/>
                </a:lnTo>
                <a:lnTo>
                  <a:pt x="1680" y="1198"/>
                </a:lnTo>
                <a:lnTo>
                  <a:pt x="1677" y="1198"/>
                </a:lnTo>
                <a:lnTo>
                  <a:pt x="1673" y="1198"/>
                </a:lnTo>
                <a:lnTo>
                  <a:pt x="1670" y="1198"/>
                </a:lnTo>
                <a:lnTo>
                  <a:pt x="1666" y="1198"/>
                </a:lnTo>
                <a:lnTo>
                  <a:pt x="1663" y="1198"/>
                </a:lnTo>
                <a:lnTo>
                  <a:pt x="1659" y="1198"/>
                </a:lnTo>
                <a:lnTo>
                  <a:pt x="1659" y="1202"/>
                </a:lnTo>
                <a:lnTo>
                  <a:pt x="1656" y="1202"/>
                </a:lnTo>
                <a:lnTo>
                  <a:pt x="1649" y="1202"/>
                </a:lnTo>
                <a:lnTo>
                  <a:pt x="1645" y="1205"/>
                </a:lnTo>
                <a:lnTo>
                  <a:pt x="1642" y="1205"/>
                </a:lnTo>
                <a:lnTo>
                  <a:pt x="1639" y="1208"/>
                </a:lnTo>
                <a:lnTo>
                  <a:pt x="1635" y="1212"/>
                </a:lnTo>
                <a:lnTo>
                  <a:pt x="1632" y="1212"/>
                </a:lnTo>
                <a:lnTo>
                  <a:pt x="1632" y="1215"/>
                </a:lnTo>
                <a:lnTo>
                  <a:pt x="1628" y="1215"/>
                </a:lnTo>
                <a:lnTo>
                  <a:pt x="1625" y="1219"/>
                </a:lnTo>
                <a:lnTo>
                  <a:pt x="1625" y="1222"/>
                </a:lnTo>
                <a:lnTo>
                  <a:pt x="1621" y="1222"/>
                </a:lnTo>
                <a:lnTo>
                  <a:pt x="1618" y="1222"/>
                </a:lnTo>
                <a:lnTo>
                  <a:pt x="1614" y="1222"/>
                </a:lnTo>
                <a:lnTo>
                  <a:pt x="1611" y="1222"/>
                </a:lnTo>
                <a:lnTo>
                  <a:pt x="1607" y="1222"/>
                </a:lnTo>
                <a:lnTo>
                  <a:pt x="1604" y="1222"/>
                </a:lnTo>
                <a:lnTo>
                  <a:pt x="1600" y="1222"/>
                </a:lnTo>
                <a:lnTo>
                  <a:pt x="1597" y="1222"/>
                </a:lnTo>
                <a:lnTo>
                  <a:pt x="1593" y="1222"/>
                </a:lnTo>
                <a:lnTo>
                  <a:pt x="1590" y="1222"/>
                </a:lnTo>
                <a:lnTo>
                  <a:pt x="1590" y="1226"/>
                </a:lnTo>
                <a:lnTo>
                  <a:pt x="1586" y="1226"/>
                </a:lnTo>
                <a:lnTo>
                  <a:pt x="1583" y="1226"/>
                </a:lnTo>
                <a:lnTo>
                  <a:pt x="1580" y="1222"/>
                </a:lnTo>
                <a:lnTo>
                  <a:pt x="1576" y="1222"/>
                </a:lnTo>
                <a:lnTo>
                  <a:pt x="1573" y="1222"/>
                </a:lnTo>
                <a:lnTo>
                  <a:pt x="1569" y="1222"/>
                </a:lnTo>
                <a:lnTo>
                  <a:pt x="1566" y="1222"/>
                </a:lnTo>
                <a:lnTo>
                  <a:pt x="1566" y="1219"/>
                </a:lnTo>
                <a:lnTo>
                  <a:pt x="1562" y="1219"/>
                </a:lnTo>
                <a:lnTo>
                  <a:pt x="1559" y="1215"/>
                </a:lnTo>
                <a:lnTo>
                  <a:pt x="1555" y="1215"/>
                </a:lnTo>
                <a:lnTo>
                  <a:pt x="1555" y="1212"/>
                </a:lnTo>
                <a:lnTo>
                  <a:pt x="1552" y="1212"/>
                </a:lnTo>
                <a:lnTo>
                  <a:pt x="1548" y="1212"/>
                </a:lnTo>
                <a:lnTo>
                  <a:pt x="1545" y="1215"/>
                </a:lnTo>
                <a:lnTo>
                  <a:pt x="1541" y="1215"/>
                </a:lnTo>
                <a:lnTo>
                  <a:pt x="1541" y="1212"/>
                </a:lnTo>
                <a:lnTo>
                  <a:pt x="1538" y="1215"/>
                </a:lnTo>
                <a:lnTo>
                  <a:pt x="1534" y="1215"/>
                </a:lnTo>
                <a:lnTo>
                  <a:pt x="1534" y="1219"/>
                </a:lnTo>
                <a:lnTo>
                  <a:pt x="1538" y="1222"/>
                </a:lnTo>
                <a:lnTo>
                  <a:pt x="1538" y="1226"/>
                </a:lnTo>
                <a:lnTo>
                  <a:pt x="1538" y="1229"/>
                </a:lnTo>
                <a:lnTo>
                  <a:pt x="1534" y="1229"/>
                </a:lnTo>
                <a:lnTo>
                  <a:pt x="1531" y="1229"/>
                </a:lnTo>
                <a:lnTo>
                  <a:pt x="1527" y="1233"/>
                </a:lnTo>
                <a:lnTo>
                  <a:pt x="1527" y="1229"/>
                </a:lnTo>
                <a:lnTo>
                  <a:pt x="1524" y="1229"/>
                </a:lnTo>
                <a:lnTo>
                  <a:pt x="1524" y="1233"/>
                </a:lnTo>
                <a:lnTo>
                  <a:pt x="1520" y="1233"/>
                </a:lnTo>
                <a:lnTo>
                  <a:pt x="1520" y="1236"/>
                </a:lnTo>
                <a:lnTo>
                  <a:pt x="1520" y="1240"/>
                </a:lnTo>
                <a:lnTo>
                  <a:pt x="1520" y="1243"/>
                </a:lnTo>
                <a:lnTo>
                  <a:pt x="1517" y="1243"/>
                </a:lnTo>
                <a:lnTo>
                  <a:pt x="1520" y="1243"/>
                </a:lnTo>
                <a:lnTo>
                  <a:pt x="1517" y="1243"/>
                </a:lnTo>
                <a:lnTo>
                  <a:pt x="1514" y="1243"/>
                </a:lnTo>
                <a:lnTo>
                  <a:pt x="1510" y="1243"/>
                </a:lnTo>
                <a:lnTo>
                  <a:pt x="1510" y="1240"/>
                </a:lnTo>
                <a:lnTo>
                  <a:pt x="1507" y="1240"/>
                </a:lnTo>
                <a:lnTo>
                  <a:pt x="1503" y="1240"/>
                </a:lnTo>
                <a:lnTo>
                  <a:pt x="1500" y="1240"/>
                </a:lnTo>
                <a:lnTo>
                  <a:pt x="1500" y="1236"/>
                </a:lnTo>
                <a:lnTo>
                  <a:pt x="1503" y="1236"/>
                </a:lnTo>
                <a:lnTo>
                  <a:pt x="1503" y="1233"/>
                </a:lnTo>
                <a:lnTo>
                  <a:pt x="1500" y="1233"/>
                </a:lnTo>
                <a:lnTo>
                  <a:pt x="1496" y="1233"/>
                </a:lnTo>
                <a:lnTo>
                  <a:pt x="1493" y="1233"/>
                </a:lnTo>
                <a:lnTo>
                  <a:pt x="1489" y="1233"/>
                </a:lnTo>
                <a:lnTo>
                  <a:pt x="1489" y="1236"/>
                </a:lnTo>
                <a:lnTo>
                  <a:pt x="1489" y="1240"/>
                </a:lnTo>
                <a:lnTo>
                  <a:pt x="1486" y="1236"/>
                </a:lnTo>
                <a:lnTo>
                  <a:pt x="1486" y="1240"/>
                </a:lnTo>
                <a:lnTo>
                  <a:pt x="1482" y="1240"/>
                </a:lnTo>
                <a:lnTo>
                  <a:pt x="1479" y="1240"/>
                </a:lnTo>
                <a:lnTo>
                  <a:pt x="1482" y="1240"/>
                </a:lnTo>
                <a:lnTo>
                  <a:pt x="1479" y="1240"/>
                </a:lnTo>
                <a:lnTo>
                  <a:pt x="1479" y="1243"/>
                </a:lnTo>
                <a:lnTo>
                  <a:pt x="1475" y="1240"/>
                </a:lnTo>
                <a:lnTo>
                  <a:pt x="1475" y="1243"/>
                </a:lnTo>
                <a:lnTo>
                  <a:pt x="1472" y="1243"/>
                </a:lnTo>
                <a:lnTo>
                  <a:pt x="1472" y="1247"/>
                </a:lnTo>
                <a:lnTo>
                  <a:pt x="1468" y="1247"/>
                </a:lnTo>
                <a:lnTo>
                  <a:pt x="1468" y="1250"/>
                </a:lnTo>
                <a:lnTo>
                  <a:pt x="1465" y="1254"/>
                </a:lnTo>
                <a:lnTo>
                  <a:pt x="1465" y="1250"/>
                </a:lnTo>
                <a:lnTo>
                  <a:pt x="1461" y="1250"/>
                </a:lnTo>
                <a:lnTo>
                  <a:pt x="1458" y="1250"/>
                </a:lnTo>
                <a:lnTo>
                  <a:pt x="1458" y="1254"/>
                </a:lnTo>
                <a:lnTo>
                  <a:pt x="1455" y="1254"/>
                </a:lnTo>
                <a:lnTo>
                  <a:pt x="1458" y="1257"/>
                </a:lnTo>
                <a:lnTo>
                  <a:pt x="1458" y="1264"/>
                </a:lnTo>
                <a:lnTo>
                  <a:pt x="1461" y="1268"/>
                </a:lnTo>
                <a:lnTo>
                  <a:pt x="1461" y="1271"/>
                </a:lnTo>
                <a:lnTo>
                  <a:pt x="1461" y="1274"/>
                </a:lnTo>
                <a:lnTo>
                  <a:pt x="1461" y="1278"/>
                </a:lnTo>
                <a:lnTo>
                  <a:pt x="1458" y="1274"/>
                </a:lnTo>
                <a:lnTo>
                  <a:pt x="1458" y="1278"/>
                </a:lnTo>
                <a:lnTo>
                  <a:pt x="1455" y="1278"/>
                </a:lnTo>
                <a:lnTo>
                  <a:pt x="1455" y="1281"/>
                </a:lnTo>
                <a:lnTo>
                  <a:pt x="1458" y="1281"/>
                </a:lnTo>
                <a:lnTo>
                  <a:pt x="1455" y="1281"/>
                </a:lnTo>
                <a:lnTo>
                  <a:pt x="1458" y="1281"/>
                </a:lnTo>
                <a:lnTo>
                  <a:pt x="1458" y="1285"/>
                </a:lnTo>
                <a:lnTo>
                  <a:pt x="1461" y="1285"/>
                </a:lnTo>
                <a:lnTo>
                  <a:pt x="1461" y="1288"/>
                </a:lnTo>
                <a:lnTo>
                  <a:pt x="1458" y="1288"/>
                </a:lnTo>
                <a:lnTo>
                  <a:pt x="1458" y="1292"/>
                </a:lnTo>
                <a:lnTo>
                  <a:pt x="1455" y="1292"/>
                </a:lnTo>
                <a:lnTo>
                  <a:pt x="1455" y="1295"/>
                </a:lnTo>
                <a:lnTo>
                  <a:pt x="1455" y="1292"/>
                </a:lnTo>
                <a:lnTo>
                  <a:pt x="1451" y="1292"/>
                </a:lnTo>
                <a:lnTo>
                  <a:pt x="1448" y="1295"/>
                </a:lnTo>
                <a:lnTo>
                  <a:pt x="1444" y="1295"/>
                </a:lnTo>
                <a:lnTo>
                  <a:pt x="1444" y="1299"/>
                </a:lnTo>
                <a:lnTo>
                  <a:pt x="1441" y="1299"/>
                </a:lnTo>
                <a:lnTo>
                  <a:pt x="1441" y="1302"/>
                </a:lnTo>
                <a:lnTo>
                  <a:pt x="1437" y="1306"/>
                </a:lnTo>
                <a:lnTo>
                  <a:pt x="1437" y="1302"/>
                </a:lnTo>
                <a:lnTo>
                  <a:pt x="1434" y="1302"/>
                </a:lnTo>
                <a:lnTo>
                  <a:pt x="1434" y="1306"/>
                </a:lnTo>
                <a:lnTo>
                  <a:pt x="1430" y="1306"/>
                </a:lnTo>
                <a:lnTo>
                  <a:pt x="1430" y="1309"/>
                </a:lnTo>
                <a:lnTo>
                  <a:pt x="1434" y="1309"/>
                </a:lnTo>
                <a:lnTo>
                  <a:pt x="1430" y="1309"/>
                </a:lnTo>
                <a:lnTo>
                  <a:pt x="1427" y="1313"/>
                </a:lnTo>
                <a:lnTo>
                  <a:pt x="1427" y="1309"/>
                </a:lnTo>
                <a:lnTo>
                  <a:pt x="1427" y="1313"/>
                </a:lnTo>
                <a:lnTo>
                  <a:pt x="1423" y="1313"/>
                </a:lnTo>
                <a:lnTo>
                  <a:pt x="1423" y="1309"/>
                </a:lnTo>
                <a:lnTo>
                  <a:pt x="1420" y="1309"/>
                </a:lnTo>
                <a:lnTo>
                  <a:pt x="1420" y="1306"/>
                </a:lnTo>
                <a:lnTo>
                  <a:pt x="1416" y="1306"/>
                </a:lnTo>
                <a:lnTo>
                  <a:pt x="1413" y="1306"/>
                </a:lnTo>
                <a:lnTo>
                  <a:pt x="1413" y="1309"/>
                </a:lnTo>
                <a:lnTo>
                  <a:pt x="1409" y="1309"/>
                </a:lnTo>
                <a:lnTo>
                  <a:pt x="1409" y="1313"/>
                </a:lnTo>
                <a:lnTo>
                  <a:pt x="1406" y="1313"/>
                </a:lnTo>
                <a:lnTo>
                  <a:pt x="1406" y="1316"/>
                </a:lnTo>
                <a:lnTo>
                  <a:pt x="1402" y="1316"/>
                </a:lnTo>
                <a:lnTo>
                  <a:pt x="1402" y="1313"/>
                </a:lnTo>
                <a:lnTo>
                  <a:pt x="1399" y="1313"/>
                </a:lnTo>
                <a:lnTo>
                  <a:pt x="1395" y="1313"/>
                </a:lnTo>
                <a:lnTo>
                  <a:pt x="1395" y="1309"/>
                </a:lnTo>
                <a:lnTo>
                  <a:pt x="1395" y="1306"/>
                </a:lnTo>
                <a:lnTo>
                  <a:pt x="1395" y="1302"/>
                </a:lnTo>
                <a:lnTo>
                  <a:pt x="1395" y="1299"/>
                </a:lnTo>
                <a:lnTo>
                  <a:pt x="1392" y="1299"/>
                </a:lnTo>
                <a:lnTo>
                  <a:pt x="1392" y="1295"/>
                </a:lnTo>
                <a:lnTo>
                  <a:pt x="1392" y="1292"/>
                </a:lnTo>
                <a:lnTo>
                  <a:pt x="1392" y="1288"/>
                </a:lnTo>
                <a:lnTo>
                  <a:pt x="1392" y="1285"/>
                </a:lnTo>
                <a:lnTo>
                  <a:pt x="1389" y="1285"/>
                </a:lnTo>
                <a:lnTo>
                  <a:pt x="1385" y="1281"/>
                </a:lnTo>
                <a:lnTo>
                  <a:pt x="1382" y="1285"/>
                </a:lnTo>
                <a:lnTo>
                  <a:pt x="1378" y="1285"/>
                </a:lnTo>
                <a:lnTo>
                  <a:pt x="1375" y="1281"/>
                </a:lnTo>
                <a:lnTo>
                  <a:pt x="1375" y="1278"/>
                </a:lnTo>
                <a:lnTo>
                  <a:pt x="1371" y="1278"/>
                </a:lnTo>
                <a:lnTo>
                  <a:pt x="1368" y="1278"/>
                </a:lnTo>
                <a:lnTo>
                  <a:pt x="1364" y="1278"/>
                </a:lnTo>
                <a:lnTo>
                  <a:pt x="1368" y="1274"/>
                </a:lnTo>
                <a:lnTo>
                  <a:pt x="1368" y="1271"/>
                </a:lnTo>
                <a:lnTo>
                  <a:pt x="1364" y="1271"/>
                </a:lnTo>
                <a:lnTo>
                  <a:pt x="1364" y="1268"/>
                </a:lnTo>
                <a:lnTo>
                  <a:pt x="1361" y="1271"/>
                </a:lnTo>
                <a:lnTo>
                  <a:pt x="1361" y="1268"/>
                </a:lnTo>
                <a:lnTo>
                  <a:pt x="1357" y="1268"/>
                </a:lnTo>
                <a:lnTo>
                  <a:pt x="1357" y="1271"/>
                </a:lnTo>
                <a:lnTo>
                  <a:pt x="1354" y="1271"/>
                </a:lnTo>
                <a:lnTo>
                  <a:pt x="1350" y="1271"/>
                </a:lnTo>
                <a:lnTo>
                  <a:pt x="1347" y="1271"/>
                </a:lnTo>
                <a:lnTo>
                  <a:pt x="1343" y="1271"/>
                </a:lnTo>
                <a:lnTo>
                  <a:pt x="1340" y="1271"/>
                </a:lnTo>
                <a:lnTo>
                  <a:pt x="1336" y="1274"/>
                </a:lnTo>
                <a:lnTo>
                  <a:pt x="1336" y="1271"/>
                </a:lnTo>
                <a:lnTo>
                  <a:pt x="1333" y="1271"/>
                </a:lnTo>
                <a:lnTo>
                  <a:pt x="1333" y="1274"/>
                </a:lnTo>
                <a:lnTo>
                  <a:pt x="1330" y="1274"/>
                </a:lnTo>
                <a:lnTo>
                  <a:pt x="1326" y="1274"/>
                </a:lnTo>
                <a:lnTo>
                  <a:pt x="1323" y="1274"/>
                </a:lnTo>
                <a:lnTo>
                  <a:pt x="1319" y="1274"/>
                </a:lnTo>
                <a:lnTo>
                  <a:pt x="1316" y="1271"/>
                </a:lnTo>
                <a:lnTo>
                  <a:pt x="1312" y="1271"/>
                </a:lnTo>
                <a:lnTo>
                  <a:pt x="1309" y="1271"/>
                </a:lnTo>
                <a:lnTo>
                  <a:pt x="1309" y="1274"/>
                </a:lnTo>
                <a:lnTo>
                  <a:pt x="1305" y="1274"/>
                </a:lnTo>
                <a:lnTo>
                  <a:pt x="1305" y="1271"/>
                </a:lnTo>
                <a:lnTo>
                  <a:pt x="1302" y="1271"/>
                </a:lnTo>
                <a:lnTo>
                  <a:pt x="1298" y="1271"/>
                </a:lnTo>
                <a:lnTo>
                  <a:pt x="1295" y="1271"/>
                </a:lnTo>
                <a:lnTo>
                  <a:pt x="1295" y="1274"/>
                </a:lnTo>
                <a:lnTo>
                  <a:pt x="1291" y="1274"/>
                </a:lnTo>
                <a:lnTo>
                  <a:pt x="1291" y="1278"/>
                </a:lnTo>
                <a:lnTo>
                  <a:pt x="1288" y="1274"/>
                </a:lnTo>
                <a:lnTo>
                  <a:pt x="1284" y="1271"/>
                </a:lnTo>
                <a:lnTo>
                  <a:pt x="1281" y="1271"/>
                </a:lnTo>
                <a:lnTo>
                  <a:pt x="1277" y="1271"/>
                </a:lnTo>
                <a:lnTo>
                  <a:pt x="1274" y="1271"/>
                </a:lnTo>
                <a:lnTo>
                  <a:pt x="1271" y="1271"/>
                </a:lnTo>
                <a:lnTo>
                  <a:pt x="1271" y="1274"/>
                </a:lnTo>
                <a:lnTo>
                  <a:pt x="1267" y="1274"/>
                </a:lnTo>
                <a:lnTo>
                  <a:pt x="1264" y="1278"/>
                </a:lnTo>
                <a:lnTo>
                  <a:pt x="1260" y="1281"/>
                </a:lnTo>
                <a:lnTo>
                  <a:pt x="1257" y="1281"/>
                </a:lnTo>
                <a:lnTo>
                  <a:pt x="1253" y="1281"/>
                </a:lnTo>
                <a:lnTo>
                  <a:pt x="1250" y="1281"/>
                </a:lnTo>
                <a:lnTo>
                  <a:pt x="1246" y="1281"/>
                </a:lnTo>
                <a:lnTo>
                  <a:pt x="1243" y="1281"/>
                </a:lnTo>
                <a:lnTo>
                  <a:pt x="1239" y="1281"/>
                </a:lnTo>
                <a:lnTo>
                  <a:pt x="1239" y="1285"/>
                </a:lnTo>
                <a:lnTo>
                  <a:pt x="1236" y="1285"/>
                </a:lnTo>
                <a:lnTo>
                  <a:pt x="1232" y="1285"/>
                </a:lnTo>
                <a:lnTo>
                  <a:pt x="1229" y="1285"/>
                </a:lnTo>
                <a:lnTo>
                  <a:pt x="1225" y="1285"/>
                </a:lnTo>
                <a:lnTo>
                  <a:pt x="1225" y="1281"/>
                </a:lnTo>
                <a:lnTo>
                  <a:pt x="1222" y="1281"/>
                </a:lnTo>
                <a:lnTo>
                  <a:pt x="1218" y="1281"/>
                </a:lnTo>
                <a:lnTo>
                  <a:pt x="1215" y="1281"/>
                </a:lnTo>
                <a:lnTo>
                  <a:pt x="1211" y="1281"/>
                </a:lnTo>
                <a:lnTo>
                  <a:pt x="1208" y="1281"/>
                </a:lnTo>
                <a:lnTo>
                  <a:pt x="1208" y="1278"/>
                </a:lnTo>
                <a:lnTo>
                  <a:pt x="1205" y="1278"/>
                </a:lnTo>
                <a:lnTo>
                  <a:pt x="1205" y="1281"/>
                </a:lnTo>
                <a:lnTo>
                  <a:pt x="1201" y="1278"/>
                </a:lnTo>
                <a:lnTo>
                  <a:pt x="1198" y="1278"/>
                </a:lnTo>
                <a:lnTo>
                  <a:pt x="1198" y="1274"/>
                </a:lnTo>
                <a:lnTo>
                  <a:pt x="1194" y="1271"/>
                </a:lnTo>
                <a:lnTo>
                  <a:pt x="1191" y="1268"/>
                </a:lnTo>
                <a:lnTo>
                  <a:pt x="1187" y="1268"/>
                </a:lnTo>
                <a:lnTo>
                  <a:pt x="1184" y="1268"/>
                </a:lnTo>
                <a:lnTo>
                  <a:pt x="1184" y="1271"/>
                </a:lnTo>
                <a:lnTo>
                  <a:pt x="1180" y="1271"/>
                </a:lnTo>
                <a:lnTo>
                  <a:pt x="1177" y="1268"/>
                </a:lnTo>
                <a:lnTo>
                  <a:pt x="1173" y="1268"/>
                </a:lnTo>
                <a:lnTo>
                  <a:pt x="1170" y="1268"/>
                </a:lnTo>
                <a:lnTo>
                  <a:pt x="1166" y="1264"/>
                </a:lnTo>
                <a:lnTo>
                  <a:pt x="1163" y="1264"/>
                </a:lnTo>
                <a:lnTo>
                  <a:pt x="1159" y="1264"/>
                </a:lnTo>
                <a:lnTo>
                  <a:pt x="1159" y="1268"/>
                </a:lnTo>
                <a:lnTo>
                  <a:pt x="1156" y="1268"/>
                </a:lnTo>
                <a:lnTo>
                  <a:pt x="1152" y="1268"/>
                </a:lnTo>
                <a:lnTo>
                  <a:pt x="1152" y="1271"/>
                </a:lnTo>
                <a:lnTo>
                  <a:pt x="1152" y="1274"/>
                </a:lnTo>
                <a:lnTo>
                  <a:pt x="1149" y="1274"/>
                </a:lnTo>
                <a:lnTo>
                  <a:pt x="1149" y="1271"/>
                </a:lnTo>
                <a:lnTo>
                  <a:pt x="1146" y="1271"/>
                </a:lnTo>
                <a:lnTo>
                  <a:pt x="1146" y="1268"/>
                </a:lnTo>
                <a:lnTo>
                  <a:pt x="1146" y="1271"/>
                </a:lnTo>
                <a:lnTo>
                  <a:pt x="1142" y="1271"/>
                </a:lnTo>
                <a:lnTo>
                  <a:pt x="1142" y="1268"/>
                </a:lnTo>
                <a:lnTo>
                  <a:pt x="1139" y="1268"/>
                </a:lnTo>
                <a:lnTo>
                  <a:pt x="1139" y="1264"/>
                </a:lnTo>
                <a:lnTo>
                  <a:pt x="1135" y="1264"/>
                </a:lnTo>
                <a:lnTo>
                  <a:pt x="1132" y="1268"/>
                </a:lnTo>
                <a:lnTo>
                  <a:pt x="1128" y="1268"/>
                </a:lnTo>
                <a:lnTo>
                  <a:pt x="1128" y="1271"/>
                </a:lnTo>
                <a:lnTo>
                  <a:pt x="1125" y="1271"/>
                </a:lnTo>
                <a:lnTo>
                  <a:pt x="1121" y="1271"/>
                </a:lnTo>
                <a:lnTo>
                  <a:pt x="1121" y="1274"/>
                </a:lnTo>
                <a:lnTo>
                  <a:pt x="1118" y="1274"/>
                </a:lnTo>
                <a:lnTo>
                  <a:pt x="1118" y="1278"/>
                </a:lnTo>
                <a:lnTo>
                  <a:pt x="1111" y="1274"/>
                </a:lnTo>
                <a:lnTo>
                  <a:pt x="1107" y="1274"/>
                </a:lnTo>
                <a:lnTo>
                  <a:pt x="1104" y="1274"/>
                </a:lnTo>
                <a:lnTo>
                  <a:pt x="1104" y="1271"/>
                </a:lnTo>
                <a:lnTo>
                  <a:pt x="1104" y="1268"/>
                </a:lnTo>
                <a:lnTo>
                  <a:pt x="1100" y="1264"/>
                </a:lnTo>
                <a:lnTo>
                  <a:pt x="1097" y="1264"/>
                </a:lnTo>
                <a:lnTo>
                  <a:pt x="1093" y="1264"/>
                </a:lnTo>
                <a:lnTo>
                  <a:pt x="1093" y="1261"/>
                </a:lnTo>
                <a:lnTo>
                  <a:pt x="1093" y="1257"/>
                </a:lnTo>
                <a:lnTo>
                  <a:pt x="1093" y="1254"/>
                </a:lnTo>
                <a:lnTo>
                  <a:pt x="1090" y="1254"/>
                </a:lnTo>
                <a:lnTo>
                  <a:pt x="1086" y="1254"/>
                </a:lnTo>
                <a:lnTo>
                  <a:pt x="1086" y="1257"/>
                </a:lnTo>
                <a:lnTo>
                  <a:pt x="1083" y="1257"/>
                </a:lnTo>
                <a:lnTo>
                  <a:pt x="1076" y="1254"/>
                </a:lnTo>
                <a:lnTo>
                  <a:pt x="1073" y="1254"/>
                </a:lnTo>
                <a:lnTo>
                  <a:pt x="1073" y="1250"/>
                </a:lnTo>
                <a:lnTo>
                  <a:pt x="1073" y="1247"/>
                </a:lnTo>
                <a:lnTo>
                  <a:pt x="1080" y="1243"/>
                </a:lnTo>
                <a:lnTo>
                  <a:pt x="1080" y="1240"/>
                </a:lnTo>
                <a:lnTo>
                  <a:pt x="1080" y="1233"/>
                </a:lnTo>
                <a:lnTo>
                  <a:pt x="1080" y="1229"/>
                </a:lnTo>
                <a:lnTo>
                  <a:pt x="1080" y="1226"/>
                </a:lnTo>
                <a:lnTo>
                  <a:pt x="1080" y="1215"/>
                </a:lnTo>
                <a:lnTo>
                  <a:pt x="1083" y="1212"/>
                </a:lnTo>
                <a:lnTo>
                  <a:pt x="1090" y="1205"/>
                </a:lnTo>
                <a:lnTo>
                  <a:pt x="1086" y="1202"/>
                </a:lnTo>
                <a:lnTo>
                  <a:pt x="1086" y="1198"/>
                </a:lnTo>
                <a:lnTo>
                  <a:pt x="1086" y="1195"/>
                </a:lnTo>
                <a:lnTo>
                  <a:pt x="1083" y="1191"/>
                </a:lnTo>
                <a:lnTo>
                  <a:pt x="1083" y="1188"/>
                </a:lnTo>
                <a:lnTo>
                  <a:pt x="1086" y="1184"/>
                </a:lnTo>
                <a:lnTo>
                  <a:pt x="1083" y="1181"/>
                </a:lnTo>
                <a:lnTo>
                  <a:pt x="1083" y="1177"/>
                </a:lnTo>
                <a:lnTo>
                  <a:pt x="1080" y="1177"/>
                </a:lnTo>
                <a:lnTo>
                  <a:pt x="1080" y="1170"/>
                </a:lnTo>
                <a:lnTo>
                  <a:pt x="1080" y="1167"/>
                </a:lnTo>
                <a:lnTo>
                  <a:pt x="1076" y="1160"/>
                </a:lnTo>
                <a:lnTo>
                  <a:pt x="1076" y="1153"/>
                </a:lnTo>
                <a:lnTo>
                  <a:pt x="1080" y="1149"/>
                </a:lnTo>
                <a:lnTo>
                  <a:pt x="1076" y="1146"/>
                </a:lnTo>
                <a:lnTo>
                  <a:pt x="1076" y="1142"/>
                </a:lnTo>
                <a:lnTo>
                  <a:pt x="1073" y="1142"/>
                </a:lnTo>
                <a:lnTo>
                  <a:pt x="1069" y="1142"/>
                </a:lnTo>
                <a:lnTo>
                  <a:pt x="1062" y="1139"/>
                </a:lnTo>
                <a:lnTo>
                  <a:pt x="1055" y="1139"/>
                </a:lnTo>
                <a:lnTo>
                  <a:pt x="1055" y="1136"/>
                </a:lnTo>
                <a:lnTo>
                  <a:pt x="1052" y="1136"/>
                </a:lnTo>
                <a:lnTo>
                  <a:pt x="1045" y="1132"/>
                </a:lnTo>
                <a:lnTo>
                  <a:pt x="1041" y="1132"/>
                </a:lnTo>
                <a:lnTo>
                  <a:pt x="1038" y="1129"/>
                </a:lnTo>
                <a:lnTo>
                  <a:pt x="1041" y="1125"/>
                </a:lnTo>
                <a:lnTo>
                  <a:pt x="1041" y="1118"/>
                </a:lnTo>
                <a:lnTo>
                  <a:pt x="1041" y="1108"/>
                </a:lnTo>
                <a:lnTo>
                  <a:pt x="1045" y="1104"/>
                </a:lnTo>
                <a:lnTo>
                  <a:pt x="1048" y="1101"/>
                </a:lnTo>
                <a:lnTo>
                  <a:pt x="1048" y="1097"/>
                </a:lnTo>
                <a:lnTo>
                  <a:pt x="1048" y="1094"/>
                </a:lnTo>
                <a:lnTo>
                  <a:pt x="1048" y="1090"/>
                </a:lnTo>
                <a:lnTo>
                  <a:pt x="1048" y="1087"/>
                </a:lnTo>
                <a:lnTo>
                  <a:pt x="1052" y="1083"/>
                </a:lnTo>
                <a:lnTo>
                  <a:pt x="1055" y="1083"/>
                </a:lnTo>
                <a:lnTo>
                  <a:pt x="1059" y="1080"/>
                </a:lnTo>
                <a:lnTo>
                  <a:pt x="1066" y="1080"/>
                </a:lnTo>
                <a:lnTo>
                  <a:pt x="1066" y="1073"/>
                </a:lnTo>
                <a:lnTo>
                  <a:pt x="1069" y="1070"/>
                </a:lnTo>
                <a:lnTo>
                  <a:pt x="1069" y="1066"/>
                </a:lnTo>
                <a:lnTo>
                  <a:pt x="1069" y="1063"/>
                </a:lnTo>
                <a:lnTo>
                  <a:pt x="1066" y="1063"/>
                </a:lnTo>
                <a:lnTo>
                  <a:pt x="1062" y="1056"/>
                </a:lnTo>
                <a:lnTo>
                  <a:pt x="1062" y="1049"/>
                </a:lnTo>
                <a:lnTo>
                  <a:pt x="1062" y="1045"/>
                </a:lnTo>
                <a:lnTo>
                  <a:pt x="1062" y="1038"/>
                </a:lnTo>
                <a:lnTo>
                  <a:pt x="1062" y="1035"/>
                </a:lnTo>
                <a:lnTo>
                  <a:pt x="1062" y="1028"/>
                </a:lnTo>
                <a:lnTo>
                  <a:pt x="1066" y="1028"/>
                </a:lnTo>
                <a:lnTo>
                  <a:pt x="1066" y="1024"/>
                </a:lnTo>
                <a:lnTo>
                  <a:pt x="1069" y="1024"/>
                </a:lnTo>
                <a:lnTo>
                  <a:pt x="1069" y="1017"/>
                </a:lnTo>
                <a:lnTo>
                  <a:pt x="1073" y="1011"/>
                </a:lnTo>
                <a:lnTo>
                  <a:pt x="1073" y="1004"/>
                </a:lnTo>
                <a:lnTo>
                  <a:pt x="1076" y="1000"/>
                </a:lnTo>
                <a:lnTo>
                  <a:pt x="1076" y="997"/>
                </a:lnTo>
                <a:lnTo>
                  <a:pt x="1069" y="990"/>
                </a:lnTo>
                <a:lnTo>
                  <a:pt x="1069" y="986"/>
                </a:lnTo>
                <a:lnTo>
                  <a:pt x="1069" y="983"/>
                </a:lnTo>
                <a:lnTo>
                  <a:pt x="1066" y="983"/>
                </a:lnTo>
                <a:lnTo>
                  <a:pt x="1066" y="979"/>
                </a:lnTo>
                <a:lnTo>
                  <a:pt x="1062" y="979"/>
                </a:lnTo>
                <a:lnTo>
                  <a:pt x="1062" y="976"/>
                </a:lnTo>
                <a:lnTo>
                  <a:pt x="1059" y="972"/>
                </a:lnTo>
                <a:lnTo>
                  <a:pt x="1055" y="972"/>
                </a:lnTo>
                <a:lnTo>
                  <a:pt x="1052" y="972"/>
                </a:lnTo>
                <a:lnTo>
                  <a:pt x="1055" y="972"/>
                </a:lnTo>
                <a:lnTo>
                  <a:pt x="1048" y="965"/>
                </a:lnTo>
                <a:lnTo>
                  <a:pt x="1052" y="962"/>
                </a:lnTo>
                <a:lnTo>
                  <a:pt x="1048" y="962"/>
                </a:lnTo>
                <a:lnTo>
                  <a:pt x="1048" y="955"/>
                </a:lnTo>
                <a:lnTo>
                  <a:pt x="1045" y="948"/>
                </a:lnTo>
                <a:lnTo>
                  <a:pt x="1041" y="945"/>
                </a:lnTo>
                <a:lnTo>
                  <a:pt x="1038" y="938"/>
                </a:lnTo>
                <a:lnTo>
                  <a:pt x="1038" y="934"/>
                </a:lnTo>
                <a:lnTo>
                  <a:pt x="1034" y="934"/>
                </a:lnTo>
                <a:lnTo>
                  <a:pt x="1034" y="927"/>
                </a:lnTo>
                <a:lnTo>
                  <a:pt x="1034" y="924"/>
                </a:lnTo>
                <a:lnTo>
                  <a:pt x="1031" y="924"/>
                </a:lnTo>
                <a:lnTo>
                  <a:pt x="1031" y="920"/>
                </a:lnTo>
                <a:lnTo>
                  <a:pt x="1031" y="917"/>
                </a:lnTo>
                <a:lnTo>
                  <a:pt x="1027" y="917"/>
                </a:lnTo>
                <a:lnTo>
                  <a:pt x="1027" y="913"/>
                </a:lnTo>
                <a:lnTo>
                  <a:pt x="1024" y="910"/>
                </a:lnTo>
                <a:lnTo>
                  <a:pt x="1017" y="906"/>
                </a:lnTo>
                <a:lnTo>
                  <a:pt x="1014" y="906"/>
                </a:lnTo>
                <a:lnTo>
                  <a:pt x="1010" y="906"/>
                </a:lnTo>
                <a:lnTo>
                  <a:pt x="1007" y="906"/>
                </a:lnTo>
                <a:lnTo>
                  <a:pt x="993" y="899"/>
                </a:lnTo>
                <a:lnTo>
                  <a:pt x="986" y="899"/>
                </a:lnTo>
                <a:lnTo>
                  <a:pt x="979" y="892"/>
                </a:lnTo>
                <a:lnTo>
                  <a:pt x="972" y="886"/>
                </a:lnTo>
                <a:lnTo>
                  <a:pt x="968" y="882"/>
                </a:lnTo>
                <a:lnTo>
                  <a:pt x="965" y="879"/>
                </a:lnTo>
                <a:lnTo>
                  <a:pt x="961" y="875"/>
                </a:lnTo>
                <a:lnTo>
                  <a:pt x="951" y="872"/>
                </a:lnTo>
                <a:lnTo>
                  <a:pt x="948" y="872"/>
                </a:lnTo>
                <a:lnTo>
                  <a:pt x="944" y="865"/>
                </a:lnTo>
                <a:lnTo>
                  <a:pt x="941" y="858"/>
                </a:lnTo>
                <a:lnTo>
                  <a:pt x="937" y="858"/>
                </a:lnTo>
                <a:lnTo>
                  <a:pt x="941" y="854"/>
                </a:lnTo>
                <a:lnTo>
                  <a:pt x="941" y="851"/>
                </a:lnTo>
                <a:lnTo>
                  <a:pt x="941" y="847"/>
                </a:lnTo>
                <a:lnTo>
                  <a:pt x="937" y="847"/>
                </a:lnTo>
                <a:lnTo>
                  <a:pt x="934" y="847"/>
                </a:lnTo>
                <a:lnTo>
                  <a:pt x="927" y="847"/>
                </a:lnTo>
                <a:lnTo>
                  <a:pt x="923" y="851"/>
                </a:lnTo>
                <a:lnTo>
                  <a:pt x="920" y="854"/>
                </a:lnTo>
                <a:lnTo>
                  <a:pt x="913" y="858"/>
                </a:lnTo>
                <a:lnTo>
                  <a:pt x="909" y="858"/>
                </a:lnTo>
                <a:lnTo>
                  <a:pt x="906" y="858"/>
                </a:lnTo>
                <a:lnTo>
                  <a:pt x="902" y="858"/>
                </a:lnTo>
                <a:lnTo>
                  <a:pt x="899" y="858"/>
                </a:lnTo>
                <a:lnTo>
                  <a:pt x="896" y="858"/>
                </a:lnTo>
                <a:lnTo>
                  <a:pt x="889" y="858"/>
                </a:lnTo>
                <a:lnTo>
                  <a:pt x="885" y="858"/>
                </a:lnTo>
                <a:lnTo>
                  <a:pt x="878" y="861"/>
                </a:lnTo>
                <a:lnTo>
                  <a:pt x="871" y="865"/>
                </a:lnTo>
                <a:lnTo>
                  <a:pt x="864" y="868"/>
                </a:lnTo>
                <a:lnTo>
                  <a:pt x="861" y="872"/>
                </a:lnTo>
                <a:lnTo>
                  <a:pt x="857" y="872"/>
                </a:lnTo>
                <a:lnTo>
                  <a:pt x="854" y="875"/>
                </a:lnTo>
                <a:lnTo>
                  <a:pt x="857" y="882"/>
                </a:lnTo>
                <a:lnTo>
                  <a:pt x="854" y="879"/>
                </a:lnTo>
                <a:lnTo>
                  <a:pt x="850" y="879"/>
                </a:lnTo>
                <a:lnTo>
                  <a:pt x="847" y="879"/>
                </a:lnTo>
                <a:lnTo>
                  <a:pt x="843" y="875"/>
                </a:lnTo>
                <a:lnTo>
                  <a:pt x="840" y="875"/>
                </a:lnTo>
                <a:lnTo>
                  <a:pt x="840" y="879"/>
                </a:lnTo>
                <a:lnTo>
                  <a:pt x="836" y="879"/>
                </a:lnTo>
                <a:lnTo>
                  <a:pt x="833" y="882"/>
                </a:lnTo>
                <a:lnTo>
                  <a:pt x="830" y="879"/>
                </a:lnTo>
                <a:lnTo>
                  <a:pt x="826" y="879"/>
                </a:lnTo>
                <a:lnTo>
                  <a:pt x="819" y="879"/>
                </a:lnTo>
                <a:lnTo>
                  <a:pt x="816" y="879"/>
                </a:lnTo>
                <a:lnTo>
                  <a:pt x="812" y="879"/>
                </a:lnTo>
                <a:lnTo>
                  <a:pt x="809" y="879"/>
                </a:lnTo>
                <a:lnTo>
                  <a:pt x="798" y="882"/>
                </a:lnTo>
                <a:lnTo>
                  <a:pt x="795" y="882"/>
                </a:lnTo>
                <a:lnTo>
                  <a:pt x="791" y="882"/>
                </a:lnTo>
                <a:lnTo>
                  <a:pt x="781" y="882"/>
                </a:lnTo>
                <a:lnTo>
                  <a:pt x="781" y="886"/>
                </a:lnTo>
                <a:lnTo>
                  <a:pt x="777" y="889"/>
                </a:lnTo>
                <a:lnTo>
                  <a:pt x="774" y="896"/>
                </a:lnTo>
                <a:lnTo>
                  <a:pt x="774" y="899"/>
                </a:lnTo>
                <a:lnTo>
                  <a:pt x="767" y="899"/>
                </a:lnTo>
                <a:lnTo>
                  <a:pt x="764" y="899"/>
                </a:lnTo>
                <a:lnTo>
                  <a:pt x="760" y="896"/>
                </a:lnTo>
                <a:lnTo>
                  <a:pt x="757" y="896"/>
                </a:lnTo>
                <a:lnTo>
                  <a:pt x="753" y="896"/>
                </a:lnTo>
                <a:lnTo>
                  <a:pt x="753" y="889"/>
                </a:lnTo>
                <a:lnTo>
                  <a:pt x="750" y="886"/>
                </a:lnTo>
                <a:lnTo>
                  <a:pt x="746" y="886"/>
                </a:lnTo>
                <a:lnTo>
                  <a:pt x="743" y="886"/>
                </a:lnTo>
                <a:lnTo>
                  <a:pt x="739" y="886"/>
                </a:lnTo>
                <a:lnTo>
                  <a:pt x="732" y="886"/>
                </a:lnTo>
                <a:lnTo>
                  <a:pt x="729" y="886"/>
                </a:lnTo>
                <a:lnTo>
                  <a:pt x="722" y="886"/>
                </a:lnTo>
                <a:lnTo>
                  <a:pt x="715" y="886"/>
                </a:lnTo>
                <a:lnTo>
                  <a:pt x="712" y="886"/>
                </a:lnTo>
                <a:lnTo>
                  <a:pt x="712" y="889"/>
                </a:lnTo>
                <a:lnTo>
                  <a:pt x="708" y="889"/>
                </a:lnTo>
                <a:lnTo>
                  <a:pt x="705" y="889"/>
                </a:lnTo>
                <a:lnTo>
                  <a:pt x="701" y="889"/>
                </a:lnTo>
                <a:lnTo>
                  <a:pt x="701" y="886"/>
                </a:lnTo>
                <a:lnTo>
                  <a:pt x="701" y="882"/>
                </a:lnTo>
                <a:lnTo>
                  <a:pt x="698" y="882"/>
                </a:lnTo>
                <a:lnTo>
                  <a:pt x="691" y="879"/>
                </a:lnTo>
                <a:lnTo>
                  <a:pt x="694" y="868"/>
                </a:lnTo>
                <a:lnTo>
                  <a:pt x="687" y="872"/>
                </a:lnTo>
                <a:lnTo>
                  <a:pt x="684" y="872"/>
                </a:lnTo>
                <a:lnTo>
                  <a:pt x="680" y="875"/>
                </a:lnTo>
                <a:lnTo>
                  <a:pt x="677" y="875"/>
                </a:lnTo>
                <a:lnTo>
                  <a:pt x="673" y="875"/>
                </a:lnTo>
                <a:lnTo>
                  <a:pt x="670" y="879"/>
                </a:lnTo>
                <a:lnTo>
                  <a:pt x="670" y="882"/>
                </a:lnTo>
                <a:lnTo>
                  <a:pt x="670" y="886"/>
                </a:lnTo>
                <a:lnTo>
                  <a:pt x="666" y="889"/>
                </a:lnTo>
                <a:lnTo>
                  <a:pt x="666" y="886"/>
                </a:lnTo>
                <a:lnTo>
                  <a:pt x="663" y="889"/>
                </a:lnTo>
                <a:lnTo>
                  <a:pt x="659" y="886"/>
                </a:lnTo>
                <a:lnTo>
                  <a:pt x="659" y="882"/>
                </a:lnTo>
                <a:lnTo>
                  <a:pt x="656" y="886"/>
                </a:lnTo>
                <a:lnTo>
                  <a:pt x="656" y="889"/>
                </a:lnTo>
                <a:lnTo>
                  <a:pt x="659" y="889"/>
                </a:lnTo>
                <a:lnTo>
                  <a:pt x="659" y="892"/>
                </a:lnTo>
                <a:lnTo>
                  <a:pt x="656" y="899"/>
                </a:lnTo>
                <a:lnTo>
                  <a:pt x="656" y="903"/>
                </a:lnTo>
                <a:lnTo>
                  <a:pt x="649" y="903"/>
                </a:lnTo>
                <a:lnTo>
                  <a:pt x="649" y="899"/>
                </a:lnTo>
                <a:lnTo>
                  <a:pt x="649" y="903"/>
                </a:lnTo>
                <a:lnTo>
                  <a:pt x="646" y="903"/>
                </a:lnTo>
                <a:lnTo>
                  <a:pt x="639" y="903"/>
                </a:lnTo>
                <a:lnTo>
                  <a:pt x="639" y="899"/>
                </a:lnTo>
                <a:lnTo>
                  <a:pt x="635" y="899"/>
                </a:lnTo>
                <a:lnTo>
                  <a:pt x="639" y="903"/>
                </a:lnTo>
                <a:lnTo>
                  <a:pt x="635" y="903"/>
                </a:lnTo>
                <a:lnTo>
                  <a:pt x="632" y="903"/>
                </a:lnTo>
                <a:lnTo>
                  <a:pt x="632" y="906"/>
                </a:lnTo>
                <a:lnTo>
                  <a:pt x="628" y="906"/>
                </a:lnTo>
                <a:lnTo>
                  <a:pt x="625" y="906"/>
                </a:lnTo>
                <a:lnTo>
                  <a:pt x="625" y="910"/>
                </a:lnTo>
                <a:lnTo>
                  <a:pt x="621" y="910"/>
                </a:lnTo>
                <a:lnTo>
                  <a:pt x="618" y="910"/>
                </a:lnTo>
                <a:lnTo>
                  <a:pt x="618" y="913"/>
                </a:lnTo>
                <a:lnTo>
                  <a:pt x="614" y="917"/>
                </a:lnTo>
                <a:lnTo>
                  <a:pt x="611" y="920"/>
                </a:lnTo>
                <a:lnTo>
                  <a:pt x="607" y="920"/>
                </a:lnTo>
                <a:lnTo>
                  <a:pt x="607" y="917"/>
                </a:lnTo>
                <a:lnTo>
                  <a:pt x="607" y="920"/>
                </a:lnTo>
                <a:lnTo>
                  <a:pt x="604" y="920"/>
                </a:lnTo>
                <a:lnTo>
                  <a:pt x="604" y="917"/>
                </a:lnTo>
                <a:lnTo>
                  <a:pt x="600" y="917"/>
                </a:lnTo>
                <a:lnTo>
                  <a:pt x="600" y="913"/>
                </a:lnTo>
                <a:lnTo>
                  <a:pt x="600" y="910"/>
                </a:lnTo>
                <a:lnTo>
                  <a:pt x="600" y="906"/>
                </a:lnTo>
                <a:lnTo>
                  <a:pt x="597" y="906"/>
                </a:lnTo>
                <a:lnTo>
                  <a:pt x="597" y="903"/>
                </a:lnTo>
                <a:lnTo>
                  <a:pt x="597" y="899"/>
                </a:lnTo>
                <a:lnTo>
                  <a:pt x="600" y="899"/>
                </a:lnTo>
                <a:lnTo>
                  <a:pt x="600" y="896"/>
                </a:lnTo>
                <a:lnTo>
                  <a:pt x="597" y="889"/>
                </a:lnTo>
                <a:lnTo>
                  <a:pt x="600" y="889"/>
                </a:lnTo>
                <a:lnTo>
                  <a:pt x="600" y="886"/>
                </a:lnTo>
                <a:lnTo>
                  <a:pt x="600" y="882"/>
                </a:lnTo>
                <a:lnTo>
                  <a:pt x="597" y="879"/>
                </a:lnTo>
                <a:lnTo>
                  <a:pt x="593" y="879"/>
                </a:lnTo>
                <a:lnTo>
                  <a:pt x="593" y="875"/>
                </a:lnTo>
                <a:lnTo>
                  <a:pt x="590" y="872"/>
                </a:lnTo>
                <a:lnTo>
                  <a:pt x="587" y="872"/>
                </a:lnTo>
                <a:lnTo>
                  <a:pt x="583" y="872"/>
                </a:lnTo>
                <a:lnTo>
                  <a:pt x="580" y="872"/>
                </a:lnTo>
                <a:lnTo>
                  <a:pt x="576" y="872"/>
                </a:lnTo>
                <a:lnTo>
                  <a:pt x="573" y="872"/>
                </a:lnTo>
                <a:lnTo>
                  <a:pt x="569" y="872"/>
                </a:lnTo>
                <a:lnTo>
                  <a:pt x="566" y="872"/>
                </a:lnTo>
                <a:lnTo>
                  <a:pt x="566" y="868"/>
                </a:lnTo>
                <a:lnTo>
                  <a:pt x="562" y="868"/>
                </a:lnTo>
                <a:lnTo>
                  <a:pt x="559" y="868"/>
                </a:lnTo>
                <a:lnTo>
                  <a:pt x="555" y="868"/>
                </a:lnTo>
                <a:lnTo>
                  <a:pt x="552" y="868"/>
                </a:lnTo>
                <a:lnTo>
                  <a:pt x="548" y="868"/>
                </a:lnTo>
                <a:lnTo>
                  <a:pt x="545" y="868"/>
                </a:lnTo>
                <a:lnTo>
                  <a:pt x="541" y="868"/>
                </a:lnTo>
                <a:lnTo>
                  <a:pt x="538" y="868"/>
                </a:lnTo>
                <a:lnTo>
                  <a:pt x="534" y="872"/>
                </a:lnTo>
                <a:lnTo>
                  <a:pt x="531" y="872"/>
                </a:lnTo>
                <a:lnTo>
                  <a:pt x="531" y="868"/>
                </a:lnTo>
                <a:lnTo>
                  <a:pt x="527" y="868"/>
                </a:lnTo>
                <a:lnTo>
                  <a:pt x="524" y="872"/>
                </a:lnTo>
                <a:lnTo>
                  <a:pt x="521" y="868"/>
                </a:lnTo>
                <a:lnTo>
                  <a:pt x="517" y="868"/>
                </a:lnTo>
                <a:lnTo>
                  <a:pt x="517" y="872"/>
                </a:lnTo>
                <a:lnTo>
                  <a:pt x="510" y="868"/>
                </a:lnTo>
                <a:lnTo>
                  <a:pt x="507" y="865"/>
                </a:lnTo>
                <a:lnTo>
                  <a:pt x="507" y="861"/>
                </a:lnTo>
                <a:lnTo>
                  <a:pt x="503" y="861"/>
                </a:lnTo>
                <a:lnTo>
                  <a:pt x="500" y="865"/>
                </a:lnTo>
                <a:lnTo>
                  <a:pt x="496" y="868"/>
                </a:lnTo>
                <a:lnTo>
                  <a:pt x="493" y="868"/>
                </a:lnTo>
                <a:lnTo>
                  <a:pt x="493" y="872"/>
                </a:lnTo>
                <a:lnTo>
                  <a:pt x="493" y="868"/>
                </a:lnTo>
                <a:lnTo>
                  <a:pt x="489" y="868"/>
                </a:lnTo>
                <a:lnTo>
                  <a:pt x="489" y="865"/>
                </a:lnTo>
                <a:lnTo>
                  <a:pt x="486" y="861"/>
                </a:lnTo>
                <a:lnTo>
                  <a:pt x="486" y="858"/>
                </a:lnTo>
                <a:lnTo>
                  <a:pt x="482" y="847"/>
                </a:lnTo>
                <a:lnTo>
                  <a:pt x="482" y="844"/>
                </a:lnTo>
                <a:lnTo>
                  <a:pt x="482" y="837"/>
                </a:lnTo>
                <a:lnTo>
                  <a:pt x="479" y="837"/>
                </a:lnTo>
                <a:lnTo>
                  <a:pt x="479" y="833"/>
                </a:lnTo>
                <a:lnTo>
                  <a:pt x="472" y="823"/>
                </a:lnTo>
                <a:lnTo>
                  <a:pt x="472" y="820"/>
                </a:lnTo>
                <a:lnTo>
                  <a:pt x="468" y="816"/>
                </a:lnTo>
                <a:lnTo>
                  <a:pt x="465" y="820"/>
                </a:lnTo>
                <a:lnTo>
                  <a:pt x="462" y="823"/>
                </a:lnTo>
                <a:lnTo>
                  <a:pt x="455" y="826"/>
                </a:lnTo>
                <a:lnTo>
                  <a:pt x="448" y="830"/>
                </a:lnTo>
                <a:lnTo>
                  <a:pt x="448" y="837"/>
                </a:lnTo>
                <a:lnTo>
                  <a:pt x="444" y="840"/>
                </a:lnTo>
                <a:lnTo>
                  <a:pt x="441" y="844"/>
                </a:lnTo>
                <a:lnTo>
                  <a:pt x="437" y="840"/>
                </a:lnTo>
                <a:lnTo>
                  <a:pt x="434" y="840"/>
                </a:lnTo>
                <a:lnTo>
                  <a:pt x="430" y="837"/>
                </a:lnTo>
                <a:lnTo>
                  <a:pt x="427" y="837"/>
                </a:lnTo>
                <a:lnTo>
                  <a:pt x="427" y="833"/>
                </a:lnTo>
                <a:lnTo>
                  <a:pt x="423" y="833"/>
                </a:lnTo>
                <a:lnTo>
                  <a:pt x="423" y="837"/>
                </a:lnTo>
                <a:lnTo>
                  <a:pt x="420" y="833"/>
                </a:lnTo>
                <a:lnTo>
                  <a:pt x="416" y="833"/>
                </a:lnTo>
                <a:lnTo>
                  <a:pt x="413" y="837"/>
                </a:lnTo>
                <a:lnTo>
                  <a:pt x="413" y="844"/>
                </a:lnTo>
                <a:lnTo>
                  <a:pt x="413" y="847"/>
                </a:lnTo>
                <a:lnTo>
                  <a:pt x="413" y="851"/>
                </a:lnTo>
                <a:lnTo>
                  <a:pt x="413" y="854"/>
                </a:lnTo>
                <a:lnTo>
                  <a:pt x="409" y="854"/>
                </a:lnTo>
                <a:lnTo>
                  <a:pt x="402" y="854"/>
                </a:lnTo>
                <a:lnTo>
                  <a:pt x="396" y="858"/>
                </a:lnTo>
                <a:lnTo>
                  <a:pt x="396" y="861"/>
                </a:lnTo>
                <a:lnTo>
                  <a:pt x="392" y="861"/>
                </a:lnTo>
                <a:lnTo>
                  <a:pt x="392" y="865"/>
                </a:lnTo>
                <a:lnTo>
                  <a:pt x="389" y="868"/>
                </a:lnTo>
                <a:lnTo>
                  <a:pt x="385" y="868"/>
                </a:lnTo>
                <a:lnTo>
                  <a:pt x="382" y="872"/>
                </a:lnTo>
                <a:lnTo>
                  <a:pt x="378" y="875"/>
                </a:lnTo>
                <a:lnTo>
                  <a:pt x="378" y="879"/>
                </a:lnTo>
                <a:lnTo>
                  <a:pt x="375" y="879"/>
                </a:lnTo>
                <a:lnTo>
                  <a:pt x="375" y="882"/>
                </a:lnTo>
                <a:lnTo>
                  <a:pt x="375" y="886"/>
                </a:lnTo>
                <a:lnTo>
                  <a:pt x="371" y="886"/>
                </a:lnTo>
                <a:lnTo>
                  <a:pt x="368" y="889"/>
                </a:lnTo>
                <a:lnTo>
                  <a:pt x="364" y="889"/>
                </a:lnTo>
                <a:lnTo>
                  <a:pt x="357" y="896"/>
                </a:lnTo>
                <a:lnTo>
                  <a:pt x="354" y="892"/>
                </a:lnTo>
                <a:lnTo>
                  <a:pt x="350" y="892"/>
                </a:lnTo>
                <a:lnTo>
                  <a:pt x="347" y="892"/>
                </a:lnTo>
                <a:lnTo>
                  <a:pt x="343" y="892"/>
                </a:lnTo>
                <a:lnTo>
                  <a:pt x="337" y="892"/>
                </a:lnTo>
                <a:lnTo>
                  <a:pt x="330" y="892"/>
                </a:lnTo>
                <a:lnTo>
                  <a:pt x="333" y="896"/>
                </a:lnTo>
                <a:lnTo>
                  <a:pt x="333" y="899"/>
                </a:lnTo>
                <a:lnTo>
                  <a:pt x="333" y="903"/>
                </a:lnTo>
                <a:lnTo>
                  <a:pt x="333" y="906"/>
                </a:lnTo>
                <a:lnTo>
                  <a:pt x="333" y="910"/>
                </a:lnTo>
                <a:lnTo>
                  <a:pt x="333" y="913"/>
                </a:lnTo>
                <a:lnTo>
                  <a:pt x="330" y="913"/>
                </a:lnTo>
                <a:lnTo>
                  <a:pt x="326" y="917"/>
                </a:lnTo>
                <a:lnTo>
                  <a:pt x="326" y="920"/>
                </a:lnTo>
                <a:lnTo>
                  <a:pt x="323" y="924"/>
                </a:lnTo>
                <a:lnTo>
                  <a:pt x="323" y="927"/>
                </a:lnTo>
                <a:lnTo>
                  <a:pt x="319" y="931"/>
                </a:lnTo>
                <a:lnTo>
                  <a:pt x="316" y="931"/>
                </a:lnTo>
                <a:lnTo>
                  <a:pt x="316" y="934"/>
                </a:lnTo>
                <a:lnTo>
                  <a:pt x="312" y="934"/>
                </a:lnTo>
                <a:lnTo>
                  <a:pt x="305" y="934"/>
                </a:lnTo>
                <a:lnTo>
                  <a:pt x="302" y="934"/>
                </a:lnTo>
                <a:lnTo>
                  <a:pt x="298" y="938"/>
                </a:lnTo>
                <a:lnTo>
                  <a:pt x="295" y="938"/>
                </a:lnTo>
                <a:lnTo>
                  <a:pt x="295" y="941"/>
                </a:lnTo>
                <a:lnTo>
                  <a:pt x="291" y="941"/>
                </a:lnTo>
                <a:lnTo>
                  <a:pt x="291" y="945"/>
                </a:lnTo>
                <a:lnTo>
                  <a:pt x="288" y="945"/>
                </a:lnTo>
                <a:lnTo>
                  <a:pt x="284" y="945"/>
                </a:lnTo>
                <a:lnTo>
                  <a:pt x="284" y="948"/>
                </a:lnTo>
                <a:lnTo>
                  <a:pt x="284" y="951"/>
                </a:lnTo>
                <a:lnTo>
                  <a:pt x="284" y="955"/>
                </a:lnTo>
                <a:lnTo>
                  <a:pt x="284" y="958"/>
                </a:lnTo>
                <a:lnTo>
                  <a:pt x="284" y="962"/>
                </a:lnTo>
                <a:lnTo>
                  <a:pt x="281" y="962"/>
                </a:lnTo>
                <a:lnTo>
                  <a:pt x="277" y="962"/>
                </a:lnTo>
                <a:lnTo>
                  <a:pt x="274" y="958"/>
                </a:lnTo>
                <a:lnTo>
                  <a:pt x="271" y="958"/>
                </a:lnTo>
                <a:lnTo>
                  <a:pt x="267" y="958"/>
                </a:lnTo>
                <a:lnTo>
                  <a:pt x="267" y="962"/>
                </a:lnTo>
                <a:lnTo>
                  <a:pt x="264" y="962"/>
                </a:lnTo>
                <a:lnTo>
                  <a:pt x="260" y="962"/>
                </a:lnTo>
                <a:lnTo>
                  <a:pt x="260" y="965"/>
                </a:lnTo>
                <a:lnTo>
                  <a:pt x="257" y="969"/>
                </a:lnTo>
                <a:lnTo>
                  <a:pt x="257" y="972"/>
                </a:lnTo>
                <a:lnTo>
                  <a:pt x="250" y="969"/>
                </a:lnTo>
                <a:lnTo>
                  <a:pt x="246" y="969"/>
                </a:lnTo>
                <a:lnTo>
                  <a:pt x="246" y="972"/>
                </a:lnTo>
                <a:lnTo>
                  <a:pt x="246" y="976"/>
                </a:lnTo>
                <a:lnTo>
                  <a:pt x="243" y="979"/>
                </a:lnTo>
                <a:lnTo>
                  <a:pt x="239" y="979"/>
                </a:lnTo>
                <a:lnTo>
                  <a:pt x="236" y="983"/>
                </a:lnTo>
                <a:lnTo>
                  <a:pt x="236" y="986"/>
                </a:lnTo>
                <a:lnTo>
                  <a:pt x="232" y="986"/>
                </a:lnTo>
                <a:lnTo>
                  <a:pt x="229" y="986"/>
                </a:lnTo>
                <a:lnTo>
                  <a:pt x="225" y="986"/>
                </a:lnTo>
                <a:lnTo>
                  <a:pt x="222" y="986"/>
                </a:lnTo>
                <a:lnTo>
                  <a:pt x="218" y="986"/>
                </a:lnTo>
                <a:lnTo>
                  <a:pt x="215" y="986"/>
                </a:lnTo>
                <a:lnTo>
                  <a:pt x="212" y="993"/>
                </a:lnTo>
                <a:lnTo>
                  <a:pt x="212" y="997"/>
                </a:lnTo>
                <a:lnTo>
                  <a:pt x="208" y="993"/>
                </a:lnTo>
                <a:lnTo>
                  <a:pt x="205" y="993"/>
                </a:lnTo>
                <a:lnTo>
                  <a:pt x="205" y="990"/>
                </a:lnTo>
                <a:lnTo>
                  <a:pt x="205" y="993"/>
                </a:lnTo>
                <a:lnTo>
                  <a:pt x="201" y="993"/>
                </a:lnTo>
                <a:lnTo>
                  <a:pt x="201" y="990"/>
                </a:lnTo>
                <a:lnTo>
                  <a:pt x="198" y="990"/>
                </a:lnTo>
                <a:lnTo>
                  <a:pt x="194" y="993"/>
                </a:lnTo>
                <a:lnTo>
                  <a:pt x="194" y="990"/>
                </a:lnTo>
                <a:lnTo>
                  <a:pt x="191" y="990"/>
                </a:lnTo>
                <a:lnTo>
                  <a:pt x="187" y="986"/>
                </a:lnTo>
                <a:lnTo>
                  <a:pt x="184" y="986"/>
                </a:lnTo>
                <a:lnTo>
                  <a:pt x="180" y="979"/>
                </a:lnTo>
                <a:lnTo>
                  <a:pt x="177" y="976"/>
                </a:lnTo>
                <a:lnTo>
                  <a:pt x="173" y="976"/>
                </a:lnTo>
                <a:lnTo>
                  <a:pt x="173" y="972"/>
                </a:lnTo>
                <a:lnTo>
                  <a:pt x="170" y="969"/>
                </a:lnTo>
                <a:lnTo>
                  <a:pt x="166" y="965"/>
                </a:lnTo>
                <a:lnTo>
                  <a:pt x="163" y="965"/>
                </a:lnTo>
                <a:lnTo>
                  <a:pt x="163" y="958"/>
                </a:lnTo>
                <a:lnTo>
                  <a:pt x="166" y="958"/>
                </a:lnTo>
                <a:lnTo>
                  <a:pt x="170" y="955"/>
                </a:lnTo>
                <a:lnTo>
                  <a:pt x="173" y="955"/>
                </a:lnTo>
                <a:lnTo>
                  <a:pt x="173" y="951"/>
                </a:lnTo>
                <a:lnTo>
                  <a:pt x="177" y="951"/>
                </a:lnTo>
                <a:lnTo>
                  <a:pt x="180" y="951"/>
                </a:lnTo>
                <a:lnTo>
                  <a:pt x="184" y="948"/>
                </a:lnTo>
                <a:lnTo>
                  <a:pt x="187" y="945"/>
                </a:lnTo>
                <a:lnTo>
                  <a:pt x="191" y="941"/>
                </a:lnTo>
                <a:lnTo>
                  <a:pt x="194" y="941"/>
                </a:lnTo>
                <a:lnTo>
                  <a:pt x="194" y="938"/>
                </a:lnTo>
                <a:lnTo>
                  <a:pt x="198" y="938"/>
                </a:lnTo>
                <a:lnTo>
                  <a:pt x="198" y="934"/>
                </a:lnTo>
                <a:lnTo>
                  <a:pt x="198" y="931"/>
                </a:lnTo>
                <a:lnTo>
                  <a:pt x="198" y="927"/>
                </a:lnTo>
                <a:lnTo>
                  <a:pt x="205" y="920"/>
                </a:lnTo>
                <a:lnTo>
                  <a:pt x="205" y="917"/>
                </a:lnTo>
                <a:lnTo>
                  <a:pt x="208" y="917"/>
                </a:lnTo>
                <a:lnTo>
                  <a:pt x="205" y="913"/>
                </a:lnTo>
                <a:lnTo>
                  <a:pt x="208" y="910"/>
                </a:lnTo>
                <a:lnTo>
                  <a:pt x="215" y="906"/>
                </a:lnTo>
                <a:lnTo>
                  <a:pt x="218" y="903"/>
                </a:lnTo>
                <a:lnTo>
                  <a:pt x="222" y="903"/>
                </a:lnTo>
                <a:lnTo>
                  <a:pt x="222" y="899"/>
                </a:lnTo>
                <a:lnTo>
                  <a:pt x="222" y="896"/>
                </a:lnTo>
                <a:lnTo>
                  <a:pt x="222" y="875"/>
                </a:lnTo>
                <a:lnTo>
                  <a:pt x="229" y="865"/>
                </a:lnTo>
                <a:lnTo>
                  <a:pt x="232" y="861"/>
                </a:lnTo>
                <a:lnTo>
                  <a:pt x="232" y="858"/>
                </a:lnTo>
                <a:lnTo>
                  <a:pt x="236" y="858"/>
                </a:lnTo>
                <a:lnTo>
                  <a:pt x="236" y="851"/>
                </a:lnTo>
                <a:lnTo>
                  <a:pt x="239" y="844"/>
                </a:lnTo>
                <a:lnTo>
                  <a:pt x="239" y="840"/>
                </a:lnTo>
                <a:lnTo>
                  <a:pt x="243" y="840"/>
                </a:lnTo>
                <a:lnTo>
                  <a:pt x="246" y="837"/>
                </a:lnTo>
                <a:lnTo>
                  <a:pt x="250" y="833"/>
                </a:lnTo>
                <a:lnTo>
                  <a:pt x="250" y="830"/>
                </a:lnTo>
                <a:lnTo>
                  <a:pt x="250" y="826"/>
                </a:lnTo>
                <a:lnTo>
                  <a:pt x="253" y="826"/>
                </a:lnTo>
                <a:lnTo>
                  <a:pt x="253" y="823"/>
                </a:lnTo>
                <a:lnTo>
                  <a:pt x="250" y="820"/>
                </a:lnTo>
                <a:lnTo>
                  <a:pt x="246" y="816"/>
                </a:lnTo>
                <a:lnTo>
                  <a:pt x="246" y="813"/>
                </a:lnTo>
                <a:lnTo>
                  <a:pt x="243" y="813"/>
                </a:lnTo>
                <a:lnTo>
                  <a:pt x="239" y="806"/>
                </a:lnTo>
                <a:lnTo>
                  <a:pt x="239" y="802"/>
                </a:lnTo>
                <a:lnTo>
                  <a:pt x="236" y="799"/>
                </a:lnTo>
                <a:lnTo>
                  <a:pt x="232" y="795"/>
                </a:lnTo>
                <a:lnTo>
                  <a:pt x="232" y="792"/>
                </a:lnTo>
                <a:lnTo>
                  <a:pt x="236" y="785"/>
                </a:lnTo>
                <a:lnTo>
                  <a:pt x="232" y="781"/>
                </a:lnTo>
                <a:lnTo>
                  <a:pt x="239" y="781"/>
                </a:lnTo>
                <a:lnTo>
                  <a:pt x="243" y="774"/>
                </a:lnTo>
                <a:lnTo>
                  <a:pt x="246" y="774"/>
                </a:lnTo>
                <a:lnTo>
                  <a:pt x="250" y="771"/>
                </a:lnTo>
                <a:lnTo>
                  <a:pt x="253" y="764"/>
                </a:lnTo>
                <a:lnTo>
                  <a:pt x="257" y="764"/>
                </a:lnTo>
                <a:lnTo>
                  <a:pt x="260" y="764"/>
                </a:lnTo>
                <a:lnTo>
                  <a:pt x="264" y="760"/>
                </a:lnTo>
                <a:lnTo>
                  <a:pt x="267" y="760"/>
                </a:lnTo>
                <a:lnTo>
                  <a:pt x="271" y="757"/>
                </a:lnTo>
                <a:lnTo>
                  <a:pt x="274" y="754"/>
                </a:lnTo>
                <a:lnTo>
                  <a:pt x="277" y="750"/>
                </a:lnTo>
                <a:lnTo>
                  <a:pt x="281" y="750"/>
                </a:lnTo>
                <a:lnTo>
                  <a:pt x="281" y="754"/>
                </a:lnTo>
                <a:lnTo>
                  <a:pt x="281" y="757"/>
                </a:lnTo>
                <a:lnTo>
                  <a:pt x="288" y="764"/>
                </a:lnTo>
                <a:lnTo>
                  <a:pt x="291" y="764"/>
                </a:lnTo>
                <a:lnTo>
                  <a:pt x="295" y="764"/>
                </a:lnTo>
                <a:lnTo>
                  <a:pt x="298" y="764"/>
                </a:lnTo>
                <a:lnTo>
                  <a:pt x="302" y="760"/>
                </a:lnTo>
                <a:lnTo>
                  <a:pt x="302" y="764"/>
                </a:lnTo>
                <a:lnTo>
                  <a:pt x="309" y="764"/>
                </a:lnTo>
                <a:lnTo>
                  <a:pt x="312" y="760"/>
                </a:lnTo>
                <a:lnTo>
                  <a:pt x="316" y="757"/>
                </a:lnTo>
                <a:lnTo>
                  <a:pt x="319" y="754"/>
                </a:lnTo>
                <a:lnTo>
                  <a:pt x="316" y="750"/>
                </a:lnTo>
                <a:lnTo>
                  <a:pt x="316" y="747"/>
                </a:lnTo>
                <a:lnTo>
                  <a:pt x="309" y="743"/>
                </a:lnTo>
                <a:lnTo>
                  <a:pt x="305" y="740"/>
                </a:lnTo>
                <a:lnTo>
                  <a:pt x="302" y="740"/>
                </a:lnTo>
                <a:lnTo>
                  <a:pt x="298" y="736"/>
                </a:lnTo>
                <a:lnTo>
                  <a:pt x="295" y="736"/>
                </a:lnTo>
                <a:lnTo>
                  <a:pt x="295" y="733"/>
                </a:lnTo>
                <a:lnTo>
                  <a:pt x="295" y="729"/>
                </a:lnTo>
                <a:lnTo>
                  <a:pt x="291" y="729"/>
                </a:lnTo>
                <a:lnTo>
                  <a:pt x="291" y="726"/>
                </a:lnTo>
                <a:lnTo>
                  <a:pt x="288" y="726"/>
                </a:lnTo>
                <a:lnTo>
                  <a:pt x="288" y="722"/>
                </a:lnTo>
                <a:lnTo>
                  <a:pt x="284" y="722"/>
                </a:lnTo>
                <a:lnTo>
                  <a:pt x="281" y="719"/>
                </a:lnTo>
                <a:lnTo>
                  <a:pt x="277" y="719"/>
                </a:lnTo>
                <a:lnTo>
                  <a:pt x="274" y="715"/>
                </a:lnTo>
                <a:lnTo>
                  <a:pt x="271" y="715"/>
                </a:lnTo>
                <a:lnTo>
                  <a:pt x="264" y="712"/>
                </a:lnTo>
                <a:lnTo>
                  <a:pt x="260" y="715"/>
                </a:lnTo>
                <a:lnTo>
                  <a:pt x="260" y="705"/>
                </a:lnTo>
                <a:lnTo>
                  <a:pt x="257" y="701"/>
                </a:lnTo>
                <a:lnTo>
                  <a:pt x="253" y="698"/>
                </a:lnTo>
                <a:lnTo>
                  <a:pt x="253" y="701"/>
                </a:lnTo>
                <a:lnTo>
                  <a:pt x="250" y="701"/>
                </a:lnTo>
                <a:lnTo>
                  <a:pt x="246" y="701"/>
                </a:lnTo>
                <a:lnTo>
                  <a:pt x="243" y="698"/>
                </a:lnTo>
                <a:lnTo>
                  <a:pt x="246" y="698"/>
                </a:lnTo>
                <a:lnTo>
                  <a:pt x="246" y="695"/>
                </a:lnTo>
                <a:lnTo>
                  <a:pt x="246" y="691"/>
                </a:lnTo>
                <a:lnTo>
                  <a:pt x="250" y="691"/>
                </a:lnTo>
                <a:lnTo>
                  <a:pt x="250" y="688"/>
                </a:lnTo>
                <a:lnTo>
                  <a:pt x="243" y="684"/>
                </a:lnTo>
                <a:lnTo>
                  <a:pt x="239" y="681"/>
                </a:lnTo>
                <a:lnTo>
                  <a:pt x="236" y="681"/>
                </a:lnTo>
                <a:lnTo>
                  <a:pt x="236" y="677"/>
                </a:lnTo>
                <a:lnTo>
                  <a:pt x="232" y="674"/>
                </a:lnTo>
                <a:lnTo>
                  <a:pt x="229" y="670"/>
                </a:lnTo>
                <a:lnTo>
                  <a:pt x="225" y="667"/>
                </a:lnTo>
                <a:lnTo>
                  <a:pt x="222" y="667"/>
                </a:lnTo>
                <a:lnTo>
                  <a:pt x="222" y="663"/>
                </a:lnTo>
                <a:lnTo>
                  <a:pt x="222" y="660"/>
                </a:lnTo>
                <a:lnTo>
                  <a:pt x="218" y="660"/>
                </a:lnTo>
                <a:lnTo>
                  <a:pt x="218" y="656"/>
                </a:lnTo>
                <a:lnTo>
                  <a:pt x="215" y="656"/>
                </a:lnTo>
                <a:lnTo>
                  <a:pt x="212" y="656"/>
                </a:lnTo>
                <a:lnTo>
                  <a:pt x="212" y="653"/>
                </a:lnTo>
                <a:lnTo>
                  <a:pt x="212" y="649"/>
                </a:lnTo>
                <a:lnTo>
                  <a:pt x="212" y="646"/>
                </a:lnTo>
                <a:lnTo>
                  <a:pt x="215" y="646"/>
                </a:lnTo>
                <a:lnTo>
                  <a:pt x="218" y="646"/>
                </a:lnTo>
                <a:lnTo>
                  <a:pt x="222" y="642"/>
                </a:lnTo>
                <a:lnTo>
                  <a:pt x="225" y="635"/>
                </a:lnTo>
                <a:lnTo>
                  <a:pt x="222" y="629"/>
                </a:lnTo>
                <a:lnTo>
                  <a:pt x="222" y="625"/>
                </a:lnTo>
                <a:lnTo>
                  <a:pt x="218" y="625"/>
                </a:lnTo>
                <a:lnTo>
                  <a:pt x="215" y="622"/>
                </a:lnTo>
                <a:lnTo>
                  <a:pt x="212" y="622"/>
                </a:lnTo>
                <a:lnTo>
                  <a:pt x="208" y="618"/>
                </a:lnTo>
                <a:lnTo>
                  <a:pt x="205" y="618"/>
                </a:lnTo>
                <a:lnTo>
                  <a:pt x="201" y="615"/>
                </a:lnTo>
                <a:lnTo>
                  <a:pt x="194" y="611"/>
                </a:lnTo>
                <a:lnTo>
                  <a:pt x="191" y="611"/>
                </a:lnTo>
                <a:lnTo>
                  <a:pt x="191" y="608"/>
                </a:lnTo>
                <a:lnTo>
                  <a:pt x="191" y="604"/>
                </a:lnTo>
                <a:lnTo>
                  <a:pt x="194" y="601"/>
                </a:lnTo>
                <a:lnTo>
                  <a:pt x="191" y="597"/>
                </a:lnTo>
                <a:lnTo>
                  <a:pt x="194" y="594"/>
                </a:lnTo>
                <a:lnTo>
                  <a:pt x="194" y="590"/>
                </a:lnTo>
                <a:lnTo>
                  <a:pt x="191" y="590"/>
                </a:lnTo>
                <a:lnTo>
                  <a:pt x="191" y="587"/>
                </a:lnTo>
                <a:lnTo>
                  <a:pt x="191" y="583"/>
                </a:lnTo>
                <a:lnTo>
                  <a:pt x="194" y="583"/>
                </a:lnTo>
                <a:lnTo>
                  <a:pt x="191" y="580"/>
                </a:lnTo>
                <a:lnTo>
                  <a:pt x="187" y="580"/>
                </a:lnTo>
                <a:lnTo>
                  <a:pt x="184" y="580"/>
                </a:lnTo>
                <a:lnTo>
                  <a:pt x="180" y="583"/>
                </a:lnTo>
                <a:lnTo>
                  <a:pt x="177" y="583"/>
                </a:lnTo>
                <a:lnTo>
                  <a:pt x="177" y="587"/>
                </a:lnTo>
                <a:lnTo>
                  <a:pt x="173" y="587"/>
                </a:lnTo>
                <a:lnTo>
                  <a:pt x="170" y="587"/>
                </a:lnTo>
                <a:lnTo>
                  <a:pt x="166" y="587"/>
                </a:lnTo>
                <a:lnTo>
                  <a:pt x="166" y="590"/>
                </a:lnTo>
                <a:lnTo>
                  <a:pt x="166" y="594"/>
                </a:lnTo>
                <a:lnTo>
                  <a:pt x="166" y="597"/>
                </a:lnTo>
                <a:lnTo>
                  <a:pt x="163" y="601"/>
                </a:lnTo>
                <a:lnTo>
                  <a:pt x="159" y="601"/>
                </a:lnTo>
                <a:lnTo>
                  <a:pt x="159" y="604"/>
                </a:lnTo>
                <a:lnTo>
                  <a:pt x="156" y="604"/>
                </a:lnTo>
                <a:lnTo>
                  <a:pt x="153" y="604"/>
                </a:lnTo>
                <a:lnTo>
                  <a:pt x="153" y="608"/>
                </a:lnTo>
                <a:lnTo>
                  <a:pt x="149" y="608"/>
                </a:lnTo>
                <a:lnTo>
                  <a:pt x="146" y="611"/>
                </a:lnTo>
                <a:lnTo>
                  <a:pt x="142" y="608"/>
                </a:lnTo>
                <a:lnTo>
                  <a:pt x="142" y="604"/>
                </a:lnTo>
                <a:lnTo>
                  <a:pt x="139" y="604"/>
                </a:lnTo>
                <a:lnTo>
                  <a:pt x="139" y="601"/>
                </a:lnTo>
                <a:lnTo>
                  <a:pt x="135" y="601"/>
                </a:lnTo>
                <a:lnTo>
                  <a:pt x="135" y="597"/>
                </a:lnTo>
                <a:lnTo>
                  <a:pt x="132" y="597"/>
                </a:lnTo>
                <a:lnTo>
                  <a:pt x="128" y="597"/>
                </a:lnTo>
                <a:lnTo>
                  <a:pt x="125" y="601"/>
                </a:lnTo>
                <a:lnTo>
                  <a:pt x="121" y="601"/>
                </a:lnTo>
                <a:lnTo>
                  <a:pt x="121" y="597"/>
                </a:lnTo>
                <a:lnTo>
                  <a:pt x="118" y="597"/>
                </a:lnTo>
                <a:lnTo>
                  <a:pt x="114" y="601"/>
                </a:lnTo>
                <a:lnTo>
                  <a:pt x="114" y="604"/>
                </a:lnTo>
                <a:lnTo>
                  <a:pt x="111" y="608"/>
                </a:lnTo>
                <a:lnTo>
                  <a:pt x="111" y="618"/>
                </a:lnTo>
                <a:lnTo>
                  <a:pt x="107" y="618"/>
                </a:lnTo>
                <a:lnTo>
                  <a:pt x="100" y="618"/>
                </a:lnTo>
                <a:lnTo>
                  <a:pt x="97" y="618"/>
                </a:lnTo>
                <a:lnTo>
                  <a:pt x="97" y="615"/>
                </a:lnTo>
                <a:lnTo>
                  <a:pt x="97" y="611"/>
                </a:lnTo>
                <a:lnTo>
                  <a:pt x="93" y="608"/>
                </a:lnTo>
                <a:lnTo>
                  <a:pt x="90" y="608"/>
                </a:lnTo>
                <a:lnTo>
                  <a:pt x="87" y="608"/>
                </a:lnTo>
                <a:lnTo>
                  <a:pt x="87" y="604"/>
                </a:lnTo>
                <a:lnTo>
                  <a:pt x="83" y="604"/>
                </a:lnTo>
                <a:lnTo>
                  <a:pt x="83" y="601"/>
                </a:lnTo>
                <a:lnTo>
                  <a:pt x="80" y="604"/>
                </a:lnTo>
                <a:lnTo>
                  <a:pt x="76" y="604"/>
                </a:lnTo>
                <a:lnTo>
                  <a:pt x="73" y="604"/>
                </a:lnTo>
                <a:lnTo>
                  <a:pt x="73" y="601"/>
                </a:lnTo>
                <a:lnTo>
                  <a:pt x="69" y="601"/>
                </a:lnTo>
                <a:lnTo>
                  <a:pt x="66" y="601"/>
                </a:lnTo>
                <a:lnTo>
                  <a:pt x="59" y="601"/>
                </a:lnTo>
                <a:lnTo>
                  <a:pt x="55" y="601"/>
                </a:lnTo>
                <a:lnTo>
                  <a:pt x="52" y="604"/>
                </a:lnTo>
                <a:lnTo>
                  <a:pt x="48" y="604"/>
                </a:lnTo>
                <a:lnTo>
                  <a:pt x="45" y="601"/>
                </a:lnTo>
                <a:lnTo>
                  <a:pt x="45" y="597"/>
                </a:lnTo>
                <a:lnTo>
                  <a:pt x="41" y="594"/>
                </a:lnTo>
                <a:lnTo>
                  <a:pt x="34" y="594"/>
                </a:lnTo>
                <a:lnTo>
                  <a:pt x="31" y="590"/>
                </a:lnTo>
                <a:lnTo>
                  <a:pt x="24" y="580"/>
                </a:lnTo>
                <a:lnTo>
                  <a:pt x="28" y="580"/>
                </a:lnTo>
                <a:lnTo>
                  <a:pt x="28" y="576"/>
                </a:lnTo>
                <a:lnTo>
                  <a:pt x="28" y="573"/>
                </a:lnTo>
                <a:lnTo>
                  <a:pt x="28" y="570"/>
                </a:lnTo>
                <a:lnTo>
                  <a:pt x="28" y="566"/>
                </a:lnTo>
                <a:lnTo>
                  <a:pt x="28" y="563"/>
                </a:lnTo>
                <a:lnTo>
                  <a:pt x="24" y="563"/>
                </a:lnTo>
                <a:lnTo>
                  <a:pt x="24" y="559"/>
                </a:lnTo>
                <a:lnTo>
                  <a:pt x="24" y="556"/>
                </a:lnTo>
                <a:lnTo>
                  <a:pt x="24" y="549"/>
                </a:lnTo>
                <a:lnTo>
                  <a:pt x="28" y="545"/>
                </a:lnTo>
                <a:lnTo>
                  <a:pt x="31" y="542"/>
                </a:lnTo>
                <a:lnTo>
                  <a:pt x="28" y="538"/>
                </a:lnTo>
                <a:lnTo>
                  <a:pt x="28" y="535"/>
                </a:lnTo>
                <a:lnTo>
                  <a:pt x="28" y="531"/>
                </a:lnTo>
                <a:lnTo>
                  <a:pt x="24" y="528"/>
                </a:lnTo>
                <a:lnTo>
                  <a:pt x="21" y="517"/>
                </a:lnTo>
                <a:lnTo>
                  <a:pt x="21" y="514"/>
                </a:lnTo>
                <a:lnTo>
                  <a:pt x="21" y="510"/>
                </a:lnTo>
                <a:lnTo>
                  <a:pt x="17" y="510"/>
                </a:lnTo>
                <a:lnTo>
                  <a:pt x="17" y="507"/>
                </a:lnTo>
                <a:lnTo>
                  <a:pt x="14" y="504"/>
                </a:lnTo>
                <a:lnTo>
                  <a:pt x="14" y="500"/>
                </a:lnTo>
                <a:lnTo>
                  <a:pt x="14" y="497"/>
                </a:lnTo>
                <a:lnTo>
                  <a:pt x="14" y="493"/>
                </a:lnTo>
                <a:lnTo>
                  <a:pt x="14" y="490"/>
                </a:lnTo>
                <a:lnTo>
                  <a:pt x="14" y="486"/>
                </a:lnTo>
                <a:lnTo>
                  <a:pt x="14" y="483"/>
                </a:lnTo>
                <a:lnTo>
                  <a:pt x="10" y="483"/>
                </a:lnTo>
                <a:lnTo>
                  <a:pt x="10" y="479"/>
                </a:lnTo>
                <a:lnTo>
                  <a:pt x="7" y="472"/>
                </a:lnTo>
                <a:lnTo>
                  <a:pt x="7" y="469"/>
                </a:lnTo>
                <a:lnTo>
                  <a:pt x="10" y="465"/>
                </a:lnTo>
                <a:lnTo>
                  <a:pt x="10" y="462"/>
                </a:lnTo>
                <a:lnTo>
                  <a:pt x="7" y="462"/>
                </a:lnTo>
                <a:lnTo>
                  <a:pt x="7" y="458"/>
                </a:lnTo>
                <a:lnTo>
                  <a:pt x="7" y="455"/>
                </a:lnTo>
                <a:lnTo>
                  <a:pt x="3" y="455"/>
                </a:lnTo>
                <a:lnTo>
                  <a:pt x="3" y="451"/>
                </a:lnTo>
                <a:lnTo>
                  <a:pt x="0" y="451"/>
                </a:lnTo>
                <a:lnTo>
                  <a:pt x="3" y="448"/>
                </a:lnTo>
                <a:lnTo>
                  <a:pt x="0" y="448"/>
                </a:lnTo>
                <a:lnTo>
                  <a:pt x="0" y="444"/>
                </a:lnTo>
                <a:lnTo>
                  <a:pt x="3" y="444"/>
                </a:lnTo>
                <a:lnTo>
                  <a:pt x="3" y="441"/>
                </a:lnTo>
                <a:lnTo>
                  <a:pt x="3" y="438"/>
                </a:lnTo>
                <a:lnTo>
                  <a:pt x="7" y="438"/>
                </a:lnTo>
                <a:lnTo>
                  <a:pt x="10" y="438"/>
                </a:lnTo>
                <a:lnTo>
                  <a:pt x="10" y="434"/>
                </a:lnTo>
                <a:lnTo>
                  <a:pt x="10" y="431"/>
                </a:lnTo>
                <a:lnTo>
                  <a:pt x="10" y="427"/>
                </a:lnTo>
                <a:lnTo>
                  <a:pt x="10" y="424"/>
                </a:lnTo>
                <a:lnTo>
                  <a:pt x="14" y="424"/>
                </a:lnTo>
                <a:lnTo>
                  <a:pt x="14" y="420"/>
                </a:lnTo>
                <a:lnTo>
                  <a:pt x="10" y="420"/>
                </a:lnTo>
                <a:lnTo>
                  <a:pt x="14" y="420"/>
                </a:lnTo>
                <a:lnTo>
                  <a:pt x="14" y="417"/>
                </a:lnTo>
                <a:lnTo>
                  <a:pt x="17" y="417"/>
                </a:lnTo>
                <a:lnTo>
                  <a:pt x="17" y="413"/>
                </a:lnTo>
                <a:lnTo>
                  <a:pt x="17" y="406"/>
                </a:lnTo>
                <a:lnTo>
                  <a:pt x="21" y="406"/>
                </a:lnTo>
                <a:lnTo>
                  <a:pt x="21" y="403"/>
                </a:lnTo>
                <a:lnTo>
                  <a:pt x="21" y="399"/>
                </a:lnTo>
                <a:lnTo>
                  <a:pt x="21" y="396"/>
                </a:lnTo>
                <a:lnTo>
                  <a:pt x="21" y="392"/>
                </a:lnTo>
                <a:lnTo>
                  <a:pt x="21" y="389"/>
                </a:lnTo>
                <a:lnTo>
                  <a:pt x="17" y="389"/>
                </a:lnTo>
                <a:lnTo>
                  <a:pt x="17" y="385"/>
                </a:lnTo>
                <a:lnTo>
                  <a:pt x="21" y="385"/>
                </a:lnTo>
                <a:lnTo>
                  <a:pt x="24" y="385"/>
                </a:lnTo>
                <a:lnTo>
                  <a:pt x="24" y="382"/>
                </a:lnTo>
                <a:lnTo>
                  <a:pt x="31" y="385"/>
                </a:lnTo>
                <a:lnTo>
                  <a:pt x="38" y="385"/>
                </a:lnTo>
                <a:lnTo>
                  <a:pt x="41" y="385"/>
                </a:lnTo>
                <a:lnTo>
                  <a:pt x="41" y="389"/>
                </a:lnTo>
                <a:lnTo>
                  <a:pt x="45" y="389"/>
                </a:lnTo>
                <a:lnTo>
                  <a:pt x="45" y="392"/>
                </a:lnTo>
                <a:lnTo>
                  <a:pt x="48" y="392"/>
                </a:lnTo>
                <a:lnTo>
                  <a:pt x="52" y="392"/>
                </a:lnTo>
                <a:lnTo>
                  <a:pt x="55" y="392"/>
                </a:lnTo>
                <a:lnTo>
                  <a:pt x="59" y="396"/>
                </a:lnTo>
                <a:lnTo>
                  <a:pt x="62" y="396"/>
                </a:lnTo>
                <a:lnTo>
                  <a:pt x="66" y="396"/>
                </a:lnTo>
                <a:lnTo>
                  <a:pt x="73" y="396"/>
                </a:lnTo>
                <a:lnTo>
                  <a:pt x="73" y="399"/>
                </a:lnTo>
                <a:lnTo>
                  <a:pt x="76" y="399"/>
                </a:lnTo>
                <a:lnTo>
                  <a:pt x="80" y="399"/>
                </a:lnTo>
                <a:lnTo>
                  <a:pt x="87" y="399"/>
                </a:lnTo>
                <a:lnTo>
                  <a:pt x="93" y="399"/>
                </a:lnTo>
                <a:lnTo>
                  <a:pt x="107" y="399"/>
                </a:lnTo>
                <a:lnTo>
                  <a:pt x="114" y="399"/>
                </a:lnTo>
                <a:lnTo>
                  <a:pt x="118" y="399"/>
                </a:lnTo>
                <a:lnTo>
                  <a:pt x="114" y="389"/>
                </a:lnTo>
                <a:lnTo>
                  <a:pt x="114" y="385"/>
                </a:lnTo>
                <a:lnTo>
                  <a:pt x="118" y="379"/>
                </a:lnTo>
                <a:lnTo>
                  <a:pt x="118" y="375"/>
                </a:lnTo>
                <a:lnTo>
                  <a:pt x="128" y="368"/>
                </a:lnTo>
                <a:lnTo>
                  <a:pt x="132" y="361"/>
                </a:lnTo>
                <a:lnTo>
                  <a:pt x="135" y="361"/>
                </a:lnTo>
                <a:lnTo>
                  <a:pt x="139" y="358"/>
                </a:lnTo>
                <a:lnTo>
                  <a:pt x="135" y="354"/>
                </a:lnTo>
                <a:lnTo>
                  <a:pt x="139" y="354"/>
                </a:lnTo>
                <a:lnTo>
                  <a:pt x="139" y="351"/>
                </a:lnTo>
                <a:lnTo>
                  <a:pt x="139" y="347"/>
                </a:lnTo>
                <a:lnTo>
                  <a:pt x="142" y="347"/>
                </a:lnTo>
                <a:lnTo>
                  <a:pt x="142" y="344"/>
                </a:lnTo>
                <a:lnTo>
                  <a:pt x="146" y="337"/>
                </a:lnTo>
                <a:lnTo>
                  <a:pt x="146" y="333"/>
                </a:lnTo>
                <a:lnTo>
                  <a:pt x="139" y="330"/>
                </a:lnTo>
                <a:lnTo>
                  <a:pt x="139" y="323"/>
                </a:lnTo>
                <a:lnTo>
                  <a:pt x="135" y="313"/>
                </a:lnTo>
                <a:lnTo>
                  <a:pt x="135" y="309"/>
                </a:lnTo>
                <a:lnTo>
                  <a:pt x="139" y="309"/>
                </a:lnTo>
                <a:lnTo>
                  <a:pt x="142" y="309"/>
                </a:lnTo>
                <a:lnTo>
                  <a:pt x="142" y="302"/>
                </a:lnTo>
                <a:lnTo>
                  <a:pt x="139" y="295"/>
                </a:lnTo>
                <a:lnTo>
                  <a:pt x="135" y="292"/>
                </a:lnTo>
                <a:lnTo>
                  <a:pt x="132" y="285"/>
                </a:lnTo>
                <a:lnTo>
                  <a:pt x="128" y="281"/>
                </a:lnTo>
                <a:lnTo>
                  <a:pt x="128" y="278"/>
                </a:lnTo>
                <a:lnTo>
                  <a:pt x="128" y="274"/>
                </a:lnTo>
                <a:lnTo>
                  <a:pt x="125" y="274"/>
                </a:lnTo>
                <a:lnTo>
                  <a:pt x="121" y="274"/>
                </a:lnTo>
                <a:lnTo>
                  <a:pt x="118" y="274"/>
                </a:lnTo>
                <a:lnTo>
                  <a:pt x="114" y="274"/>
                </a:lnTo>
                <a:lnTo>
                  <a:pt x="111" y="274"/>
                </a:lnTo>
                <a:lnTo>
                  <a:pt x="111" y="271"/>
                </a:lnTo>
                <a:lnTo>
                  <a:pt x="107" y="271"/>
                </a:lnTo>
                <a:lnTo>
                  <a:pt x="104" y="267"/>
                </a:lnTo>
                <a:lnTo>
                  <a:pt x="100" y="267"/>
                </a:lnTo>
                <a:lnTo>
                  <a:pt x="100" y="271"/>
                </a:lnTo>
                <a:lnTo>
                  <a:pt x="97" y="271"/>
                </a:lnTo>
                <a:lnTo>
                  <a:pt x="97" y="267"/>
                </a:lnTo>
                <a:lnTo>
                  <a:pt x="93" y="260"/>
                </a:lnTo>
                <a:lnTo>
                  <a:pt x="97" y="253"/>
                </a:lnTo>
                <a:lnTo>
                  <a:pt x="100" y="250"/>
                </a:lnTo>
                <a:lnTo>
                  <a:pt x="100" y="247"/>
                </a:lnTo>
                <a:lnTo>
                  <a:pt x="100" y="243"/>
                </a:lnTo>
                <a:lnTo>
                  <a:pt x="97" y="240"/>
                </a:lnTo>
                <a:lnTo>
                  <a:pt x="97" y="236"/>
                </a:lnTo>
                <a:lnTo>
                  <a:pt x="97" y="233"/>
                </a:lnTo>
                <a:lnTo>
                  <a:pt x="97" y="229"/>
                </a:lnTo>
                <a:lnTo>
                  <a:pt x="97" y="226"/>
                </a:lnTo>
                <a:lnTo>
                  <a:pt x="97" y="222"/>
                </a:lnTo>
                <a:lnTo>
                  <a:pt x="97" y="212"/>
                </a:lnTo>
                <a:lnTo>
                  <a:pt x="100" y="208"/>
                </a:lnTo>
                <a:lnTo>
                  <a:pt x="100" y="205"/>
                </a:lnTo>
                <a:lnTo>
                  <a:pt x="104" y="201"/>
                </a:lnTo>
                <a:lnTo>
                  <a:pt x="104" y="198"/>
                </a:lnTo>
                <a:lnTo>
                  <a:pt x="104" y="194"/>
                </a:lnTo>
                <a:lnTo>
                  <a:pt x="104" y="191"/>
                </a:lnTo>
                <a:lnTo>
                  <a:pt x="107" y="188"/>
                </a:lnTo>
                <a:lnTo>
                  <a:pt x="107" y="184"/>
                </a:lnTo>
                <a:lnTo>
                  <a:pt x="107" y="177"/>
                </a:lnTo>
                <a:lnTo>
                  <a:pt x="111" y="174"/>
                </a:lnTo>
                <a:lnTo>
                  <a:pt x="118" y="170"/>
                </a:lnTo>
                <a:lnTo>
                  <a:pt x="121" y="170"/>
                </a:lnTo>
                <a:lnTo>
                  <a:pt x="128" y="170"/>
                </a:lnTo>
                <a:lnTo>
                  <a:pt x="128" y="167"/>
                </a:lnTo>
                <a:lnTo>
                  <a:pt x="125" y="163"/>
                </a:lnTo>
                <a:lnTo>
                  <a:pt x="125" y="160"/>
                </a:lnTo>
                <a:lnTo>
                  <a:pt x="125" y="156"/>
                </a:lnTo>
                <a:lnTo>
                  <a:pt x="128" y="156"/>
                </a:lnTo>
                <a:lnTo>
                  <a:pt x="132" y="153"/>
                </a:lnTo>
                <a:lnTo>
                  <a:pt x="135" y="153"/>
                </a:lnTo>
                <a:lnTo>
                  <a:pt x="139" y="149"/>
                </a:lnTo>
                <a:lnTo>
                  <a:pt x="139" y="146"/>
                </a:lnTo>
                <a:lnTo>
                  <a:pt x="142" y="142"/>
                </a:lnTo>
                <a:lnTo>
                  <a:pt x="142" y="139"/>
                </a:lnTo>
                <a:lnTo>
                  <a:pt x="149" y="135"/>
                </a:lnTo>
                <a:lnTo>
                  <a:pt x="149" y="132"/>
                </a:lnTo>
                <a:lnTo>
                  <a:pt x="153" y="128"/>
                </a:lnTo>
                <a:lnTo>
                  <a:pt x="156" y="122"/>
                </a:lnTo>
                <a:lnTo>
                  <a:pt x="159" y="122"/>
                </a:lnTo>
                <a:lnTo>
                  <a:pt x="156" y="118"/>
                </a:lnTo>
                <a:lnTo>
                  <a:pt x="159" y="122"/>
                </a:lnTo>
                <a:lnTo>
                  <a:pt x="166" y="125"/>
                </a:lnTo>
                <a:lnTo>
                  <a:pt x="170" y="125"/>
                </a:lnTo>
                <a:lnTo>
                  <a:pt x="173" y="122"/>
                </a:lnTo>
                <a:lnTo>
                  <a:pt x="177" y="122"/>
                </a:lnTo>
                <a:lnTo>
                  <a:pt x="187" y="122"/>
                </a:lnTo>
                <a:lnTo>
                  <a:pt x="191" y="122"/>
                </a:lnTo>
                <a:lnTo>
                  <a:pt x="194" y="122"/>
                </a:lnTo>
                <a:lnTo>
                  <a:pt x="205" y="118"/>
                </a:lnTo>
                <a:lnTo>
                  <a:pt x="205" y="122"/>
                </a:lnTo>
                <a:lnTo>
                  <a:pt x="208" y="122"/>
                </a:lnTo>
                <a:lnTo>
                  <a:pt x="212" y="125"/>
                </a:lnTo>
                <a:lnTo>
                  <a:pt x="212" y="122"/>
                </a:lnTo>
                <a:lnTo>
                  <a:pt x="215" y="122"/>
                </a:lnTo>
                <a:lnTo>
                  <a:pt x="218" y="115"/>
                </a:lnTo>
                <a:lnTo>
                  <a:pt x="218" y="111"/>
                </a:lnTo>
                <a:lnTo>
                  <a:pt x="225" y="115"/>
                </a:lnTo>
                <a:lnTo>
                  <a:pt x="229" y="115"/>
                </a:lnTo>
                <a:lnTo>
                  <a:pt x="229" y="111"/>
                </a:lnTo>
                <a:lnTo>
                  <a:pt x="232" y="115"/>
                </a:lnTo>
                <a:lnTo>
                  <a:pt x="236" y="115"/>
                </a:lnTo>
                <a:lnTo>
                  <a:pt x="239" y="115"/>
                </a:lnTo>
                <a:lnTo>
                  <a:pt x="239" y="118"/>
                </a:lnTo>
                <a:lnTo>
                  <a:pt x="243" y="118"/>
                </a:lnTo>
                <a:lnTo>
                  <a:pt x="246" y="122"/>
                </a:lnTo>
                <a:lnTo>
                  <a:pt x="250" y="122"/>
                </a:lnTo>
                <a:lnTo>
                  <a:pt x="250" y="125"/>
                </a:lnTo>
                <a:lnTo>
                  <a:pt x="253" y="128"/>
                </a:lnTo>
                <a:lnTo>
                  <a:pt x="257" y="128"/>
                </a:lnTo>
                <a:lnTo>
                  <a:pt x="264" y="135"/>
                </a:lnTo>
                <a:lnTo>
                  <a:pt x="267" y="132"/>
                </a:lnTo>
                <a:lnTo>
                  <a:pt x="271" y="128"/>
                </a:lnTo>
                <a:lnTo>
                  <a:pt x="274" y="128"/>
                </a:lnTo>
                <a:lnTo>
                  <a:pt x="277" y="128"/>
                </a:lnTo>
                <a:lnTo>
                  <a:pt x="281" y="128"/>
                </a:lnTo>
                <a:lnTo>
                  <a:pt x="284" y="128"/>
                </a:lnTo>
                <a:lnTo>
                  <a:pt x="288" y="128"/>
                </a:lnTo>
                <a:lnTo>
                  <a:pt x="288" y="132"/>
                </a:lnTo>
                <a:lnTo>
                  <a:pt x="291" y="132"/>
                </a:lnTo>
                <a:lnTo>
                  <a:pt x="295" y="132"/>
                </a:lnTo>
                <a:lnTo>
                  <a:pt x="298" y="135"/>
                </a:lnTo>
                <a:lnTo>
                  <a:pt x="302" y="139"/>
                </a:lnTo>
                <a:lnTo>
                  <a:pt x="309" y="142"/>
                </a:lnTo>
                <a:lnTo>
                  <a:pt x="312" y="139"/>
                </a:lnTo>
                <a:lnTo>
                  <a:pt x="316" y="139"/>
                </a:lnTo>
                <a:lnTo>
                  <a:pt x="319" y="139"/>
                </a:lnTo>
                <a:lnTo>
                  <a:pt x="323" y="135"/>
                </a:lnTo>
                <a:lnTo>
                  <a:pt x="326" y="139"/>
                </a:lnTo>
                <a:lnTo>
                  <a:pt x="330" y="139"/>
                </a:lnTo>
                <a:lnTo>
                  <a:pt x="333" y="142"/>
                </a:lnTo>
                <a:lnTo>
                  <a:pt x="333" y="146"/>
                </a:lnTo>
                <a:lnTo>
                  <a:pt x="333" y="149"/>
                </a:lnTo>
                <a:lnTo>
                  <a:pt x="337" y="149"/>
                </a:lnTo>
                <a:lnTo>
                  <a:pt x="337" y="153"/>
                </a:lnTo>
                <a:lnTo>
                  <a:pt x="340" y="153"/>
                </a:lnTo>
                <a:lnTo>
                  <a:pt x="340" y="156"/>
                </a:lnTo>
                <a:lnTo>
                  <a:pt x="347" y="160"/>
                </a:lnTo>
                <a:lnTo>
                  <a:pt x="347" y="163"/>
                </a:lnTo>
                <a:lnTo>
                  <a:pt x="354" y="167"/>
                </a:lnTo>
                <a:lnTo>
                  <a:pt x="357" y="167"/>
                </a:lnTo>
                <a:lnTo>
                  <a:pt x="357" y="170"/>
                </a:lnTo>
                <a:lnTo>
                  <a:pt x="361" y="170"/>
                </a:lnTo>
                <a:lnTo>
                  <a:pt x="361" y="174"/>
                </a:lnTo>
                <a:lnTo>
                  <a:pt x="361" y="184"/>
                </a:lnTo>
                <a:lnTo>
                  <a:pt x="361" y="191"/>
                </a:lnTo>
                <a:lnTo>
                  <a:pt x="357" y="194"/>
                </a:lnTo>
                <a:lnTo>
                  <a:pt x="357" y="198"/>
                </a:lnTo>
                <a:lnTo>
                  <a:pt x="357" y="205"/>
                </a:lnTo>
                <a:lnTo>
                  <a:pt x="357" y="208"/>
                </a:lnTo>
                <a:lnTo>
                  <a:pt x="357" y="212"/>
                </a:lnTo>
                <a:lnTo>
                  <a:pt x="354" y="212"/>
                </a:lnTo>
                <a:lnTo>
                  <a:pt x="354" y="215"/>
                </a:lnTo>
                <a:lnTo>
                  <a:pt x="354" y="219"/>
                </a:lnTo>
                <a:lnTo>
                  <a:pt x="357" y="219"/>
                </a:lnTo>
                <a:lnTo>
                  <a:pt x="357" y="222"/>
                </a:lnTo>
                <a:lnTo>
                  <a:pt x="361" y="222"/>
                </a:lnTo>
                <a:lnTo>
                  <a:pt x="357" y="226"/>
                </a:lnTo>
                <a:lnTo>
                  <a:pt x="357" y="229"/>
                </a:lnTo>
                <a:lnTo>
                  <a:pt x="364" y="229"/>
                </a:lnTo>
                <a:lnTo>
                  <a:pt x="368" y="233"/>
                </a:lnTo>
                <a:lnTo>
                  <a:pt x="371" y="229"/>
                </a:lnTo>
                <a:lnTo>
                  <a:pt x="375" y="229"/>
                </a:lnTo>
                <a:lnTo>
                  <a:pt x="378" y="229"/>
                </a:lnTo>
                <a:lnTo>
                  <a:pt x="382" y="226"/>
                </a:lnTo>
                <a:lnTo>
                  <a:pt x="389" y="226"/>
                </a:lnTo>
                <a:lnTo>
                  <a:pt x="392" y="222"/>
                </a:lnTo>
                <a:lnTo>
                  <a:pt x="396" y="222"/>
                </a:lnTo>
                <a:lnTo>
                  <a:pt x="399" y="222"/>
                </a:lnTo>
                <a:lnTo>
                  <a:pt x="402" y="219"/>
                </a:lnTo>
                <a:lnTo>
                  <a:pt x="409" y="219"/>
                </a:lnTo>
                <a:lnTo>
                  <a:pt x="413" y="219"/>
                </a:lnTo>
                <a:lnTo>
                  <a:pt x="416" y="219"/>
                </a:lnTo>
                <a:lnTo>
                  <a:pt x="416" y="215"/>
                </a:lnTo>
                <a:lnTo>
                  <a:pt x="420" y="215"/>
                </a:lnTo>
                <a:lnTo>
                  <a:pt x="420" y="212"/>
                </a:lnTo>
                <a:lnTo>
                  <a:pt x="427" y="208"/>
                </a:lnTo>
                <a:lnTo>
                  <a:pt x="430" y="208"/>
                </a:lnTo>
                <a:lnTo>
                  <a:pt x="434" y="208"/>
                </a:lnTo>
                <a:lnTo>
                  <a:pt x="437" y="208"/>
                </a:lnTo>
                <a:lnTo>
                  <a:pt x="441" y="208"/>
                </a:lnTo>
                <a:lnTo>
                  <a:pt x="441" y="205"/>
                </a:lnTo>
                <a:lnTo>
                  <a:pt x="444" y="205"/>
                </a:lnTo>
                <a:lnTo>
                  <a:pt x="448" y="205"/>
                </a:lnTo>
                <a:lnTo>
                  <a:pt x="451" y="208"/>
                </a:lnTo>
                <a:lnTo>
                  <a:pt x="455" y="205"/>
                </a:lnTo>
                <a:lnTo>
                  <a:pt x="458" y="201"/>
                </a:lnTo>
                <a:lnTo>
                  <a:pt x="462" y="201"/>
                </a:lnTo>
                <a:lnTo>
                  <a:pt x="472" y="191"/>
                </a:lnTo>
                <a:lnTo>
                  <a:pt x="475" y="191"/>
                </a:lnTo>
                <a:lnTo>
                  <a:pt x="475" y="194"/>
                </a:lnTo>
                <a:lnTo>
                  <a:pt x="479" y="194"/>
                </a:lnTo>
                <a:lnTo>
                  <a:pt x="482" y="194"/>
                </a:lnTo>
                <a:lnTo>
                  <a:pt x="486" y="194"/>
                </a:lnTo>
                <a:lnTo>
                  <a:pt x="489" y="194"/>
                </a:lnTo>
                <a:lnTo>
                  <a:pt x="493" y="194"/>
                </a:lnTo>
                <a:lnTo>
                  <a:pt x="489" y="198"/>
                </a:lnTo>
                <a:lnTo>
                  <a:pt x="486" y="201"/>
                </a:lnTo>
                <a:lnTo>
                  <a:pt x="486" y="205"/>
                </a:lnTo>
                <a:lnTo>
                  <a:pt x="489" y="212"/>
                </a:lnTo>
                <a:lnTo>
                  <a:pt x="489" y="215"/>
                </a:lnTo>
                <a:lnTo>
                  <a:pt x="493" y="215"/>
                </a:lnTo>
                <a:lnTo>
                  <a:pt x="493" y="219"/>
                </a:lnTo>
                <a:lnTo>
                  <a:pt x="503" y="226"/>
                </a:lnTo>
                <a:lnTo>
                  <a:pt x="503" y="229"/>
                </a:lnTo>
                <a:lnTo>
                  <a:pt x="507" y="229"/>
                </a:lnTo>
                <a:lnTo>
                  <a:pt x="507" y="233"/>
                </a:lnTo>
                <a:lnTo>
                  <a:pt x="510" y="236"/>
                </a:lnTo>
                <a:lnTo>
                  <a:pt x="514" y="236"/>
                </a:lnTo>
                <a:lnTo>
                  <a:pt x="517" y="236"/>
                </a:lnTo>
                <a:lnTo>
                  <a:pt x="524" y="233"/>
                </a:lnTo>
                <a:lnTo>
                  <a:pt x="527" y="233"/>
                </a:lnTo>
                <a:lnTo>
                  <a:pt x="531" y="236"/>
                </a:lnTo>
                <a:lnTo>
                  <a:pt x="534" y="236"/>
                </a:lnTo>
                <a:lnTo>
                  <a:pt x="538" y="240"/>
                </a:lnTo>
                <a:lnTo>
                  <a:pt x="541" y="240"/>
                </a:lnTo>
                <a:lnTo>
                  <a:pt x="545" y="240"/>
                </a:lnTo>
                <a:lnTo>
                  <a:pt x="552" y="243"/>
                </a:lnTo>
                <a:lnTo>
                  <a:pt x="555" y="240"/>
                </a:lnTo>
                <a:lnTo>
                  <a:pt x="559" y="240"/>
                </a:lnTo>
                <a:lnTo>
                  <a:pt x="562" y="240"/>
                </a:lnTo>
                <a:lnTo>
                  <a:pt x="562" y="236"/>
                </a:lnTo>
                <a:lnTo>
                  <a:pt x="566" y="233"/>
                </a:lnTo>
                <a:lnTo>
                  <a:pt x="566" y="229"/>
                </a:lnTo>
                <a:lnTo>
                  <a:pt x="573" y="226"/>
                </a:lnTo>
                <a:lnTo>
                  <a:pt x="576" y="222"/>
                </a:lnTo>
                <a:lnTo>
                  <a:pt x="580" y="222"/>
                </a:lnTo>
                <a:lnTo>
                  <a:pt x="580" y="219"/>
                </a:lnTo>
                <a:lnTo>
                  <a:pt x="583" y="219"/>
                </a:lnTo>
                <a:lnTo>
                  <a:pt x="587" y="215"/>
                </a:lnTo>
                <a:lnTo>
                  <a:pt x="590" y="215"/>
                </a:lnTo>
                <a:lnTo>
                  <a:pt x="593" y="215"/>
                </a:lnTo>
                <a:lnTo>
                  <a:pt x="597" y="215"/>
                </a:lnTo>
                <a:lnTo>
                  <a:pt x="600" y="212"/>
                </a:lnTo>
                <a:lnTo>
                  <a:pt x="604" y="212"/>
                </a:lnTo>
                <a:lnTo>
                  <a:pt x="607" y="208"/>
                </a:lnTo>
                <a:lnTo>
                  <a:pt x="611" y="208"/>
                </a:lnTo>
                <a:lnTo>
                  <a:pt x="611" y="205"/>
                </a:lnTo>
                <a:lnTo>
                  <a:pt x="611" y="201"/>
                </a:lnTo>
                <a:lnTo>
                  <a:pt x="611" y="198"/>
                </a:lnTo>
                <a:lnTo>
                  <a:pt x="611" y="194"/>
                </a:lnTo>
                <a:lnTo>
                  <a:pt x="611" y="191"/>
                </a:lnTo>
                <a:lnTo>
                  <a:pt x="614" y="191"/>
                </a:lnTo>
                <a:lnTo>
                  <a:pt x="618" y="191"/>
                </a:lnTo>
                <a:lnTo>
                  <a:pt x="621" y="191"/>
                </a:lnTo>
                <a:lnTo>
                  <a:pt x="625" y="188"/>
                </a:lnTo>
                <a:lnTo>
                  <a:pt x="628" y="188"/>
                </a:lnTo>
                <a:lnTo>
                  <a:pt x="632" y="188"/>
                </a:lnTo>
                <a:lnTo>
                  <a:pt x="632" y="191"/>
                </a:lnTo>
                <a:lnTo>
                  <a:pt x="635" y="191"/>
                </a:lnTo>
                <a:lnTo>
                  <a:pt x="639" y="191"/>
                </a:lnTo>
                <a:lnTo>
                  <a:pt x="642" y="191"/>
                </a:lnTo>
                <a:lnTo>
                  <a:pt x="646" y="191"/>
                </a:lnTo>
                <a:lnTo>
                  <a:pt x="649" y="188"/>
                </a:lnTo>
                <a:lnTo>
                  <a:pt x="649" y="184"/>
                </a:lnTo>
                <a:lnTo>
                  <a:pt x="652" y="181"/>
                </a:lnTo>
                <a:lnTo>
                  <a:pt x="652" y="177"/>
                </a:lnTo>
                <a:lnTo>
                  <a:pt x="656" y="177"/>
                </a:lnTo>
                <a:lnTo>
                  <a:pt x="659" y="177"/>
                </a:lnTo>
                <a:lnTo>
                  <a:pt x="659" y="174"/>
                </a:lnTo>
                <a:lnTo>
                  <a:pt x="663" y="174"/>
                </a:lnTo>
                <a:lnTo>
                  <a:pt x="666" y="174"/>
                </a:lnTo>
                <a:lnTo>
                  <a:pt x="666" y="170"/>
                </a:lnTo>
                <a:lnTo>
                  <a:pt x="670" y="167"/>
                </a:lnTo>
                <a:lnTo>
                  <a:pt x="673" y="163"/>
                </a:lnTo>
                <a:lnTo>
                  <a:pt x="677" y="160"/>
                </a:lnTo>
                <a:lnTo>
                  <a:pt x="680" y="160"/>
                </a:lnTo>
                <a:lnTo>
                  <a:pt x="684" y="160"/>
                </a:lnTo>
                <a:lnTo>
                  <a:pt x="687" y="160"/>
                </a:lnTo>
                <a:lnTo>
                  <a:pt x="687" y="163"/>
                </a:lnTo>
                <a:lnTo>
                  <a:pt x="691" y="163"/>
                </a:lnTo>
                <a:lnTo>
                  <a:pt x="694" y="163"/>
                </a:lnTo>
                <a:lnTo>
                  <a:pt x="701" y="156"/>
                </a:lnTo>
                <a:lnTo>
                  <a:pt x="705" y="156"/>
                </a:lnTo>
                <a:lnTo>
                  <a:pt x="708" y="146"/>
                </a:lnTo>
                <a:lnTo>
                  <a:pt x="705" y="135"/>
                </a:lnTo>
                <a:lnTo>
                  <a:pt x="705" y="132"/>
                </a:lnTo>
                <a:lnTo>
                  <a:pt x="708" y="132"/>
                </a:lnTo>
                <a:lnTo>
                  <a:pt x="712" y="125"/>
                </a:lnTo>
                <a:lnTo>
                  <a:pt x="715" y="125"/>
                </a:lnTo>
                <a:lnTo>
                  <a:pt x="718" y="122"/>
                </a:lnTo>
                <a:lnTo>
                  <a:pt x="722" y="122"/>
                </a:lnTo>
                <a:lnTo>
                  <a:pt x="729" y="118"/>
                </a:lnTo>
                <a:lnTo>
                  <a:pt x="736" y="122"/>
                </a:lnTo>
                <a:lnTo>
                  <a:pt x="739" y="122"/>
                </a:lnTo>
                <a:lnTo>
                  <a:pt x="743" y="122"/>
                </a:lnTo>
                <a:lnTo>
                  <a:pt x="753" y="118"/>
                </a:lnTo>
                <a:lnTo>
                  <a:pt x="757" y="115"/>
                </a:lnTo>
                <a:lnTo>
                  <a:pt x="760" y="115"/>
                </a:lnTo>
                <a:lnTo>
                  <a:pt x="760" y="111"/>
                </a:lnTo>
                <a:lnTo>
                  <a:pt x="764" y="108"/>
                </a:lnTo>
                <a:lnTo>
                  <a:pt x="771" y="108"/>
                </a:lnTo>
                <a:lnTo>
                  <a:pt x="774" y="108"/>
                </a:lnTo>
                <a:lnTo>
                  <a:pt x="777" y="108"/>
                </a:lnTo>
                <a:lnTo>
                  <a:pt x="781" y="108"/>
                </a:lnTo>
                <a:lnTo>
                  <a:pt x="784" y="108"/>
                </a:lnTo>
                <a:lnTo>
                  <a:pt x="784" y="111"/>
                </a:lnTo>
                <a:lnTo>
                  <a:pt x="788" y="111"/>
                </a:lnTo>
                <a:lnTo>
                  <a:pt x="788" y="108"/>
                </a:lnTo>
                <a:lnTo>
                  <a:pt x="791" y="108"/>
                </a:lnTo>
                <a:lnTo>
                  <a:pt x="795" y="111"/>
                </a:lnTo>
                <a:lnTo>
                  <a:pt x="798" y="111"/>
                </a:lnTo>
                <a:lnTo>
                  <a:pt x="798" y="108"/>
                </a:lnTo>
                <a:lnTo>
                  <a:pt x="798" y="104"/>
                </a:lnTo>
                <a:lnTo>
                  <a:pt x="798" y="101"/>
                </a:lnTo>
                <a:lnTo>
                  <a:pt x="802" y="97"/>
                </a:lnTo>
                <a:lnTo>
                  <a:pt x="805" y="97"/>
                </a:lnTo>
                <a:lnTo>
                  <a:pt x="812" y="94"/>
                </a:lnTo>
                <a:lnTo>
                  <a:pt x="823" y="83"/>
                </a:lnTo>
                <a:lnTo>
                  <a:pt x="823" y="80"/>
                </a:lnTo>
                <a:lnTo>
                  <a:pt x="826" y="76"/>
                </a:lnTo>
                <a:lnTo>
                  <a:pt x="830" y="69"/>
                </a:lnTo>
                <a:lnTo>
                  <a:pt x="833" y="69"/>
                </a:lnTo>
                <a:lnTo>
                  <a:pt x="836" y="69"/>
                </a:lnTo>
                <a:lnTo>
                  <a:pt x="836" y="73"/>
                </a:lnTo>
                <a:lnTo>
                  <a:pt x="840" y="73"/>
                </a:lnTo>
                <a:lnTo>
                  <a:pt x="847" y="73"/>
                </a:lnTo>
                <a:lnTo>
                  <a:pt x="850" y="76"/>
                </a:lnTo>
                <a:lnTo>
                  <a:pt x="854" y="80"/>
                </a:lnTo>
                <a:lnTo>
                  <a:pt x="857" y="83"/>
                </a:lnTo>
                <a:lnTo>
                  <a:pt x="861" y="83"/>
                </a:lnTo>
                <a:lnTo>
                  <a:pt x="861" y="87"/>
                </a:lnTo>
                <a:lnTo>
                  <a:pt x="864" y="87"/>
                </a:lnTo>
                <a:lnTo>
                  <a:pt x="861" y="90"/>
                </a:lnTo>
                <a:lnTo>
                  <a:pt x="864" y="94"/>
                </a:lnTo>
                <a:lnTo>
                  <a:pt x="868" y="94"/>
                </a:lnTo>
                <a:lnTo>
                  <a:pt x="868" y="97"/>
                </a:lnTo>
                <a:lnTo>
                  <a:pt x="871" y="97"/>
                </a:lnTo>
                <a:lnTo>
                  <a:pt x="871" y="101"/>
                </a:lnTo>
                <a:lnTo>
                  <a:pt x="875" y="101"/>
                </a:lnTo>
                <a:lnTo>
                  <a:pt x="878" y="101"/>
                </a:lnTo>
                <a:lnTo>
                  <a:pt x="878" y="104"/>
                </a:lnTo>
                <a:lnTo>
                  <a:pt x="882" y="104"/>
                </a:lnTo>
                <a:lnTo>
                  <a:pt x="882" y="108"/>
                </a:lnTo>
                <a:lnTo>
                  <a:pt x="885" y="111"/>
                </a:lnTo>
                <a:lnTo>
                  <a:pt x="892" y="108"/>
                </a:lnTo>
                <a:lnTo>
                  <a:pt x="899" y="104"/>
                </a:lnTo>
                <a:lnTo>
                  <a:pt x="906" y="101"/>
                </a:lnTo>
                <a:lnTo>
                  <a:pt x="909" y="97"/>
                </a:lnTo>
                <a:lnTo>
                  <a:pt x="913" y="97"/>
                </a:lnTo>
                <a:lnTo>
                  <a:pt x="916" y="101"/>
                </a:lnTo>
                <a:lnTo>
                  <a:pt x="916" y="97"/>
                </a:lnTo>
                <a:lnTo>
                  <a:pt x="916" y="94"/>
                </a:lnTo>
                <a:lnTo>
                  <a:pt x="920" y="94"/>
                </a:lnTo>
                <a:lnTo>
                  <a:pt x="923" y="90"/>
                </a:lnTo>
                <a:lnTo>
                  <a:pt x="927" y="90"/>
                </a:lnTo>
                <a:lnTo>
                  <a:pt x="930" y="90"/>
                </a:lnTo>
                <a:lnTo>
                  <a:pt x="934" y="90"/>
                </a:lnTo>
                <a:lnTo>
                  <a:pt x="934" y="94"/>
                </a:lnTo>
                <a:lnTo>
                  <a:pt x="934" y="97"/>
                </a:lnTo>
                <a:lnTo>
                  <a:pt x="937" y="104"/>
                </a:lnTo>
                <a:lnTo>
                  <a:pt x="941" y="101"/>
                </a:lnTo>
                <a:lnTo>
                  <a:pt x="944" y="97"/>
                </a:lnTo>
                <a:lnTo>
                  <a:pt x="948" y="97"/>
                </a:lnTo>
                <a:lnTo>
                  <a:pt x="951" y="94"/>
                </a:lnTo>
                <a:lnTo>
                  <a:pt x="955" y="94"/>
                </a:lnTo>
                <a:lnTo>
                  <a:pt x="955" y="97"/>
                </a:lnTo>
                <a:lnTo>
                  <a:pt x="958" y="97"/>
                </a:lnTo>
                <a:lnTo>
                  <a:pt x="958" y="101"/>
                </a:lnTo>
                <a:lnTo>
                  <a:pt x="961" y="104"/>
                </a:lnTo>
                <a:lnTo>
                  <a:pt x="965" y="108"/>
                </a:lnTo>
                <a:lnTo>
                  <a:pt x="965" y="111"/>
                </a:lnTo>
                <a:lnTo>
                  <a:pt x="965" y="115"/>
                </a:lnTo>
                <a:lnTo>
                  <a:pt x="965" y="118"/>
                </a:lnTo>
                <a:lnTo>
                  <a:pt x="965" y="122"/>
                </a:lnTo>
                <a:lnTo>
                  <a:pt x="968" y="125"/>
                </a:lnTo>
                <a:lnTo>
                  <a:pt x="972" y="125"/>
                </a:lnTo>
                <a:lnTo>
                  <a:pt x="975" y="125"/>
                </a:lnTo>
                <a:lnTo>
                  <a:pt x="979" y="125"/>
                </a:lnTo>
                <a:lnTo>
                  <a:pt x="982" y="128"/>
                </a:lnTo>
                <a:lnTo>
                  <a:pt x="986" y="128"/>
                </a:lnTo>
                <a:lnTo>
                  <a:pt x="989" y="128"/>
                </a:lnTo>
                <a:lnTo>
                  <a:pt x="993" y="128"/>
                </a:lnTo>
                <a:lnTo>
                  <a:pt x="996" y="128"/>
                </a:lnTo>
                <a:lnTo>
                  <a:pt x="1003" y="128"/>
                </a:lnTo>
                <a:lnTo>
                  <a:pt x="1003" y="125"/>
                </a:lnTo>
                <a:lnTo>
                  <a:pt x="1003" y="122"/>
                </a:lnTo>
                <a:lnTo>
                  <a:pt x="1007" y="122"/>
                </a:lnTo>
                <a:lnTo>
                  <a:pt x="1007" y="118"/>
                </a:lnTo>
                <a:lnTo>
                  <a:pt x="1010" y="115"/>
                </a:lnTo>
                <a:lnTo>
                  <a:pt x="1014" y="115"/>
                </a:lnTo>
                <a:lnTo>
                  <a:pt x="1014" y="111"/>
                </a:lnTo>
                <a:lnTo>
                  <a:pt x="1021" y="104"/>
                </a:lnTo>
                <a:lnTo>
                  <a:pt x="1024" y="101"/>
                </a:lnTo>
                <a:lnTo>
                  <a:pt x="1027" y="101"/>
                </a:lnTo>
                <a:lnTo>
                  <a:pt x="1031" y="97"/>
                </a:lnTo>
                <a:lnTo>
                  <a:pt x="1034" y="94"/>
                </a:lnTo>
                <a:lnTo>
                  <a:pt x="1034" y="90"/>
                </a:lnTo>
                <a:lnTo>
                  <a:pt x="1038" y="94"/>
                </a:lnTo>
                <a:lnTo>
                  <a:pt x="1045" y="94"/>
                </a:lnTo>
                <a:lnTo>
                  <a:pt x="1045" y="97"/>
                </a:lnTo>
                <a:lnTo>
                  <a:pt x="1048" y="94"/>
                </a:lnTo>
                <a:lnTo>
                  <a:pt x="1052" y="94"/>
                </a:lnTo>
                <a:lnTo>
                  <a:pt x="1055" y="94"/>
                </a:lnTo>
                <a:lnTo>
                  <a:pt x="1059" y="94"/>
                </a:lnTo>
                <a:lnTo>
                  <a:pt x="1062" y="90"/>
                </a:lnTo>
                <a:lnTo>
                  <a:pt x="1066" y="90"/>
                </a:lnTo>
                <a:lnTo>
                  <a:pt x="1073" y="87"/>
                </a:lnTo>
                <a:lnTo>
                  <a:pt x="1076" y="83"/>
                </a:lnTo>
                <a:lnTo>
                  <a:pt x="1080" y="83"/>
                </a:lnTo>
                <a:lnTo>
                  <a:pt x="1083" y="83"/>
                </a:lnTo>
                <a:lnTo>
                  <a:pt x="1086" y="87"/>
                </a:lnTo>
                <a:lnTo>
                  <a:pt x="1090" y="87"/>
                </a:lnTo>
                <a:lnTo>
                  <a:pt x="1090" y="90"/>
                </a:lnTo>
                <a:lnTo>
                  <a:pt x="1093" y="90"/>
                </a:lnTo>
                <a:lnTo>
                  <a:pt x="1093" y="94"/>
                </a:lnTo>
                <a:lnTo>
                  <a:pt x="1097" y="94"/>
                </a:lnTo>
                <a:lnTo>
                  <a:pt x="1100" y="94"/>
                </a:lnTo>
                <a:lnTo>
                  <a:pt x="1107" y="97"/>
                </a:lnTo>
                <a:lnTo>
                  <a:pt x="1107" y="94"/>
                </a:lnTo>
                <a:lnTo>
                  <a:pt x="1114" y="94"/>
                </a:lnTo>
                <a:lnTo>
                  <a:pt x="1121" y="94"/>
                </a:lnTo>
                <a:lnTo>
                  <a:pt x="1128" y="94"/>
                </a:lnTo>
                <a:lnTo>
                  <a:pt x="1132" y="90"/>
                </a:lnTo>
                <a:lnTo>
                  <a:pt x="1146" y="87"/>
                </a:lnTo>
                <a:lnTo>
                  <a:pt x="1152" y="87"/>
                </a:lnTo>
                <a:lnTo>
                  <a:pt x="1152" y="83"/>
                </a:lnTo>
                <a:lnTo>
                  <a:pt x="1156" y="73"/>
                </a:lnTo>
                <a:lnTo>
                  <a:pt x="1159" y="73"/>
                </a:lnTo>
                <a:lnTo>
                  <a:pt x="1163" y="76"/>
                </a:lnTo>
                <a:lnTo>
                  <a:pt x="1166" y="76"/>
                </a:lnTo>
                <a:lnTo>
                  <a:pt x="1170" y="76"/>
                </a:lnTo>
                <a:lnTo>
                  <a:pt x="1173" y="76"/>
                </a:lnTo>
                <a:lnTo>
                  <a:pt x="1177" y="80"/>
                </a:lnTo>
                <a:lnTo>
                  <a:pt x="1180" y="80"/>
                </a:lnTo>
                <a:lnTo>
                  <a:pt x="1191" y="76"/>
                </a:lnTo>
                <a:lnTo>
                  <a:pt x="1198" y="76"/>
                </a:lnTo>
                <a:lnTo>
                  <a:pt x="1198" y="80"/>
                </a:lnTo>
                <a:lnTo>
                  <a:pt x="1201" y="80"/>
                </a:lnTo>
                <a:lnTo>
                  <a:pt x="1205" y="80"/>
                </a:lnTo>
                <a:lnTo>
                  <a:pt x="1205" y="76"/>
                </a:lnTo>
                <a:lnTo>
                  <a:pt x="1208" y="76"/>
                </a:lnTo>
                <a:lnTo>
                  <a:pt x="1211" y="69"/>
                </a:lnTo>
                <a:lnTo>
                  <a:pt x="1208" y="66"/>
                </a:lnTo>
                <a:lnTo>
                  <a:pt x="1211" y="66"/>
                </a:lnTo>
                <a:lnTo>
                  <a:pt x="1208" y="62"/>
                </a:lnTo>
                <a:lnTo>
                  <a:pt x="1205" y="62"/>
                </a:lnTo>
                <a:lnTo>
                  <a:pt x="1205" y="59"/>
                </a:lnTo>
                <a:lnTo>
                  <a:pt x="1208" y="56"/>
                </a:lnTo>
                <a:lnTo>
                  <a:pt x="1208" y="49"/>
                </a:lnTo>
                <a:lnTo>
                  <a:pt x="1208" y="45"/>
                </a:lnTo>
                <a:lnTo>
                  <a:pt x="1211" y="42"/>
                </a:lnTo>
                <a:lnTo>
                  <a:pt x="1215" y="42"/>
                </a:lnTo>
                <a:lnTo>
                  <a:pt x="1215" y="38"/>
                </a:lnTo>
                <a:lnTo>
                  <a:pt x="1215" y="35"/>
                </a:lnTo>
                <a:lnTo>
                  <a:pt x="1218" y="35"/>
                </a:lnTo>
                <a:lnTo>
                  <a:pt x="1225" y="31"/>
                </a:lnTo>
                <a:lnTo>
                  <a:pt x="1229" y="31"/>
                </a:lnTo>
                <a:lnTo>
                  <a:pt x="1232" y="31"/>
                </a:lnTo>
                <a:lnTo>
                  <a:pt x="1232" y="35"/>
                </a:lnTo>
                <a:lnTo>
                  <a:pt x="1236" y="35"/>
                </a:lnTo>
                <a:lnTo>
                  <a:pt x="1239" y="35"/>
                </a:lnTo>
                <a:lnTo>
                  <a:pt x="1239" y="38"/>
                </a:lnTo>
                <a:lnTo>
                  <a:pt x="1243" y="38"/>
                </a:lnTo>
                <a:lnTo>
                  <a:pt x="1246" y="38"/>
                </a:lnTo>
                <a:lnTo>
                  <a:pt x="1250" y="38"/>
                </a:lnTo>
                <a:lnTo>
                  <a:pt x="1264" y="38"/>
                </a:lnTo>
                <a:lnTo>
                  <a:pt x="1264" y="42"/>
                </a:lnTo>
                <a:lnTo>
                  <a:pt x="1267" y="42"/>
                </a:lnTo>
                <a:lnTo>
                  <a:pt x="1267" y="38"/>
                </a:lnTo>
                <a:lnTo>
                  <a:pt x="1271" y="38"/>
                </a:lnTo>
                <a:lnTo>
                  <a:pt x="1271" y="35"/>
                </a:lnTo>
                <a:lnTo>
                  <a:pt x="1271" y="31"/>
                </a:lnTo>
                <a:lnTo>
                  <a:pt x="1274" y="31"/>
                </a:lnTo>
                <a:lnTo>
                  <a:pt x="1274" y="28"/>
                </a:lnTo>
                <a:lnTo>
                  <a:pt x="1274" y="24"/>
                </a:lnTo>
                <a:lnTo>
                  <a:pt x="1274" y="21"/>
                </a:lnTo>
                <a:lnTo>
                  <a:pt x="1271" y="21"/>
                </a:lnTo>
                <a:lnTo>
                  <a:pt x="1274" y="17"/>
                </a:lnTo>
                <a:lnTo>
                  <a:pt x="1274" y="14"/>
                </a:lnTo>
                <a:lnTo>
                  <a:pt x="1274" y="10"/>
                </a:lnTo>
                <a:lnTo>
                  <a:pt x="1277" y="7"/>
                </a:lnTo>
                <a:lnTo>
                  <a:pt x="1281" y="10"/>
                </a:lnTo>
                <a:lnTo>
                  <a:pt x="1284" y="7"/>
                </a:lnTo>
                <a:lnTo>
                  <a:pt x="1288" y="7"/>
                </a:lnTo>
                <a:lnTo>
                  <a:pt x="1291" y="7"/>
                </a:lnTo>
                <a:lnTo>
                  <a:pt x="1295" y="7"/>
                </a:lnTo>
                <a:lnTo>
                  <a:pt x="1298" y="0"/>
                </a:lnTo>
                <a:lnTo>
                  <a:pt x="1302" y="0"/>
                </a:lnTo>
                <a:lnTo>
                  <a:pt x="1305" y="0"/>
                </a:lnTo>
                <a:lnTo>
                  <a:pt x="1309" y="3"/>
                </a:lnTo>
                <a:lnTo>
                  <a:pt x="1312" y="0"/>
                </a:lnTo>
                <a:lnTo>
                  <a:pt x="1316" y="0"/>
                </a:lnTo>
                <a:lnTo>
                  <a:pt x="1319" y="3"/>
                </a:lnTo>
                <a:lnTo>
                  <a:pt x="1330" y="3"/>
                </a:lnTo>
                <a:lnTo>
                  <a:pt x="1333" y="3"/>
                </a:lnTo>
                <a:lnTo>
                  <a:pt x="1336" y="7"/>
                </a:lnTo>
                <a:lnTo>
                  <a:pt x="1343" y="14"/>
                </a:lnTo>
                <a:lnTo>
                  <a:pt x="1343" y="17"/>
                </a:lnTo>
                <a:lnTo>
                  <a:pt x="1347" y="14"/>
                </a:lnTo>
                <a:lnTo>
                  <a:pt x="1350" y="14"/>
                </a:lnTo>
                <a:lnTo>
                  <a:pt x="1354" y="17"/>
                </a:lnTo>
                <a:lnTo>
                  <a:pt x="1354" y="21"/>
                </a:lnTo>
                <a:lnTo>
                  <a:pt x="1354" y="24"/>
                </a:lnTo>
                <a:lnTo>
                  <a:pt x="1354" y="28"/>
                </a:lnTo>
                <a:lnTo>
                  <a:pt x="1350" y="31"/>
                </a:lnTo>
                <a:lnTo>
                  <a:pt x="1354" y="38"/>
                </a:lnTo>
                <a:lnTo>
                  <a:pt x="1357" y="45"/>
                </a:lnTo>
                <a:lnTo>
                  <a:pt x="1361" y="45"/>
                </a:lnTo>
                <a:lnTo>
                  <a:pt x="1364" y="45"/>
                </a:lnTo>
                <a:lnTo>
                  <a:pt x="1371" y="42"/>
                </a:lnTo>
                <a:lnTo>
                  <a:pt x="1375" y="38"/>
                </a:lnTo>
                <a:lnTo>
                  <a:pt x="1378" y="42"/>
                </a:lnTo>
                <a:lnTo>
                  <a:pt x="1378" y="45"/>
                </a:lnTo>
                <a:lnTo>
                  <a:pt x="1382" y="49"/>
                </a:lnTo>
                <a:lnTo>
                  <a:pt x="1382" y="52"/>
                </a:lnTo>
                <a:lnTo>
                  <a:pt x="1385" y="56"/>
                </a:lnTo>
                <a:lnTo>
                  <a:pt x="1385" y="59"/>
                </a:lnTo>
                <a:lnTo>
                  <a:pt x="1389" y="59"/>
                </a:lnTo>
                <a:lnTo>
                  <a:pt x="1395" y="62"/>
                </a:lnTo>
                <a:lnTo>
                  <a:pt x="1402" y="62"/>
                </a:lnTo>
                <a:lnTo>
                  <a:pt x="1406" y="62"/>
                </a:lnTo>
                <a:lnTo>
                  <a:pt x="1409" y="62"/>
                </a:lnTo>
                <a:lnTo>
                  <a:pt x="1413" y="62"/>
                </a:lnTo>
                <a:lnTo>
                  <a:pt x="1416" y="62"/>
                </a:lnTo>
                <a:lnTo>
                  <a:pt x="1416" y="66"/>
                </a:lnTo>
                <a:lnTo>
                  <a:pt x="1420" y="62"/>
                </a:lnTo>
                <a:lnTo>
                  <a:pt x="1423" y="66"/>
                </a:lnTo>
                <a:lnTo>
                  <a:pt x="1427" y="66"/>
                </a:lnTo>
                <a:lnTo>
                  <a:pt x="1434" y="69"/>
                </a:lnTo>
                <a:lnTo>
                  <a:pt x="1437" y="69"/>
                </a:lnTo>
                <a:lnTo>
                  <a:pt x="1437" y="73"/>
                </a:lnTo>
                <a:lnTo>
                  <a:pt x="1434" y="76"/>
                </a:lnTo>
                <a:lnTo>
                  <a:pt x="1437" y="76"/>
                </a:lnTo>
                <a:lnTo>
                  <a:pt x="1434" y="76"/>
                </a:lnTo>
                <a:lnTo>
                  <a:pt x="1434" y="80"/>
                </a:lnTo>
                <a:lnTo>
                  <a:pt x="1430" y="80"/>
                </a:lnTo>
                <a:lnTo>
                  <a:pt x="1430" y="83"/>
                </a:lnTo>
                <a:lnTo>
                  <a:pt x="1434" y="87"/>
                </a:lnTo>
                <a:lnTo>
                  <a:pt x="1437" y="90"/>
                </a:lnTo>
                <a:lnTo>
                  <a:pt x="1437" y="87"/>
                </a:lnTo>
                <a:lnTo>
                  <a:pt x="1444" y="90"/>
                </a:lnTo>
                <a:lnTo>
                  <a:pt x="1451" y="87"/>
                </a:lnTo>
                <a:lnTo>
                  <a:pt x="1461" y="87"/>
                </a:lnTo>
                <a:lnTo>
                  <a:pt x="1461" y="90"/>
                </a:lnTo>
                <a:lnTo>
                  <a:pt x="1468" y="90"/>
                </a:lnTo>
                <a:lnTo>
                  <a:pt x="1472" y="87"/>
                </a:lnTo>
                <a:lnTo>
                  <a:pt x="1475" y="87"/>
                </a:lnTo>
                <a:lnTo>
                  <a:pt x="1486" y="87"/>
                </a:lnTo>
                <a:lnTo>
                  <a:pt x="1489" y="87"/>
                </a:lnTo>
                <a:lnTo>
                  <a:pt x="1493" y="83"/>
                </a:lnTo>
                <a:lnTo>
                  <a:pt x="1500" y="83"/>
                </a:lnTo>
                <a:lnTo>
                  <a:pt x="1503" y="83"/>
                </a:lnTo>
                <a:lnTo>
                  <a:pt x="1507" y="83"/>
                </a:lnTo>
                <a:lnTo>
                  <a:pt x="1507" y="87"/>
                </a:lnTo>
                <a:lnTo>
                  <a:pt x="1510" y="90"/>
                </a:lnTo>
                <a:lnTo>
                  <a:pt x="1510" y="97"/>
                </a:lnTo>
                <a:lnTo>
                  <a:pt x="1517" y="108"/>
                </a:lnTo>
                <a:lnTo>
                  <a:pt x="1517" y="111"/>
                </a:lnTo>
                <a:lnTo>
                  <a:pt x="1520" y="115"/>
                </a:lnTo>
                <a:lnTo>
                  <a:pt x="1520" y="118"/>
                </a:lnTo>
                <a:lnTo>
                  <a:pt x="1520" y="122"/>
                </a:lnTo>
                <a:lnTo>
                  <a:pt x="1524" y="122"/>
                </a:lnTo>
                <a:lnTo>
                  <a:pt x="1527" y="122"/>
                </a:lnTo>
                <a:lnTo>
                  <a:pt x="1531" y="122"/>
                </a:lnTo>
                <a:lnTo>
                  <a:pt x="1534" y="122"/>
                </a:lnTo>
                <a:lnTo>
                  <a:pt x="1538" y="122"/>
                </a:lnTo>
                <a:lnTo>
                  <a:pt x="1541" y="125"/>
                </a:lnTo>
                <a:lnTo>
                  <a:pt x="1548" y="128"/>
                </a:lnTo>
                <a:lnTo>
                  <a:pt x="1548" y="132"/>
                </a:lnTo>
                <a:lnTo>
                  <a:pt x="1552" y="135"/>
                </a:lnTo>
                <a:lnTo>
                  <a:pt x="1552" y="139"/>
                </a:lnTo>
                <a:lnTo>
                  <a:pt x="1555" y="139"/>
                </a:lnTo>
                <a:lnTo>
                  <a:pt x="1559" y="135"/>
                </a:lnTo>
                <a:lnTo>
                  <a:pt x="1562" y="135"/>
                </a:lnTo>
                <a:lnTo>
                  <a:pt x="1562" y="132"/>
                </a:lnTo>
                <a:lnTo>
                  <a:pt x="1566" y="132"/>
                </a:lnTo>
                <a:lnTo>
                  <a:pt x="1566" y="128"/>
                </a:lnTo>
                <a:lnTo>
                  <a:pt x="1566" y="125"/>
                </a:lnTo>
                <a:lnTo>
                  <a:pt x="1569" y="125"/>
                </a:lnTo>
                <a:lnTo>
                  <a:pt x="1573" y="125"/>
                </a:lnTo>
                <a:lnTo>
                  <a:pt x="1580" y="125"/>
                </a:lnTo>
                <a:lnTo>
                  <a:pt x="1583" y="128"/>
                </a:lnTo>
                <a:lnTo>
                  <a:pt x="1580" y="142"/>
                </a:lnTo>
                <a:lnTo>
                  <a:pt x="1580" y="146"/>
                </a:lnTo>
                <a:lnTo>
                  <a:pt x="1583" y="146"/>
                </a:lnTo>
                <a:lnTo>
                  <a:pt x="1583" y="149"/>
                </a:lnTo>
                <a:lnTo>
                  <a:pt x="1583" y="153"/>
                </a:lnTo>
                <a:lnTo>
                  <a:pt x="1583" y="156"/>
                </a:lnTo>
                <a:lnTo>
                  <a:pt x="1583" y="160"/>
                </a:lnTo>
                <a:lnTo>
                  <a:pt x="1586" y="163"/>
                </a:lnTo>
                <a:lnTo>
                  <a:pt x="1586" y="167"/>
                </a:lnTo>
                <a:lnTo>
                  <a:pt x="1586" y="170"/>
                </a:lnTo>
                <a:lnTo>
                  <a:pt x="1586" y="174"/>
                </a:lnTo>
                <a:lnTo>
                  <a:pt x="1590" y="174"/>
                </a:lnTo>
                <a:lnTo>
                  <a:pt x="1590" y="177"/>
                </a:lnTo>
                <a:lnTo>
                  <a:pt x="1590" y="184"/>
                </a:lnTo>
                <a:lnTo>
                  <a:pt x="1590" y="188"/>
                </a:lnTo>
                <a:lnTo>
                  <a:pt x="1590" y="191"/>
                </a:lnTo>
                <a:lnTo>
                  <a:pt x="1586" y="194"/>
                </a:lnTo>
                <a:lnTo>
                  <a:pt x="1586" y="198"/>
                </a:lnTo>
                <a:lnTo>
                  <a:pt x="1590" y="198"/>
                </a:lnTo>
                <a:lnTo>
                  <a:pt x="1593" y="198"/>
                </a:lnTo>
                <a:lnTo>
                  <a:pt x="1600" y="201"/>
                </a:lnTo>
                <a:lnTo>
                  <a:pt x="1604" y="205"/>
                </a:lnTo>
                <a:lnTo>
                  <a:pt x="1600" y="208"/>
                </a:lnTo>
                <a:lnTo>
                  <a:pt x="1600" y="212"/>
                </a:lnTo>
                <a:lnTo>
                  <a:pt x="1604" y="212"/>
                </a:lnTo>
                <a:lnTo>
                  <a:pt x="1604" y="215"/>
                </a:lnTo>
                <a:lnTo>
                  <a:pt x="1607" y="212"/>
                </a:lnTo>
                <a:lnTo>
                  <a:pt x="1614" y="212"/>
                </a:lnTo>
                <a:lnTo>
                  <a:pt x="1621" y="205"/>
                </a:lnTo>
                <a:lnTo>
                  <a:pt x="1628" y="201"/>
                </a:lnTo>
                <a:lnTo>
                  <a:pt x="1628" y="205"/>
                </a:lnTo>
                <a:lnTo>
                  <a:pt x="1632" y="205"/>
                </a:lnTo>
                <a:lnTo>
                  <a:pt x="1635" y="205"/>
                </a:lnTo>
                <a:lnTo>
                  <a:pt x="1639" y="208"/>
                </a:lnTo>
                <a:lnTo>
                  <a:pt x="1649" y="212"/>
                </a:lnTo>
                <a:lnTo>
                  <a:pt x="1649" y="208"/>
                </a:lnTo>
                <a:lnTo>
                  <a:pt x="1652" y="208"/>
                </a:lnTo>
                <a:lnTo>
                  <a:pt x="1656" y="208"/>
                </a:lnTo>
                <a:lnTo>
                  <a:pt x="1659" y="208"/>
                </a:lnTo>
                <a:lnTo>
                  <a:pt x="1663" y="208"/>
                </a:lnTo>
                <a:lnTo>
                  <a:pt x="1663" y="212"/>
                </a:lnTo>
                <a:lnTo>
                  <a:pt x="1666" y="212"/>
                </a:lnTo>
                <a:lnTo>
                  <a:pt x="1666" y="215"/>
                </a:lnTo>
                <a:lnTo>
                  <a:pt x="1666" y="219"/>
                </a:lnTo>
                <a:lnTo>
                  <a:pt x="1666" y="222"/>
                </a:lnTo>
                <a:lnTo>
                  <a:pt x="1666" y="226"/>
                </a:lnTo>
                <a:lnTo>
                  <a:pt x="1673" y="229"/>
                </a:lnTo>
                <a:lnTo>
                  <a:pt x="1677" y="229"/>
                </a:lnTo>
                <a:lnTo>
                  <a:pt x="1680" y="229"/>
                </a:lnTo>
                <a:lnTo>
                  <a:pt x="1684" y="226"/>
                </a:lnTo>
                <a:lnTo>
                  <a:pt x="1687" y="226"/>
                </a:lnTo>
                <a:lnTo>
                  <a:pt x="1687" y="229"/>
                </a:lnTo>
                <a:lnTo>
                  <a:pt x="1687" y="233"/>
                </a:lnTo>
                <a:lnTo>
                  <a:pt x="1691" y="233"/>
                </a:lnTo>
                <a:lnTo>
                  <a:pt x="1687" y="233"/>
                </a:lnTo>
                <a:lnTo>
                  <a:pt x="1684" y="247"/>
                </a:lnTo>
                <a:lnTo>
                  <a:pt x="1677" y="253"/>
                </a:lnTo>
                <a:lnTo>
                  <a:pt x="1680" y="260"/>
                </a:lnTo>
                <a:lnTo>
                  <a:pt x="1677" y="260"/>
                </a:lnTo>
                <a:lnTo>
                  <a:pt x="1677" y="264"/>
                </a:lnTo>
                <a:lnTo>
                  <a:pt x="1677" y="274"/>
                </a:lnTo>
                <a:lnTo>
                  <a:pt x="1677" y="281"/>
                </a:lnTo>
                <a:lnTo>
                  <a:pt x="1677" y="285"/>
                </a:lnTo>
                <a:lnTo>
                  <a:pt x="1680" y="285"/>
                </a:lnTo>
                <a:lnTo>
                  <a:pt x="1687" y="285"/>
                </a:lnTo>
                <a:lnTo>
                  <a:pt x="1691" y="285"/>
                </a:lnTo>
                <a:lnTo>
                  <a:pt x="1694" y="278"/>
                </a:lnTo>
                <a:lnTo>
                  <a:pt x="1698" y="278"/>
                </a:lnTo>
                <a:lnTo>
                  <a:pt x="1708" y="278"/>
                </a:lnTo>
                <a:lnTo>
                  <a:pt x="1711" y="285"/>
                </a:lnTo>
                <a:lnTo>
                  <a:pt x="1718" y="288"/>
                </a:lnTo>
                <a:lnTo>
                  <a:pt x="1722" y="292"/>
                </a:lnTo>
                <a:lnTo>
                  <a:pt x="1722" y="295"/>
                </a:lnTo>
                <a:lnTo>
                  <a:pt x="1718" y="299"/>
                </a:lnTo>
                <a:lnTo>
                  <a:pt x="1718" y="306"/>
                </a:lnTo>
                <a:lnTo>
                  <a:pt x="1718" y="309"/>
                </a:lnTo>
                <a:lnTo>
                  <a:pt x="1725" y="316"/>
                </a:lnTo>
                <a:lnTo>
                  <a:pt x="1725" y="319"/>
                </a:lnTo>
                <a:lnTo>
                  <a:pt x="1725" y="326"/>
                </a:lnTo>
                <a:lnTo>
                  <a:pt x="1729" y="326"/>
                </a:lnTo>
                <a:lnTo>
                  <a:pt x="1732" y="326"/>
                </a:lnTo>
                <a:lnTo>
                  <a:pt x="1746" y="330"/>
                </a:lnTo>
                <a:lnTo>
                  <a:pt x="1753" y="337"/>
                </a:lnTo>
                <a:lnTo>
                  <a:pt x="1760" y="337"/>
                </a:lnTo>
                <a:lnTo>
                  <a:pt x="1764" y="337"/>
                </a:lnTo>
                <a:lnTo>
                  <a:pt x="1770" y="337"/>
                </a:lnTo>
                <a:lnTo>
                  <a:pt x="1774" y="337"/>
                </a:lnTo>
                <a:lnTo>
                  <a:pt x="1777" y="337"/>
                </a:lnTo>
                <a:lnTo>
                  <a:pt x="1781" y="340"/>
                </a:lnTo>
                <a:lnTo>
                  <a:pt x="1791" y="340"/>
                </a:lnTo>
                <a:lnTo>
                  <a:pt x="1795" y="337"/>
                </a:lnTo>
                <a:lnTo>
                  <a:pt x="1802" y="340"/>
                </a:lnTo>
                <a:lnTo>
                  <a:pt x="1809" y="344"/>
                </a:lnTo>
                <a:lnTo>
                  <a:pt x="1812" y="347"/>
                </a:lnTo>
                <a:lnTo>
                  <a:pt x="1812" y="351"/>
                </a:lnTo>
                <a:lnTo>
                  <a:pt x="1816" y="354"/>
                </a:lnTo>
                <a:lnTo>
                  <a:pt x="1819" y="354"/>
                </a:lnTo>
                <a:lnTo>
                  <a:pt x="1819" y="358"/>
                </a:lnTo>
                <a:lnTo>
                  <a:pt x="1819" y="361"/>
                </a:lnTo>
                <a:lnTo>
                  <a:pt x="1823" y="361"/>
                </a:lnTo>
                <a:lnTo>
                  <a:pt x="1826" y="368"/>
                </a:lnTo>
                <a:lnTo>
                  <a:pt x="1830" y="372"/>
                </a:lnTo>
                <a:lnTo>
                  <a:pt x="1833" y="372"/>
                </a:lnTo>
                <a:lnTo>
                  <a:pt x="1833" y="375"/>
                </a:lnTo>
                <a:lnTo>
                  <a:pt x="1836" y="372"/>
                </a:lnTo>
                <a:lnTo>
                  <a:pt x="1836" y="368"/>
                </a:lnTo>
                <a:lnTo>
                  <a:pt x="1836" y="365"/>
                </a:lnTo>
                <a:lnTo>
                  <a:pt x="1836" y="361"/>
                </a:lnTo>
                <a:lnTo>
                  <a:pt x="1836" y="358"/>
                </a:lnTo>
                <a:lnTo>
                  <a:pt x="1840" y="354"/>
                </a:lnTo>
                <a:lnTo>
                  <a:pt x="1843" y="354"/>
                </a:lnTo>
                <a:lnTo>
                  <a:pt x="1847" y="358"/>
                </a:lnTo>
                <a:lnTo>
                  <a:pt x="1850" y="358"/>
                </a:lnTo>
                <a:lnTo>
                  <a:pt x="1850" y="354"/>
                </a:lnTo>
                <a:lnTo>
                  <a:pt x="1850" y="351"/>
                </a:lnTo>
                <a:lnTo>
                  <a:pt x="1854" y="351"/>
                </a:lnTo>
                <a:lnTo>
                  <a:pt x="1857" y="347"/>
                </a:lnTo>
                <a:lnTo>
                  <a:pt x="1861" y="344"/>
                </a:lnTo>
                <a:lnTo>
                  <a:pt x="1861" y="340"/>
                </a:lnTo>
                <a:lnTo>
                  <a:pt x="1857" y="340"/>
                </a:lnTo>
                <a:lnTo>
                  <a:pt x="1861" y="337"/>
                </a:lnTo>
                <a:lnTo>
                  <a:pt x="1861" y="330"/>
                </a:lnTo>
                <a:lnTo>
                  <a:pt x="1864" y="333"/>
                </a:lnTo>
                <a:lnTo>
                  <a:pt x="1871" y="330"/>
                </a:lnTo>
                <a:lnTo>
                  <a:pt x="1871" y="333"/>
                </a:lnTo>
                <a:lnTo>
                  <a:pt x="1871" y="340"/>
                </a:lnTo>
                <a:lnTo>
                  <a:pt x="1875" y="340"/>
                </a:lnTo>
                <a:lnTo>
                  <a:pt x="1871" y="347"/>
                </a:lnTo>
                <a:lnTo>
                  <a:pt x="1875" y="351"/>
                </a:lnTo>
                <a:lnTo>
                  <a:pt x="1878" y="344"/>
                </a:lnTo>
                <a:lnTo>
                  <a:pt x="1878" y="347"/>
                </a:lnTo>
                <a:lnTo>
                  <a:pt x="1878" y="354"/>
                </a:lnTo>
                <a:lnTo>
                  <a:pt x="1875" y="358"/>
                </a:lnTo>
                <a:lnTo>
                  <a:pt x="1875" y="361"/>
                </a:lnTo>
                <a:lnTo>
                  <a:pt x="1875" y="365"/>
                </a:lnTo>
                <a:lnTo>
                  <a:pt x="1875" y="368"/>
                </a:lnTo>
                <a:lnTo>
                  <a:pt x="1878" y="372"/>
                </a:lnTo>
                <a:lnTo>
                  <a:pt x="1878" y="375"/>
                </a:lnTo>
                <a:lnTo>
                  <a:pt x="1878" y="382"/>
                </a:lnTo>
                <a:lnTo>
                  <a:pt x="1875" y="385"/>
                </a:lnTo>
                <a:lnTo>
                  <a:pt x="1882" y="385"/>
                </a:lnTo>
                <a:lnTo>
                  <a:pt x="1878" y="389"/>
                </a:lnTo>
                <a:lnTo>
                  <a:pt x="1882" y="392"/>
                </a:lnTo>
                <a:lnTo>
                  <a:pt x="1889" y="392"/>
                </a:lnTo>
                <a:lnTo>
                  <a:pt x="1889" y="396"/>
                </a:lnTo>
                <a:lnTo>
                  <a:pt x="1892" y="399"/>
                </a:lnTo>
                <a:lnTo>
                  <a:pt x="1889" y="403"/>
                </a:lnTo>
                <a:lnTo>
                  <a:pt x="1889" y="410"/>
                </a:lnTo>
                <a:lnTo>
                  <a:pt x="1892" y="413"/>
                </a:lnTo>
                <a:lnTo>
                  <a:pt x="1892" y="417"/>
                </a:lnTo>
                <a:lnTo>
                  <a:pt x="1892" y="420"/>
                </a:lnTo>
                <a:lnTo>
                  <a:pt x="1895" y="424"/>
                </a:lnTo>
                <a:lnTo>
                  <a:pt x="1899" y="427"/>
                </a:lnTo>
                <a:lnTo>
                  <a:pt x="1902" y="431"/>
                </a:lnTo>
                <a:lnTo>
                  <a:pt x="1909" y="438"/>
                </a:lnTo>
                <a:lnTo>
                  <a:pt x="1913" y="438"/>
                </a:lnTo>
                <a:lnTo>
                  <a:pt x="1916" y="441"/>
                </a:lnTo>
                <a:close/>
              </a:path>
            </a:pathLst>
          </a:custGeom>
          <a:solidFill>
            <a:srgbClr val="E6E6E6"/>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172" name="Freeform 17">
            <a:extLst>
              <a:ext uri="{FF2B5EF4-FFF2-40B4-BE49-F238E27FC236}">
                <a16:creationId xmlns:a16="http://schemas.microsoft.com/office/drawing/2014/main" id="{75EA32BB-4A81-40FA-9B87-40FAD9DF9990}"/>
              </a:ext>
            </a:extLst>
          </p:cNvPr>
          <p:cNvSpPr>
            <a:spLocks/>
          </p:cNvSpPr>
          <p:nvPr/>
        </p:nvSpPr>
        <p:spPr bwMode="gray">
          <a:xfrm>
            <a:off x="4747373" y="3123296"/>
            <a:ext cx="2253593" cy="2006026"/>
          </a:xfrm>
          <a:custGeom>
            <a:avLst/>
            <a:gdLst>
              <a:gd name="T0" fmla="*/ 1097 w 1413"/>
              <a:gd name="T1" fmla="*/ 684 h 1191"/>
              <a:gd name="T2" fmla="*/ 1118 w 1413"/>
              <a:gd name="T3" fmla="*/ 789 h 1191"/>
              <a:gd name="T4" fmla="*/ 1187 w 1413"/>
              <a:gd name="T5" fmla="*/ 841 h 1191"/>
              <a:gd name="T6" fmla="*/ 1260 w 1413"/>
              <a:gd name="T7" fmla="*/ 830 h 1191"/>
              <a:gd name="T8" fmla="*/ 1316 w 1413"/>
              <a:gd name="T9" fmla="*/ 858 h 1191"/>
              <a:gd name="T10" fmla="*/ 1344 w 1413"/>
              <a:gd name="T11" fmla="*/ 934 h 1191"/>
              <a:gd name="T12" fmla="*/ 1396 w 1413"/>
              <a:gd name="T13" fmla="*/ 993 h 1191"/>
              <a:gd name="T14" fmla="*/ 1344 w 1413"/>
              <a:gd name="T15" fmla="*/ 1053 h 1191"/>
              <a:gd name="T16" fmla="*/ 1288 w 1413"/>
              <a:gd name="T17" fmla="*/ 1171 h 1191"/>
              <a:gd name="T18" fmla="*/ 1201 w 1413"/>
              <a:gd name="T19" fmla="*/ 1136 h 1191"/>
              <a:gd name="T20" fmla="*/ 1142 w 1413"/>
              <a:gd name="T21" fmla="*/ 1070 h 1191"/>
              <a:gd name="T22" fmla="*/ 1035 w 1413"/>
              <a:gd name="T23" fmla="*/ 1049 h 1191"/>
              <a:gd name="T24" fmla="*/ 937 w 1413"/>
              <a:gd name="T25" fmla="*/ 1028 h 1191"/>
              <a:gd name="T26" fmla="*/ 858 w 1413"/>
              <a:gd name="T27" fmla="*/ 1077 h 1191"/>
              <a:gd name="T28" fmla="*/ 747 w 1413"/>
              <a:gd name="T29" fmla="*/ 1101 h 1191"/>
              <a:gd name="T30" fmla="*/ 646 w 1413"/>
              <a:gd name="T31" fmla="*/ 1073 h 1191"/>
              <a:gd name="T32" fmla="*/ 552 w 1413"/>
              <a:gd name="T33" fmla="*/ 1032 h 1191"/>
              <a:gd name="T34" fmla="*/ 472 w 1413"/>
              <a:gd name="T35" fmla="*/ 993 h 1191"/>
              <a:gd name="T36" fmla="*/ 406 w 1413"/>
              <a:gd name="T37" fmla="*/ 1004 h 1191"/>
              <a:gd name="T38" fmla="*/ 316 w 1413"/>
              <a:gd name="T39" fmla="*/ 966 h 1191"/>
              <a:gd name="T40" fmla="*/ 212 w 1413"/>
              <a:gd name="T41" fmla="*/ 993 h 1191"/>
              <a:gd name="T42" fmla="*/ 146 w 1413"/>
              <a:gd name="T43" fmla="*/ 1042 h 1191"/>
              <a:gd name="T44" fmla="*/ 66 w 1413"/>
              <a:gd name="T45" fmla="*/ 1042 h 1191"/>
              <a:gd name="T46" fmla="*/ 10 w 1413"/>
              <a:gd name="T47" fmla="*/ 952 h 1191"/>
              <a:gd name="T48" fmla="*/ 21 w 1413"/>
              <a:gd name="T49" fmla="*/ 855 h 1191"/>
              <a:gd name="T50" fmla="*/ 63 w 1413"/>
              <a:gd name="T51" fmla="*/ 809 h 1191"/>
              <a:gd name="T52" fmla="*/ 153 w 1413"/>
              <a:gd name="T53" fmla="*/ 792 h 1191"/>
              <a:gd name="T54" fmla="*/ 247 w 1413"/>
              <a:gd name="T55" fmla="*/ 792 h 1191"/>
              <a:gd name="T56" fmla="*/ 295 w 1413"/>
              <a:gd name="T57" fmla="*/ 733 h 1191"/>
              <a:gd name="T58" fmla="*/ 389 w 1413"/>
              <a:gd name="T59" fmla="*/ 684 h 1191"/>
              <a:gd name="T60" fmla="*/ 444 w 1413"/>
              <a:gd name="T61" fmla="*/ 622 h 1191"/>
              <a:gd name="T62" fmla="*/ 406 w 1413"/>
              <a:gd name="T63" fmla="*/ 535 h 1191"/>
              <a:gd name="T64" fmla="*/ 382 w 1413"/>
              <a:gd name="T65" fmla="*/ 480 h 1191"/>
              <a:gd name="T66" fmla="*/ 417 w 1413"/>
              <a:gd name="T67" fmla="*/ 403 h 1191"/>
              <a:gd name="T68" fmla="*/ 493 w 1413"/>
              <a:gd name="T69" fmla="*/ 400 h 1191"/>
              <a:gd name="T70" fmla="*/ 507 w 1413"/>
              <a:gd name="T71" fmla="*/ 431 h 1191"/>
              <a:gd name="T72" fmla="*/ 531 w 1413"/>
              <a:gd name="T73" fmla="*/ 480 h 1191"/>
              <a:gd name="T74" fmla="*/ 549 w 1413"/>
              <a:gd name="T75" fmla="*/ 542 h 1191"/>
              <a:gd name="T76" fmla="*/ 608 w 1413"/>
              <a:gd name="T77" fmla="*/ 587 h 1191"/>
              <a:gd name="T78" fmla="*/ 681 w 1413"/>
              <a:gd name="T79" fmla="*/ 625 h 1191"/>
              <a:gd name="T80" fmla="*/ 712 w 1413"/>
              <a:gd name="T81" fmla="*/ 563 h 1191"/>
              <a:gd name="T82" fmla="*/ 719 w 1413"/>
              <a:gd name="T83" fmla="*/ 497 h 1191"/>
              <a:gd name="T84" fmla="*/ 750 w 1413"/>
              <a:gd name="T85" fmla="*/ 434 h 1191"/>
              <a:gd name="T86" fmla="*/ 715 w 1413"/>
              <a:gd name="T87" fmla="*/ 361 h 1191"/>
              <a:gd name="T88" fmla="*/ 639 w 1413"/>
              <a:gd name="T89" fmla="*/ 358 h 1191"/>
              <a:gd name="T90" fmla="*/ 632 w 1413"/>
              <a:gd name="T91" fmla="*/ 309 h 1191"/>
              <a:gd name="T92" fmla="*/ 660 w 1413"/>
              <a:gd name="T93" fmla="*/ 254 h 1191"/>
              <a:gd name="T94" fmla="*/ 660 w 1413"/>
              <a:gd name="T95" fmla="*/ 157 h 1191"/>
              <a:gd name="T96" fmla="*/ 615 w 1413"/>
              <a:gd name="T97" fmla="*/ 91 h 1191"/>
              <a:gd name="T98" fmla="*/ 604 w 1413"/>
              <a:gd name="T99" fmla="*/ 39 h 1191"/>
              <a:gd name="T100" fmla="*/ 715 w 1413"/>
              <a:gd name="T101" fmla="*/ 7 h 1191"/>
              <a:gd name="T102" fmla="*/ 767 w 1413"/>
              <a:gd name="T103" fmla="*/ 49 h 1191"/>
              <a:gd name="T104" fmla="*/ 833 w 1413"/>
              <a:gd name="T105" fmla="*/ 66 h 1191"/>
              <a:gd name="T106" fmla="*/ 899 w 1413"/>
              <a:gd name="T107" fmla="*/ 45 h 1191"/>
              <a:gd name="T108" fmla="*/ 941 w 1413"/>
              <a:gd name="T109" fmla="*/ 108 h 1191"/>
              <a:gd name="T110" fmla="*/ 885 w 1413"/>
              <a:gd name="T111" fmla="*/ 136 h 1191"/>
              <a:gd name="T112" fmla="*/ 906 w 1413"/>
              <a:gd name="T113" fmla="*/ 240 h 1191"/>
              <a:gd name="T114" fmla="*/ 997 w 1413"/>
              <a:gd name="T115" fmla="*/ 264 h 1191"/>
              <a:gd name="T116" fmla="*/ 1076 w 1413"/>
              <a:gd name="T117" fmla="*/ 282 h 1191"/>
              <a:gd name="T118" fmla="*/ 1003 w 1413"/>
              <a:gd name="T119" fmla="*/ 330 h 1191"/>
              <a:gd name="T120" fmla="*/ 1073 w 1413"/>
              <a:gd name="T121" fmla="*/ 389 h 1191"/>
              <a:gd name="T122" fmla="*/ 1059 w 1413"/>
              <a:gd name="T123" fmla="*/ 469 h 1191"/>
              <a:gd name="T124" fmla="*/ 1042 w 1413"/>
              <a:gd name="T125" fmla="*/ 577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13" h="1191">
                <a:moveTo>
                  <a:pt x="1111" y="618"/>
                </a:moveTo>
                <a:lnTo>
                  <a:pt x="1111" y="622"/>
                </a:lnTo>
                <a:lnTo>
                  <a:pt x="1115" y="622"/>
                </a:lnTo>
                <a:lnTo>
                  <a:pt x="1115" y="625"/>
                </a:lnTo>
                <a:lnTo>
                  <a:pt x="1115" y="629"/>
                </a:lnTo>
                <a:lnTo>
                  <a:pt x="1115" y="632"/>
                </a:lnTo>
                <a:lnTo>
                  <a:pt x="1115" y="636"/>
                </a:lnTo>
                <a:lnTo>
                  <a:pt x="1115" y="639"/>
                </a:lnTo>
                <a:lnTo>
                  <a:pt x="1111" y="639"/>
                </a:lnTo>
                <a:lnTo>
                  <a:pt x="1111" y="646"/>
                </a:lnTo>
                <a:lnTo>
                  <a:pt x="1111" y="650"/>
                </a:lnTo>
                <a:lnTo>
                  <a:pt x="1108" y="650"/>
                </a:lnTo>
                <a:lnTo>
                  <a:pt x="1108" y="653"/>
                </a:lnTo>
                <a:lnTo>
                  <a:pt x="1104" y="653"/>
                </a:lnTo>
                <a:lnTo>
                  <a:pt x="1108" y="653"/>
                </a:lnTo>
                <a:lnTo>
                  <a:pt x="1108" y="657"/>
                </a:lnTo>
                <a:lnTo>
                  <a:pt x="1104" y="657"/>
                </a:lnTo>
                <a:lnTo>
                  <a:pt x="1104" y="660"/>
                </a:lnTo>
                <a:lnTo>
                  <a:pt x="1104" y="664"/>
                </a:lnTo>
                <a:lnTo>
                  <a:pt x="1104" y="667"/>
                </a:lnTo>
                <a:lnTo>
                  <a:pt x="1104" y="671"/>
                </a:lnTo>
                <a:lnTo>
                  <a:pt x="1101" y="671"/>
                </a:lnTo>
                <a:lnTo>
                  <a:pt x="1097" y="671"/>
                </a:lnTo>
                <a:lnTo>
                  <a:pt x="1097" y="674"/>
                </a:lnTo>
                <a:lnTo>
                  <a:pt x="1097" y="677"/>
                </a:lnTo>
                <a:lnTo>
                  <a:pt x="1094" y="677"/>
                </a:lnTo>
                <a:lnTo>
                  <a:pt x="1094" y="681"/>
                </a:lnTo>
                <a:lnTo>
                  <a:pt x="1097" y="681"/>
                </a:lnTo>
                <a:lnTo>
                  <a:pt x="1094" y="684"/>
                </a:lnTo>
                <a:lnTo>
                  <a:pt x="1097" y="684"/>
                </a:lnTo>
                <a:lnTo>
                  <a:pt x="1097" y="688"/>
                </a:lnTo>
                <a:lnTo>
                  <a:pt x="1101" y="688"/>
                </a:lnTo>
                <a:lnTo>
                  <a:pt x="1101" y="691"/>
                </a:lnTo>
                <a:lnTo>
                  <a:pt x="1101" y="695"/>
                </a:lnTo>
                <a:lnTo>
                  <a:pt x="1104" y="695"/>
                </a:lnTo>
                <a:lnTo>
                  <a:pt x="1104" y="698"/>
                </a:lnTo>
                <a:lnTo>
                  <a:pt x="1101" y="702"/>
                </a:lnTo>
                <a:lnTo>
                  <a:pt x="1101" y="705"/>
                </a:lnTo>
                <a:lnTo>
                  <a:pt x="1104" y="712"/>
                </a:lnTo>
                <a:lnTo>
                  <a:pt x="1104" y="716"/>
                </a:lnTo>
                <a:lnTo>
                  <a:pt x="1108" y="716"/>
                </a:lnTo>
                <a:lnTo>
                  <a:pt x="1108" y="719"/>
                </a:lnTo>
                <a:lnTo>
                  <a:pt x="1108" y="723"/>
                </a:lnTo>
                <a:lnTo>
                  <a:pt x="1108" y="726"/>
                </a:lnTo>
                <a:lnTo>
                  <a:pt x="1108" y="730"/>
                </a:lnTo>
                <a:lnTo>
                  <a:pt x="1108" y="733"/>
                </a:lnTo>
                <a:lnTo>
                  <a:pt x="1108" y="737"/>
                </a:lnTo>
                <a:lnTo>
                  <a:pt x="1111" y="740"/>
                </a:lnTo>
                <a:lnTo>
                  <a:pt x="1111" y="743"/>
                </a:lnTo>
                <a:lnTo>
                  <a:pt x="1115" y="743"/>
                </a:lnTo>
                <a:lnTo>
                  <a:pt x="1115" y="747"/>
                </a:lnTo>
                <a:lnTo>
                  <a:pt x="1115" y="750"/>
                </a:lnTo>
                <a:lnTo>
                  <a:pt x="1118" y="761"/>
                </a:lnTo>
                <a:lnTo>
                  <a:pt x="1122" y="764"/>
                </a:lnTo>
                <a:lnTo>
                  <a:pt x="1122" y="768"/>
                </a:lnTo>
                <a:lnTo>
                  <a:pt x="1122" y="771"/>
                </a:lnTo>
                <a:lnTo>
                  <a:pt x="1125" y="775"/>
                </a:lnTo>
                <a:lnTo>
                  <a:pt x="1122" y="778"/>
                </a:lnTo>
                <a:lnTo>
                  <a:pt x="1118" y="782"/>
                </a:lnTo>
                <a:lnTo>
                  <a:pt x="1118" y="789"/>
                </a:lnTo>
                <a:lnTo>
                  <a:pt x="1118" y="792"/>
                </a:lnTo>
                <a:lnTo>
                  <a:pt x="1118" y="796"/>
                </a:lnTo>
                <a:lnTo>
                  <a:pt x="1122" y="796"/>
                </a:lnTo>
                <a:lnTo>
                  <a:pt x="1122" y="799"/>
                </a:lnTo>
                <a:lnTo>
                  <a:pt x="1122" y="803"/>
                </a:lnTo>
                <a:lnTo>
                  <a:pt x="1122" y="806"/>
                </a:lnTo>
                <a:lnTo>
                  <a:pt x="1122" y="809"/>
                </a:lnTo>
                <a:lnTo>
                  <a:pt x="1122" y="813"/>
                </a:lnTo>
                <a:lnTo>
                  <a:pt x="1118" y="813"/>
                </a:lnTo>
                <a:lnTo>
                  <a:pt x="1125" y="823"/>
                </a:lnTo>
                <a:lnTo>
                  <a:pt x="1128" y="827"/>
                </a:lnTo>
                <a:lnTo>
                  <a:pt x="1135" y="827"/>
                </a:lnTo>
                <a:lnTo>
                  <a:pt x="1139" y="830"/>
                </a:lnTo>
                <a:lnTo>
                  <a:pt x="1139" y="834"/>
                </a:lnTo>
                <a:lnTo>
                  <a:pt x="1142" y="837"/>
                </a:lnTo>
                <a:lnTo>
                  <a:pt x="1146" y="837"/>
                </a:lnTo>
                <a:lnTo>
                  <a:pt x="1149" y="834"/>
                </a:lnTo>
                <a:lnTo>
                  <a:pt x="1153" y="834"/>
                </a:lnTo>
                <a:lnTo>
                  <a:pt x="1160" y="834"/>
                </a:lnTo>
                <a:lnTo>
                  <a:pt x="1163" y="834"/>
                </a:lnTo>
                <a:lnTo>
                  <a:pt x="1167" y="834"/>
                </a:lnTo>
                <a:lnTo>
                  <a:pt x="1167" y="837"/>
                </a:lnTo>
                <a:lnTo>
                  <a:pt x="1170" y="837"/>
                </a:lnTo>
                <a:lnTo>
                  <a:pt x="1174" y="837"/>
                </a:lnTo>
                <a:lnTo>
                  <a:pt x="1177" y="834"/>
                </a:lnTo>
                <a:lnTo>
                  <a:pt x="1177" y="837"/>
                </a:lnTo>
                <a:lnTo>
                  <a:pt x="1181" y="837"/>
                </a:lnTo>
                <a:lnTo>
                  <a:pt x="1181" y="841"/>
                </a:lnTo>
                <a:lnTo>
                  <a:pt x="1184" y="841"/>
                </a:lnTo>
                <a:lnTo>
                  <a:pt x="1187" y="841"/>
                </a:lnTo>
                <a:lnTo>
                  <a:pt x="1191" y="844"/>
                </a:lnTo>
                <a:lnTo>
                  <a:pt x="1191" y="848"/>
                </a:lnTo>
                <a:lnTo>
                  <a:pt x="1191" y="851"/>
                </a:lnTo>
                <a:lnTo>
                  <a:pt x="1194" y="851"/>
                </a:lnTo>
                <a:lnTo>
                  <a:pt x="1201" y="851"/>
                </a:lnTo>
                <a:lnTo>
                  <a:pt x="1205" y="851"/>
                </a:lnTo>
                <a:lnTo>
                  <a:pt x="1205" y="841"/>
                </a:lnTo>
                <a:lnTo>
                  <a:pt x="1208" y="837"/>
                </a:lnTo>
                <a:lnTo>
                  <a:pt x="1208" y="834"/>
                </a:lnTo>
                <a:lnTo>
                  <a:pt x="1212" y="830"/>
                </a:lnTo>
                <a:lnTo>
                  <a:pt x="1215" y="830"/>
                </a:lnTo>
                <a:lnTo>
                  <a:pt x="1215" y="834"/>
                </a:lnTo>
                <a:lnTo>
                  <a:pt x="1219" y="834"/>
                </a:lnTo>
                <a:lnTo>
                  <a:pt x="1222" y="830"/>
                </a:lnTo>
                <a:lnTo>
                  <a:pt x="1226" y="830"/>
                </a:lnTo>
                <a:lnTo>
                  <a:pt x="1229" y="830"/>
                </a:lnTo>
                <a:lnTo>
                  <a:pt x="1229" y="834"/>
                </a:lnTo>
                <a:lnTo>
                  <a:pt x="1233" y="834"/>
                </a:lnTo>
                <a:lnTo>
                  <a:pt x="1233" y="837"/>
                </a:lnTo>
                <a:lnTo>
                  <a:pt x="1236" y="837"/>
                </a:lnTo>
                <a:lnTo>
                  <a:pt x="1236" y="841"/>
                </a:lnTo>
                <a:lnTo>
                  <a:pt x="1240" y="844"/>
                </a:lnTo>
                <a:lnTo>
                  <a:pt x="1243" y="841"/>
                </a:lnTo>
                <a:lnTo>
                  <a:pt x="1247" y="841"/>
                </a:lnTo>
                <a:lnTo>
                  <a:pt x="1247" y="837"/>
                </a:lnTo>
                <a:lnTo>
                  <a:pt x="1250" y="837"/>
                </a:lnTo>
                <a:lnTo>
                  <a:pt x="1253" y="837"/>
                </a:lnTo>
                <a:lnTo>
                  <a:pt x="1253" y="834"/>
                </a:lnTo>
                <a:lnTo>
                  <a:pt x="1257" y="834"/>
                </a:lnTo>
                <a:lnTo>
                  <a:pt x="1260" y="830"/>
                </a:lnTo>
                <a:lnTo>
                  <a:pt x="1260" y="827"/>
                </a:lnTo>
                <a:lnTo>
                  <a:pt x="1260" y="823"/>
                </a:lnTo>
                <a:lnTo>
                  <a:pt x="1260" y="820"/>
                </a:lnTo>
                <a:lnTo>
                  <a:pt x="1264" y="820"/>
                </a:lnTo>
                <a:lnTo>
                  <a:pt x="1267" y="820"/>
                </a:lnTo>
                <a:lnTo>
                  <a:pt x="1271" y="820"/>
                </a:lnTo>
                <a:lnTo>
                  <a:pt x="1271" y="816"/>
                </a:lnTo>
                <a:lnTo>
                  <a:pt x="1274" y="816"/>
                </a:lnTo>
                <a:lnTo>
                  <a:pt x="1278" y="813"/>
                </a:lnTo>
                <a:lnTo>
                  <a:pt x="1281" y="813"/>
                </a:lnTo>
                <a:lnTo>
                  <a:pt x="1285" y="813"/>
                </a:lnTo>
                <a:lnTo>
                  <a:pt x="1288" y="816"/>
                </a:lnTo>
                <a:lnTo>
                  <a:pt x="1285" y="816"/>
                </a:lnTo>
                <a:lnTo>
                  <a:pt x="1285" y="820"/>
                </a:lnTo>
                <a:lnTo>
                  <a:pt x="1285" y="823"/>
                </a:lnTo>
                <a:lnTo>
                  <a:pt x="1288" y="823"/>
                </a:lnTo>
                <a:lnTo>
                  <a:pt x="1288" y="827"/>
                </a:lnTo>
                <a:lnTo>
                  <a:pt x="1285" y="830"/>
                </a:lnTo>
                <a:lnTo>
                  <a:pt x="1288" y="834"/>
                </a:lnTo>
                <a:lnTo>
                  <a:pt x="1285" y="837"/>
                </a:lnTo>
                <a:lnTo>
                  <a:pt x="1285" y="841"/>
                </a:lnTo>
                <a:lnTo>
                  <a:pt x="1285" y="844"/>
                </a:lnTo>
                <a:lnTo>
                  <a:pt x="1288" y="844"/>
                </a:lnTo>
                <a:lnTo>
                  <a:pt x="1295" y="848"/>
                </a:lnTo>
                <a:lnTo>
                  <a:pt x="1299" y="851"/>
                </a:lnTo>
                <a:lnTo>
                  <a:pt x="1302" y="851"/>
                </a:lnTo>
                <a:lnTo>
                  <a:pt x="1306" y="855"/>
                </a:lnTo>
                <a:lnTo>
                  <a:pt x="1309" y="855"/>
                </a:lnTo>
                <a:lnTo>
                  <a:pt x="1312" y="858"/>
                </a:lnTo>
                <a:lnTo>
                  <a:pt x="1316" y="858"/>
                </a:lnTo>
                <a:lnTo>
                  <a:pt x="1316" y="862"/>
                </a:lnTo>
                <a:lnTo>
                  <a:pt x="1319" y="868"/>
                </a:lnTo>
                <a:lnTo>
                  <a:pt x="1316" y="875"/>
                </a:lnTo>
                <a:lnTo>
                  <a:pt x="1312" y="879"/>
                </a:lnTo>
                <a:lnTo>
                  <a:pt x="1309" y="879"/>
                </a:lnTo>
                <a:lnTo>
                  <a:pt x="1306" y="879"/>
                </a:lnTo>
                <a:lnTo>
                  <a:pt x="1306" y="882"/>
                </a:lnTo>
                <a:lnTo>
                  <a:pt x="1306" y="886"/>
                </a:lnTo>
                <a:lnTo>
                  <a:pt x="1306" y="889"/>
                </a:lnTo>
                <a:lnTo>
                  <a:pt x="1309" y="889"/>
                </a:lnTo>
                <a:lnTo>
                  <a:pt x="1312" y="889"/>
                </a:lnTo>
                <a:lnTo>
                  <a:pt x="1312" y="893"/>
                </a:lnTo>
                <a:lnTo>
                  <a:pt x="1316" y="893"/>
                </a:lnTo>
                <a:lnTo>
                  <a:pt x="1316" y="896"/>
                </a:lnTo>
                <a:lnTo>
                  <a:pt x="1316" y="900"/>
                </a:lnTo>
                <a:lnTo>
                  <a:pt x="1319" y="900"/>
                </a:lnTo>
                <a:lnTo>
                  <a:pt x="1323" y="903"/>
                </a:lnTo>
                <a:lnTo>
                  <a:pt x="1326" y="907"/>
                </a:lnTo>
                <a:lnTo>
                  <a:pt x="1330" y="910"/>
                </a:lnTo>
                <a:lnTo>
                  <a:pt x="1330" y="914"/>
                </a:lnTo>
                <a:lnTo>
                  <a:pt x="1333" y="914"/>
                </a:lnTo>
                <a:lnTo>
                  <a:pt x="1337" y="917"/>
                </a:lnTo>
                <a:lnTo>
                  <a:pt x="1344" y="921"/>
                </a:lnTo>
                <a:lnTo>
                  <a:pt x="1344" y="924"/>
                </a:lnTo>
                <a:lnTo>
                  <a:pt x="1340" y="924"/>
                </a:lnTo>
                <a:lnTo>
                  <a:pt x="1340" y="928"/>
                </a:lnTo>
                <a:lnTo>
                  <a:pt x="1340" y="931"/>
                </a:lnTo>
                <a:lnTo>
                  <a:pt x="1337" y="931"/>
                </a:lnTo>
                <a:lnTo>
                  <a:pt x="1340" y="934"/>
                </a:lnTo>
                <a:lnTo>
                  <a:pt x="1344" y="934"/>
                </a:lnTo>
                <a:lnTo>
                  <a:pt x="1347" y="934"/>
                </a:lnTo>
                <a:lnTo>
                  <a:pt x="1347" y="931"/>
                </a:lnTo>
                <a:lnTo>
                  <a:pt x="1351" y="934"/>
                </a:lnTo>
                <a:lnTo>
                  <a:pt x="1354" y="938"/>
                </a:lnTo>
                <a:lnTo>
                  <a:pt x="1354" y="948"/>
                </a:lnTo>
                <a:lnTo>
                  <a:pt x="1358" y="945"/>
                </a:lnTo>
                <a:lnTo>
                  <a:pt x="1365" y="948"/>
                </a:lnTo>
                <a:lnTo>
                  <a:pt x="1368" y="948"/>
                </a:lnTo>
                <a:lnTo>
                  <a:pt x="1371" y="952"/>
                </a:lnTo>
                <a:lnTo>
                  <a:pt x="1375" y="952"/>
                </a:lnTo>
                <a:lnTo>
                  <a:pt x="1378" y="955"/>
                </a:lnTo>
                <a:lnTo>
                  <a:pt x="1382" y="955"/>
                </a:lnTo>
                <a:lnTo>
                  <a:pt x="1382" y="959"/>
                </a:lnTo>
                <a:lnTo>
                  <a:pt x="1385" y="959"/>
                </a:lnTo>
                <a:lnTo>
                  <a:pt x="1385" y="962"/>
                </a:lnTo>
                <a:lnTo>
                  <a:pt x="1389" y="962"/>
                </a:lnTo>
                <a:lnTo>
                  <a:pt x="1389" y="966"/>
                </a:lnTo>
                <a:lnTo>
                  <a:pt x="1389" y="969"/>
                </a:lnTo>
                <a:lnTo>
                  <a:pt x="1392" y="969"/>
                </a:lnTo>
                <a:lnTo>
                  <a:pt x="1396" y="973"/>
                </a:lnTo>
                <a:lnTo>
                  <a:pt x="1399" y="973"/>
                </a:lnTo>
                <a:lnTo>
                  <a:pt x="1403" y="976"/>
                </a:lnTo>
                <a:lnTo>
                  <a:pt x="1410" y="980"/>
                </a:lnTo>
                <a:lnTo>
                  <a:pt x="1410" y="983"/>
                </a:lnTo>
                <a:lnTo>
                  <a:pt x="1413" y="987"/>
                </a:lnTo>
                <a:lnTo>
                  <a:pt x="1410" y="990"/>
                </a:lnTo>
                <a:lnTo>
                  <a:pt x="1406" y="993"/>
                </a:lnTo>
                <a:lnTo>
                  <a:pt x="1403" y="997"/>
                </a:lnTo>
                <a:lnTo>
                  <a:pt x="1396" y="997"/>
                </a:lnTo>
                <a:lnTo>
                  <a:pt x="1396" y="993"/>
                </a:lnTo>
                <a:lnTo>
                  <a:pt x="1392" y="997"/>
                </a:lnTo>
                <a:lnTo>
                  <a:pt x="1389" y="997"/>
                </a:lnTo>
                <a:lnTo>
                  <a:pt x="1385" y="997"/>
                </a:lnTo>
                <a:lnTo>
                  <a:pt x="1382" y="997"/>
                </a:lnTo>
                <a:lnTo>
                  <a:pt x="1375" y="990"/>
                </a:lnTo>
                <a:lnTo>
                  <a:pt x="1375" y="987"/>
                </a:lnTo>
                <a:lnTo>
                  <a:pt x="1375" y="983"/>
                </a:lnTo>
                <a:lnTo>
                  <a:pt x="1371" y="983"/>
                </a:lnTo>
                <a:lnTo>
                  <a:pt x="1368" y="987"/>
                </a:lnTo>
                <a:lnTo>
                  <a:pt x="1365" y="990"/>
                </a:lnTo>
                <a:lnTo>
                  <a:pt x="1361" y="993"/>
                </a:lnTo>
                <a:lnTo>
                  <a:pt x="1358" y="993"/>
                </a:lnTo>
                <a:lnTo>
                  <a:pt x="1354" y="997"/>
                </a:lnTo>
                <a:lnTo>
                  <a:pt x="1351" y="997"/>
                </a:lnTo>
                <a:lnTo>
                  <a:pt x="1347" y="997"/>
                </a:lnTo>
                <a:lnTo>
                  <a:pt x="1344" y="1004"/>
                </a:lnTo>
                <a:lnTo>
                  <a:pt x="1340" y="1007"/>
                </a:lnTo>
                <a:lnTo>
                  <a:pt x="1337" y="1007"/>
                </a:lnTo>
                <a:lnTo>
                  <a:pt x="1333" y="1014"/>
                </a:lnTo>
                <a:lnTo>
                  <a:pt x="1326" y="1014"/>
                </a:lnTo>
                <a:lnTo>
                  <a:pt x="1330" y="1018"/>
                </a:lnTo>
                <a:lnTo>
                  <a:pt x="1326" y="1025"/>
                </a:lnTo>
                <a:lnTo>
                  <a:pt x="1326" y="1028"/>
                </a:lnTo>
                <a:lnTo>
                  <a:pt x="1330" y="1032"/>
                </a:lnTo>
                <a:lnTo>
                  <a:pt x="1333" y="1035"/>
                </a:lnTo>
                <a:lnTo>
                  <a:pt x="1333" y="1039"/>
                </a:lnTo>
                <a:lnTo>
                  <a:pt x="1337" y="1046"/>
                </a:lnTo>
                <a:lnTo>
                  <a:pt x="1340" y="1046"/>
                </a:lnTo>
                <a:lnTo>
                  <a:pt x="1340" y="1049"/>
                </a:lnTo>
                <a:lnTo>
                  <a:pt x="1344" y="1053"/>
                </a:lnTo>
                <a:lnTo>
                  <a:pt x="1347" y="1056"/>
                </a:lnTo>
                <a:lnTo>
                  <a:pt x="1347" y="1059"/>
                </a:lnTo>
                <a:lnTo>
                  <a:pt x="1344" y="1059"/>
                </a:lnTo>
                <a:lnTo>
                  <a:pt x="1344" y="1063"/>
                </a:lnTo>
                <a:lnTo>
                  <a:pt x="1344" y="1066"/>
                </a:lnTo>
                <a:lnTo>
                  <a:pt x="1340" y="1070"/>
                </a:lnTo>
                <a:lnTo>
                  <a:pt x="1337" y="1073"/>
                </a:lnTo>
                <a:lnTo>
                  <a:pt x="1333" y="1073"/>
                </a:lnTo>
                <a:lnTo>
                  <a:pt x="1333" y="1077"/>
                </a:lnTo>
                <a:lnTo>
                  <a:pt x="1330" y="1084"/>
                </a:lnTo>
                <a:lnTo>
                  <a:pt x="1330" y="1091"/>
                </a:lnTo>
                <a:lnTo>
                  <a:pt x="1326" y="1091"/>
                </a:lnTo>
                <a:lnTo>
                  <a:pt x="1326" y="1094"/>
                </a:lnTo>
                <a:lnTo>
                  <a:pt x="1323" y="1098"/>
                </a:lnTo>
                <a:lnTo>
                  <a:pt x="1316" y="1108"/>
                </a:lnTo>
                <a:lnTo>
                  <a:pt x="1316" y="1129"/>
                </a:lnTo>
                <a:lnTo>
                  <a:pt x="1316" y="1132"/>
                </a:lnTo>
                <a:lnTo>
                  <a:pt x="1316" y="1136"/>
                </a:lnTo>
                <a:lnTo>
                  <a:pt x="1312" y="1136"/>
                </a:lnTo>
                <a:lnTo>
                  <a:pt x="1309" y="1139"/>
                </a:lnTo>
                <a:lnTo>
                  <a:pt x="1302" y="1143"/>
                </a:lnTo>
                <a:lnTo>
                  <a:pt x="1299" y="1146"/>
                </a:lnTo>
                <a:lnTo>
                  <a:pt x="1302" y="1150"/>
                </a:lnTo>
                <a:lnTo>
                  <a:pt x="1299" y="1150"/>
                </a:lnTo>
                <a:lnTo>
                  <a:pt x="1299" y="1153"/>
                </a:lnTo>
                <a:lnTo>
                  <a:pt x="1292" y="1160"/>
                </a:lnTo>
                <a:lnTo>
                  <a:pt x="1292" y="1164"/>
                </a:lnTo>
                <a:lnTo>
                  <a:pt x="1292" y="1167"/>
                </a:lnTo>
                <a:lnTo>
                  <a:pt x="1292" y="1171"/>
                </a:lnTo>
                <a:lnTo>
                  <a:pt x="1288" y="1171"/>
                </a:lnTo>
                <a:lnTo>
                  <a:pt x="1288" y="1174"/>
                </a:lnTo>
                <a:lnTo>
                  <a:pt x="1285" y="1174"/>
                </a:lnTo>
                <a:lnTo>
                  <a:pt x="1281" y="1178"/>
                </a:lnTo>
                <a:lnTo>
                  <a:pt x="1278" y="1181"/>
                </a:lnTo>
                <a:lnTo>
                  <a:pt x="1274" y="1184"/>
                </a:lnTo>
                <a:lnTo>
                  <a:pt x="1271" y="1184"/>
                </a:lnTo>
                <a:lnTo>
                  <a:pt x="1267" y="1184"/>
                </a:lnTo>
                <a:lnTo>
                  <a:pt x="1267" y="1188"/>
                </a:lnTo>
                <a:lnTo>
                  <a:pt x="1264" y="1188"/>
                </a:lnTo>
                <a:lnTo>
                  <a:pt x="1260" y="1191"/>
                </a:lnTo>
                <a:lnTo>
                  <a:pt x="1257" y="1191"/>
                </a:lnTo>
                <a:lnTo>
                  <a:pt x="1253" y="1191"/>
                </a:lnTo>
                <a:lnTo>
                  <a:pt x="1250" y="1188"/>
                </a:lnTo>
                <a:lnTo>
                  <a:pt x="1250" y="1184"/>
                </a:lnTo>
                <a:lnTo>
                  <a:pt x="1250" y="1181"/>
                </a:lnTo>
                <a:lnTo>
                  <a:pt x="1253" y="1178"/>
                </a:lnTo>
                <a:lnTo>
                  <a:pt x="1250" y="1174"/>
                </a:lnTo>
                <a:lnTo>
                  <a:pt x="1250" y="1171"/>
                </a:lnTo>
                <a:lnTo>
                  <a:pt x="1250" y="1164"/>
                </a:lnTo>
                <a:lnTo>
                  <a:pt x="1247" y="1160"/>
                </a:lnTo>
                <a:lnTo>
                  <a:pt x="1247" y="1157"/>
                </a:lnTo>
                <a:lnTo>
                  <a:pt x="1247" y="1153"/>
                </a:lnTo>
                <a:lnTo>
                  <a:pt x="1243" y="1153"/>
                </a:lnTo>
                <a:lnTo>
                  <a:pt x="1236" y="1150"/>
                </a:lnTo>
                <a:lnTo>
                  <a:pt x="1236" y="1143"/>
                </a:lnTo>
                <a:lnTo>
                  <a:pt x="1233" y="1139"/>
                </a:lnTo>
                <a:lnTo>
                  <a:pt x="1229" y="1139"/>
                </a:lnTo>
                <a:lnTo>
                  <a:pt x="1226" y="1139"/>
                </a:lnTo>
                <a:lnTo>
                  <a:pt x="1219" y="1143"/>
                </a:lnTo>
                <a:lnTo>
                  <a:pt x="1201" y="1136"/>
                </a:lnTo>
                <a:lnTo>
                  <a:pt x="1198" y="1136"/>
                </a:lnTo>
                <a:lnTo>
                  <a:pt x="1194" y="1132"/>
                </a:lnTo>
                <a:lnTo>
                  <a:pt x="1194" y="1129"/>
                </a:lnTo>
                <a:lnTo>
                  <a:pt x="1191" y="1125"/>
                </a:lnTo>
                <a:lnTo>
                  <a:pt x="1191" y="1122"/>
                </a:lnTo>
                <a:lnTo>
                  <a:pt x="1187" y="1115"/>
                </a:lnTo>
                <a:lnTo>
                  <a:pt x="1187" y="1112"/>
                </a:lnTo>
                <a:lnTo>
                  <a:pt x="1187" y="1108"/>
                </a:lnTo>
                <a:lnTo>
                  <a:pt x="1187" y="1105"/>
                </a:lnTo>
                <a:lnTo>
                  <a:pt x="1187" y="1101"/>
                </a:lnTo>
                <a:lnTo>
                  <a:pt x="1184" y="1101"/>
                </a:lnTo>
                <a:lnTo>
                  <a:pt x="1187" y="1098"/>
                </a:lnTo>
                <a:lnTo>
                  <a:pt x="1191" y="1094"/>
                </a:lnTo>
                <a:lnTo>
                  <a:pt x="1191" y="1091"/>
                </a:lnTo>
                <a:lnTo>
                  <a:pt x="1191" y="1087"/>
                </a:lnTo>
                <a:lnTo>
                  <a:pt x="1184" y="1091"/>
                </a:lnTo>
                <a:lnTo>
                  <a:pt x="1181" y="1087"/>
                </a:lnTo>
                <a:lnTo>
                  <a:pt x="1177" y="1087"/>
                </a:lnTo>
                <a:lnTo>
                  <a:pt x="1174" y="1091"/>
                </a:lnTo>
                <a:lnTo>
                  <a:pt x="1170" y="1087"/>
                </a:lnTo>
                <a:lnTo>
                  <a:pt x="1167" y="1091"/>
                </a:lnTo>
                <a:lnTo>
                  <a:pt x="1167" y="1087"/>
                </a:lnTo>
                <a:lnTo>
                  <a:pt x="1163" y="1087"/>
                </a:lnTo>
                <a:lnTo>
                  <a:pt x="1160" y="1087"/>
                </a:lnTo>
                <a:lnTo>
                  <a:pt x="1156" y="1091"/>
                </a:lnTo>
                <a:lnTo>
                  <a:pt x="1153" y="1087"/>
                </a:lnTo>
                <a:lnTo>
                  <a:pt x="1153" y="1080"/>
                </a:lnTo>
                <a:lnTo>
                  <a:pt x="1149" y="1073"/>
                </a:lnTo>
                <a:lnTo>
                  <a:pt x="1146" y="1073"/>
                </a:lnTo>
                <a:lnTo>
                  <a:pt x="1142" y="1070"/>
                </a:lnTo>
                <a:lnTo>
                  <a:pt x="1139" y="1070"/>
                </a:lnTo>
                <a:lnTo>
                  <a:pt x="1135" y="1066"/>
                </a:lnTo>
                <a:lnTo>
                  <a:pt x="1132" y="1066"/>
                </a:lnTo>
                <a:lnTo>
                  <a:pt x="1132" y="1070"/>
                </a:lnTo>
                <a:lnTo>
                  <a:pt x="1128" y="1070"/>
                </a:lnTo>
                <a:lnTo>
                  <a:pt x="1125" y="1073"/>
                </a:lnTo>
                <a:lnTo>
                  <a:pt x="1122" y="1073"/>
                </a:lnTo>
                <a:lnTo>
                  <a:pt x="1118" y="1073"/>
                </a:lnTo>
                <a:lnTo>
                  <a:pt x="1118" y="1070"/>
                </a:lnTo>
                <a:lnTo>
                  <a:pt x="1115" y="1073"/>
                </a:lnTo>
                <a:lnTo>
                  <a:pt x="1111" y="1073"/>
                </a:lnTo>
                <a:lnTo>
                  <a:pt x="1104" y="1077"/>
                </a:lnTo>
                <a:lnTo>
                  <a:pt x="1090" y="1070"/>
                </a:lnTo>
                <a:lnTo>
                  <a:pt x="1087" y="1066"/>
                </a:lnTo>
                <a:lnTo>
                  <a:pt x="1083" y="1066"/>
                </a:lnTo>
                <a:lnTo>
                  <a:pt x="1080" y="1066"/>
                </a:lnTo>
                <a:lnTo>
                  <a:pt x="1076" y="1063"/>
                </a:lnTo>
                <a:lnTo>
                  <a:pt x="1073" y="1063"/>
                </a:lnTo>
                <a:lnTo>
                  <a:pt x="1069" y="1063"/>
                </a:lnTo>
                <a:lnTo>
                  <a:pt x="1066" y="1059"/>
                </a:lnTo>
                <a:lnTo>
                  <a:pt x="1062" y="1059"/>
                </a:lnTo>
                <a:lnTo>
                  <a:pt x="1056" y="1059"/>
                </a:lnTo>
                <a:lnTo>
                  <a:pt x="1056" y="1056"/>
                </a:lnTo>
                <a:lnTo>
                  <a:pt x="1052" y="1056"/>
                </a:lnTo>
                <a:lnTo>
                  <a:pt x="1049" y="1056"/>
                </a:lnTo>
                <a:lnTo>
                  <a:pt x="1049" y="1053"/>
                </a:lnTo>
                <a:lnTo>
                  <a:pt x="1045" y="1053"/>
                </a:lnTo>
                <a:lnTo>
                  <a:pt x="1042" y="1053"/>
                </a:lnTo>
                <a:lnTo>
                  <a:pt x="1038" y="1053"/>
                </a:lnTo>
                <a:lnTo>
                  <a:pt x="1035" y="1049"/>
                </a:lnTo>
                <a:lnTo>
                  <a:pt x="1031" y="1049"/>
                </a:lnTo>
                <a:lnTo>
                  <a:pt x="1028" y="1049"/>
                </a:lnTo>
                <a:lnTo>
                  <a:pt x="1024" y="1049"/>
                </a:lnTo>
                <a:lnTo>
                  <a:pt x="1021" y="1049"/>
                </a:lnTo>
                <a:lnTo>
                  <a:pt x="1021" y="1046"/>
                </a:lnTo>
                <a:lnTo>
                  <a:pt x="1017" y="1046"/>
                </a:lnTo>
                <a:lnTo>
                  <a:pt x="1014" y="1046"/>
                </a:lnTo>
                <a:lnTo>
                  <a:pt x="1000" y="1046"/>
                </a:lnTo>
                <a:lnTo>
                  <a:pt x="997" y="1046"/>
                </a:lnTo>
                <a:lnTo>
                  <a:pt x="993" y="1046"/>
                </a:lnTo>
                <a:lnTo>
                  <a:pt x="990" y="1046"/>
                </a:lnTo>
                <a:lnTo>
                  <a:pt x="986" y="1049"/>
                </a:lnTo>
                <a:lnTo>
                  <a:pt x="986" y="1053"/>
                </a:lnTo>
                <a:lnTo>
                  <a:pt x="983" y="1053"/>
                </a:lnTo>
                <a:lnTo>
                  <a:pt x="979" y="1056"/>
                </a:lnTo>
                <a:lnTo>
                  <a:pt x="976" y="1056"/>
                </a:lnTo>
                <a:lnTo>
                  <a:pt x="972" y="1056"/>
                </a:lnTo>
                <a:lnTo>
                  <a:pt x="972" y="1053"/>
                </a:lnTo>
                <a:lnTo>
                  <a:pt x="969" y="1053"/>
                </a:lnTo>
                <a:lnTo>
                  <a:pt x="962" y="1046"/>
                </a:lnTo>
                <a:lnTo>
                  <a:pt x="962" y="1042"/>
                </a:lnTo>
                <a:lnTo>
                  <a:pt x="958" y="1035"/>
                </a:lnTo>
                <a:lnTo>
                  <a:pt x="958" y="1032"/>
                </a:lnTo>
                <a:lnTo>
                  <a:pt x="955" y="1032"/>
                </a:lnTo>
                <a:lnTo>
                  <a:pt x="951" y="1028"/>
                </a:lnTo>
                <a:lnTo>
                  <a:pt x="948" y="1028"/>
                </a:lnTo>
                <a:lnTo>
                  <a:pt x="948" y="1025"/>
                </a:lnTo>
                <a:lnTo>
                  <a:pt x="944" y="1025"/>
                </a:lnTo>
                <a:lnTo>
                  <a:pt x="941" y="1028"/>
                </a:lnTo>
                <a:lnTo>
                  <a:pt x="937" y="1028"/>
                </a:lnTo>
                <a:lnTo>
                  <a:pt x="934" y="1028"/>
                </a:lnTo>
                <a:lnTo>
                  <a:pt x="931" y="1028"/>
                </a:lnTo>
                <a:lnTo>
                  <a:pt x="927" y="1028"/>
                </a:lnTo>
                <a:lnTo>
                  <a:pt x="920" y="1032"/>
                </a:lnTo>
                <a:lnTo>
                  <a:pt x="917" y="1035"/>
                </a:lnTo>
                <a:lnTo>
                  <a:pt x="910" y="1035"/>
                </a:lnTo>
                <a:lnTo>
                  <a:pt x="910" y="1039"/>
                </a:lnTo>
                <a:lnTo>
                  <a:pt x="906" y="1039"/>
                </a:lnTo>
                <a:lnTo>
                  <a:pt x="903" y="1039"/>
                </a:lnTo>
                <a:lnTo>
                  <a:pt x="899" y="1039"/>
                </a:lnTo>
                <a:lnTo>
                  <a:pt x="899" y="1035"/>
                </a:lnTo>
                <a:lnTo>
                  <a:pt x="896" y="1032"/>
                </a:lnTo>
                <a:lnTo>
                  <a:pt x="892" y="1032"/>
                </a:lnTo>
                <a:lnTo>
                  <a:pt x="889" y="1028"/>
                </a:lnTo>
                <a:lnTo>
                  <a:pt x="885" y="1028"/>
                </a:lnTo>
                <a:lnTo>
                  <a:pt x="882" y="1028"/>
                </a:lnTo>
                <a:lnTo>
                  <a:pt x="875" y="1032"/>
                </a:lnTo>
                <a:lnTo>
                  <a:pt x="868" y="1035"/>
                </a:lnTo>
                <a:lnTo>
                  <a:pt x="865" y="1039"/>
                </a:lnTo>
                <a:lnTo>
                  <a:pt x="861" y="1042"/>
                </a:lnTo>
                <a:lnTo>
                  <a:pt x="861" y="1046"/>
                </a:lnTo>
                <a:lnTo>
                  <a:pt x="858" y="1049"/>
                </a:lnTo>
                <a:lnTo>
                  <a:pt x="858" y="1053"/>
                </a:lnTo>
                <a:lnTo>
                  <a:pt x="854" y="1056"/>
                </a:lnTo>
                <a:lnTo>
                  <a:pt x="861" y="1059"/>
                </a:lnTo>
                <a:lnTo>
                  <a:pt x="861" y="1066"/>
                </a:lnTo>
                <a:lnTo>
                  <a:pt x="861" y="1070"/>
                </a:lnTo>
                <a:lnTo>
                  <a:pt x="861" y="1073"/>
                </a:lnTo>
                <a:lnTo>
                  <a:pt x="861" y="1077"/>
                </a:lnTo>
                <a:lnTo>
                  <a:pt x="858" y="1077"/>
                </a:lnTo>
                <a:lnTo>
                  <a:pt x="854" y="1080"/>
                </a:lnTo>
                <a:lnTo>
                  <a:pt x="851" y="1080"/>
                </a:lnTo>
                <a:lnTo>
                  <a:pt x="847" y="1080"/>
                </a:lnTo>
                <a:lnTo>
                  <a:pt x="844" y="1084"/>
                </a:lnTo>
                <a:lnTo>
                  <a:pt x="837" y="1084"/>
                </a:lnTo>
                <a:lnTo>
                  <a:pt x="826" y="1084"/>
                </a:lnTo>
                <a:lnTo>
                  <a:pt x="823" y="1084"/>
                </a:lnTo>
                <a:lnTo>
                  <a:pt x="819" y="1084"/>
                </a:lnTo>
                <a:lnTo>
                  <a:pt x="816" y="1084"/>
                </a:lnTo>
                <a:lnTo>
                  <a:pt x="809" y="1087"/>
                </a:lnTo>
                <a:lnTo>
                  <a:pt x="806" y="1087"/>
                </a:lnTo>
                <a:lnTo>
                  <a:pt x="802" y="1087"/>
                </a:lnTo>
                <a:lnTo>
                  <a:pt x="802" y="1091"/>
                </a:lnTo>
                <a:lnTo>
                  <a:pt x="799" y="1091"/>
                </a:lnTo>
                <a:lnTo>
                  <a:pt x="795" y="1094"/>
                </a:lnTo>
                <a:lnTo>
                  <a:pt x="792" y="1094"/>
                </a:lnTo>
                <a:lnTo>
                  <a:pt x="785" y="1094"/>
                </a:lnTo>
                <a:lnTo>
                  <a:pt x="781" y="1094"/>
                </a:lnTo>
                <a:lnTo>
                  <a:pt x="778" y="1094"/>
                </a:lnTo>
                <a:lnTo>
                  <a:pt x="774" y="1098"/>
                </a:lnTo>
                <a:lnTo>
                  <a:pt x="774" y="1101"/>
                </a:lnTo>
                <a:lnTo>
                  <a:pt x="774" y="1105"/>
                </a:lnTo>
                <a:lnTo>
                  <a:pt x="771" y="1105"/>
                </a:lnTo>
                <a:lnTo>
                  <a:pt x="767" y="1105"/>
                </a:lnTo>
                <a:lnTo>
                  <a:pt x="764" y="1105"/>
                </a:lnTo>
                <a:lnTo>
                  <a:pt x="757" y="1105"/>
                </a:lnTo>
                <a:lnTo>
                  <a:pt x="753" y="1105"/>
                </a:lnTo>
                <a:lnTo>
                  <a:pt x="750" y="1105"/>
                </a:lnTo>
                <a:lnTo>
                  <a:pt x="747" y="1105"/>
                </a:lnTo>
                <a:lnTo>
                  <a:pt x="747" y="1101"/>
                </a:lnTo>
                <a:lnTo>
                  <a:pt x="740" y="1105"/>
                </a:lnTo>
                <a:lnTo>
                  <a:pt x="736" y="1105"/>
                </a:lnTo>
                <a:lnTo>
                  <a:pt x="736" y="1108"/>
                </a:lnTo>
                <a:lnTo>
                  <a:pt x="736" y="1112"/>
                </a:lnTo>
                <a:lnTo>
                  <a:pt x="733" y="1119"/>
                </a:lnTo>
                <a:lnTo>
                  <a:pt x="733" y="1115"/>
                </a:lnTo>
                <a:lnTo>
                  <a:pt x="729" y="1115"/>
                </a:lnTo>
                <a:lnTo>
                  <a:pt x="722" y="1112"/>
                </a:lnTo>
                <a:lnTo>
                  <a:pt x="715" y="1108"/>
                </a:lnTo>
                <a:lnTo>
                  <a:pt x="712" y="1108"/>
                </a:lnTo>
                <a:lnTo>
                  <a:pt x="705" y="1105"/>
                </a:lnTo>
                <a:lnTo>
                  <a:pt x="701" y="1101"/>
                </a:lnTo>
                <a:lnTo>
                  <a:pt x="698" y="1101"/>
                </a:lnTo>
                <a:lnTo>
                  <a:pt x="694" y="1101"/>
                </a:lnTo>
                <a:lnTo>
                  <a:pt x="694" y="1091"/>
                </a:lnTo>
                <a:lnTo>
                  <a:pt x="694" y="1087"/>
                </a:lnTo>
                <a:lnTo>
                  <a:pt x="691" y="1087"/>
                </a:lnTo>
                <a:lnTo>
                  <a:pt x="684" y="1084"/>
                </a:lnTo>
                <a:lnTo>
                  <a:pt x="681" y="1084"/>
                </a:lnTo>
                <a:lnTo>
                  <a:pt x="681" y="1087"/>
                </a:lnTo>
                <a:lnTo>
                  <a:pt x="677" y="1091"/>
                </a:lnTo>
                <a:lnTo>
                  <a:pt x="674" y="1091"/>
                </a:lnTo>
                <a:lnTo>
                  <a:pt x="670" y="1094"/>
                </a:lnTo>
                <a:lnTo>
                  <a:pt x="667" y="1091"/>
                </a:lnTo>
                <a:lnTo>
                  <a:pt x="660" y="1091"/>
                </a:lnTo>
                <a:lnTo>
                  <a:pt x="656" y="1091"/>
                </a:lnTo>
                <a:lnTo>
                  <a:pt x="649" y="1084"/>
                </a:lnTo>
                <a:lnTo>
                  <a:pt x="646" y="1080"/>
                </a:lnTo>
                <a:lnTo>
                  <a:pt x="646" y="1077"/>
                </a:lnTo>
                <a:lnTo>
                  <a:pt x="646" y="1073"/>
                </a:lnTo>
                <a:lnTo>
                  <a:pt x="646" y="1070"/>
                </a:lnTo>
                <a:lnTo>
                  <a:pt x="639" y="1070"/>
                </a:lnTo>
                <a:lnTo>
                  <a:pt x="639" y="1066"/>
                </a:lnTo>
                <a:lnTo>
                  <a:pt x="639" y="1063"/>
                </a:lnTo>
                <a:lnTo>
                  <a:pt x="639" y="1059"/>
                </a:lnTo>
                <a:lnTo>
                  <a:pt x="635" y="1056"/>
                </a:lnTo>
                <a:lnTo>
                  <a:pt x="632" y="1053"/>
                </a:lnTo>
                <a:lnTo>
                  <a:pt x="632" y="1049"/>
                </a:lnTo>
                <a:lnTo>
                  <a:pt x="625" y="1046"/>
                </a:lnTo>
                <a:lnTo>
                  <a:pt x="622" y="1046"/>
                </a:lnTo>
                <a:lnTo>
                  <a:pt x="618" y="1046"/>
                </a:lnTo>
                <a:lnTo>
                  <a:pt x="615" y="1046"/>
                </a:lnTo>
                <a:lnTo>
                  <a:pt x="611" y="1046"/>
                </a:lnTo>
                <a:lnTo>
                  <a:pt x="601" y="1046"/>
                </a:lnTo>
                <a:lnTo>
                  <a:pt x="594" y="1042"/>
                </a:lnTo>
                <a:lnTo>
                  <a:pt x="590" y="1042"/>
                </a:lnTo>
                <a:lnTo>
                  <a:pt x="587" y="1039"/>
                </a:lnTo>
                <a:lnTo>
                  <a:pt x="583" y="1039"/>
                </a:lnTo>
                <a:lnTo>
                  <a:pt x="580" y="1039"/>
                </a:lnTo>
                <a:lnTo>
                  <a:pt x="580" y="1042"/>
                </a:lnTo>
                <a:lnTo>
                  <a:pt x="576" y="1042"/>
                </a:lnTo>
                <a:lnTo>
                  <a:pt x="576" y="1046"/>
                </a:lnTo>
                <a:lnTo>
                  <a:pt x="569" y="1042"/>
                </a:lnTo>
                <a:lnTo>
                  <a:pt x="566" y="1046"/>
                </a:lnTo>
                <a:lnTo>
                  <a:pt x="566" y="1042"/>
                </a:lnTo>
                <a:lnTo>
                  <a:pt x="563" y="1042"/>
                </a:lnTo>
                <a:lnTo>
                  <a:pt x="559" y="1042"/>
                </a:lnTo>
                <a:lnTo>
                  <a:pt x="556" y="1035"/>
                </a:lnTo>
                <a:lnTo>
                  <a:pt x="556" y="1032"/>
                </a:lnTo>
                <a:lnTo>
                  <a:pt x="552" y="1032"/>
                </a:lnTo>
                <a:lnTo>
                  <a:pt x="549" y="1028"/>
                </a:lnTo>
                <a:lnTo>
                  <a:pt x="549" y="1025"/>
                </a:lnTo>
                <a:lnTo>
                  <a:pt x="549" y="1028"/>
                </a:lnTo>
                <a:lnTo>
                  <a:pt x="545" y="1028"/>
                </a:lnTo>
                <a:lnTo>
                  <a:pt x="542" y="1025"/>
                </a:lnTo>
                <a:lnTo>
                  <a:pt x="538" y="1025"/>
                </a:lnTo>
                <a:lnTo>
                  <a:pt x="531" y="1028"/>
                </a:lnTo>
                <a:lnTo>
                  <a:pt x="531" y="1032"/>
                </a:lnTo>
                <a:lnTo>
                  <a:pt x="528" y="1032"/>
                </a:lnTo>
                <a:lnTo>
                  <a:pt x="524" y="1032"/>
                </a:lnTo>
                <a:lnTo>
                  <a:pt x="521" y="1032"/>
                </a:lnTo>
                <a:lnTo>
                  <a:pt x="514" y="1025"/>
                </a:lnTo>
                <a:lnTo>
                  <a:pt x="514" y="1021"/>
                </a:lnTo>
                <a:lnTo>
                  <a:pt x="507" y="1025"/>
                </a:lnTo>
                <a:lnTo>
                  <a:pt x="503" y="1025"/>
                </a:lnTo>
                <a:lnTo>
                  <a:pt x="500" y="1025"/>
                </a:lnTo>
                <a:lnTo>
                  <a:pt x="497" y="1025"/>
                </a:lnTo>
                <a:lnTo>
                  <a:pt x="493" y="1025"/>
                </a:lnTo>
                <a:lnTo>
                  <a:pt x="490" y="1025"/>
                </a:lnTo>
                <a:lnTo>
                  <a:pt x="486" y="1021"/>
                </a:lnTo>
                <a:lnTo>
                  <a:pt x="486" y="1018"/>
                </a:lnTo>
                <a:lnTo>
                  <a:pt x="486" y="1014"/>
                </a:lnTo>
                <a:lnTo>
                  <a:pt x="486" y="1011"/>
                </a:lnTo>
                <a:lnTo>
                  <a:pt x="486" y="1007"/>
                </a:lnTo>
                <a:lnTo>
                  <a:pt x="486" y="1004"/>
                </a:lnTo>
                <a:lnTo>
                  <a:pt x="483" y="993"/>
                </a:lnTo>
                <a:lnTo>
                  <a:pt x="483" y="990"/>
                </a:lnTo>
                <a:lnTo>
                  <a:pt x="479" y="990"/>
                </a:lnTo>
                <a:lnTo>
                  <a:pt x="476" y="993"/>
                </a:lnTo>
                <a:lnTo>
                  <a:pt x="472" y="993"/>
                </a:lnTo>
                <a:lnTo>
                  <a:pt x="469" y="993"/>
                </a:lnTo>
                <a:lnTo>
                  <a:pt x="469" y="997"/>
                </a:lnTo>
                <a:lnTo>
                  <a:pt x="465" y="1000"/>
                </a:lnTo>
                <a:lnTo>
                  <a:pt x="462" y="1000"/>
                </a:lnTo>
                <a:lnTo>
                  <a:pt x="458" y="1000"/>
                </a:lnTo>
                <a:lnTo>
                  <a:pt x="455" y="1000"/>
                </a:lnTo>
                <a:lnTo>
                  <a:pt x="451" y="997"/>
                </a:lnTo>
                <a:lnTo>
                  <a:pt x="451" y="1000"/>
                </a:lnTo>
                <a:lnTo>
                  <a:pt x="448" y="1000"/>
                </a:lnTo>
                <a:lnTo>
                  <a:pt x="444" y="1000"/>
                </a:lnTo>
                <a:lnTo>
                  <a:pt x="441" y="1000"/>
                </a:lnTo>
                <a:lnTo>
                  <a:pt x="438" y="1000"/>
                </a:lnTo>
                <a:lnTo>
                  <a:pt x="434" y="1000"/>
                </a:lnTo>
                <a:lnTo>
                  <a:pt x="434" y="1004"/>
                </a:lnTo>
                <a:lnTo>
                  <a:pt x="434" y="1007"/>
                </a:lnTo>
                <a:lnTo>
                  <a:pt x="438" y="1011"/>
                </a:lnTo>
                <a:lnTo>
                  <a:pt x="438" y="1014"/>
                </a:lnTo>
                <a:lnTo>
                  <a:pt x="438" y="1018"/>
                </a:lnTo>
                <a:lnTo>
                  <a:pt x="434" y="1018"/>
                </a:lnTo>
                <a:lnTo>
                  <a:pt x="431" y="1021"/>
                </a:lnTo>
                <a:lnTo>
                  <a:pt x="427" y="1025"/>
                </a:lnTo>
                <a:lnTo>
                  <a:pt x="424" y="1021"/>
                </a:lnTo>
                <a:lnTo>
                  <a:pt x="420" y="1021"/>
                </a:lnTo>
                <a:lnTo>
                  <a:pt x="417" y="1018"/>
                </a:lnTo>
                <a:lnTo>
                  <a:pt x="413" y="1014"/>
                </a:lnTo>
                <a:lnTo>
                  <a:pt x="410" y="1014"/>
                </a:lnTo>
                <a:lnTo>
                  <a:pt x="410" y="1011"/>
                </a:lnTo>
                <a:lnTo>
                  <a:pt x="410" y="1007"/>
                </a:lnTo>
                <a:lnTo>
                  <a:pt x="406" y="1007"/>
                </a:lnTo>
                <a:lnTo>
                  <a:pt x="406" y="1004"/>
                </a:lnTo>
                <a:lnTo>
                  <a:pt x="399" y="1000"/>
                </a:lnTo>
                <a:lnTo>
                  <a:pt x="396" y="1000"/>
                </a:lnTo>
                <a:lnTo>
                  <a:pt x="392" y="1000"/>
                </a:lnTo>
                <a:lnTo>
                  <a:pt x="389" y="997"/>
                </a:lnTo>
                <a:lnTo>
                  <a:pt x="385" y="997"/>
                </a:lnTo>
                <a:lnTo>
                  <a:pt x="382" y="997"/>
                </a:lnTo>
                <a:lnTo>
                  <a:pt x="378" y="990"/>
                </a:lnTo>
                <a:lnTo>
                  <a:pt x="375" y="990"/>
                </a:lnTo>
                <a:lnTo>
                  <a:pt x="372" y="990"/>
                </a:lnTo>
                <a:lnTo>
                  <a:pt x="368" y="990"/>
                </a:lnTo>
                <a:lnTo>
                  <a:pt x="361" y="987"/>
                </a:lnTo>
                <a:lnTo>
                  <a:pt x="358" y="987"/>
                </a:lnTo>
                <a:lnTo>
                  <a:pt x="358" y="990"/>
                </a:lnTo>
                <a:lnTo>
                  <a:pt x="354" y="993"/>
                </a:lnTo>
                <a:lnTo>
                  <a:pt x="351" y="993"/>
                </a:lnTo>
                <a:lnTo>
                  <a:pt x="347" y="993"/>
                </a:lnTo>
                <a:lnTo>
                  <a:pt x="344" y="990"/>
                </a:lnTo>
                <a:lnTo>
                  <a:pt x="340" y="990"/>
                </a:lnTo>
                <a:lnTo>
                  <a:pt x="340" y="987"/>
                </a:lnTo>
                <a:lnTo>
                  <a:pt x="337" y="987"/>
                </a:lnTo>
                <a:lnTo>
                  <a:pt x="333" y="983"/>
                </a:lnTo>
                <a:lnTo>
                  <a:pt x="333" y="980"/>
                </a:lnTo>
                <a:lnTo>
                  <a:pt x="333" y="976"/>
                </a:lnTo>
                <a:lnTo>
                  <a:pt x="330" y="976"/>
                </a:lnTo>
                <a:lnTo>
                  <a:pt x="330" y="973"/>
                </a:lnTo>
                <a:lnTo>
                  <a:pt x="330" y="969"/>
                </a:lnTo>
                <a:lnTo>
                  <a:pt x="326" y="969"/>
                </a:lnTo>
                <a:lnTo>
                  <a:pt x="323" y="969"/>
                </a:lnTo>
                <a:lnTo>
                  <a:pt x="319" y="966"/>
                </a:lnTo>
                <a:lnTo>
                  <a:pt x="316" y="966"/>
                </a:lnTo>
                <a:lnTo>
                  <a:pt x="313" y="962"/>
                </a:lnTo>
                <a:lnTo>
                  <a:pt x="309" y="962"/>
                </a:lnTo>
                <a:lnTo>
                  <a:pt x="306" y="962"/>
                </a:lnTo>
                <a:lnTo>
                  <a:pt x="302" y="962"/>
                </a:lnTo>
                <a:lnTo>
                  <a:pt x="299" y="962"/>
                </a:lnTo>
                <a:lnTo>
                  <a:pt x="299" y="966"/>
                </a:lnTo>
                <a:lnTo>
                  <a:pt x="299" y="969"/>
                </a:lnTo>
                <a:lnTo>
                  <a:pt x="295" y="969"/>
                </a:lnTo>
                <a:lnTo>
                  <a:pt x="292" y="973"/>
                </a:lnTo>
                <a:lnTo>
                  <a:pt x="288" y="976"/>
                </a:lnTo>
                <a:lnTo>
                  <a:pt x="281" y="976"/>
                </a:lnTo>
                <a:lnTo>
                  <a:pt x="278" y="976"/>
                </a:lnTo>
                <a:lnTo>
                  <a:pt x="274" y="973"/>
                </a:lnTo>
                <a:lnTo>
                  <a:pt x="264" y="969"/>
                </a:lnTo>
                <a:lnTo>
                  <a:pt x="260" y="973"/>
                </a:lnTo>
                <a:lnTo>
                  <a:pt x="257" y="976"/>
                </a:lnTo>
                <a:lnTo>
                  <a:pt x="253" y="980"/>
                </a:lnTo>
                <a:lnTo>
                  <a:pt x="250" y="976"/>
                </a:lnTo>
                <a:lnTo>
                  <a:pt x="247" y="973"/>
                </a:lnTo>
                <a:lnTo>
                  <a:pt x="240" y="966"/>
                </a:lnTo>
                <a:lnTo>
                  <a:pt x="236" y="969"/>
                </a:lnTo>
                <a:lnTo>
                  <a:pt x="233" y="969"/>
                </a:lnTo>
                <a:lnTo>
                  <a:pt x="222" y="973"/>
                </a:lnTo>
                <a:lnTo>
                  <a:pt x="222" y="976"/>
                </a:lnTo>
                <a:lnTo>
                  <a:pt x="215" y="976"/>
                </a:lnTo>
                <a:lnTo>
                  <a:pt x="212" y="980"/>
                </a:lnTo>
                <a:lnTo>
                  <a:pt x="212" y="983"/>
                </a:lnTo>
                <a:lnTo>
                  <a:pt x="212" y="987"/>
                </a:lnTo>
                <a:lnTo>
                  <a:pt x="212" y="990"/>
                </a:lnTo>
                <a:lnTo>
                  <a:pt x="212" y="993"/>
                </a:lnTo>
                <a:lnTo>
                  <a:pt x="212" y="997"/>
                </a:lnTo>
                <a:lnTo>
                  <a:pt x="212" y="1000"/>
                </a:lnTo>
                <a:lnTo>
                  <a:pt x="208" y="1000"/>
                </a:lnTo>
                <a:lnTo>
                  <a:pt x="208" y="1004"/>
                </a:lnTo>
                <a:lnTo>
                  <a:pt x="208" y="1007"/>
                </a:lnTo>
                <a:lnTo>
                  <a:pt x="205" y="1011"/>
                </a:lnTo>
                <a:lnTo>
                  <a:pt x="201" y="1011"/>
                </a:lnTo>
                <a:lnTo>
                  <a:pt x="201" y="1014"/>
                </a:lnTo>
                <a:lnTo>
                  <a:pt x="198" y="1014"/>
                </a:lnTo>
                <a:lnTo>
                  <a:pt x="194" y="1014"/>
                </a:lnTo>
                <a:lnTo>
                  <a:pt x="191" y="1014"/>
                </a:lnTo>
                <a:lnTo>
                  <a:pt x="188" y="1014"/>
                </a:lnTo>
                <a:lnTo>
                  <a:pt x="184" y="1014"/>
                </a:lnTo>
                <a:lnTo>
                  <a:pt x="184" y="1018"/>
                </a:lnTo>
                <a:lnTo>
                  <a:pt x="181" y="1018"/>
                </a:lnTo>
                <a:lnTo>
                  <a:pt x="177" y="1021"/>
                </a:lnTo>
                <a:lnTo>
                  <a:pt x="174" y="1021"/>
                </a:lnTo>
                <a:lnTo>
                  <a:pt x="174" y="1025"/>
                </a:lnTo>
                <a:lnTo>
                  <a:pt x="174" y="1028"/>
                </a:lnTo>
                <a:lnTo>
                  <a:pt x="174" y="1032"/>
                </a:lnTo>
                <a:lnTo>
                  <a:pt x="170" y="1032"/>
                </a:lnTo>
                <a:lnTo>
                  <a:pt x="167" y="1032"/>
                </a:lnTo>
                <a:lnTo>
                  <a:pt x="163" y="1032"/>
                </a:lnTo>
                <a:lnTo>
                  <a:pt x="160" y="1032"/>
                </a:lnTo>
                <a:lnTo>
                  <a:pt x="156" y="1032"/>
                </a:lnTo>
                <a:lnTo>
                  <a:pt x="153" y="1032"/>
                </a:lnTo>
                <a:lnTo>
                  <a:pt x="153" y="1035"/>
                </a:lnTo>
                <a:lnTo>
                  <a:pt x="149" y="1035"/>
                </a:lnTo>
                <a:lnTo>
                  <a:pt x="149" y="1039"/>
                </a:lnTo>
                <a:lnTo>
                  <a:pt x="146" y="1042"/>
                </a:lnTo>
                <a:lnTo>
                  <a:pt x="142" y="1046"/>
                </a:lnTo>
                <a:lnTo>
                  <a:pt x="139" y="1049"/>
                </a:lnTo>
                <a:lnTo>
                  <a:pt x="139" y="1053"/>
                </a:lnTo>
                <a:lnTo>
                  <a:pt x="129" y="1056"/>
                </a:lnTo>
                <a:lnTo>
                  <a:pt x="125" y="1056"/>
                </a:lnTo>
                <a:lnTo>
                  <a:pt x="122" y="1056"/>
                </a:lnTo>
                <a:lnTo>
                  <a:pt x="122" y="1053"/>
                </a:lnTo>
                <a:lnTo>
                  <a:pt x="118" y="1053"/>
                </a:lnTo>
                <a:lnTo>
                  <a:pt x="118" y="1049"/>
                </a:lnTo>
                <a:lnTo>
                  <a:pt x="115" y="1049"/>
                </a:lnTo>
                <a:lnTo>
                  <a:pt x="115" y="1046"/>
                </a:lnTo>
                <a:lnTo>
                  <a:pt x="115" y="1042"/>
                </a:lnTo>
                <a:lnTo>
                  <a:pt x="111" y="1042"/>
                </a:lnTo>
                <a:lnTo>
                  <a:pt x="108" y="1042"/>
                </a:lnTo>
                <a:lnTo>
                  <a:pt x="104" y="1039"/>
                </a:lnTo>
                <a:lnTo>
                  <a:pt x="101" y="1039"/>
                </a:lnTo>
                <a:lnTo>
                  <a:pt x="97" y="1039"/>
                </a:lnTo>
                <a:lnTo>
                  <a:pt x="94" y="1039"/>
                </a:lnTo>
                <a:lnTo>
                  <a:pt x="94" y="1035"/>
                </a:lnTo>
                <a:lnTo>
                  <a:pt x="90" y="1035"/>
                </a:lnTo>
                <a:lnTo>
                  <a:pt x="87" y="1035"/>
                </a:lnTo>
                <a:lnTo>
                  <a:pt x="87" y="1032"/>
                </a:lnTo>
                <a:lnTo>
                  <a:pt x="83" y="1032"/>
                </a:lnTo>
                <a:lnTo>
                  <a:pt x="80" y="1032"/>
                </a:lnTo>
                <a:lnTo>
                  <a:pt x="80" y="1035"/>
                </a:lnTo>
                <a:lnTo>
                  <a:pt x="76" y="1035"/>
                </a:lnTo>
                <a:lnTo>
                  <a:pt x="76" y="1039"/>
                </a:lnTo>
                <a:lnTo>
                  <a:pt x="73" y="1039"/>
                </a:lnTo>
                <a:lnTo>
                  <a:pt x="69" y="1039"/>
                </a:lnTo>
                <a:lnTo>
                  <a:pt x="66" y="1042"/>
                </a:lnTo>
                <a:lnTo>
                  <a:pt x="63" y="1042"/>
                </a:lnTo>
                <a:lnTo>
                  <a:pt x="59" y="1046"/>
                </a:lnTo>
                <a:lnTo>
                  <a:pt x="56" y="1046"/>
                </a:lnTo>
                <a:lnTo>
                  <a:pt x="52" y="1046"/>
                </a:lnTo>
                <a:lnTo>
                  <a:pt x="49" y="1046"/>
                </a:lnTo>
                <a:lnTo>
                  <a:pt x="45" y="1046"/>
                </a:lnTo>
                <a:lnTo>
                  <a:pt x="45" y="1042"/>
                </a:lnTo>
                <a:lnTo>
                  <a:pt x="42" y="1035"/>
                </a:lnTo>
                <a:lnTo>
                  <a:pt x="38" y="1032"/>
                </a:lnTo>
                <a:lnTo>
                  <a:pt x="38" y="1025"/>
                </a:lnTo>
                <a:lnTo>
                  <a:pt x="42" y="1021"/>
                </a:lnTo>
                <a:lnTo>
                  <a:pt x="42" y="1018"/>
                </a:lnTo>
                <a:lnTo>
                  <a:pt x="38" y="1014"/>
                </a:lnTo>
                <a:lnTo>
                  <a:pt x="38" y="1011"/>
                </a:lnTo>
                <a:lnTo>
                  <a:pt x="35" y="1007"/>
                </a:lnTo>
                <a:lnTo>
                  <a:pt x="35" y="1004"/>
                </a:lnTo>
                <a:lnTo>
                  <a:pt x="35" y="1000"/>
                </a:lnTo>
                <a:lnTo>
                  <a:pt x="35" y="997"/>
                </a:lnTo>
                <a:lnTo>
                  <a:pt x="31" y="997"/>
                </a:lnTo>
                <a:lnTo>
                  <a:pt x="31" y="993"/>
                </a:lnTo>
                <a:lnTo>
                  <a:pt x="28" y="990"/>
                </a:lnTo>
                <a:lnTo>
                  <a:pt x="28" y="983"/>
                </a:lnTo>
                <a:lnTo>
                  <a:pt x="28" y="980"/>
                </a:lnTo>
                <a:lnTo>
                  <a:pt x="21" y="976"/>
                </a:lnTo>
                <a:lnTo>
                  <a:pt x="17" y="976"/>
                </a:lnTo>
                <a:lnTo>
                  <a:pt x="17" y="973"/>
                </a:lnTo>
                <a:lnTo>
                  <a:pt x="14" y="969"/>
                </a:lnTo>
                <a:lnTo>
                  <a:pt x="14" y="962"/>
                </a:lnTo>
                <a:lnTo>
                  <a:pt x="10" y="959"/>
                </a:lnTo>
                <a:lnTo>
                  <a:pt x="10" y="952"/>
                </a:lnTo>
                <a:lnTo>
                  <a:pt x="10" y="948"/>
                </a:lnTo>
                <a:lnTo>
                  <a:pt x="10" y="945"/>
                </a:lnTo>
                <a:lnTo>
                  <a:pt x="10" y="941"/>
                </a:lnTo>
                <a:lnTo>
                  <a:pt x="10" y="938"/>
                </a:lnTo>
                <a:lnTo>
                  <a:pt x="7" y="931"/>
                </a:lnTo>
                <a:lnTo>
                  <a:pt x="7" y="928"/>
                </a:lnTo>
                <a:lnTo>
                  <a:pt x="7" y="924"/>
                </a:lnTo>
                <a:lnTo>
                  <a:pt x="7" y="921"/>
                </a:lnTo>
                <a:lnTo>
                  <a:pt x="10" y="917"/>
                </a:lnTo>
                <a:lnTo>
                  <a:pt x="10" y="914"/>
                </a:lnTo>
                <a:lnTo>
                  <a:pt x="10" y="910"/>
                </a:lnTo>
                <a:lnTo>
                  <a:pt x="10" y="903"/>
                </a:lnTo>
                <a:lnTo>
                  <a:pt x="10" y="900"/>
                </a:lnTo>
                <a:lnTo>
                  <a:pt x="10" y="896"/>
                </a:lnTo>
                <a:lnTo>
                  <a:pt x="14" y="893"/>
                </a:lnTo>
                <a:lnTo>
                  <a:pt x="17" y="889"/>
                </a:lnTo>
                <a:lnTo>
                  <a:pt x="17" y="886"/>
                </a:lnTo>
                <a:lnTo>
                  <a:pt x="17" y="882"/>
                </a:lnTo>
                <a:lnTo>
                  <a:pt x="17" y="879"/>
                </a:lnTo>
                <a:lnTo>
                  <a:pt x="21" y="879"/>
                </a:lnTo>
                <a:lnTo>
                  <a:pt x="21" y="875"/>
                </a:lnTo>
                <a:lnTo>
                  <a:pt x="24" y="875"/>
                </a:lnTo>
                <a:lnTo>
                  <a:pt x="24" y="872"/>
                </a:lnTo>
                <a:lnTo>
                  <a:pt x="28" y="872"/>
                </a:lnTo>
                <a:lnTo>
                  <a:pt x="28" y="868"/>
                </a:lnTo>
                <a:lnTo>
                  <a:pt x="24" y="868"/>
                </a:lnTo>
                <a:lnTo>
                  <a:pt x="24" y="865"/>
                </a:lnTo>
                <a:lnTo>
                  <a:pt x="24" y="862"/>
                </a:lnTo>
                <a:lnTo>
                  <a:pt x="21" y="858"/>
                </a:lnTo>
                <a:lnTo>
                  <a:pt x="21" y="855"/>
                </a:lnTo>
                <a:lnTo>
                  <a:pt x="21" y="851"/>
                </a:lnTo>
                <a:lnTo>
                  <a:pt x="14" y="851"/>
                </a:lnTo>
                <a:lnTo>
                  <a:pt x="10" y="848"/>
                </a:lnTo>
                <a:lnTo>
                  <a:pt x="4" y="844"/>
                </a:lnTo>
                <a:lnTo>
                  <a:pt x="0" y="841"/>
                </a:lnTo>
                <a:lnTo>
                  <a:pt x="4" y="834"/>
                </a:lnTo>
                <a:lnTo>
                  <a:pt x="7" y="830"/>
                </a:lnTo>
                <a:lnTo>
                  <a:pt x="7" y="827"/>
                </a:lnTo>
                <a:lnTo>
                  <a:pt x="10" y="823"/>
                </a:lnTo>
                <a:lnTo>
                  <a:pt x="14" y="823"/>
                </a:lnTo>
                <a:lnTo>
                  <a:pt x="14" y="820"/>
                </a:lnTo>
                <a:lnTo>
                  <a:pt x="17" y="816"/>
                </a:lnTo>
                <a:lnTo>
                  <a:pt x="21" y="813"/>
                </a:lnTo>
                <a:lnTo>
                  <a:pt x="21" y="809"/>
                </a:lnTo>
                <a:lnTo>
                  <a:pt x="28" y="803"/>
                </a:lnTo>
                <a:lnTo>
                  <a:pt x="31" y="799"/>
                </a:lnTo>
                <a:lnTo>
                  <a:pt x="31" y="803"/>
                </a:lnTo>
                <a:lnTo>
                  <a:pt x="35" y="806"/>
                </a:lnTo>
                <a:lnTo>
                  <a:pt x="38" y="806"/>
                </a:lnTo>
                <a:lnTo>
                  <a:pt x="42" y="813"/>
                </a:lnTo>
                <a:lnTo>
                  <a:pt x="45" y="813"/>
                </a:lnTo>
                <a:lnTo>
                  <a:pt x="45" y="816"/>
                </a:lnTo>
                <a:lnTo>
                  <a:pt x="49" y="816"/>
                </a:lnTo>
                <a:lnTo>
                  <a:pt x="49" y="820"/>
                </a:lnTo>
                <a:lnTo>
                  <a:pt x="52" y="820"/>
                </a:lnTo>
                <a:lnTo>
                  <a:pt x="56" y="816"/>
                </a:lnTo>
                <a:lnTo>
                  <a:pt x="59" y="816"/>
                </a:lnTo>
                <a:lnTo>
                  <a:pt x="59" y="813"/>
                </a:lnTo>
                <a:lnTo>
                  <a:pt x="59" y="809"/>
                </a:lnTo>
                <a:lnTo>
                  <a:pt x="63" y="809"/>
                </a:lnTo>
                <a:lnTo>
                  <a:pt x="66" y="809"/>
                </a:lnTo>
                <a:lnTo>
                  <a:pt x="66" y="806"/>
                </a:lnTo>
                <a:lnTo>
                  <a:pt x="69" y="806"/>
                </a:lnTo>
                <a:lnTo>
                  <a:pt x="73" y="806"/>
                </a:lnTo>
                <a:lnTo>
                  <a:pt x="76" y="806"/>
                </a:lnTo>
                <a:lnTo>
                  <a:pt x="80" y="806"/>
                </a:lnTo>
                <a:lnTo>
                  <a:pt x="83" y="806"/>
                </a:lnTo>
                <a:lnTo>
                  <a:pt x="87" y="806"/>
                </a:lnTo>
                <a:lnTo>
                  <a:pt x="90" y="806"/>
                </a:lnTo>
                <a:lnTo>
                  <a:pt x="94" y="809"/>
                </a:lnTo>
                <a:lnTo>
                  <a:pt x="94" y="806"/>
                </a:lnTo>
                <a:lnTo>
                  <a:pt x="97" y="806"/>
                </a:lnTo>
                <a:lnTo>
                  <a:pt x="101" y="803"/>
                </a:lnTo>
                <a:lnTo>
                  <a:pt x="101" y="799"/>
                </a:lnTo>
                <a:lnTo>
                  <a:pt x="104" y="796"/>
                </a:lnTo>
                <a:lnTo>
                  <a:pt x="108" y="796"/>
                </a:lnTo>
                <a:lnTo>
                  <a:pt x="111" y="796"/>
                </a:lnTo>
                <a:lnTo>
                  <a:pt x="115" y="796"/>
                </a:lnTo>
                <a:lnTo>
                  <a:pt x="118" y="803"/>
                </a:lnTo>
                <a:lnTo>
                  <a:pt x="118" y="806"/>
                </a:lnTo>
                <a:lnTo>
                  <a:pt x="122" y="806"/>
                </a:lnTo>
                <a:lnTo>
                  <a:pt x="125" y="806"/>
                </a:lnTo>
                <a:lnTo>
                  <a:pt x="129" y="803"/>
                </a:lnTo>
                <a:lnTo>
                  <a:pt x="129" y="799"/>
                </a:lnTo>
                <a:lnTo>
                  <a:pt x="132" y="799"/>
                </a:lnTo>
                <a:lnTo>
                  <a:pt x="139" y="806"/>
                </a:lnTo>
                <a:lnTo>
                  <a:pt x="142" y="803"/>
                </a:lnTo>
                <a:lnTo>
                  <a:pt x="146" y="799"/>
                </a:lnTo>
                <a:lnTo>
                  <a:pt x="146" y="796"/>
                </a:lnTo>
                <a:lnTo>
                  <a:pt x="153" y="792"/>
                </a:lnTo>
                <a:lnTo>
                  <a:pt x="156" y="785"/>
                </a:lnTo>
                <a:lnTo>
                  <a:pt x="160" y="785"/>
                </a:lnTo>
                <a:lnTo>
                  <a:pt x="163" y="782"/>
                </a:lnTo>
                <a:lnTo>
                  <a:pt x="163" y="778"/>
                </a:lnTo>
                <a:lnTo>
                  <a:pt x="163" y="775"/>
                </a:lnTo>
                <a:lnTo>
                  <a:pt x="163" y="771"/>
                </a:lnTo>
                <a:lnTo>
                  <a:pt x="167" y="771"/>
                </a:lnTo>
                <a:lnTo>
                  <a:pt x="167" y="775"/>
                </a:lnTo>
                <a:lnTo>
                  <a:pt x="174" y="775"/>
                </a:lnTo>
                <a:lnTo>
                  <a:pt x="177" y="775"/>
                </a:lnTo>
                <a:lnTo>
                  <a:pt x="177" y="778"/>
                </a:lnTo>
                <a:lnTo>
                  <a:pt x="184" y="778"/>
                </a:lnTo>
                <a:lnTo>
                  <a:pt x="188" y="778"/>
                </a:lnTo>
                <a:lnTo>
                  <a:pt x="191" y="778"/>
                </a:lnTo>
                <a:lnTo>
                  <a:pt x="194" y="782"/>
                </a:lnTo>
                <a:lnTo>
                  <a:pt x="198" y="785"/>
                </a:lnTo>
                <a:lnTo>
                  <a:pt x="201" y="785"/>
                </a:lnTo>
                <a:lnTo>
                  <a:pt x="205" y="789"/>
                </a:lnTo>
                <a:lnTo>
                  <a:pt x="208" y="789"/>
                </a:lnTo>
                <a:lnTo>
                  <a:pt x="212" y="792"/>
                </a:lnTo>
                <a:lnTo>
                  <a:pt x="215" y="792"/>
                </a:lnTo>
                <a:lnTo>
                  <a:pt x="219" y="792"/>
                </a:lnTo>
                <a:lnTo>
                  <a:pt x="222" y="796"/>
                </a:lnTo>
                <a:lnTo>
                  <a:pt x="226" y="792"/>
                </a:lnTo>
                <a:lnTo>
                  <a:pt x="229" y="792"/>
                </a:lnTo>
                <a:lnTo>
                  <a:pt x="233" y="792"/>
                </a:lnTo>
                <a:lnTo>
                  <a:pt x="236" y="792"/>
                </a:lnTo>
                <a:lnTo>
                  <a:pt x="240" y="792"/>
                </a:lnTo>
                <a:lnTo>
                  <a:pt x="243" y="792"/>
                </a:lnTo>
                <a:lnTo>
                  <a:pt x="247" y="792"/>
                </a:lnTo>
                <a:lnTo>
                  <a:pt x="250" y="789"/>
                </a:lnTo>
                <a:lnTo>
                  <a:pt x="250" y="785"/>
                </a:lnTo>
                <a:lnTo>
                  <a:pt x="253" y="785"/>
                </a:lnTo>
                <a:lnTo>
                  <a:pt x="257" y="782"/>
                </a:lnTo>
                <a:lnTo>
                  <a:pt x="260" y="782"/>
                </a:lnTo>
                <a:lnTo>
                  <a:pt x="267" y="778"/>
                </a:lnTo>
                <a:lnTo>
                  <a:pt x="271" y="778"/>
                </a:lnTo>
                <a:lnTo>
                  <a:pt x="274" y="778"/>
                </a:lnTo>
                <a:lnTo>
                  <a:pt x="281" y="778"/>
                </a:lnTo>
                <a:lnTo>
                  <a:pt x="285" y="778"/>
                </a:lnTo>
                <a:lnTo>
                  <a:pt x="288" y="782"/>
                </a:lnTo>
                <a:lnTo>
                  <a:pt x="292" y="782"/>
                </a:lnTo>
                <a:lnTo>
                  <a:pt x="295" y="778"/>
                </a:lnTo>
                <a:lnTo>
                  <a:pt x="299" y="778"/>
                </a:lnTo>
                <a:lnTo>
                  <a:pt x="299" y="775"/>
                </a:lnTo>
                <a:lnTo>
                  <a:pt x="302" y="771"/>
                </a:lnTo>
                <a:lnTo>
                  <a:pt x="302" y="768"/>
                </a:lnTo>
                <a:lnTo>
                  <a:pt x="306" y="764"/>
                </a:lnTo>
                <a:lnTo>
                  <a:pt x="309" y="764"/>
                </a:lnTo>
                <a:lnTo>
                  <a:pt x="309" y="768"/>
                </a:lnTo>
                <a:lnTo>
                  <a:pt x="309" y="764"/>
                </a:lnTo>
                <a:lnTo>
                  <a:pt x="313" y="757"/>
                </a:lnTo>
                <a:lnTo>
                  <a:pt x="313" y="754"/>
                </a:lnTo>
                <a:lnTo>
                  <a:pt x="309" y="754"/>
                </a:lnTo>
                <a:lnTo>
                  <a:pt x="302" y="750"/>
                </a:lnTo>
                <a:lnTo>
                  <a:pt x="302" y="747"/>
                </a:lnTo>
                <a:lnTo>
                  <a:pt x="306" y="743"/>
                </a:lnTo>
                <a:lnTo>
                  <a:pt x="299" y="737"/>
                </a:lnTo>
                <a:lnTo>
                  <a:pt x="299" y="733"/>
                </a:lnTo>
                <a:lnTo>
                  <a:pt x="295" y="733"/>
                </a:lnTo>
                <a:lnTo>
                  <a:pt x="299" y="730"/>
                </a:lnTo>
                <a:lnTo>
                  <a:pt x="299" y="726"/>
                </a:lnTo>
                <a:lnTo>
                  <a:pt x="299" y="723"/>
                </a:lnTo>
                <a:lnTo>
                  <a:pt x="306" y="723"/>
                </a:lnTo>
                <a:lnTo>
                  <a:pt x="309" y="719"/>
                </a:lnTo>
                <a:lnTo>
                  <a:pt x="313" y="719"/>
                </a:lnTo>
                <a:lnTo>
                  <a:pt x="313" y="716"/>
                </a:lnTo>
                <a:lnTo>
                  <a:pt x="313" y="712"/>
                </a:lnTo>
                <a:lnTo>
                  <a:pt x="316" y="709"/>
                </a:lnTo>
                <a:lnTo>
                  <a:pt x="316" y="705"/>
                </a:lnTo>
                <a:lnTo>
                  <a:pt x="319" y="705"/>
                </a:lnTo>
                <a:lnTo>
                  <a:pt x="323" y="705"/>
                </a:lnTo>
                <a:lnTo>
                  <a:pt x="330" y="709"/>
                </a:lnTo>
                <a:lnTo>
                  <a:pt x="344" y="705"/>
                </a:lnTo>
                <a:lnTo>
                  <a:pt x="347" y="702"/>
                </a:lnTo>
                <a:lnTo>
                  <a:pt x="354" y="698"/>
                </a:lnTo>
                <a:lnTo>
                  <a:pt x="354" y="702"/>
                </a:lnTo>
                <a:lnTo>
                  <a:pt x="358" y="702"/>
                </a:lnTo>
                <a:lnTo>
                  <a:pt x="358" y="698"/>
                </a:lnTo>
                <a:lnTo>
                  <a:pt x="358" y="702"/>
                </a:lnTo>
                <a:lnTo>
                  <a:pt x="358" y="705"/>
                </a:lnTo>
                <a:lnTo>
                  <a:pt x="361" y="705"/>
                </a:lnTo>
                <a:lnTo>
                  <a:pt x="368" y="709"/>
                </a:lnTo>
                <a:lnTo>
                  <a:pt x="372" y="705"/>
                </a:lnTo>
                <a:lnTo>
                  <a:pt x="378" y="698"/>
                </a:lnTo>
                <a:lnTo>
                  <a:pt x="378" y="695"/>
                </a:lnTo>
                <a:lnTo>
                  <a:pt x="382" y="691"/>
                </a:lnTo>
                <a:lnTo>
                  <a:pt x="385" y="691"/>
                </a:lnTo>
                <a:lnTo>
                  <a:pt x="385" y="688"/>
                </a:lnTo>
                <a:lnTo>
                  <a:pt x="389" y="684"/>
                </a:lnTo>
                <a:lnTo>
                  <a:pt x="392" y="684"/>
                </a:lnTo>
                <a:lnTo>
                  <a:pt x="392" y="681"/>
                </a:lnTo>
                <a:lnTo>
                  <a:pt x="396" y="681"/>
                </a:lnTo>
                <a:lnTo>
                  <a:pt x="399" y="681"/>
                </a:lnTo>
                <a:lnTo>
                  <a:pt x="403" y="677"/>
                </a:lnTo>
                <a:lnTo>
                  <a:pt x="403" y="674"/>
                </a:lnTo>
                <a:lnTo>
                  <a:pt x="406" y="674"/>
                </a:lnTo>
                <a:lnTo>
                  <a:pt x="406" y="671"/>
                </a:lnTo>
                <a:lnTo>
                  <a:pt x="406" y="667"/>
                </a:lnTo>
                <a:lnTo>
                  <a:pt x="410" y="667"/>
                </a:lnTo>
                <a:lnTo>
                  <a:pt x="410" y="664"/>
                </a:lnTo>
                <a:lnTo>
                  <a:pt x="410" y="660"/>
                </a:lnTo>
                <a:lnTo>
                  <a:pt x="413" y="660"/>
                </a:lnTo>
                <a:lnTo>
                  <a:pt x="413" y="657"/>
                </a:lnTo>
                <a:lnTo>
                  <a:pt x="413" y="653"/>
                </a:lnTo>
                <a:lnTo>
                  <a:pt x="413" y="650"/>
                </a:lnTo>
                <a:lnTo>
                  <a:pt x="413" y="646"/>
                </a:lnTo>
                <a:lnTo>
                  <a:pt x="410" y="643"/>
                </a:lnTo>
                <a:lnTo>
                  <a:pt x="410" y="639"/>
                </a:lnTo>
                <a:lnTo>
                  <a:pt x="410" y="632"/>
                </a:lnTo>
                <a:lnTo>
                  <a:pt x="410" y="629"/>
                </a:lnTo>
                <a:lnTo>
                  <a:pt x="417" y="625"/>
                </a:lnTo>
                <a:lnTo>
                  <a:pt x="420" y="625"/>
                </a:lnTo>
                <a:lnTo>
                  <a:pt x="424" y="625"/>
                </a:lnTo>
                <a:lnTo>
                  <a:pt x="427" y="625"/>
                </a:lnTo>
                <a:lnTo>
                  <a:pt x="431" y="629"/>
                </a:lnTo>
                <a:lnTo>
                  <a:pt x="431" y="625"/>
                </a:lnTo>
                <a:lnTo>
                  <a:pt x="438" y="625"/>
                </a:lnTo>
                <a:lnTo>
                  <a:pt x="441" y="625"/>
                </a:lnTo>
                <a:lnTo>
                  <a:pt x="444" y="622"/>
                </a:lnTo>
                <a:lnTo>
                  <a:pt x="448" y="618"/>
                </a:lnTo>
                <a:lnTo>
                  <a:pt x="451" y="618"/>
                </a:lnTo>
                <a:lnTo>
                  <a:pt x="455" y="615"/>
                </a:lnTo>
                <a:lnTo>
                  <a:pt x="458" y="615"/>
                </a:lnTo>
                <a:lnTo>
                  <a:pt x="458" y="612"/>
                </a:lnTo>
                <a:lnTo>
                  <a:pt x="458" y="608"/>
                </a:lnTo>
                <a:lnTo>
                  <a:pt x="458" y="605"/>
                </a:lnTo>
                <a:lnTo>
                  <a:pt x="455" y="601"/>
                </a:lnTo>
                <a:lnTo>
                  <a:pt x="448" y="598"/>
                </a:lnTo>
                <a:lnTo>
                  <a:pt x="444" y="594"/>
                </a:lnTo>
                <a:lnTo>
                  <a:pt x="441" y="591"/>
                </a:lnTo>
                <a:lnTo>
                  <a:pt x="438" y="587"/>
                </a:lnTo>
                <a:lnTo>
                  <a:pt x="438" y="584"/>
                </a:lnTo>
                <a:lnTo>
                  <a:pt x="438" y="580"/>
                </a:lnTo>
                <a:lnTo>
                  <a:pt x="434" y="584"/>
                </a:lnTo>
                <a:lnTo>
                  <a:pt x="434" y="580"/>
                </a:lnTo>
                <a:lnTo>
                  <a:pt x="431" y="580"/>
                </a:lnTo>
                <a:lnTo>
                  <a:pt x="431" y="573"/>
                </a:lnTo>
                <a:lnTo>
                  <a:pt x="431" y="566"/>
                </a:lnTo>
                <a:lnTo>
                  <a:pt x="427" y="566"/>
                </a:lnTo>
                <a:lnTo>
                  <a:pt x="427" y="559"/>
                </a:lnTo>
                <a:lnTo>
                  <a:pt x="427" y="556"/>
                </a:lnTo>
                <a:lnTo>
                  <a:pt x="427" y="552"/>
                </a:lnTo>
                <a:lnTo>
                  <a:pt x="427" y="549"/>
                </a:lnTo>
                <a:lnTo>
                  <a:pt x="420" y="549"/>
                </a:lnTo>
                <a:lnTo>
                  <a:pt x="417" y="546"/>
                </a:lnTo>
                <a:lnTo>
                  <a:pt x="413" y="542"/>
                </a:lnTo>
                <a:lnTo>
                  <a:pt x="410" y="542"/>
                </a:lnTo>
                <a:lnTo>
                  <a:pt x="410" y="539"/>
                </a:lnTo>
                <a:lnTo>
                  <a:pt x="406" y="535"/>
                </a:lnTo>
                <a:lnTo>
                  <a:pt x="413" y="535"/>
                </a:lnTo>
                <a:lnTo>
                  <a:pt x="417" y="532"/>
                </a:lnTo>
                <a:lnTo>
                  <a:pt x="417" y="528"/>
                </a:lnTo>
                <a:lnTo>
                  <a:pt x="420" y="528"/>
                </a:lnTo>
                <a:lnTo>
                  <a:pt x="420" y="525"/>
                </a:lnTo>
                <a:lnTo>
                  <a:pt x="424" y="521"/>
                </a:lnTo>
                <a:lnTo>
                  <a:pt x="424" y="518"/>
                </a:lnTo>
                <a:lnTo>
                  <a:pt x="424" y="514"/>
                </a:lnTo>
                <a:lnTo>
                  <a:pt x="427" y="514"/>
                </a:lnTo>
                <a:lnTo>
                  <a:pt x="427" y="511"/>
                </a:lnTo>
                <a:lnTo>
                  <a:pt x="431" y="511"/>
                </a:lnTo>
                <a:lnTo>
                  <a:pt x="431" y="507"/>
                </a:lnTo>
                <a:lnTo>
                  <a:pt x="434" y="507"/>
                </a:lnTo>
                <a:lnTo>
                  <a:pt x="434" y="504"/>
                </a:lnTo>
                <a:lnTo>
                  <a:pt x="438" y="504"/>
                </a:lnTo>
                <a:lnTo>
                  <a:pt x="434" y="504"/>
                </a:lnTo>
                <a:lnTo>
                  <a:pt x="431" y="500"/>
                </a:lnTo>
                <a:lnTo>
                  <a:pt x="427" y="497"/>
                </a:lnTo>
                <a:lnTo>
                  <a:pt x="427" y="493"/>
                </a:lnTo>
                <a:lnTo>
                  <a:pt x="424" y="493"/>
                </a:lnTo>
                <a:lnTo>
                  <a:pt x="420" y="493"/>
                </a:lnTo>
                <a:lnTo>
                  <a:pt x="417" y="490"/>
                </a:lnTo>
                <a:lnTo>
                  <a:pt x="413" y="490"/>
                </a:lnTo>
                <a:lnTo>
                  <a:pt x="406" y="486"/>
                </a:lnTo>
                <a:lnTo>
                  <a:pt x="403" y="486"/>
                </a:lnTo>
                <a:lnTo>
                  <a:pt x="403" y="483"/>
                </a:lnTo>
                <a:lnTo>
                  <a:pt x="396" y="483"/>
                </a:lnTo>
                <a:lnTo>
                  <a:pt x="392" y="483"/>
                </a:lnTo>
                <a:lnTo>
                  <a:pt x="389" y="480"/>
                </a:lnTo>
                <a:lnTo>
                  <a:pt x="382" y="480"/>
                </a:lnTo>
                <a:lnTo>
                  <a:pt x="378" y="480"/>
                </a:lnTo>
                <a:lnTo>
                  <a:pt x="375" y="476"/>
                </a:lnTo>
                <a:lnTo>
                  <a:pt x="368" y="476"/>
                </a:lnTo>
                <a:lnTo>
                  <a:pt x="368" y="473"/>
                </a:lnTo>
                <a:lnTo>
                  <a:pt x="365" y="469"/>
                </a:lnTo>
                <a:lnTo>
                  <a:pt x="365" y="462"/>
                </a:lnTo>
                <a:lnTo>
                  <a:pt x="368" y="445"/>
                </a:lnTo>
                <a:lnTo>
                  <a:pt x="372" y="445"/>
                </a:lnTo>
                <a:lnTo>
                  <a:pt x="372" y="441"/>
                </a:lnTo>
                <a:lnTo>
                  <a:pt x="372" y="438"/>
                </a:lnTo>
                <a:lnTo>
                  <a:pt x="375" y="431"/>
                </a:lnTo>
                <a:lnTo>
                  <a:pt x="375" y="427"/>
                </a:lnTo>
                <a:lnTo>
                  <a:pt x="382" y="417"/>
                </a:lnTo>
                <a:lnTo>
                  <a:pt x="382" y="414"/>
                </a:lnTo>
                <a:lnTo>
                  <a:pt x="385" y="410"/>
                </a:lnTo>
                <a:lnTo>
                  <a:pt x="385" y="407"/>
                </a:lnTo>
                <a:lnTo>
                  <a:pt x="389" y="407"/>
                </a:lnTo>
                <a:lnTo>
                  <a:pt x="389" y="403"/>
                </a:lnTo>
                <a:lnTo>
                  <a:pt x="392" y="403"/>
                </a:lnTo>
                <a:lnTo>
                  <a:pt x="392" y="400"/>
                </a:lnTo>
                <a:lnTo>
                  <a:pt x="396" y="400"/>
                </a:lnTo>
                <a:lnTo>
                  <a:pt x="396" y="403"/>
                </a:lnTo>
                <a:lnTo>
                  <a:pt x="399" y="403"/>
                </a:lnTo>
                <a:lnTo>
                  <a:pt x="403" y="403"/>
                </a:lnTo>
                <a:lnTo>
                  <a:pt x="403" y="400"/>
                </a:lnTo>
                <a:lnTo>
                  <a:pt x="406" y="400"/>
                </a:lnTo>
                <a:lnTo>
                  <a:pt x="410" y="400"/>
                </a:lnTo>
                <a:lnTo>
                  <a:pt x="413" y="400"/>
                </a:lnTo>
                <a:lnTo>
                  <a:pt x="413" y="403"/>
                </a:lnTo>
                <a:lnTo>
                  <a:pt x="417" y="403"/>
                </a:lnTo>
                <a:lnTo>
                  <a:pt x="420" y="400"/>
                </a:lnTo>
                <a:lnTo>
                  <a:pt x="420" y="403"/>
                </a:lnTo>
                <a:lnTo>
                  <a:pt x="424" y="403"/>
                </a:lnTo>
                <a:lnTo>
                  <a:pt x="427" y="403"/>
                </a:lnTo>
                <a:lnTo>
                  <a:pt x="431" y="400"/>
                </a:lnTo>
                <a:lnTo>
                  <a:pt x="431" y="396"/>
                </a:lnTo>
                <a:lnTo>
                  <a:pt x="434" y="396"/>
                </a:lnTo>
                <a:lnTo>
                  <a:pt x="434" y="393"/>
                </a:lnTo>
                <a:lnTo>
                  <a:pt x="438" y="393"/>
                </a:lnTo>
                <a:lnTo>
                  <a:pt x="441" y="393"/>
                </a:lnTo>
                <a:lnTo>
                  <a:pt x="444" y="393"/>
                </a:lnTo>
                <a:lnTo>
                  <a:pt x="448" y="393"/>
                </a:lnTo>
                <a:lnTo>
                  <a:pt x="451" y="393"/>
                </a:lnTo>
                <a:lnTo>
                  <a:pt x="455" y="393"/>
                </a:lnTo>
                <a:lnTo>
                  <a:pt x="458" y="393"/>
                </a:lnTo>
                <a:lnTo>
                  <a:pt x="462" y="393"/>
                </a:lnTo>
                <a:lnTo>
                  <a:pt x="465" y="393"/>
                </a:lnTo>
                <a:lnTo>
                  <a:pt x="465" y="396"/>
                </a:lnTo>
                <a:lnTo>
                  <a:pt x="469" y="396"/>
                </a:lnTo>
                <a:lnTo>
                  <a:pt x="472" y="396"/>
                </a:lnTo>
                <a:lnTo>
                  <a:pt x="472" y="400"/>
                </a:lnTo>
                <a:lnTo>
                  <a:pt x="472" y="396"/>
                </a:lnTo>
                <a:lnTo>
                  <a:pt x="476" y="396"/>
                </a:lnTo>
                <a:lnTo>
                  <a:pt x="479" y="396"/>
                </a:lnTo>
                <a:lnTo>
                  <a:pt x="483" y="396"/>
                </a:lnTo>
                <a:lnTo>
                  <a:pt x="483" y="393"/>
                </a:lnTo>
                <a:lnTo>
                  <a:pt x="486" y="396"/>
                </a:lnTo>
                <a:lnTo>
                  <a:pt x="490" y="396"/>
                </a:lnTo>
                <a:lnTo>
                  <a:pt x="490" y="400"/>
                </a:lnTo>
                <a:lnTo>
                  <a:pt x="493" y="400"/>
                </a:lnTo>
                <a:lnTo>
                  <a:pt x="497" y="400"/>
                </a:lnTo>
                <a:lnTo>
                  <a:pt x="497" y="403"/>
                </a:lnTo>
                <a:lnTo>
                  <a:pt x="500" y="407"/>
                </a:lnTo>
                <a:lnTo>
                  <a:pt x="500" y="410"/>
                </a:lnTo>
                <a:lnTo>
                  <a:pt x="503" y="410"/>
                </a:lnTo>
                <a:lnTo>
                  <a:pt x="503" y="414"/>
                </a:lnTo>
                <a:lnTo>
                  <a:pt x="503" y="410"/>
                </a:lnTo>
                <a:lnTo>
                  <a:pt x="507" y="410"/>
                </a:lnTo>
                <a:lnTo>
                  <a:pt x="507" y="407"/>
                </a:lnTo>
                <a:lnTo>
                  <a:pt x="510" y="407"/>
                </a:lnTo>
                <a:lnTo>
                  <a:pt x="510" y="410"/>
                </a:lnTo>
                <a:lnTo>
                  <a:pt x="514" y="410"/>
                </a:lnTo>
                <a:lnTo>
                  <a:pt x="514" y="407"/>
                </a:lnTo>
                <a:lnTo>
                  <a:pt x="517" y="407"/>
                </a:lnTo>
                <a:lnTo>
                  <a:pt x="517" y="403"/>
                </a:lnTo>
                <a:lnTo>
                  <a:pt x="521" y="400"/>
                </a:lnTo>
                <a:lnTo>
                  <a:pt x="521" y="403"/>
                </a:lnTo>
                <a:lnTo>
                  <a:pt x="521" y="407"/>
                </a:lnTo>
                <a:lnTo>
                  <a:pt x="521" y="410"/>
                </a:lnTo>
                <a:lnTo>
                  <a:pt x="517" y="414"/>
                </a:lnTo>
                <a:lnTo>
                  <a:pt x="517" y="417"/>
                </a:lnTo>
                <a:lnTo>
                  <a:pt x="514" y="417"/>
                </a:lnTo>
                <a:lnTo>
                  <a:pt x="514" y="421"/>
                </a:lnTo>
                <a:lnTo>
                  <a:pt x="510" y="421"/>
                </a:lnTo>
                <a:lnTo>
                  <a:pt x="507" y="421"/>
                </a:lnTo>
                <a:lnTo>
                  <a:pt x="503" y="421"/>
                </a:lnTo>
                <a:lnTo>
                  <a:pt x="503" y="424"/>
                </a:lnTo>
                <a:lnTo>
                  <a:pt x="503" y="427"/>
                </a:lnTo>
                <a:lnTo>
                  <a:pt x="507" y="427"/>
                </a:lnTo>
                <a:lnTo>
                  <a:pt x="507" y="431"/>
                </a:lnTo>
                <a:lnTo>
                  <a:pt x="507" y="434"/>
                </a:lnTo>
                <a:lnTo>
                  <a:pt x="510" y="434"/>
                </a:lnTo>
                <a:lnTo>
                  <a:pt x="514" y="438"/>
                </a:lnTo>
                <a:lnTo>
                  <a:pt x="514" y="441"/>
                </a:lnTo>
                <a:lnTo>
                  <a:pt x="517" y="441"/>
                </a:lnTo>
                <a:lnTo>
                  <a:pt x="517" y="445"/>
                </a:lnTo>
                <a:lnTo>
                  <a:pt x="521" y="445"/>
                </a:lnTo>
                <a:lnTo>
                  <a:pt x="524" y="445"/>
                </a:lnTo>
                <a:lnTo>
                  <a:pt x="528" y="445"/>
                </a:lnTo>
                <a:lnTo>
                  <a:pt x="528" y="448"/>
                </a:lnTo>
                <a:lnTo>
                  <a:pt x="531" y="448"/>
                </a:lnTo>
                <a:lnTo>
                  <a:pt x="531" y="452"/>
                </a:lnTo>
                <a:lnTo>
                  <a:pt x="535" y="452"/>
                </a:lnTo>
                <a:lnTo>
                  <a:pt x="538" y="455"/>
                </a:lnTo>
                <a:lnTo>
                  <a:pt x="542" y="459"/>
                </a:lnTo>
                <a:lnTo>
                  <a:pt x="545" y="459"/>
                </a:lnTo>
                <a:lnTo>
                  <a:pt x="549" y="462"/>
                </a:lnTo>
                <a:lnTo>
                  <a:pt x="549" y="466"/>
                </a:lnTo>
                <a:lnTo>
                  <a:pt x="552" y="466"/>
                </a:lnTo>
                <a:lnTo>
                  <a:pt x="552" y="469"/>
                </a:lnTo>
                <a:lnTo>
                  <a:pt x="552" y="473"/>
                </a:lnTo>
                <a:lnTo>
                  <a:pt x="552" y="469"/>
                </a:lnTo>
                <a:lnTo>
                  <a:pt x="549" y="469"/>
                </a:lnTo>
                <a:lnTo>
                  <a:pt x="545" y="469"/>
                </a:lnTo>
                <a:lnTo>
                  <a:pt x="542" y="469"/>
                </a:lnTo>
                <a:lnTo>
                  <a:pt x="538" y="469"/>
                </a:lnTo>
                <a:lnTo>
                  <a:pt x="535" y="473"/>
                </a:lnTo>
                <a:lnTo>
                  <a:pt x="535" y="476"/>
                </a:lnTo>
                <a:lnTo>
                  <a:pt x="531" y="476"/>
                </a:lnTo>
                <a:lnTo>
                  <a:pt x="531" y="480"/>
                </a:lnTo>
                <a:lnTo>
                  <a:pt x="528" y="483"/>
                </a:lnTo>
                <a:lnTo>
                  <a:pt x="528" y="486"/>
                </a:lnTo>
                <a:lnTo>
                  <a:pt x="531" y="490"/>
                </a:lnTo>
                <a:lnTo>
                  <a:pt x="528" y="490"/>
                </a:lnTo>
                <a:lnTo>
                  <a:pt x="528" y="493"/>
                </a:lnTo>
                <a:lnTo>
                  <a:pt x="524" y="493"/>
                </a:lnTo>
                <a:lnTo>
                  <a:pt x="524" y="497"/>
                </a:lnTo>
                <a:lnTo>
                  <a:pt x="521" y="497"/>
                </a:lnTo>
                <a:lnTo>
                  <a:pt x="521" y="500"/>
                </a:lnTo>
                <a:lnTo>
                  <a:pt x="521" y="504"/>
                </a:lnTo>
                <a:lnTo>
                  <a:pt x="517" y="504"/>
                </a:lnTo>
                <a:lnTo>
                  <a:pt x="521" y="504"/>
                </a:lnTo>
                <a:lnTo>
                  <a:pt x="521" y="507"/>
                </a:lnTo>
                <a:lnTo>
                  <a:pt x="521" y="511"/>
                </a:lnTo>
                <a:lnTo>
                  <a:pt x="521" y="514"/>
                </a:lnTo>
                <a:lnTo>
                  <a:pt x="524" y="518"/>
                </a:lnTo>
                <a:lnTo>
                  <a:pt x="528" y="518"/>
                </a:lnTo>
                <a:lnTo>
                  <a:pt x="528" y="521"/>
                </a:lnTo>
                <a:lnTo>
                  <a:pt x="528" y="525"/>
                </a:lnTo>
                <a:lnTo>
                  <a:pt x="528" y="528"/>
                </a:lnTo>
                <a:lnTo>
                  <a:pt x="531" y="528"/>
                </a:lnTo>
                <a:lnTo>
                  <a:pt x="531" y="532"/>
                </a:lnTo>
                <a:lnTo>
                  <a:pt x="535" y="532"/>
                </a:lnTo>
                <a:lnTo>
                  <a:pt x="535" y="535"/>
                </a:lnTo>
                <a:lnTo>
                  <a:pt x="538" y="535"/>
                </a:lnTo>
                <a:lnTo>
                  <a:pt x="538" y="539"/>
                </a:lnTo>
                <a:lnTo>
                  <a:pt x="542" y="539"/>
                </a:lnTo>
                <a:lnTo>
                  <a:pt x="545" y="539"/>
                </a:lnTo>
                <a:lnTo>
                  <a:pt x="545" y="542"/>
                </a:lnTo>
                <a:lnTo>
                  <a:pt x="549" y="542"/>
                </a:lnTo>
                <a:lnTo>
                  <a:pt x="552" y="542"/>
                </a:lnTo>
                <a:lnTo>
                  <a:pt x="556" y="542"/>
                </a:lnTo>
                <a:lnTo>
                  <a:pt x="559" y="542"/>
                </a:lnTo>
                <a:lnTo>
                  <a:pt x="563" y="542"/>
                </a:lnTo>
                <a:lnTo>
                  <a:pt x="563" y="539"/>
                </a:lnTo>
                <a:lnTo>
                  <a:pt x="566" y="539"/>
                </a:lnTo>
                <a:lnTo>
                  <a:pt x="569" y="539"/>
                </a:lnTo>
                <a:lnTo>
                  <a:pt x="569" y="542"/>
                </a:lnTo>
                <a:lnTo>
                  <a:pt x="569" y="546"/>
                </a:lnTo>
                <a:lnTo>
                  <a:pt x="573" y="546"/>
                </a:lnTo>
                <a:lnTo>
                  <a:pt x="569" y="549"/>
                </a:lnTo>
                <a:lnTo>
                  <a:pt x="569" y="552"/>
                </a:lnTo>
                <a:lnTo>
                  <a:pt x="569" y="556"/>
                </a:lnTo>
                <a:lnTo>
                  <a:pt x="573" y="556"/>
                </a:lnTo>
                <a:lnTo>
                  <a:pt x="573" y="559"/>
                </a:lnTo>
                <a:lnTo>
                  <a:pt x="576" y="559"/>
                </a:lnTo>
                <a:lnTo>
                  <a:pt x="580" y="559"/>
                </a:lnTo>
                <a:lnTo>
                  <a:pt x="580" y="563"/>
                </a:lnTo>
                <a:lnTo>
                  <a:pt x="583" y="563"/>
                </a:lnTo>
                <a:lnTo>
                  <a:pt x="587" y="563"/>
                </a:lnTo>
                <a:lnTo>
                  <a:pt x="587" y="566"/>
                </a:lnTo>
                <a:lnTo>
                  <a:pt x="590" y="566"/>
                </a:lnTo>
                <a:lnTo>
                  <a:pt x="594" y="566"/>
                </a:lnTo>
                <a:lnTo>
                  <a:pt x="597" y="570"/>
                </a:lnTo>
                <a:lnTo>
                  <a:pt x="597" y="573"/>
                </a:lnTo>
                <a:lnTo>
                  <a:pt x="597" y="577"/>
                </a:lnTo>
                <a:lnTo>
                  <a:pt x="597" y="580"/>
                </a:lnTo>
                <a:lnTo>
                  <a:pt x="601" y="580"/>
                </a:lnTo>
                <a:lnTo>
                  <a:pt x="604" y="584"/>
                </a:lnTo>
                <a:lnTo>
                  <a:pt x="608" y="587"/>
                </a:lnTo>
                <a:lnTo>
                  <a:pt x="611" y="591"/>
                </a:lnTo>
                <a:lnTo>
                  <a:pt x="615" y="594"/>
                </a:lnTo>
                <a:lnTo>
                  <a:pt x="618" y="594"/>
                </a:lnTo>
                <a:lnTo>
                  <a:pt x="618" y="598"/>
                </a:lnTo>
                <a:lnTo>
                  <a:pt x="622" y="598"/>
                </a:lnTo>
                <a:lnTo>
                  <a:pt x="625" y="601"/>
                </a:lnTo>
                <a:lnTo>
                  <a:pt x="628" y="601"/>
                </a:lnTo>
                <a:lnTo>
                  <a:pt x="628" y="605"/>
                </a:lnTo>
                <a:lnTo>
                  <a:pt x="632" y="605"/>
                </a:lnTo>
                <a:lnTo>
                  <a:pt x="635" y="605"/>
                </a:lnTo>
                <a:lnTo>
                  <a:pt x="635" y="608"/>
                </a:lnTo>
                <a:lnTo>
                  <a:pt x="639" y="608"/>
                </a:lnTo>
                <a:lnTo>
                  <a:pt x="642" y="612"/>
                </a:lnTo>
                <a:lnTo>
                  <a:pt x="646" y="612"/>
                </a:lnTo>
                <a:lnTo>
                  <a:pt x="649" y="615"/>
                </a:lnTo>
                <a:lnTo>
                  <a:pt x="653" y="615"/>
                </a:lnTo>
                <a:lnTo>
                  <a:pt x="653" y="618"/>
                </a:lnTo>
                <a:lnTo>
                  <a:pt x="656" y="618"/>
                </a:lnTo>
                <a:lnTo>
                  <a:pt x="660" y="618"/>
                </a:lnTo>
                <a:lnTo>
                  <a:pt x="660" y="615"/>
                </a:lnTo>
                <a:lnTo>
                  <a:pt x="663" y="612"/>
                </a:lnTo>
                <a:lnTo>
                  <a:pt x="663" y="608"/>
                </a:lnTo>
                <a:lnTo>
                  <a:pt x="667" y="608"/>
                </a:lnTo>
                <a:lnTo>
                  <a:pt x="670" y="612"/>
                </a:lnTo>
                <a:lnTo>
                  <a:pt x="674" y="615"/>
                </a:lnTo>
                <a:lnTo>
                  <a:pt x="677" y="615"/>
                </a:lnTo>
                <a:lnTo>
                  <a:pt x="677" y="618"/>
                </a:lnTo>
                <a:lnTo>
                  <a:pt x="677" y="622"/>
                </a:lnTo>
                <a:lnTo>
                  <a:pt x="681" y="622"/>
                </a:lnTo>
                <a:lnTo>
                  <a:pt x="681" y="625"/>
                </a:lnTo>
                <a:lnTo>
                  <a:pt x="681" y="629"/>
                </a:lnTo>
                <a:lnTo>
                  <a:pt x="684" y="629"/>
                </a:lnTo>
                <a:lnTo>
                  <a:pt x="688" y="629"/>
                </a:lnTo>
                <a:lnTo>
                  <a:pt x="688" y="625"/>
                </a:lnTo>
                <a:lnTo>
                  <a:pt x="691" y="622"/>
                </a:lnTo>
                <a:lnTo>
                  <a:pt x="694" y="618"/>
                </a:lnTo>
                <a:lnTo>
                  <a:pt x="694" y="615"/>
                </a:lnTo>
                <a:lnTo>
                  <a:pt x="698" y="615"/>
                </a:lnTo>
                <a:lnTo>
                  <a:pt x="698" y="612"/>
                </a:lnTo>
                <a:lnTo>
                  <a:pt x="701" y="608"/>
                </a:lnTo>
                <a:lnTo>
                  <a:pt x="701" y="605"/>
                </a:lnTo>
                <a:lnTo>
                  <a:pt x="705" y="605"/>
                </a:lnTo>
                <a:lnTo>
                  <a:pt x="708" y="605"/>
                </a:lnTo>
                <a:lnTo>
                  <a:pt x="708" y="601"/>
                </a:lnTo>
                <a:lnTo>
                  <a:pt x="712" y="601"/>
                </a:lnTo>
                <a:lnTo>
                  <a:pt x="715" y="601"/>
                </a:lnTo>
                <a:lnTo>
                  <a:pt x="715" y="598"/>
                </a:lnTo>
                <a:lnTo>
                  <a:pt x="715" y="594"/>
                </a:lnTo>
                <a:lnTo>
                  <a:pt x="715" y="591"/>
                </a:lnTo>
                <a:lnTo>
                  <a:pt x="715" y="587"/>
                </a:lnTo>
                <a:lnTo>
                  <a:pt x="715" y="584"/>
                </a:lnTo>
                <a:lnTo>
                  <a:pt x="715" y="580"/>
                </a:lnTo>
                <a:lnTo>
                  <a:pt x="715" y="577"/>
                </a:lnTo>
                <a:lnTo>
                  <a:pt x="715" y="573"/>
                </a:lnTo>
                <a:lnTo>
                  <a:pt x="712" y="573"/>
                </a:lnTo>
                <a:lnTo>
                  <a:pt x="712" y="570"/>
                </a:lnTo>
                <a:lnTo>
                  <a:pt x="712" y="566"/>
                </a:lnTo>
                <a:lnTo>
                  <a:pt x="715" y="566"/>
                </a:lnTo>
                <a:lnTo>
                  <a:pt x="715" y="563"/>
                </a:lnTo>
                <a:lnTo>
                  <a:pt x="712" y="563"/>
                </a:lnTo>
                <a:lnTo>
                  <a:pt x="712" y="559"/>
                </a:lnTo>
                <a:lnTo>
                  <a:pt x="708" y="559"/>
                </a:lnTo>
                <a:lnTo>
                  <a:pt x="705" y="556"/>
                </a:lnTo>
                <a:lnTo>
                  <a:pt x="705" y="552"/>
                </a:lnTo>
                <a:lnTo>
                  <a:pt x="705" y="549"/>
                </a:lnTo>
                <a:lnTo>
                  <a:pt x="708" y="549"/>
                </a:lnTo>
                <a:lnTo>
                  <a:pt x="708" y="546"/>
                </a:lnTo>
                <a:lnTo>
                  <a:pt x="708" y="542"/>
                </a:lnTo>
                <a:lnTo>
                  <a:pt x="712" y="542"/>
                </a:lnTo>
                <a:lnTo>
                  <a:pt x="712" y="539"/>
                </a:lnTo>
                <a:lnTo>
                  <a:pt x="715" y="539"/>
                </a:lnTo>
                <a:lnTo>
                  <a:pt x="712" y="535"/>
                </a:lnTo>
                <a:lnTo>
                  <a:pt x="715" y="535"/>
                </a:lnTo>
                <a:lnTo>
                  <a:pt x="719" y="532"/>
                </a:lnTo>
                <a:lnTo>
                  <a:pt x="722" y="528"/>
                </a:lnTo>
                <a:lnTo>
                  <a:pt x="722" y="525"/>
                </a:lnTo>
                <a:lnTo>
                  <a:pt x="722" y="521"/>
                </a:lnTo>
                <a:lnTo>
                  <a:pt x="719" y="521"/>
                </a:lnTo>
                <a:lnTo>
                  <a:pt x="719" y="518"/>
                </a:lnTo>
                <a:lnTo>
                  <a:pt x="715" y="518"/>
                </a:lnTo>
                <a:lnTo>
                  <a:pt x="715" y="514"/>
                </a:lnTo>
                <a:lnTo>
                  <a:pt x="715" y="511"/>
                </a:lnTo>
                <a:lnTo>
                  <a:pt x="712" y="511"/>
                </a:lnTo>
                <a:lnTo>
                  <a:pt x="712" y="507"/>
                </a:lnTo>
                <a:lnTo>
                  <a:pt x="712" y="504"/>
                </a:lnTo>
                <a:lnTo>
                  <a:pt x="715" y="504"/>
                </a:lnTo>
                <a:lnTo>
                  <a:pt x="712" y="504"/>
                </a:lnTo>
                <a:lnTo>
                  <a:pt x="712" y="500"/>
                </a:lnTo>
                <a:lnTo>
                  <a:pt x="715" y="500"/>
                </a:lnTo>
                <a:lnTo>
                  <a:pt x="719" y="497"/>
                </a:lnTo>
                <a:lnTo>
                  <a:pt x="722" y="497"/>
                </a:lnTo>
                <a:lnTo>
                  <a:pt x="726" y="497"/>
                </a:lnTo>
                <a:lnTo>
                  <a:pt x="729" y="497"/>
                </a:lnTo>
                <a:lnTo>
                  <a:pt x="733" y="497"/>
                </a:lnTo>
                <a:lnTo>
                  <a:pt x="733" y="493"/>
                </a:lnTo>
                <a:lnTo>
                  <a:pt x="733" y="490"/>
                </a:lnTo>
                <a:lnTo>
                  <a:pt x="729" y="490"/>
                </a:lnTo>
                <a:lnTo>
                  <a:pt x="729" y="486"/>
                </a:lnTo>
                <a:lnTo>
                  <a:pt x="729" y="483"/>
                </a:lnTo>
                <a:lnTo>
                  <a:pt x="726" y="480"/>
                </a:lnTo>
                <a:lnTo>
                  <a:pt x="729" y="480"/>
                </a:lnTo>
                <a:lnTo>
                  <a:pt x="729" y="476"/>
                </a:lnTo>
                <a:lnTo>
                  <a:pt x="733" y="476"/>
                </a:lnTo>
                <a:lnTo>
                  <a:pt x="733" y="473"/>
                </a:lnTo>
                <a:lnTo>
                  <a:pt x="733" y="469"/>
                </a:lnTo>
                <a:lnTo>
                  <a:pt x="736" y="469"/>
                </a:lnTo>
                <a:lnTo>
                  <a:pt x="736" y="466"/>
                </a:lnTo>
                <a:lnTo>
                  <a:pt x="740" y="466"/>
                </a:lnTo>
                <a:lnTo>
                  <a:pt x="740" y="462"/>
                </a:lnTo>
                <a:lnTo>
                  <a:pt x="740" y="459"/>
                </a:lnTo>
                <a:lnTo>
                  <a:pt x="743" y="459"/>
                </a:lnTo>
                <a:lnTo>
                  <a:pt x="747" y="459"/>
                </a:lnTo>
                <a:lnTo>
                  <a:pt x="747" y="455"/>
                </a:lnTo>
                <a:lnTo>
                  <a:pt x="750" y="452"/>
                </a:lnTo>
                <a:lnTo>
                  <a:pt x="750" y="448"/>
                </a:lnTo>
                <a:lnTo>
                  <a:pt x="753" y="448"/>
                </a:lnTo>
                <a:lnTo>
                  <a:pt x="753" y="445"/>
                </a:lnTo>
                <a:lnTo>
                  <a:pt x="753" y="441"/>
                </a:lnTo>
                <a:lnTo>
                  <a:pt x="753" y="438"/>
                </a:lnTo>
                <a:lnTo>
                  <a:pt x="750" y="434"/>
                </a:lnTo>
                <a:lnTo>
                  <a:pt x="747" y="431"/>
                </a:lnTo>
                <a:lnTo>
                  <a:pt x="747" y="427"/>
                </a:lnTo>
                <a:lnTo>
                  <a:pt x="747" y="424"/>
                </a:lnTo>
                <a:lnTo>
                  <a:pt x="747" y="421"/>
                </a:lnTo>
                <a:lnTo>
                  <a:pt x="743" y="417"/>
                </a:lnTo>
                <a:lnTo>
                  <a:pt x="743" y="414"/>
                </a:lnTo>
                <a:lnTo>
                  <a:pt x="740" y="414"/>
                </a:lnTo>
                <a:lnTo>
                  <a:pt x="740" y="410"/>
                </a:lnTo>
                <a:lnTo>
                  <a:pt x="740" y="407"/>
                </a:lnTo>
                <a:lnTo>
                  <a:pt x="736" y="403"/>
                </a:lnTo>
                <a:lnTo>
                  <a:pt x="740" y="400"/>
                </a:lnTo>
                <a:lnTo>
                  <a:pt x="740" y="396"/>
                </a:lnTo>
                <a:lnTo>
                  <a:pt x="740" y="393"/>
                </a:lnTo>
                <a:lnTo>
                  <a:pt x="740" y="389"/>
                </a:lnTo>
                <a:lnTo>
                  <a:pt x="740" y="386"/>
                </a:lnTo>
                <a:lnTo>
                  <a:pt x="736" y="386"/>
                </a:lnTo>
                <a:lnTo>
                  <a:pt x="736" y="382"/>
                </a:lnTo>
                <a:lnTo>
                  <a:pt x="733" y="382"/>
                </a:lnTo>
                <a:lnTo>
                  <a:pt x="729" y="379"/>
                </a:lnTo>
                <a:lnTo>
                  <a:pt x="729" y="375"/>
                </a:lnTo>
                <a:lnTo>
                  <a:pt x="726" y="375"/>
                </a:lnTo>
                <a:lnTo>
                  <a:pt x="726" y="372"/>
                </a:lnTo>
                <a:lnTo>
                  <a:pt x="722" y="372"/>
                </a:lnTo>
                <a:lnTo>
                  <a:pt x="722" y="368"/>
                </a:lnTo>
                <a:lnTo>
                  <a:pt x="719" y="368"/>
                </a:lnTo>
                <a:lnTo>
                  <a:pt x="719" y="365"/>
                </a:lnTo>
                <a:lnTo>
                  <a:pt x="719" y="361"/>
                </a:lnTo>
                <a:lnTo>
                  <a:pt x="715" y="361"/>
                </a:lnTo>
                <a:lnTo>
                  <a:pt x="719" y="361"/>
                </a:lnTo>
                <a:lnTo>
                  <a:pt x="715" y="361"/>
                </a:lnTo>
                <a:lnTo>
                  <a:pt x="715" y="358"/>
                </a:lnTo>
                <a:lnTo>
                  <a:pt x="712" y="358"/>
                </a:lnTo>
                <a:lnTo>
                  <a:pt x="712" y="355"/>
                </a:lnTo>
                <a:lnTo>
                  <a:pt x="708" y="355"/>
                </a:lnTo>
                <a:lnTo>
                  <a:pt x="705" y="355"/>
                </a:lnTo>
                <a:lnTo>
                  <a:pt x="701" y="355"/>
                </a:lnTo>
                <a:lnTo>
                  <a:pt x="698" y="351"/>
                </a:lnTo>
                <a:lnTo>
                  <a:pt x="694" y="348"/>
                </a:lnTo>
                <a:lnTo>
                  <a:pt x="691" y="348"/>
                </a:lnTo>
                <a:lnTo>
                  <a:pt x="688" y="348"/>
                </a:lnTo>
                <a:lnTo>
                  <a:pt x="688" y="351"/>
                </a:lnTo>
                <a:lnTo>
                  <a:pt x="684" y="351"/>
                </a:lnTo>
                <a:lnTo>
                  <a:pt x="684" y="355"/>
                </a:lnTo>
                <a:lnTo>
                  <a:pt x="684" y="358"/>
                </a:lnTo>
                <a:lnTo>
                  <a:pt x="681" y="358"/>
                </a:lnTo>
                <a:lnTo>
                  <a:pt x="677" y="358"/>
                </a:lnTo>
                <a:lnTo>
                  <a:pt x="674" y="361"/>
                </a:lnTo>
                <a:lnTo>
                  <a:pt x="670" y="365"/>
                </a:lnTo>
                <a:lnTo>
                  <a:pt x="663" y="365"/>
                </a:lnTo>
                <a:lnTo>
                  <a:pt x="660" y="365"/>
                </a:lnTo>
                <a:lnTo>
                  <a:pt x="656" y="365"/>
                </a:lnTo>
                <a:lnTo>
                  <a:pt x="653" y="361"/>
                </a:lnTo>
                <a:lnTo>
                  <a:pt x="649" y="361"/>
                </a:lnTo>
                <a:lnTo>
                  <a:pt x="649" y="365"/>
                </a:lnTo>
                <a:lnTo>
                  <a:pt x="646" y="361"/>
                </a:lnTo>
                <a:lnTo>
                  <a:pt x="642" y="361"/>
                </a:lnTo>
                <a:lnTo>
                  <a:pt x="642" y="358"/>
                </a:lnTo>
                <a:lnTo>
                  <a:pt x="639" y="358"/>
                </a:lnTo>
                <a:lnTo>
                  <a:pt x="639" y="361"/>
                </a:lnTo>
                <a:lnTo>
                  <a:pt x="639" y="358"/>
                </a:lnTo>
                <a:lnTo>
                  <a:pt x="635" y="358"/>
                </a:lnTo>
                <a:lnTo>
                  <a:pt x="635" y="361"/>
                </a:lnTo>
                <a:lnTo>
                  <a:pt x="632" y="361"/>
                </a:lnTo>
                <a:lnTo>
                  <a:pt x="628" y="361"/>
                </a:lnTo>
                <a:lnTo>
                  <a:pt x="625" y="361"/>
                </a:lnTo>
                <a:lnTo>
                  <a:pt x="625" y="358"/>
                </a:lnTo>
                <a:lnTo>
                  <a:pt x="622" y="355"/>
                </a:lnTo>
                <a:lnTo>
                  <a:pt x="618" y="355"/>
                </a:lnTo>
                <a:lnTo>
                  <a:pt x="618" y="351"/>
                </a:lnTo>
                <a:lnTo>
                  <a:pt x="615" y="351"/>
                </a:lnTo>
                <a:lnTo>
                  <a:pt x="615" y="348"/>
                </a:lnTo>
                <a:lnTo>
                  <a:pt x="611" y="348"/>
                </a:lnTo>
                <a:lnTo>
                  <a:pt x="611" y="344"/>
                </a:lnTo>
                <a:lnTo>
                  <a:pt x="611" y="341"/>
                </a:lnTo>
                <a:lnTo>
                  <a:pt x="615" y="341"/>
                </a:lnTo>
                <a:lnTo>
                  <a:pt x="615" y="337"/>
                </a:lnTo>
                <a:lnTo>
                  <a:pt x="615" y="334"/>
                </a:lnTo>
                <a:lnTo>
                  <a:pt x="618" y="330"/>
                </a:lnTo>
                <a:lnTo>
                  <a:pt x="618" y="327"/>
                </a:lnTo>
                <a:lnTo>
                  <a:pt x="622" y="327"/>
                </a:lnTo>
                <a:lnTo>
                  <a:pt x="622" y="323"/>
                </a:lnTo>
                <a:lnTo>
                  <a:pt x="625" y="323"/>
                </a:lnTo>
                <a:lnTo>
                  <a:pt x="628" y="323"/>
                </a:lnTo>
                <a:lnTo>
                  <a:pt x="632" y="323"/>
                </a:lnTo>
                <a:lnTo>
                  <a:pt x="632" y="320"/>
                </a:lnTo>
                <a:lnTo>
                  <a:pt x="635" y="320"/>
                </a:lnTo>
                <a:lnTo>
                  <a:pt x="635" y="316"/>
                </a:lnTo>
                <a:lnTo>
                  <a:pt x="635" y="313"/>
                </a:lnTo>
                <a:lnTo>
                  <a:pt x="635" y="309"/>
                </a:lnTo>
                <a:lnTo>
                  <a:pt x="632" y="309"/>
                </a:lnTo>
                <a:lnTo>
                  <a:pt x="635" y="309"/>
                </a:lnTo>
                <a:lnTo>
                  <a:pt x="635" y="306"/>
                </a:lnTo>
                <a:lnTo>
                  <a:pt x="639" y="306"/>
                </a:lnTo>
                <a:lnTo>
                  <a:pt x="639" y="302"/>
                </a:lnTo>
                <a:lnTo>
                  <a:pt x="639" y="299"/>
                </a:lnTo>
                <a:lnTo>
                  <a:pt x="639" y="295"/>
                </a:lnTo>
                <a:lnTo>
                  <a:pt x="632" y="295"/>
                </a:lnTo>
                <a:lnTo>
                  <a:pt x="635" y="292"/>
                </a:lnTo>
                <a:lnTo>
                  <a:pt x="632" y="292"/>
                </a:lnTo>
                <a:lnTo>
                  <a:pt x="632" y="295"/>
                </a:lnTo>
                <a:lnTo>
                  <a:pt x="628" y="295"/>
                </a:lnTo>
                <a:lnTo>
                  <a:pt x="628" y="292"/>
                </a:lnTo>
                <a:lnTo>
                  <a:pt x="632" y="292"/>
                </a:lnTo>
                <a:lnTo>
                  <a:pt x="632" y="289"/>
                </a:lnTo>
                <a:lnTo>
                  <a:pt x="635" y="289"/>
                </a:lnTo>
                <a:lnTo>
                  <a:pt x="635" y="285"/>
                </a:lnTo>
                <a:lnTo>
                  <a:pt x="635" y="282"/>
                </a:lnTo>
                <a:lnTo>
                  <a:pt x="635" y="278"/>
                </a:lnTo>
                <a:lnTo>
                  <a:pt x="639" y="278"/>
                </a:lnTo>
                <a:lnTo>
                  <a:pt x="642" y="278"/>
                </a:lnTo>
                <a:lnTo>
                  <a:pt x="642" y="275"/>
                </a:lnTo>
                <a:lnTo>
                  <a:pt x="646" y="275"/>
                </a:lnTo>
                <a:lnTo>
                  <a:pt x="646" y="271"/>
                </a:lnTo>
                <a:lnTo>
                  <a:pt x="649" y="271"/>
                </a:lnTo>
                <a:lnTo>
                  <a:pt x="649" y="268"/>
                </a:lnTo>
                <a:lnTo>
                  <a:pt x="653" y="268"/>
                </a:lnTo>
                <a:lnTo>
                  <a:pt x="653" y="264"/>
                </a:lnTo>
                <a:lnTo>
                  <a:pt x="656" y="261"/>
                </a:lnTo>
                <a:lnTo>
                  <a:pt x="660" y="257"/>
                </a:lnTo>
                <a:lnTo>
                  <a:pt x="660" y="254"/>
                </a:lnTo>
                <a:lnTo>
                  <a:pt x="663" y="247"/>
                </a:lnTo>
                <a:lnTo>
                  <a:pt x="663" y="243"/>
                </a:lnTo>
                <a:lnTo>
                  <a:pt x="667" y="243"/>
                </a:lnTo>
                <a:lnTo>
                  <a:pt x="667" y="240"/>
                </a:lnTo>
                <a:lnTo>
                  <a:pt x="667" y="236"/>
                </a:lnTo>
                <a:lnTo>
                  <a:pt x="670" y="233"/>
                </a:lnTo>
                <a:lnTo>
                  <a:pt x="670" y="230"/>
                </a:lnTo>
                <a:lnTo>
                  <a:pt x="674" y="230"/>
                </a:lnTo>
                <a:lnTo>
                  <a:pt x="674" y="226"/>
                </a:lnTo>
                <a:lnTo>
                  <a:pt x="677" y="226"/>
                </a:lnTo>
                <a:lnTo>
                  <a:pt x="677" y="223"/>
                </a:lnTo>
                <a:lnTo>
                  <a:pt x="681" y="223"/>
                </a:lnTo>
                <a:lnTo>
                  <a:pt x="681" y="219"/>
                </a:lnTo>
                <a:lnTo>
                  <a:pt x="684" y="219"/>
                </a:lnTo>
                <a:lnTo>
                  <a:pt x="684" y="216"/>
                </a:lnTo>
                <a:lnTo>
                  <a:pt x="684" y="212"/>
                </a:lnTo>
                <a:lnTo>
                  <a:pt x="684" y="209"/>
                </a:lnTo>
                <a:lnTo>
                  <a:pt x="684" y="205"/>
                </a:lnTo>
                <a:lnTo>
                  <a:pt x="681" y="202"/>
                </a:lnTo>
                <a:lnTo>
                  <a:pt x="677" y="195"/>
                </a:lnTo>
                <a:lnTo>
                  <a:pt x="674" y="191"/>
                </a:lnTo>
                <a:lnTo>
                  <a:pt x="674" y="188"/>
                </a:lnTo>
                <a:lnTo>
                  <a:pt x="667" y="181"/>
                </a:lnTo>
                <a:lnTo>
                  <a:pt x="667" y="177"/>
                </a:lnTo>
                <a:lnTo>
                  <a:pt x="663" y="174"/>
                </a:lnTo>
                <a:lnTo>
                  <a:pt x="663" y="170"/>
                </a:lnTo>
                <a:lnTo>
                  <a:pt x="663" y="167"/>
                </a:lnTo>
                <a:lnTo>
                  <a:pt x="660" y="164"/>
                </a:lnTo>
                <a:lnTo>
                  <a:pt x="660" y="160"/>
                </a:lnTo>
                <a:lnTo>
                  <a:pt x="660" y="157"/>
                </a:lnTo>
                <a:lnTo>
                  <a:pt x="656" y="153"/>
                </a:lnTo>
                <a:lnTo>
                  <a:pt x="656" y="150"/>
                </a:lnTo>
                <a:lnTo>
                  <a:pt x="653" y="146"/>
                </a:lnTo>
                <a:lnTo>
                  <a:pt x="649" y="143"/>
                </a:lnTo>
                <a:lnTo>
                  <a:pt x="646" y="139"/>
                </a:lnTo>
                <a:lnTo>
                  <a:pt x="646" y="136"/>
                </a:lnTo>
                <a:lnTo>
                  <a:pt x="642" y="136"/>
                </a:lnTo>
                <a:lnTo>
                  <a:pt x="642" y="132"/>
                </a:lnTo>
                <a:lnTo>
                  <a:pt x="642" y="129"/>
                </a:lnTo>
                <a:lnTo>
                  <a:pt x="639" y="125"/>
                </a:lnTo>
                <a:lnTo>
                  <a:pt x="639" y="122"/>
                </a:lnTo>
                <a:lnTo>
                  <a:pt x="639" y="118"/>
                </a:lnTo>
                <a:lnTo>
                  <a:pt x="635" y="115"/>
                </a:lnTo>
                <a:lnTo>
                  <a:pt x="635" y="111"/>
                </a:lnTo>
                <a:lnTo>
                  <a:pt x="635" y="108"/>
                </a:lnTo>
                <a:lnTo>
                  <a:pt x="635" y="105"/>
                </a:lnTo>
                <a:lnTo>
                  <a:pt x="632" y="105"/>
                </a:lnTo>
                <a:lnTo>
                  <a:pt x="632" y="108"/>
                </a:lnTo>
                <a:lnTo>
                  <a:pt x="632" y="111"/>
                </a:lnTo>
                <a:lnTo>
                  <a:pt x="628" y="111"/>
                </a:lnTo>
                <a:lnTo>
                  <a:pt x="625" y="111"/>
                </a:lnTo>
                <a:lnTo>
                  <a:pt x="622" y="111"/>
                </a:lnTo>
                <a:lnTo>
                  <a:pt x="622" y="108"/>
                </a:lnTo>
                <a:lnTo>
                  <a:pt x="622" y="105"/>
                </a:lnTo>
                <a:lnTo>
                  <a:pt x="622" y="101"/>
                </a:lnTo>
                <a:lnTo>
                  <a:pt x="622" y="98"/>
                </a:lnTo>
                <a:lnTo>
                  <a:pt x="622" y="94"/>
                </a:lnTo>
                <a:lnTo>
                  <a:pt x="618" y="94"/>
                </a:lnTo>
                <a:lnTo>
                  <a:pt x="618" y="91"/>
                </a:lnTo>
                <a:lnTo>
                  <a:pt x="615" y="91"/>
                </a:lnTo>
                <a:lnTo>
                  <a:pt x="611" y="91"/>
                </a:lnTo>
                <a:lnTo>
                  <a:pt x="608" y="91"/>
                </a:lnTo>
                <a:lnTo>
                  <a:pt x="604" y="91"/>
                </a:lnTo>
                <a:lnTo>
                  <a:pt x="601" y="91"/>
                </a:lnTo>
                <a:lnTo>
                  <a:pt x="597" y="87"/>
                </a:lnTo>
                <a:lnTo>
                  <a:pt x="594" y="87"/>
                </a:lnTo>
                <a:lnTo>
                  <a:pt x="590" y="87"/>
                </a:lnTo>
                <a:lnTo>
                  <a:pt x="590" y="84"/>
                </a:lnTo>
                <a:lnTo>
                  <a:pt x="587" y="84"/>
                </a:lnTo>
                <a:lnTo>
                  <a:pt x="587" y="80"/>
                </a:lnTo>
                <a:lnTo>
                  <a:pt x="583" y="77"/>
                </a:lnTo>
                <a:lnTo>
                  <a:pt x="583" y="73"/>
                </a:lnTo>
                <a:lnTo>
                  <a:pt x="583" y="70"/>
                </a:lnTo>
                <a:lnTo>
                  <a:pt x="583" y="66"/>
                </a:lnTo>
                <a:lnTo>
                  <a:pt x="580" y="63"/>
                </a:lnTo>
                <a:lnTo>
                  <a:pt x="580" y="59"/>
                </a:lnTo>
                <a:lnTo>
                  <a:pt x="580" y="56"/>
                </a:lnTo>
                <a:lnTo>
                  <a:pt x="580" y="52"/>
                </a:lnTo>
                <a:lnTo>
                  <a:pt x="580" y="49"/>
                </a:lnTo>
                <a:lnTo>
                  <a:pt x="587" y="49"/>
                </a:lnTo>
                <a:lnTo>
                  <a:pt x="590" y="49"/>
                </a:lnTo>
                <a:lnTo>
                  <a:pt x="594" y="49"/>
                </a:lnTo>
                <a:lnTo>
                  <a:pt x="594" y="52"/>
                </a:lnTo>
                <a:lnTo>
                  <a:pt x="597" y="52"/>
                </a:lnTo>
                <a:lnTo>
                  <a:pt x="601" y="52"/>
                </a:lnTo>
                <a:lnTo>
                  <a:pt x="601" y="49"/>
                </a:lnTo>
                <a:lnTo>
                  <a:pt x="601" y="45"/>
                </a:lnTo>
                <a:lnTo>
                  <a:pt x="604" y="45"/>
                </a:lnTo>
                <a:lnTo>
                  <a:pt x="604" y="42"/>
                </a:lnTo>
                <a:lnTo>
                  <a:pt x="604" y="39"/>
                </a:lnTo>
                <a:lnTo>
                  <a:pt x="608" y="35"/>
                </a:lnTo>
                <a:lnTo>
                  <a:pt x="611" y="28"/>
                </a:lnTo>
                <a:lnTo>
                  <a:pt x="615" y="25"/>
                </a:lnTo>
                <a:lnTo>
                  <a:pt x="615" y="21"/>
                </a:lnTo>
                <a:lnTo>
                  <a:pt x="622" y="18"/>
                </a:lnTo>
                <a:lnTo>
                  <a:pt x="632" y="7"/>
                </a:lnTo>
                <a:lnTo>
                  <a:pt x="635" y="4"/>
                </a:lnTo>
                <a:lnTo>
                  <a:pt x="642" y="4"/>
                </a:lnTo>
                <a:lnTo>
                  <a:pt x="642" y="7"/>
                </a:lnTo>
                <a:lnTo>
                  <a:pt x="646" y="4"/>
                </a:lnTo>
                <a:lnTo>
                  <a:pt x="649" y="7"/>
                </a:lnTo>
                <a:lnTo>
                  <a:pt x="653" y="7"/>
                </a:lnTo>
                <a:lnTo>
                  <a:pt x="660" y="18"/>
                </a:lnTo>
                <a:lnTo>
                  <a:pt x="663" y="18"/>
                </a:lnTo>
                <a:lnTo>
                  <a:pt x="674" y="14"/>
                </a:lnTo>
                <a:lnTo>
                  <a:pt x="677" y="11"/>
                </a:lnTo>
                <a:lnTo>
                  <a:pt x="681" y="11"/>
                </a:lnTo>
                <a:lnTo>
                  <a:pt x="684" y="11"/>
                </a:lnTo>
                <a:lnTo>
                  <a:pt x="688" y="11"/>
                </a:lnTo>
                <a:lnTo>
                  <a:pt x="688" y="4"/>
                </a:lnTo>
                <a:lnTo>
                  <a:pt x="691" y="4"/>
                </a:lnTo>
                <a:lnTo>
                  <a:pt x="694" y="4"/>
                </a:lnTo>
                <a:lnTo>
                  <a:pt x="698" y="7"/>
                </a:lnTo>
                <a:lnTo>
                  <a:pt x="701" y="7"/>
                </a:lnTo>
                <a:lnTo>
                  <a:pt x="705" y="7"/>
                </a:lnTo>
                <a:lnTo>
                  <a:pt x="708" y="4"/>
                </a:lnTo>
                <a:lnTo>
                  <a:pt x="712" y="0"/>
                </a:lnTo>
                <a:lnTo>
                  <a:pt x="715" y="0"/>
                </a:lnTo>
                <a:lnTo>
                  <a:pt x="715" y="4"/>
                </a:lnTo>
                <a:lnTo>
                  <a:pt x="715" y="7"/>
                </a:lnTo>
                <a:lnTo>
                  <a:pt x="715" y="11"/>
                </a:lnTo>
                <a:lnTo>
                  <a:pt x="712" y="14"/>
                </a:lnTo>
                <a:lnTo>
                  <a:pt x="715" y="14"/>
                </a:lnTo>
                <a:lnTo>
                  <a:pt x="719" y="11"/>
                </a:lnTo>
                <a:lnTo>
                  <a:pt x="722" y="11"/>
                </a:lnTo>
                <a:lnTo>
                  <a:pt x="722" y="14"/>
                </a:lnTo>
                <a:lnTo>
                  <a:pt x="722" y="18"/>
                </a:lnTo>
                <a:lnTo>
                  <a:pt x="726" y="21"/>
                </a:lnTo>
                <a:lnTo>
                  <a:pt x="726" y="25"/>
                </a:lnTo>
                <a:lnTo>
                  <a:pt x="722" y="28"/>
                </a:lnTo>
                <a:lnTo>
                  <a:pt x="726" y="28"/>
                </a:lnTo>
                <a:lnTo>
                  <a:pt x="733" y="28"/>
                </a:lnTo>
                <a:lnTo>
                  <a:pt x="736" y="32"/>
                </a:lnTo>
                <a:lnTo>
                  <a:pt x="733" y="35"/>
                </a:lnTo>
                <a:lnTo>
                  <a:pt x="736" y="39"/>
                </a:lnTo>
                <a:lnTo>
                  <a:pt x="740" y="42"/>
                </a:lnTo>
                <a:lnTo>
                  <a:pt x="743" y="42"/>
                </a:lnTo>
                <a:lnTo>
                  <a:pt x="743" y="39"/>
                </a:lnTo>
                <a:lnTo>
                  <a:pt x="747" y="42"/>
                </a:lnTo>
                <a:lnTo>
                  <a:pt x="747" y="39"/>
                </a:lnTo>
                <a:lnTo>
                  <a:pt x="747" y="42"/>
                </a:lnTo>
                <a:lnTo>
                  <a:pt x="747" y="45"/>
                </a:lnTo>
                <a:lnTo>
                  <a:pt x="750" y="45"/>
                </a:lnTo>
                <a:lnTo>
                  <a:pt x="750" y="49"/>
                </a:lnTo>
                <a:lnTo>
                  <a:pt x="753" y="45"/>
                </a:lnTo>
                <a:lnTo>
                  <a:pt x="757" y="45"/>
                </a:lnTo>
                <a:lnTo>
                  <a:pt x="757" y="49"/>
                </a:lnTo>
                <a:lnTo>
                  <a:pt x="760" y="49"/>
                </a:lnTo>
                <a:lnTo>
                  <a:pt x="764" y="49"/>
                </a:lnTo>
                <a:lnTo>
                  <a:pt x="767" y="49"/>
                </a:lnTo>
                <a:lnTo>
                  <a:pt x="771" y="49"/>
                </a:lnTo>
                <a:lnTo>
                  <a:pt x="771" y="52"/>
                </a:lnTo>
                <a:lnTo>
                  <a:pt x="771" y="56"/>
                </a:lnTo>
                <a:lnTo>
                  <a:pt x="774" y="56"/>
                </a:lnTo>
                <a:lnTo>
                  <a:pt x="778" y="56"/>
                </a:lnTo>
                <a:lnTo>
                  <a:pt x="781" y="52"/>
                </a:lnTo>
                <a:lnTo>
                  <a:pt x="785" y="52"/>
                </a:lnTo>
                <a:lnTo>
                  <a:pt x="788" y="49"/>
                </a:lnTo>
                <a:lnTo>
                  <a:pt x="792" y="49"/>
                </a:lnTo>
                <a:lnTo>
                  <a:pt x="792" y="52"/>
                </a:lnTo>
                <a:lnTo>
                  <a:pt x="788" y="56"/>
                </a:lnTo>
                <a:lnTo>
                  <a:pt x="788" y="59"/>
                </a:lnTo>
                <a:lnTo>
                  <a:pt x="785" y="59"/>
                </a:lnTo>
                <a:lnTo>
                  <a:pt x="785" y="63"/>
                </a:lnTo>
                <a:lnTo>
                  <a:pt x="785" y="66"/>
                </a:lnTo>
                <a:lnTo>
                  <a:pt x="788" y="70"/>
                </a:lnTo>
                <a:lnTo>
                  <a:pt x="785" y="70"/>
                </a:lnTo>
                <a:lnTo>
                  <a:pt x="788" y="73"/>
                </a:lnTo>
                <a:lnTo>
                  <a:pt x="788" y="77"/>
                </a:lnTo>
                <a:lnTo>
                  <a:pt x="792" y="77"/>
                </a:lnTo>
                <a:lnTo>
                  <a:pt x="795" y="73"/>
                </a:lnTo>
                <a:lnTo>
                  <a:pt x="802" y="70"/>
                </a:lnTo>
                <a:lnTo>
                  <a:pt x="802" y="73"/>
                </a:lnTo>
                <a:lnTo>
                  <a:pt x="809" y="73"/>
                </a:lnTo>
                <a:lnTo>
                  <a:pt x="812" y="73"/>
                </a:lnTo>
                <a:lnTo>
                  <a:pt x="816" y="73"/>
                </a:lnTo>
                <a:lnTo>
                  <a:pt x="826" y="73"/>
                </a:lnTo>
                <a:lnTo>
                  <a:pt x="826" y="70"/>
                </a:lnTo>
                <a:lnTo>
                  <a:pt x="830" y="70"/>
                </a:lnTo>
                <a:lnTo>
                  <a:pt x="833" y="66"/>
                </a:lnTo>
                <a:lnTo>
                  <a:pt x="837" y="66"/>
                </a:lnTo>
                <a:lnTo>
                  <a:pt x="837" y="63"/>
                </a:lnTo>
                <a:lnTo>
                  <a:pt x="840" y="63"/>
                </a:lnTo>
                <a:lnTo>
                  <a:pt x="844" y="63"/>
                </a:lnTo>
                <a:lnTo>
                  <a:pt x="847" y="56"/>
                </a:lnTo>
                <a:lnTo>
                  <a:pt x="851" y="59"/>
                </a:lnTo>
                <a:lnTo>
                  <a:pt x="854" y="56"/>
                </a:lnTo>
                <a:lnTo>
                  <a:pt x="858" y="52"/>
                </a:lnTo>
                <a:lnTo>
                  <a:pt x="861" y="52"/>
                </a:lnTo>
                <a:lnTo>
                  <a:pt x="861" y="56"/>
                </a:lnTo>
                <a:lnTo>
                  <a:pt x="865" y="52"/>
                </a:lnTo>
                <a:lnTo>
                  <a:pt x="868" y="52"/>
                </a:lnTo>
                <a:lnTo>
                  <a:pt x="875" y="52"/>
                </a:lnTo>
                <a:lnTo>
                  <a:pt x="878" y="49"/>
                </a:lnTo>
                <a:lnTo>
                  <a:pt x="882" y="45"/>
                </a:lnTo>
                <a:lnTo>
                  <a:pt x="885" y="49"/>
                </a:lnTo>
                <a:lnTo>
                  <a:pt x="889" y="45"/>
                </a:lnTo>
                <a:lnTo>
                  <a:pt x="885" y="45"/>
                </a:lnTo>
                <a:lnTo>
                  <a:pt x="885" y="42"/>
                </a:lnTo>
                <a:lnTo>
                  <a:pt x="889" y="42"/>
                </a:lnTo>
                <a:lnTo>
                  <a:pt x="885" y="39"/>
                </a:lnTo>
                <a:lnTo>
                  <a:pt x="889" y="35"/>
                </a:lnTo>
                <a:lnTo>
                  <a:pt x="892" y="35"/>
                </a:lnTo>
                <a:lnTo>
                  <a:pt x="896" y="35"/>
                </a:lnTo>
                <a:lnTo>
                  <a:pt x="899" y="35"/>
                </a:lnTo>
                <a:lnTo>
                  <a:pt x="899" y="32"/>
                </a:lnTo>
                <a:lnTo>
                  <a:pt x="903" y="35"/>
                </a:lnTo>
                <a:lnTo>
                  <a:pt x="903" y="39"/>
                </a:lnTo>
                <a:lnTo>
                  <a:pt x="899" y="42"/>
                </a:lnTo>
                <a:lnTo>
                  <a:pt x="899" y="45"/>
                </a:lnTo>
                <a:lnTo>
                  <a:pt x="903" y="49"/>
                </a:lnTo>
                <a:lnTo>
                  <a:pt x="906" y="49"/>
                </a:lnTo>
                <a:lnTo>
                  <a:pt x="906" y="52"/>
                </a:lnTo>
                <a:lnTo>
                  <a:pt x="910" y="52"/>
                </a:lnTo>
                <a:lnTo>
                  <a:pt x="917" y="52"/>
                </a:lnTo>
                <a:lnTo>
                  <a:pt x="917" y="56"/>
                </a:lnTo>
                <a:lnTo>
                  <a:pt x="920" y="52"/>
                </a:lnTo>
                <a:lnTo>
                  <a:pt x="924" y="59"/>
                </a:lnTo>
                <a:lnTo>
                  <a:pt x="927" y="59"/>
                </a:lnTo>
                <a:lnTo>
                  <a:pt x="931" y="63"/>
                </a:lnTo>
                <a:lnTo>
                  <a:pt x="934" y="63"/>
                </a:lnTo>
                <a:lnTo>
                  <a:pt x="937" y="66"/>
                </a:lnTo>
                <a:lnTo>
                  <a:pt x="941" y="66"/>
                </a:lnTo>
                <a:lnTo>
                  <a:pt x="951" y="70"/>
                </a:lnTo>
                <a:lnTo>
                  <a:pt x="955" y="73"/>
                </a:lnTo>
                <a:lnTo>
                  <a:pt x="951" y="77"/>
                </a:lnTo>
                <a:lnTo>
                  <a:pt x="955" y="80"/>
                </a:lnTo>
                <a:lnTo>
                  <a:pt x="948" y="87"/>
                </a:lnTo>
                <a:lnTo>
                  <a:pt x="951" y="91"/>
                </a:lnTo>
                <a:lnTo>
                  <a:pt x="948" y="91"/>
                </a:lnTo>
                <a:lnTo>
                  <a:pt x="948" y="94"/>
                </a:lnTo>
                <a:lnTo>
                  <a:pt x="944" y="94"/>
                </a:lnTo>
                <a:lnTo>
                  <a:pt x="948" y="94"/>
                </a:lnTo>
                <a:lnTo>
                  <a:pt x="948" y="98"/>
                </a:lnTo>
                <a:lnTo>
                  <a:pt x="948" y="101"/>
                </a:lnTo>
                <a:lnTo>
                  <a:pt x="948" y="105"/>
                </a:lnTo>
                <a:lnTo>
                  <a:pt x="944" y="105"/>
                </a:lnTo>
                <a:lnTo>
                  <a:pt x="944" y="108"/>
                </a:lnTo>
                <a:lnTo>
                  <a:pt x="944" y="111"/>
                </a:lnTo>
                <a:lnTo>
                  <a:pt x="941" y="108"/>
                </a:lnTo>
                <a:lnTo>
                  <a:pt x="937" y="108"/>
                </a:lnTo>
                <a:lnTo>
                  <a:pt x="934" y="105"/>
                </a:lnTo>
                <a:lnTo>
                  <a:pt x="931" y="108"/>
                </a:lnTo>
                <a:lnTo>
                  <a:pt x="931" y="105"/>
                </a:lnTo>
                <a:lnTo>
                  <a:pt x="927" y="101"/>
                </a:lnTo>
                <a:lnTo>
                  <a:pt x="931" y="98"/>
                </a:lnTo>
                <a:lnTo>
                  <a:pt x="927" y="94"/>
                </a:lnTo>
                <a:lnTo>
                  <a:pt x="924" y="91"/>
                </a:lnTo>
                <a:lnTo>
                  <a:pt x="917" y="91"/>
                </a:lnTo>
                <a:lnTo>
                  <a:pt x="910" y="91"/>
                </a:lnTo>
                <a:lnTo>
                  <a:pt x="910" y="87"/>
                </a:lnTo>
                <a:lnTo>
                  <a:pt x="906" y="84"/>
                </a:lnTo>
                <a:lnTo>
                  <a:pt x="903" y="84"/>
                </a:lnTo>
                <a:lnTo>
                  <a:pt x="899" y="84"/>
                </a:lnTo>
                <a:lnTo>
                  <a:pt x="896" y="87"/>
                </a:lnTo>
                <a:lnTo>
                  <a:pt x="892" y="87"/>
                </a:lnTo>
                <a:lnTo>
                  <a:pt x="889" y="91"/>
                </a:lnTo>
                <a:lnTo>
                  <a:pt x="889" y="94"/>
                </a:lnTo>
                <a:lnTo>
                  <a:pt x="885" y="94"/>
                </a:lnTo>
                <a:lnTo>
                  <a:pt x="889" y="94"/>
                </a:lnTo>
                <a:lnTo>
                  <a:pt x="885" y="98"/>
                </a:lnTo>
                <a:lnTo>
                  <a:pt x="885" y="105"/>
                </a:lnTo>
                <a:lnTo>
                  <a:pt x="889" y="115"/>
                </a:lnTo>
                <a:lnTo>
                  <a:pt x="885" y="115"/>
                </a:lnTo>
                <a:lnTo>
                  <a:pt x="889" y="118"/>
                </a:lnTo>
                <a:lnTo>
                  <a:pt x="889" y="122"/>
                </a:lnTo>
                <a:lnTo>
                  <a:pt x="892" y="129"/>
                </a:lnTo>
                <a:lnTo>
                  <a:pt x="885" y="129"/>
                </a:lnTo>
                <a:lnTo>
                  <a:pt x="885" y="132"/>
                </a:lnTo>
                <a:lnTo>
                  <a:pt x="885" y="136"/>
                </a:lnTo>
                <a:lnTo>
                  <a:pt x="889" y="139"/>
                </a:lnTo>
                <a:lnTo>
                  <a:pt x="885" y="146"/>
                </a:lnTo>
                <a:lnTo>
                  <a:pt x="885" y="150"/>
                </a:lnTo>
                <a:lnTo>
                  <a:pt x="885" y="157"/>
                </a:lnTo>
                <a:lnTo>
                  <a:pt x="885" y="160"/>
                </a:lnTo>
                <a:lnTo>
                  <a:pt x="882" y="160"/>
                </a:lnTo>
                <a:lnTo>
                  <a:pt x="878" y="164"/>
                </a:lnTo>
                <a:lnTo>
                  <a:pt x="882" y="170"/>
                </a:lnTo>
                <a:lnTo>
                  <a:pt x="885" y="174"/>
                </a:lnTo>
                <a:lnTo>
                  <a:pt x="882" y="174"/>
                </a:lnTo>
                <a:lnTo>
                  <a:pt x="882" y="177"/>
                </a:lnTo>
                <a:lnTo>
                  <a:pt x="889" y="184"/>
                </a:lnTo>
                <a:lnTo>
                  <a:pt x="896" y="195"/>
                </a:lnTo>
                <a:lnTo>
                  <a:pt x="896" y="198"/>
                </a:lnTo>
                <a:lnTo>
                  <a:pt x="896" y="202"/>
                </a:lnTo>
                <a:lnTo>
                  <a:pt x="892" y="202"/>
                </a:lnTo>
                <a:lnTo>
                  <a:pt x="892" y="205"/>
                </a:lnTo>
                <a:lnTo>
                  <a:pt x="896" y="205"/>
                </a:lnTo>
                <a:lnTo>
                  <a:pt x="896" y="209"/>
                </a:lnTo>
                <a:lnTo>
                  <a:pt x="892" y="212"/>
                </a:lnTo>
                <a:lnTo>
                  <a:pt x="889" y="212"/>
                </a:lnTo>
                <a:lnTo>
                  <a:pt x="889" y="216"/>
                </a:lnTo>
                <a:lnTo>
                  <a:pt x="892" y="216"/>
                </a:lnTo>
                <a:lnTo>
                  <a:pt x="892" y="223"/>
                </a:lnTo>
                <a:lnTo>
                  <a:pt x="892" y="226"/>
                </a:lnTo>
                <a:lnTo>
                  <a:pt x="892" y="230"/>
                </a:lnTo>
                <a:lnTo>
                  <a:pt x="892" y="233"/>
                </a:lnTo>
                <a:lnTo>
                  <a:pt x="892" y="236"/>
                </a:lnTo>
                <a:lnTo>
                  <a:pt x="903" y="240"/>
                </a:lnTo>
                <a:lnTo>
                  <a:pt x="906" y="240"/>
                </a:lnTo>
                <a:lnTo>
                  <a:pt x="910" y="243"/>
                </a:lnTo>
                <a:lnTo>
                  <a:pt x="910" y="247"/>
                </a:lnTo>
                <a:lnTo>
                  <a:pt x="910" y="250"/>
                </a:lnTo>
                <a:lnTo>
                  <a:pt x="913" y="250"/>
                </a:lnTo>
                <a:lnTo>
                  <a:pt x="917" y="250"/>
                </a:lnTo>
                <a:lnTo>
                  <a:pt x="924" y="250"/>
                </a:lnTo>
                <a:lnTo>
                  <a:pt x="931" y="250"/>
                </a:lnTo>
                <a:lnTo>
                  <a:pt x="934" y="250"/>
                </a:lnTo>
                <a:lnTo>
                  <a:pt x="937" y="254"/>
                </a:lnTo>
                <a:lnTo>
                  <a:pt x="941" y="254"/>
                </a:lnTo>
                <a:lnTo>
                  <a:pt x="944" y="254"/>
                </a:lnTo>
                <a:lnTo>
                  <a:pt x="948" y="257"/>
                </a:lnTo>
                <a:lnTo>
                  <a:pt x="951" y="261"/>
                </a:lnTo>
                <a:lnTo>
                  <a:pt x="955" y="261"/>
                </a:lnTo>
                <a:lnTo>
                  <a:pt x="958" y="264"/>
                </a:lnTo>
                <a:lnTo>
                  <a:pt x="962" y="264"/>
                </a:lnTo>
                <a:lnTo>
                  <a:pt x="965" y="264"/>
                </a:lnTo>
                <a:lnTo>
                  <a:pt x="965" y="268"/>
                </a:lnTo>
                <a:lnTo>
                  <a:pt x="969" y="271"/>
                </a:lnTo>
                <a:lnTo>
                  <a:pt x="969" y="268"/>
                </a:lnTo>
                <a:lnTo>
                  <a:pt x="972" y="264"/>
                </a:lnTo>
                <a:lnTo>
                  <a:pt x="976" y="264"/>
                </a:lnTo>
                <a:lnTo>
                  <a:pt x="979" y="264"/>
                </a:lnTo>
                <a:lnTo>
                  <a:pt x="983" y="264"/>
                </a:lnTo>
                <a:lnTo>
                  <a:pt x="986" y="264"/>
                </a:lnTo>
                <a:lnTo>
                  <a:pt x="990" y="264"/>
                </a:lnTo>
                <a:lnTo>
                  <a:pt x="993" y="264"/>
                </a:lnTo>
                <a:lnTo>
                  <a:pt x="993" y="261"/>
                </a:lnTo>
                <a:lnTo>
                  <a:pt x="997" y="261"/>
                </a:lnTo>
                <a:lnTo>
                  <a:pt x="997" y="264"/>
                </a:lnTo>
                <a:lnTo>
                  <a:pt x="1000" y="264"/>
                </a:lnTo>
                <a:lnTo>
                  <a:pt x="1000" y="261"/>
                </a:lnTo>
                <a:lnTo>
                  <a:pt x="1003" y="261"/>
                </a:lnTo>
                <a:lnTo>
                  <a:pt x="1007" y="261"/>
                </a:lnTo>
                <a:lnTo>
                  <a:pt x="1010" y="261"/>
                </a:lnTo>
                <a:lnTo>
                  <a:pt x="1010" y="257"/>
                </a:lnTo>
                <a:lnTo>
                  <a:pt x="1014" y="257"/>
                </a:lnTo>
                <a:lnTo>
                  <a:pt x="1014" y="261"/>
                </a:lnTo>
                <a:lnTo>
                  <a:pt x="1017" y="261"/>
                </a:lnTo>
                <a:lnTo>
                  <a:pt x="1021" y="257"/>
                </a:lnTo>
                <a:lnTo>
                  <a:pt x="1021" y="261"/>
                </a:lnTo>
                <a:lnTo>
                  <a:pt x="1024" y="261"/>
                </a:lnTo>
                <a:lnTo>
                  <a:pt x="1024" y="257"/>
                </a:lnTo>
                <a:lnTo>
                  <a:pt x="1028" y="261"/>
                </a:lnTo>
                <a:lnTo>
                  <a:pt x="1031" y="261"/>
                </a:lnTo>
                <a:lnTo>
                  <a:pt x="1035" y="261"/>
                </a:lnTo>
                <a:lnTo>
                  <a:pt x="1035" y="264"/>
                </a:lnTo>
                <a:lnTo>
                  <a:pt x="1038" y="264"/>
                </a:lnTo>
                <a:lnTo>
                  <a:pt x="1042" y="268"/>
                </a:lnTo>
                <a:lnTo>
                  <a:pt x="1045" y="264"/>
                </a:lnTo>
                <a:lnTo>
                  <a:pt x="1049" y="264"/>
                </a:lnTo>
                <a:lnTo>
                  <a:pt x="1056" y="257"/>
                </a:lnTo>
                <a:lnTo>
                  <a:pt x="1066" y="254"/>
                </a:lnTo>
                <a:lnTo>
                  <a:pt x="1069" y="264"/>
                </a:lnTo>
                <a:lnTo>
                  <a:pt x="1069" y="268"/>
                </a:lnTo>
                <a:lnTo>
                  <a:pt x="1066" y="271"/>
                </a:lnTo>
                <a:lnTo>
                  <a:pt x="1069" y="271"/>
                </a:lnTo>
                <a:lnTo>
                  <a:pt x="1073" y="275"/>
                </a:lnTo>
                <a:lnTo>
                  <a:pt x="1073" y="278"/>
                </a:lnTo>
                <a:lnTo>
                  <a:pt x="1076" y="282"/>
                </a:lnTo>
                <a:lnTo>
                  <a:pt x="1076" y="285"/>
                </a:lnTo>
                <a:lnTo>
                  <a:pt x="1073" y="285"/>
                </a:lnTo>
                <a:lnTo>
                  <a:pt x="1073" y="289"/>
                </a:lnTo>
                <a:lnTo>
                  <a:pt x="1066" y="292"/>
                </a:lnTo>
                <a:lnTo>
                  <a:pt x="1059" y="292"/>
                </a:lnTo>
                <a:lnTo>
                  <a:pt x="1056" y="292"/>
                </a:lnTo>
                <a:lnTo>
                  <a:pt x="1052" y="292"/>
                </a:lnTo>
                <a:lnTo>
                  <a:pt x="1049" y="292"/>
                </a:lnTo>
                <a:lnTo>
                  <a:pt x="1049" y="289"/>
                </a:lnTo>
                <a:lnTo>
                  <a:pt x="1045" y="285"/>
                </a:lnTo>
                <a:lnTo>
                  <a:pt x="1042" y="285"/>
                </a:lnTo>
                <a:lnTo>
                  <a:pt x="1038" y="282"/>
                </a:lnTo>
                <a:lnTo>
                  <a:pt x="1031" y="282"/>
                </a:lnTo>
                <a:lnTo>
                  <a:pt x="1028" y="282"/>
                </a:lnTo>
                <a:lnTo>
                  <a:pt x="1024" y="278"/>
                </a:lnTo>
                <a:lnTo>
                  <a:pt x="1021" y="278"/>
                </a:lnTo>
                <a:lnTo>
                  <a:pt x="1017" y="285"/>
                </a:lnTo>
                <a:lnTo>
                  <a:pt x="1017" y="289"/>
                </a:lnTo>
                <a:lnTo>
                  <a:pt x="1014" y="289"/>
                </a:lnTo>
                <a:lnTo>
                  <a:pt x="1014" y="292"/>
                </a:lnTo>
                <a:lnTo>
                  <a:pt x="1010" y="292"/>
                </a:lnTo>
                <a:lnTo>
                  <a:pt x="1007" y="295"/>
                </a:lnTo>
                <a:lnTo>
                  <a:pt x="1007" y="299"/>
                </a:lnTo>
                <a:lnTo>
                  <a:pt x="1007" y="302"/>
                </a:lnTo>
                <a:lnTo>
                  <a:pt x="1007" y="309"/>
                </a:lnTo>
                <a:lnTo>
                  <a:pt x="1003" y="316"/>
                </a:lnTo>
                <a:lnTo>
                  <a:pt x="1003" y="320"/>
                </a:lnTo>
                <a:lnTo>
                  <a:pt x="1003" y="323"/>
                </a:lnTo>
                <a:lnTo>
                  <a:pt x="1000" y="330"/>
                </a:lnTo>
                <a:lnTo>
                  <a:pt x="1003" y="330"/>
                </a:lnTo>
                <a:lnTo>
                  <a:pt x="1014" y="337"/>
                </a:lnTo>
                <a:lnTo>
                  <a:pt x="1021" y="341"/>
                </a:lnTo>
                <a:lnTo>
                  <a:pt x="1031" y="348"/>
                </a:lnTo>
                <a:lnTo>
                  <a:pt x="1038" y="348"/>
                </a:lnTo>
                <a:lnTo>
                  <a:pt x="1042" y="348"/>
                </a:lnTo>
                <a:lnTo>
                  <a:pt x="1045" y="348"/>
                </a:lnTo>
                <a:lnTo>
                  <a:pt x="1049" y="348"/>
                </a:lnTo>
                <a:lnTo>
                  <a:pt x="1052" y="348"/>
                </a:lnTo>
                <a:lnTo>
                  <a:pt x="1052" y="351"/>
                </a:lnTo>
                <a:lnTo>
                  <a:pt x="1052" y="355"/>
                </a:lnTo>
                <a:lnTo>
                  <a:pt x="1056" y="351"/>
                </a:lnTo>
                <a:lnTo>
                  <a:pt x="1056" y="355"/>
                </a:lnTo>
                <a:lnTo>
                  <a:pt x="1056" y="351"/>
                </a:lnTo>
                <a:lnTo>
                  <a:pt x="1059" y="351"/>
                </a:lnTo>
                <a:lnTo>
                  <a:pt x="1062" y="351"/>
                </a:lnTo>
                <a:lnTo>
                  <a:pt x="1066" y="351"/>
                </a:lnTo>
                <a:lnTo>
                  <a:pt x="1066" y="355"/>
                </a:lnTo>
                <a:lnTo>
                  <a:pt x="1069" y="355"/>
                </a:lnTo>
                <a:lnTo>
                  <a:pt x="1073" y="355"/>
                </a:lnTo>
                <a:lnTo>
                  <a:pt x="1076" y="355"/>
                </a:lnTo>
                <a:lnTo>
                  <a:pt x="1080" y="355"/>
                </a:lnTo>
                <a:lnTo>
                  <a:pt x="1083" y="358"/>
                </a:lnTo>
                <a:lnTo>
                  <a:pt x="1087" y="358"/>
                </a:lnTo>
                <a:lnTo>
                  <a:pt x="1083" y="358"/>
                </a:lnTo>
                <a:lnTo>
                  <a:pt x="1083" y="368"/>
                </a:lnTo>
                <a:lnTo>
                  <a:pt x="1076" y="372"/>
                </a:lnTo>
                <a:lnTo>
                  <a:pt x="1076" y="375"/>
                </a:lnTo>
                <a:lnTo>
                  <a:pt x="1073" y="382"/>
                </a:lnTo>
                <a:lnTo>
                  <a:pt x="1073" y="386"/>
                </a:lnTo>
                <a:lnTo>
                  <a:pt x="1073" y="389"/>
                </a:lnTo>
                <a:lnTo>
                  <a:pt x="1069" y="393"/>
                </a:lnTo>
                <a:lnTo>
                  <a:pt x="1066" y="396"/>
                </a:lnTo>
                <a:lnTo>
                  <a:pt x="1062" y="396"/>
                </a:lnTo>
                <a:lnTo>
                  <a:pt x="1059" y="400"/>
                </a:lnTo>
                <a:lnTo>
                  <a:pt x="1056" y="396"/>
                </a:lnTo>
                <a:lnTo>
                  <a:pt x="1052" y="403"/>
                </a:lnTo>
                <a:lnTo>
                  <a:pt x="1049" y="403"/>
                </a:lnTo>
                <a:lnTo>
                  <a:pt x="1049" y="407"/>
                </a:lnTo>
                <a:lnTo>
                  <a:pt x="1045" y="407"/>
                </a:lnTo>
                <a:lnTo>
                  <a:pt x="1049" y="410"/>
                </a:lnTo>
                <a:lnTo>
                  <a:pt x="1049" y="417"/>
                </a:lnTo>
                <a:lnTo>
                  <a:pt x="1045" y="421"/>
                </a:lnTo>
                <a:lnTo>
                  <a:pt x="1042" y="431"/>
                </a:lnTo>
                <a:lnTo>
                  <a:pt x="1042" y="434"/>
                </a:lnTo>
                <a:lnTo>
                  <a:pt x="1038" y="434"/>
                </a:lnTo>
                <a:lnTo>
                  <a:pt x="1035" y="438"/>
                </a:lnTo>
                <a:lnTo>
                  <a:pt x="1038" y="441"/>
                </a:lnTo>
                <a:lnTo>
                  <a:pt x="1038" y="445"/>
                </a:lnTo>
                <a:lnTo>
                  <a:pt x="1038" y="448"/>
                </a:lnTo>
                <a:lnTo>
                  <a:pt x="1045" y="448"/>
                </a:lnTo>
                <a:lnTo>
                  <a:pt x="1049" y="448"/>
                </a:lnTo>
                <a:lnTo>
                  <a:pt x="1049" y="452"/>
                </a:lnTo>
                <a:lnTo>
                  <a:pt x="1052" y="448"/>
                </a:lnTo>
                <a:lnTo>
                  <a:pt x="1056" y="448"/>
                </a:lnTo>
                <a:lnTo>
                  <a:pt x="1059" y="445"/>
                </a:lnTo>
                <a:lnTo>
                  <a:pt x="1059" y="448"/>
                </a:lnTo>
                <a:lnTo>
                  <a:pt x="1062" y="452"/>
                </a:lnTo>
                <a:lnTo>
                  <a:pt x="1062" y="455"/>
                </a:lnTo>
                <a:lnTo>
                  <a:pt x="1066" y="462"/>
                </a:lnTo>
                <a:lnTo>
                  <a:pt x="1059" y="469"/>
                </a:lnTo>
                <a:lnTo>
                  <a:pt x="1056" y="473"/>
                </a:lnTo>
                <a:lnTo>
                  <a:pt x="1056" y="476"/>
                </a:lnTo>
                <a:lnTo>
                  <a:pt x="1052" y="480"/>
                </a:lnTo>
                <a:lnTo>
                  <a:pt x="1052" y="483"/>
                </a:lnTo>
                <a:lnTo>
                  <a:pt x="1052" y="486"/>
                </a:lnTo>
                <a:lnTo>
                  <a:pt x="1052" y="490"/>
                </a:lnTo>
                <a:lnTo>
                  <a:pt x="1052" y="497"/>
                </a:lnTo>
                <a:lnTo>
                  <a:pt x="1052" y="500"/>
                </a:lnTo>
                <a:lnTo>
                  <a:pt x="1049" y="504"/>
                </a:lnTo>
                <a:lnTo>
                  <a:pt x="1045" y="504"/>
                </a:lnTo>
                <a:lnTo>
                  <a:pt x="1042" y="504"/>
                </a:lnTo>
                <a:lnTo>
                  <a:pt x="1042" y="507"/>
                </a:lnTo>
                <a:lnTo>
                  <a:pt x="1035" y="514"/>
                </a:lnTo>
                <a:lnTo>
                  <a:pt x="1031" y="514"/>
                </a:lnTo>
                <a:lnTo>
                  <a:pt x="1031" y="518"/>
                </a:lnTo>
                <a:lnTo>
                  <a:pt x="1035" y="521"/>
                </a:lnTo>
                <a:lnTo>
                  <a:pt x="1035" y="532"/>
                </a:lnTo>
                <a:lnTo>
                  <a:pt x="1035" y="535"/>
                </a:lnTo>
                <a:lnTo>
                  <a:pt x="1031" y="539"/>
                </a:lnTo>
                <a:lnTo>
                  <a:pt x="1031" y="542"/>
                </a:lnTo>
                <a:lnTo>
                  <a:pt x="1031" y="546"/>
                </a:lnTo>
                <a:lnTo>
                  <a:pt x="1031" y="552"/>
                </a:lnTo>
                <a:lnTo>
                  <a:pt x="1031" y="556"/>
                </a:lnTo>
                <a:lnTo>
                  <a:pt x="1031" y="559"/>
                </a:lnTo>
                <a:lnTo>
                  <a:pt x="1031" y="563"/>
                </a:lnTo>
                <a:lnTo>
                  <a:pt x="1035" y="566"/>
                </a:lnTo>
                <a:lnTo>
                  <a:pt x="1038" y="570"/>
                </a:lnTo>
                <a:lnTo>
                  <a:pt x="1038" y="573"/>
                </a:lnTo>
                <a:lnTo>
                  <a:pt x="1042" y="573"/>
                </a:lnTo>
                <a:lnTo>
                  <a:pt x="1042" y="577"/>
                </a:lnTo>
                <a:lnTo>
                  <a:pt x="1045" y="577"/>
                </a:lnTo>
                <a:lnTo>
                  <a:pt x="1049" y="577"/>
                </a:lnTo>
                <a:lnTo>
                  <a:pt x="1052" y="580"/>
                </a:lnTo>
                <a:lnTo>
                  <a:pt x="1056" y="584"/>
                </a:lnTo>
                <a:lnTo>
                  <a:pt x="1059" y="591"/>
                </a:lnTo>
                <a:lnTo>
                  <a:pt x="1059" y="594"/>
                </a:lnTo>
                <a:lnTo>
                  <a:pt x="1062" y="598"/>
                </a:lnTo>
                <a:lnTo>
                  <a:pt x="1069" y="598"/>
                </a:lnTo>
                <a:lnTo>
                  <a:pt x="1073" y="598"/>
                </a:lnTo>
                <a:lnTo>
                  <a:pt x="1076" y="598"/>
                </a:lnTo>
                <a:lnTo>
                  <a:pt x="1076" y="601"/>
                </a:lnTo>
                <a:lnTo>
                  <a:pt x="1083" y="601"/>
                </a:lnTo>
                <a:lnTo>
                  <a:pt x="1087" y="605"/>
                </a:lnTo>
                <a:lnTo>
                  <a:pt x="1090" y="608"/>
                </a:lnTo>
                <a:lnTo>
                  <a:pt x="1094" y="608"/>
                </a:lnTo>
                <a:lnTo>
                  <a:pt x="1097" y="608"/>
                </a:lnTo>
                <a:lnTo>
                  <a:pt x="1097" y="612"/>
                </a:lnTo>
                <a:lnTo>
                  <a:pt x="1101" y="612"/>
                </a:lnTo>
                <a:lnTo>
                  <a:pt x="1104" y="615"/>
                </a:lnTo>
                <a:lnTo>
                  <a:pt x="1108" y="615"/>
                </a:lnTo>
                <a:lnTo>
                  <a:pt x="1111" y="618"/>
                </a:lnTo>
                <a:close/>
              </a:path>
            </a:pathLst>
          </a:custGeom>
          <a:solidFill>
            <a:srgbClr val="E6E6E6"/>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173" name="Freeform 18">
            <a:extLst>
              <a:ext uri="{FF2B5EF4-FFF2-40B4-BE49-F238E27FC236}">
                <a16:creationId xmlns:a16="http://schemas.microsoft.com/office/drawing/2014/main" id="{8D806AD3-CBA8-4B0E-9B23-5645C9EBEE29}"/>
              </a:ext>
            </a:extLst>
          </p:cNvPr>
          <p:cNvSpPr>
            <a:spLocks noEditPoints="1"/>
          </p:cNvSpPr>
          <p:nvPr/>
        </p:nvSpPr>
        <p:spPr bwMode="gray">
          <a:xfrm>
            <a:off x="2433173" y="3674068"/>
            <a:ext cx="3360454" cy="1987499"/>
          </a:xfrm>
          <a:custGeom>
            <a:avLst/>
            <a:gdLst>
              <a:gd name="T0" fmla="*/ 1930 w 2107"/>
              <a:gd name="T1" fmla="*/ 809 h 1180"/>
              <a:gd name="T2" fmla="*/ 2014 w 2107"/>
              <a:gd name="T3" fmla="*/ 920 h 1180"/>
              <a:gd name="T4" fmla="*/ 2097 w 2107"/>
              <a:gd name="T5" fmla="*/ 1038 h 1180"/>
              <a:gd name="T6" fmla="*/ 1982 w 2107"/>
              <a:gd name="T7" fmla="*/ 1069 h 1180"/>
              <a:gd name="T8" fmla="*/ 1899 w 2107"/>
              <a:gd name="T9" fmla="*/ 1149 h 1180"/>
              <a:gd name="T10" fmla="*/ 1791 w 2107"/>
              <a:gd name="T11" fmla="*/ 1163 h 1180"/>
              <a:gd name="T12" fmla="*/ 1691 w 2107"/>
              <a:gd name="T13" fmla="*/ 1114 h 1180"/>
              <a:gd name="T14" fmla="*/ 1607 w 2107"/>
              <a:gd name="T15" fmla="*/ 1024 h 1180"/>
              <a:gd name="T16" fmla="*/ 1576 w 2107"/>
              <a:gd name="T17" fmla="*/ 923 h 1180"/>
              <a:gd name="T18" fmla="*/ 1520 w 2107"/>
              <a:gd name="T19" fmla="*/ 878 h 1180"/>
              <a:gd name="T20" fmla="*/ 1514 w 2107"/>
              <a:gd name="T21" fmla="*/ 781 h 1180"/>
              <a:gd name="T22" fmla="*/ 1614 w 2107"/>
              <a:gd name="T23" fmla="*/ 705 h 1180"/>
              <a:gd name="T24" fmla="*/ 1746 w 2107"/>
              <a:gd name="T25" fmla="*/ 642 h 1180"/>
              <a:gd name="T26" fmla="*/ 1871 w 2107"/>
              <a:gd name="T27" fmla="*/ 694 h 1180"/>
              <a:gd name="T28" fmla="*/ 1871 w 2107"/>
              <a:gd name="T29" fmla="*/ 222 h 1180"/>
              <a:gd name="T30" fmla="*/ 1861 w 2107"/>
              <a:gd name="T31" fmla="*/ 340 h 1180"/>
              <a:gd name="T32" fmla="*/ 1753 w 2107"/>
              <a:gd name="T33" fmla="*/ 423 h 1180"/>
              <a:gd name="T34" fmla="*/ 1628 w 2107"/>
              <a:gd name="T35" fmla="*/ 448 h 1180"/>
              <a:gd name="T36" fmla="*/ 1503 w 2107"/>
              <a:gd name="T37" fmla="*/ 493 h 1180"/>
              <a:gd name="T38" fmla="*/ 1461 w 2107"/>
              <a:gd name="T39" fmla="*/ 587 h 1180"/>
              <a:gd name="T40" fmla="*/ 1465 w 2107"/>
              <a:gd name="T41" fmla="*/ 726 h 1180"/>
              <a:gd name="T42" fmla="*/ 1347 w 2107"/>
              <a:gd name="T43" fmla="*/ 764 h 1180"/>
              <a:gd name="T44" fmla="*/ 1246 w 2107"/>
              <a:gd name="T45" fmla="*/ 816 h 1180"/>
              <a:gd name="T46" fmla="*/ 1125 w 2107"/>
              <a:gd name="T47" fmla="*/ 798 h 1180"/>
              <a:gd name="T48" fmla="*/ 1014 w 2107"/>
              <a:gd name="T49" fmla="*/ 795 h 1180"/>
              <a:gd name="T50" fmla="*/ 923 w 2107"/>
              <a:gd name="T51" fmla="*/ 816 h 1180"/>
              <a:gd name="T52" fmla="*/ 805 w 2107"/>
              <a:gd name="T53" fmla="*/ 837 h 1180"/>
              <a:gd name="T54" fmla="*/ 736 w 2107"/>
              <a:gd name="T55" fmla="*/ 910 h 1180"/>
              <a:gd name="T56" fmla="*/ 691 w 2107"/>
              <a:gd name="T57" fmla="*/ 1014 h 1180"/>
              <a:gd name="T58" fmla="*/ 590 w 2107"/>
              <a:gd name="T59" fmla="*/ 1052 h 1180"/>
              <a:gd name="T60" fmla="*/ 465 w 2107"/>
              <a:gd name="T61" fmla="*/ 1021 h 1180"/>
              <a:gd name="T62" fmla="*/ 416 w 2107"/>
              <a:gd name="T63" fmla="*/ 937 h 1180"/>
              <a:gd name="T64" fmla="*/ 309 w 2107"/>
              <a:gd name="T65" fmla="*/ 969 h 1180"/>
              <a:gd name="T66" fmla="*/ 284 w 2107"/>
              <a:gd name="T67" fmla="*/ 878 h 1180"/>
              <a:gd name="T68" fmla="*/ 208 w 2107"/>
              <a:gd name="T69" fmla="*/ 805 h 1180"/>
              <a:gd name="T70" fmla="*/ 159 w 2107"/>
              <a:gd name="T71" fmla="*/ 885 h 1180"/>
              <a:gd name="T72" fmla="*/ 97 w 2107"/>
              <a:gd name="T73" fmla="*/ 944 h 1180"/>
              <a:gd name="T74" fmla="*/ 17 w 2107"/>
              <a:gd name="T75" fmla="*/ 930 h 1180"/>
              <a:gd name="T76" fmla="*/ 34 w 2107"/>
              <a:gd name="T77" fmla="*/ 795 h 1180"/>
              <a:gd name="T78" fmla="*/ 62 w 2107"/>
              <a:gd name="T79" fmla="*/ 673 h 1180"/>
              <a:gd name="T80" fmla="*/ 80 w 2107"/>
              <a:gd name="T81" fmla="*/ 559 h 1180"/>
              <a:gd name="T82" fmla="*/ 104 w 2107"/>
              <a:gd name="T83" fmla="*/ 510 h 1180"/>
              <a:gd name="T84" fmla="*/ 205 w 2107"/>
              <a:gd name="T85" fmla="*/ 423 h 1180"/>
              <a:gd name="T86" fmla="*/ 271 w 2107"/>
              <a:gd name="T87" fmla="*/ 309 h 1180"/>
              <a:gd name="T88" fmla="*/ 250 w 2107"/>
              <a:gd name="T89" fmla="*/ 191 h 1180"/>
              <a:gd name="T90" fmla="*/ 288 w 2107"/>
              <a:gd name="T91" fmla="*/ 215 h 1180"/>
              <a:gd name="T92" fmla="*/ 399 w 2107"/>
              <a:gd name="T93" fmla="*/ 198 h 1180"/>
              <a:gd name="T94" fmla="*/ 503 w 2107"/>
              <a:gd name="T95" fmla="*/ 243 h 1180"/>
              <a:gd name="T96" fmla="*/ 593 w 2107"/>
              <a:gd name="T97" fmla="*/ 250 h 1180"/>
              <a:gd name="T98" fmla="*/ 635 w 2107"/>
              <a:gd name="T99" fmla="*/ 319 h 1180"/>
              <a:gd name="T100" fmla="*/ 725 w 2107"/>
              <a:gd name="T101" fmla="*/ 375 h 1180"/>
              <a:gd name="T102" fmla="*/ 823 w 2107"/>
              <a:gd name="T103" fmla="*/ 337 h 1180"/>
              <a:gd name="T104" fmla="*/ 875 w 2107"/>
              <a:gd name="T105" fmla="*/ 364 h 1180"/>
              <a:gd name="T106" fmla="*/ 961 w 2107"/>
              <a:gd name="T107" fmla="*/ 319 h 1180"/>
              <a:gd name="T108" fmla="*/ 979 w 2107"/>
              <a:gd name="T109" fmla="*/ 250 h 1180"/>
              <a:gd name="T110" fmla="*/ 1093 w 2107"/>
              <a:gd name="T111" fmla="*/ 219 h 1180"/>
              <a:gd name="T112" fmla="*/ 1156 w 2107"/>
              <a:gd name="T113" fmla="*/ 170 h 1180"/>
              <a:gd name="T114" fmla="*/ 1295 w 2107"/>
              <a:gd name="T115" fmla="*/ 153 h 1180"/>
              <a:gd name="T116" fmla="*/ 1427 w 2107"/>
              <a:gd name="T117" fmla="*/ 135 h 1180"/>
              <a:gd name="T118" fmla="*/ 1552 w 2107"/>
              <a:gd name="T119" fmla="*/ 139 h 1180"/>
              <a:gd name="T120" fmla="*/ 1580 w 2107"/>
              <a:gd name="T121" fmla="*/ 3 h 1180"/>
              <a:gd name="T122" fmla="*/ 1652 w 2107"/>
              <a:gd name="T123" fmla="*/ 55 h 1180"/>
              <a:gd name="T124" fmla="*/ 1750 w 2107"/>
              <a:gd name="T125" fmla="*/ 107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07" h="1180">
                <a:moveTo>
                  <a:pt x="1878" y="698"/>
                </a:moveTo>
                <a:lnTo>
                  <a:pt x="1885" y="705"/>
                </a:lnTo>
                <a:lnTo>
                  <a:pt x="1892" y="708"/>
                </a:lnTo>
                <a:lnTo>
                  <a:pt x="1895" y="712"/>
                </a:lnTo>
                <a:lnTo>
                  <a:pt x="1895" y="715"/>
                </a:lnTo>
                <a:lnTo>
                  <a:pt x="1899" y="715"/>
                </a:lnTo>
                <a:lnTo>
                  <a:pt x="1899" y="719"/>
                </a:lnTo>
                <a:lnTo>
                  <a:pt x="1902" y="719"/>
                </a:lnTo>
                <a:lnTo>
                  <a:pt x="1902" y="722"/>
                </a:lnTo>
                <a:lnTo>
                  <a:pt x="1906" y="722"/>
                </a:lnTo>
                <a:lnTo>
                  <a:pt x="1906" y="726"/>
                </a:lnTo>
                <a:lnTo>
                  <a:pt x="1909" y="726"/>
                </a:lnTo>
                <a:lnTo>
                  <a:pt x="1913" y="729"/>
                </a:lnTo>
                <a:lnTo>
                  <a:pt x="1913" y="732"/>
                </a:lnTo>
                <a:lnTo>
                  <a:pt x="1913" y="736"/>
                </a:lnTo>
                <a:lnTo>
                  <a:pt x="1916" y="743"/>
                </a:lnTo>
                <a:lnTo>
                  <a:pt x="1916" y="746"/>
                </a:lnTo>
                <a:lnTo>
                  <a:pt x="1920" y="753"/>
                </a:lnTo>
                <a:lnTo>
                  <a:pt x="1923" y="757"/>
                </a:lnTo>
                <a:lnTo>
                  <a:pt x="1930" y="757"/>
                </a:lnTo>
                <a:lnTo>
                  <a:pt x="1934" y="760"/>
                </a:lnTo>
                <a:lnTo>
                  <a:pt x="1937" y="760"/>
                </a:lnTo>
                <a:lnTo>
                  <a:pt x="1941" y="760"/>
                </a:lnTo>
                <a:lnTo>
                  <a:pt x="1948" y="760"/>
                </a:lnTo>
                <a:lnTo>
                  <a:pt x="1948" y="757"/>
                </a:lnTo>
                <a:lnTo>
                  <a:pt x="1951" y="757"/>
                </a:lnTo>
                <a:lnTo>
                  <a:pt x="1954" y="757"/>
                </a:lnTo>
                <a:lnTo>
                  <a:pt x="1958" y="757"/>
                </a:lnTo>
                <a:lnTo>
                  <a:pt x="1961" y="760"/>
                </a:lnTo>
                <a:lnTo>
                  <a:pt x="1965" y="760"/>
                </a:lnTo>
                <a:lnTo>
                  <a:pt x="1961" y="764"/>
                </a:lnTo>
                <a:lnTo>
                  <a:pt x="1958" y="764"/>
                </a:lnTo>
                <a:lnTo>
                  <a:pt x="1954" y="767"/>
                </a:lnTo>
                <a:lnTo>
                  <a:pt x="1951" y="767"/>
                </a:lnTo>
                <a:lnTo>
                  <a:pt x="1951" y="774"/>
                </a:lnTo>
                <a:lnTo>
                  <a:pt x="1951" y="778"/>
                </a:lnTo>
                <a:lnTo>
                  <a:pt x="1948" y="781"/>
                </a:lnTo>
                <a:lnTo>
                  <a:pt x="1944" y="781"/>
                </a:lnTo>
                <a:lnTo>
                  <a:pt x="1944" y="788"/>
                </a:lnTo>
                <a:lnTo>
                  <a:pt x="1941" y="788"/>
                </a:lnTo>
                <a:lnTo>
                  <a:pt x="1937" y="792"/>
                </a:lnTo>
                <a:lnTo>
                  <a:pt x="1937" y="795"/>
                </a:lnTo>
                <a:lnTo>
                  <a:pt x="1937" y="802"/>
                </a:lnTo>
                <a:lnTo>
                  <a:pt x="1934" y="805"/>
                </a:lnTo>
                <a:lnTo>
                  <a:pt x="1930" y="809"/>
                </a:lnTo>
                <a:lnTo>
                  <a:pt x="1930" y="812"/>
                </a:lnTo>
                <a:lnTo>
                  <a:pt x="1930" y="816"/>
                </a:lnTo>
                <a:lnTo>
                  <a:pt x="1934" y="816"/>
                </a:lnTo>
                <a:lnTo>
                  <a:pt x="1934" y="819"/>
                </a:lnTo>
                <a:lnTo>
                  <a:pt x="1937" y="823"/>
                </a:lnTo>
                <a:lnTo>
                  <a:pt x="1937" y="826"/>
                </a:lnTo>
                <a:lnTo>
                  <a:pt x="1941" y="830"/>
                </a:lnTo>
                <a:lnTo>
                  <a:pt x="1941" y="833"/>
                </a:lnTo>
                <a:lnTo>
                  <a:pt x="1941" y="837"/>
                </a:lnTo>
                <a:lnTo>
                  <a:pt x="1941" y="840"/>
                </a:lnTo>
                <a:lnTo>
                  <a:pt x="1944" y="840"/>
                </a:lnTo>
                <a:lnTo>
                  <a:pt x="1944" y="844"/>
                </a:lnTo>
                <a:lnTo>
                  <a:pt x="1944" y="847"/>
                </a:lnTo>
                <a:lnTo>
                  <a:pt x="1944" y="851"/>
                </a:lnTo>
                <a:lnTo>
                  <a:pt x="1948" y="851"/>
                </a:lnTo>
                <a:lnTo>
                  <a:pt x="1951" y="851"/>
                </a:lnTo>
                <a:lnTo>
                  <a:pt x="1954" y="851"/>
                </a:lnTo>
                <a:lnTo>
                  <a:pt x="1958" y="857"/>
                </a:lnTo>
                <a:lnTo>
                  <a:pt x="1958" y="861"/>
                </a:lnTo>
                <a:lnTo>
                  <a:pt x="1961" y="861"/>
                </a:lnTo>
                <a:lnTo>
                  <a:pt x="1961" y="864"/>
                </a:lnTo>
                <a:lnTo>
                  <a:pt x="1968" y="868"/>
                </a:lnTo>
                <a:lnTo>
                  <a:pt x="1972" y="868"/>
                </a:lnTo>
                <a:lnTo>
                  <a:pt x="1972" y="871"/>
                </a:lnTo>
                <a:lnTo>
                  <a:pt x="1975" y="871"/>
                </a:lnTo>
                <a:lnTo>
                  <a:pt x="1972" y="875"/>
                </a:lnTo>
                <a:lnTo>
                  <a:pt x="1972" y="878"/>
                </a:lnTo>
                <a:lnTo>
                  <a:pt x="1979" y="882"/>
                </a:lnTo>
                <a:lnTo>
                  <a:pt x="1979" y="885"/>
                </a:lnTo>
                <a:lnTo>
                  <a:pt x="1982" y="885"/>
                </a:lnTo>
                <a:lnTo>
                  <a:pt x="1986" y="889"/>
                </a:lnTo>
                <a:lnTo>
                  <a:pt x="1989" y="889"/>
                </a:lnTo>
                <a:lnTo>
                  <a:pt x="1993" y="889"/>
                </a:lnTo>
                <a:lnTo>
                  <a:pt x="1996" y="889"/>
                </a:lnTo>
                <a:lnTo>
                  <a:pt x="1996" y="892"/>
                </a:lnTo>
                <a:lnTo>
                  <a:pt x="2000" y="889"/>
                </a:lnTo>
                <a:lnTo>
                  <a:pt x="2000" y="892"/>
                </a:lnTo>
                <a:lnTo>
                  <a:pt x="2000" y="896"/>
                </a:lnTo>
                <a:lnTo>
                  <a:pt x="2003" y="896"/>
                </a:lnTo>
                <a:lnTo>
                  <a:pt x="2010" y="899"/>
                </a:lnTo>
                <a:lnTo>
                  <a:pt x="2014" y="903"/>
                </a:lnTo>
                <a:lnTo>
                  <a:pt x="2010" y="906"/>
                </a:lnTo>
                <a:lnTo>
                  <a:pt x="2007" y="910"/>
                </a:lnTo>
                <a:lnTo>
                  <a:pt x="2007" y="913"/>
                </a:lnTo>
                <a:lnTo>
                  <a:pt x="2014" y="920"/>
                </a:lnTo>
                <a:lnTo>
                  <a:pt x="2017" y="920"/>
                </a:lnTo>
                <a:lnTo>
                  <a:pt x="2017" y="923"/>
                </a:lnTo>
                <a:lnTo>
                  <a:pt x="2014" y="923"/>
                </a:lnTo>
                <a:lnTo>
                  <a:pt x="2014" y="927"/>
                </a:lnTo>
                <a:lnTo>
                  <a:pt x="2014" y="930"/>
                </a:lnTo>
                <a:lnTo>
                  <a:pt x="2014" y="934"/>
                </a:lnTo>
                <a:lnTo>
                  <a:pt x="2017" y="941"/>
                </a:lnTo>
                <a:lnTo>
                  <a:pt x="2014" y="948"/>
                </a:lnTo>
                <a:lnTo>
                  <a:pt x="2014" y="955"/>
                </a:lnTo>
                <a:lnTo>
                  <a:pt x="2017" y="955"/>
                </a:lnTo>
                <a:lnTo>
                  <a:pt x="2017" y="958"/>
                </a:lnTo>
                <a:lnTo>
                  <a:pt x="2020" y="958"/>
                </a:lnTo>
                <a:lnTo>
                  <a:pt x="2024" y="958"/>
                </a:lnTo>
                <a:lnTo>
                  <a:pt x="2027" y="962"/>
                </a:lnTo>
                <a:lnTo>
                  <a:pt x="2031" y="965"/>
                </a:lnTo>
                <a:lnTo>
                  <a:pt x="2034" y="965"/>
                </a:lnTo>
                <a:lnTo>
                  <a:pt x="2034" y="969"/>
                </a:lnTo>
                <a:lnTo>
                  <a:pt x="2038" y="969"/>
                </a:lnTo>
                <a:lnTo>
                  <a:pt x="2038" y="972"/>
                </a:lnTo>
                <a:lnTo>
                  <a:pt x="2041" y="972"/>
                </a:lnTo>
                <a:lnTo>
                  <a:pt x="2045" y="972"/>
                </a:lnTo>
                <a:lnTo>
                  <a:pt x="2048" y="976"/>
                </a:lnTo>
                <a:lnTo>
                  <a:pt x="2048" y="979"/>
                </a:lnTo>
                <a:lnTo>
                  <a:pt x="2052" y="983"/>
                </a:lnTo>
                <a:lnTo>
                  <a:pt x="2052" y="986"/>
                </a:lnTo>
                <a:lnTo>
                  <a:pt x="2052" y="989"/>
                </a:lnTo>
                <a:lnTo>
                  <a:pt x="2055" y="989"/>
                </a:lnTo>
                <a:lnTo>
                  <a:pt x="2055" y="993"/>
                </a:lnTo>
                <a:lnTo>
                  <a:pt x="2062" y="996"/>
                </a:lnTo>
                <a:lnTo>
                  <a:pt x="2066" y="996"/>
                </a:lnTo>
                <a:lnTo>
                  <a:pt x="2069" y="996"/>
                </a:lnTo>
                <a:lnTo>
                  <a:pt x="2076" y="1003"/>
                </a:lnTo>
                <a:lnTo>
                  <a:pt x="2079" y="1007"/>
                </a:lnTo>
                <a:lnTo>
                  <a:pt x="2083" y="1007"/>
                </a:lnTo>
                <a:lnTo>
                  <a:pt x="2090" y="1014"/>
                </a:lnTo>
                <a:lnTo>
                  <a:pt x="2093" y="1014"/>
                </a:lnTo>
                <a:lnTo>
                  <a:pt x="2093" y="1017"/>
                </a:lnTo>
                <a:lnTo>
                  <a:pt x="2097" y="1021"/>
                </a:lnTo>
                <a:lnTo>
                  <a:pt x="2100" y="1021"/>
                </a:lnTo>
                <a:lnTo>
                  <a:pt x="2104" y="1021"/>
                </a:lnTo>
                <a:lnTo>
                  <a:pt x="2107" y="1031"/>
                </a:lnTo>
                <a:lnTo>
                  <a:pt x="2104" y="1035"/>
                </a:lnTo>
                <a:lnTo>
                  <a:pt x="2104" y="1038"/>
                </a:lnTo>
                <a:lnTo>
                  <a:pt x="2100" y="1038"/>
                </a:lnTo>
                <a:lnTo>
                  <a:pt x="2097" y="1038"/>
                </a:lnTo>
                <a:lnTo>
                  <a:pt x="2097" y="1042"/>
                </a:lnTo>
                <a:lnTo>
                  <a:pt x="2093" y="1045"/>
                </a:lnTo>
                <a:lnTo>
                  <a:pt x="2090" y="1048"/>
                </a:lnTo>
                <a:lnTo>
                  <a:pt x="2090" y="1052"/>
                </a:lnTo>
                <a:lnTo>
                  <a:pt x="2090" y="1055"/>
                </a:lnTo>
                <a:lnTo>
                  <a:pt x="2086" y="1055"/>
                </a:lnTo>
                <a:lnTo>
                  <a:pt x="2083" y="1055"/>
                </a:lnTo>
                <a:lnTo>
                  <a:pt x="2083" y="1059"/>
                </a:lnTo>
                <a:lnTo>
                  <a:pt x="2079" y="1059"/>
                </a:lnTo>
                <a:lnTo>
                  <a:pt x="2079" y="1055"/>
                </a:lnTo>
                <a:lnTo>
                  <a:pt x="2076" y="1055"/>
                </a:lnTo>
                <a:lnTo>
                  <a:pt x="2073" y="1055"/>
                </a:lnTo>
                <a:lnTo>
                  <a:pt x="2069" y="1055"/>
                </a:lnTo>
                <a:lnTo>
                  <a:pt x="2069" y="1052"/>
                </a:lnTo>
                <a:lnTo>
                  <a:pt x="2066" y="1048"/>
                </a:lnTo>
                <a:lnTo>
                  <a:pt x="2062" y="1048"/>
                </a:lnTo>
                <a:lnTo>
                  <a:pt x="2059" y="1045"/>
                </a:lnTo>
                <a:lnTo>
                  <a:pt x="2055" y="1045"/>
                </a:lnTo>
                <a:lnTo>
                  <a:pt x="2055" y="1048"/>
                </a:lnTo>
                <a:lnTo>
                  <a:pt x="2052" y="1048"/>
                </a:lnTo>
                <a:lnTo>
                  <a:pt x="2052" y="1052"/>
                </a:lnTo>
                <a:lnTo>
                  <a:pt x="2048" y="1052"/>
                </a:lnTo>
                <a:lnTo>
                  <a:pt x="2048" y="1055"/>
                </a:lnTo>
                <a:lnTo>
                  <a:pt x="2045" y="1055"/>
                </a:lnTo>
                <a:lnTo>
                  <a:pt x="2041" y="1059"/>
                </a:lnTo>
                <a:lnTo>
                  <a:pt x="2038" y="1059"/>
                </a:lnTo>
                <a:lnTo>
                  <a:pt x="2034" y="1062"/>
                </a:lnTo>
                <a:lnTo>
                  <a:pt x="2031" y="1062"/>
                </a:lnTo>
                <a:lnTo>
                  <a:pt x="2027" y="1062"/>
                </a:lnTo>
                <a:lnTo>
                  <a:pt x="2024" y="1066"/>
                </a:lnTo>
                <a:lnTo>
                  <a:pt x="2017" y="1073"/>
                </a:lnTo>
                <a:lnTo>
                  <a:pt x="2014" y="1073"/>
                </a:lnTo>
                <a:lnTo>
                  <a:pt x="2010" y="1076"/>
                </a:lnTo>
                <a:lnTo>
                  <a:pt x="2007" y="1076"/>
                </a:lnTo>
                <a:lnTo>
                  <a:pt x="2007" y="1073"/>
                </a:lnTo>
                <a:lnTo>
                  <a:pt x="2003" y="1073"/>
                </a:lnTo>
                <a:lnTo>
                  <a:pt x="2000" y="1073"/>
                </a:lnTo>
                <a:lnTo>
                  <a:pt x="1996" y="1073"/>
                </a:lnTo>
                <a:lnTo>
                  <a:pt x="1993" y="1076"/>
                </a:lnTo>
                <a:lnTo>
                  <a:pt x="1993" y="1073"/>
                </a:lnTo>
                <a:lnTo>
                  <a:pt x="1993" y="1069"/>
                </a:lnTo>
                <a:lnTo>
                  <a:pt x="1993" y="1066"/>
                </a:lnTo>
                <a:lnTo>
                  <a:pt x="1989" y="1066"/>
                </a:lnTo>
                <a:lnTo>
                  <a:pt x="1986" y="1066"/>
                </a:lnTo>
                <a:lnTo>
                  <a:pt x="1982" y="1069"/>
                </a:lnTo>
                <a:lnTo>
                  <a:pt x="1979" y="1066"/>
                </a:lnTo>
                <a:lnTo>
                  <a:pt x="1979" y="1069"/>
                </a:lnTo>
                <a:lnTo>
                  <a:pt x="1975" y="1069"/>
                </a:lnTo>
                <a:lnTo>
                  <a:pt x="1968" y="1073"/>
                </a:lnTo>
                <a:lnTo>
                  <a:pt x="1965" y="1073"/>
                </a:lnTo>
                <a:lnTo>
                  <a:pt x="1961" y="1073"/>
                </a:lnTo>
                <a:lnTo>
                  <a:pt x="1958" y="1073"/>
                </a:lnTo>
                <a:lnTo>
                  <a:pt x="1954" y="1073"/>
                </a:lnTo>
                <a:lnTo>
                  <a:pt x="1951" y="1076"/>
                </a:lnTo>
                <a:lnTo>
                  <a:pt x="1948" y="1076"/>
                </a:lnTo>
                <a:lnTo>
                  <a:pt x="1944" y="1080"/>
                </a:lnTo>
                <a:lnTo>
                  <a:pt x="1941" y="1080"/>
                </a:lnTo>
                <a:lnTo>
                  <a:pt x="1941" y="1083"/>
                </a:lnTo>
                <a:lnTo>
                  <a:pt x="1937" y="1083"/>
                </a:lnTo>
                <a:lnTo>
                  <a:pt x="1934" y="1083"/>
                </a:lnTo>
                <a:lnTo>
                  <a:pt x="1934" y="1080"/>
                </a:lnTo>
                <a:lnTo>
                  <a:pt x="1930" y="1080"/>
                </a:lnTo>
                <a:lnTo>
                  <a:pt x="1927" y="1083"/>
                </a:lnTo>
                <a:lnTo>
                  <a:pt x="1923" y="1083"/>
                </a:lnTo>
                <a:lnTo>
                  <a:pt x="1920" y="1090"/>
                </a:lnTo>
                <a:lnTo>
                  <a:pt x="1920" y="1094"/>
                </a:lnTo>
                <a:lnTo>
                  <a:pt x="1920" y="1104"/>
                </a:lnTo>
                <a:lnTo>
                  <a:pt x="1916" y="1111"/>
                </a:lnTo>
                <a:lnTo>
                  <a:pt x="1920" y="1111"/>
                </a:lnTo>
                <a:lnTo>
                  <a:pt x="1923" y="1118"/>
                </a:lnTo>
                <a:lnTo>
                  <a:pt x="1927" y="1121"/>
                </a:lnTo>
                <a:lnTo>
                  <a:pt x="1927" y="1125"/>
                </a:lnTo>
                <a:lnTo>
                  <a:pt x="1923" y="1125"/>
                </a:lnTo>
                <a:lnTo>
                  <a:pt x="1923" y="1121"/>
                </a:lnTo>
                <a:lnTo>
                  <a:pt x="1920" y="1121"/>
                </a:lnTo>
                <a:lnTo>
                  <a:pt x="1916" y="1121"/>
                </a:lnTo>
                <a:lnTo>
                  <a:pt x="1913" y="1121"/>
                </a:lnTo>
                <a:lnTo>
                  <a:pt x="1909" y="1121"/>
                </a:lnTo>
                <a:lnTo>
                  <a:pt x="1906" y="1125"/>
                </a:lnTo>
                <a:lnTo>
                  <a:pt x="1906" y="1121"/>
                </a:lnTo>
                <a:lnTo>
                  <a:pt x="1906" y="1125"/>
                </a:lnTo>
                <a:lnTo>
                  <a:pt x="1902" y="1125"/>
                </a:lnTo>
                <a:lnTo>
                  <a:pt x="1906" y="1125"/>
                </a:lnTo>
                <a:lnTo>
                  <a:pt x="1906" y="1128"/>
                </a:lnTo>
                <a:lnTo>
                  <a:pt x="1906" y="1135"/>
                </a:lnTo>
                <a:lnTo>
                  <a:pt x="1906" y="1139"/>
                </a:lnTo>
                <a:lnTo>
                  <a:pt x="1902" y="1139"/>
                </a:lnTo>
                <a:lnTo>
                  <a:pt x="1902" y="1142"/>
                </a:lnTo>
                <a:lnTo>
                  <a:pt x="1902" y="1149"/>
                </a:lnTo>
                <a:lnTo>
                  <a:pt x="1899" y="1149"/>
                </a:lnTo>
                <a:lnTo>
                  <a:pt x="1902" y="1153"/>
                </a:lnTo>
                <a:lnTo>
                  <a:pt x="1902" y="1156"/>
                </a:lnTo>
                <a:lnTo>
                  <a:pt x="1902" y="1160"/>
                </a:lnTo>
                <a:lnTo>
                  <a:pt x="1906" y="1163"/>
                </a:lnTo>
                <a:lnTo>
                  <a:pt x="1906" y="1167"/>
                </a:lnTo>
                <a:lnTo>
                  <a:pt x="1902" y="1170"/>
                </a:lnTo>
                <a:lnTo>
                  <a:pt x="1902" y="1174"/>
                </a:lnTo>
                <a:lnTo>
                  <a:pt x="1899" y="1174"/>
                </a:lnTo>
                <a:lnTo>
                  <a:pt x="1895" y="1174"/>
                </a:lnTo>
                <a:lnTo>
                  <a:pt x="1889" y="1174"/>
                </a:lnTo>
                <a:lnTo>
                  <a:pt x="1885" y="1174"/>
                </a:lnTo>
                <a:lnTo>
                  <a:pt x="1882" y="1174"/>
                </a:lnTo>
                <a:lnTo>
                  <a:pt x="1878" y="1174"/>
                </a:lnTo>
                <a:lnTo>
                  <a:pt x="1878" y="1177"/>
                </a:lnTo>
                <a:lnTo>
                  <a:pt x="1875" y="1177"/>
                </a:lnTo>
                <a:lnTo>
                  <a:pt x="1868" y="1177"/>
                </a:lnTo>
                <a:lnTo>
                  <a:pt x="1864" y="1177"/>
                </a:lnTo>
                <a:lnTo>
                  <a:pt x="1864" y="1174"/>
                </a:lnTo>
                <a:lnTo>
                  <a:pt x="1861" y="1174"/>
                </a:lnTo>
                <a:lnTo>
                  <a:pt x="1861" y="1170"/>
                </a:lnTo>
                <a:lnTo>
                  <a:pt x="1857" y="1167"/>
                </a:lnTo>
                <a:lnTo>
                  <a:pt x="1854" y="1167"/>
                </a:lnTo>
                <a:lnTo>
                  <a:pt x="1850" y="1167"/>
                </a:lnTo>
                <a:lnTo>
                  <a:pt x="1847" y="1170"/>
                </a:lnTo>
                <a:lnTo>
                  <a:pt x="1843" y="1170"/>
                </a:lnTo>
                <a:lnTo>
                  <a:pt x="1840" y="1174"/>
                </a:lnTo>
                <a:lnTo>
                  <a:pt x="1833" y="1174"/>
                </a:lnTo>
                <a:lnTo>
                  <a:pt x="1829" y="1174"/>
                </a:lnTo>
                <a:lnTo>
                  <a:pt x="1826" y="1174"/>
                </a:lnTo>
                <a:lnTo>
                  <a:pt x="1823" y="1174"/>
                </a:lnTo>
                <a:lnTo>
                  <a:pt x="1819" y="1174"/>
                </a:lnTo>
                <a:lnTo>
                  <a:pt x="1819" y="1177"/>
                </a:lnTo>
                <a:lnTo>
                  <a:pt x="1816" y="1180"/>
                </a:lnTo>
                <a:lnTo>
                  <a:pt x="1816" y="1177"/>
                </a:lnTo>
                <a:lnTo>
                  <a:pt x="1812" y="1177"/>
                </a:lnTo>
                <a:lnTo>
                  <a:pt x="1809" y="1177"/>
                </a:lnTo>
                <a:lnTo>
                  <a:pt x="1809" y="1174"/>
                </a:lnTo>
                <a:lnTo>
                  <a:pt x="1805" y="1174"/>
                </a:lnTo>
                <a:lnTo>
                  <a:pt x="1802" y="1170"/>
                </a:lnTo>
                <a:lnTo>
                  <a:pt x="1802" y="1174"/>
                </a:lnTo>
                <a:lnTo>
                  <a:pt x="1802" y="1170"/>
                </a:lnTo>
                <a:lnTo>
                  <a:pt x="1798" y="1170"/>
                </a:lnTo>
                <a:lnTo>
                  <a:pt x="1798" y="1167"/>
                </a:lnTo>
                <a:lnTo>
                  <a:pt x="1795" y="1167"/>
                </a:lnTo>
                <a:lnTo>
                  <a:pt x="1791" y="1163"/>
                </a:lnTo>
                <a:lnTo>
                  <a:pt x="1791" y="1160"/>
                </a:lnTo>
                <a:lnTo>
                  <a:pt x="1788" y="1160"/>
                </a:lnTo>
                <a:lnTo>
                  <a:pt x="1784" y="1160"/>
                </a:lnTo>
                <a:lnTo>
                  <a:pt x="1784" y="1156"/>
                </a:lnTo>
                <a:lnTo>
                  <a:pt x="1784" y="1153"/>
                </a:lnTo>
                <a:lnTo>
                  <a:pt x="1781" y="1153"/>
                </a:lnTo>
                <a:lnTo>
                  <a:pt x="1777" y="1153"/>
                </a:lnTo>
                <a:lnTo>
                  <a:pt x="1777" y="1149"/>
                </a:lnTo>
                <a:lnTo>
                  <a:pt x="1774" y="1149"/>
                </a:lnTo>
                <a:lnTo>
                  <a:pt x="1770" y="1149"/>
                </a:lnTo>
                <a:lnTo>
                  <a:pt x="1767" y="1149"/>
                </a:lnTo>
                <a:lnTo>
                  <a:pt x="1764" y="1149"/>
                </a:lnTo>
                <a:lnTo>
                  <a:pt x="1764" y="1153"/>
                </a:lnTo>
                <a:lnTo>
                  <a:pt x="1760" y="1153"/>
                </a:lnTo>
                <a:lnTo>
                  <a:pt x="1757" y="1153"/>
                </a:lnTo>
                <a:lnTo>
                  <a:pt x="1753" y="1153"/>
                </a:lnTo>
                <a:lnTo>
                  <a:pt x="1750" y="1149"/>
                </a:lnTo>
                <a:lnTo>
                  <a:pt x="1750" y="1146"/>
                </a:lnTo>
                <a:lnTo>
                  <a:pt x="1746" y="1146"/>
                </a:lnTo>
                <a:lnTo>
                  <a:pt x="1746" y="1142"/>
                </a:lnTo>
                <a:lnTo>
                  <a:pt x="1743" y="1142"/>
                </a:lnTo>
                <a:lnTo>
                  <a:pt x="1743" y="1139"/>
                </a:lnTo>
                <a:lnTo>
                  <a:pt x="1739" y="1139"/>
                </a:lnTo>
                <a:lnTo>
                  <a:pt x="1739" y="1142"/>
                </a:lnTo>
                <a:lnTo>
                  <a:pt x="1736" y="1142"/>
                </a:lnTo>
                <a:lnTo>
                  <a:pt x="1736" y="1139"/>
                </a:lnTo>
                <a:lnTo>
                  <a:pt x="1732" y="1139"/>
                </a:lnTo>
                <a:lnTo>
                  <a:pt x="1729" y="1139"/>
                </a:lnTo>
                <a:lnTo>
                  <a:pt x="1725" y="1139"/>
                </a:lnTo>
                <a:lnTo>
                  <a:pt x="1722" y="1139"/>
                </a:lnTo>
                <a:lnTo>
                  <a:pt x="1718" y="1139"/>
                </a:lnTo>
                <a:lnTo>
                  <a:pt x="1718" y="1135"/>
                </a:lnTo>
                <a:lnTo>
                  <a:pt x="1715" y="1135"/>
                </a:lnTo>
                <a:lnTo>
                  <a:pt x="1715" y="1132"/>
                </a:lnTo>
                <a:lnTo>
                  <a:pt x="1711" y="1132"/>
                </a:lnTo>
                <a:lnTo>
                  <a:pt x="1711" y="1128"/>
                </a:lnTo>
                <a:lnTo>
                  <a:pt x="1708" y="1125"/>
                </a:lnTo>
                <a:lnTo>
                  <a:pt x="1704" y="1128"/>
                </a:lnTo>
                <a:lnTo>
                  <a:pt x="1701" y="1125"/>
                </a:lnTo>
                <a:lnTo>
                  <a:pt x="1698" y="1125"/>
                </a:lnTo>
                <a:lnTo>
                  <a:pt x="1698" y="1121"/>
                </a:lnTo>
                <a:lnTo>
                  <a:pt x="1694" y="1121"/>
                </a:lnTo>
                <a:lnTo>
                  <a:pt x="1694" y="1118"/>
                </a:lnTo>
                <a:lnTo>
                  <a:pt x="1691" y="1118"/>
                </a:lnTo>
                <a:lnTo>
                  <a:pt x="1691" y="1114"/>
                </a:lnTo>
                <a:lnTo>
                  <a:pt x="1687" y="1114"/>
                </a:lnTo>
                <a:lnTo>
                  <a:pt x="1684" y="1111"/>
                </a:lnTo>
                <a:lnTo>
                  <a:pt x="1680" y="1108"/>
                </a:lnTo>
                <a:lnTo>
                  <a:pt x="1677" y="1108"/>
                </a:lnTo>
                <a:lnTo>
                  <a:pt x="1677" y="1104"/>
                </a:lnTo>
                <a:lnTo>
                  <a:pt x="1673" y="1101"/>
                </a:lnTo>
                <a:lnTo>
                  <a:pt x="1673" y="1097"/>
                </a:lnTo>
                <a:lnTo>
                  <a:pt x="1673" y="1094"/>
                </a:lnTo>
                <a:lnTo>
                  <a:pt x="1670" y="1083"/>
                </a:lnTo>
                <a:lnTo>
                  <a:pt x="1666" y="1080"/>
                </a:lnTo>
                <a:lnTo>
                  <a:pt x="1666" y="1076"/>
                </a:lnTo>
                <a:lnTo>
                  <a:pt x="1666" y="1073"/>
                </a:lnTo>
                <a:lnTo>
                  <a:pt x="1666" y="1069"/>
                </a:lnTo>
                <a:lnTo>
                  <a:pt x="1666" y="1066"/>
                </a:lnTo>
                <a:lnTo>
                  <a:pt x="1663" y="1066"/>
                </a:lnTo>
                <a:lnTo>
                  <a:pt x="1663" y="1062"/>
                </a:lnTo>
                <a:lnTo>
                  <a:pt x="1663" y="1059"/>
                </a:lnTo>
                <a:lnTo>
                  <a:pt x="1663" y="1055"/>
                </a:lnTo>
                <a:lnTo>
                  <a:pt x="1659" y="1052"/>
                </a:lnTo>
                <a:lnTo>
                  <a:pt x="1663" y="1048"/>
                </a:lnTo>
                <a:lnTo>
                  <a:pt x="1659" y="1048"/>
                </a:lnTo>
                <a:lnTo>
                  <a:pt x="1659" y="1045"/>
                </a:lnTo>
                <a:lnTo>
                  <a:pt x="1656" y="1045"/>
                </a:lnTo>
                <a:lnTo>
                  <a:pt x="1652" y="1045"/>
                </a:lnTo>
                <a:lnTo>
                  <a:pt x="1649" y="1045"/>
                </a:lnTo>
                <a:lnTo>
                  <a:pt x="1645" y="1042"/>
                </a:lnTo>
                <a:lnTo>
                  <a:pt x="1642" y="1042"/>
                </a:lnTo>
                <a:lnTo>
                  <a:pt x="1639" y="1042"/>
                </a:lnTo>
                <a:lnTo>
                  <a:pt x="1639" y="1038"/>
                </a:lnTo>
                <a:lnTo>
                  <a:pt x="1635" y="1038"/>
                </a:lnTo>
                <a:lnTo>
                  <a:pt x="1632" y="1038"/>
                </a:lnTo>
                <a:lnTo>
                  <a:pt x="1628" y="1038"/>
                </a:lnTo>
                <a:lnTo>
                  <a:pt x="1625" y="1035"/>
                </a:lnTo>
                <a:lnTo>
                  <a:pt x="1621" y="1038"/>
                </a:lnTo>
                <a:lnTo>
                  <a:pt x="1618" y="1038"/>
                </a:lnTo>
                <a:lnTo>
                  <a:pt x="1618" y="1035"/>
                </a:lnTo>
                <a:lnTo>
                  <a:pt x="1614" y="1038"/>
                </a:lnTo>
                <a:lnTo>
                  <a:pt x="1611" y="1038"/>
                </a:lnTo>
                <a:lnTo>
                  <a:pt x="1607" y="1038"/>
                </a:lnTo>
                <a:lnTo>
                  <a:pt x="1607" y="1035"/>
                </a:lnTo>
                <a:lnTo>
                  <a:pt x="1604" y="1035"/>
                </a:lnTo>
                <a:lnTo>
                  <a:pt x="1604" y="1031"/>
                </a:lnTo>
                <a:lnTo>
                  <a:pt x="1604" y="1028"/>
                </a:lnTo>
                <a:lnTo>
                  <a:pt x="1607" y="1028"/>
                </a:lnTo>
                <a:lnTo>
                  <a:pt x="1607" y="1024"/>
                </a:lnTo>
                <a:lnTo>
                  <a:pt x="1607" y="1021"/>
                </a:lnTo>
                <a:lnTo>
                  <a:pt x="1611" y="1017"/>
                </a:lnTo>
                <a:lnTo>
                  <a:pt x="1611" y="1014"/>
                </a:lnTo>
                <a:lnTo>
                  <a:pt x="1611" y="1010"/>
                </a:lnTo>
                <a:lnTo>
                  <a:pt x="1607" y="1010"/>
                </a:lnTo>
                <a:lnTo>
                  <a:pt x="1607" y="1007"/>
                </a:lnTo>
                <a:lnTo>
                  <a:pt x="1607" y="1003"/>
                </a:lnTo>
                <a:lnTo>
                  <a:pt x="1604" y="1003"/>
                </a:lnTo>
                <a:lnTo>
                  <a:pt x="1607" y="1000"/>
                </a:lnTo>
                <a:lnTo>
                  <a:pt x="1607" y="996"/>
                </a:lnTo>
                <a:lnTo>
                  <a:pt x="1611" y="996"/>
                </a:lnTo>
                <a:lnTo>
                  <a:pt x="1611" y="993"/>
                </a:lnTo>
                <a:lnTo>
                  <a:pt x="1614" y="993"/>
                </a:lnTo>
                <a:lnTo>
                  <a:pt x="1614" y="989"/>
                </a:lnTo>
                <a:lnTo>
                  <a:pt x="1618" y="989"/>
                </a:lnTo>
                <a:lnTo>
                  <a:pt x="1618" y="986"/>
                </a:lnTo>
                <a:lnTo>
                  <a:pt x="1621" y="986"/>
                </a:lnTo>
                <a:lnTo>
                  <a:pt x="1621" y="983"/>
                </a:lnTo>
                <a:lnTo>
                  <a:pt x="1621" y="979"/>
                </a:lnTo>
                <a:lnTo>
                  <a:pt x="1621" y="976"/>
                </a:lnTo>
                <a:lnTo>
                  <a:pt x="1618" y="976"/>
                </a:lnTo>
                <a:lnTo>
                  <a:pt x="1614" y="972"/>
                </a:lnTo>
                <a:lnTo>
                  <a:pt x="1614" y="969"/>
                </a:lnTo>
                <a:lnTo>
                  <a:pt x="1614" y="965"/>
                </a:lnTo>
                <a:lnTo>
                  <a:pt x="1611" y="965"/>
                </a:lnTo>
                <a:lnTo>
                  <a:pt x="1611" y="962"/>
                </a:lnTo>
                <a:lnTo>
                  <a:pt x="1611" y="958"/>
                </a:lnTo>
                <a:lnTo>
                  <a:pt x="1611" y="955"/>
                </a:lnTo>
                <a:lnTo>
                  <a:pt x="1611" y="951"/>
                </a:lnTo>
                <a:lnTo>
                  <a:pt x="1611" y="948"/>
                </a:lnTo>
                <a:lnTo>
                  <a:pt x="1607" y="948"/>
                </a:lnTo>
                <a:lnTo>
                  <a:pt x="1604" y="948"/>
                </a:lnTo>
                <a:lnTo>
                  <a:pt x="1604" y="944"/>
                </a:lnTo>
                <a:lnTo>
                  <a:pt x="1600" y="944"/>
                </a:lnTo>
                <a:lnTo>
                  <a:pt x="1600" y="941"/>
                </a:lnTo>
                <a:lnTo>
                  <a:pt x="1600" y="937"/>
                </a:lnTo>
                <a:lnTo>
                  <a:pt x="1600" y="934"/>
                </a:lnTo>
                <a:lnTo>
                  <a:pt x="1600" y="930"/>
                </a:lnTo>
                <a:lnTo>
                  <a:pt x="1597" y="927"/>
                </a:lnTo>
                <a:lnTo>
                  <a:pt x="1593" y="927"/>
                </a:lnTo>
                <a:lnTo>
                  <a:pt x="1590" y="927"/>
                </a:lnTo>
                <a:lnTo>
                  <a:pt x="1586" y="927"/>
                </a:lnTo>
                <a:lnTo>
                  <a:pt x="1583" y="923"/>
                </a:lnTo>
                <a:lnTo>
                  <a:pt x="1580" y="923"/>
                </a:lnTo>
                <a:lnTo>
                  <a:pt x="1576" y="923"/>
                </a:lnTo>
                <a:lnTo>
                  <a:pt x="1573" y="923"/>
                </a:lnTo>
                <a:lnTo>
                  <a:pt x="1573" y="927"/>
                </a:lnTo>
                <a:lnTo>
                  <a:pt x="1569" y="927"/>
                </a:lnTo>
                <a:lnTo>
                  <a:pt x="1569" y="930"/>
                </a:lnTo>
                <a:lnTo>
                  <a:pt x="1569" y="934"/>
                </a:lnTo>
                <a:lnTo>
                  <a:pt x="1566" y="934"/>
                </a:lnTo>
                <a:lnTo>
                  <a:pt x="1562" y="934"/>
                </a:lnTo>
                <a:lnTo>
                  <a:pt x="1559" y="934"/>
                </a:lnTo>
                <a:lnTo>
                  <a:pt x="1559" y="937"/>
                </a:lnTo>
                <a:lnTo>
                  <a:pt x="1559" y="941"/>
                </a:lnTo>
                <a:lnTo>
                  <a:pt x="1555" y="941"/>
                </a:lnTo>
                <a:lnTo>
                  <a:pt x="1555" y="937"/>
                </a:lnTo>
                <a:lnTo>
                  <a:pt x="1552" y="937"/>
                </a:lnTo>
                <a:lnTo>
                  <a:pt x="1552" y="934"/>
                </a:lnTo>
                <a:lnTo>
                  <a:pt x="1548" y="930"/>
                </a:lnTo>
                <a:lnTo>
                  <a:pt x="1548" y="927"/>
                </a:lnTo>
                <a:lnTo>
                  <a:pt x="1545" y="927"/>
                </a:lnTo>
                <a:lnTo>
                  <a:pt x="1545" y="923"/>
                </a:lnTo>
                <a:lnTo>
                  <a:pt x="1545" y="920"/>
                </a:lnTo>
                <a:lnTo>
                  <a:pt x="1541" y="920"/>
                </a:lnTo>
                <a:lnTo>
                  <a:pt x="1545" y="917"/>
                </a:lnTo>
                <a:lnTo>
                  <a:pt x="1541" y="913"/>
                </a:lnTo>
                <a:lnTo>
                  <a:pt x="1541" y="910"/>
                </a:lnTo>
                <a:lnTo>
                  <a:pt x="1538" y="910"/>
                </a:lnTo>
                <a:lnTo>
                  <a:pt x="1538" y="906"/>
                </a:lnTo>
                <a:lnTo>
                  <a:pt x="1534" y="906"/>
                </a:lnTo>
                <a:lnTo>
                  <a:pt x="1531" y="903"/>
                </a:lnTo>
                <a:lnTo>
                  <a:pt x="1527" y="903"/>
                </a:lnTo>
                <a:lnTo>
                  <a:pt x="1524" y="903"/>
                </a:lnTo>
                <a:lnTo>
                  <a:pt x="1520" y="903"/>
                </a:lnTo>
                <a:lnTo>
                  <a:pt x="1517" y="903"/>
                </a:lnTo>
                <a:lnTo>
                  <a:pt x="1517" y="906"/>
                </a:lnTo>
                <a:lnTo>
                  <a:pt x="1517" y="903"/>
                </a:lnTo>
                <a:lnTo>
                  <a:pt x="1514" y="903"/>
                </a:lnTo>
                <a:lnTo>
                  <a:pt x="1507" y="899"/>
                </a:lnTo>
                <a:lnTo>
                  <a:pt x="1503" y="896"/>
                </a:lnTo>
                <a:lnTo>
                  <a:pt x="1507" y="896"/>
                </a:lnTo>
                <a:lnTo>
                  <a:pt x="1510" y="896"/>
                </a:lnTo>
                <a:lnTo>
                  <a:pt x="1510" y="892"/>
                </a:lnTo>
                <a:lnTo>
                  <a:pt x="1510" y="889"/>
                </a:lnTo>
                <a:lnTo>
                  <a:pt x="1514" y="885"/>
                </a:lnTo>
                <a:lnTo>
                  <a:pt x="1514" y="882"/>
                </a:lnTo>
                <a:lnTo>
                  <a:pt x="1517" y="882"/>
                </a:lnTo>
                <a:lnTo>
                  <a:pt x="1517" y="878"/>
                </a:lnTo>
                <a:lnTo>
                  <a:pt x="1520" y="878"/>
                </a:lnTo>
                <a:lnTo>
                  <a:pt x="1520" y="875"/>
                </a:lnTo>
                <a:lnTo>
                  <a:pt x="1520" y="871"/>
                </a:lnTo>
                <a:lnTo>
                  <a:pt x="1520" y="868"/>
                </a:lnTo>
                <a:lnTo>
                  <a:pt x="1517" y="864"/>
                </a:lnTo>
                <a:lnTo>
                  <a:pt x="1517" y="861"/>
                </a:lnTo>
                <a:lnTo>
                  <a:pt x="1514" y="861"/>
                </a:lnTo>
                <a:lnTo>
                  <a:pt x="1514" y="857"/>
                </a:lnTo>
                <a:lnTo>
                  <a:pt x="1510" y="857"/>
                </a:lnTo>
                <a:lnTo>
                  <a:pt x="1510" y="854"/>
                </a:lnTo>
                <a:lnTo>
                  <a:pt x="1507" y="854"/>
                </a:lnTo>
                <a:lnTo>
                  <a:pt x="1503" y="854"/>
                </a:lnTo>
                <a:lnTo>
                  <a:pt x="1503" y="851"/>
                </a:lnTo>
                <a:lnTo>
                  <a:pt x="1500" y="851"/>
                </a:lnTo>
                <a:lnTo>
                  <a:pt x="1496" y="847"/>
                </a:lnTo>
                <a:lnTo>
                  <a:pt x="1496" y="844"/>
                </a:lnTo>
                <a:lnTo>
                  <a:pt x="1493" y="844"/>
                </a:lnTo>
                <a:lnTo>
                  <a:pt x="1496" y="844"/>
                </a:lnTo>
                <a:lnTo>
                  <a:pt x="1496" y="840"/>
                </a:lnTo>
                <a:lnTo>
                  <a:pt x="1496" y="837"/>
                </a:lnTo>
                <a:lnTo>
                  <a:pt x="1496" y="833"/>
                </a:lnTo>
                <a:lnTo>
                  <a:pt x="1496" y="830"/>
                </a:lnTo>
                <a:lnTo>
                  <a:pt x="1500" y="830"/>
                </a:lnTo>
                <a:lnTo>
                  <a:pt x="1500" y="826"/>
                </a:lnTo>
                <a:lnTo>
                  <a:pt x="1500" y="823"/>
                </a:lnTo>
                <a:lnTo>
                  <a:pt x="1496" y="823"/>
                </a:lnTo>
                <a:lnTo>
                  <a:pt x="1493" y="819"/>
                </a:lnTo>
                <a:lnTo>
                  <a:pt x="1493" y="816"/>
                </a:lnTo>
                <a:lnTo>
                  <a:pt x="1493" y="812"/>
                </a:lnTo>
                <a:lnTo>
                  <a:pt x="1493" y="809"/>
                </a:lnTo>
                <a:lnTo>
                  <a:pt x="1489" y="809"/>
                </a:lnTo>
                <a:lnTo>
                  <a:pt x="1489" y="805"/>
                </a:lnTo>
                <a:lnTo>
                  <a:pt x="1489" y="802"/>
                </a:lnTo>
                <a:lnTo>
                  <a:pt x="1486" y="798"/>
                </a:lnTo>
                <a:lnTo>
                  <a:pt x="1486" y="795"/>
                </a:lnTo>
                <a:lnTo>
                  <a:pt x="1489" y="792"/>
                </a:lnTo>
                <a:lnTo>
                  <a:pt x="1489" y="788"/>
                </a:lnTo>
                <a:lnTo>
                  <a:pt x="1493" y="788"/>
                </a:lnTo>
                <a:lnTo>
                  <a:pt x="1496" y="785"/>
                </a:lnTo>
                <a:lnTo>
                  <a:pt x="1500" y="785"/>
                </a:lnTo>
                <a:lnTo>
                  <a:pt x="1500" y="781"/>
                </a:lnTo>
                <a:lnTo>
                  <a:pt x="1503" y="781"/>
                </a:lnTo>
                <a:lnTo>
                  <a:pt x="1507" y="778"/>
                </a:lnTo>
                <a:lnTo>
                  <a:pt x="1510" y="778"/>
                </a:lnTo>
                <a:lnTo>
                  <a:pt x="1510" y="781"/>
                </a:lnTo>
                <a:lnTo>
                  <a:pt x="1514" y="781"/>
                </a:lnTo>
                <a:lnTo>
                  <a:pt x="1517" y="785"/>
                </a:lnTo>
                <a:lnTo>
                  <a:pt x="1520" y="785"/>
                </a:lnTo>
                <a:lnTo>
                  <a:pt x="1520" y="781"/>
                </a:lnTo>
                <a:lnTo>
                  <a:pt x="1524" y="781"/>
                </a:lnTo>
                <a:lnTo>
                  <a:pt x="1524" y="778"/>
                </a:lnTo>
                <a:lnTo>
                  <a:pt x="1527" y="778"/>
                </a:lnTo>
                <a:lnTo>
                  <a:pt x="1531" y="778"/>
                </a:lnTo>
                <a:lnTo>
                  <a:pt x="1534" y="778"/>
                </a:lnTo>
                <a:lnTo>
                  <a:pt x="1538" y="778"/>
                </a:lnTo>
                <a:lnTo>
                  <a:pt x="1538" y="774"/>
                </a:lnTo>
                <a:lnTo>
                  <a:pt x="1541" y="774"/>
                </a:lnTo>
                <a:lnTo>
                  <a:pt x="1545" y="774"/>
                </a:lnTo>
                <a:lnTo>
                  <a:pt x="1548" y="774"/>
                </a:lnTo>
                <a:lnTo>
                  <a:pt x="1548" y="771"/>
                </a:lnTo>
                <a:lnTo>
                  <a:pt x="1552" y="771"/>
                </a:lnTo>
                <a:lnTo>
                  <a:pt x="1552" y="767"/>
                </a:lnTo>
                <a:lnTo>
                  <a:pt x="1552" y="764"/>
                </a:lnTo>
                <a:lnTo>
                  <a:pt x="1552" y="760"/>
                </a:lnTo>
                <a:lnTo>
                  <a:pt x="1555" y="757"/>
                </a:lnTo>
                <a:lnTo>
                  <a:pt x="1555" y="753"/>
                </a:lnTo>
                <a:lnTo>
                  <a:pt x="1555" y="750"/>
                </a:lnTo>
                <a:lnTo>
                  <a:pt x="1555" y="746"/>
                </a:lnTo>
                <a:lnTo>
                  <a:pt x="1555" y="743"/>
                </a:lnTo>
                <a:lnTo>
                  <a:pt x="1555" y="739"/>
                </a:lnTo>
                <a:lnTo>
                  <a:pt x="1559" y="739"/>
                </a:lnTo>
                <a:lnTo>
                  <a:pt x="1562" y="739"/>
                </a:lnTo>
                <a:lnTo>
                  <a:pt x="1566" y="739"/>
                </a:lnTo>
                <a:lnTo>
                  <a:pt x="1566" y="736"/>
                </a:lnTo>
                <a:lnTo>
                  <a:pt x="1569" y="736"/>
                </a:lnTo>
                <a:lnTo>
                  <a:pt x="1569" y="732"/>
                </a:lnTo>
                <a:lnTo>
                  <a:pt x="1573" y="732"/>
                </a:lnTo>
                <a:lnTo>
                  <a:pt x="1573" y="729"/>
                </a:lnTo>
                <a:lnTo>
                  <a:pt x="1576" y="729"/>
                </a:lnTo>
                <a:lnTo>
                  <a:pt x="1580" y="729"/>
                </a:lnTo>
                <a:lnTo>
                  <a:pt x="1590" y="726"/>
                </a:lnTo>
                <a:lnTo>
                  <a:pt x="1590" y="722"/>
                </a:lnTo>
                <a:lnTo>
                  <a:pt x="1593" y="719"/>
                </a:lnTo>
                <a:lnTo>
                  <a:pt x="1597" y="715"/>
                </a:lnTo>
                <a:lnTo>
                  <a:pt x="1600" y="712"/>
                </a:lnTo>
                <a:lnTo>
                  <a:pt x="1600" y="708"/>
                </a:lnTo>
                <a:lnTo>
                  <a:pt x="1604" y="708"/>
                </a:lnTo>
                <a:lnTo>
                  <a:pt x="1604" y="705"/>
                </a:lnTo>
                <a:lnTo>
                  <a:pt x="1607" y="705"/>
                </a:lnTo>
                <a:lnTo>
                  <a:pt x="1611" y="705"/>
                </a:lnTo>
                <a:lnTo>
                  <a:pt x="1614" y="705"/>
                </a:lnTo>
                <a:lnTo>
                  <a:pt x="1618" y="705"/>
                </a:lnTo>
                <a:lnTo>
                  <a:pt x="1621" y="705"/>
                </a:lnTo>
                <a:lnTo>
                  <a:pt x="1625" y="705"/>
                </a:lnTo>
                <a:lnTo>
                  <a:pt x="1625" y="701"/>
                </a:lnTo>
                <a:lnTo>
                  <a:pt x="1625" y="698"/>
                </a:lnTo>
                <a:lnTo>
                  <a:pt x="1625" y="694"/>
                </a:lnTo>
                <a:lnTo>
                  <a:pt x="1628" y="694"/>
                </a:lnTo>
                <a:lnTo>
                  <a:pt x="1632" y="691"/>
                </a:lnTo>
                <a:lnTo>
                  <a:pt x="1635" y="691"/>
                </a:lnTo>
                <a:lnTo>
                  <a:pt x="1635" y="687"/>
                </a:lnTo>
                <a:lnTo>
                  <a:pt x="1639" y="687"/>
                </a:lnTo>
                <a:lnTo>
                  <a:pt x="1642" y="687"/>
                </a:lnTo>
                <a:lnTo>
                  <a:pt x="1645" y="687"/>
                </a:lnTo>
                <a:lnTo>
                  <a:pt x="1649" y="687"/>
                </a:lnTo>
                <a:lnTo>
                  <a:pt x="1652" y="687"/>
                </a:lnTo>
                <a:lnTo>
                  <a:pt x="1652" y="684"/>
                </a:lnTo>
                <a:lnTo>
                  <a:pt x="1656" y="684"/>
                </a:lnTo>
                <a:lnTo>
                  <a:pt x="1659" y="680"/>
                </a:lnTo>
                <a:lnTo>
                  <a:pt x="1659" y="677"/>
                </a:lnTo>
                <a:lnTo>
                  <a:pt x="1659" y="673"/>
                </a:lnTo>
                <a:lnTo>
                  <a:pt x="1663" y="673"/>
                </a:lnTo>
                <a:lnTo>
                  <a:pt x="1663" y="670"/>
                </a:lnTo>
                <a:lnTo>
                  <a:pt x="1663" y="666"/>
                </a:lnTo>
                <a:lnTo>
                  <a:pt x="1663" y="663"/>
                </a:lnTo>
                <a:lnTo>
                  <a:pt x="1663" y="660"/>
                </a:lnTo>
                <a:lnTo>
                  <a:pt x="1663" y="656"/>
                </a:lnTo>
                <a:lnTo>
                  <a:pt x="1663" y="653"/>
                </a:lnTo>
                <a:lnTo>
                  <a:pt x="1666" y="649"/>
                </a:lnTo>
                <a:lnTo>
                  <a:pt x="1673" y="649"/>
                </a:lnTo>
                <a:lnTo>
                  <a:pt x="1673" y="646"/>
                </a:lnTo>
                <a:lnTo>
                  <a:pt x="1684" y="642"/>
                </a:lnTo>
                <a:lnTo>
                  <a:pt x="1687" y="642"/>
                </a:lnTo>
                <a:lnTo>
                  <a:pt x="1691" y="639"/>
                </a:lnTo>
                <a:lnTo>
                  <a:pt x="1698" y="646"/>
                </a:lnTo>
                <a:lnTo>
                  <a:pt x="1701" y="649"/>
                </a:lnTo>
                <a:lnTo>
                  <a:pt x="1704" y="653"/>
                </a:lnTo>
                <a:lnTo>
                  <a:pt x="1708" y="649"/>
                </a:lnTo>
                <a:lnTo>
                  <a:pt x="1711" y="646"/>
                </a:lnTo>
                <a:lnTo>
                  <a:pt x="1715" y="642"/>
                </a:lnTo>
                <a:lnTo>
                  <a:pt x="1725" y="646"/>
                </a:lnTo>
                <a:lnTo>
                  <a:pt x="1729" y="649"/>
                </a:lnTo>
                <a:lnTo>
                  <a:pt x="1732" y="649"/>
                </a:lnTo>
                <a:lnTo>
                  <a:pt x="1739" y="649"/>
                </a:lnTo>
                <a:lnTo>
                  <a:pt x="1743" y="646"/>
                </a:lnTo>
                <a:lnTo>
                  <a:pt x="1746" y="642"/>
                </a:lnTo>
                <a:lnTo>
                  <a:pt x="1750" y="642"/>
                </a:lnTo>
                <a:lnTo>
                  <a:pt x="1750" y="639"/>
                </a:lnTo>
                <a:lnTo>
                  <a:pt x="1750" y="635"/>
                </a:lnTo>
                <a:lnTo>
                  <a:pt x="1753" y="635"/>
                </a:lnTo>
                <a:lnTo>
                  <a:pt x="1757" y="635"/>
                </a:lnTo>
                <a:lnTo>
                  <a:pt x="1760" y="635"/>
                </a:lnTo>
                <a:lnTo>
                  <a:pt x="1764" y="635"/>
                </a:lnTo>
                <a:lnTo>
                  <a:pt x="1767" y="639"/>
                </a:lnTo>
                <a:lnTo>
                  <a:pt x="1770" y="639"/>
                </a:lnTo>
                <a:lnTo>
                  <a:pt x="1774" y="642"/>
                </a:lnTo>
                <a:lnTo>
                  <a:pt x="1777" y="642"/>
                </a:lnTo>
                <a:lnTo>
                  <a:pt x="1781" y="642"/>
                </a:lnTo>
                <a:lnTo>
                  <a:pt x="1781" y="646"/>
                </a:lnTo>
                <a:lnTo>
                  <a:pt x="1781" y="649"/>
                </a:lnTo>
                <a:lnTo>
                  <a:pt x="1784" y="649"/>
                </a:lnTo>
                <a:lnTo>
                  <a:pt x="1784" y="653"/>
                </a:lnTo>
                <a:lnTo>
                  <a:pt x="1784" y="656"/>
                </a:lnTo>
                <a:lnTo>
                  <a:pt x="1788" y="660"/>
                </a:lnTo>
                <a:lnTo>
                  <a:pt x="1791" y="660"/>
                </a:lnTo>
                <a:lnTo>
                  <a:pt x="1791" y="663"/>
                </a:lnTo>
                <a:lnTo>
                  <a:pt x="1795" y="663"/>
                </a:lnTo>
                <a:lnTo>
                  <a:pt x="1798" y="666"/>
                </a:lnTo>
                <a:lnTo>
                  <a:pt x="1802" y="666"/>
                </a:lnTo>
                <a:lnTo>
                  <a:pt x="1805" y="666"/>
                </a:lnTo>
                <a:lnTo>
                  <a:pt x="1809" y="663"/>
                </a:lnTo>
                <a:lnTo>
                  <a:pt x="1809" y="660"/>
                </a:lnTo>
                <a:lnTo>
                  <a:pt x="1812" y="660"/>
                </a:lnTo>
                <a:lnTo>
                  <a:pt x="1819" y="663"/>
                </a:lnTo>
                <a:lnTo>
                  <a:pt x="1823" y="663"/>
                </a:lnTo>
                <a:lnTo>
                  <a:pt x="1826" y="663"/>
                </a:lnTo>
                <a:lnTo>
                  <a:pt x="1829" y="663"/>
                </a:lnTo>
                <a:lnTo>
                  <a:pt x="1833" y="670"/>
                </a:lnTo>
                <a:lnTo>
                  <a:pt x="1836" y="670"/>
                </a:lnTo>
                <a:lnTo>
                  <a:pt x="1840" y="670"/>
                </a:lnTo>
                <a:lnTo>
                  <a:pt x="1843" y="673"/>
                </a:lnTo>
                <a:lnTo>
                  <a:pt x="1847" y="673"/>
                </a:lnTo>
                <a:lnTo>
                  <a:pt x="1850" y="673"/>
                </a:lnTo>
                <a:lnTo>
                  <a:pt x="1857" y="677"/>
                </a:lnTo>
                <a:lnTo>
                  <a:pt x="1857" y="680"/>
                </a:lnTo>
                <a:lnTo>
                  <a:pt x="1861" y="680"/>
                </a:lnTo>
                <a:lnTo>
                  <a:pt x="1861" y="684"/>
                </a:lnTo>
                <a:lnTo>
                  <a:pt x="1861" y="687"/>
                </a:lnTo>
                <a:lnTo>
                  <a:pt x="1864" y="687"/>
                </a:lnTo>
                <a:lnTo>
                  <a:pt x="1868" y="691"/>
                </a:lnTo>
                <a:lnTo>
                  <a:pt x="1871" y="694"/>
                </a:lnTo>
                <a:lnTo>
                  <a:pt x="1875" y="694"/>
                </a:lnTo>
                <a:lnTo>
                  <a:pt x="1878" y="698"/>
                </a:lnTo>
                <a:close/>
                <a:moveTo>
                  <a:pt x="1819" y="118"/>
                </a:moveTo>
                <a:lnTo>
                  <a:pt x="1816" y="135"/>
                </a:lnTo>
                <a:lnTo>
                  <a:pt x="1816" y="142"/>
                </a:lnTo>
                <a:lnTo>
                  <a:pt x="1819" y="146"/>
                </a:lnTo>
                <a:lnTo>
                  <a:pt x="1819" y="149"/>
                </a:lnTo>
                <a:lnTo>
                  <a:pt x="1826" y="149"/>
                </a:lnTo>
                <a:lnTo>
                  <a:pt x="1829" y="153"/>
                </a:lnTo>
                <a:lnTo>
                  <a:pt x="1833" y="153"/>
                </a:lnTo>
                <a:lnTo>
                  <a:pt x="1840" y="153"/>
                </a:lnTo>
                <a:lnTo>
                  <a:pt x="1843" y="156"/>
                </a:lnTo>
                <a:lnTo>
                  <a:pt x="1847" y="156"/>
                </a:lnTo>
                <a:lnTo>
                  <a:pt x="1854" y="156"/>
                </a:lnTo>
                <a:lnTo>
                  <a:pt x="1854" y="159"/>
                </a:lnTo>
                <a:lnTo>
                  <a:pt x="1857" y="159"/>
                </a:lnTo>
                <a:lnTo>
                  <a:pt x="1864" y="163"/>
                </a:lnTo>
                <a:lnTo>
                  <a:pt x="1868" y="163"/>
                </a:lnTo>
                <a:lnTo>
                  <a:pt x="1871" y="166"/>
                </a:lnTo>
                <a:lnTo>
                  <a:pt x="1875" y="166"/>
                </a:lnTo>
                <a:lnTo>
                  <a:pt x="1878" y="166"/>
                </a:lnTo>
                <a:lnTo>
                  <a:pt x="1878" y="170"/>
                </a:lnTo>
                <a:lnTo>
                  <a:pt x="1882" y="173"/>
                </a:lnTo>
                <a:lnTo>
                  <a:pt x="1885" y="177"/>
                </a:lnTo>
                <a:lnTo>
                  <a:pt x="1889" y="177"/>
                </a:lnTo>
                <a:lnTo>
                  <a:pt x="1885" y="177"/>
                </a:lnTo>
                <a:lnTo>
                  <a:pt x="1885" y="180"/>
                </a:lnTo>
                <a:lnTo>
                  <a:pt x="1882" y="180"/>
                </a:lnTo>
                <a:lnTo>
                  <a:pt x="1882" y="184"/>
                </a:lnTo>
                <a:lnTo>
                  <a:pt x="1878" y="184"/>
                </a:lnTo>
                <a:lnTo>
                  <a:pt x="1878" y="187"/>
                </a:lnTo>
                <a:lnTo>
                  <a:pt x="1875" y="187"/>
                </a:lnTo>
                <a:lnTo>
                  <a:pt x="1875" y="191"/>
                </a:lnTo>
                <a:lnTo>
                  <a:pt x="1875" y="194"/>
                </a:lnTo>
                <a:lnTo>
                  <a:pt x="1871" y="198"/>
                </a:lnTo>
                <a:lnTo>
                  <a:pt x="1871" y="201"/>
                </a:lnTo>
                <a:lnTo>
                  <a:pt x="1868" y="201"/>
                </a:lnTo>
                <a:lnTo>
                  <a:pt x="1868" y="205"/>
                </a:lnTo>
                <a:lnTo>
                  <a:pt x="1864" y="208"/>
                </a:lnTo>
                <a:lnTo>
                  <a:pt x="1857" y="208"/>
                </a:lnTo>
                <a:lnTo>
                  <a:pt x="1861" y="212"/>
                </a:lnTo>
                <a:lnTo>
                  <a:pt x="1861" y="215"/>
                </a:lnTo>
                <a:lnTo>
                  <a:pt x="1864" y="215"/>
                </a:lnTo>
                <a:lnTo>
                  <a:pt x="1868" y="219"/>
                </a:lnTo>
                <a:lnTo>
                  <a:pt x="1871" y="222"/>
                </a:lnTo>
                <a:lnTo>
                  <a:pt x="1878" y="222"/>
                </a:lnTo>
                <a:lnTo>
                  <a:pt x="1878" y="225"/>
                </a:lnTo>
                <a:lnTo>
                  <a:pt x="1878" y="229"/>
                </a:lnTo>
                <a:lnTo>
                  <a:pt x="1878" y="232"/>
                </a:lnTo>
                <a:lnTo>
                  <a:pt x="1878" y="239"/>
                </a:lnTo>
                <a:lnTo>
                  <a:pt x="1882" y="239"/>
                </a:lnTo>
                <a:lnTo>
                  <a:pt x="1882" y="246"/>
                </a:lnTo>
                <a:lnTo>
                  <a:pt x="1882" y="253"/>
                </a:lnTo>
                <a:lnTo>
                  <a:pt x="1885" y="253"/>
                </a:lnTo>
                <a:lnTo>
                  <a:pt x="1885" y="257"/>
                </a:lnTo>
                <a:lnTo>
                  <a:pt x="1889" y="253"/>
                </a:lnTo>
                <a:lnTo>
                  <a:pt x="1889" y="257"/>
                </a:lnTo>
                <a:lnTo>
                  <a:pt x="1889" y="260"/>
                </a:lnTo>
                <a:lnTo>
                  <a:pt x="1892" y="264"/>
                </a:lnTo>
                <a:lnTo>
                  <a:pt x="1895" y="267"/>
                </a:lnTo>
                <a:lnTo>
                  <a:pt x="1899" y="271"/>
                </a:lnTo>
                <a:lnTo>
                  <a:pt x="1906" y="274"/>
                </a:lnTo>
                <a:lnTo>
                  <a:pt x="1909" y="278"/>
                </a:lnTo>
                <a:lnTo>
                  <a:pt x="1909" y="281"/>
                </a:lnTo>
                <a:lnTo>
                  <a:pt x="1909" y="285"/>
                </a:lnTo>
                <a:lnTo>
                  <a:pt x="1909" y="288"/>
                </a:lnTo>
                <a:lnTo>
                  <a:pt x="1906" y="288"/>
                </a:lnTo>
                <a:lnTo>
                  <a:pt x="1902" y="291"/>
                </a:lnTo>
                <a:lnTo>
                  <a:pt x="1899" y="291"/>
                </a:lnTo>
                <a:lnTo>
                  <a:pt x="1895" y="295"/>
                </a:lnTo>
                <a:lnTo>
                  <a:pt x="1892" y="298"/>
                </a:lnTo>
                <a:lnTo>
                  <a:pt x="1889" y="298"/>
                </a:lnTo>
                <a:lnTo>
                  <a:pt x="1882" y="298"/>
                </a:lnTo>
                <a:lnTo>
                  <a:pt x="1882" y="302"/>
                </a:lnTo>
                <a:lnTo>
                  <a:pt x="1878" y="298"/>
                </a:lnTo>
                <a:lnTo>
                  <a:pt x="1875" y="298"/>
                </a:lnTo>
                <a:lnTo>
                  <a:pt x="1871" y="298"/>
                </a:lnTo>
                <a:lnTo>
                  <a:pt x="1868" y="298"/>
                </a:lnTo>
                <a:lnTo>
                  <a:pt x="1861" y="302"/>
                </a:lnTo>
                <a:lnTo>
                  <a:pt x="1861" y="305"/>
                </a:lnTo>
                <a:lnTo>
                  <a:pt x="1861" y="312"/>
                </a:lnTo>
                <a:lnTo>
                  <a:pt x="1861" y="316"/>
                </a:lnTo>
                <a:lnTo>
                  <a:pt x="1864" y="319"/>
                </a:lnTo>
                <a:lnTo>
                  <a:pt x="1864" y="323"/>
                </a:lnTo>
                <a:lnTo>
                  <a:pt x="1864" y="326"/>
                </a:lnTo>
                <a:lnTo>
                  <a:pt x="1864" y="330"/>
                </a:lnTo>
                <a:lnTo>
                  <a:pt x="1864" y="333"/>
                </a:lnTo>
                <a:lnTo>
                  <a:pt x="1861" y="333"/>
                </a:lnTo>
                <a:lnTo>
                  <a:pt x="1861" y="337"/>
                </a:lnTo>
                <a:lnTo>
                  <a:pt x="1861" y="340"/>
                </a:lnTo>
                <a:lnTo>
                  <a:pt x="1857" y="340"/>
                </a:lnTo>
                <a:lnTo>
                  <a:pt x="1857" y="344"/>
                </a:lnTo>
                <a:lnTo>
                  <a:pt x="1857" y="347"/>
                </a:lnTo>
                <a:lnTo>
                  <a:pt x="1854" y="347"/>
                </a:lnTo>
                <a:lnTo>
                  <a:pt x="1854" y="350"/>
                </a:lnTo>
                <a:lnTo>
                  <a:pt x="1850" y="354"/>
                </a:lnTo>
                <a:lnTo>
                  <a:pt x="1847" y="354"/>
                </a:lnTo>
                <a:lnTo>
                  <a:pt x="1843" y="354"/>
                </a:lnTo>
                <a:lnTo>
                  <a:pt x="1843" y="357"/>
                </a:lnTo>
                <a:lnTo>
                  <a:pt x="1840" y="357"/>
                </a:lnTo>
                <a:lnTo>
                  <a:pt x="1836" y="361"/>
                </a:lnTo>
                <a:lnTo>
                  <a:pt x="1836" y="364"/>
                </a:lnTo>
                <a:lnTo>
                  <a:pt x="1833" y="364"/>
                </a:lnTo>
                <a:lnTo>
                  <a:pt x="1829" y="368"/>
                </a:lnTo>
                <a:lnTo>
                  <a:pt x="1829" y="371"/>
                </a:lnTo>
                <a:lnTo>
                  <a:pt x="1823" y="378"/>
                </a:lnTo>
                <a:lnTo>
                  <a:pt x="1819" y="382"/>
                </a:lnTo>
                <a:lnTo>
                  <a:pt x="1812" y="378"/>
                </a:lnTo>
                <a:lnTo>
                  <a:pt x="1809" y="378"/>
                </a:lnTo>
                <a:lnTo>
                  <a:pt x="1809" y="375"/>
                </a:lnTo>
                <a:lnTo>
                  <a:pt x="1809" y="371"/>
                </a:lnTo>
                <a:lnTo>
                  <a:pt x="1809" y="375"/>
                </a:lnTo>
                <a:lnTo>
                  <a:pt x="1805" y="375"/>
                </a:lnTo>
                <a:lnTo>
                  <a:pt x="1805" y="371"/>
                </a:lnTo>
                <a:lnTo>
                  <a:pt x="1798" y="375"/>
                </a:lnTo>
                <a:lnTo>
                  <a:pt x="1795" y="378"/>
                </a:lnTo>
                <a:lnTo>
                  <a:pt x="1781" y="382"/>
                </a:lnTo>
                <a:lnTo>
                  <a:pt x="1774" y="378"/>
                </a:lnTo>
                <a:lnTo>
                  <a:pt x="1770" y="378"/>
                </a:lnTo>
                <a:lnTo>
                  <a:pt x="1767" y="378"/>
                </a:lnTo>
                <a:lnTo>
                  <a:pt x="1767" y="382"/>
                </a:lnTo>
                <a:lnTo>
                  <a:pt x="1764" y="385"/>
                </a:lnTo>
                <a:lnTo>
                  <a:pt x="1764" y="389"/>
                </a:lnTo>
                <a:lnTo>
                  <a:pt x="1764" y="392"/>
                </a:lnTo>
                <a:lnTo>
                  <a:pt x="1760" y="392"/>
                </a:lnTo>
                <a:lnTo>
                  <a:pt x="1757" y="396"/>
                </a:lnTo>
                <a:lnTo>
                  <a:pt x="1750" y="396"/>
                </a:lnTo>
                <a:lnTo>
                  <a:pt x="1750" y="399"/>
                </a:lnTo>
                <a:lnTo>
                  <a:pt x="1750" y="403"/>
                </a:lnTo>
                <a:lnTo>
                  <a:pt x="1746" y="406"/>
                </a:lnTo>
                <a:lnTo>
                  <a:pt x="1750" y="406"/>
                </a:lnTo>
                <a:lnTo>
                  <a:pt x="1750" y="410"/>
                </a:lnTo>
                <a:lnTo>
                  <a:pt x="1757" y="416"/>
                </a:lnTo>
                <a:lnTo>
                  <a:pt x="1753" y="420"/>
                </a:lnTo>
                <a:lnTo>
                  <a:pt x="1753" y="423"/>
                </a:lnTo>
                <a:lnTo>
                  <a:pt x="1760" y="427"/>
                </a:lnTo>
                <a:lnTo>
                  <a:pt x="1764" y="427"/>
                </a:lnTo>
                <a:lnTo>
                  <a:pt x="1764" y="430"/>
                </a:lnTo>
                <a:lnTo>
                  <a:pt x="1760" y="437"/>
                </a:lnTo>
                <a:lnTo>
                  <a:pt x="1760" y="441"/>
                </a:lnTo>
                <a:lnTo>
                  <a:pt x="1760" y="437"/>
                </a:lnTo>
                <a:lnTo>
                  <a:pt x="1757" y="437"/>
                </a:lnTo>
                <a:lnTo>
                  <a:pt x="1753" y="441"/>
                </a:lnTo>
                <a:lnTo>
                  <a:pt x="1753" y="444"/>
                </a:lnTo>
                <a:lnTo>
                  <a:pt x="1750" y="448"/>
                </a:lnTo>
                <a:lnTo>
                  <a:pt x="1750" y="451"/>
                </a:lnTo>
                <a:lnTo>
                  <a:pt x="1746" y="451"/>
                </a:lnTo>
                <a:lnTo>
                  <a:pt x="1743" y="455"/>
                </a:lnTo>
                <a:lnTo>
                  <a:pt x="1739" y="455"/>
                </a:lnTo>
                <a:lnTo>
                  <a:pt x="1736" y="451"/>
                </a:lnTo>
                <a:lnTo>
                  <a:pt x="1732" y="451"/>
                </a:lnTo>
                <a:lnTo>
                  <a:pt x="1725" y="451"/>
                </a:lnTo>
                <a:lnTo>
                  <a:pt x="1722" y="451"/>
                </a:lnTo>
                <a:lnTo>
                  <a:pt x="1718" y="451"/>
                </a:lnTo>
                <a:lnTo>
                  <a:pt x="1711" y="455"/>
                </a:lnTo>
                <a:lnTo>
                  <a:pt x="1708" y="455"/>
                </a:lnTo>
                <a:lnTo>
                  <a:pt x="1704" y="458"/>
                </a:lnTo>
                <a:lnTo>
                  <a:pt x="1701" y="458"/>
                </a:lnTo>
                <a:lnTo>
                  <a:pt x="1701" y="462"/>
                </a:lnTo>
                <a:lnTo>
                  <a:pt x="1698" y="465"/>
                </a:lnTo>
                <a:lnTo>
                  <a:pt x="1694" y="465"/>
                </a:lnTo>
                <a:lnTo>
                  <a:pt x="1691" y="465"/>
                </a:lnTo>
                <a:lnTo>
                  <a:pt x="1687" y="465"/>
                </a:lnTo>
                <a:lnTo>
                  <a:pt x="1684" y="465"/>
                </a:lnTo>
                <a:lnTo>
                  <a:pt x="1680" y="465"/>
                </a:lnTo>
                <a:lnTo>
                  <a:pt x="1677" y="465"/>
                </a:lnTo>
                <a:lnTo>
                  <a:pt x="1673" y="469"/>
                </a:lnTo>
                <a:lnTo>
                  <a:pt x="1670" y="465"/>
                </a:lnTo>
                <a:lnTo>
                  <a:pt x="1666" y="465"/>
                </a:lnTo>
                <a:lnTo>
                  <a:pt x="1663" y="465"/>
                </a:lnTo>
                <a:lnTo>
                  <a:pt x="1659" y="462"/>
                </a:lnTo>
                <a:lnTo>
                  <a:pt x="1656" y="462"/>
                </a:lnTo>
                <a:lnTo>
                  <a:pt x="1652" y="458"/>
                </a:lnTo>
                <a:lnTo>
                  <a:pt x="1649" y="458"/>
                </a:lnTo>
                <a:lnTo>
                  <a:pt x="1645" y="455"/>
                </a:lnTo>
                <a:lnTo>
                  <a:pt x="1642" y="451"/>
                </a:lnTo>
                <a:lnTo>
                  <a:pt x="1639" y="451"/>
                </a:lnTo>
                <a:lnTo>
                  <a:pt x="1635" y="451"/>
                </a:lnTo>
                <a:lnTo>
                  <a:pt x="1628" y="451"/>
                </a:lnTo>
                <a:lnTo>
                  <a:pt x="1628" y="448"/>
                </a:lnTo>
                <a:lnTo>
                  <a:pt x="1625" y="448"/>
                </a:lnTo>
                <a:lnTo>
                  <a:pt x="1618" y="448"/>
                </a:lnTo>
                <a:lnTo>
                  <a:pt x="1618" y="444"/>
                </a:lnTo>
                <a:lnTo>
                  <a:pt x="1614" y="444"/>
                </a:lnTo>
                <a:lnTo>
                  <a:pt x="1614" y="448"/>
                </a:lnTo>
                <a:lnTo>
                  <a:pt x="1614" y="451"/>
                </a:lnTo>
                <a:lnTo>
                  <a:pt x="1614" y="455"/>
                </a:lnTo>
                <a:lnTo>
                  <a:pt x="1611" y="458"/>
                </a:lnTo>
                <a:lnTo>
                  <a:pt x="1607" y="458"/>
                </a:lnTo>
                <a:lnTo>
                  <a:pt x="1604" y="465"/>
                </a:lnTo>
                <a:lnTo>
                  <a:pt x="1597" y="469"/>
                </a:lnTo>
                <a:lnTo>
                  <a:pt x="1597" y="472"/>
                </a:lnTo>
                <a:lnTo>
                  <a:pt x="1593" y="476"/>
                </a:lnTo>
                <a:lnTo>
                  <a:pt x="1590" y="479"/>
                </a:lnTo>
                <a:lnTo>
                  <a:pt x="1583" y="472"/>
                </a:lnTo>
                <a:lnTo>
                  <a:pt x="1580" y="472"/>
                </a:lnTo>
                <a:lnTo>
                  <a:pt x="1580" y="476"/>
                </a:lnTo>
                <a:lnTo>
                  <a:pt x="1576" y="479"/>
                </a:lnTo>
                <a:lnTo>
                  <a:pt x="1573" y="479"/>
                </a:lnTo>
                <a:lnTo>
                  <a:pt x="1569" y="479"/>
                </a:lnTo>
                <a:lnTo>
                  <a:pt x="1569" y="476"/>
                </a:lnTo>
                <a:lnTo>
                  <a:pt x="1566" y="469"/>
                </a:lnTo>
                <a:lnTo>
                  <a:pt x="1562" y="469"/>
                </a:lnTo>
                <a:lnTo>
                  <a:pt x="1559" y="469"/>
                </a:lnTo>
                <a:lnTo>
                  <a:pt x="1555" y="469"/>
                </a:lnTo>
                <a:lnTo>
                  <a:pt x="1552" y="472"/>
                </a:lnTo>
                <a:lnTo>
                  <a:pt x="1552" y="476"/>
                </a:lnTo>
                <a:lnTo>
                  <a:pt x="1548" y="479"/>
                </a:lnTo>
                <a:lnTo>
                  <a:pt x="1545" y="479"/>
                </a:lnTo>
                <a:lnTo>
                  <a:pt x="1545" y="482"/>
                </a:lnTo>
                <a:lnTo>
                  <a:pt x="1541" y="479"/>
                </a:lnTo>
                <a:lnTo>
                  <a:pt x="1538" y="479"/>
                </a:lnTo>
                <a:lnTo>
                  <a:pt x="1534" y="479"/>
                </a:lnTo>
                <a:lnTo>
                  <a:pt x="1531" y="479"/>
                </a:lnTo>
                <a:lnTo>
                  <a:pt x="1527" y="479"/>
                </a:lnTo>
                <a:lnTo>
                  <a:pt x="1524" y="479"/>
                </a:lnTo>
                <a:lnTo>
                  <a:pt x="1520" y="479"/>
                </a:lnTo>
                <a:lnTo>
                  <a:pt x="1517" y="479"/>
                </a:lnTo>
                <a:lnTo>
                  <a:pt x="1517" y="482"/>
                </a:lnTo>
                <a:lnTo>
                  <a:pt x="1514" y="482"/>
                </a:lnTo>
                <a:lnTo>
                  <a:pt x="1510" y="482"/>
                </a:lnTo>
                <a:lnTo>
                  <a:pt x="1510" y="486"/>
                </a:lnTo>
                <a:lnTo>
                  <a:pt x="1510" y="489"/>
                </a:lnTo>
                <a:lnTo>
                  <a:pt x="1507" y="489"/>
                </a:lnTo>
                <a:lnTo>
                  <a:pt x="1503" y="493"/>
                </a:lnTo>
                <a:lnTo>
                  <a:pt x="1500" y="493"/>
                </a:lnTo>
                <a:lnTo>
                  <a:pt x="1500" y="489"/>
                </a:lnTo>
                <a:lnTo>
                  <a:pt x="1496" y="489"/>
                </a:lnTo>
                <a:lnTo>
                  <a:pt x="1496" y="486"/>
                </a:lnTo>
                <a:lnTo>
                  <a:pt x="1493" y="486"/>
                </a:lnTo>
                <a:lnTo>
                  <a:pt x="1489" y="479"/>
                </a:lnTo>
                <a:lnTo>
                  <a:pt x="1486" y="479"/>
                </a:lnTo>
                <a:lnTo>
                  <a:pt x="1482" y="476"/>
                </a:lnTo>
                <a:lnTo>
                  <a:pt x="1482" y="472"/>
                </a:lnTo>
                <a:lnTo>
                  <a:pt x="1479" y="476"/>
                </a:lnTo>
                <a:lnTo>
                  <a:pt x="1472" y="482"/>
                </a:lnTo>
                <a:lnTo>
                  <a:pt x="1472" y="486"/>
                </a:lnTo>
                <a:lnTo>
                  <a:pt x="1468" y="489"/>
                </a:lnTo>
                <a:lnTo>
                  <a:pt x="1465" y="493"/>
                </a:lnTo>
                <a:lnTo>
                  <a:pt x="1465" y="496"/>
                </a:lnTo>
                <a:lnTo>
                  <a:pt x="1461" y="496"/>
                </a:lnTo>
                <a:lnTo>
                  <a:pt x="1458" y="500"/>
                </a:lnTo>
                <a:lnTo>
                  <a:pt x="1458" y="503"/>
                </a:lnTo>
                <a:lnTo>
                  <a:pt x="1455" y="507"/>
                </a:lnTo>
                <a:lnTo>
                  <a:pt x="1451" y="514"/>
                </a:lnTo>
                <a:lnTo>
                  <a:pt x="1455" y="517"/>
                </a:lnTo>
                <a:lnTo>
                  <a:pt x="1461" y="521"/>
                </a:lnTo>
                <a:lnTo>
                  <a:pt x="1465" y="524"/>
                </a:lnTo>
                <a:lnTo>
                  <a:pt x="1472" y="524"/>
                </a:lnTo>
                <a:lnTo>
                  <a:pt x="1472" y="528"/>
                </a:lnTo>
                <a:lnTo>
                  <a:pt x="1472" y="531"/>
                </a:lnTo>
                <a:lnTo>
                  <a:pt x="1475" y="535"/>
                </a:lnTo>
                <a:lnTo>
                  <a:pt x="1475" y="538"/>
                </a:lnTo>
                <a:lnTo>
                  <a:pt x="1475" y="541"/>
                </a:lnTo>
                <a:lnTo>
                  <a:pt x="1479" y="541"/>
                </a:lnTo>
                <a:lnTo>
                  <a:pt x="1479" y="545"/>
                </a:lnTo>
                <a:lnTo>
                  <a:pt x="1475" y="545"/>
                </a:lnTo>
                <a:lnTo>
                  <a:pt x="1475" y="548"/>
                </a:lnTo>
                <a:lnTo>
                  <a:pt x="1472" y="548"/>
                </a:lnTo>
                <a:lnTo>
                  <a:pt x="1472" y="552"/>
                </a:lnTo>
                <a:lnTo>
                  <a:pt x="1468" y="552"/>
                </a:lnTo>
                <a:lnTo>
                  <a:pt x="1468" y="555"/>
                </a:lnTo>
                <a:lnTo>
                  <a:pt x="1468" y="559"/>
                </a:lnTo>
                <a:lnTo>
                  <a:pt x="1468" y="562"/>
                </a:lnTo>
                <a:lnTo>
                  <a:pt x="1465" y="566"/>
                </a:lnTo>
                <a:lnTo>
                  <a:pt x="1461" y="569"/>
                </a:lnTo>
                <a:lnTo>
                  <a:pt x="1461" y="573"/>
                </a:lnTo>
                <a:lnTo>
                  <a:pt x="1461" y="576"/>
                </a:lnTo>
                <a:lnTo>
                  <a:pt x="1461" y="583"/>
                </a:lnTo>
                <a:lnTo>
                  <a:pt x="1461" y="587"/>
                </a:lnTo>
                <a:lnTo>
                  <a:pt x="1461" y="590"/>
                </a:lnTo>
                <a:lnTo>
                  <a:pt x="1458" y="594"/>
                </a:lnTo>
                <a:lnTo>
                  <a:pt x="1458" y="597"/>
                </a:lnTo>
                <a:lnTo>
                  <a:pt x="1458" y="601"/>
                </a:lnTo>
                <a:lnTo>
                  <a:pt x="1458" y="604"/>
                </a:lnTo>
                <a:lnTo>
                  <a:pt x="1461" y="611"/>
                </a:lnTo>
                <a:lnTo>
                  <a:pt x="1461" y="614"/>
                </a:lnTo>
                <a:lnTo>
                  <a:pt x="1461" y="618"/>
                </a:lnTo>
                <a:lnTo>
                  <a:pt x="1461" y="621"/>
                </a:lnTo>
                <a:lnTo>
                  <a:pt x="1461" y="625"/>
                </a:lnTo>
                <a:lnTo>
                  <a:pt x="1461" y="632"/>
                </a:lnTo>
                <a:lnTo>
                  <a:pt x="1465" y="635"/>
                </a:lnTo>
                <a:lnTo>
                  <a:pt x="1465" y="642"/>
                </a:lnTo>
                <a:lnTo>
                  <a:pt x="1468" y="646"/>
                </a:lnTo>
                <a:lnTo>
                  <a:pt x="1468" y="649"/>
                </a:lnTo>
                <a:lnTo>
                  <a:pt x="1472" y="649"/>
                </a:lnTo>
                <a:lnTo>
                  <a:pt x="1479" y="653"/>
                </a:lnTo>
                <a:lnTo>
                  <a:pt x="1479" y="656"/>
                </a:lnTo>
                <a:lnTo>
                  <a:pt x="1479" y="663"/>
                </a:lnTo>
                <a:lnTo>
                  <a:pt x="1482" y="666"/>
                </a:lnTo>
                <a:lnTo>
                  <a:pt x="1482" y="670"/>
                </a:lnTo>
                <a:lnTo>
                  <a:pt x="1486" y="670"/>
                </a:lnTo>
                <a:lnTo>
                  <a:pt x="1486" y="673"/>
                </a:lnTo>
                <a:lnTo>
                  <a:pt x="1486" y="677"/>
                </a:lnTo>
                <a:lnTo>
                  <a:pt x="1486" y="680"/>
                </a:lnTo>
                <a:lnTo>
                  <a:pt x="1489" y="684"/>
                </a:lnTo>
                <a:lnTo>
                  <a:pt x="1489" y="687"/>
                </a:lnTo>
                <a:lnTo>
                  <a:pt x="1493" y="691"/>
                </a:lnTo>
                <a:lnTo>
                  <a:pt x="1493" y="694"/>
                </a:lnTo>
                <a:lnTo>
                  <a:pt x="1489" y="698"/>
                </a:lnTo>
                <a:lnTo>
                  <a:pt x="1489" y="705"/>
                </a:lnTo>
                <a:lnTo>
                  <a:pt x="1493" y="708"/>
                </a:lnTo>
                <a:lnTo>
                  <a:pt x="1496" y="715"/>
                </a:lnTo>
                <a:lnTo>
                  <a:pt x="1496" y="719"/>
                </a:lnTo>
                <a:lnTo>
                  <a:pt x="1496" y="722"/>
                </a:lnTo>
                <a:lnTo>
                  <a:pt x="1493" y="722"/>
                </a:lnTo>
                <a:lnTo>
                  <a:pt x="1489" y="722"/>
                </a:lnTo>
                <a:lnTo>
                  <a:pt x="1486" y="726"/>
                </a:lnTo>
                <a:lnTo>
                  <a:pt x="1482" y="726"/>
                </a:lnTo>
                <a:lnTo>
                  <a:pt x="1479" y="722"/>
                </a:lnTo>
                <a:lnTo>
                  <a:pt x="1475" y="722"/>
                </a:lnTo>
                <a:lnTo>
                  <a:pt x="1472" y="722"/>
                </a:lnTo>
                <a:lnTo>
                  <a:pt x="1468" y="722"/>
                </a:lnTo>
                <a:lnTo>
                  <a:pt x="1465" y="722"/>
                </a:lnTo>
                <a:lnTo>
                  <a:pt x="1465" y="726"/>
                </a:lnTo>
                <a:lnTo>
                  <a:pt x="1461" y="726"/>
                </a:lnTo>
                <a:lnTo>
                  <a:pt x="1461" y="729"/>
                </a:lnTo>
                <a:lnTo>
                  <a:pt x="1458" y="729"/>
                </a:lnTo>
                <a:lnTo>
                  <a:pt x="1455" y="732"/>
                </a:lnTo>
                <a:lnTo>
                  <a:pt x="1455" y="736"/>
                </a:lnTo>
                <a:lnTo>
                  <a:pt x="1455" y="739"/>
                </a:lnTo>
                <a:lnTo>
                  <a:pt x="1451" y="739"/>
                </a:lnTo>
                <a:lnTo>
                  <a:pt x="1448" y="739"/>
                </a:lnTo>
                <a:lnTo>
                  <a:pt x="1444" y="739"/>
                </a:lnTo>
                <a:lnTo>
                  <a:pt x="1441" y="743"/>
                </a:lnTo>
                <a:lnTo>
                  <a:pt x="1441" y="739"/>
                </a:lnTo>
                <a:lnTo>
                  <a:pt x="1437" y="739"/>
                </a:lnTo>
                <a:lnTo>
                  <a:pt x="1434" y="736"/>
                </a:lnTo>
                <a:lnTo>
                  <a:pt x="1434" y="739"/>
                </a:lnTo>
                <a:lnTo>
                  <a:pt x="1430" y="739"/>
                </a:lnTo>
                <a:lnTo>
                  <a:pt x="1427" y="739"/>
                </a:lnTo>
                <a:lnTo>
                  <a:pt x="1423" y="743"/>
                </a:lnTo>
                <a:lnTo>
                  <a:pt x="1420" y="746"/>
                </a:lnTo>
                <a:lnTo>
                  <a:pt x="1420" y="750"/>
                </a:lnTo>
                <a:lnTo>
                  <a:pt x="1416" y="750"/>
                </a:lnTo>
                <a:lnTo>
                  <a:pt x="1416" y="753"/>
                </a:lnTo>
                <a:lnTo>
                  <a:pt x="1413" y="753"/>
                </a:lnTo>
                <a:lnTo>
                  <a:pt x="1409" y="753"/>
                </a:lnTo>
                <a:lnTo>
                  <a:pt x="1406" y="753"/>
                </a:lnTo>
                <a:lnTo>
                  <a:pt x="1402" y="753"/>
                </a:lnTo>
                <a:lnTo>
                  <a:pt x="1399" y="753"/>
                </a:lnTo>
                <a:lnTo>
                  <a:pt x="1395" y="750"/>
                </a:lnTo>
                <a:lnTo>
                  <a:pt x="1392" y="753"/>
                </a:lnTo>
                <a:lnTo>
                  <a:pt x="1389" y="753"/>
                </a:lnTo>
                <a:lnTo>
                  <a:pt x="1385" y="753"/>
                </a:lnTo>
                <a:lnTo>
                  <a:pt x="1382" y="750"/>
                </a:lnTo>
                <a:lnTo>
                  <a:pt x="1378" y="753"/>
                </a:lnTo>
                <a:lnTo>
                  <a:pt x="1378" y="757"/>
                </a:lnTo>
                <a:lnTo>
                  <a:pt x="1375" y="760"/>
                </a:lnTo>
                <a:lnTo>
                  <a:pt x="1371" y="760"/>
                </a:lnTo>
                <a:lnTo>
                  <a:pt x="1368" y="757"/>
                </a:lnTo>
                <a:lnTo>
                  <a:pt x="1364" y="757"/>
                </a:lnTo>
                <a:lnTo>
                  <a:pt x="1364" y="760"/>
                </a:lnTo>
                <a:lnTo>
                  <a:pt x="1361" y="760"/>
                </a:lnTo>
                <a:lnTo>
                  <a:pt x="1361" y="764"/>
                </a:lnTo>
                <a:lnTo>
                  <a:pt x="1361" y="767"/>
                </a:lnTo>
                <a:lnTo>
                  <a:pt x="1357" y="767"/>
                </a:lnTo>
                <a:lnTo>
                  <a:pt x="1354" y="764"/>
                </a:lnTo>
                <a:lnTo>
                  <a:pt x="1350" y="764"/>
                </a:lnTo>
                <a:lnTo>
                  <a:pt x="1347" y="764"/>
                </a:lnTo>
                <a:lnTo>
                  <a:pt x="1343" y="764"/>
                </a:lnTo>
                <a:lnTo>
                  <a:pt x="1343" y="767"/>
                </a:lnTo>
                <a:lnTo>
                  <a:pt x="1340" y="767"/>
                </a:lnTo>
                <a:lnTo>
                  <a:pt x="1336" y="771"/>
                </a:lnTo>
                <a:lnTo>
                  <a:pt x="1336" y="774"/>
                </a:lnTo>
                <a:lnTo>
                  <a:pt x="1333" y="774"/>
                </a:lnTo>
                <a:lnTo>
                  <a:pt x="1330" y="774"/>
                </a:lnTo>
                <a:lnTo>
                  <a:pt x="1330" y="778"/>
                </a:lnTo>
                <a:lnTo>
                  <a:pt x="1326" y="778"/>
                </a:lnTo>
                <a:lnTo>
                  <a:pt x="1326" y="781"/>
                </a:lnTo>
                <a:lnTo>
                  <a:pt x="1323" y="781"/>
                </a:lnTo>
                <a:lnTo>
                  <a:pt x="1319" y="781"/>
                </a:lnTo>
                <a:lnTo>
                  <a:pt x="1319" y="785"/>
                </a:lnTo>
                <a:lnTo>
                  <a:pt x="1319" y="788"/>
                </a:lnTo>
                <a:lnTo>
                  <a:pt x="1316" y="788"/>
                </a:lnTo>
                <a:lnTo>
                  <a:pt x="1312" y="788"/>
                </a:lnTo>
                <a:lnTo>
                  <a:pt x="1309" y="788"/>
                </a:lnTo>
                <a:lnTo>
                  <a:pt x="1309" y="792"/>
                </a:lnTo>
                <a:lnTo>
                  <a:pt x="1305" y="792"/>
                </a:lnTo>
                <a:lnTo>
                  <a:pt x="1305" y="795"/>
                </a:lnTo>
                <a:lnTo>
                  <a:pt x="1302" y="792"/>
                </a:lnTo>
                <a:lnTo>
                  <a:pt x="1298" y="792"/>
                </a:lnTo>
                <a:lnTo>
                  <a:pt x="1298" y="795"/>
                </a:lnTo>
                <a:lnTo>
                  <a:pt x="1295" y="795"/>
                </a:lnTo>
                <a:lnTo>
                  <a:pt x="1295" y="798"/>
                </a:lnTo>
                <a:lnTo>
                  <a:pt x="1291" y="802"/>
                </a:lnTo>
                <a:lnTo>
                  <a:pt x="1288" y="802"/>
                </a:lnTo>
                <a:lnTo>
                  <a:pt x="1288" y="805"/>
                </a:lnTo>
                <a:lnTo>
                  <a:pt x="1284" y="802"/>
                </a:lnTo>
                <a:lnTo>
                  <a:pt x="1281" y="805"/>
                </a:lnTo>
                <a:lnTo>
                  <a:pt x="1281" y="809"/>
                </a:lnTo>
                <a:lnTo>
                  <a:pt x="1277" y="809"/>
                </a:lnTo>
                <a:lnTo>
                  <a:pt x="1277" y="812"/>
                </a:lnTo>
                <a:lnTo>
                  <a:pt x="1274" y="812"/>
                </a:lnTo>
                <a:lnTo>
                  <a:pt x="1270" y="812"/>
                </a:lnTo>
                <a:lnTo>
                  <a:pt x="1267" y="812"/>
                </a:lnTo>
                <a:lnTo>
                  <a:pt x="1267" y="816"/>
                </a:lnTo>
                <a:lnTo>
                  <a:pt x="1264" y="816"/>
                </a:lnTo>
                <a:lnTo>
                  <a:pt x="1260" y="816"/>
                </a:lnTo>
                <a:lnTo>
                  <a:pt x="1257" y="816"/>
                </a:lnTo>
                <a:lnTo>
                  <a:pt x="1253" y="812"/>
                </a:lnTo>
                <a:lnTo>
                  <a:pt x="1250" y="816"/>
                </a:lnTo>
                <a:lnTo>
                  <a:pt x="1250" y="812"/>
                </a:lnTo>
                <a:lnTo>
                  <a:pt x="1246" y="812"/>
                </a:lnTo>
                <a:lnTo>
                  <a:pt x="1246" y="816"/>
                </a:lnTo>
                <a:lnTo>
                  <a:pt x="1243" y="816"/>
                </a:lnTo>
                <a:lnTo>
                  <a:pt x="1239" y="812"/>
                </a:lnTo>
                <a:lnTo>
                  <a:pt x="1236" y="812"/>
                </a:lnTo>
                <a:lnTo>
                  <a:pt x="1236" y="816"/>
                </a:lnTo>
                <a:lnTo>
                  <a:pt x="1232" y="819"/>
                </a:lnTo>
                <a:lnTo>
                  <a:pt x="1229" y="823"/>
                </a:lnTo>
                <a:lnTo>
                  <a:pt x="1225" y="826"/>
                </a:lnTo>
                <a:lnTo>
                  <a:pt x="1225" y="830"/>
                </a:lnTo>
                <a:lnTo>
                  <a:pt x="1225" y="833"/>
                </a:lnTo>
                <a:lnTo>
                  <a:pt x="1222" y="833"/>
                </a:lnTo>
                <a:lnTo>
                  <a:pt x="1218" y="833"/>
                </a:lnTo>
                <a:lnTo>
                  <a:pt x="1215" y="837"/>
                </a:lnTo>
                <a:lnTo>
                  <a:pt x="1211" y="837"/>
                </a:lnTo>
                <a:lnTo>
                  <a:pt x="1208" y="837"/>
                </a:lnTo>
                <a:lnTo>
                  <a:pt x="1205" y="837"/>
                </a:lnTo>
                <a:lnTo>
                  <a:pt x="1205" y="833"/>
                </a:lnTo>
                <a:lnTo>
                  <a:pt x="1201" y="833"/>
                </a:lnTo>
                <a:lnTo>
                  <a:pt x="1198" y="833"/>
                </a:lnTo>
                <a:lnTo>
                  <a:pt x="1198" y="830"/>
                </a:lnTo>
                <a:lnTo>
                  <a:pt x="1194" y="830"/>
                </a:lnTo>
                <a:lnTo>
                  <a:pt x="1194" y="826"/>
                </a:lnTo>
                <a:lnTo>
                  <a:pt x="1194" y="823"/>
                </a:lnTo>
                <a:lnTo>
                  <a:pt x="1191" y="823"/>
                </a:lnTo>
                <a:lnTo>
                  <a:pt x="1191" y="819"/>
                </a:lnTo>
                <a:lnTo>
                  <a:pt x="1187" y="816"/>
                </a:lnTo>
                <a:lnTo>
                  <a:pt x="1184" y="812"/>
                </a:lnTo>
                <a:lnTo>
                  <a:pt x="1180" y="812"/>
                </a:lnTo>
                <a:lnTo>
                  <a:pt x="1177" y="812"/>
                </a:lnTo>
                <a:lnTo>
                  <a:pt x="1173" y="812"/>
                </a:lnTo>
                <a:lnTo>
                  <a:pt x="1173" y="809"/>
                </a:lnTo>
                <a:lnTo>
                  <a:pt x="1170" y="809"/>
                </a:lnTo>
                <a:lnTo>
                  <a:pt x="1166" y="809"/>
                </a:lnTo>
                <a:lnTo>
                  <a:pt x="1159" y="812"/>
                </a:lnTo>
                <a:lnTo>
                  <a:pt x="1156" y="812"/>
                </a:lnTo>
                <a:lnTo>
                  <a:pt x="1152" y="812"/>
                </a:lnTo>
                <a:lnTo>
                  <a:pt x="1149" y="812"/>
                </a:lnTo>
                <a:lnTo>
                  <a:pt x="1149" y="809"/>
                </a:lnTo>
                <a:lnTo>
                  <a:pt x="1145" y="809"/>
                </a:lnTo>
                <a:lnTo>
                  <a:pt x="1142" y="809"/>
                </a:lnTo>
                <a:lnTo>
                  <a:pt x="1139" y="805"/>
                </a:lnTo>
                <a:lnTo>
                  <a:pt x="1135" y="802"/>
                </a:lnTo>
                <a:lnTo>
                  <a:pt x="1132" y="802"/>
                </a:lnTo>
                <a:lnTo>
                  <a:pt x="1128" y="802"/>
                </a:lnTo>
                <a:lnTo>
                  <a:pt x="1128" y="798"/>
                </a:lnTo>
                <a:lnTo>
                  <a:pt x="1125" y="798"/>
                </a:lnTo>
                <a:lnTo>
                  <a:pt x="1125" y="795"/>
                </a:lnTo>
                <a:lnTo>
                  <a:pt x="1121" y="792"/>
                </a:lnTo>
                <a:lnTo>
                  <a:pt x="1118" y="792"/>
                </a:lnTo>
                <a:lnTo>
                  <a:pt x="1114" y="792"/>
                </a:lnTo>
                <a:lnTo>
                  <a:pt x="1111" y="792"/>
                </a:lnTo>
                <a:lnTo>
                  <a:pt x="1111" y="795"/>
                </a:lnTo>
                <a:lnTo>
                  <a:pt x="1107" y="795"/>
                </a:lnTo>
                <a:lnTo>
                  <a:pt x="1104" y="798"/>
                </a:lnTo>
                <a:lnTo>
                  <a:pt x="1100" y="798"/>
                </a:lnTo>
                <a:lnTo>
                  <a:pt x="1097" y="798"/>
                </a:lnTo>
                <a:lnTo>
                  <a:pt x="1090" y="802"/>
                </a:lnTo>
                <a:lnTo>
                  <a:pt x="1090" y="805"/>
                </a:lnTo>
                <a:lnTo>
                  <a:pt x="1090" y="809"/>
                </a:lnTo>
                <a:lnTo>
                  <a:pt x="1086" y="809"/>
                </a:lnTo>
                <a:lnTo>
                  <a:pt x="1083" y="809"/>
                </a:lnTo>
                <a:lnTo>
                  <a:pt x="1083" y="812"/>
                </a:lnTo>
                <a:lnTo>
                  <a:pt x="1080" y="812"/>
                </a:lnTo>
                <a:lnTo>
                  <a:pt x="1076" y="812"/>
                </a:lnTo>
                <a:lnTo>
                  <a:pt x="1076" y="816"/>
                </a:lnTo>
                <a:lnTo>
                  <a:pt x="1073" y="816"/>
                </a:lnTo>
                <a:lnTo>
                  <a:pt x="1069" y="816"/>
                </a:lnTo>
                <a:lnTo>
                  <a:pt x="1066" y="816"/>
                </a:lnTo>
                <a:lnTo>
                  <a:pt x="1062" y="819"/>
                </a:lnTo>
                <a:lnTo>
                  <a:pt x="1059" y="819"/>
                </a:lnTo>
                <a:lnTo>
                  <a:pt x="1059" y="823"/>
                </a:lnTo>
                <a:lnTo>
                  <a:pt x="1055" y="819"/>
                </a:lnTo>
                <a:lnTo>
                  <a:pt x="1055" y="816"/>
                </a:lnTo>
                <a:lnTo>
                  <a:pt x="1055" y="812"/>
                </a:lnTo>
                <a:lnTo>
                  <a:pt x="1052" y="812"/>
                </a:lnTo>
                <a:lnTo>
                  <a:pt x="1052" y="809"/>
                </a:lnTo>
                <a:lnTo>
                  <a:pt x="1048" y="809"/>
                </a:lnTo>
                <a:lnTo>
                  <a:pt x="1045" y="809"/>
                </a:lnTo>
                <a:lnTo>
                  <a:pt x="1045" y="805"/>
                </a:lnTo>
                <a:lnTo>
                  <a:pt x="1041" y="805"/>
                </a:lnTo>
                <a:lnTo>
                  <a:pt x="1041" y="802"/>
                </a:lnTo>
                <a:lnTo>
                  <a:pt x="1038" y="798"/>
                </a:lnTo>
                <a:lnTo>
                  <a:pt x="1034" y="798"/>
                </a:lnTo>
                <a:lnTo>
                  <a:pt x="1031" y="798"/>
                </a:lnTo>
                <a:lnTo>
                  <a:pt x="1031" y="795"/>
                </a:lnTo>
                <a:lnTo>
                  <a:pt x="1027" y="795"/>
                </a:lnTo>
                <a:lnTo>
                  <a:pt x="1024" y="795"/>
                </a:lnTo>
                <a:lnTo>
                  <a:pt x="1024" y="792"/>
                </a:lnTo>
                <a:lnTo>
                  <a:pt x="1017" y="792"/>
                </a:lnTo>
                <a:lnTo>
                  <a:pt x="1014" y="792"/>
                </a:lnTo>
                <a:lnTo>
                  <a:pt x="1014" y="795"/>
                </a:lnTo>
                <a:lnTo>
                  <a:pt x="1014" y="798"/>
                </a:lnTo>
                <a:lnTo>
                  <a:pt x="1010" y="798"/>
                </a:lnTo>
                <a:lnTo>
                  <a:pt x="1010" y="802"/>
                </a:lnTo>
                <a:lnTo>
                  <a:pt x="1007" y="802"/>
                </a:lnTo>
                <a:lnTo>
                  <a:pt x="1007" y="805"/>
                </a:lnTo>
                <a:lnTo>
                  <a:pt x="1007" y="809"/>
                </a:lnTo>
                <a:lnTo>
                  <a:pt x="1007" y="812"/>
                </a:lnTo>
                <a:lnTo>
                  <a:pt x="1007" y="809"/>
                </a:lnTo>
                <a:lnTo>
                  <a:pt x="1003" y="809"/>
                </a:lnTo>
                <a:lnTo>
                  <a:pt x="1003" y="812"/>
                </a:lnTo>
                <a:lnTo>
                  <a:pt x="1000" y="812"/>
                </a:lnTo>
                <a:lnTo>
                  <a:pt x="996" y="812"/>
                </a:lnTo>
                <a:lnTo>
                  <a:pt x="993" y="816"/>
                </a:lnTo>
                <a:lnTo>
                  <a:pt x="993" y="819"/>
                </a:lnTo>
                <a:lnTo>
                  <a:pt x="989" y="819"/>
                </a:lnTo>
                <a:lnTo>
                  <a:pt x="989" y="823"/>
                </a:lnTo>
                <a:lnTo>
                  <a:pt x="989" y="826"/>
                </a:lnTo>
                <a:lnTo>
                  <a:pt x="989" y="830"/>
                </a:lnTo>
                <a:lnTo>
                  <a:pt x="986" y="833"/>
                </a:lnTo>
                <a:lnTo>
                  <a:pt x="982" y="833"/>
                </a:lnTo>
                <a:lnTo>
                  <a:pt x="979" y="833"/>
                </a:lnTo>
                <a:lnTo>
                  <a:pt x="979" y="837"/>
                </a:lnTo>
                <a:lnTo>
                  <a:pt x="975" y="837"/>
                </a:lnTo>
                <a:lnTo>
                  <a:pt x="972" y="837"/>
                </a:lnTo>
                <a:lnTo>
                  <a:pt x="972" y="840"/>
                </a:lnTo>
                <a:lnTo>
                  <a:pt x="968" y="840"/>
                </a:lnTo>
                <a:lnTo>
                  <a:pt x="965" y="840"/>
                </a:lnTo>
                <a:lnTo>
                  <a:pt x="961" y="840"/>
                </a:lnTo>
                <a:lnTo>
                  <a:pt x="961" y="844"/>
                </a:lnTo>
                <a:lnTo>
                  <a:pt x="958" y="844"/>
                </a:lnTo>
                <a:lnTo>
                  <a:pt x="958" y="840"/>
                </a:lnTo>
                <a:lnTo>
                  <a:pt x="955" y="840"/>
                </a:lnTo>
                <a:lnTo>
                  <a:pt x="951" y="837"/>
                </a:lnTo>
                <a:lnTo>
                  <a:pt x="948" y="837"/>
                </a:lnTo>
                <a:lnTo>
                  <a:pt x="944" y="837"/>
                </a:lnTo>
                <a:lnTo>
                  <a:pt x="944" y="833"/>
                </a:lnTo>
                <a:lnTo>
                  <a:pt x="941" y="830"/>
                </a:lnTo>
                <a:lnTo>
                  <a:pt x="941" y="826"/>
                </a:lnTo>
                <a:lnTo>
                  <a:pt x="937" y="826"/>
                </a:lnTo>
                <a:lnTo>
                  <a:pt x="934" y="823"/>
                </a:lnTo>
                <a:lnTo>
                  <a:pt x="930" y="823"/>
                </a:lnTo>
                <a:lnTo>
                  <a:pt x="930" y="819"/>
                </a:lnTo>
                <a:lnTo>
                  <a:pt x="930" y="816"/>
                </a:lnTo>
                <a:lnTo>
                  <a:pt x="927" y="816"/>
                </a:lnTo>
                <a:lnTo>
                  <a:pt x="923" y="816"/>
                </a:lnTo>
                <a:lnTo>
                  <a:pt x="920" y="816"/>
                </a:lnTo>
                <a:lnTo>
                  <a:pt x="916" y="816"/>
                </a:lnTo>
                <a:lnTo>
                  <a:pt x="913" y="816"/>
                </a:lnTo>
                <a:lnTo>
                  <a:pt x="913" y="819"/>
                </a:lnTo>
                <a:lnTo>
                  <a:pt x="909" y="819"/>
                </a:lnTo>
                <a:lnTo>
                  <a:pt x="909" y="816"/>
                </a:lnTo>
                <a:lnTo>
                  <a:pt x="906" y="816"/>
                </a:lnTo>
                <a:lnTo>
                  <a:pt x="902" y="816"/>
                </a:lnTo>
                <a:lnTo>
                  <a:pt x="902" y="812"/>
                </a:lnTo>
                <a:lnTo>
                  <a:pt x="899" y="812"/>
                </a:lnTo>
                <a:lnTo>
                  <a:pt x="896" y="812"/>
                </a:lnTo>
                <a:lnTo>
                  <a:pt x="896" y="816"/>
                </a:lnTo>
                <a:lnTo>
                  <a:pt x="892" y="816"/>
                </a:lnTo>
                <a:lnTo>
                  <a:pt x="892" y="819"/>
                </a:lnTo>
                <a:lnTo>
                  <a:pt x="889" y="819"/>
                </a:lnTo>
                <a:lnTo>
                  <a:pt x="889" y="823"/>
                </a:lnTo>
                <a:lnTo>
                  <a:pt x="885" y="823"/>
                </a:lnTo>
                <a:lnTo>
                  <a:pt x="882" y="823"/>
                </a:lnTo>
                <a:lnTo>
                  <a:pt x="882" y="819"/>
                </a:lnTo>
                <a:lnTo>
                  <a:pt x="878" y="819"/>
                </a:lnTo>
                <a:lnTo>
                  <a:pt x="875" y="819"/>
                </a:lnTo>
                <a:lnTo>
                  <a:pt x="871" y="823"/>
                </a:lnTo>
                <a:lnTo>
                  <a:pt x="868" y="823"/>
                </a:lnTo>
                <a:lnTo>
                  <a:pt x="868" y="826"/>
                </a:lnTo>
                <a:lnTo>
                  <a:pt x="864" y="826"/>
                </a:lnTo>
                <a:lnTo>
                  <a:pt x="861" y="826"/>
                </a:lnTo>
                <a:lnTo>
                  <a:pt x="857" y="826"/>
                </a:lnTo>
                <a:lnTo>
                  <a:pt x="854" y="826"/>
                </a:lnTo>
                <a:lnTo>
                  <a:pt x="850" y="830"/>
                </a:lnTo>
                <a:lnTo>
                  <a:pt x="850" y="833"/>
                </a:lnTo>
                <a:lnTo>
                  <a:pt x="847" y="833"/>
                </a:lnTo>
                <a:lnTo>
                  <a:pt x="843" y="833"/>
                </a:lnTo>
                <a:lnTo>
                  <a:pt x="840" y="837"/>
                </a:lnTo>
                <a:lnTo>
                  <a:pt x="836" y="837"/>
                </a:lnTo>
                <a:lnTo>
                  <a:pt x="833" y="837"/>
                </a:lnTo>
                <a:lnTo>
                  <a:pt x="830" y="837"/>
                </a:lnTo>
                <a:lnTo>
                  <a:pt x="826" y="837"/>
                </a:lnTo>
                <a:lnTo>
                  <a:pt x="823" y="837"/>
                </a:lnTo>
                <a:lnTo>
                  <a:pt x="823" y="840"/>
                </a:lnTo>
                <a:lnTo>
                  <a:pt x="819" y="840"/>
                </a:lnTo>
                <a:lnTo>
                  <a:pt x="816" y="844"/>
                </a:lnTo>
                <a:lnTo>
                  <a:pt x="812" y="844"/>
                </a:lnTo>
                <a:lnTo>
                  <a:pt x="812" y="840"/>
                </a:lnTo>
                <a:lnTo>
                  <a:pt x="809" y="837"/>
                </a:lnTo>
                <a:lnTo>
                  <a:pt x="805" y="837"/>
                </a:lnTo>
                <a:lnTo>
                  <a:pt x="802" y="837"/>
                </a:lnTo>
                <a:lnTo>
                  <a:pt x="798" y="837"/>
                </a:lnTo>
                <a:lnTo>
                  <a:pt x="798" y="840"/>
                </a:lnTo>
                <a:lnTo>
                  <a:pt x="795" y="844"/>
                </a:lnTo>
                <a:lnTo>
                  <a:pt x="791" y="844"/>
                </a:lnTo>
                <a:lnTo>
                  <a:pt x="788" y="844"/>
                </a:lnTo>
                <a:lnTo>
                  <a:pt x="784" y="840"/>
                </a:lnTo>
                <a:lnTo>
                  <a:pt x="784" y="844"/>
                </a:lnTo>
                <a:lnTo>
                  <a:pt x="784" y="847"/>
                </a:lnTo>
                <a:lnTo>
                  <a:pt x="784" y="851"/>
                </a:lnTo>
                <a:lnTo>
                  <a:pt x="784" y="854"/>
                </a:lnTo>
                <a:lnTo>
                  <a:pt x="784" y="857"/>
                </a:lnTo>
                <a:lnTo>
                  <a:pt x="781" y="857"/>
                </a:lnTo>
                <a:lnTo>
                  <a:pt x="784" y="861"/>
                </a:lnTo>
                <a:lnTo>
                  <a:pt x="784" y="864"/>
                </a:lnTo>
                <a:lnTo>
                  <a:pt x="788" y="864"/>
                </a:lnTo>
                <a:lnTo>
                  <a:pt x="784" y="864"/>
                </a:lnTo>
                <a:lnTo>
                  <a:pt x="784" y="868"/>
                </a:lnTo>
                <a:lnTo>
                  <a:pt x="781" y="871"/>
                </a:lnTo>
                <a:lnTo>
                  <a:pt x="777" y="871"/>
                </a:lnTo>
                <a:lnTo>
                  <a:pt x="777" y="875"/>
                </a:lnTo>
                <a:lnTo>
                  <a:pt x="774" y="875"/>
                </a:lnTo>
                <a:lnTo>
                  <a:pt x="774" y="878"/>
                </a:lnTo>
                <a:lnTo>
                  <a:pt x="771" y="878"/>
                </a:lnTo>
                <a:lnTo>
                  <a:pt x="767" y="878"/>
                </a:lnTo>
                <a:lnTo>
                  <a:pt x="767" y="882"/>
                </a:lnTo>
                <a:lnTo>
                  <a:pt x="764" y="882"/>
                </a:lnTo>
                <a:lnTo>
                  <a:pt x="760" y="882"/>
                </a:lnTo>
                <a:lnTo>
                  <a:pt x="757" y="882"/>
                </a:lnTo>
                <a:lnTo>
                  <a:pt x="753" y="882"/>
                </a:lnTo>
                <a:lnTo>
                  <a:pt x="753" y="878"/>
                </a:lnTo>
                <a:lnTo>
                  <a:pt x="750" y="878"/>
                </a:lnTo>
                <a:lnTo>
                  <a:pt x="746" y="878"/>
                </a:lnTo>
                <a:lnTo>
                  <a:pt x="746" y="882"/>
                </a:lnTo>
                <a:lnTo>
                  <a:pt x="743" y="882"/>
                </a:lnTo>
                <a:lnTo>
                  <a:pt x="743" y="885"/>
                </a:lnTo>
                <a:lnTo>
                  <a:pt x="743" y="892"/>
                </a:lnTo>
                <a:lnTo>
                  <a:pt x="743" y="896"/>
                </a:lnTo>
                <a:lnTo>
                  <a:pt x="739" y="896"/>
                </a:lnTo>
                <a:lnTo>
                  <a:pt x="736" y="896"/>
                </a:lnTo>
                <a:lnTo>
                  <a:pt x="732" y="899"/>
                </a:lnTo>
                <a:lnTo>
                  <a:pt x="732" y="903"/>
                </a:lnTo>
                <a:lnTo>
                  <a:pt x="732" y="906"/>
                </a:lnTo>
                <a:lnTo>
                  <a:pt x="736" y="906"/>
                </a:lnTo>
                <a:lnTo>
                  <a:pt x="736" y="910"/>
                </a:lnTo>
                <a:lnTo>
                  <a:pt x="736" y="913"/>
                </a:lnTo>
                <a:lnTo>
                  <a:pt x="736" y="917"/>
                </a:lnTo>
                <a:lnTo>
                  <a:pt x="732" y="920"/>
                </a:lnTo>
                <a:lnTo>
                  <a:pt x="736" y="920"/>
                </a:lnTo>
                <a:lnTo>
                  <a:pt x="736" y="923"/>
                </a:lnTo>
                <a:lnTo>
                  <a:pt x="736" y="927"/>
                </a:lnTo>
                <a:lnTo>
                  <a:pt x="732" y="930"/>
                </a:lnTo>
                <a:lnTo>
                  <a:pt x="729" y="930"/>
                </a:lnTo>
                <a:lnTo>
                  <a:pt x="729" y="934"/>
                </a:lnTo>
                <a:lnTo>
                  <a:pt x="729" y="937"/>
                </a:lnTo>
                <a:lnTo>
                  <a:pt x="725" y="937"/>
                </a:lnTo>
                <a:lnTo>
                  <a:pt x="725" y="941"/>
                </a:lnTo>
                <a:lnTo>
                  <a:pt x="725" y="944"/>
                </a:lnTo>
                <a:lnTo>
                  <a:pt x="722" y="944"/>
                </a:lnTo>
                <a:lnTo>
                  <a:pt x="722" y="948"/>
                </a:lnTo>
                <a:lnTo>
                  <a:pt x="722" y="951"/>
                </a:lnTo>
                <a:lnTo>
                  <a:pt x="722" y="955"/>
                </a:lnTo>
                <a:lnTo>
                  <a:pt x="718" y="955"/>
                </a:lnTo>
                <a:lnTo>
                  <a:pt x="718" y="958"/>
                </a:lnTo>
                <a:lnTo>
                  <a:pt x="715" y="958"/>
                </a:lnTo>
                <a:lnTo>
                  <a:pt x="715" y="962"/>
                </a:lnTo>
                <a:lnTo>
                  <a:pt x="715" y="965"/>
                </a:lnTo>
                <a:lnTo>
                  <a:pt x="718" y="969"/>
                </a:lnTo>
                <a:lnTo>
                  <a:pt x="715" y="969"/>
                </a:lnTo>
                <a:lnTo>
                  <a:pt x="718" y="972"/>
                </a:lnTo>
                <a:lnTo>
                  <a:pt x="715" y="979"/>
                </a:lnTo>
                <a:lnTo>
                  <a:pt x="718" y="983"/>
                </a:lnTo>
                <a:lnTo>
                  <a:pt x="722" y="983"/>
                </a:lnTo>
                <a:lnTo>
                  <a:pt x="722" y="986"/>
                </a:lnTo>
                <a:lnTo>
                  <a:pt x="722" y="989"/>
                </a:lnTo>
                <a:lnTo>
                  <a:pt x="722" y="993"/>
                </a:lnTo>
                <a:lnTo>
                  <a:pt x="725" y="993"/>
                </a:lnTo>
                <a:lnTo>
                  <a:pt x="725" y="996"/>
                </a:lnTo>
                <a:lnTo>
                  <a:pt x="722" y="996"/>
                </a:lnTo>
                <a:lnTo>
                  <a:pt x="718" y="996"/>
                </a:lnTo>
                <a:lnTo>
                  <a:pt x="715" y="996"/>
                </a:lnTo>
                <a:lnTo>
                  <a:pt x="715" y="1000"/>
                </a:lnTo>
                <a:lnTo>
                  <a:pt x="711" y="1003"/>
                </a:lnTo>
                <a:lnTo>
                  <a:pt x="708" y="1003"/>
                </a:lnTo>
                <a:lnTo>
                  <a:pt x="708" y="1007"/>
                </a:lnTo>
                <a:lnTo>
                  <a:pt x="705" y="1007"/>
                </a:lnTo>
                <a:lnTo>
                  <a:pt x="705" y="1010"/>
                </a:lnTo>
                <a:lnTo>
                  <a:pt x="701" y="1010"/>
                </a:lnTo>
                <a:lnTo>
                  <a:pt x="698" y="1010"/>
                </a:lnTo>
                <a:lnTo>
                  <a:pt x="691" y="1014"/>
                </a:lnTo>
                <a:lnTo>
                  <a:pt x="694" y="1017"/>
                </a:lnTo>
                <a:lnTo>
                  <a:pt x="694" y="1021"/>
                </a:lnTo>
                <a:lnTo>
                  <a:pt x="691" y="1024"/>
                </a:lnTo>
                <a:lnTo>
                  <a:pt x="691" y="1028"/>
                </a:lnTo>
                <a:lnTo>
                  <a:pt x="687" y="1028"/>
                </a:lnTo>
                <a:lnTo>
                  <a:pt x="687" y="1031"/>
                </a:lnTo>
                <a:lnTo>
                  <a:pt x="687" y="1035"/>
                </a:lnTo>
                <a:lnTo>
                  <a:pt x="687" y="1038"/>
                </a:lnTo>
                <a:lnTo>
                  <a:pt x="684" y="1042"/>
                </a:lnTo>
                <a:lnTo>
                  <a:pt x="684" y="1045"/>
                </a:lnTo>
                <a:lnTo>
                  <a:pt x="684" y="1048"/>
                </a:lnTo>
                <a:lnTo>
                  <a:pt x="680" y="1048"/>
                </a:lnTo>
                <a:lnTo>
                  <a:pt x="680" y="1055"/>
                </a:lnTo>
                <a:lnTo>
                  <a:pt x="677" y="1055"/>
                </a:lnTo>
                <a:lnTo>
                  <a:pt x="677" y="1052"/>
                </a:lnTo>
                <a:lnTo>
                  <a:pt x="673" y="1052"/>
                </a:lnTo>
                <a:lnTo>
                  <a:pt x="673" y="1048"/>
                </a:lnTo>
                <a:lnTo>
                  <a:pt x="666" y="1052"/>
                </a:lnTo>
                <a:lnTo>
                  <a:pt x="659" y="1055"/>
                </a:lnTo>
                <a:lnTo>
                  <a:pt x="656" y="1052"/>
                </a:lnTo>
                <a:lnTo>
                  <a:pt x="652" y="1052"/>
                </a:lnTo>
                <a:lnTo>
                  <a:pt x="652" y="1055"/>
                </a:lnTo>
                <a:lnTo>
                  <a:pt x="649" y="1052"/>
                </a:lnTo>
                <a:lnTo>
                  <a:pt x="646" y="1052"/>
                </a:lnTo>
                <a:lnTo>
                  <a:pt x="646" y="1048"/>
                </a:lnTo>
                <a:lnTo>
                  <a:pt x="642" y="1048"/>
                </a:lnTo>
                <a:lnTo>
                  <a:pt x="635" y="1048"/>
                </a:lnTo>
                <a:lnTo>
                  <a:pt x="632" y="1048"/>
                </a:lnTo>
                <a:lnTo>
                  <a:pt x="628" y="1045"/>
                </a:lnTo>
                <a:lnTo>
                  <a:pt x="625" y="1045"/>
                </a:lnTo>
                <a:lnTo>
                  <a:pt x="621" y="1045"/>
                </a:lnTo>
                <a:lnTo>
                  <a:pt x="621" y="1048"/>
                </a:lnTo>
                <a:lnTo>
                  <a:pt x="618" y="1048"/>
                </a:lnTo>
                <a:lnTo>
                  <a:pt x="614" y="1048"/>
                </a:lnTo>
                <a:lnTo>
                  <a:pt x="611" y="1048"/>
                </a:lnTo>
                <a:lnTo>
                  <a:pt x="607" y="1048"/>
                </a:lnTo>
                <a:lnTo>
                  <a:pt x="607" y="1045"/>
                </a:lnTo>
                <a:lnTo>
                  <a:pt x="604" y="1045"/>
                </a:lnTo>
                <a:lnTo>
                  <a:pt x="600" y="1045"/>
                </a:lnTo>
                <a:lnTo>
                  <a:pt x="600" y="1048"/>
                </a:lnTo>
                <a:lnTo>
                  <a:pt x="597" y="1048"/>
                </a:lnTo>
                <a:lnTo>
                  <a:pt x="597" y="1052"/>
                </a:lnTo>
                <a:lnTo>
                  <a:pt x="593" y="1052"/>
                </a:lnTo>
                <a:lnTo>
                  <a:pt x="593" y="1055"/>
                </a:lnTo>
                <a:lnTo>
                  <a:pt x="590" y="1052"/>
                </a:lnTo>
                <a:lnTo>
                  <a:pt x="586" y="1052"/>
                </a:lnTo>
                <a:lnTo>
                  <a:pt x="583" y="1059"/>
                </a:lnTo>
                <a:lnTo>
                  <a:pt x="580" y="1059"/>
                </a:lnTo>
                <a:lnTo>
                  <a:pt x="576" y="1059"/>
                </a:lnTo>
                <a:lnTo>
                  <a:pt x="573" y="1059"/>
                </a:lnTo>
                <a:lnTo>
                  <a:pt x="573" y="1055"/>
                </a:lnTo>
                <a:lnTo>
                  <a:pt x="569" y="1055"/>
                </a:lnTo>
                <a:lnTo>
                  <a:pt x="566" y="1055"/>
                </a:lnTo>
                <a:lnTo>
                  <a:pt x="566" y="1048"/>
                </a:lnTo>
                <a:lnTo>
                  <a:pt x="555" y="1048"/>
                </a:lnTo>
                <a:lnTo>
                  <a:pt x="552" y="1045"/>
                </a:lnTo>
                <a:lnTo>
                  <a:pt x="548" y="1042"/>
                </a:lnTo>
                <a:lnTo>
                  <a:pt x="545" y="1038"/>
                </a:lnTo>
                <a:lnTo>
                  <a:pt x="541" y="1038"/>
                </a:lnTo>
                <a:lnTo>
                  <a:pt x="538" y="1042"/>
                </a:lnTo>
                <a:lnTo>
                  <a:pt x="538" y="1045"/>
                </a:lnTo>
                <a:lnTo>
                  <a:pt x="534" y="1048"/>
                </a:lnTo>
                <a:lnTo>
                  <a:pt x="531" y="1048"/>
                </a:lnTo>
                <a:lnTo>
                  <a:pt x="531" y="1045"/>
                </a:lnTo>
                <a:lnTo>
                  <a:pt x="527" y="1045"/>
                </a:lnTo>
                <a:lnTo>
                  <a:pt x="514" y="1028"/>
                </a:lnTo>
                <a:lnTo>
                  <a:pt x="510" y="1028"/>
                </a:lnTo>
                <a:lnTo>
                  <a:pt x="507" y="1024"/>
                </a:lnTo>
                <a:lnTo>
                  <a:pt x="503" y="1024"/>
                </a:lnTo>
                <a:lnTo>
                  <a:pt x="503" y="1028"/>
                </a:lnTo>
                <a:lnTo>
                  <a:pt x="500" y="1028"/>
                </a:lnTo>
                <a:lnTo>
                  <a:pt x="496" y="1031"/>
                </a:lnTo>
                <a:lnTo>
                  <a:pt x="496" y="1028"/>
                </a:lnTo>
                <a:lnTo>
                  <a:pt x="496" y="1031"/>
                </a:lnTo>
                <a:lnTo>
                  <a:pt x="493" y="1031"/>
                </a:lnTo>
                <a:lnTo>
                  <a:pt x="489" y="1035"/>
                </a:lnTo>
                <a:lnTo>
                  <a:pt x="489" y="1031"/>
                </a:lnTo>
                <a:lnTo>
                  <a:pt x="486" y="1035"/>
                </a:lnTo>
                <a:lnTo>
                  <a:pt x="482" y="1035"/>
                </a:lnTo>
                <a:lnTo>
                  <a:pt x="479" y="1035"/>
                </a:lnTo>
                <a:lnTo>
                  <a:pt x="475" y="1035"/>
                </a:lnTo>
                <a:lnTo>
                  <a:pt x="472" y="1035"/>
                </a:lnTo>
                <a:lnTo>
                  <a:pt x="468" y="1031"/>
                </a:lnTo>
                <a:lnTo>
                  <a:pt x="465" y="1031"/>
                </a:lnTo>
                <a:lnTo>
                  <a:pt x="462" y="1031"/>
                </a:lnTo>
                <a:lnTo>
                  <a:pt x="465" y="1028"/>
                </a:lnTo>
                <a:lnTo>
                  <a:pt x="462" y="1028"/>
                </a:lnTo>
                <a:lnTo>
                  <a:pt x="462" y="1024"/>
                </a:lnTo>
                <a:lnTo>
                  <a:pt x="462" y="1021"/>
                </a:lnTo>
                <a:lnTo>
                  <a:pt x="465" y="1021"/>
                </a:lnTo>
                <a:lnTo>
                  <a:pt x="468" y="1021"/>
                </a:lnTo>
                <a:lnTo>
                  <a:pt x="472" y="1017"/>
                </a:lnTo>
                <a:lnTo>
                  <a:pt x="475" y="1017"/>
                </a:lnTo>
                <a:lnTo>
                  <a:pt x="475" y="1014"/>
                </a:lnTo>
                <a:lnTo>
                  <a:pt x="475" y="1010"/>
                </a:lnTo>
                <a:lnTo>
                  <a:pt x="479" y="1007"/>
                </a:lnTo>
                <a:lnTo>
                  <a:pt x="479" y="1003"/>
                </a:lnTo>
                <a:lnTo>
                  <a:pt x="482" y="1003"/>
                </a:lnTo>
                <a:lnTo>
                  <a:pt x="486" y="1000"/>
                </a:lnTo>
                <a:lnTo>
                  <a:pt x="489" y="996"/>
                </a:lnTo>
                <a:lnTo>
                  <a:pt x="489" y="993"/>
                </a:lnTo>
                <a:lnTo>
                  <a:pt x="486" y="993"/>
                </a:lnTo>
                <a:lnTo>
                  <a:pt x="486" y="989"/>
                </a:lnTo>
                <a:lnTo>
                  <a:pt x="482" y="986"/>
                </a:lnTo>
                <a:lnTo>
                  <a:pt x="482" y="983"/>
                </a:lnTo>
                <a:lnTo>
                  <a:pt x="479" y="983"/>
                </a:lnTo>
                <a:lnTo>
                  <a:pt x="475" y="983"/>
                </a:lnTo>
                <a:lnTo>
                  <a:pt x="472" y="983"/>
                </a:lnTo>
                <a:lnTo>
                  <a:pt x="468" y="983"/>
                </a:lnTo>
                <a:lnTo>
                  <a:pt x="465" y="979"/>
                </a:lnTo>
                <a:lnTo>
                  <a:pt x="458" y="979"/>
                </a:lnTo>
                <a:lnTo>
                  <a:pt x="458" y="976"/>
                </a:lnTo>
                <a:lnTo>
                  <a:pt x="455" y="976"/>
                </a:lnTo>
                <a:lnTo>
                  <a:pt x="455" y="972"/>
                </a:lnTo>
                <a:lnTo>
                  <a:pt x="455" y="969"/>
                </a:lnTo>
                <a:lnTo>
                  <a:pt x="451" y="969"/>
                </a:lnTo>
                <a:lnTo>
                  <a:pt x="448" y="969"/>
                </a:lnTo>
                <a:lnTo>
                  <a:pt x="444" y="969"/>
                </a:lnTo>
                <a:lnTo>
                  <a:pt x="444" y="965"/>
                </a:lnTo>
                <a:lnTo>
                  <a:pt x="441" y="965"/>
                </a:lnTo>
                <a:lnTo>
                  <a:pt x="437" y="962"/>
                </a:lnTo>
                <a:lnTo>
                  <a:pt x="437" y="958"/>
                </a:lnTo>
                <a:lnTo>
                  <a:pt x="441" y="955"/>
                </a:lnTo>
                <a:lnTo>
                  <a:pt x="441" y="951"/>
                </a:lnTo>
                <a:lnTo>
                  <a:pt x="437" y="951"/>
                </a:lnTo>
                <a:lnTo>
                  <a:pt x="437" y="948"/>
                </a:lnTo>
                <a:lnTo>
                  <a:pt x="434" y="948"/>
                </a:lnTo>
                <a:lnTo>
                  <a:pt x="430" y="944"/>
                </a:lnTo>
                <a:lnTo>
                  <a:pt x="430" y="948"/>
                </a:lnTo>
                <a:lnTo>
                  <a:pt x="430" y="944"/>
                </a:lnTo>
                <a:lnTo>
                  <a:pt x="427" y="944"/>
                </a:lnTo>
                <a:lnTo>
                  <a:pt x="423" y="944"/>
                </a:lnTo>
                <a:lnTo>
                  <a:pt x="420" y="944"/>
                </a:lnTo>
                <a:lnTo>
                  <a:pt x="420" y="941"/>
                </a:lnTo>
                <a:lnTo>
                  <a:pt x="416" y="937"/>
                </a:lnTo>
                <a:lnTo>
                  <a:pt x="413" y="941"/>
                </a:lnTo>
                <a:lnTo>
                  <a:pt x="413" y="944"/>
                </a:lnTo>
                <a:lnTo>
                  <a:pt x="409" y="944"/>
                </a:lnTo>
                <a:lnTo>
                  <a:pt x="409" y="948"/>
                </a:lnTo>
                <a:lnTo>
                  <a:pt x="406" y="948"/>
                </a:lnTo>
                <a:lnTo>
                  <a:pt x="402" y="948"/>
                </a:lnTo>
                <a:lnTo>
                  <a:pt x="399" y="951"/>
                </a:lnTo>
                <a:lnTo>
                  <a:pt x="399" y="948"/>
                </a:lnTo>
                <a:lnTo>
                  <a:pt x="396" y="951"/>
                </a:lnTo>
                <a:lnTo>
                  <a:pt x="392" y="951"/>
                </a:lnTo>
                <a:lnTo>
                  <a:pt x="389" y="951"/>
                </a:lnTo>
                <a:lnTo>
                  <a:pt x="385" y="951"/>
                </a:lnTo>
                <a:lnTo>
                  <a:pt x="382" y="951"/>
                </a:lnTo>
                <a:lnTo>
                  <a:pt x="378" y="955"/>
                </a:lnTo>
                <a:lnTo>
                  <a:pt x="375" y="958"/>
                </a:lnTo>
                <a:lnTo>
                  <a:pt x="371" y="958"/>
                </a:lnTo>
                <a:lnTo>
                  <a:pt x="368" y="958"/>
                </a:lnTo>
                <a:lnTo>
                  <a:pt x="364" y="958"/>
                </a:lnTo>
                <a:lnTo>
                  <a:pt x="364" y="962"/>
                </a:lnTo>
                <a:lnTo>
                  <a:pt x="361" y="965"/>
                </a:lnTo>
                <a:lnTo>
                  <a:pt x="357" y="965"/>
                </a:lnTo>
                <a:lnTo>
                  <a:pt x="357" y="969"/>
                </a:lnTo>
                <a:lnTo>
                  <a:pt x="354" y="969"/>
                </a:lnTo>
                <a:lnTo>
                  <a:pt x="350" y="969"/>
                </a:lnTo>
                <a:lnTo>
                  <a:pt x="350" y="972"/>
                </a:lnTo>
                <a:lnTo>
                  <a:pt x="347" y="972"/>
                </a:lnTo>
                <a:lnTo>
                  <a:pt x="347" y="976"/>
                </a:lnTo>
                <a:lnTo>
                  <a:pt x="343" y="976"/>
                </a:lnTo>
                <a:lnTo>
                  <a:pt x="340" y="976"/>
                </a:lnTo>
                <a:lnTo>
                  <a:pt x="337" y="976"/>
                </a:lnTo>
                <a:lnTo>
                  <a:pt x="333" y="976"/>
                </a:lnTo>
                <a:lnTo>
                  <a:pt x="333" y="979"/>
                </a:lnTo>
                <a:lnTo>
                  <a:pt x="330" y="979"/>
                </a:lnTo>
                <a:lnTo>
                  <a:pt x="333" y="976"/>
                </a:lnTo>
                <a:lnTo>
                  <a:pt x="333" y="972"/>
                </a:lnTo>
                <a:lnTo>
                  <a:pt x="337" y="972"/>
                </a:lnTo>
                <a:lnTo>
                  <a:pt x="337" y="969"/>
                </a:lnTo>
                <a:lnTo>
                  <a:pt x="333" y="969"/>
                </a:lnTo>
                <a:lnTo>
                  <a:pt x="333" y="965"/>
                </a:lnTo>
                <a:lnTo>
                  <a:pt x="330" y="965"/>
                </a:lnTo>
                <a:lnTo>
                  <a:pt x="326" y="965"/>
                </a:lnTo>
                <a:lnTo>
                  <a:pt x="323" y="969"/>
                </a:lnTo>
                <a:lnTo>
                  <a:pt x="316" y="969"/>
                </a:lnTo>
                <a:lnTo>
                  <a:pt x="312" y="972"/>
                </a:lnTo>
                <a:lnTo>
                  <a:pt x="309" y="969"/>
                </a:lnTo>
                <a:lnTo>
                  <a:pt x="305" y="969"/>
                </a:lnTo>
                <a:lnTo>
                  <a:pt x="302" y="969"/>
                </a:lnTo>
                <a:lnTo>
                  <a:pt x="298" y="969"/>
                </a:lnTo>
                <a:lnTo>
                  <a:pt x="295" y="969"/>
                </a:lnTo>
                <a:lnTo>
                  <a:pt x="291" y="969"/>
                </a:lnTo>
                <a:lnTo>
                  <a:pt x="291" y="965"/>
                </a:lnTo>
                <a:lnTo>
                  <a:pt x="291" y="962"/>
                </a:lnTo>
                <a:lnTo>
                  <a:pt x="291" y="965"/>
                </a:lnTo>
                <a:lnTo>
                  <a:pt x="288" y="965"/>
                </a:lnTo>
                <a:lnTo>
                  <a:pt x="288" y="962"/>
                </a:lnTo>
                <a:lnTo>
                  <a:pt x="284" y="962"/>
                </a:lnTo>
                <a:lnTo>
                  <a:pt x="281" y="962"/>
                </a:lnTo>
                <a:lnTo>
                  <a:pt x="281" y="958"/>
                </a:lnTo>
                <a:lnTo>
                  <a:pt x="284" y="958"/>
                </a:lnTo>
                <a:lnTo>
                  <a:pt x="281" y="958"/>
                </a:lnTo>
                <a:lnTo>
                  <a:pt x="281" y="955"/>
                </a:lnTo>
                <a:lnTo>
                  <a:pt x="274" y="962"/>
                </a:lnTo>
                <a:lnTo>
                  <a:pt x="271" y="955"/>
                </a:lnTo>
                <a:lnTo>
                  <a:pt x="271" y="951"/>
                </a:lnTo>
                <a:lnTo>
                  <a:pt x="274" y="948"/>
                </a:lnTo>
                <a:lnTo>
                  <a:pt x="274" y="944"/>
                </a:lnTo>
                <a:lnTo>
                  <a:pt x="274" y="941"/>
                </a:lnTo>
                <a:lnTo>
                  <a:pt x="274" y="937"/>
                </a:lnTo>
                <a:lnTo>
                  <a:pt x="274" y="934"/>
                </a:lnTo>
                <a:lnTo>
                  <a:pt x="271" y="930"/>
                </a:lnTo>
                <a:lnTo>
                  <a:pt x="271" y="927"/>
                </a:lnTo>
                <a:lnTo>
                  <a:pt x="274" y="923"/>
                </a:lnTo>
                <a:lnTo>
                  <a:pt x="274" y="920"/>
                </a:lnTo>
                <a:lnTo>
                  <a:pt x="277" y="920"/>
                </a:lnTo>
                <a:lnTo>
                  <a:pt x="277" y="917"/>
                </a:lnTo>
                <a:lnTo>
                  <a:pt x="277" y="913"/>
                </a:lnTo>
                <a:lnTo>
                  <a:pt x="277" y="910"/>
                </a:lnTo>
                <a:lnTo>
                  <a:pt x="277" y="906"/>
                </a:lnTo>
                <a:lnTo>
                  <a:pt x="281" y="906"/>
                </a:lnTo>
                <a:lnTo>
                  <a:pt x="281" y="903"/>
                </a:lnTo>
                <a:lnTo>
                  <a:pt x="281" y="899"/>
                </a:lnTo>
                <a:lnTo>
                  <a:pt x="284" y="899"/>
                </a:lnTo>
                <a:lnTo>
                  <a:pt x="284" y="896"/>
                </a:lnTo>
                <a:lnTo>
                  <a:pt x="284" y="892"/>
                </a:lnTo>
                <a:lnTo>
                  <a:pt x="284" y="889"/>
                </a:lnTo>
                <a:lnTo>
                  <a:pt x="284" y="885"/>
                </a:lnTo>
                <a:lnTo>
                  <a:pt x="288" y="885"/>
                </a:lnTo>
                <a:lnTo>
                  <a:pt x="288" y="882"/>
                </a:lnTo>
                <a:lnTo>
                  <a:pt x="284" y="882"/>
                </a:lnTo>
                <a:lnTo>
                  <a:pt x="284" y="878"/>
                </a:lnTo>
                <a:lnTo>
                  <a:pt x="284" y="875"/>
                </a:lnTo>
                <a:lnTo>
                  <a:pt x="288" y="875"/>
                </a:lnTo>
                <a:lnTo>
                  <a:pt x="284" y="875"/>
                </a:lnTo>
                <a:lnTo>
                  <a:pt x="288" y="871"/>
                </a:lnTo>
                <a:lnTo>
                  <a:pt x="284" y="871"/>
                </a:lnTo>
                <a:lnTo>
                  <a:pt x="281" y="871"/>
                </a:lnTo>
                <a:lnTo>
                  <a:pt x="281" y="868"/>
                </a:lnTo>
                <a:lnTo>
                  <a:pt x="277" y="868"/>
                </a:lnTo>
                <a:lnTo>
                  <a:pt x="277" y="864"/>
                </a:lnTo>
                <a:lnTo>
                  <a:pt x="274" y="864"/>
                </a:lnTo>
                <a:lnTo>
                  <a:pt x="274" y="861"/>
                </a:lnTo>
                <a:lnTo>
                  <a:pt x="271" y="861"/>
                </a:lnTo>
                <a:lnTo>
                  <a:pt x="267" y="861"/>
                </a:lnTo>
                <a:lnTo>
                  <a:pt x="267" y="857"/>
                </a:lnTo>
                <a:lnTo>
                  <a:pt x="264" y="857"/>
                </a:lnTo>
                <a:lnTo>
                  <a:pt x="264" y="854"/>
                </a:lnTo>
                <a:lnTo>
                  <a:pt x="260" y="854"/>
                </a:lnTo>
                <a:lnTo>
                  <a:pt x="257" y="854"/>
                </a:lnTo>
                <a:lnTo>
                  <a:pt x="253" y="854"/>
                </a:lnTo>
                <a:lnTo>
                  <a:pt x="250" y="854"/>
                </a:lnTo>
                <a:lnTo>
                  <a:pt x="250" y="851"/>
                </a:lnTo>
                <a:lnTo>
                  <a:pt x="246" y="851"/>
                </a:lnTo>
                <a:lnTo>
                  <a:pt x="243" y="851"/>
                </a:lnTo>
                <a:lnTo>
                  <a:pt x="239" y="851"/>
                </a:lnTo>
                <a:lnTo>
                  <a:pt x="239" y="847"/>
                </a:lnTo>
                <a:lnTo>
                  <a:pt x="239" y="844"/>
                </a:lnTo>
                <a:lnTo>
                  <a:pt x="239" y="840"/>
                </a:lnTo>
                <a:lnTo>
                  <a:pt x="239" y="837"/>
                </a:lnTo>
                <a:lnTo>
                  <a:pt x="243" y="837"/>
                </a:lnTo>
                <a:lnTo>
                  <a:pt x="243" y="833"/>
                </a:lnTo>
                <a:lnTo>
                  <a:pt x="243" y="830"/>
                </a:lnTo>
                <a:lnTo>
                  <a:pt x="239" y="830"/>
                </a:lnTo>
                <a:lnTo>
                  <a:pt x="239" y="826"/>
                </a:lnTo>
                <a:lnTo>
                  <a:pt x="236" y="826"/>
                </a:lnTo>
                <a:lnTo>
                  <a:pt x="232" y="823"/>
                </a:lnTo>
                <a:lnTo>
                  <a:pt x="229" y="823"/>
                </a:lnTo>
                <a:lnTo>
                  <a:pt x="229" y="819"/>
                </a:lnTo>
                <a:lnTo>
                  <a:pt x="225" y="816"/>
                </a:lnTo>
                <a:lnTo>
                  <a:pt x="222" y="816"/>
                </a:lnTo>
                <a:lnTo>
                  <a:pt x="222" y="812"/>
                </a:lnTo>
                <a:lnTo>
                  <a:pt x="222" y="809"/>
                </a:lnTo>
                <a:lnTo>
                  <a:pt x="218" y="805"/>
                </a:lnTo>
                <a:lnTo>
                  <a:pt x="215" y="805"/>
                </a:lnTo>
                <a:lnTo>
                  <a:pt x="212" y="805"/>
                </a:lnTo>
                <a:lnTo>
                  <a:pt x="208" y="805"/>
                </a:lnTo>
                <a:lnTo>
                  <a:pt x="208" y="809"/>
                </a:lnTo>
                <a:lnTo>
                  <a:pt x="205" y="809"/>
                </a:lnTo>
                <a:lnTo>
                  <a:pt x="205" y="812"/>
                </a:lnTo>
                <a:lnTo>
                  <a:pt x="201" y="812"/>
                </a:lnTo>
                <a:lnTo>
                  <a:pt x="201" y="816"/>
                </a:lnTo>
                <a:lnTo>
                  <a:pt x="198" y="816"/>
                </a:lnTo>
                <a:lnTo>
                  <a:pt x="198" y="812"/>
                </a:lnTo>
                <a:lnTo>
                  <a:pt x="194" y="812"/>
                </a:lnTo>
                <a:lnTo>
                  <a:pt x="191" y="812"/>
                </a:lnTo>
                <a:lnTo>
                  <a:pt x="187" y="812"/>
                </a:lnTo>
                <a:lnTo>
                  <a:pt x="184" y="812"/>
                </a:lnTo>
                <a:lnTo>
                  <a:pt x="184" y="816"/>
                </a:lnTo>
                <a:lnTo>
                  <a:pt x="184" y="819"/>
                </a:lnTo>
                <a:lnTo>
                  <a:pt x="180" y="819"/>
                </a:lnTo>
                <a:lnTo>
                  <a:pt x="180" y="823"/>
                </a:lnTo>
                <a:lnTo>
                  <a:pt x="177" y="823"/>
                </a:lnTo>
                <a:lnTo>
                  <a:pt x="177" y="826"/>
                </a:lnTo>
                <a:lnTo>
                  <a:pt x="177" y="830"/>
                </a:lnTo>
                <a:lnTo>
                  <a:pt x="177" y="833"/>
                </a:lnTo>
                <a:lnTo>
                  <a:pt x="173" y="833"/>
                </a:lnTo>
                <a:lnTo>
                  <a:pt x="173" y="837"/>
                </a:lnTo>
                <a:lnTo>
                  <a:pt x="173" y="840"/>
                </a:lnTo>
                <a:lnTo>
                  <a:pt x="170" y="840"/>
                </a:lnTo>
                <a:lnTo>
                  <a:pt x="170" y="844"/>
                </a:lnTo>
                <a:lnTo>
                  <a:pt x="170" y="847"/>
                </a:lnTo>
                <a:lnTo>
                  <a:pt x="170" y="851"/>
                </a:lnTo>
                <a:lnTo>
                  <a:pt x="170" y="854"/>
                </a:lnTo>
                <a:lnTo>
                  <a:pt x="166" y="854"/>
                </a:lnTo>
                <a:lnTo>
                  <a:pt x="166" y="857"/>
                </a:lnTo>
                <a:lnTo>
                  <a:pt x="163" y="857"/>
                </a:lnTo>
                <a:lnTo>
                  <a:pt x="159" y="857"/>
                </a:lnTo>
                <a:lnTo>
                  <a:pt x="156" y="857"/>
                </a:lnTo>
                <a:lnTo>
                  <a:pt x="156" y="861"/>
                </a:lnTo>
                <a:lnTo>
                  <a:pt x="152" y="861"/>
                </a:lnTo>
                <a:lnTo>
                  <a:pt x="152" y="864"/>
                </a:lnTo>
                <a:lnTo>
                  <a:pt x="156" y="864"/>
                </a:lnTo>
                <a:lnTo>
                  <a:pt x="152" y="864"/>
                </a:lnTo>
                <a:lnTo>
                  <a:pt x="152" y="868"/>
                </a:lnTo>
                <a:lnTo>
                  <a:pt x="152" y="871"/>
                </a:lnTo>
                <a:lnTo>
                  <a:pt x="156" y="871"/>
                </a:lnTo>
                <a:lnTo>
                  <a:pt x="156" y="875"/>
                </a:lnTo>
                <a:lnTo>
                  <a:pt x="159" y="875"/>
                </a:lnTo>
                <a:lnTo>
                  <a:pt x="159" y="878"/>
                </a:lnTo>
                <a:lnTo>
                  <a:pt x="159" y="882"/>
                </a:lnTo>
                <a:lnTo>
                  <a:pt x="159" y="885"/>
                </a:lnTo>
                <a:lnTo>
                  <a:pt x="156" y="885"/>
                </a:lnTo>
                <a:lnTo>
                  <a:pt x="152" y="885"/>
                </a:lnTo>
                <a:lnTo>
                  <a:pt x="149" y="885"/>
                </a:lnTo>
                <a:lnTo>
                  <a:pt x="149" y="889"/>
                </a:lnTo>
                <a:lnTo>
                  <a:pt x="146" y="889"/>
                </a:lnTo>
                <a:lnTo>
                  <a:pt x="146" y="892"/>
                </a:lnTo>
                <a:lnTo>
                  <a:pt x="142" y="889"/>
                </a:lnTo>
                <a:lnTo>
                  <a:pt x="142" y="885"/>
                </a:lnTo>
                <a:lnTo>
                  <a:pt x="142" y="889"/>
                </a:lnTo>
                <a:lnTo>
                  <a:pt x="125" y="882"/>
                </a:lnTo>
                <a:lnTo>
                  <a:pt x="121" y="882"/>
                </a:lnTo>
                <a:lnTo>
                  <a:pt x="118" y="882"/>
                </a:lnTo>
                <a:lnTo>
                  <a:pt x="118" y="878"/>
                </a:lnTo>
                <a:lnTo>
                  <a:pt x="114" y="878"/>
                </a:lnTo>
                <a:lnTo>
                  <a:pt x="104" y="878"/>
                </a:lnTo>
                <a:lnTo>
                  <a:pt x="104" y="882"/>
                </a:lnTo>
                <a:lnTo>
                  <a:pt x="104" y="885"/>
                </a:lnTo>
                <a:lnTo>
                  <a:pt x="104" y="889"/>
                </a:lnTo>
                <a:lnTo>
                  <a:pt x="107" y="892"/>
                </a:lnTo>
                <a:lnTo>
                  <a:pt x="104" y="892"/>
                </a:lnTo>
                <a:lnTo>
                  <a:pt x="104" y="896"/>
                </a:lnTo>
                <a:lnTo>
                  <a:pt x="100" y="896"/>
                </a:lnTo>
                <a:lnTo>
                  <a:pt x="104" y="896"/>
                </a:lnTo>
                <a:lnTo>
                  <a:pt x="100" y="896"/>
                </a:lnTo>
                <a:lnTo>
                  <a:pt x="100" y="899"/>
                </a:lnTo>
                <a:lnTo>
                  <a:pt x="100" y="903"/>
                </a:lnTo>
                <a:lnTo>
                  <a:pt x="100" y="906"/>
                </a:lnTo>
                <a:lnTo>
                  <a:pt x="100" y="910"/>
                </a:lnTo>
                <a:lnTo>
                  <a:pt x="100" y="913"/>
                </a:lnTo>
                <a:lnTo>
                  <a:pt x="97" y="913"/>
                </a:lnTo>
                <a:lnTo>
                  <a:pt x="97" y="917"/>
                </a:lnTo>
                <a:lnTo>
                  <a:pt x="93" y="917"/>
                </a:lnTo>
                <a:lnTo>
                  <a:pt x="93" y="920"/>
                </a:lnTo>
                <a:lnTo>
                  <a:pt x="93" y="923"/>
                </a:lnTo>
                <a:lnTo>
                  <a:pt x="97" y="923"/>
                </a:lnTo>
                <a:lnTo>
                  <a:pt x="100" y="927"/>
                </a:lnTo>
                <a:lnTo>
                  <a:pt x="100" y="930"/>
                </a:lnTo>
                <a:lnTo>
                  <a:pt x="100" y="934"/>
                </a:lnTo>
                <a:lnTo>
                  <a:pt x="100" y="937"/>
                </a:lnTo>
                <a:lnTo>
                  <a:pt x="97" y="937"/>
                </a:lnTo>
                <a:lnTo>
                  <a:pt x="100" y="937"/>
                </a:lnTo>
                <a:lnTo>
                  <a:pt x="97" y="941"/>
                </a:lnTo>
                <a:lnTo>
                  <a:pt x="100" y="941"/>
                </a:lnTo>
                <a:lnTo>
                  <a:pt x="100" y="944"/>
                </a:lnTo>
                <a:lnTo>
                  <a:pt x="97" y="944"/>
                </a:lnTo>
                <a:lnTo>
                  <a:pt x="97" y="948"/>
                </a:lnTo>
                <a:lnTo>
                  <a:pt x="100" y="948"/>
                </a:lnTo>
                <a:lnTo>
                  <a:pt x="97" y="948"/>
                </a:lnTo>
                <a:lnTo>
                  <a:pt x="93" y="948"/>
                </a:lnTo>
                <a:lnTo>
                  <a:pt x="90" y="948"/>
                </a:lnTo>
                <a:lnTo>
                  <a:pt x="87" y="948"/>
                </a:lnTo>
                <a:lnTo>
                  <a:pt x="83" y="948"/>
                </a:lnTo>
                <a:lnTo>
                  <a:pt x="83" y="951"/>
                </a:lnTo>
                <a:lnTo>
                  <a:pt x="80" y="948"/>
                </a:lnTo>
                <a:lnTo>
                  <a:pt x="80" y="951"/>
                </a:lnTo>
                <a:lnTo>
                  <a:pt x="80" y="948"/>
                </a:lnTo>
                <a:lnTo>
                  <a:pt x="80" y="951"/>
                </a:lnTo>
                <a:lnTo>
                  <a:pt x="80" y="948"/>
                </a:lnTo>
                <a:lnTo>
                  <a:pt x="80" y="951"/>
                </a:lnTo>
                <a:lnTo>
                  <a:pt x="76" y="951"/>
                </a:lnTo>
                <a:lnTo>
                  <a:pt x="76" y="948"/>
                </a:lnTo>
                <a:lnTo>
                  <a:pt x="73" y="948"/>
                </a:lnTo>
                <a:lnTo>
                  <a:pt x="69" y="948"/>
                </a:lnTo>
                <a:lnTo>
                  <a:pt x="69" y="951"/>
                </a:lnTo>
                <a:lnTo>
                  <a:pt x="66" y="951"/>
                </a:lnTo>
                <a:lnTo>
                  <a:pt x="66" y="955"/>
                </a:lnTo>
                <a:lnTo>
                  <a:pt x="62" y="955"/>
                </a:lnTo>
                <a:lnTo>
                  <a:pt x="62" y="958"/>
                </a:lnTo>
                <a:lnTo>
                  <a:pt x="62" y="962"/>
                </a:lnTo>
                <a:lnTo>
                  <a:pt x="59" y="962"/>
                </a:lnTo>
                <a:lnTo>
                  <a:pt x="55" y="962"/>
                </a:lnTo>
                <a:lnTo>
                  <a:pt x="52" y="962"/>
                </a:lnTo>
                <a:lnTo>
                  <a:pt x="52" y="965"/>
                </a:lnTo>
                <a:lnTo>
                  <a:pt x="48" y="965"/>
                </a:lnTo>
                <a:lnTo>
                  <a:pt x="45" y="965"/>
                </a:lnTo>
                <a:lnTo>
                  <a:pt x="45" y="969"/>
                </a:lnTo>
                <a:lnTo>
                  <a:pt x="41" y="969"/>
                </a:lnTo>
                <a:lnTo>
                  <a:pt x="41" y="965"/>
                </a:lnTo>
                <a:lnTo>
                  <a:pt x="38" y="965"/>
                </a:lnTo>
                <a:lnTo>
                  <a:pt x="34" y="965"/>
                </a:lnTo>
                <a:lnTo>
                  <a:pt x="34" y="962"/>
                </a:lnTo>
                <a:lnTo>
                  <a:pt x="31" y="958"/>
                </a:lnTo>
                <a:lnTo>
                  <a:pt x="31" y="955"/>
                </a:lnTo>
                <a:lnTo>
                  <a:pt x="31" y="951"/>
                </a:lnTo>
                <a:lnTo>
                  <a:pt x="27" y="948"/>
                </a:lnTo>
                <a:lnTo>
                  <a:pt x="31" y="944"/>
                </a:lnTo>
                <a:lnTo>
                  <a:pt x="31" y="941"/>
                </a:lnTo>
                <a:lnTo>
                  <a:pt x="27" y="937"/>
                </a:lnTo>
                <a:lnTo>
                  <a:pt x="24" y="937"/>
                </a:lnTo>
                <a:lnTo>
                  <a:pt x="17" y="930"/>
                </a:lnTo>
                <a:lnTo>
                  <a:pt x="14" y="930"/>
                </a:lnTo>
                <a:lnTo>
                  <a:pt x="14" y="927"/>
                </a:lnTo>
                <a:lnTo>
                  <a:pt x="7" y="920"/>
                </a:lnTo>
                <a:lnTo>
                  <a:pt x="7" y="917"/>
                </a:lnTo>
                <a:lnTo>
                  <a:pt x="7" y="913"/>
                </a:lnTo>
                <a:lnTo>
                  <a:pt x="7" y="910"/>
                </a:lnTo>
                <a:lnTo>
                  <a:pt x="7" y="906"/>
                </a:lnTo>
                <a:lnTo>
                  <a:pt x="7" y="903"/>
                </a:lnTo>
                <a:lnTo>
                  <a:pt x="7" y="899"/>
                </a:lnTo>
                <a:lnTo>
                  <a:pt x="3" y="899"/>
                </a:lnTo>
                <a:lnTo>
                  <a:pt x="0" y="892"/>
                </a:lnTo>
                <a:lnTo>
                  <a:pt x="0" y="889"/>
                </a:lnTo>
                <a:lnTo>
                  <a:pt x="0" y="885"/>
                </a:lnTo>
                <a:lnTo>
                  <a:pt x="0" y="882"/>
                </a:lnTo>
                <a:lnTo>
                  <a:pt x="3" y="882"/>
                </a:lnTo>
                <a:lnTo>
                  <a:pt x="7" y="882"/>
                </a:lnTo>
                <a:lnTo>
                  <a:pt x="7" y="878"/>
                </a:lnTo>
                <a:lnTo>
                  <a:pt x="10" y="875"/>
                </a:lnTo>
                <a:lnTo>
                  <a:pt x="10" y="871"/>
                </a:lnTo>
                <a:lnTo>
                  <a:pt x="14" y="871"/>
                </a:lnTo>
                <a:lnTo>
                  <a:pt x="17" y="871"/>
                </a:lnTo>
                <a:lnTo>
                  <a:pt x="17" y="868"/>
                </a:lnTo>
                <a:lnTo>
                  <a:pt x="21" y="868"/>
                </a:lnTo>
                <a:lnTo>
                  <a:pt x="24" y="857"/>
                </a:lnTo>
                <a:lnTo>
                  <a:pt x="24" y="854"/>
                </a:lnTo>
                <a:lnTo>
                  <a:pt x="27" y="854"/>
                </a:lnTo>
                <a:lnTo>
                  <a:pt x="27" y="851"/>
                </a:lnTo>
                <a:lnTo>
                  <a:pt x="27" y="847"/>
                </a:lnTo>
                <a:lnTo>
                  <a:pt x="27" y="844"/>
                </a:lnTo>
                <a:lnTo>
                  <a:pt x="27" y="840"/>
                </a:lnTo>
                <a:lnTo>
                  <a:pt x="27" y="837"/>
                </a:lnTo>
                <a:lnTo>
                  <a:pt x="27" y="833"/>
                </a:lnTo>
                <a:lnTo>
                  <a:pt x="31" y="830"/>
                </a:lnTo>
                <a:lnTo>
                  <a:pt x="31" y="826"/>
                </a:lnTo>
                <a:lnTo>
                  <a:pt x="34" y="823"/>
                </a:lnTo>
                <a:lnTo>
                  <a:pt x="38" y="823"/>
                </a:lnTo>
                <a:lnTo>
                  <a:pt x="41" y="823"/>
                </a:lnTo>
                <a:lnTo>
                  <a:pt x="45" y="823"/>
                </a:lnTo>
                <a:lnTo>
                  <a:pt x="41" y="816"/>
                </a:lnTo>
                <a:lnTo>
                  <a:pt x="41" y="812"/>
                </a:lnTo>
                <a:lnTo>
                  <a:pt x="41" y="809"/>
                </a:lnTo>
                <a:lnTo>
                  <a:pt x="45" y="805"/>
                </a:lnTo>
                <a:lnTo>
                  <a:pt x="41" y="798"/>
                </a:lnTo>
                <a:lnTo>
                  <a:pt x="38" y="798"/>
                </a:lnTo>
                <a:lnTo>
                  <a:pt x="34" y="795"/>
                </a:lnTo>
                <a:lnTo>
                  <a:pt x="31" y="795"/>
                </a:lnTo>
                <a:lnTo>
                  <a:pt x="27" y="792"/>
                </a:lnTo>
                <a:lnTo>
                  <a:pt x="24" y="792"/>
                </a:lnTo>
                <a:lnTo>
                  <a:pt x="24" y="788"/>
                </a:lnTo>
                <a:lnTo>
                  <a:pt x="21" y="785"/>
                </a:lnTo>
                <a:lnTo>
                  <a:pt x="17" y="781"/>
                </a:lnTo>
                <a:lnTo>
                  <a:pt x="17" y="778"/>
                </a:lnTo>
                <a:lnTo>
                  <a:pt x="21" y="778"/>
                </a:lnTo>
                <a:lnTo>
                  <a:pt x="24" y="774"/>
                </a:lnTo>
                <a:lnTo>
                  <a:pt x="27" y="774"/>
                </a:lnTo>
                <a:lnTo>
                  <a:pt x="27" y="771"/>
                </a:lnTo>
                <a:lnTo>
                  <a:pt x="31" y="771"/>
                </a:lnTo>
                <a:lnTo>
                  <a:pt x="34" y="767"/>
                </a:lnTo>
                <a:lnTo>
                  <a:pt x="38" y="764"/>
                </a:lnTo>
                <a:lnTo>
                  <a:pt x="38" y="760"/>
                </a:lnTo>
                <a:lnTo>
                  <a:pt x="41" y="760"/>
                </a:lnTo>
                <a:lnTo>
                  <a:pt x="41" y="757"/>
                </a:lnTo>
                <a:lnTo>
                  <a:pt x="41" y="753"/>
                </a:lnTo>
                <a:lnTo>
                  <a:pt x="41" y="750"/>
                </a:lnTo>
                <a:lnTo>
                  <a:pt x="41" y="746"/>
                </a:lnTo>
                <a:lnTo>
                  <a:pt x="41" y="743"/>
                </a:lnTo>
                <a:lnTo>
                  <a:pt x="38" y="743"/>
                </a:lnTo>
                <a:lnTo>
                  <a:pt x="38" y="739"/>
                </a:lnTo>
                <a:lnTo>
                  <a:pt x="34" y="739"/>
                </a:lnTo>
                <a:lnTo>
                  <a:pt x="27" y="736"/>
                </a:lnTo>
                <a:lnTo>
                  <a:pt x="27" y="732"/>
                </a:lnTo>
                <a:lnTo>
                  <a:pt x="27" y="726"/>
                </a:lnTo>
                <a:lnTo>
                  <a:pt x="24" y="726"/>
                </a:lnTo>
                <a:lnTo>
                  <a:pt x="24" y="722"/>
                </a:lnTo>
                <a:lnTo>
                  <a:pt x="24" y="719"/>
                </a:lnTo>
                <a:lnTo>
                  <a:pt x="24" y="715"/>
                </a:lnTo>
                <a:lnTo>
                  <a:pt x="27" y="715"/>
                </a:lnTo>
                <a:lnTo>
                  <a:pt x="31" y="712"/>
                </a:lnTo>
                <a:lnTo>
                  <a:pt x="31" y="708"/>
                </a:lnTo>
                <a:lnTo>
                  <a:pt x="31" y="705"/>
                </a:lnTo>
                <a:lnTo>
                  <a:pt x="34" y="701"/>
                </a:lnTo>
                <a:lnTo>
                  <a:pt x="38" y="698"/>
                </a:lnTo>
                <a:lnTo>
                  <a:pt x="41" y="691"/>
                </a:lnTo>
                <a:lnTo>
                  <a:pt x="41" y="687"/>
                </a:lnTo>
                <a:lnTo>
                  <a:pt x="45" y="680"/>
                </a:lnTo>
                <a:lnTo>
                  <a:pt x="48" y="684"/>
                </a:lnTo>
                <a:lnTo>
                  <a:pt x="48" y="680"/>
                </a:lnTo>
                <a:lnTo>
                  <a:pt x="52" y="677"/>
                </a:lnTo>
                <a:lnTo>
                  <a:pt x="55" y="677"/>
                </a:lnTo>
                <a:lnTo>
                  <a:pt x="62" y="673"/>
                </a:lnTo>
                <a:lnTo>
                  <a:pt x="62" y="677"/>
                </a:lnTo>
                <a:lnTo>
                  <a:pt x="66" y="677"/>
                </a:lnTo>
                <a:lnTo>
                  <a:pt x="66" y="673"/>
                </a:lnTo>
                <a:lnTo>
                  <a:pt x="66" y="670"/>
                </a:lnTo>
                <a:lnTo>
                  <a:pt x="66" y="666"/>
                </a:lnTo>
                <a:lnTo>
                  <a:pt x="69" y="663"/>
                </a:lnTo>
                <a:lnTo>
                  <a:pt x="73" y="663"/>
                </a:lnTo>
                <a:lnTo>
                  <a:pt x="80" y="663"/>
                </a:lnTo>
                <a:lnTo>
                  <a:pt x="83" y="663"/>
                </a:lnTo>
                <a:lnTo>
                  <a:pt x="83" y="660"/>
                </a:lnTo>
                <a:lnTo>
                  <a:pt x="80" y="660"/>
                </a:lnTo>
                <a:lnTo>
                  <a:pt x="76" y="656"/>
                </a:lnTo>
                <a:lnTo>
                  <a:pt x="76" y="653"/>
                </a:lnTo>
                <a:lnTo>
                  <a:pt x="80" y="649"/>
                </a:lnTo>
                <a:lnTo>
                  <a:pt x="87" y="649"/>
                </a:lnTo>
                <a:lnTo>
                  <a:pt x="87" y="646"/>
                </a:lnTo>
                <a:lnTo>
                  <a:pt x="90" y="642"/>
                </a:lnTo>
                <a:lnTo>
                  <a:pt x="90" y="639"/>
                </a:lnTo>
                <a:lnTo>
                  <a:pt x="87" y="635"/>
                </a:lnTo>
                <a:lnTo>
                  <a:pt x="83" y="635"/>
                </a:lnTo>
                <a:lnTo>
                  <a:pt x="80" y="632"/>
                </a:lnTo>
                <a:lnTo>
                  <a:pt x="80" y="628"/>
                </a:lnTo>
                <a:lnTo>
                  <a:pt x="83" y="625"/>
                </a:lnTo>
                <a:lnTo>
                  <a:pt x="83" y="621"/>
                </a:lnTo>
                <a:lnTo>
                  <a:pt x="80" y="618"/>
                </a:lnTo>
                <a:lnTo>
                  <a:pt x="80" y="614"/>
                </a:lnTo>
                <a:lnTo>
                  <a:pt x="76" y="614"/>
                </a:lnTo>
                <a:lnTo>
                  <a:pt x="76" y="611"/>
                </a:lnTo>
                <a:lnTo>
                  <a:pt x="76" y="607"/>
                </a:lnTo>
                <a:lnTo>
                  <a:pt x="73" y="607"/>
                </a:lnTo>
                <a:lnTo>
                  <a:pt x="73" y="604"/>
                </a:lnTo>
                <a:lnTo>
                  <a:pt x="73" y="601"/>
                </a:lnTo>
                <a:lnTo>
                  <a:pt x="73" y="597"/>
                </a:lnTo>
                <a:lnTo>
                  <a:pt x="73" y="594"/>
                </a:lnTo>
                <a:lnTo>
                  <a:pt x="76" y="594"/>
                </a:lnTo>
                <a:lnTo>
                  <a:pt x="76" y="590"/>
                </a:lnTo>
                <a:lnTo>
                  <a:pt x="80" y="590"/>
                </a:lnTo>
                <a:lnTo>
                  <a:pt x="83" y="587"/>
                </a:lnTo>
                <a:lnTo>
                  <a:pt x="83" y="583"/>
                </a:lnTo>
                <a:lnTo>
                  <a:pt x="83" y="580"/>
                </a:lnTo>
                <a:lnTo>
                  <a:pt x="83" y="576"/>
                </a:lnTo>
                <a:lnTo>
                  <a:pt x="83" y="569"/>
                </a:lnTo>
                <a:lnTo>
                  <a:pt x="83" y="566"/>
                </a:lnTo>
                <a:lnTo>
                  <a:pt x="83" y="562"/>
                </a:lnTo>
                <a:lnTo>
                  <a:pt x="80" y="559"/>
                </a:lnTo>
                <a:lnTo>
                  <a:pt x="83" y="559"/>
                </a:lnTo>
                <a:lnTo>
                  <a:pt x="80" y="555"/>
                </a:lnTo>
                <a:lnTo>
                  <a:pt x="80" y="552"/>
                </a:lnTo>
                <a:lnTo>
                  <a:pt x="76" y="552"/>
                </a:lnTo>
                <a:lnTo>
                  <a:pt x="73" y="552"/>
                </a:lnTo>
                <a:lnTo>
                  <a:pt x="73" y="548"/>
                </a:lnTo>
                <a:lnTo>
                  <a:pt x="76" y="545"/>
                </a:lnTo>
                <a:lnTo>
                  <a:pt x="80" y="541"/>
                </a:lnTo>
                <a:lnTo>
                  <a:pt x="80" y="538"/>
                </a:lnTo>
                <a:lnTo>
                  <a:pt x="83" y="538"/>
                </a:lnTo>
                <a:lnTo>
                  <a:pt x="87" y="538"/>
                </a:lnTo>
                <a:lnTo>
                  <a:pt x="90" y="538"/>
                </a:lnTo>
                <a:lnTo>
                  <a:pt x="90" y="535"/>
                </a:lnTo>
                <a:lnTo>
                  <a:pt x="93" y="535"/>
                </a:lnTo>
                <a:lnTo>
                  <a:pt x="93" y="531"/>
                </a:lnTo>
                <a:lnTo>
                  <a:pt x="90" y="531"/>
                </a:lnTo>
                <a:lnTo>
                  <a:pt x="90" y="528"/>
                </a:lnTo>
                <a:lnTo>
                  <a:pt x="87" y="528"/>
                </a:lnTo>
                <a:lnTo>
                  <a:pt x="83" y="528"/>
                </a:lnTo>
                <a:lnTo>
                  <a:pt x="73" y="524"/>
                </a:lnTo>
                <a:lnTo>
                  <a:pt x="69" y="521"/>
                </a:lnTo>
                <a:lnTo>
                  <a:pt x="66" y="521"/>
                </a:lnTo>
                <a:lnTo>
                  <a:pt x="62" y="521"/>
                </a:lnTo>
                <a:lnTo>
                  <a:pt x="59" y="521"/>
                </a:lnTo>
                <a:lnTo>
                  <a:pt x="55" y="521"/>
                </a:lnTo>
                <a:lnTo>
                  <a:pt x="55" y="517"/>
                </a:lnTo>
                <a:lnTo>
                  <a:pt x="59" y="517"/>
                </a:lnTo>
                <a:lnTo>
                  <a:pt x="59" y="514"/>
                </a:lnTo>
                <a:lnTo>
                  <a:pt x="62" y="510"/>
                </a:lnTo>
                <a:lnTo>
                  <a:pt x="66" y="510"/>
                </a:lnTo>
                <a:lnTo>
                  <a:pt x="69" y="510"/>
                </a:lnTo>
                <a:lnTo>
                  <a:pt x="73" y="510"/>
                </a:lnTo>
                <a:lnTo>
                  <a:pt x="73" y="507"/>
                </a:lnTo>
                <a:lnTo>
                  <a:pt x="76" y="507"/>
                </a:lnTo>
                <a:lnTo>
                  <a:pt x="80" y="507"/>
                </a:lnTo>
                <a:lnTo>
                  <a:pt x="83" y="507"/>
                </a:lnTo>
                <a:lnTo>
                  <a:pt x="87" y="507"/>
                </a:lnTo>
                <a:lnTo>
                  <a:pt x="90" y="507"/>
                </a:lnTo>
                <a:lnTo>
                  <a:pt x="93" y="507"/>
                </a:lnTo>
                <a:lnTo>
                  <a:pt x="93" y="510"/>
                </a:lnTo>
                <a:lnTo>
                  <a:pt x="97" y="510"/>
                </a:lnTo>
                <a:lnTo>
                  <a:pt x="97" y="514"/>
                </a:lnTo>
                <a:lnTo>
                  <a:pt x="100" y="514"/>
                </a:lnTo>
                <a:lnTo>
                  <a:pt x="100" y="510"/>
                </a:lnTo>
                <a:lnTo>
                  <a:pt x="104" y="510"/>
                </a:lnTo>
                <a:lnTo>
                  <a:pt x="104" y="507"/>
                </a:lnTo>
                <a:lnTo>
                  <a:pt x="104" y="503"/>
                </a:lnTo>
                <a:lnTo>
                  <a:pt x="107" y="503"/>
                </a:lnTo>
                <a:lnTo>
                  <a:pt x="107" y="500"/>
                </a:lnTo>
                <a:lnTo>
                  <a:pt x="111" y="503"/>
                </a:lnTo>
                <a:lnTo>
                  <a:pt x="114" y="500"/>
                </a:lnTo>
                <a:lnTo>
                  <a:pt x="118" y="500"/>
                </a:lnTo>
                <a:lnTo>
                  <a:pt x="121" y="500"/>
                </a:lnTo>
                <a:lnTo>
                  <a:pt x="121" y="496"/>
                </a:lnTo>
                <a:lnTo>
                  <a:pt x="125" y="496"/>
                </a:lnTo>
                <a:lnTo>
                  <a:pt x="125" y="493"/>
                </a:lnTo>
                <a:lnTo>
                  <a:pt x="128" y="493"/>
                </a:lnTo>
                <a:lnTo>
                  <a:pt x="132" y="493"/>
                </a:lnTo>
                <a:lnTo>
                  <a:pt x="135" y="493"/>
                </a:lnTo>
                <a:lnTo>
                  <a:pt x="139" y="489"/>
                </a:lnTo>
                <a:lnTo>
                  <a:pt x="142" y="486"/>
                </a:lnTo>
                <a:lnTo>
                  <a:pt x="142" y="482"/>
                </a:lnTo>
                <a:lnTo>
                  <a:pt x="146" y="479"/>
                </a:lnTo>
                <a:lnTo>
                  <a:pt x="149" y="482"/>
                </a:lnTo>
                <a:lnTo>
                  <a:pt x="152" y="479"/>
                </a:lnTo>
                <a:lnTo>
                  <a:pt x="156" y="479"/>
                </a:lnTo>
                <a:lnTo>
                  <a:pt x="156" y="476"/>
                </a:lnTo>
                <a:lnTo>
                  <a:pt x="159" y="476"/>
                </a:lnTo>
                <a:lnTo>
                  <a:pt x="159" y="472"/>
                </a:lnTo>
                <a:lnTo>
                  <a:pt x="163" y="472"/>
                </a:lnTo>
                <a:lnTo>
                  <a:pt x="166" y="476"/>
                </a:lnTo>
                <a:lnTo>
                  <a:pt x="170" y="476"/>
                </a:lnTo>
                <a:lnTo>
                  <a:pt x="173" y="472"/>
                </a:lnTo>
                <a:lnTo>
                  <a:pt x="177" y="469"/>
                </a:lnTo>
                <a:lnTo>
                  <a:pt x="177" y="465"/>
                </a:lnTo>
                <a:lnTo>
                  <a:pt x="180" y="465"/>
                </a:lnTo>
                <a:lnTo>
                  <a:pt x="184" y="465"/>
                </a:lnTo>
                <a:lnTo>
                  <a:pt x="184" y="462"/>
                </a:lnTo>
                <a:lnTo>
                  <a:pt x="180" y="458"/>
                </a:lnTo>
                <a:lnTo>
                  <a:pt x="184" y="455"/>
                </a:lnTo>
                <a:lnTo>
                  <a:pt x="184" y="451"/>
                </a:lnTo>
                <a:lnTo>
                  <a:pt x="191" y="444"/>
                </a:lnTo>
                <a:lnTo>
                  <a:pt x="191" y="441"/>
                </a:lnTo>
                <a:lnTo>
                  <a:pt x="191" y="437"/>
                </a:lnTo>
                <a:lnTo>
                  <a:pt x="194" y="437"/>
                </a:lnTo>
                <a:lnTo>
                  <a:pt x="198" y="434"/>
                </a:lnTo>
                <a:lnTo>
                  <a:pt x="198" y="430"/>
                </a:lnTo>
                <a:lnTo>
                  <a:pt x="201" y="430"/>
                </a:lnTo>
                <a:lnTo>
                  <a:pt x="205" y="427"/>
                </a:lnTo>
                <a:lnTo>
                  <a:pt x="205" y="423"/>
                </a:lnTo>
                <a:lnTo>
                  <a:pt x="208" y="423"/>
                </a:lnTo>
                <a:lnTo>
                  <a:pt x="212" y="420"/>
                </a:lnTo>
                <a:lnTo>
                  <a:pt x="212" y="416"/>
                </a:lnTo>
                <a:lnTo>
                  <a:pt x="212" y="413"/>
                </a:lnTo>
                <a:lnTo>
                  <a:pt x="212" y="410"/>
                </a:lnTo>
                <a:lnTo>
                  <a:pt x="215" y="406"/>
                </a:lnTo>
                <a:lnTo>
                  <a:pt x="215" y="403"/>
                </a:lnTo>
                <a:lnTo>
                  <a:pt x="215" y="399"/>
                </a:lnTo>
                <a:lnTo>
                  <a:pt x="218" y="399"/>
                </a:lnTo>
                <a:lnTo>
                  <a:pt x="222" y="396"/>
                </a:lnTo>
                <a:lnTo>
                  <a:pt x="225" y="396"/>
                </a:lnTo>
                <a:lnTo>
                  <a:pt x="229" y="396"/>
                </a:lnTo>
                <a:lnTo>
                  <a:pt x="232" y="396"/>
                </a:lnTo>
                <a:lnTo>
                  <a:pt x="236" y="392"/>
                </a:lnTo>
                <a:lnTo>
                  <a:pt x="236" y="389"/>
                </a:lnTo>
                <a:lnTo>
                  <a:pt x="239" y="389"/>
                </a:lnTo>
                <a:lnTo>
                  <a:pt x="243" y="389"/>
                </a:lnTo>
                <a:lnTo>
                  <a:pt x="246" y="392"/>
                </a:lnTo>
                <a:lnTo>
                  <a:pt x="250" y="392"/>
                </a:lnTo>
                <a:lnTo>
                  <a:pt x="246" y="385"/>
                </a:lnTo>
                <a:lnTo>
                  <a:pt x="243" y="382"/>
                </a:lnTo>
                <a:lnTo>
                  <a:pt x="243" y="378"/>
                </a:lnTo>
                <a:lnTo>
                  <a:pt x="246" y="371"/>
                </a:lnTo>
                <a:lnTo>
                  <a:pt x="243" y="368"/>
                </a:lnTo>
                <a:lnTo>
                  <a:pt x="246" y="368"/>
                </a:lnTo>
                <a:lnTo>
                  <a:pt x="250" y="364"/>
                </a:lnTo>
                <a:lnTo>
                  <a:pt x="250" y="361"/>
                </a:lnTo>
                <a:lnTo>
                  <a:pt x="250" y="357"/>
                </a:lnTo>
                <a:lnTo>
                  <a:pt x="253" y="357"/>
                </a:lnTo>
                <a:lnTo>
                  <a:pt x="257" y="357"/>
                </a:lnTo>
                <a:lnTo>
                  <a:pt x="260" y="354"/>
                </a:lnTo>
                <a:lnTo>
                  <a:pt x="264" y="350"/>
                </a:lnTo>
                <a:lnTo>
                  <a:pt x="264" y="347"/>
                </a:lnTo>
                <a:lnTo>
                  <a:pt x="264" y="340"/>
                </a:lnTo>
                <a:lnTo>
                  <a:pt x="267" y="340"/>
                </a:lnTo>
                <a:lnTo>
                  <a:pt x="271" y="340"/>
                </a:lnTo>
                <a:lnTo>
                  <a:pt x="274" y="337"/>
                </a:lnTo>
                <a:lnTo>
                  <a:pt x="277" y="337"/>
                </a:lnTo>
                <a:lnTo>
                  <a:pt x="277" y="333"/>
                </a:lnTo>
                <a:lnTo>
                  <a:pt x="274" y="326"/>
                </a:lnTo>
                <a:lnTo>
                  <a:pt x="274" y="323"/>
                </a:lnTo>
                <a:lnTo>
                  <a:pt x="274" y="319"/>
                </a:lnTo>
                <a:lnTo>
                  <a:pt x="271" y="316"/>
                </a:lnTo>
                <a:lnTo>
                  <a:pt x="271" y="312"/>
                </a:lnTo>
                <a:lnTo>
                  <a:pt x="271" y="309"/>
                </a:lnTo>
                <a:lnTo>
                  <a:pt x="271" y="305"/>
                </a:lnTo>
                <a:lnTo>
                  <a:pt x="271" y="302"/>
                </a:lnTo>
                <a:lnTo>
                  <a:pt x="271" y="298"/>
                </a:lnTo>
                <a:lnTo>
                  <a:pt x="274" y="298"/>
                </a:lnTo>
                <a:lnTo>
                  <a:pt x="271" y="295"/>
                </a:lnTo>
                <a:lnTo>
                  <a:pt x="271" y="291"/>
                </a:lnTo>
                <a:lnTo>
                  <a:pt x="271" y="288"/>
                </a:lnTo>
                <a:lnTo>
                  <a:pt x="267" y="285"/>
                </a:lnTo>
                <a:lnTo>
                  <a:pt x="267" y="281"/>
                </a:lnTo>
                <a:lnTo>
                  <a:pt x="264" y="281"/>
                </a:lnTo>
                <a:lnTo>
                  <a:pt x="260" y="281"/>
                </a:lnTo>
                <a:lnTo>
                  <a:pt x="260" y="278"/>
                </a:lnTo>
                <a:lnTo>
                  <a:pt x="257" y="281"/>
                </a:lnTo>
                <a:lnTo>
                  <a:pt x="253" y="281"/>
                </a:lnTo>
                <a:lnTo>
                  <a:pt x="253" y="278"/>
                </a:lnTo>
                <a:lnTo>
                  <a:pt x="250" y="274"/>
                </a:lnTo>
                <a:lnTo>
                  <a:pt x="250" y="271"/>
                </a:lnTo>
                <a:lnTo>
                  <a:pt x="250" y="267"/>
                </a:lnTo>
                <a:lnTo>
                  <a:pt x="246" y="264"/>
                </a:lnTo>
                <a:lnTo>
                  <a:pt x="246" y="260"/>
                </a:lnTo>
                <a:lnTo>
                  <a:pt x="246" y="257"/>
                </a:lnTo>
                <a:lnTo>
                  <a:pt x="250" y="257"/>
                </a:lnTo>
                <a:lnTo>
                  <a:pt x="246" y="257"/>
                </a:lnTo>
                <a:lnTo>
                  <a:pt x="246" y="253"/>
                </a:lnTo>
                <a:lnTo>
                  <a:pt x="250" y="253"/>
                </a:lnTo>
                <a:lnTo>
                  <a:pt x="250" y="250"/>
                </a:lnTo>
                <a:lnTo>
                  <a:pt x="253" y="250"/>
                </a:lnTo>
                <a:lnTo>
                  <a:pt x="253" y="246"/>
                </a:lnTo>
                <a:lnTo>
                  <a:pt x="253" y="243"/>
                </a:lnTo>
                <a:lnTo>
                  <a:pt x="250" y="239"/>
                </a:lnTo>
                <a:lnTo>
                  <a:pt x="250" y="236"/>
                </a:lnTo>
                <a:lnTo>
                  <a:pt x="253" y="232"/>
                </a:lnTo>
                <a:lnTo>
                  <a:pt x="257" y="219"/>
                </a:lnTo>
                <a:lnTo>
                  <a:pt x="260" y="212"/>
                </a:lnTo>
                <a:lnTo>
                  <a:pt x="260" y="208"/>
                </a:lnTo>
                <a:lnTo>
                  <a:pt x="260" y="205"/>
                </a:lnTo>
                <a:lnTo>
                  <a:pt x="260" y="201"/>
                </a:lnTo>
                <a:lnTo>
                  <a:pt x="260" y="205"/>
                </a:lnTo>
                <a:lnTo>
                  <a:pt x="260" y="201"/>
                </a:lnTo>
                <a:lnTo>
                  <a:pt x="257" y="201"/>
                </a:lnTo>
                <a:lnTo>
                  <a:pt x="257" y="198"/>
                </a:lnTo>
                <a:lnTo>
                  <a:pt x="257" y="194"/>
                </a:lnTo>
                <a:lnTo>
                  <a:pt x="257" y="191"/>
                </a:lnTo>
                <a:lnTo>
                  <a:pt x="253" y="191"/>
                </a:lnTo>
                <a:lnTo>
                  <a:pt x="250" y="191"/>
                </a:lnTo>
                <a:lnTo>
                  <a:pt x="246" y="191"/>
                </a:lnTo>
                <a:lnTo>
                  <a:pt x="246" y="187"/>
                </a:lnTo>
                <a:lnTo>
                  <a:pt x="246" y="184"/>
                </a:lnTo>
                <a:lnTo>
                  <a:pt x="246" y="180"/>
                </a:lnTo>
                <a:lnTo>
                  <a:pt x="243" y="180"/>
                </a:lnTo>
                <a:lnTo>
                  <a:pt x="243" y="177"/>
                </a:lnTo>
                <a:lnTo>
                  <a:pt x="246" y="177"/>
                </a:lnTo>
                <a:lnTo>
                  <a:pt x="246" y="173"/>
                </a:lnTo>
                <a:lnTo>
                  <a:pt x="250" y="173"/>
                </a:lnTo>
                <a:lnTo>
                  <a:pt x="250" y="170"/>
                </a:lnTo>
                <a:lnTo>
                  <a:pt x="250" y="173"/>
                </a:lnTo>
                <a:lnTo>
                  <a:pt x="250" y="170"/>
                </a:lnTo>
                <a:lnTo>
                  <a:pt x="250" y="173"/>
                </a:lnTo>
                <a:lnTo>
                  <a:pt x="253" y="173"/>
                </a:lnTo>
                <a:lnTo>
                  <a:pt x="257" y="173"/>
                </a:lnTo>
                <a:lnTo>
                  <a:pt x="260" y="173"/>
                </a:lnTo>
                <a:lnTo>
                  <a:pt x="264" y="173"/>
                </a:lnTo>
                <a:lnTo>
                  <a:pt x="267" y="173"/>
                </a:lnTo>
                <a:lnTo>
                  <a:pt x="267" y="170"/>
                </a:lnTo>
                <a:lnTo>
                  <a:pt x="271" y="170"/>
                </a:lnTo>
                <a:lnTo>
                  <a:pt x="274" y="170"/>
                </a:lnTo>
                <a:lnTo>
                  <a:pt x="277" y="170"/>
                </a:lnTo>
                <a:lnTo>
                  <a:pt x="281" y="170"/>
                </a:lnTo>
                <a:lnTo>
                  <a:pt x="281" y="177"/>
                </a:lnTo>
                <a:lnTo>
                  <a:pt x="274" y="177"/>
                </a:lnTo>
                <a:lnTo>
                  <a:pt x="274" y="180"/>
                </a:lnTo>
                <a:lnTo>
                  <a:pt x="274" y="184"/>
                </a:lnTo>
                <a:lnTo>
                  <a:pt x="274" y="187"/>
                </a:lnTo>
                <a:lnTo>
                  <a:pt x="271" y="187"/>
                </a:lnTo>
                <a:lnTo>
                  <a:pt x="271" y="191"/>
                </a:lnTo>
                <a:lnTo>
                  <a:pt x="267" y="194"/>
                </a:lnTo>
                <a:lnTo>
                  <a:pt x="267" y="198"/>
                </a:lnTo>
                <a:lnTo>
                  <a:pt x="264" y="198"/>
                </a:lnTo>
                <a:lnTo>
                  <a:pt x="264" y="201"/>
                </a:lnTo>
                <a:lnTo>
                  <a:pt x="264" y="205"/>
                </a:lnTo>
                <a:lnTo>
                  <a:pt x="267" y="205"/>
                </a:lnTo>
                <a:lnTo>
                  <a:pt x="267" y="208"/>
                </a:lnTo>
                <a:lnTo>
                  <a:pt x="271" y="208"/>
                </a:lnTo>
                <a:lnTo>
                  <a:pt x="274" y="208"/>
                </a:lnTo>
                <a:lnTo>
                  <a:pt x="277" y="208"/>
                </a:lnTo>
                <a:lnTo>
                  <a:pt x="277" y="212"/>
                </a:lnTo>
                <a:lnTo>
                  <a:pt x="281" y="212"/>
                </a:lnTo>
                <a:lnTo>
                  <a:pt x="281" y="215"/>
                </a:lnTo>
                <a:lnTo>
                  <a:pt x="284" y="215"/>
                </a:lnTo>
                <a:lnTo>
                  <a:pt x="288" y="215"/>
                </a:lnTo>
                <a:lnTo>
                  <a:pt x="288" y="219"/>
                </a:lnTo>
                <a:lnTo>
                  <a:pt x="291" y="219"/>
                </a:lnTo>
                <a:lnTo>
                  <a:pt x="295" y="222"/>
                </a:lnTo>
                <a:lnTo>
                  <a:pt x="298" y="222"/>
                </a:lnTo>
                <a:lnTo>
                  <a:pt x="302" y="222"/>
                </a:lnTo>
                <a:lnTo>
                  <a:pt x="305" y="222"/>
                </a:lnTo>
                <a:lnTo>
                  <a:pt x="309" y="225"/>
                </a:lnTo>
                <a:lnTo>
                  <a:pt x="312" y="225"/>
                </a:lnTo>
                <a:lnTo>
                  <a:pt x="319" y="225"/>
                </a:lnTo>
                <a:lnTo>
                  <a:pt x="323" y="222"/>
                </a:lnTo>
                <a:lnTo>
                  <a:pt x="326" y="222"/>
                </a:lnTo>
                <a:lnTo>
                  <a:pt x="330" y="222"/>
                </a:lnTo>
                <a:lnTo>
                  <a:pt x="333" y="222"/>
                </a:lnTo>
                <a:lnTo>
                  <a:pt x="337" y="222"/>
                </a:lnTo>
                <a:lnTo>
                  <a:pt x="340" y="222"/>
                </a:lnTo>
                <a:lnTo>
                  <a:pt x="340" y="225"/>
                </a:lnTo>
                <a:lnTo>
                  <a:pt x="343" y="225"/>
                </a:lnTo>
                <a:lnTo>
                  <a:pt x="347" y="225"/>
                </a:lnTo>
                <a:lnTo>
                  <a:pt x="350" y="225"/>
                </a:lnTo>
                <a:lnTo>
                  <a:pt x="350" y="222"/>
                </a:lnTo>
                <a:lnTo>
                  <a:pt x="350" y="219"/>
                </a:lnTo>
                <a:lnTo>
                  <a:pt x="354" y="219"/>
                </a:lnTo>
                <a:lnTo>
                  <a:pt x="354" y="215"/>
                </a:lnTo>
                <a:lnTo>
                  <a:pt x="354" y="212"/>
                </a:lnTo>
                <a:lnTo>
                  <a:pt x="357" y="208"/>
                </a:lnTo>
                <a:lnTo>
                  <a:pt x="354" y="208"/>
                </a:lnTo>
                <a:lnTo>
                  <a:pt x="354" y="205"/>
                </a:lnTo>
                <a:lnTo>
                  <a:pt x="357" y="201"/>
                </a:lnTo>
                <a:lnTo>
                  <a:pt x="361" y="198"/>
                </a:lnTo>
                <a:lnTo>
                  <a:pt x="364" y="194"/>
                </a:lnTo>
                <a:lnTo>
                  <a:pt x="364" y="191"/>
                </a:lnTo>
                <a:lnTo>
                  <a:pt x="368" y="191"/>
                </a:lnTo>
                <a:lnTo>
                  <a:pt x="368" y="187"/>
                </a:lnTo>
                <a:lnTo>
                  <a:pt x="368" y="191"/>
                </a:lnTo>
                <a:lnTo>
                  <a:pt x="371" y="191"/>
                </a:lnTo>
                <a:lnTo>
                  <a:pt x="375" y="191"/>
                </a:lnTo>
                <a:lnTo>
                  <a:pt x="378" y="191"/>
                </a:lnTo>
                <a:lnTo>
                  <a:pt x="382" y="191"/>
                </a:lnTo>
                <a:lnTo>
                  <a:pt x="385" y="191"/>
                </a:lnTo>
                <a:lnTo>
                  <a:pt x="385" y="194"/>
                </a:lnTo>
                <a:lnTo>
                  <a:pt x="389" y="194"/>
                </a:lnTo>
                <a:lnTo>
                  <a:pt x="389" y="198"/>
                </a:lnTo>
                <a:lnTo>
                  <a:pt x="392" y="198"/>
                </a:lnTo>
                <a:lnTo>
                  <a:pt x="396" y="198"/>
                </a:lnTo>
                <a:lnTo>
                  <a:pt x="399" y="198"/>
                </a:lnTo>
                <a:lnTo>
                  <a:pt x="402" y="198"/>
                </a:lnTo>
                <a:lnTo>
                  <a:pt x="406" y="198"/>
                </a:lnTo>
                <a:lnTo>
                  <a:pt x="409" y="198"/>
                </a:lnTo>
                <a:lnTo>
                  <a:pt x="413" y="198"/>
                </a:lnTo>
                <a:lnTo>
                  <a:pt x="416" y="201"/>
                </a:lnTo>
                <a:lnTo>
                  <a:pt x="416" y="198"/>
                </a:lnTo>
                <a:lnTo>
                  <a:pt x="420" y="198"/>
                </a:lnTo>
                <a:lnTo>
                  <a:pt x="423" y="198"/>
                </a:lnTo>
                <a:lnTo>
                  <a:pt x="427" y="198"/>
                </a:lnTo>
                <a:lnTo>
                  <a:pt x="427" y="201"/>
                </a:lnTo>
                <a:lnTo>
                  <a:pt x="430" y="201"/>
                </a:lnTo>
                <a:lnTo>
                  <a:pt x="434" y="201"/>
                </a:lnTo>
                <a:lnTo>
                  <a:pt x="437" y="201"/>
                </a:lnTo>
                <a:lnTo>
                  <a:pt x="434" y="201"/>
                </a:lnTo>
                <a:lnTo>
                  <a:pt x="437" y="205"/>
                </a:lnTo>
                <a:lnTo>
                  <a:pt x="437" y="208"/>
                </a:lnTo>
                <a:lnTo>
                  <a:pt x="437" y="212"/>
                </a:lnTo>
                <a:lnTo>
                  <a:pt x="437" y="215"/>
                </a:lnTo>
                <a:lnTo>
                  <a:pt x="441" y="215"/>
                </a:lnTo>
                <a:lnTo>
                  <a:pt x="448" y="215"/>
                </a:lnTo>
                <a:lnTo>
                  <a:pt x="451" y="215"/>
                </a:lnTo>
                <a:lnTo>
                  <a:pt x="451" y="219"/>
                </a:lnTo>
                <a:lnTo>
                  <a:pt x="455" y="219"/>
                </a:lnTo>
                <a:lnTo>
                  <a:pt x="455" y="222"/>
                </a:lnTo>
                <a:lnTo>
                  <a:pt x="458" y="222"/>
                </a:lnTo>
                <a:lnTo>
                  <a:pt x="462" y="222"/>
                </a:lnTo>
                <a:lnTo>
                  <a:pt x="465" y="222"/>
                </a:lnTo>
                <a:lnTo>
                  <a:pt x="468" y="222"/>
                </a:lnTo>
                <a:lnTo>
                  <a:pt x="472" y="222"/>
                </a:lnTo>
                <a:lnTo>
                  <a:pt x="475" y="222"/>
                </a:lnTo>
                <a:lnTo>
                  <a:pt x="479" y="222"/>
                </a:lnTo>
                <a:lnTo>
                  <a:pt x="482" y="222"/>
                </a:lnTo>
                <a:lnTo>
                  <a:pt x="482" y="225"/>
                </a:lnTo>
                <a:lnTo>
                  <a:pt x="486" y="225"/>
                </a:lnTo>
                <a:lnTo>
                  <a:pt x="486" y="229"/>
                </a:lnTo>
                <a:lnTo>
                  <a:pt x="489" y="229"/>
                </a:lnTo>
                <a:lnTo>
                  <a:pt x="489" y="232"/>
                </a:lnTo>
                <a:lnTo>
                  <a:pt x="489" y="236"/>
                </a:lnTo>
                <a:lnTo>
                  <a:pt x="489" y="239"/>
                </a:lnTo>
                <a:lnTo>
                  <a:pt x="489" y="243"/>
                </a:lnTo>
                <a:lnTo>
                  <a:pt x="493" y="243"/>
                </a:lnTo>
                <a:lnTo>
                  <a:pt x="496" y="246"/>
                </a:lnTo>
                <a:lnTo>
                  <a:pt x="500" y="246"/>
                </a:lnTo>
                <a:lnTo>
                  <a:pt x="503" y="246"/>
                </a:lnTo>
                <a:lnTo>
                  <a:pt x="503" y="243"/>
                </a:lnTo>
                <a:lnTo>
                  <a:pt x="507" y="243"/>
                </a:lnTo>
                <a:lnTo>
                  <a:pt x="507" y="246"/>
                </a:lnTo>
                <a:lnTo>
                  <a:pt x="514" y="239"/>
                </a:lnTo>
                <a:lnTo>
                  <a:pt x="514" y="243"/>
                </a:lnTo>
                <a:lnTo>
                  <a:pt x="517" y="239"/>
                </a:lnTo>
                <a:lnTo>
                  <a:pt x="517" y="243"/>
                </a:lnTo>
                <a:lnTo>
                  <a:pt x="521" y="243"/>
                </a:lnTo>
                <a:lnTo>
                  <a:pt x="521" y="239"/>
                </a:lnTo>
                <a:lnTo>
                  <a:pt x="521" y="243"/>
                </a:lnTo>
                <a:lnTo>
                  <a:pt x="524" y="243"/>
                </a:lnTo>
                <a:lnTo>
                  <a:pt x="524" y="239"/>
                </a:lnTo>
                <a:lnTo>
                  <a:pt x="524" y="236"/>
                </a:lnTo>
                <a:lnTo>
                  <a:pt x="527" y="236"/>
                </a:lnTo>
                <a:lnTo>
                  <a:pt x="531" y="236"/>
                </a:lnTo>
                <a:lnTo>
                  <a:pt x="531" y="232"/>
                </a:lnTo>
                <a:lnTo>
                  <a:pt x="534" y="232"/>
                </a:lnTo>
                <a:lnTo>
                  <a:pt x="538" y="232"/>
                </a:lnTo>
                <a:lnTo>
                  <a:pt x="541" y="232"/>
                </a:lnTo>
                <a:lnTo>
                  <a:pt x="541" y="236"/>
                </a:lnTo>
                <a:lnTo>
                  <a:pt x="545" y="236"/>
                </a:lnTo>
                <a:lnTo>
                  <a:pt x="545" y="232"/>
                </a:lnTo>
                <a:lnTo>
                  <a:pt x="548" y="232"/>
                </a:lnTo>
                <a:lnTo>
                  <a:pt x="548" y="229"/>
                </a:lnTo>
                <a:lnTo>
                  <a:pt x="552" y="229"/>
                </a:lnTo>
                <a:lnTo>
                  <a:pt x="555" y="225"/>
                </a:lnTo>
                <a:lnTo>
                  <a:pt x="559" y="225"/>
                </a:lnTo>
                <a:lnTo>
                  <a:pt x="562" y="225"/>
                </a:lnTo>
                <a:lnTo>
                  <a:pt x="566" y="225"/>
                </a:lnTo>
                <a:lnTo>
                  <a:pt x="580" y="222"/>
                </a:lnTo>
                <a:lnTo>
                  <a:pt x="583" y="222"/>
                </a:lnTo>
                <a:lnTo>
                  <a:pt x="583" y="225"/>
                </a:lnTo>
                <a:lnTo>
                  <a:pt x="583" y="229"/>
                </a:lnTo>
                <a:lnTo>
                  <a:pt x="583" y="232"/>
                </a:lnTo>
                <a:lnTo>
                  <a:pt x="586" y="232"/>
                </a:lnTo>
                <a:lnTo>
                  <a:pt x="590" y="239"/>
                </a:lnTo>
                <a:lnTo>
                  <a:pt x="590" y="243"/>
                </a:lnTo>
                <a:lnTo>
                  <a:pt x="593" y="243"/>
                </a:lnTo>
                <a:lnTo>
                  <a:pt x="597" y="243"/>
                </a:lnTo>
                <a:lnTo>
                  <a:pt x="600" y="243"/>
                </a:lnTo>
                <a:lnTo>
                  <a:pt x="604" y="243"/>
                </a:lnTo>
                <a:lnTo>
                  <a:pt x="600" y="246"/>
                </a:lnTo>
                <a:lnTo>
                  <a:pt x="604" y="250"/>
                </a:lnTo>
                <a:lnTo>
                  <a:pt x="600" y="250"/>
                </a:lnTo>
                <a:lnTo>
                  <a:pt x="597" y="250"/>
                </a:lnTo>
                <a:lnTo>
                  <a:pt x="593" y="250"/>
                </a:lnTo>
                <a:lnTo>
                  <a:pt x="593" y="253"/>
                </a:lnTo>
                <a:lnTo>
                  <a:pt x="590" y="253"/>
                </a:lnTo>
                <a:lnTo>
                  <a:pt x="586" y="253"/>
                </a:lnTo>
                <a:lnTo>
                  <a:pt x="583" y="253"/>
                </a:lnTo>
                <a:lnTo>
                  <a:pt x="583" y="257"/>
                </a:lnTo>
                <a:lnTo>
                  <a:pt x="580" y="257"/>
                </a:lnTo>
                <a:lnTo>
                  <a:pt x="576" y="257"/>
                </a:lnTo>
                <a:lnTo>
                  <a:pt x="576" y="260"/>
                </a:lnTo>
                <a:lnTo>
                  <a:pt x="573" y="260"/>
                </a:lnTo>
                <a:lnTo>
                  <a:pt x="569" y="264"/>
                </a:lnTo>
                <a:lnTo>
                  <a:pt x="566" y="264"/>
                </a:lnTo>
                <a:lnTo>
                  <a:pt x="569" y="267"/>
                </a:lnTo>
                <a:lnTo>
                  <a:pt x="569" y="271"/>
                </a:lnTo>
                <a:lnTo>
                  <a:pt x="569" y="274"/>
                </a:lnTo>
                <a:lnTo>
                  <a:pt x="566" y="274"/>
                </a:lnTo>
                <a:lnTo>
                  <a:pt x="566" y="278"/>
                </a:lnTo>
                <a:lnTo>
                  <a:pt x="566" y="281"/>
                </a:lnTo>
                <a:lnTo>
                  <a:pt x="569" y="281"/>
                </a:lnTo>
                <a:lnTo>
                  <a:pt x="569" y="285"/>
                </a:lnTo>
                <a:lnTo>
                  <a:pt x="573" y="285"/>
                </a:lnTo>
                <a:lnTo>
                  <a:pt x="576" y="285"/>
                </a:lnTo>
                <a:lnTo>
                  <a:pt x="580" y="285"/>
                </a:lnTo>
                <a:lnTo>
                  <a:pt x="583" y="285"/>
                </a:lnTo>
                <a:lnTo>
                  <a:pt x="583" y="281"/>
                </a:lnTo>
                <a:lnTo>
                  <a:pt x="586" y="281"/>
                </a:lnTo>
                <a:lnTo>
                  <a:pt x="590" y="281"/>
                </a:lnTo>
                <a:lnTo>
                  <a:pt x="593" y="281"/>
                </a:lnTo>
                <a:lnTo>
                  <a:pt x="597" y="281"/>
                </a:lnTo>
                <a:lnTo>
                  <a:pt x="597" y="278"/>
                </a:lnTo>
                <a:lnTo>
                  <a:pt x="600" y="281"/>
                </a:lnTo>
                <a:lnTo>
                  <a:pt x="604" y="281"/>
                </a:lnTo>
                <a:lnTo>
                  <a:pt x="607" y="281"/>
                </a:lnTo>
                <a:lnTo>
                  <a:pt x="611" y="281"/>
                </a:lnTo>
                <a:lnTo>
                  <a:pt x="614" y="281"/>
                </a:lnTo>
                <a:lnTo>
                  <a:pt x="614" y="285"/>
                </a:lnTo>
                <a:lnTo>
                  <a:pt x="618" y="285"/>
                </a:lnTo>
                <a:lnTo>
                  <a:pt x="611" y="291"/>
                </a:lnTo>
                <a:lnTo>
                  <a:pt x="611" y="295"/>
                </a:lnTo>
                <a:lnTo>
                  <a:pt x="614" y="298"/>
                </a:lnTo>
                <a:lnTo>
                  <a:pt x="614" y="302"/>
                </a:lnTo>
                <a:lnTo>
                  <a:pt x="618" y="305"/>
                </a:lnTo>
                <a:lnTo>
                  <a:pt x="621" y="305"/>
                </a:lnTo>
                <a:lnTo>
                  <a:pt x="628" y="312"/>
                </a:lnTo>
                <a:lnTo>
                  <a:pt x="632" y="316"/>
                </a:lnTo>
                <a:lnTo>
                  <a:pt x="635" y="319"/>
                </a:lnTo>
                <a:lnTo>
                  <a:pt x="642" y="330"/>
                </a:lnTo>
                <a:lnTo>
                  <a:pt x="649" y="340"/>
                </a:lnTo>
                <a:lnTo>
                  <a:pt x="652" y="350"/>
                </a:lnTo>
                <a:lnTo>
                  <a:pt x="649" y="350"/>
                </a:lnTo>
                <a:lnTo>
                  <a:pt x="646" y="354"/>
                </a:lnTo>
                <a:lnTo>
                  <a:pt x="642" y="354"/>
                </a:lnTo>
                <a:lnTo>
                  <a:pt x="642" y="357"/>
                </a:lnTo>
                <a:lnTo>
                  <a:pt x="639" y="357"/>
                </a:lnTo>
                <a:lnTo>
                  <a:pt x="639" y="361"/>
                </a:lnTo>
                <a:lnTo>
                  <a:pt x="642" y="361"/>
                </a:lnTo>
                <a:lnTo>
                  <a:pt x="642" y="364"/>
                </a:lnTo>
                <a:lnTo>
                  <a:pt x="642" y="368"/>
                </a:lnTo>
                <a:lnTo>
                  <a:pt x="642" y="371"/>
                </a:lnTo>
                <a:lnTo>
                  <a:pt x="646" y="371"/>
                </a:lnTo>
                <a:lnTo>
                  <a:pt x="646" y="375"/>
                </a:lnTo>
                <a:lnTo>
                  <a:pt x="649" y="375"/>
                </a:lnTo>
                <a:lnTo>
                  <a:pt x="652" y="375"/>
                </a:lnTo>
                <a:lnTo>
                  <a:pt x="652" y="378"/>
                </a:lnTo>
                <a:lnTo>
                  <a:pt x="656" y="375"/>
                </a:lnTo>
                <a:lnTo>
                  <a:pt x="659" y="378"/>
                </a:lnTo>
                <a:lnTo>
                  <a:pt x="663" y="378"/>
                </a:lnTo>
                <a:lnTo>
                  <a:pt x="666" y="378"/>
                </a:lnTo>
                <a:lnTo>
                  <a:pt x="670" y="378"/>
                </a:lnTo>
                <a:lnTo>
                  <a:pt x="673" y="378"/>
                </a:lnTo>
                <a:lnTo>
                  <a:pt x="673" y="375"/>
                </a:lnTo>
                <a:lnTo>
                  <a:pt x="677" y="375"/>
                </a:lnTo>
                <a:lnTo>
                  <a:pt x="680" y="375"/>
                </a:lnTo>
                <a:lnTo>
                  <a:pt x="684" y="378"/>
                </a:lnTo>
                <a:lnTo>
                  <a:pt x="687" y="378"/>
                </a:lnTo>
                <a:lnTo>
                  <a:pt x="691" y="375"/>
                </a:lnTo>
                <a:lnTo>
                  <a:pt x="694" y="378"/>
                </a:lnTo>
                <a:lnTo>
                  <a:pt x="698" y="378"/>
                </a:lnTo>
                <a:lnTo>
                  <a:pt x="701" y="378"/>
                </a:lnTo>
                <a:lnTo>
                  <a:pt x="701" y="375"/>
                </a:lnTo>
                <a:lnTo>
                  <a:pt x="705" y="375"/>
                </a:lnTo>
                <a:lnTo>
                  <a:pt x="705" y="378"/>
                </a:lnTo>
                <a:lnTo>
                  <a:pt x="705" y="375"/>
                </a:lnTo>
                <a:lnTo>
                  <a:pt x="708" y="375"/>
                </a:lnTo>
                <a:lnTo>
                  <a:pt x="711" y="375"/>
                </a:lnTo>
                <a:lnTo>
                  <a:pt x="711" y="378"/>
                </a:lnTo>
                <a:lnTo>
                  <a:pt x="711" y="375"/>
                </a:lnTo>
                <a:lnTo>
                  <a:pt x="715" y="375"/>
                </a:lnTo>
                <a:lnTo>
                  <a:pt x="718" y="375"/>
                </a:lnTo>
                <a:lnTo>
                  <a:pt x="722" y="375"/>
                </a:lnTo>
                <a:lnTo>
                  <a:pt x="725" y="375"/>
                </a:lnTo>
                <a:lnTo>
                  <a:pt x="729" y="375"/>
                </a:lnTo>
                <a:lnTo>
                  <a:pt x="729" y="378"/>
                </a:lnTo>
                <a:lnTo>
                  <a:pt x="732" y="375"/>
                </a:lnTo>
                <a:lnTo>
                  <a:pt x="732" y="378"/>
                </a:lnTo>
                <a:lnTo>
                  <a:pt x="736" y="378"/>
                </a:lnTo>
                <a:lnTo>
                  <a:pt x="739" y="378"/>
                </a:lnTo>
                <a:lnTo>
                  <a:pt x="739" y="375"/>
                </a:lnTo>
                <a:lnTo>
                  <a:pt x="739" y="378"/>
                </a:lnTo>
                <a:lnTo>
                  <a:pt x="743" y="378"/>
                </a:lnTo>
                <a:lnTo>
                  <a:pt x="743" y="375"/>
                </a:lnTo>
                <a:lnTo>
                  <a:pt x="746" y="375"/>
                </a:lnTo>
                <a:lnTo>
                  <a:pt x="746" y="378"/>
                </a:lnTo>
                <a:lnTo>
                  <a:pt x="750" y="375"/>
                </a:lnTo>
                <a:lnTo>
                  <a:pt x="753" y="375"/>
                </a:lnTo>
                <a:lnTo>
                  <a:pt x="753" y="371"/>
                </a:lnTo>
                <a:lnTo>
                  <a:pt x="753" y="368"/>
                </a:lnTo>
                <a:lnTo>
                  <a:pt x="753" y="364"/>
                </a:lnTo>
                <a:lnTo>
                  <a:pt x="753" y="361"/>
                </a:lnTo>
                <a:lnTo>
                  <a:pt x="757" y="361"/>
                </a:lnTo>
                <a:lnTo>
                  <a:pt x="757" y="357"/>
                </a:lnTo>
                <a:lnTo>
                  <a:pt x="760" y="357"/>
                </a:lnTo>
                <a:lnTo>
                  <a:pt x="764" y="357"/>
                </a:lnTo>
                <a:lnTo>
                  <a:pt x="767" y="357"/>
                </a:lnTo>
                <a:lnTo>
                  <a:pt x="767" y="354"/>
                </a:lnTo>
                <a:lnTo>
                  <a:pt x="771" y="354"/>
                </a:lnTo>
                <a:lnTo>
                  <a:pt x="771" y="350"/>
                </a:lnTo>
                <a:lnTo>
                  <a:pt x="774" y="350"/>
                </a:lnTo>
                <a:lnTo>
                  <a:pt x="777" y="350"/>
                </a:lnTo>
                <a:lnTo>
                  <a:pt x="777" y="347"/>
                </a:lnTo>
                <a:lnTo>
                  <a:pt x="781" y="347"/>
                </a:lnTo>
                <a:lnTo>
                  <a:pt x="784" y="347"/>
                </a:lnTo>
                <a:lnTo>
                  <a:pt x="788" y="347"/>
                </a:lnTo>
                <a:lnTo>
                  <a:pt x="791" y="347"/>
                </a:lnTo>
                <a:lnTo>
                  <a:pt x="791" y="344"/>
                </a:lnTo>
                <a:lnTo>
                  <a:pt x="795" y="344"/>
                </a:lnTo>
                <a:lnTo>
                  <a:pt x="798" y="344"/>
                </a:lnTo>
                <a:lnTo>
                  <a:pt x="802" y="344"/>
                </a:lnTo>
                <a:lnTo>
                  <a:pt x="805" y="344"/>
                </a:lnTo>
                <a:lnTo>
                  <a:pt x="809" y="344"/>
                </a:lnTo>
                <a:lnTo>
                  <a:pt x="809" y="340"/>
                </a:lnTo>
                <a:lnTo>
                  <a:pt x="812" y="340"/>
                </a:lnTo>
                <a:lnTo>
                  <a:pt x="812" y="337"/>
                </a:lnTo>
                <a:lnTo>
                  <a:pt x="816" y="337"/>
                </a:lnTo>
                <a:lnTo>
                  <a:pt x="819" y="337"/>
                </a:lnTo>
                <a:lnTo>
                  <a:pt x="823" y="337"/>
                </a:lnTo>
                <a:lnTo>
                  <a:pt x="823" y="340"/>
                </a:lnTo>
                <a:lnTo>
                  <a:pt x="826" y="340"/>
                </a:lnTo>
                <a:lnTo>
                  <a:pt x="826" y="337"/>
                </a:lnTo>
                <a:lnTo>
                  <a:pt x="830" y="337"/>
                </a:lnTo>
                <a:lnTo>
                  <a:pt x="833" y="337"/>
                </a:lnTo>
                <a:lnTo>
                  <a:pt x="836" y="337"/>
                </a:lnTo>
                <a:lnTo>
                  <a:pt x="840" y="337"/>
                </a:lnTo>
                <a:lnTo>
                  <a:pt x="843" y="337"/>
                </a:lnTo>
                <a:lnTo>
                  <a:pt x="847" y="337"/>
                </a:lnTo>
                <a:lnTo>
                  <a:pt x="847" y="340"/>
                </a:lnTo>
                <a:lnTo>
                  <a:pt x="850" y="340"/>
                </a:lnTo>
                <a:lnTo>
                  <a:pt x="847" y="344"/>
                </a:lnTo>
                <a:lnTo>
                  <a:pt x="843" y="344"/>
                </a:lnTo>
                <a:lnTo>
                  <a:pt x="843" y="347"/>
                </a:lnTo>
                <a:lnTo>
                  <a:pt x="843" y="350"/>
                </a:lnTo>
                <a:lnTo>
                  <a:pt x="840" y="350"/>
                </a:lnTo>
                <a:lnTo>
                  <a:pt x="840" y="354"/>
                </a:lnTo>
                <a:lnTo>
                  <a:pt x="836" y="357"/>
                </a:lnTo>
                <a:lnTo>
                  <a:pt x="833" y="357"/>
                </a:lnTo>
                <a:lnTo>
                  <a:pt x="833" y="361"/>
                </a:lnTo>
                <a:lnTo>
                  <a:pt x="833" y="364"/>
                </a:lnTo>
                <a:lnTo>
                  <a:pt x="833" y="368"/>
                </a:lnTo>
                <a:lnTo>
                  <a:pt x="830" y="368"/>
                </a:lnTo>
                <a:lnTo>
                  <a:pt x="830" y="371"/>
                </a:lnTo>
                <a:lnTo>
                  <a:pt x="826" y="371"/>
                </a:lnTo>
                <a:lnTo>
                  <a:pt x="826" y="375"/>
                </a:lnTo>
                <a:lnTo>
                  <a:pt x="826" y="378"/>
                </a:lnTo>
                <a:lnTo>
                  <a:pt x="830" y="378"/>
                </a:lnTo>
                <a:lnTo>
                  <a:pt x="833" y="375"/>
                </a:lnTo>
                <a:lnTo>
                  <a:pt x="836" y="375"/>
                </a:lnTo>
                <a:lnTo>
                  <a:pt x="840" y="375"/>
                </a:lnTo>
                <a:lnTo>
                  <a:pt x="843" y="375"/>
                </a:lnTo>
                <a:lnTo>
                  <a:pt x="847" y="375"/>
                </a:lnTo>
                <a:lnTo>
                  <a:pt x="850" y="375"/>
                </a:lnTo>
                <a:lnTo>
                  <a:pt x="854" y="375"/>
                </a:lnTo>
                <a:lnTo>
                  <a:pt x="857" y="371"/>
                </a:lnTo>
                <a:lnTo>
                  <a:pt x="857" y="375"/>
                </a:lnTo>
                <a:lnTo>
                  <a:pt x="861" y="375"/>
                </a:lnTo>
                <a:lnTo>
                  <a:pt x="864" y="375"/>
                </a:lnTo>
                <a:lnTo>
                  <a:pt x="864" y="371"/>
                </a:lnTo>
                <a:lnTo>
                  <a:pt x="868" y="371"/>
                </a:lnTo>
                <a:lnTo>
                  <a:pt x="871" y="371"/>
                </a:lnTo>
                <a:lnTo>
                  <a:pt x="871" y="368"/>
                </a:lnTo>
                <a:lnTo>
                  <a:pt x="875" y="368"/>
                </a:lnTo>
                <a:lnTo>
                  <a:pt x="875" y="364"/>
                </a:lnTo>
                <a:lnTo>
                  <a:pt x="875" y="361"/>
                </a:lnTo>
                <a:lnTo>
                  <a:pt x="875" y="357"/>
                </a:lnTo>
                <a:lnTo>
                  <a:pt x="878" y="357"/>
                </a:lnTo>
                <a:lnTo>
                  <a:pt x="878" y="354"/>
                </a:lnTo>
                <a:lnTo>
                  <a:pt x="878" y="350"/>
                </a:lnTo>
                <a:lnTo>
                  <a:pt x="878" y="347"/>
                </a:lnTo>
                <a:lnTo>
                  <a:pt x="875" y="347"/>
                </a:lnTo>
                <a:lnTo>
                  <a:pt x="875" y="344"/>
                </a:lnTo>
                <a:lnTo>
                  <a:pt x="878" y="340"/>
                </a:lnTo>
                <a:lnTo>
                  <a:pt x="878" y="344"/>
                </a:lnTo>
                <a:lnTo>
                  <a:pt x="882" y="340"/>
                </a:lnTo>
                <a:lnTo>
                  <a:pt x="885" y="340"/>
                </a:lnTo>
                <a:lnTo>
                  <a:pt x="889" y="340"/>
                </a:lnTo>
                <a:lnTo>
                  <a:pt x="892" y="340"/>
                </a:lnTo>
                <a:lnTo>
                  <a:pt x="892" y="337"/>
                </a:lnTo>
                <a:lnTo>
                  <a:pt x="896" y="337"/>
                </a:lnTo>
                <a:lnTo>
                  <a:pt x="896" y="333"/>
                </a:lnTo>
                <a:lnTo>
                  <a:pt x="899" y="333"/>
                </a:lnTo>
                <a:lnTo>
                  <a:pt x="899" y="330"/>
                </a:lnTo>
                <a:lnTo>
                  <a:pt x="902" y="333"/>
                </a:lnTo>
                <a:lnTo>
                  <a:pt x="902" y="330"/>
                </a:lnTo>
                <a:lnTo>
                  <a:pt x="906" y="330"/>
                </a:lnTo>
                <a:lnTo>
                  <a:pt x="906" y="326"/>
                </a:lnTo>
                <a:lnTo>
                  <a:pt x="906" y="323"/>
                </a:lnTo>
                <a:lnTo>
                  <a:pt x="909" y="319"/>
                </a:lnTo>
                <a:lnTo>
                  <a:pt x="913" y="319"/>
                </a:lnTo>
                <a:lnTo>
                  <a:pt x="916" y="319"/>
                </a:lnTo>
                <a:lnTo>
                  <a:pt x="920" y="319"/>
                </a:lnTo>
                <a:lnTo>
                  <a:pt x="923" y="319"/>
                </a:lnTo>
                <a:lnTo>
                  <a:pt x="927" y="319"/>
                </a:lnTo>
                <a:lnTo>
                  <a:pt x="930" y="319"/>
                </a:lnTo>
                <a:lnTo>
                  <a:pt x="930" y="323"/>
                </a:lnTo>
                <a:lnTo>
                  <a:pt x="934" y="323"/>
                </a:lnTo>
                <a:lnTo>
                  <a:pt x="937" y="323"/>
                </a:lnTo>
                <a:lnTo>
                  <a:pt x="937" y="319"/>
                </a:lnTo>
                <a:lnTo>
                  <a:pt x="941" y="319"/>
                </a:lnTo>
                <a:lnTo>
                  <a:pt x="944" y="319"/>
                </a:lnTo>
                <a:lnTo>
                  <a:pt x="948" y="319"/>
                </a:lnTo>
                <a:lnTo>
                  <a:pt x="948" y="323"/>
                </a:lnTo>
                <a:lnTo>
                  <a:pt x="951" y="319"/>
                </a:lnTo>
                <a:lnTo>
                  <a:pt x="955" y="319"/>
                </a:lnTo>
                <a:lnTo>
                  <a:pt x="958" y="319"/>
                </a:lnTo>
                <a:lnTo>
                  <a:pt x="961" y="319"/>
                </a:lnTo>
                <a:lnTo>
                  <a:pt x="961" y="323"/>
                </a:lnTo>
                <a:lnTo>
                  <a:pt x="961" y="319"/>
                </a:lnTo>
                <a:lnTo>
                  <a:pt x="965" y="319"/>
                </a:lnTo>
                <a:lnTo>
                  <a:pt x="965" y="323"/>
                </a:lnTo>
                <a:lnTo>
                  <a:pt x="965" y="319"/>
                </a:lnTo>
                <a:lnTo>
                  <a:pt x="965" y="323"/>
                </a:lnTo>
                <a:lnTo>
                  <a:pt x="968" y="319"/>
                </a:lnTo>
                <a:lnTo>
                  <a:pt x="968" y="323"/>
                </a:lnTo>
                <a:lnTo>
                  <a:pt x="972" y="323"/>
                </a:lnTo>
                <a:lnTo>
                  <a:pt x="972" y="319"/>
                </a:lnTo>
                <a:lnTo>
                  <a:pt x="968" y="319"/>
                </a:lnTo>
                <a:lnTo>
                  <a:pt x="968" y="316"/>
                </a:lnTo>
                <a:lnTo>
                  <a:pt x="968" y="312"/>
                </a:lnTo>
                <a:lnTo>
                  <a:pt x="965" y="312"/>
                </a:lnTo>
                <a:lnTo>
                  <a:pt x="965" y="309"/>
                </a:lnTo>
                <a:lnTo>
                  <a:pt x="965" y="305"/>
                </a:lnTo>
                <a:lnTo>
                  <a:pt x="965" y="302"/>
                </a:lnTo>
                <a:lnTo>
                  <a:pt x="961" y="302"/>
                </a:lnTo>
                <a:lnTo>
                  <a:pt x="965" y="298"/>
                </a:lnTo>
                <a:lnTo>
                  <a:pt x="961" y="298"/>
                </a:lnTo>
                <a:lnTo>
                  <a:pt x="958" y="298"/>
                </a:lnTo>
                <a:lnTo>
                  <a:pt x="955" y="298"/>
                </a:lnTo>
                <a:lnTo>
                  <a:pt x="951" y="298"/>
                </a:lnTo>
                <a:lnTo>
                  <a:pt x="948" y="298"/>
                </a:lnTo>
                <a:lnTo>
                  <a:pt x="948" y="295"/>
                </a:lnTo>
                <a:lnTo>
                  <a:pt x="944" y="295"/>
                </a:lnTo>
                <a:lnTo>
                  <a:pt x="944" y="291"/>
                </a:lnTo>
                <a:lnTo>
                  <a:pt x="948" y="291"/>
                </a:lnTo>
                <a:lnTo>
                  <a:pt x="944" y="288"/>
                </a:lnTo>
                <a:lnTo>
                  <a:pt x="948" y="288"/>
                </a:lnTo>
                <a:lnTo>
                  <a:pt x="948" y="285"/>
                </a:lnTo>
                <a:lnTo>
                  <a:pt x="951" y="285"/>
                </a:lnTo>
                <a:lnTo>
                  <a:pt x="951" y="281"/>
                </a:lnTo>
                <a:lnTo>
                  <a:pt x="955" y="281"/>
                </a:lnTo>
                <a:lnTo>
                  <a:pt x="955" y="278"/>
                </a:lnTo>
                <a:lnTo>
                  <a:pt x="958" y="278"/>
                </a:lnTo>
                <a:lnTo>
                  <a:pt x="958" y="274"/>
                </a:lnTo>
                <a:lnTo>
                  <a:pt x="961" y="274"/>
                </a:lnTo>
                <a:lnTo>
                  <a:pt x="961" y="271"/>
                </a:lnTo>
                <a:lnTo>
                  <a:pt x="965" y="267"/>
                </a:lnTo>
                <a:lnTo>
                  <a:pt x="965" y="264"/>
                </a:lnTo>
                <a:lnTo>
                  <a:pt x="968" y="264"/>
                </a:lnTo>
                <a:lnTo>
                  <a:pt x="968" y="260"/>
                </a:lnTo>
                <a:lnTo>
                  <a:pt x="972" y="260"/>
                </a:lnTo>
                <a:lnTo>
                  <a:pt x="972" y="257"/>
                </a:lnTo>
                <a:lnTo>
                  <a:pt x="975" y="253"/>
                </a:lnTo>
                <a:lnTo>
                  <a:pt x="979" y="250"/>
                </a:lnTo>
                <a:lnTo>
                  <a:pt x="982" y="250"/>
                </a:lnTo>
                <a:lnTo>
                  <a:pt x="982" y="246"/>
                </a:lnTo>
                <a:lnTo>
                  <a:pt x="986" y="246"/>
                </a:lnTo>
                <a:lnTo>
                  <a:pt x="986" y="243"/>
                </a:lnTo>
                <a:lnTo>
                  <a:pt x="989" y="246"/>
                </a:lnTo>
                <a:lnTo>
                  <a:pt x="989" y="250"/>
                </a:lnTo>
                <a:lnTo>
                  <a:pt x="993" y="253"/>
                </a:lnTo>
                <a:lnTo>
                  <a:pt x="993" y="257"/>
                </a:lnTo>
                <a:lnTo>
                  <a:pt x="996" y="253"/>
                </a:lnTo>
                <a:lnTo>
                  <a:pt x="1000" y="253"/>
                </a:lnTo>
                <a:lnTo>
                  <a:pt x="1003" y="253"/>
                </a:lnTo>
                <a:lnTo>
                  <a:pt x="1007" y="253"/>
                </a:lnTo>
                <a:lnTo>
                  <a:pt x="1010" y="253"/>
                </a:lnTo>
                <a:lnTo>
                  <a:pt x="1014" y="253"/>
                </a:lnTo>
                <a:lnTo>
                  <a:pt x="1017" y="253"/>
                </a:lnTo>
                <a:lnTo>
                  <a:pt x="1021" y="253"/>
                </a:lnTo>
                <a:lnTo>
                  <a:pt x="1021" y="257"/>
                </a:lnTo>
                <a:lnTo>
                  <a:pt x="1024" y="257"/>
                </a:lnTo>
                <a:lnTo>
                  <a:pt x="1027" y="257"/>
                </a:lnTo>
                <a:lnTo>
                  <a:pt x="1031" y="257"/>
                </a:lnTo>
                <a:lnTo>
                  <a:pt x="1034" y="257"/>
                </a:lnTo>
                <a:lnTo>
                  <a:pt x="1038" y="257"/>
                </a:lnTo>
                <a:lnTo>
                  <a:pt x="1041" y="253"/>
                </a:lnTo>
                <a:lnTo>
                  <a:pt x="1045" y="250"/>
                </a:lnTo>
                <a:lnTo>
                  <a:pt x="1045" y="253"/>
                </a:lnTo>
                <a:lnTo>
                  <a:pt x="1048" y="253"/>
                </a:lnTo>
                <a:lnTo>
                  <a:pt x="1055" y="253"/>
                </a:lnTo>
                <a:lnTo>
                  <a:pt x="1059" y="253"/>
                </a:lnTo>
                <a:lnTo>
                  <a:pt x="1062" y="253"/>
                </a:lnTo>
                <a:lnTo>
                  <a:pt x="1062" y="250"/>
                </a:lnTo>
                <a:lnTo>
                  <a:pt x="1066" y="250"/>
                </a:lnTo>
                <a:lnTo>
                  <a:pt x="1069" y="250"/>
                </a:lnTo>
                <a:lnTo>
                  <a:pt x="1073" y="250"/>
                </a:lnTo>
                <a:lnTo>
                  <a:pt x="1076" y="246"/>
                </a:lnTo>
                <a:lnTo>
                  <a:pt x="1080" y="250"/>
                </a:lnTo>
                <a:lnTo>
                  <a:pt x="1083" y="246"/>
                </a:lnTo>
                <a:lnTo>
                  <a:pt x="1086" y="243"/>
                </a:lnTo>
                <a:lnTo>
                  <a:pt x="1086" y="239"/>
                </a:lnTo>
                <a:lnTo>
                  <a:pt x="1090" y="239"/>
                </a:lnTo>
                <a:lnTo>
                  <a:pt x="1093" y="236"/>
                </a:lnTo>
                <a:lnTo>
                  <a:pt x="1093" y="232"/>
                </a:lnTo>
                <a:lnTo>
                  <a:pt x="1093" y="229"/>
                </a:lnTo>
                <a:lnTo>
                  <a:pt x="1093" y="225"/>
                </a:lnTo>
                <a:lnTo>
                  <a:pt x="1093" y="222"/>
                </a:lnTo>
                <a:lnTo>
                  <a:pt x="1093" y="219"/>
                </a:lnTo>
                <a:lnTo>
                  <a:pt x="1093" y="215"/>
                </a:lnTo>
                <a:lnTo>
                  <a:pt x="1093" y="212"/>
                </a:lnTo>
                <a:lnTo>
                  <a:pt x="1097" y="208"/>
                </a:lnTo>
                <a:lnTo>
                  <a:pt x="1097" y="205"/>
                </a:lnTo>
                <a:lnTo>
                  <a:pt x="1093" y="205"/>
                </a:lnTo>
                <a:lnTo>
                  <a:pt x="1093" y="201"/>
                </a:lnTo>
                <a:lnTo>
                  <a:pt x="1097" y="201"/>
                </a:lnTo>
                <a:lnTo>
                  <a:pt x="1097" y="198"/>
                </a:lnTo>
                <a:lnTo>
                  <a:pt x="1100" y="194"/>
                </a:lnTo>
                <a:lnTo>
                  <a:pt x="1104" y="191"/>
                </a:lnTo>
                <a:lnTo>
                  <a:pt x="1104" y="187"/>
                </a:lnTo>
                <a:lnTo>
                  <a:pt x="1104" y="184"/>
                </a:lnTo>
                <a:lnTo>
                  <a:pt x="1107" y="184"/>
                </a:lnTo>
                <a:lnTo>
                  <a:pt x="1107" y="180"/>
                </a:lnTo>
                <a:lnTo>
                  <a:pt x="1107" y="177"/>
                </a:lnTo>
                <a:lnTo>
                  <a:pt x="1107" y="173"/>
                </a:lnTo>
                <a:lnTo>
                  <a:pt x="1111" y="177"/>
                </a:lnTo>
                <a:lnTo>
                  <a:pt x="1114" y="177"/>
                </a:lnTo>
                <a:lnTo>
                  <a:pt x="1114" y="173"/>
                </a:lnTo>
                <a:lnTo>
                  <a:pt x="1118" y="173"/>
                </a:lnTo>
                <a:lnTo>
                  <a:pt x="1121" y="173"/>
                </a:lnTo>
                <a:lnTo>
                  <a:pt x="1125" y="173"/>
                </a:lnTo>
                <a:lnTo>
                  <a:pt x="1125" y="177"/>
                </a:lnTo>
                <a:lnTo>
                  <a:pt x="1128" y="177"/>
                </a:lnTo>
                <a:lnTo>
                  <a:pt x="1128" y="173"/>
                </a:lnTo>
                <a:lnTo>
                  <a:pt x="1128" y="170"/>
                </a:lnTo>
                <a:lnTo>
                  <a:pt x="1125" y="170"/>
                </a:lnTo>
                <a:lnTo>
                  <a:pt x="1128" y="166"/>
                </a:lnTo>
                <a:lnTo>
                  <a:pt x="1128" y="163"/>
                </a:lnTo>
                <a:lnTo>
                  <a:pt x="1128" y="159"/>
                </a:lnTo>
                <a:lnTo>
                  <a:pt x="1132" y="159"/>
                </a:lnTo>
                <a:lnTo>
                  <a:pt x="1132" y="163"/>
                </a:lnTo>
                <a:lnTo>
                  <a:pt x="1135" y="163"/>
                </a:lnTo>
                <a:lnTo>
                  <a:pt x="1135" y="166"/>
                </a:lnTo>
                <a:lnTo>
                  <a:pt x="1139" y="166"/>
                </a:lnTo>
                <a:lnTo>
                  <a:pt x="1139" y="163"/>
                </a:lnTo>
                <a:lnTo>
                  <a:pt x="1139" y="166"/>
                </a:lnTo>
                <a:lnTo>
                  <a:pt x="1142" y="166"/>
                </a:lnTo>
                <a:lnTo>
                  <a:pt x="1142" y="170"/>
                </a:lnTo>
                <a:lnTo>
                  <a:pt x="1145" y="170"/>
                </a:lnTo>
                <a:lnTo>
                  <a:pt x="1145" y="173"/>
                </a:lnTo>
                <a:lnTo>
                  <a:pt x="1149" y="173"/>
                </a:lnTo>
                <a:lnTo>
                  <a:pt x="1152" y="173"/>
                </a:lnTo>
                <a:lnTo>
                  <a:pt x="1152" y="170"/>
                </a:lnTo>
                <a:lnTo>
                  <a:pt x="1156" y="170"/>
                </a:lnTo>
                <a:lnTo>
                  <a:pt x="1159" y="170"/>
                </a:lnTo>
                <a:lnTo>
                  <a:pt x="1163" y="173"/>
                </a:lnTo>
                <a:lnTo>
                  <a:pt x="1163" y="170"/>
                </a:lnTo>
                <a:lnTo>
                  <a:pt x="1166" y="170"/>
                </a:lnTo>
                <a:lnTo>
                  <a:pt x="1170" y="170"/>
                </a:lnTo>
                <a:lnTo>
                  <a:pt x="1173" y="166"/>
                </a:lnTo>
                <a:lnTo>
                  <a:pt x="1177" y="166"/>
                </a:lnTo>
                <a:lnTo>
                  <a:pt x="1180" y="166"/>
                </a:lnTo>
                <a:lnTo>
                  <a:pt x="1187" y="166"/>
                </a:lnTo>
                <a:lnTo>
                  <a:pt x="1191" y="166"/>
                </a:lnTo>
                <a:lnTo>
                  <a:pt x="1194" y="166"/>
                </a:lnTo>
                <a:lnTo>
                  <a:pt x="1198" y="166"/>
                </a:lnTo>
                <a:lnTo>
                  <a:pt x="1201" y="166"/>
                </a:lnTo>
                <a:lnTo>
                  <a:pt x="1205" y="166"/>
                </a:lnTo>
                <a:lnTo>
                  <a:pt x="1208" y="166"/>
                </a:lnTo>
                <a:lnTo>
                  <a:pt x="1211" y="166"/>
                </a:lnTo>
                <a:lnTo>
                  <a:pt x="1215" y="166"/>
                </a:lnTo>
                <a:lnTo>
                  <a:pt x="1218" y="166"/>
                </a:lnTo>
                <a:lnTo>
                  <a:pt x="1222" y="166"/>
                </a:lnTo>
                <a:lnTo>
                  <a:pt x="1225" y="166"/>
                </a:lnTo>
                <a:lnTo>
                  <a:pt x="1229" y="166"/>
                </a:lnTo>
                <a:lnTo>
                  <a:pt x="1232" y="166"/>
                </a:lnTo>
                <a:lnTo>
                  <a:pt x="1232" y="163"/>
                </a:lnTo>
                <a:lnTo>
                  <a:pt x="1236" y="163"/>
                </a:lnTo>
                <a:lnTo>
                  <a:pt x="1239" y="166"/>
                </a:lnTo>
                <a:lnTo>
                  <a:pt x="1243" y="166"/>
                </a:lnTo>
                <a:lnTo>
                  <a:pt x="1250" y="170"/>
                </a:lnTo>
                <a:lnTo>
                  <a:pt x="1257" y="170"/>
                </a:lnTo>
                <a:lnTo>
                  <a:pt x="1260" y="170"/>
                </a:lnTo>
                <a:lnTo>
                  <a:pt x="1264" y="170"/>
                </a:lnTo>
                <a:lnTo>
                  <a:pt x="1267" y="170"/>
                </a:lnTo>
                <a:lnTo>
                  <a:pt x="1270" y="170"/>
                </a:lnTo>
                <a:lnTo>
                  <a:pt x="1270" y="173"/>
                </a:lnTo>
                <a:lnTo>
                  <a:pt x="1274" y="173"/>
                </a:lnTo>
                <a:lnTo>
                  <a:pt x="1277" y="173"/>
                </a:lnTo>
                <a:lnTo>
                  <a:pt x="1281" y="173"/>
                </a:lnTo>
                <a:lnTo>
                  <a:pt x="1284" y="173"/>
                </a:lnTo>
                <a:lnTo>
                  <a:pt x="1284" y="170"/>
                </a:lnTo>
                <a:lnTo>
                  <a:pt x="1288" y="170"/>
                </a:lnTo>
                <a:lnTo>
                  <a:pt x="1288" y="166"/>
                </a:lnTo>
                <a:lnTo>
                  <a:pt x="1288" y="163"/>
                </a:lnTo>
                <a:lnTo>
                  <a:pt x="1288" y="159"/>
                </a:lnTo>
                <a:lnTo>
                  <a:pt x="1288" y="156"/>
                </a:lnTo>
                <a:lnTo>
                  <a:pt x="1291" y="153"/>
                </a:lnTo>
                <a:lnTo>
                  <a:pt x="1295" y="153"/>
                </a:lnTo>
                <a:lnTo>
                  <a:pt x="1298" y="153"/>
                </a:lnTo>
                <a:lnTo>
                  <a:pt x="1302" y="153"/>
                </a:lnTo>
                <a:lnTo>
                  <a:pt x="1305" y="149"/>
                </a:lnTo>
                <a:lnTo>
                  <a:pt x="1309" y="149"/>
                </a:lnTo>
                <a:lnTo>
                  <a:pt x="1312" y="149"/>
                </a:lnTo>
                <a:lnTo>
                  <a:pt x="1316" y="146"/>
                </a:lnTo>
                <a:lnTo>
                  <a:pt x="1319" y="146"/>
                </a:lnTo>
                <a:lnTo>
                  <a:pt x="1323" y="146"/>
                </a:lnTo>
                <a:lnTo>
                  <a:pt x="1326" y="146"/>
                </a:lnTo>
                <a:lnTo>
                  <a:pt x="1330" y="142"/>
                </a:lnTo>
                <a:lnTo>
                  <a:pt x="1333" y="139"/>
                </a:lnTo>
                <a:lnTo>
                  <a:pt x="1336" y="139"/>
                </a:lnTo>
                <a:lnTo>
                  <a:pt x="1340" y="139"/>
                </a:lnTo>
                <a:lnTo>
                  <a:pt x="1343" y="139"/>
                </a:lnTo>
                <a:lnTo>
                  <a:pt x="1347" y="142"/>
                </a:lnTo>
                <a:lnTo>
                  <a:pt x="1350" y="139"/>
                </a:lnTo>
                <a:lnTo>
                  <a:pt x="1354" y="139"/>
                </a:lnTo>
                <a:lnTo>
                  <a:pt x="1357" y="139"/>
                </a:lnTo>
                <a:lnTo>
                  <a:pt x="1364" y="139"/>
                </a:lnTo>
                <a:lnTo>
                  <a:pt x="1364" y="135"/>
                </a:lnTo>
                <a:lnTo>
                  <a:pt x="1371" y="135"/>
                </a:lnTo>
                <a:lnTo>
                  <a:pt x="1375" y="135"/>
                </a:lnTo>
                <a:lnTo>
                  <a:pt x="1378" y="139"/>
                </a:lnTo>
                <a:lnTo>
                  <a:pt x="1382" y="139"/>
                </a:lnTo>
                <a:lnTo>
                  <a:pt x="1382" y="135"/>
                </a:lnTo>
                <a:lnTo>
                  <a:pt x="1385" y="135"/>
                </a:lnTo>
                <a:lnTo>
                  <a:pt x="1385" y="132"/>
                </a:lnTo>
                <a:lnTo>
                  <a:pt x="1389" y="132"/>
                </a:lnTo>
                <a:lnTo>
                  <a:pt x="1392" y="132"/>
                </a:lnTo>
                <a:lnTo>
                  <a:pt x="1395" y="132"/>
                </a:lnTo>
                <a:lnTo>
                  <a:pt x="1399" y="132"/>
                </a:lnTo>
                <a:lnTo>
                  <a:pt x="1399" y="128"/>
                </a:lnTo>
                <a:lnTo>
                  <a:pt x="1402" y="128"/>
                </a:lnTo>
                <a:lnTo>
                  <a:pt x="1406" y="128"/>
                </a:lnTo>
                <a:lnTo>
                  <a:pt x="1406" y="132"/>
                </a:lnTo>
                <a:lnTo>
                  <a:pt x="1409" y="132"/>
                </a:lnTo>
                <a:lnTo>
                  <a:pt x="1409" y="135"/>
                </a:lnTo>
                <a:lnTo>
                  <a:pt x="1409" y="139"/>
                </a:lnTo>
                <a:lnTo>
                  <a:pt x="1413" y="142"/>
                </a:lnTo>
                <a:lnTo>
                  <a:pt x="1416" y="142"/>
                </a:lnTo>
                <a:lnTo>
                  <a:pt x="1420" y="142"/>
                </a:lnTo>
                <a:lnTo>
                  <a:pt x="1420" y="139"/>
                </a:lnTo>
                <a:lnTo>
                  <a:pt x="1423" y="139"/>
                </a:lnTo>
                <a:lnTo>
                  <a:pt x="1423" y="135"/>
                </a:lnTo>
                <a:lnTo>
                  <a:pt x="1427" y="135"/>
                </a:lnTo>
                <a:lnTo>
                  <a:pt x="1430" y="135"/>
                </a:lnTo>
                <a:lnTo>
                  <a:pt x="1434" y="139"/>
                </a:lnTo>
                <a:lnTo>
                  <a:pt x="1437" y="139"/>
                </a:lnTo>
                <a:lnTo>
                  <a:pt x="1437" y="135"/>
                </a:lnTo>
                <a:lnTo>
                  <a:pt x="1441" y="135"/>
                </a:lnTo>
                <a:lnTo>
                  <a:pt x="1444" y="135"/>
                </a:lnTo>
                <a:lnTo>
                  <a:pt x="1448" y="139"/>
                </a:lnTo>
                <a:lnTo>
                  <a:pt x="1451" y="139"/>
                </a:lnTo>
                <a:lnTo>
                  <a:pt x="1455" y="139"/>
                </a:lnTo>
                <a:lnTo>
                  <a:pt x="1455" y="142"/>
                </a:lnTo>
                <a:lnTo>
                  <a:pt x="1458" y="142"/>
                </a:lnTo>
                <a:lnTo>
                  <a:pt x="1461" y="142"/>
                </a:lnTo>
                <a:lnTo>
                  <a:pt x="1465" y="142"/>
                </a:lnTo>
                <a:lnTo>
                  <a:pt x="1468" y="142"/>
                </a:lnTo>
                <a:lnTo>
                  <a:pt x="1472" y="142"/>
                </a:lnTo>
                <a:lnTo>
                  <a:pt x="1479" y="142"/>
                </a:lnTo>
                <a:lnTo>
                  <a:pt x="1482" y="142"/>
                </a:lnTo>
                <a:lnTo>
                  <a:pt x="1486" y="142"/>
                </a:lnTo>
                <a:lnTo>
                  <a:pt x="1486" y="146"/>
                </a:lnTo>
                <a:lnTo>
                  <a:pt x="1489" y="146"/>
                </a:lnTo>
                <a:lnTo>
                  <a:pt x="1493" y="149"/>
                </a:lnTo>
                <a:lnTo>
                  <a:pt x="1496" y="149"/>
                </a:lnTo>
                <a:lnTo>
                  <a:pt x="1500" y="149"/>
                </a:lnTo>
                <a:lnTo>
                  <a:pt x="1503" y="146"/>
                </a:lnTo>
                <a:lnTo>
                  <a:pt x="1507" y="146"/>
                </a:lnTo>
                <a:lnTo>
                  <a:pt x="1510" y="146"/>
                </a:lnTo>
                <a:lnTo>
                  <a:pt x="1510" y="142"/>
                </a:lnTo>
                <a:lnTo>
                  <a:pt x="1514" y="142"/>
                </a:lnTo>
                <a:lnTo>
                  <a:pt x="1517" y="139"/>
                </a:lnTo>
                <a:lnTo>
                  <a:pt x="1524" y="139"/>
                </a:lnTo>
                <a:lnTo>
                  <a:pt x="1527" y="139"/>
                </a:lnTo>
                <a:lnTo>
                  <a:pt x="1531" y="139"/>
                </a:lnTo>
                <a:lnTo>
                  <a:pt x="1531" y="142"/>
                </a:lnTo>
                <a:lnTo>
                  <a:pt x="1531" y="146"/>
                </a:lnTo>
                <a:lnTo>
                  <a:pt x="1531" y="149"/>
                </a:lnTo>
                <a:lnTo>
                  <a:pt x="1527" y="153"/>
                </a:lnTo>
                <a:lnTo>
                  <a:pt x="1531" y="149"/>
                </a:lnTo>
                <a:lnTo>
                  <a:pt x="1534" y="149"/>
                </a:lnTo>
                <a:lnTo>
                  <a:pt x="1538" y="149"/>
                </a:lnTo>
                <a:lnTo>
                  <a:pt x="1541" y="149"/>
                </a:lnTo>
                <a:lnTo>
                  <a:pt x="1545" y="149"/>
                </a:lnTo>
                <a:lnTo>
                  <a:pt x="1548" y="146"/>
                </a:lnTo>
                <a:lnTo>
                  <a:pt x="1548" y="142"/>
                </a:lnTo>
                <a:lnTo>
                  <a:pt x="1552" y="142"/>
                </a:lnTo>
                <a:lnTo>
                  <a:pt x="1552" y="139"/>
                </a:lnTo>
                <a:lnTo>
                  <a:pt x="1548" y="139"/>
                </a:lnTo>
                <a:lnTo>
                  <a:pt x="1548" y="132"/>
                </a:lnTo>
                <a:lnTo>
                  <a:pt x="1548" y="128"/>
                </a:lnTo>
                <a:lnTo>
                  <a:pt x="1545" y="121"/>
                </a:lnTo>
                <a:lnTo>
                  <a:pt x="1545" y="118"/>
                </a:lnTo>
                <a:lnTo>
                  <a:pt x="1545" y="114"/>
                </a:lnTo>
                <a:lnTo>
                  <a:pt x="1545" y="111"/>
                </a:lnTo>
                <a:lnTo>
                  <a:pt x="1545" y="107"/>
                </a:lnTo>
                <a:lnTo>
                  <a:pt x="1541" y="100"/>
                </a:lnTo>
                <a:lnTo>
                  <a:pt x="1534" y="94"/>
                </a:lnTo>
                <a:lnTo>
                  <a:pt x="1534" y="90"/>
                </a:lnTo>
                <a:lnTo>
                  <a:pt x="1534" y="87"/>
                </a:lnTo>
                <a:lnTo>
                  <a:pt x="1531" y="83"/>
                </a:lnTo>
                <a:lnTo>
                  <a:pt x="1531" y="80"/>
                </a:lnTo>
                <a:lnTo>
                  <a:pt x="1531" y="76"/>
                </a:lnTo>
                <a:lnTo>
                  <a:pt x="1527" y="76"/>
                </a:lnTo>
                <a:lnTo>
                  <a:pt x="1524" y="73"/>
                </a:lnTo>
                <a:lnTo>
                  <a:pt x="1524" y="69"/>
                </a:lnTo>
                <a:lnTo>
                  <a:pt x="1520" y="66"/>
                </a:lnTo>
                <a:lnTo>
                  <a:pt x="1520" y="62"/>
                </a:lnTo>
                <a:lnTo>
                  <a:pt x="1520" y="59"/>
                </a:lnTo>
                <a:lnTo>
                  <a:pt x="1517" y="55"/>
                </a:lnTo>
                <a:lnTo>
                  <a:pt x="1517" y="52"/>
                </a:lnTo>
                <a:lnTo>
                  <a:pt x="1517" y="45"/>
                </a:lnTo>
                <a:lnTo>
                  <a:pt x="1520" y="45"/>
                </a:lnTo>
                <a:lnTo>
                  <a:pt x="1524" y="45"/>
                </a:lnTo>
                <a:lnTo>
                  <a:pt x="1527" y="45"/>
                </a:lnTo>
                <a:lnTo>
                  <a:pt x="1531" y="45"/>
                </a:lnTo>
                <a:lnTo>
                  <a:pt x="1534" y="45"/>
                </a:lnTo>
                <a:lnTo>
                  <a:pt x="1534" y="41"/>
                </a:lnTo>
                <a:lnTo>
                  <a:pt x="1538" y="38"/>
                </a:lnTo>
                <a:lnTo>
                  <a:pt x="1541" y="38"/>
                </a:lnTo>
                <a:lnTo>
                  <a:pt x="1541" y="34"/>
                </a:lnTo>
                <a:lnTo>
                  <a:pt x="1545" y="38"/>
                </a:lnTo>
                <a:lnTo>
                  <a:pt x="1548" y="38"/>
                </a:lnTo>
                <a:lnTo>
                  <a:pt x="1548" y="34"/>
                </a:lnTo>
                <a:lnTo>
                  <a:pt x="1552" y="34"/>
                </a:lnTo>
                <a:lnTo>
                  <a:pt x="1555" y="31"/>
                </a:lnTo>
                <a:lnTo>
                  <a:pt x="1559" y="28"/>
                </a:lnTo>
                <a:lnTo>
                  <a:pt x="1562" y="24"/>
                </a:lnTo>
                <a:lnTo>
                  <a:pt x="1566" y="21"/>
                </a:lnTo>
                <a:lnTo>
                  <a:pt x="1569" y="17"/>
                </a:lnTo>
                <a:lnTo>
                  <a:pt x="1573" y="10"/>
                </a:lnTo>
                <a:lnTo>
                  <a:pt x="1576" y="3"/>
                </a:lnTo>
                <a:lnTo>
                  <a:pt x="1580" y="3"/>
                </a:lnTo>
                <a:lnTo>
                  <a:pt x="1580" y="0"/>
                </a:lnTo>
                <a:lnTo>
                  <a:pt x="1583" y="0"/>
                </a:lnTo>
                <a:lnTo>
                  <a:pt x="1586" y="0"/>
                </a:lnTo>
                <a:lnTo>
                  <a:pt x="1590" y="3"/>
                </a:lnTo>
                <a:lnTo>
                  <a:pt x="1590" y="7"/>
                </a:lnTo>
                <a:lnTo>
                  <a:pt x="1593" y="10"/>
                </a:lnTo>
                <a:lnTo>
                  <a:pt x="1590" y="14"/>
                </a:lnTo>
                <a:lnTo>
                  <a:pt x="1586" y="21"/>
                </a:lnTo>
                <a:lnTo>
                  <a:pt x="1586" y="24"/>
                </a:lnTo>
                <a:lnTo>
                  <a:pt x="1583" y="24"/>
                </a:lnTo>
                <a:lnTo>
                  <a:pt x="1583" y="28"/>
                </a:lnTo>
                <a:lnTo>
                  <a:pt x="1583" y="31"/>
                </a:lnTo>
                <a:lnTo>
                  <a:pt x="1580" y="31"/>
                </a:lnTo>
                <a:lnTo>
                  <a:pt x="1580" y="34"/>
                </a:lnTo>
                <a:lnTo>
                  <a:pt x="1576" y="38"/>
                </a:lnTo>
                <a:lnTo>
                  <a:pt x="1576" y="41"/>
                </a:lnTo>
                <a:lnTo>
                  <a:pt x="1576" y="45"/>
                </a:lnTo>
                <a:lnTo>
                  <a:pt x="1576" y="48"/>
                </a:lnTo>
                <a:lnTo>
                  <a:pt x="1573" y="52"/>
                </a:lnTo>
                <a:lnTo>
                  <a:pt x="1576" y="55"/>
                </a:lnTo>
                <a:lnTo>
                  <a:pt x="1580" y="59"/>
                </a:lnTo>
                <a:lnTo>
                  <a:pt x="1580" y="62"/>
                </a:lnTo>
                <a:lnTo>
                  <a:pt x="1583" y="62"/>
                </a:lnTo>
                <a:lnTo>
                  <a:pt x="1586" y="69"/>
                </a:lnTo>
                <a:lnTo>
                  <a:pt x="1590" y="69"/>
                </a:lnTo>
                <a:lnTo>
                  <a:pt x="1593" y="66"/>
                </a:lnTo>
                <a:lnTo>
                  <a:pt x="1597" y="62"/>
                </a:lnTo>
                <a:lnTo>
                  <a:pt x="1600" y="59"/>
                </a:lnTo>
                <a:lnTo>
                  <a:pt x="1604" y="59"/>
                </a:lnTo>
                <a:lnTo>
                  <a:pt x="1604" y="55"/>
                </a:lnTo>
                <a:lnTo>
                  <a:pt x="1607" y="55"/>
                </a:lnTo>
                <a:lnTo>
                  <a:pt x="1611" y="55"/>
                </a:lnTo>
                <a:lnTo>
                  <a:pt x="1614" y="55"/>
                </a:lnTo>
                <a:lnTo>
                  <a:pt x="1618" y="55"/>
                </a:lnTo>
                <a:lnTo>
                  <a:pt x="1621" y="55"/>
                </a:lnTo>
                <a:lnTo>
                  <a:pt x="1625" y="52"/>
                </a:lnTo>
                <a:lnTo>
                  <a:pt x="1628" y="52"/>
                </a:lnTo>
                <a:lnTo>
                  <a:pt x="1635" y="52"/>
                </a:lnTo>
                <a:lnTo>
                  <a:pt x="1639" y="52"/>
                </a:lnTo>
                <a:lnTo>
                  <a:pt x="1639" y="48"/>
                </a:lnTo>
                <a:lnTo>
                  <a:pt x="1642" y="48"/>
                </a:lnTo>
                <a:lnTo>
                  <a:pt x="1645" y="48"/>
                </a:lnTo>
                <a:lnTo>
                  <a:pt x="1645" y="52"/>
                </a:lnTo>
                <a:lnTo>
                  <a:pt x="1649" y="55"/>
                </a:lnTo>
                <a:lnTo>
                  <a:pt x="1652" y="55"/>
                </a:lnTo>
                <a:lnTo>
                  <a:pt x="1656" y="55"/>
                </a:lnTo>
                <a:lnTo>
                  <a:pt x="1659" y="55"/>
                </a:lnTo>
                <a:lnTo>
                  <a:pt x="1663" y="59"/>
                </a:lnTo>
                <a:lnTo>
                  <a:pt x="1663" y="62"/>
                </a:lnTo>
                <a:lnTo>
                  <a:pt x="1666" y="62"/>
                </a:lnTo>
                <a:lnTo>
                  <a:pt x="1670" y="62"/>
                </a:lnTo>
                <a:lnTo>
                  <a:pt x="1673" y="62"/>
                </a:lnTo>
                <a:lnTo>
                  <a:pt x="1673" y="59"/>
                </a:lnTo>
                <a:lnTo>
                  <a:pt x="1677" y="59"/>
                </a:lnTo>
                <a:lnTo>
                  <a:pt x="1680" y="59"/>
                </a:lnTo>
                <a:lnTo>
                  <a:pt x="1684" y="59"/>
                </a:lnTo>
                <a:lnTo>
                  <a:pt x="1687" y="55"/>
                </a:lnTo>
                <a:lnTo>
                  <a:pt x="1691" y="55"/>
                </a:lnTo>
                <a:lnTo>
                  <a:pt x="1694" y="52"/>
                </a:lnTo>
                <a:lnTo>
                  <a:pt x="1698" y="52"/>
                </a:lnTo>
                <a:lnTo>
                  <a:pt x="1701" y="52"/>
                </a:lnTo>
                <a:lnTo>
                  <a:pt x="1704" y="52"/>
                </a:lnTo>
                <a:lnTo>
                  <a:pt x="1711" y="48"/>
                </a:lnTo>
                <a:lnTo>
                  <a:pt x="1715" y="52"/>
                </a:lnTo>
                <a:lnTo>
                  <a:pt x="1718" y="52"/>
                </a:lnTo>
                <a:lnTo>
                  <a:pt x="1722" y="52"/>
                </a:lnTo>
                <a:lnTo>
                  <a:pt x="1722" y="55"/>
                </a:lnTo>
                <a:lnTo>
                  <a:pt x="1722" y="59"/>
                </a:lnTo>
                <a:lnTo>
                  <a:pt x="1722" y="62"/>
                </a:lnTo>
                <a:lnTo>
                  <a:pt x="1722" y="66"/>
                </a:lnTo>
                <a:lnTo>
                  <a:pt x="1718" y="66"/>
                </a:lnTo>
                <a:lnTo>
                  <a:pt x="1722" y="69"/>
                </a:lnTo>
                <a:lnTo>
                  <a:pt x="1718" y="73"/>
                </a:lnTo>
                <a:lnTo>
                  <a:pt x="1722" y="73"/>
                </a:lnTo>
                <a:lnTo>
                  <a:pt x="1725" y="76"/>
                </a:lnTo>
                <a:lnTo>
                  <a:pt x="1722" y="76"/>
                </a:lnTo>
                <a:lnTo>
                  <a:pt x="1725" y="76"/>
                </a:lnTo>
                <a:lnTo>
                  <a:pt x="1725" y="80"/>
                </a:lnTo>
                <a:lnTo>
                  <a:pt x="1729" y="80"/>
                </a:lnTo>
                <a:lnTo>
                  <a:pt x="1729" y="83"/>
                </a:lnTo>
                <a:lnTo>
                  <a:pt x="1732" y="87"/>
                </a:lnTo>
                <a:lnTo>
                  <a:pt x="1736" y="90"/>
                </a:lnTo>
                <a:lnTo>
                  <a:pt x="1736" y="94"/>
                </a:lnTo>
                <a:lnTo>
                  <a:pt x="1739" y="97"/>
                </a:lnTo>
                <a:lnTo>
                  <a:pt x="1739" y="100"/>
                </a:lnTo>
                <a:lnTo>
                  <a:pt x="1743" y="100"/>
                </a:lnTo>
                <a:lnTo>
                  <a:pt x="1743" y="104"/>
                </a:lnTo>
                <a:lnTo>
                  <a:pt x="1746" y="104"/>
                </a:lnTo>
                <a:lnTo>
                  <a:pt x="1746" y="107"/>
                </a:lnTo>
                <a:lnTo>
                  <a:pt x="1750" y="107"/>
                </a:lnTo>
                <a:lnTo>
                  <a:pt x="1757" y="111"/>
                </a:lnTo>
                <a:lnTo>
                  <a:pt x="1760" y="114"/>
                </a:lnTo>
                <a:lnTo>
                  <a:pt x="1757" y="118"/>
                </a:lnTo>
                <a:lnTo>
                  <a:pt x="1764" y="125"/>
                </a:lnTo>
                <a:lnTo>
                  <a:pt x="1764" y="128"/>
                </a:lnTo>
                <a:lnTo>
                  <a:pt x="1767" y="128"/>
                </a:lnTo>
                <a:lnTo>
                  <a:pt x="1770" y="128"/>
                </a:lnTo>
                <a:lnTo>
                  <a:pt x="1774" y="128"/>
                </a:lnTo>
                <a:lnTo>
                  <a:pt x="1774" y="125"/>
                </a:lnTo>
                <a:lnTo>
                  <a:pt x="1781" y="121"/>
                </a:lnTo>
                <a:lnTo>
                  <a:pt x="1788" y="118"/>
                </a:lnTo>
                <a:lnTo>
                  <a:pt x="1791" y="114"/>
                </a:lnTo>
                <a:lnTo>
                  <a:pt x="1795" y="114"/>
                </a:lnTo>
                <a:lnTo>
                  <a:pt x="1798" y="114"/>
                </a:lnTo>
                <a:lnTo>
                  <a:pt x="1809" y="118"/>
                </a:lnTo>
                <a:lnTo>
                  <a:pt x="1816" y="118"/>
                </a:lnTo>
                <a:lnTo>
                  <a:pt x="1819" y="118"/>
                </a:lnTo>
                <a:close/>
              </a:path>
            </a:pathLst>
          </a:custGeom>
          <a:solidFill>
            <a:srgbClr val="E6E6E6"/>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grpSp>
        <p:nvGrpSpPr>
          <p:cNvPr id="291" name="Group 290">
            <a:extLst>
              <a:ext uri="{FF2B5EF4-FFF2-40B4-BE49-F238E27FC236}">
                <a16:creationId xmlns:a16="http://schemas.microsoft.com/office/drawing/2014/main" id="{DDE5F116-1270-42D9-97EC-D37CDDF4B6B4}"/>
              </a:ext>
            </a:extLst>
          </p:cNvPr>
          <p:cNvGrpSpPr/>
          <p:nvPr/>
        </p:nvGrpSpPr>
        <p:grpSpPr bwMode="gray">
          <a:xfrm>
            <a:off x="1776381" y="1548563"/>
            <a:ext cx="8846907" cy="4279859"/>
            <a:chOff x="1088231" y="1762125"/>
            <a:chExt cx="8805863" cy="4033838"/>
          </a:xfrm>
        </p:grpSpPr>
        <p:grpSp>
          <p:nvGrpSpPr>
            <p:cNvPr id="297" name="Group 296">
              <a:extLst>
                <a:ext uri="{FF2B5EF4-FFF2-40B4-BE49-F238E27FC236}">
                  <a16:creationId xmlns:a16="http://schemas.microsoft.com/office/drawing/2014/main" id="{D310B6D2-E98E-4EBA-B875-4F59AAD34CE9}"/>
                </a:ext>
              </a:extLst>
            </p:cNvPr>
            <p:cNvGrpSpPr/>
            <p:nvPr/>
          </p:nvGrpSpPr>
          <p:grpSpPr bwMode="gray">
            <a:xfrm>
              <a:off x="4648200" y="3330575"/>
              <a:ext cx="765175" cy="1530682"/>
              <a:chOff x="4648200" y="3330575"/>
              <a:chExt cx="765175" cy="1530682"/>
            </a:xfrm>
          </p:grpSpPr>
          <p:sp>
            <p:nvSpPr>
              <p:cNvPr id="641" name="Freeform: Shape 640">
                <a:extLst>
                  <a:ext uri="{FF2B5EF4-FFF2-40B4-BE49-F238E27FC236}">
                    <a16:creationId xmlns:a16="http://schemas.microsoft.com/office/drawing/2014/main" id="{50F645D1-2966-45AA-9A95-69930C541613}"/>
                  </a:ext>
                </a:extLst>
              </p:cNvPr>
              <p:cNvSpPr/>
              <p:nvPr/>
            </p:nvSpPr>
            <p:spPr bwMode="gray">
              <a:xfrm>
                <a:off x="4648200" y="4368800"/>
                <a:ext cx="247650" cy="60325"/>
              </a:xfrm>
              <a:custGeom>
                <a:avLst/>
                <a:gdLst>
                  <a:gd name="connsiteX0" fmla="*/ 0 w 247650"/>
                  <a:gd name="connsiteY0" fmla="*/ 28575 h 60325"/>
                  <a:gd name="connsiteX1" fmla="*/ 44450 w 247650"/>
                  <a:gd name="connsiteY1" fmla="*/ 0 h 60325"/>
                  <a:gd name="connsiteX2" fmla="*/ 123825 w 247650"/>
                  <a:gd name="connsiteY2" fmla="*/ 19050 h 60325"/>
                  <a:gd name="connsiteX3" fmla="*/ 247650 w 247650"/>
                  <a:gd name="connsiteY3" fmla="*/ 60325 h 60325"/>
                </a:gdLst>
                <a:ahLst/>
                <a:cxnLst>
                  <a:cxn ang="0">
                    <a:pos x="connsiteX0" y="connsiteY0"/>
                  </a:cxn>
                  <a:cxn ang="0">
                    <a:pos x="connsiteX1" y="connsiteY1"/>
                  </a:cxn>
                  <a:cxn ang="0">
                    <a:pos x="connsiteX2" y="connsiteY2"/>
                  </a:cxn>
                  <a:cxn ang="0">
                    <a:pos x="connsiteX3" y="connsiteY3"/>
                  </a:cxn>
                </a:cxnLst>
                <a:rect l="l" t="t" r="r" b="b"/>
                <a:pathLst>
                  <a:path w="247650" h="60325">
                    <a:moveTo>
                      <a:pt x="0" y="28575"/>
                    </a:moveTo>
                    <a:lnTo>
                      <a:pt x="44450" y="0"/>
                    </a:lnTo>
                    <a:lnTo>
                      <a:pt x="123825" y="19050"/>
                    </a:lnTo>
                    <a:lnTo>
                      <a:pt x="247650" y="60325"/>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42" name="Freeform: Shape 641">
                <a:extLst>
                  <a:ext uri="{FF2B5EF4-FFF2-40B4-BE49-F238E27FC236}">
                    <a16:creationId xmlns:a16="http://schemas.microsoft.com/office/drawing/2014/main" id="{A6E63D84-3591-407C-8E6D-040CC886DDA1}"/>
                  </a:ext>
                </a:extLst>
              </p:cNvPr>
              <p:cNvSpPr/>
              <p:nvPr/>
            </p:nvSpPr>
            <p:spPr bwMode="gray">
              <a:xfrm>
                <a:off x="4870450" y="4302125"/>
                <a:ext cx="63500" cy="241300"/>
              </a:xfrm>
              <a:custGeom>
                <a:avLst/>
                <a:gdLst>
                  <a:gd name="connsiteX0" fmla="*/ 63500 w 63500"/>
                  <a:gd name="connsiteY0" fmla="*/ 0 h 241300"/>
                  <a:gd name="connsiteX1" fmla="*/ 12700 w 63500"/>
                  <a:gd name="connsiteY1" fmla="*/ 53975 h 241300"/>
                  <a:gd name="connsiteX2" fmla="*/ 38100 w 63500"/>
                  <a:gd name="connsiteY2" fmla="*/ 107950 h 241300"/>
                  <a:gd name="connsiteX3" fmla="*/ 22225 w 63500"/>
                  <a:gd name="connsiteY3" fmla="*/ 123825 h 241300"/>
                  <a:gd name="connsiteX4" fmla="*/ 28575 w 63500"/>
                  <a:gd name="connsiteY4" fmla="*/ 180975 h 241300"/>
                  <a:gd name="connsiteX5" fmla="*/ 38100 w 63500"/>
                  <a:gd name="connsiteY5" fmla="*/ 209550 h 241300"/>
                  <a:gd name="connsiteX6" fmla="*/ 28575 w 63500"/>
                  <a:gd name="connsiteY6" fmla="*/ 241300 h 241300"/>
                  <a:gd name="connsiteX7" fmla="*/ 0 w 63500"/>
                  <a:gd name="connsiteY7" fmla="*/ 206375 h 241300"/>
                  <a:gd name="connsiteX8" fmla="*/ 28575 w 63500"/>
                  <a:gd name="connsiteY8" fmla="*/ 171450 h 24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00" h="241300">
                    <a:moveTo>
                      <a:pt x="63500" y="0"/>
                    </a:moveTo>
                    <a:lnTo>
                      <a:pt x="12700" y="53975"/>
                    </a:lnTo>
                    <a:lnTo>
                      <a:pt x="38100" y="107950"/>
                    </a:lnTo>
                    <a:lnTo>
                      <a:pt x="22225" y="123825"/>
                    </a:lnTo>
                    <a:lnTo>
                      <a:pt x="28575" y="180975"/>
                    </a:lnTo>
                    <a:lnTo>
                      <a:pt x="38100" y="209550"/>
                    </a:lnTo>
                    <a:lnTo>
                      <a:pt x="28575" y="241300"/>
                    </a:lnTo>
                    <a:lnTo>
                      <a:pt x="0" y="206375"/>
                    </a:lnTo>
                    <a:lnTo>
                      <a:pt x="28575" y="17145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43" name="Freeform: Shape 642">
                <a:extLst>
                  <a:ext uri="{FF2B5EF4-FFF2-40B4-BE49-F238E27FC236}">
                    <a16:creationId xmlns:a16="http://schemas.microsoft.com/office/drawing/2014/main" id="{95F33999-69CC-4B31-8B65-0BE4DD1A22BF}"/>
                  </a:ext>
                </a:extLst>
              </p:cNvPr>
              <p:cNvSpPr/>
              <p:nvPr/>
            </p:nvSpPr>
            <p:spPr bwMode="gray">
              <a:xfrm>
                <a:off x="4794250" y="3711575"/>
                <a:ext cx="587375" cy="854075"/>
              </a:xfrm>
              <a:custGeom>
                <a:avLst/>
                <a:gdLst>
                  <a:gd name="connsiteX0" fmla="*/ 0 w 587375"/>
                  <a:gd name="connsiteY0" fmla="*/ 822325 h 854075"/>
                  <a:gd name="connsiteX1" fmla="*/ 66675 w 587375"/>
                  <a:gd name="connsiteY1" fmla="*/ 854075 h 854075"/>
                  <a:gd name="connsiteX2" fmla="*/ 104775 w 587375"/>
                  <a:gd name="connsiteY2" fmla="*/ 838200 h 854075"/>
                  <a:gd name="connsiteX3" fmla="*/ 165100 w 587375"/>
                  <a:gd name="connsiteY3" fmla="*/ 841375 h 854075"/>
                  <a:gd name="connsiteX4" fmla="*/ 203200 w 587375"/>
                  <a:gd name="connsiteY4" fmla="*/ 822325 h 854075"/>
                  <a:gd name="connsiteX5" fmla="*/ 238125 w 587375"/>
                  <a:gd name="connsiteY5" fmla="*/ 828675 h 854075"/>
                  <a:gd name="connsiteX6" fmla="*/ 269875 w 587375"/>
                  <a:gd name="connsiteY6" fmla="*/ 812800 h 854075"/>
                  <a:gd name="connsiteX7" fmla="*/ 301625 w 587375"/>
                  <a:gd name="connsiteY7" fmla="*/ 819150 h 854075"/>
                  <a:gd name="connsiteX8" fmla="*/ 317500 w 587375"/>
                  <a:gd name="connsiteY8" fmla="*/ 831850 h 854075"/>
                  <a:gd name="connsiteX9" fmla="*/ 374650 w 587375"/>
                  <a:gd name="connsiteY9" fmla="*/ 812800 h 854075"/>
                  <a:gd name="connsiteX10" fmla="*/ 485775 w 587375"/>
                  <a:gd name="connsiteY10" fmla="*/ 787400 h 854075"/>
                  <a:gd name="connsiteX11" fmla="*/ 511175 w 587375"/>
                  <a:gd name="connsiteY11" fmla="*/ 768350 h 854075"/>
                  <a:gd name="connsiteX12" fmla="*/ 514350 w 587375"/>
                  <a:gd name="connsiteY12" fmla="*/ 742950 h 854075"/>
                  <a:gd name="connsiteX13" fmla="*/ 533400 w 587375"/>
                  <a:gd name="connsiteY13" fmla="*/ 774700 h 854075"/>
                  <a:gd name="connsiteX14" fmla="*/ 558800 w 587375"/>
                  <a:gd name="connsiteY14" fmla="*/ 723900 h 854075"/>
                  <a:gd name="connsiteX15" fmla="*/ 577850 w 587375"/>
                  <a:gd name="connsiteY15" fmla="*/ 663575 h 854075"/>
                  <a:gd name="connsiteX16" fmla="*/ 587375 w 587375"/>
                  <a:gd name="connsiteY16" fmla="*/ 638175 h 854075"/>
                  <a:gd name="connsiteX17" fmla="*/ 581025 w 587375"/>
                  <a:gd name="connsiteY17" fmla="*/ 600075 h 854075"/>
                  <a:gd name="connsiteX18" fmla="*/ 555625 w 587375"/>
                  <a:gd name="connsiteY18" fmla="*/ 517525 h 854075"/>
                  <a:gd name="connsiteX19" fmla="*/ 520700 w 587375"/>
                  <a:gd name="connsiteY19" fmla="*/ 454025 h 854075"/>
                  <a:gd name="connsiteX20" fmla="*/ 520700 w 587375"/>
                  <a:gd name="connsiteY20" fmla="*/ 387350 h 854075"/>
                  <a:gd name="connsiteX21" fmla="*/ 549275 w 587375"/>
                  <a:gd name="connsiteY21" fmla="*/ 339725 h 854075"/>
                  <a:gd name="connsiteX22" fmla="*/ 514350 w 587375"/>
                  <a:gd name="connsiteY22" fmla="*/ 244475 h 854075"/>
                  <a:gd name="connsiteX23" fmla="*/ 466725 w 587375"/>
                  <a:gd name="connsiteY23" fmla="*/ 174625 h 854075"/>
                  <a:gd name="connsiteX24" fmla="*/ 434975 w 587375"/>
                  <a:gd name="connsiteY24" fmla="*/ 120650 h 854075"/>
                  <a:gd name="connsiteX25" fmla="*/ 415925 w 587375"/>
                  <a:gd name="connsiteY25" fmla="*/ 98425 h 854075"/>
                  <a:gd name="connsiteX26" fmla="*/ 393700 w 587375"/>
                  <a:gd name="connsiteY26" fmla="*/ 66675 h 854075"/>
                  <a:gd name="connsiteX27" fmla="*/ 393700 w 587375"/>
                  <a:gd name="connsiteY27" fmla="*/ 66675 h 854075"/>
                  <a:gd name="connsiteX28" fmla="*/ 352425 w 587375"/>
                  <a:gd name="connsiteY28" fmla="*/ 25400 h 854075"/>
                  <a:gd name="connsiteX29" fmla="*/ 314325 w 587375"/>
                  <a:gd name="connsiteY29" fmla="*/ 6350 h 854075"/>
                  <a:gd name="connsiteX30" fmla="*/ 279400 w 587375"/>
                  <a:gd name="connsiteY30" fmla="*/ 0 h 854075"/>
                  <a:gd name="connsiteX31" fmla="*/ 238125 w 587375"/>
                  <a:gd name="connsiteY31" fmla="*/ 73025 h 854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87375" h="854075">
                    <a:moveTo>
                      <a:pt x="0" y="822325"/>
                    </a:moveTo>
                    <a:lnTo>
                      <a:pt x="66675" y="854075"/>
                    </a:lnTo>
                    <a:lnTo>
                      <a:pt x="104775" y="838200"/>
                    </a:lnTo>
                    <a:lnTo>
                      <a:pt x="165100" y="841375"/>
                    </a:lnTo>
                    <a:lnTo>
                      <a:pt x="203200" y="822325"/>
                    </a:lnTo>
                    <a:lnTo>
                      <a:pt x="238125" y="828675"/>
                    </a:lnTo>
                    <a:lnTo>
                      <a:pt x="269875" y="812800"/>
                    </a:lnTo>
                    <a:lnTo>
                      <a:pt x="301625" y="819150"/>
                    </a:lnTo>
                    <a:lnTo>
                      <a:pt x="317500" y="831850"/>
                    </a:lnTo>
                    <a:lnTo>
                      <a:pt x="374650" y="812800"/>
                    </a:lnTo>
                    <a:lnTo>
                      <a:pt x="485775" y="787400"/>
                    </a:lnTo>
                    <a:lnTo>
                      <a:pt x="511175" y="768350"/>
                    </a:lnTo>
                    <a:lnTo>
                      <a:pt x="514350" y="742950"/>
                    </a:lnTo>
                    <a:lnTo>
                      <a:pt x="533400" y="774700"/>
                    </a:lnTo>
                    <a:lnTo>
                      <a:pt x="558800" y="723900"/>
                    </a:lnTo>
                    <a:lnTo>
                      <a:pt x="577850" y="663575"/>
                    </a:lnTo>
                    <a:lnTo>
                      <a:pt x="587375" y="638175"/>
                    </a:lnTo>
                    <a:lnTo>
                      <a:pt x="581025" y="600075"/>
                    </a:lnTo>
                    <a:lnTo>
                      <a:pt x="555625" y="517525"/>
                    </a:lnTo>
                    <a:lnTo>
                      <a:pt x="520700" y="454025"/>
                    </a:lnTo>
                    <a:lnTo>
                      <a:pt x="520700" y="387350"/>
                    </a:lnTo>
                    <a:lnTo>
                      <a:pt x="549275" y="339725"/>
                    </a:lnTo>
                    <a:lnTo>
                      <a:pt x="514350" y="244475"/>
                    </a:lnTo>
                    <a:lnTo>
                      <a:pt x="466725" y="174625"/>
                    </a:lnTo>
                    <a:lnTo>
                      <a:pt x="434975" y="120650"/>
                    </a:lnTo>
                    <a:lnTo>
                      <a:pt x="415925" y="98425"/>
                    </a:lnTo>
                    <a:lnTo>
                      <a:pt x="393700" y="66675"/>
                    </a:lnTo>
                    <a:lnTo>
                      <a:pt x="393700" y="66675"/>
                    </a:lnTo>
                    <a:lnTo>
                      <a:pt x="352425" y="25400"/>
                    </a:lnTo>
                    <a:lnTo>
                      <a:pt x="314325" y="6350"/>
                    </a:lnTo>
                    <a:lnTo>
                      <a:pt x="279400" y="0"/>
                    </a:lnTo>
                    <a:lnTo>
                      <a:pt x="238125" y="73025"/>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44" name="Freeform: Shape 643">
                <a:extLst>
                  <a:ext uri="{FF2B5EF4-FFF2-40B4-BE49-F238E27FC236}">
                    <a16:creationId xmlns:a16="http://schemas.microsoft.com/office/drawing/2014/main" id="{55BAF8C2-0026-4960-AD82-68AB4923E6B5}"/>
                  </a:ext>
                </a:extLst>
              </p:cNvPr>
              <p:cNvSpPr/>
              <p:nvPr/>
            </p:nvSpPr>
            <p:spPr bwMode="gray">
              <a:xfrm>
                <a:off x="5184775" y="4521200"/>
                <a:ext cx="95250" cy="340057"/>
              </a:xfrm>
              <a:custGeom>
                <a:avLst/>
                <a:gdLst>
                  <a:gd name="connsiteX0" fmla="*/ 0 w 95250"/>
                  <a:gd name="connsiteY0" fmla="*/ 0 h 340057"/>
                  <a:gd name="connsiteX1" fmla="*/ 9525 w 95250"/>
                  <a:gd name="connsiteY1" fmla="*/ 28575 h 340057"/>
                  <a:gd name="connsiteX2" fmla="*/ 15875 w 95250"/>
                  <a:gd name="connsiteY2" fmla="*/ 47625 h 340057"/>
                  <a:gd name="connsiteX3" fmla="*/ 38100 w 95250"/>
                  <a:gd name="connsiteY3" fmla="*/ 69850 h 340057"/>
                  <a:gd name="connsiteX4" fmla="*/ 57150 w 95250"/>
                  <a:gd name="connsiteY4" fmla="*/ 92075 h 340057"/>
                  <a:gd name="connsiteX5" fmla="*/ 57150 w 95250"/>
                  <a:gd name="connsiteY5" fmla="*/ 222250 h 340057"/>
                  <a:gd name="connsiteX6" fmla="*/ 69850 w 95250"/>
                  <a:gd name="connsiteY6" fmla="*/ 295275 h 340057"/>
                  <a:gd name="connsiteX7" fmla="*/ 79375 w 95250"/>
                  <a:gd name="connsiteY7" fmla="*/ 304800 h 340057"/>
                  <a:gd name="connsiteX8" fmla="*/ 92075 w 95250"/>
                  <a:gd name="connsiteY8" fmla="*/ 339725 h 340057"/>
                  <a:gd name="connsiteX9" fmla="*/ 95250 w 95250"/>
                  <a:gd name="connsiteY9" fmla="*/ 339725 h 340057"/>
                  <a:gd name="connsiteX0" fmla="*/ 0 w 95250"/>
                  <a:gd name="connsiteY0" fmla="*/ 0 h 340057"/>
                  <a:gd name="connsiteX1" fmla="*/ 9525 w 95250"/>
                  <a:gd name="connsiteY1" fmla="*/ 28575 h 340057"/>
                  <a:gd name="connsiteX2" fmla="*/ 15875 w 95250"/>
                  <a:gd name="connsiteY2" fmla="*/ 47625 h 340057"/>
                  <a:gd name="connsiteX3" fmla="*/ 38100 w 95250"/>
                  <a:gd name="connsiteY3" fmla="*/ 69850 h 340057"/>
                  <a:gd name="connsiteX4" fmla="*/ 57150 w 95250"/>
                  <a:gd name="connsiteY4" fmla="*/ 92075 h 340057"/>
                  <a:gd name="connsiteX5" fmla="*/ 57150 w 95250"/>
                  <a:gd name="connsiteY5" fmla="*/ 222250 h 340057"/>
                  <a:gd name="connsiteX6" fmla="*/ 69850 w 95250"/>
                  <a:gd name="connsiteY6" fmla="*/ 295275 h 340057"/>
                  <a:gd name="connsiteX7" fmla="*/ 92075 w 95250"/>
                  <a:gd name="connsiteY7" fmla="*/ 339725 h 340057"/>
                  <a:gd name="connsiteX8" fmla="*/ 95250 w 95250"/>
                  <a:gd name="connsiteY8" fmla="*/ 339725 h 340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250" h="340057">
                    <a:moveTo>
                      <a:pt x="0" y="0"/>
                    </a:moveTo>
                    <a:cubicBezTo>
                      <a:pt x="6102" y="30508"/>
                      <a:pt x="-991" y="2285"/>
                      <a:pt x="9525" y="28575"/>
                    </a:cubicBezTo>
                    <a:cubicBezTo>
                      <a:pt x="12011" y="34790"/>
                      <a:pt x="12065" y="42122"/>
                      <a:pt x="15875" y="47625"/>
                    </a:cubicBezTo>
                    <a:cubicBezTo>
                      <a:pt x="21839" y="56239"/>
                      <a:pt x="30692" y="62442"/>
                      <a:pt x="38100" y="69850"/>
                    </a:cubicBezTo>
                    <a:cubicBezTo>
                      <a:pt x="51367" y="83117"/>
                      <a:pt x="44931" y="75783"/>
                      <a:pt x="57150" y="92075"/>
                    </a:cubicBezTo>
                    <a:cubicBezTo>
                      <a:pt x="70193" y="144245"/>
                      <a:pt x="57150" y="87241"/>
                      <a:pt x="57150" y="222250"/>
                    </a:cubicBezTo>
                    <a:cubicBezTo>
                      <a:pt x="57150" y="270128"/>
                      <a:pt x="64029" y="275696"/>
                      <a:pt x="69850" y="295275"/>
                    </a:cubicBezTo>
                    <a:cubicBezTo>
                      <a:pt x="75671" y="314854"/>
                      <a:pt x="87842" y="332317"/>
                      <a:pt x="92075" y="339725"/>
                    </a:cubicBezTo>
                    <a:cubicBezTo>
                      <a:pt x="92823" y="340473"/>
                      <a:pt x="94192" y="339725"/>
                      <a:pt x="95250" y="339725"/>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45" name="Freeform: Shape 644">
                <a:extLst>
                  <a:ext uri="{FF2B5EF4-FFF2-40B4-BE49-F238E27FC236}">
                    <a16:creationId xmlns:a16="http://schemas.microsoft.com/office/drawing/2014/main" id="{0D6CF970-580A-4FCD-BB14-BBF05FA697FB}"/>
                  </a:ext>
                </a:extLst>
              </p:cNvPr>
              <p:cNvSpPr/>
              <p:nvPr/>
            </p:nvSpPr>
            <p:spPr bwMode="gray">
              <a:xfrm>
                <a:off x="5019675" y="3330575"/>
                <a:ext cx="247653" cy="384175"/>
              </a:xfrm>
              <a:custGeom>
                <a:avLst/>
                <a:gdLst>
                  <a:gd name="connsiteX0" fmla="*/ 57150 w 247653"/>
                  <a:gd name="connsiteY0" fmla="*/ 384175 h 384175"/>
                  <a:gd name="connsiteX1" fmla="*/ 60325 w 247653"/>
                  <a:gd name="connsiteY1" fmla="*/ 311150 h 384175"/>
                  <a:gd name="connsiteX2" fmla="*/ 66675 w 247653"/>
                  <a:gd name="connsiteY2" fmla="*/ 295275 h 384175"/>
                  <a:gd name="connsiteX3" fmla="*/ 111125 w 247653"/>
                  <a:gd name="connsiteY3" fmla="*/ 257175 h 384175"/>
                  <a:gd name="connsiteX4" fmla="*/ 117475 w 247653"/>
                  <a:gd name="connsiteY4" fmla="*/ 247650 h 384175"/>
                  <a:gd name="connsiteX5" fmla="*/ 127000 w 247653"/>
                  <a:gd name="connsiteY5" fmla="*/ 231775 h 384175"/>
                  <a:gd name="connsiteX6" fmla="*/ 149225 w 247653"/>
                  <a:gd name="connsiteY6" fmla="*/ 209550 h 384175"/>
                  <a:gd name="connsiteX7" fmla="*/ 174625 w 247653"/>
                  <a:gd name="connsiteY7" fmla="*/ 193675 h 384175"/>
                  <a:gd name="connsiteX8" fmla="*/ 184150 w 247653"/>
                  <a:gd name="connsiteY8" fmla="*/ 161925 h 384175"/>
                  <a:gd name="connsiteX9" fmla="*/ 209550 w 247653"/>
                  <a:gd name="connsiteY9" fmla="*/ 130175 h 384175"/>
                  <a:gd name="connsiteX10" fmla="*/ 212725 w 247653"/>
                  <a:gd name="connsiteY10" fmla="*/ 117475 h 384175"/>
                  <a:gd name="connsiteX11" fmla="*/ 219075 w 247653"/>
                  <a:gd name="connsiteY11" fmla="*/ 107950 h 384175"/>
                  <a:gd name="connsiteX12" fmla="*/ 241300 w 247653"/>
                  <a:gd name="connsiteY12" fmla="*/ 82550 h 384175"/>
                  <a:gd name="connsiteX13" fmla="*/ 247650 w 247653"/>
                  <a:gd name="connsiteY13" fmla="*/ 66675 h 384175"/>
                  <a:gd name="connsiteX14" fmla="*/ 241300 w 247653"/>
                  <a:gd name="connsiteY14" fmla="*/ 41275 h 384175"/>
                  <a:gd name="connsiteX15" fmla="*/ 231775 w 247653"/>
                  <a:gd name="connsiteY15" fmla="*/ 31750 h 384175"/>
                  <a:gd name="connsiteX16" fmla="*/ 228600 w 247653"/>
                  <a:gd name="connsiteY16" fmla="*/ 22225 h 384175"/>
                  <a:gd name="connsiteX17" fmla="*/ 212725 w 247653"/>
                  <a:gd name="connsiteY17" fmla="*/ 0 h 384175"/>
                  <a:gd name="connsiteX18" fmla="*/ 209550 w 247653"/>
                  <a:gd name="connsiteY18" fmla="*/ 9525 h 384175"/>
                  <a:gd name="connsiteX19" fmla="*/ 200025 w 247653"/>
                  <a:gd name="connsiteY19" fmla="*/ 44450 h 384175"/>
                  <a:gd name="connsiteX20" fmla="*/ 190500 w 247653"/>
                  <a:gd name="connsiteY20" fmla="*/ 47625 h 384175"/>
                  <a:gd name="connsiteX21" fmla="*/ 171450 w 247653"/>
                  <a:gd name="connsiteY21" fmla="*/ 44450 h 384175"/>
                  <a:gd name="connsiteX22" fmla="*/ 161925 w 247653"/>
                  <a:gd name="connsiteY22" fmla="*/ 34925 h 384175"/>
                  <a:gd name="connsiteX23" fmla="*/ 142875 w 247653"/>
                  <a:gd name="connsiteY23" fmla="*/ 28575 h 384175"/>
                  <a:gd name="connsiteX24" fmla="*/ 111125 w 247653"/>
                  <a:gd name="connsiteY24" fmla="*/ 34925 h 384175"/>
                  <a:gd name="connsiteX25" fmla="*/ 101600 w 247653"/>
                  <a:gd name="connsiteY25" fmla="*/ 38100 h 384175"/>
                  <a:gd name="connsiteX26" fmla="*/ 73025 w 247653"/>
                  <a:gd name="connsiteY26" fmla="*/ 34925 h 384175"/>
                  <a:gd name="connsiteX27" fmla="*/ 63500 w 247653"/>
                  <a:gd name="connsiteY27" fmla="*/ 28575 h 384175"/>
                  <a:gd name="connsiteX28" fmla="*/ 50800 w 247653"/>
                  <a:gd name="connsiteY28" fmla="*/ 12700 h 384175"/>
                  <a:gd name="connsiteX29" fmla="*/ 25400 w 247653"/>
                  <a:gd name="connsiteY29" fmla="*/ 9525 h 384175"/>
                  <a:gd name="connsiteX30" fmla="*/ 0 w 247653"/>
                  <a:gd name="connsiteY30" fmla="*/ 12700 h 384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47653" h="384175">
                    <a:moveTo>
                      <a:pt x="57150" y="384175"/>
                    </a:moveTo>
                    <a:cubicBezTo>
                      <a:pt x="52755" y="349012"/>
                      <a:pt x="51409" y="355729"/>
                      <a:pt x="60325" y="311150"/>
                    </a:cubicBezTo>
                    <a:cubicBezTo>
                      <a:pt x="61443" y="305561"/>
                      <a:pt x="62889" y="299535"/>
                      <a:pt x="66675" y="295275"/>
                    </a:cubicBezTo>
                    <a:cubicBezTo>
                      <a:pt x="104976" y="252187"/>
                      <a:pt x="65756" y="325228"/>
                      <a:pt x="111125" y="257175"/>
                    </a:cubicBezTo>
                    <a:cubicBezTo>
                      <a:pt x="113242" y="254000"/>
                      <a:pt x="115453" y="250886"/>
                      <a:pt x="117475" y="247650"/>
                    </a:cubicBezTo>
                    <a:cubicBezTo>
                      <a:pt x="120746" y="242417"/>
                      <a:pt x="123049" y="236516"/>
                      <a:pt x="127000" y="231775"/>
                    </a:cubicBezTo>
                    <a:cubicBezTo>
                      <a:pt x="133707" y="223726"/>
                      <a:pt x="140241" y="214940"/>
                      <a:pt x="149225" y="209550"/>
                    </a:cubicBezTo>
                    <a:cubicBezTo>
                      <a:pt x="168372" y="198062"/>
                      <a:pt x="159965" y="203448"/>
                      <a:pt x="174625" y="193675"/>
                    </a:cubicBezTo>
                    <a:cubicBezTo>
                      <a:pt x="176658" y="183512"/>
                      <a:pt x="178183" y="170876"/>
                      <a:pt x="184150" y="161925"/>
                    </a:cubicBezTo>
                    <a:cubicBezTo>
                      <a:pt x="191668" y="150648"/>
                      <a:pt x="209550" y="130175"/>
                      <a:pt x="209550" y="130175"/>
                    </a:cubicBezTo>
                    <a:cubicBezTo>
                      <a:pt x="210608" y="125942"/>
                      <a:pt x="211006" y="121486"/>
                      <a:pt x="212725" y="117475"/>
                    </a:cubicBezTo>
                    <a:cubicBezTo>
                      <a:pt x="214228" y="113968"/>
                      <a:pt x="216857" y="111055"/>
                      <a:pt x="219075" y="107950"/>
                    </a:cubicBezTo>
                    <a:cubicBezTo>
                      <a:pt x="230006" y="92647"/>
                      <a:pt x="227332" y="96518"/>
                      <a:pt x="241300" y="82550"/>
                    </a:cubicBezTo>
                    <a:cubicBezTo>
                      <a:pt x="243417" y="77258"/>
                      <a:pt x="247083" y="72346"/>
                      <a:pt x="247650" y="66675"/>
                    </a:cubicBezTo>
                    <a:cubicBezTo>
                      <a:pt x="247789" y="65281"/>
                      <a:pt x="243719" y="44903"/>
                      <a:pt x="241300" y="41275"/>
                    </a:cubicBezTo>
                    <a:cubicBezTo>
                      <a:pt x="238809" y="37539"/>
                      <a:pt x="234950" y="34925"/>
                      <a:pt x="231775" y="31750"/>
                    </a:cubicBezTo>
                    <a:cubicBezTo>
                      <a:pt x="230717" y="28575"/>
                      <a:pt x="230545" y="24948"/>
                      <a:pt x="228600" y="22225"/>
                    </a:cubicBezTo>
                    <a:cubicBezTo>
                      <a:pt x="209767" y="-4141"/>
                      <a:pt x="219899" y="21521"/>
                      <a:pt x="212725" y="0"/>
                    </a:cubicBezTo>
                    <a:cubicBezTo>
                      <a:pt x="211667" y="3175"/>
                      <a:pt x="210149" y="6232"/>
                      <a:pt x="209550" y="9525"/>
                    </a:cubicBezTo>
                    <a:cubicBezTo>
                      <a:pt x="207652" y="19963"/>
                      <a:pt x="210325" y="36210"/>
                      <a:pt x="200025" y="44450"/>
                    </a:cubicBezTo>
                    <a:cubicBezTo>
                      <a:pt x="197412" y="46541"/>
                      <a:pt x="193675" y="46567"/>
                      <a:pt x="190500" y="47625"/>
                    </a:cubicBezTo>
                    <a:cubicBezTo>
                      <a:pt x="184150" y="46567"/>
                      <a:pt x="177333" y="47065"/>
                      <a:pt x="171450" y="44450"/>
                    </a:cubicBezTo>
                    <a:cubicBezTo>
                      <a:pt x="167347" y="42626"/>
                      <a:pt x="165850" y="37106"/>
                      <a:pt x="161925" y="34925"/>
                    </a:cubicBezTo>
                    <a:cubicBezTo>
                      <a:pt x="156074" y="31674"/>
                      <a:pt x="149225" y="30692"/>
                      <a:pt x="142875" y="28575"/>
                    </a:cubicBezTo>
                    <a:cubicBezTo>
                      <a:pt x="132292" y="30692"/>
                      <a:pt x="121642" y="32498"/>
                      <a:pt x="111125" y="34925"/>
                    </a:cubicBezTo>
                    <a:cubicBezTo>
                      <a:pt x="107864" y="35678"/>
                      <a:pt x="104947" y="38100"/>
                      <a:pt x="101600" y="38100"/>
                    </a:cubicBezTo>
                    <a:cubicBezTo>
                      <a:pt x="92016" y="38100"/>
                      <a:pt x="82550" y="35983"/>
                      <a:pt x="73025" y="34925"/>
                    </a:cubicBezTo>
                    <a:cubicBezTo>
                      <a:pt x="69850" y="32808"/>
                      <a:pt x="65884" y="31555"/>
                      <a:pt x="63500" y="28575"/>
                    </a:cubicBezTo>
                    <a:cubicBezTo>
                      <a:pt x="55624" y="18730"/>
                      <a:pt x="67094" y="17144"/>
                      <a:pt x="50800" y="12700"/>
                    </a:cubicBezTo>
                    <a:cubicBezTo>
                      <a:pt x="42568" y="10455"/>
                      <a:pt x="33867" y="10583"/>
                      <a:pt x="25400" y="9525"/>
                    </a:cubicBezTo>
                    <a:lnTo>
                      <a:pt x="0" y="1270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46" name="Freeform: Shape 645">
                <a:extLst>
                  <a:ext uri="{FF2B5EF4-FFF2-40B4-BE49-F238E27FC236}">
                    <a16:creationId xmlns:a16="http://schemas.microsoft.com/office/drawing/2014/main" id="{98BA8985-4EB5-439B-9A95-57B84F402C5D}"/>
                  </a:ext>
                </a:extLst>
              </p:cNvPr>
              <p:cNvSpPr/>
              <p:nvPr/>
            </p:nvSpPr>
            <p:spPr bwMode="gray">
              <a:xfrm>
                <a:off x="5046799" y="3343275"/>
                <a:ext cx="134801" cy="279402"/>
              </a:xfrm>
              <a:custGeom>
                <a:avLst/>
                <a:gdLst>
                  <a:gd name="connsiteX0" fmla="*/ 10976 w 134801"/>
                  <a:gd name="connsiteY0" fmla="*/ 0 h 279402"/>
                  <a:gd name="connsiteX1" fmla="*/ 14151 w 134801"/>
                  <a:gd name="connsiteY1" fmla="*/ 19050 h 279402"/>
                  <a:gd name="connsiteX2" fmla="*/ 30026 w 134801"/>
                  <a:gd name="connsiteY2" fmla="*/ 66675 h 279402"/>
                  <a:gd name="connsiteX3" fmla="*/ 14151 w 134801"/>
                  <a:gd name="connsiteY3" fmla="*/ 85725 h 279402"/>
                  <a:gd name="connsiteX4" fmla="*/ 1451 w 134801"/>
                  <a:gd name="connsiteY4" fmla="*/ 98425 h 279402"/>
                  <a:gd name="connsiteX5" fmla="*/ 17326 w 134801"/>
                  <a:gd name="connsiteY5" fmla="*/ 85725 h 279402"/>
                  <a:gd name="connsiteX6" fmla="*/ 36376 w 134801"/>
                  <a:gd name="connsiteY6" fmla="*/ 79375 h 279402"/>
                  <a:gd name="connsiteX7" fmla="*/ 42726 w 134801"/>
                  <a:gd name="connsiteY7" fmla="*/ 120650 h 279402"/>
                  <a:gd name="connsiteX8" fmla="*/ 55426 w 134801"/>
                  <a:gd name="connsiteY8" fmla="*/ 139700 h 279402"/>
                  <a:gd name="connsiteX9" fmla="*/ 68126 w 134801"/>
                  <a:gd name="connsiteY9" fmla="*/ 168275 h 279402"/>
                  <a:gd name="connsiteX10" fmla="*/ 77651 w 134801"/>
                  <a:gd name="connsiteY10" fmla="*/ 174625 h 279402"/>
                  <a:gd name="connsiteX11" fmla="*/ 84001 w 134801"/>
                  <a:gd name="connsiteY11" fmla="*/ 187325 h 279402"/>
                  <a:gd name="connsiteX12" fmla="*/ 93526 w 134801"/>
                  <a:gd name="connsiteY12" fmla="*/ 193675 h 279402"/>
                  <a:gd name="connsiteX13" fmla="*/ 96701 w 134801"/>
                  <a:gd name="connsiteY13" fmla="*/ 212725 h 279402"/>
                  <a:gd name="connsiteX14" fmla="*/ 99876 w 134801"/>
                  <a:gd name="connsiteY14" fmla="*/ 222250 h 279402"/>
                  <a:gd name="connsiteX15" fmla="*/ 103051 w 134801"/>
                  <a:gd name="connsiteY15" fmla="*/ 244475 h 279402"/>
                  <a:gd name="connsiteX16" fmla="*/ 106226 w 134801"/>
                  <a:gd name="connsiteY16" fmla="*/ 254000 h 279402"/>
                  <a:gd name="connsiteX17" fmla="*/ 118926 w 134801"/>
                  <a:gd name="connsiteY17" fmla="*/ 260350 h 279402"/>
                  <a:gd name="connsiteX18" fmla="*/ 134801 w 134801"/>
                  <a:gd name="connsiteY18" fmla="*/ 263525 h 279402"/>
                  <a:gd name="connsiteX19" fmla="*/ 125276 w 134801"/>
                  <a:gd name="connsiteY19" fmla="*/ 269875 h 279402"/>
                  <a:gd name="connsiteX20" fmla="*/ 99876 w 134801"/>
                  <a:gd name="connsiteY20" fmla="*/ 276225 h 279402"/>
                  <a:gd name="connsiteX21" fmla="*/ 61776 w 134801"/>
                  <a:gd name="connsiteY21" fmla="*/ 279400 h 279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4801" h="279402">
                    <a:moveTo>
                      <a:pt x="10976" y="0"/>
                    </a:moveTo>
                    <a:cubicBezTo>
                      <a:pt x="12034" y="6350"/>
                      <a:pt x="12231" y="12905"/>
                      <a:pt x="14151" y="19050"/>
                    </a:cubicBezTo>
                    <a:cubicBezTo>
                      <a:pt x="34573" y="84402"/>
                      <a:pt x="21908" y="26087"/>
                      <a:pt x="30026" y="66675"/>
                    </a:cubicBezTo>
                    <a:cubicBezTo>
                      <a:pt x="24606" y="82936"/>
                      <a:pt x="30433" y="71478"/>
                      <a:pt x="14151" y="85725"/>
                    </a:cubicBezTo>
                    <a:cubicBezTo>
                      <a:pt x="9645" y="89667"/>
                      <a:pt x="-4536" y="98425"/>
                      <a:pt x="1451" y="98425"/>
                    </a:cubicBezTo>
                    <a:cubicBezTo>
                      <a:pt x="8228" y="98425"/>
                      <a:pt x="11377" y="88970"/>
                      <a:pt x="17326" y="85725"/>
                    </a:cubicBezTo>
                    <a:cubicBezTo>
                      <a:pt x="23202" y="82520"/>
                      <a:pt x="36376" y="79375"/>
                      <a:pt x="36376" y="79375"/>
                    </a:cubicBezTo>
                    <a:cubicBezTo>
                      <a:pt x="38493" y="93133"/>
                      <a:pt x="38534" y="107376"/>
                      <a:pt x="42726" y="120650"/>
                    </a:cubicBezTo>
                    <a:cubicBezTo>
                      <a:pt x="45024" y="127928"/>
                      <a:pt x="53013" y="132460"/>
                      <a:pt x="55426" y="139700"/>
                    </a:cubicBezTo>
                    <a:cubicBezTo>
                      <a:pt x="58570" y="149131"/>
                      <a:pt x="60579" y="160728"/>
                      <a:pt x="68126" y="168275"/>
                    </a:cubicBezTo>
                    <a:cubicBezTo>
                      <a:pt x="70824" y="170973"/>
                      <a:pt x="74476" y="172508"/>
                      <a:pt x="77651" y="174625"/>
                    </a:cubicBezTo>
                    <a:cubicBezTo>
                      <a:pt x="79768" y="178858"/>
                      <a:pt x="80971" y="183689"/>
                      <a:pt x="84001" y="187325"/>
                    </a:cubicBezTo>
                    <a:cubicBezTo>
                      <a:pt x="86444" y="190256"/>
                      <a:pt x="91819" y="190262"/>
                      <a:pt x="93526" y="193675"/>
                    </a:cubicBezTo>
                    <a:cubicBezTo>
                      <a:pt x="96405" y="199433"/>
                      <a:pt x="95304" y="206441"/>
                      <a:pt x="96701" y="212725"/>
                    </a:cubicBezTo>
                    <a:cubicBezTo>
                      <a:pt x="97427" y="215992"/>
                      <a:pt x="98818" y="219075"/>
                      <a:pt x="99876" y="222250"/>
                    </a:cubicBezTo>
                    <a:cubicBezTo>
                      <a:pt x="100934" y="229658"/>
                      <a:pt x="101583" y="237137"/>
                      <a:pt x="103051" y="244475"/>
                    </a:cubicBezTo>
                    <a:cubicBezTo>
                      <a:pt x="103707" y="247757"/>
                      <a:pt x="103859" y="251633"/>
                      <a:pt x="106226" y="254000"/>
                    </a:cubicBezTo>
                    <a:cubicBezTo>
                      <a:pt x="109573" y="257347"/>
                      <a:pt x="114436" y="258853"/>
                      <a:pt x="118926" y="260350"/>
                    </a:cubicBezTo>
                    <a:cubicBezTo>
                      <a:pt x="124046" y="262057"/>
                      <a:pt x="129509" y="262467"/>
                      <a:pt x="134801" y="263525"/>
                    </a:cubicBezTo>
                    <a:cubicBezTo>
                      <a:pt x="131626" y="265642"/>
                      <a:pt x="128862" y="268571"/>
                      <a:pt x="125276" y="269875"/>
                    </a:cubicBezTo>
                    <a:cubicBezTo>
                      <a:pt x="117074" y="272857"/>
                      <a:pt x="108484" y="274790"/>
                      <a:pt x="99876" y="276225"/>
                    </a:cubicBezTo>
                    <a:cubicBezTo>
                      <a:pt x="79562" y="279611"/>
                      <a:pt x="76067" y="279400"/>
                      <a:pt x="61776" y="279400"/>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47" name="Freeform: Shape 646">
                <a:extLst>
                  <a:ext uri="{FF2B5EF4-FFF2-40B4-BE49-F238E27FC236}">
                    <a16:creationId xmlns:a16="http://schemas.microsoft.com/office/drawing/2014/main" id="{8E42F611-7EF6-4741-B76E-073F506ACEFF}"/>
                  </a:ext>
                </a:extLst>
              </p:cNvPr>
              <p:cNvSpPr/>
              <p:nvPr/>
            </p:nvSpPr>
            <p:spPr bwMode="gray">
              <a:xfrm>
                <a:off x="5152952" y="3378200"/>
                <a:ext cx="231975" cy="269875"/>
              </a:xfrm>
              <a:custGeom>
                <a:avLst/>
                <a:gdLst>
                  <a:gd name="connsiteX0" fmla="*/ 19123 w 231975"/>
                  <a:gd name="connsiteY0" fmla="*/ 234950 h 269875"/>
                  <a:gd name="connsiteX1" fmla="*/ 6423 w 231975"/>
                  <a:gd name="connsiteY1" fmla="*/ 250825 h 269875"/>
                  <a:gd name="connsiteX2" fmla="*/ 73 w 231975"/>
                  <a:gd name="connsiteY2" fmla="*/ 260350 h 269875"/>
                  <a:gd name="connsiteX3" fmla="*/ 3248 w 231975"/>
                  <a:gd name="connsiteY3" fmla="*/ 269875 h 269875"/>
                  <a:gd name="connsiteX4" fmla="*/ 31823 w 231975"/>
                  <a:gd name="connsiteY4" fmla="*/ 254000 h 269875"/>
                  <a:gd name="connsiteX5" fmla="*/ 41348 w 231975"/>
                  <a:gd name="connsiteY5" fmla="*/ 238125 h 269875"/>
                  <a:gd name="connsiteX6" fmla="*/ 50873 w 231975"/>
                  <a:gd name="connsiteY6" fmla="*/ 234950 h 269875"/>
                  <a:gd name="connsiteX7" fmla="*/ 95323 w 231975"/>
                  <a:gd name="connsiteY7" fmla="*/ 222250 h 269875"/>
                  <a:gd name="connsiteX8" fmla="*/ 101673 w 231975"/>
                  <a:gd name="connsiteY8" fmla="*/ 196850 h 269875"/>
                  <a:gd name="connsiteX9" fmla="*/ 104848 w 231975"/>
                  <a:gd name="connsiteY9" fmla="*/ 165100 h 269875"/>
                  <a:gd name="connsiteX10" fmla="*/ 123898 w 231975"/>
                  <a:gd name="connsiteY10" fmla="*/ 139700 h 269875"/>
                  <a:gd name="connsiteX11" fmla="*/ 130248 w 231975"/>
                  <a:gd name="connsiteY11" fmla="*/ 130175 h 269875"/>
                  <a:gd name="connsiteX12" fmla="*/ 142948 w 231975"/>
                  <a:gd name="connsiteY12" fmla="*/ 123825 h 269875"/>
                  <a:gd name="connsiteX13" fmla="*/ 165173 w 231975"/>
                  <a:gd name="connsiteY13" fmla="*/ 114300 h 269875"/>
                  <a:gd name="connsiteX14" fmla="*/ 203273 w 231975"/>
                  <a:gd name="connsiteY14" fmla="*/ 82550 h 269875"/>
                  <a:gd name="connsiteX15" fmla="*/ 215973 w 231975"/>
                  <a:gd name="connsiteY15" fmla="*/ 63500 h 269875"/>
                  <a:gd name="connsiteX16" fmla="*/ 225498 w 231975"/>
                  <a:gd name="connsiteY16" fmla="*/ 50800 h 269875"/>
                  <a:gd name="connsiteX17" fmla="*/ 231848 w 231975"/>
                  <a:gd name="connsiteY17" fmla="*/ 9525 h 269875"/>
                  <a:gd name="connsiteX18" fmla="*/ 231848 w 231975"/>
                  <a:gd name="connsiteY18" fmla="*/ 0 h 26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31975" h="269875">
                    <a:moveTo>
                      <a:pt x="19123" y="234950"/>
                    </a:moveTo>
                    <a:cubicBezTo>
                      <a:pt x="14890" y="240242"/>
                      <a:pt x="10489" y="245404"/>
                      <a:pt x="6423" y="250825"/>
                    </a:cubicBezTo>
                    <a:cubicBezTo>
                      <a:pt x="4133" y="253878"/>
                      <a:pt x="700" y="256586"/>
                      <a:pt x="73" y="260350"/>
                    </a:cubicBezTo>
                    <a:cubicBezTo>
                      <a:pt x="-477" y="263651"/>
                      <a:pt x="2190" y="266700"/>
                      <a:pt x="3248" y="269875"/>
                    </a:cubicBezTo>
                    <a:cubicBezTo>
                      <a:pt x="12773" y="264583"/>
                      <a:pt x="23452" y="260976"/>
                      <a:pt x="31823" y="254000"/>
                    </a:cubicBezTo>
                    <a:cubicBezTo>
                      <a:pt x="36564" y="250049"/>
                      <a:pt x="36984" y="242489"/>
                      <a:pt x="41348" y="238125"/>
                    </a:cubicBezTo>
                    <a:cubicBezTo>
                      <a:pt x="43715" y="235758"/>
                      <a:pt x="47626" y="235762"/>
                      <a:pt x="50873" y="234950"/>
                    </a:cubicBezTo>
                    <a:cubicBezTo>
                      <a:pt x="91334" y="224835"/>
                      <a:pt x="66696" y="233701"/>
                      <a:pt x="95323" y="222250"/>
                    </a:cubicBezTo>
                    <a:cubicBezTo>
                      <a:pt x="97440" y="213783"/>
                      <a:pt x="100238" y="205458"/>
                      <a:pt x="101673" y="196850"/>
                    </a:cubicBezTo>
                    <a:cubicBezTo>
                      <a:pt x="103422" y="186359"/>
                      <a:pt x="102107" y="175377"/>
                      <a:pt x="104848" y="165100"/>
                    </a:cubicBezTo>
                    <a:cubicBezTo>
                      <a:pt x="108511" y="151364"/>
                      <a:pt x="115955" y="149231"/>
                      <a:pt x="123898" y="139700"/>
                    </a:cubicBezTo>
                    <a:cubicBezTo>
                      <a:pt x="126341" y="136769"/>
                      <a:pt x="127317" y="132618"/>
                      <a:pt x="130248" y="130175"/>
                    </a:cubicBezTo>
                    <a:cubicBezTo>
                      <a:pt x="133884" y="127145"/>
                      <a:pt x="138839" y="126173"/>
                      <a:pt x="142948" y="123825"/>
                    </a:cubicBezTo>
                    <a:cubicBezTo>
                      <a:pt x="160002" y="114080"/>
                      <a:pt x="144314" y="119515"/>
                      <a:pt x="165173" y="114300"/>
                    </a:cubicBezTo>
                    <a:cubicBezTo>
                      <a:pt x="179266" y="104905"/>
                      <a:pt x="192334" y="95920"/>
                      <a:pt x="203273" y="82550"/>
                    </a:cubicBezTo>
                    <a:cubicBezTo>
                      <a:pt x="208106" y="76643"/>
                      <a:pt x="211394" y="69605"/>
                      <a:pt x="215973" y="63500"/>
                    </a:cubicBezTo>
                    <a:lnTo>
                      <a:pt x="225498" y="50800"/>
                    </a:lnTo>
                    <a:cubicBezTo>
                      <a:pt x="229131" y="32637"/>
                      <a:pt x="229926" y="30669"/>
                      <a:pt x="231848" y="9525"/>
                    </a:cubicBezTo>
                    <a:cubicBezTo>
                      <a:pt x="232135" y="6363"/>
                      <a:pt x="231848" y="3175"/>
                      <a:pt x="231848" y="0"/>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48" name="Freeform: Shape 647">
                <a:extLst>
                  <a:ext uri="{FF2B5EF4-FFF2-40B4-BE49-F238E27FC236}">
                    <a16:creationId xmlns:a16="http://schemas.microsoft.com/office/drawing/2014/main" id="{84C78980-B4A0-42C2-9B3A-2825B19898D0}"/>
                  </a:ext>
                </a:extLst>
              </p:cNvPr>
              <p:cNvSpPr/>
              <p:nvPr/>
            </p:nvSpPr>
            <p:spPr bwMode="gray">
              <a:xfrm>
                <a:off x="5203825" y="3432175"/>
                <a:ext cx="209550" cy="156409"/>
              </a:xfrm>
              <a:custGeom>
                <a:avLst/>
                <a:gdLst>
                  <a:gd name="connsiteX0" fmla="*/ 209550 w 209550"/>
                  <a:gd name="connsiteY0" fmla="*/ 152400 h 156409"/>
                  <a:gd name="connsiteX1" fmla="*/ 142875 w 209550"/>
                  <a:gd name="connsiteY1" fmla="*/ 155575 h 156409"/>
                  <a:gd name="connsiteX2" fmla="*/ 107950 w 209550"/>
                  <a:gd name="connsiteY2" fmla="*/ 139700 h 156409"/>
                  <a:gd name="connsiteX3" fmla="*/ 92075 w 209550"/>
                  <a:gd name="connsiteY3" fmla="*/ 133350 h 156409"/>
                  <a:gd name="connsiteX4" fmla="*/ 66675 w 209550"/>
                  <a:gd name="connsiteY4" fmla="*/ 98425 h 156409"/>
                  <a:gd name="connsiteX5" fmla="*/ 53975 w 209550"/>
                  <a:gd name="connsiteY5" fmla="*/ 76200 h 156409"/>
                  <a:gd name="connsiteX6" fmla="*/ 28575 w 209550"/>
                  <a:gd name="connsiteY6" fmla="*/ 38100 h 156409"/>
                  <a:gd name="connsiteX7" fmla="*/ 19050 w 209550"/>
                  <a:gd name="connsiteY7" fmla="*/ 28575 h 156409"/>
                  <a:gd name="connsiteX8" fmla="*/ 9525 w 209550"/>
                  <a:gd name="connsiteY8" fmla="*/ 9525 h 156409"/>
                  <a:gd name="connsiteX9" fmla="*/ 0 w 209550"/>
                  <a:gd name="connsiteY9" fmla="*/ 0 h 156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550" h="156409">
                    <a:moveTo>
                      <a:pt x="209550" y="152400"/>
                    </a:moveTo>
                    <a:cubicBezTo>
                      <a:pt x="187325" y="153458"/>
                      <a:pt x="164953" y="158335"/>
                      <a:pt x="142875" y="155575"/>
                    </a:cubicBezTo>
                    <a:cubicBezTo>
                      <a:pt x="130186" y="153989"/>
                      <a:pt x="119666" y="144826"/>
                      <a:pt x="107950" y="139700"/>
                    </a:cubicBezTo>
                    <a:cubicBezTo>
                      <a:pt x="102729" y="137416"/>
                      <a:pt x="97367" y="135467"/>
                      <a:pt x="92075" y="133350"/>
                    </a:cubicBezTo>
                    <a:cubicBezTo>
                      <a:pt x="83608" y="121708"/>
                      <a:pt x="70166" y="112390"/>
                      <a:pt x="66675" y="98425"/>
                    </a:cubicBezTo>
                    <a:cubicBezTo>
                      <a:pt x="62411" y="81369"/>
                      <a:pt x="66586" y="88811"/>
                      <a:pt x="53975" y="76200"/>
                    </a:cubicBezTo>
                    <a:cubicBezTo>
                      <a:pt x="44785" y="48631"/>
                      <a:pt x="52358" y="61883"/>
                      <a:pt x="28575" y="38100"/>
                    </a:cubicBezTo>
                    <a:lnTo>
                      <a:pt x="19050" y="28575"/>
                    </a:lnTo>
                    <a:cubicBezTo>
                      <a:pt x="15868" y="19029"/>
                      <a:pt x="16364" y="17731"/>
                      <a:pt x="9525" y="9525"/>
                    </a:cubicBezTo>
                    <a:cubicBezTo>
                      <a:pt x="6650" y="6076"/>
                      <a:pt x="0" y="0"/>
                      <a:pt x="0" y="0"/>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49" name="Freeform: Shape 648">
                <a:extLst>
                  <a:ext uri="{FF2B5EF4-FFF2-40B4-BE49-F238E27FC236}">
                    <a16:creationId xmlns:a16="http://schemas.microsoft.com/office/drawing/2014/main" id="{590EC62B-62FE-43E3-968C-4F71D6F8DFB2}"/>
                  </a:ext>
                </a:extLst>
              </p:cNvPr>
              <p:cNvSpPr/>
              <p:nvPr/>
            </p:nvSpPr>
            <p:spPr bwMode="gray">
              <a:xfrm>
                <a:off x="5099050" y="3730031"/>
                <a:ext cx="16353" cy="32344"/>
              </a:xfrm>
              <a:custGeom>
                <a:avLst/>
                <a:gdLst>
                  <a:gd name="connsiteX0" fmla="*/ 0 w 16353"/>
                  <a:gd name="connsiteY0" fmla="*/ 32344 h 32344"/>
                  <a:gd name="connsiteX1" fmla="*/ 15875 w 16353"/>
                  <a:gd name="connsiteY1" fmla="*/ 3769 h 32344"/>
                  <a:gd name="connsiteX2" fmla="*/ 0 w 16353"/>
                  <a:gd name="connsiteY2" fmla="*/ 32344 h 32344"/>
                </a:gdLst>
                <a:ahLst/>
                <a:cxnLst>
                  <a:cxn ang="0">
                    <a:pos x="connsiteX0" y="connsiteY0"/>
                  </a:cxn>
                  <a:cxn ang="0">
                    <a:pos x="connsiteX1" y="connsiteY1"/>
                  </a:cxn>
                  <a:cxn ang="0">
                    <a:pos x="connsiteX2" y="connsiteY2"/>
                  </a:cxn>
                </a:cxnLst>
                <a:rect l="l" t="t" r="r" b="b"/>
                <a:pathLst>
                  <a:path w="16353" h="32344">
                    <a:moveTo>
                      <a:pt x="0" y="32344"/>
                    </a:moveTo>
                    <a:cubicBezTo>
                      <a:pt x="0" y="32344"/>
                      <a:pt x="11798" y="22117"/>
                      <a:pt x="15875" y="3769"/>
                    </a:cubicBezTo>
                    <a:cubicBezTo>
                      <a:pt x="19633" y="-13144"/>
                      <a:pt x="0" y="32344"/>
                      <a:pt x="0" y="32344"/>
                    </a:cubicBezTo>
                    <a:close/>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50" name="Freeform: Shape 649">
                <a:extLst>
                  <a:ext uri="{FF2B5EF4-FFF2-40B4-BE49-F238E27FC236}">
                    <a16:creationId xmlns:a16="http://schemas.microsoft.com/office/drawing/2014/main" id="{417147FA-EBB5-4083-AC2E-6E0D1BEE7DFE}"/>
                  </a:ext>
                </a:extLst>
              </p:cNvPr>
              <p:cNvSpPr/>
              <p:nvPr/>
            </p:nvSpPr>
            <p:spPr bwMode="gray">
              <a:xfrm>
                <a:off x="5216465" y="3708400"/>
                <a:ext cx="7853" cy="104775"/>
              </a:xfrm>
              <a:custGeom>
                <a:avLst/>
                <a:gdLst>
                  <a:gd name="connsiteX0" fmla="*/ 3235 w 7853"/>
                  <a:gd name="connsiteY0" fmla="*/ 0 h 104775"/>
                  <a:gd name="connsiteX1" fmla="*/ 3235 w 7853"/>
                  <a:gd name="connsiteY1" fmla="*/ 82550 h 104775"/>
                  <a:gd name="connsiteX2" fmla="*/ 60 w 7853"/>
                  <a:gd name="connsiteY2" fmla="*/ 104775 h 104775"/>
                </a:gdLst>
                <a:ahLst/>
                <a:cxnLst>
                  <a:cxn ang="0">
                    <a:pos x="connsiteX0" y="connsiteY0"/>
                  </a:cxn>
                  <a:cxn ang="0">
                    <a:pos x="connsiteX1" y="connsiteY1"/>
                  </a:cxn>
                  <a:cxn ang="0">
                    <a:pos x="connsiteX2" y="connsiteY2"/>
                  </a:cxn>
                </a:cxnLst>
                <a:rect l="l" t="t" r="r" b="b"/>
                <a:pathLst>
                  <a:path w="7853" h="104775">
                    <a:moveTo>
                      <a:pt x="3235" y="0"/>
                    </a:moveTo>
                    <a:cubicBezTo>
                      <a:pt x="10369" y="35672"/>
                      <a:pt x="8334" y="18819"/>
                      <a:pt x="3235" y="82550"/>
                    </a:cubicBezTo>
                    <a:cubicBezTo>
                      <a:pt x="-710" y="131863"/>
                      <a:pt x="60" y="66488"/>
                      <a:pt x="60" y="104775"/>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grpSp>
        <p:grpSp>
          <p:nvGrpSpPr>
            <p:cNvPr id="298" name="Group 297">
              <a:extLst>
                <a:ext uri="{FF2B5EF4-FFF2-40B4-BE49-F238E27FC236}">
                  <a16:creationId xmlns:a16="http://schemas.microsoft.com/office/drawing/2014/main" id="{54E379F5-6D82-4FD5-900E-936A37AFCF48}"/>
                </a:ext>
              </a:extLst>
            </p:cNvPr>
            <p:cNvGrpSpPr/>
            <p:nvPr/>
          </p:nvGrpSpPr>
          <p:grpSpPr bwMode="gray">
            <a:xfrm>
              <a:off x="4911725" y="2987675"/>
              <a:ext cx="612775" cy="434975"/>
              <a:chOff x="4911725" y="2987675"/>
              <a:chExt cx="612775" cy="434975"/>
            </a:xfrm>
          </p:grpSpPr>
          <p:sp>
            <p:nvSpPr>
              <p:cNvPr id="637" name="Freeform: Shape 636">
                <a:extLst>
                  <a:ext uri="{FF2B5EF4-FFF2-40B4-BE49-F238E27FC236}">
                    <a16:creationId xmlns:a16="http://schemas.microsoft.com/office/drawing/2014/main" id="{93379A22-CFB6-462B-90DE-476ABF6A33DB}"/>
                  </a:ext>
                </a:extLst>
              </p:cNvPr>
              <p:cNvSpPr/>
              <p:nvPr/>
            </p:nvSpPr>
            <p:spPr bwMode="gray">
              <a:xfrm>
                <a:off x="5222875" y="3381372"/>
                <a:ext cx="142875" cy="41278"/>
              </a:xfrm>
              <a:custGeom>
                <a:avLst/>
                <a:gdLst>
                  <a:gd name="connsiteX0" fmla="*/ 0 w 142875"/>
                  <a:gd name="connsiteY0" fmla="*/ 15878 h 41278"/>
                  <a:gd name="connsiteX1" fmla="*/ 15875 w 142875"/>
                  <a:gd name="connsiteY1" fmla="*/ 19053 h 41278"/>
                  <a:gd name="connsiteX2" fmla="*/ 25400 w 142875"/>
                  <a:gd name="connsiteY2" fmla="*/ 28578 h 41278"/>
                  <a:gd name="connsiteX3" fmla="*/ 57150 w 142875"/>
                  <a:gd name="connsiteY3" fmla="*/ 41278 h 41278"/>
                  <a:gd name="connsiteX4" fmla="*/ 79375 w 142875"/>
                  <a:gd name="connsiteY4" fmla="*/ 25403 h 41278"/>
                  <a:gd name="connsiteX5" fmla="*/ 120650 w 142875"/>
                  <a:gd name="connsiteY5" fmla="*/ 9528 h 41278"/>
                  <a:gd name="connsiteX6" fmla="*/ 142875 w 142875"/>
                  <a:gd name="connsiteY6" fmla="*/ 3 h 41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5" h="41278">
                    <a:moveTo>
                      <a:pt x="0" y="15878"/>
                    </a:moveTo>
                    <a:cubicBezTo>
                      <a:pt x="5292" y="16936"/>
                      <a:pt x="11048" y="16640"/>
                      <a:pt x="15875" y="19053"/>
                    </a:cubicBezTo>
                    <a:cubicBezTo>
                      <a:pt x="19891" y="21061"/>
                      <a:pt x="21808" y="25884"/>
                      <a:pt x="25400" y="28578"/>
                    </a:cubicBezTo>
                    <a:cubicBezTo>
                      <a:pt x="40311" y="39761"/>
                      <a:pt x="40113" y="37871"/>
                      <a:pt x="57150" y="41278"/>
                    </a:cubicBezTo>
                    <a:cubicBezTo>
                      <a:pt x="64558" y="35986"/>
                      <a:pt x="71440" y="29866"/>
                      <a:pt x="79375" y="25403"/>
                    </a:cubicBezTo>
                    <a:cubicBezTo>
                      <a:pt x="138581" y="-7900"/>
                      <a:pt x="86684" y="23114"/>
                      <a:pt x="120650" y="9528"/>
                    </a:cubicBezTo>
                    <a:cubicBezTo>
                      <a:pt x="145646" y="-470"/>
                      <a:pt x="131855" y="3"/>
                      <a:pt x="142875" y="3"/>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38" name="Freeform: Shape 637">
                <a:extLst>
                  <a:ext uri="{FF2B5EF4-FFF2-40B4-BE49-F238E27FC236}">
                    <a16:creationId xmlns:a16="http://schemas.microsoft.com/office/drawing/2014/main" id="{A1BA1A34-8325-4CEA-BE7B-47A02C639D76}"/>
                  </a:ext>
                </a:extLst>
              </p:cNvPr>
              <p:cNvSpPr/>
              <p:nvPr/>
            </p:nvSpPr>
            <p:spPr bwMode="gray">
              <a:xfrm>
                <a:off x="4918075" y="2987675"/>
                <a:ext cx="92075" cy="117475"/>
              </a:xfrm>
              <a:custGeom>
                <a:avLst/>
                <a:gdLst>
                  <a:gd name="connsiteX0" fmla="*/ 92075 w 92075"/>
                  <a:gd name="connsiteY0" fmla="*/ 0 h 117475"/>
                  <a:gd name="connsiteX1" fmla="*/ 0 w 92075"/>
                  <a:gd name="connsiteY1" fmla="*/ 117475 h 117475"/>
                </a:gdLst>
                <a:ahLst/>
                <a:cxnLst>
                  <a:cxn ang="0">
                    <a:pos x="connsiteX0" y="connsiteY0"/>
                  </a:cxn>
                  <a:cxn ang="0">
                    <a:pos x="connsiteX1" y="connsiteY1"/>
                  </a:cxn>
                </a:cxnLst>
                <a:rect l="l" t="t" r="r" b="b"/>
                <a:pathLst>
                  <a:path w="92075" h="117475">
                    <a:moveTo>
                      <a:pt x="92075" y="0"/>
                    </a:moveTo>
                    <a:lnTo>
                      <a:pt x="0" y="117475"/>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39" name="Freeform: Shape 638">
                <a:extLst>
                  <a:ext uri="{FF2B5EF4-FFF2-40B4-BE49-F238E27FC236}">
                    <a16:creationId xmlns:a16="http://schemas.microsoft.com/office/drawing/2014/main" id="{8E4092A2-E0AE-4769-9EAE-6BEE4CE7A45B}"/>
                  </a:ext>
                </a:extLst>
              </p:cNvPr>
              <p:cNvSpPr/>
              <p:nvPr/>
            </p:nvSpPr>
            <p:spPr bwMode="gray">
              <a:xfrm>
                <a:off x="4911725" y="3079750"/>
                <a:ext cx="612775" cy="288925"/>
              </a:xfrm>
              <a:custGeom>
                <a:avLst/>
                <a:gdLst>
                  <a:gd name="connsiteX0" fmla="*/ 0 w 612775"/>
                  <a:gd name="connsiteY0" fmla="*/ 0 h 288925"/>
                  <a:gd name="connsiteX1" fmla="*/ 66675 w 612775"/>
                  <a:gd name="connsiteY1" fmla="*/ 85725 h 288925"/>
                  <a:gd name="connsiteX2" fmla="*/ 425450 w 612775"/>
                  <a:gd name="connsiteY2" fmla="*/ 288925 h 288925"/>
                  <a:gd name="connsiteX3" fmla="*/ 482600 w 612775"/>
                  <a:gd name="connsiteY3" fmla="*/ 273050 h 288925"/>
                  <a:gd name="connsiteX4" fmla="*/ 577850 w 612775"/>
                  <a:gd name="connsiteY4" fmla="*/ 149225 h 288925"/>
                  <a:gd name="connsiteX5" fmla="*/ 612775 w 612775"/>
                  <a:gd name="connsiteY5" fmla="*/ 60325 h 288925"/>
                  <a:gd name="connsiteX6" fmla="*/ 561975 w 612775"/>
                  <a:gd name="connsiteY6" fmla="*/ 38100 h 288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2775" h="288925">
                    <a:moveTo>
                      <a:pt x="0" y="0"/>
                    </a:moveTo>
                    <a:lnTo>
                      <a:pt x="66675" y="85725"/>
                    </a:lnTo>
                    <a:lnTo>
                      <a:pt x="425450" y="288925"/>
                    </a:lnTo>
                    <a:lnTo>
                      <a:pt x="482600" y="273050"/>
                    </a:lnTo>
                    <a:lnTo>
                      <a:pt x="577850" y="149225"/>
                    </a:lnTo>
                    <a:lnTo>
                      <a:pt x="612775" y="60325"/>
                    </a:lnTo>
                    <a:lnTo>
                      <a:pt x="561975" y="3810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40" name="Freeform: Shape 639">
                <a:extLst>
                  <a:ext uri="{FF2B5EF4-FFF2-40B4-BE49-F238E27FC236}">
                    <a16:creationId xmlns:a16="http://schemas.microsoft.com/office/drawing/2014/main" id="{42740958-D54C-46D9-9378-2AC67773DCFA}"/>
                  </a:ext>
                </a:extLst>
              </p:cNvPr>
              <p:cNvSpPr/>
              <p:nvPr/>
            </p:nvSpPr>
            <p:spPr bwMode="gray">
              <a:xfrm>
                <a:off x="4933950" y="3105150"/>
                <a:ext cx="460375" cy="222250"/>
              </a:xfrm>
              <a:custGeom>
                <a:avLst/>
                <a:gdLst>
                  <a:gd name="connsiteX0" fmla="*/ 0 w 460375"/>
                  <a:gd name="connsiteY0" fmla="*/ 0 h 222250"/>
                  <a:gd name="connsiteX1" fmla="*/ 60325 w 460375"/>
                  <a:gd name="connsiteY1" fmla="*/ 50800 h 222250"/>
                  <a:gd name="connsiteX2" fmla="*/ 460375 w 460375"/>
                  <a:gd name="connsiteY2" fmla="*/ 222250 h 222250"/>
                </a:gdLst>
                <a:ahLst/>
                <a:cxnLst>
                  <a:cxn ang="0">
                    <a:pos x="connsiteX0" y="connsiteY0"/>
                  </a:cxn>
                  <a:cxn ang="0">
                    <a:pos x="connsiteX1" y="connsiteY1"/>
                  </a:cxn>
                  <a:cxn ang="0">
                    <a:pos x="connsiteX2" y="connsiteY2"/>
                  </a:cxn>
                </a:cxnLst>
                <a:rect l="l" t="t" r="r" b="b"/>
                <a:pathLst>
                  <a:path w="460375" h="222250">
                    <a:moveTo>
                      <a:pt x="0" y="0"/>
                    </a:moveTo>
                    <a:lnTo>
                      <a:pt x="60325" y="50800"/>
                    </a:lnTo>
                    <a:lnTo>
                      <a:pt x="460375" y="22225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grpSp>
        <p:grpSp>
          <p:nvGrpSpPr>
            <p:cNvPr id="299" name="Group 298">
              <a:extLst>
                <a:ext uri="{FF2B5EF4-FFF2-40B4-BE49-F238E27FC236}">
                  <a16:creationId xmlns:a16="http://schemas.microsoft.com/office/drawing/2014/main" id="{91C6F5A3-BE11-45C6-B5E7-0A3CF5BAE29C}"/>
                </a:ext>
              </a:extLst>
            </p:cNvPr>
            <p:cNvGrpSpPr/>
            <p:nvPr/>
          </p:nvGrpSpPr>
          <p:grpSpPr bwMode="gray">
            <a:xfrm>
              <a:off x="4889500" y="2238375"/>
              <a:ext cx="2317750" cy="1739900"/>
              <a:chOff x="4889500" y="2238375"/>
              <a:chExt cx="2317750" cy="1739900"/>
            </a:xfrm>
          </p:grpSpPr>
          <p:sp>
            <p:nvSpPr>
              <p:cNvPr id="571" name="Freeform: Shape 570">
                <a:extLst>
                  <a:ext uri="{FF2B5EF4-FFF2-40B4-BE49-F238E27FC236}">
                    <a16:creationId xmlns:a16="http://schemas.microsoft.com/office/drawing/2014/main" id="{C5CDD3C4-7D2D-4636-83E5-5977D30980EF}"/>
                  </a:ext>
                </a:extLst>
              </p:cNvPr>
              <p:cNvSpPr/>
              <p:nvPr/>
            </p:nvSpPr>
            <p:spPr bwMode="gray">
              <a:xfrm>
                <a:off x="5083175" y="3105150"/>
                <a:ext cx="50800" cy="79375"/>
              </a:xfrm>
              <a:custGeom>
                <a:avLst/>
                <a:gdLst>
                  <a:gd name="connsiteX0" fmla="*/ 0 w 50800"/>
                  <a:gd name="connsiteY0" fmla="*/ 79375 h 79375"/>
                  <a:gd name="connsiteX1" fmla="*/ 50800 w 50800"/>
                  <a:gd name="connsiteY1" fmla="*/ 0 h 79375"/>
                </a:gdLst>
                <a:ahLst/>
                <a:cxnLst>
                  <a:cxn ang="0">
                    <a:pos x="connsiteX0" y="connsiteY0"/>
                  </a:cxn>
                  <a:cxn ang="0">
                    <a:pos x="connsiteX1" y="connsiteY1"/>
                  </a:cxn>
                </a:cxnLst>
                <a:rect l="l" t="t" r="r" b="b"/>
                <a:pathLst>
                  <a:path w="50800" h="79375">
                    <a:moveTo>
                      <a:pt x="0" y="79375"/>
                    </a:moveTo>
                    <a:lnTo>
                      <a:pt x="5080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72" name="Freeform: Shape 571">
                <a:extLst>
                  <a:ext uri="{FF2B5EF4-FFF2-40B4-BE49-F238E27FC236}">
                    <a16:creationId xmlns:a16="http://schemas.microsoft.com/office/drawing/2014/main" id="{66E7E5D4-99CB-402B-BFA0-1AACCFDE5E69}"/>
                  </a:ext>
                </a:extLst>
              </p:cNvPr>
              <p:cNvSpPr/>
              <p:nvPr/>
            </p:nvSpPr>
            <p:spPr bwMode="gray">
              <a:xfrm>
                <a:off x="4889500" y="2981325"/>
                <a:ext cx="95250" cy="66675"/>
              </a:xfrm>
              <a:custGeom>
                <a:avLst/>
                <a:gdLst>
                  <a:gd name="connsiteX0" fmla="*/ 0 w 95250"/>
                  <a:gd name="connsiteY0" fmla="*/ 44450 h 66675"/>
                  <a:gd name="connsiteX1" fmla="*/ 53975 w 95250"/>
                  <a:gd name="connsiteY1" fmla="*/ 66675 h 66675"/>
                  <a:gd name="connsiteX2" fmla="*/ 95250 w 95250"/>
                  <a:gd name="connsiteY2" fmla="*/ 0 h 66675"/>
                </a:gdLst>
                <a:ahLst/>
                <a:cxnLst>
                  <a:cxn ang="0">
                    <a:pos x="connsiteX0" y="connsiteY0"/>
                  </a:cxn>
                  <a:cxn ang="0">
                    <a:pos x="connsiteX1" y="connsiteY1"/>
                  </a:cxn>
                  <a:cxn ang="0">
                    <a:pos x="connsiteX2" y="connsiteY2"/>
                  </a:cxn>
                </a:cxnLst>
                <a:rect l="l" t="t" r="r" b="b"/>
                <a:pathLst>
                  <a:path w="95250" h="66675">
                    <a:moveTo>
                      <a:pt x="0" y="44450"/>
                    </a:moveTo>
                    <a:lnTo>
                      <a:pt x="53975" y="66675"/>
                    </a:lnTo>
                    <a:lnTo>
                      <a:pt x="9525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73" name="Freeform: Shape 572">
                <a:extLst>
                  <a:ext uri="{FF2B5EF4-FFF2-40B4-BE49-F238E27FC236}">
                    <a16:creationId xmlns:a16="http://schemas.microsoft.com/office/drawing/2014/main" id="{86BFE913-D2A5-4614-8649-802C376CF3C9}"/>
                  </a:ext>
                </a:extLst>
              </p:cNvPr>
              <p:cNvSpPr/>
              <p:nvPr/>
            </p:nvSpPr>
            <p:spPr bwMode="gray">
              <a:xfrm>
                <a:off x="5210175" y="3152775"/>
                <a:ext cx="0" cy="0"/>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74" name="Freeform: Shape 573">
                <a:extLst>
                  <a:ext uri="{FF2B5EF4-FFF2-40B4-BE49-F238E27FC236}">
                    <a16:creationId xmlns:a16="http://schemas.microsoft.com/office/drawing/2014/main" id="{9D60D238-52F1-441E-8636-72F2BB37F556}"/>
                  </a:ext>
                </a:extLst>
              </p:cNvPr>
              <p:cNvSpPr/>
              <p:nvPr/>
            </p:nvSpPr>
            <p:spPr bwMode="gray">
              <a:xfrm>
                <a:off x="5187950" y="3146425"/>
                <a:ext cx="53975" cy="53975"/>
              </a:xfrm>
              <a:custGeom>
                <a:avLst/>
                <a:gdLst>
                  <a:gd name="connsiteX0" fmla="*/ 9525 w 53975"/>
                  <a:gd name="connsiteY0" fmla="*/ 0 h 53975"/>
                  <a:gd name="connsiteX1" fmla="*/ 0 w 53975"/>
                  <a:gd name="connsiteY1" fmla="*/ 15875 h 53975"/>
                  <a:gd name="connsiteX2" fmla="*/ 9525 w 53975"/>
                  <a:gd name="connsiteY2" fmla="*/ 28575 h 53975"/>
                  <a:gd name="connsiteX3" fmla="*/ 31750 w 53975"/>
                  <a:gd name="connsiteY3" fmla="*/ 41275 h 53975"/>
                  <a:gd name="connsiteX4" fmla="*/ 47625 w 53975"/>
                  <a:gd name="connsiteY4" fmla="*/ 50800 h 53975"/>
                  <a:gd name="connsiteX5" fmla="*/ 53975 w 53975"/>
                  <a:gd name="connsiteY5" fmla="*/ 53975 h 53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975" h="53975">
                    <a:moveTo>
                      <a:pt x="9525" y="0"/>
                    </a:moveTo>
                    <a:cubicBezTo>
                      <a:pt x="6350" y="5292"/>
                      <a:pt x="0" y="9704"/>
                      <a:pt x="0" y="15875"/>
                    </a:cubicBezTo>
                    <a:cubicBezTo>
                      <a:pt x="0" y="21167"/>
                      <a:pt x="5783" y="24833"/>
                      <a:pt x="9525" y="28575"/>
                    </a:cubicBezTo>
                    <a:cubicBezTo>
                      <a:pt x="24880" y="43930"/>
                      <a:pt x="17219" y="34010"/>
                      <a:pt x="31750" y="41275"/>
                    </a:cubicBezTo>
                    <a:cubicBezTo>
                      <a:pt x="37270" y="44035"/>
                      <a:pt x="42267" y="47738"/>
                      <a:pt x="47625" y="50800"/>
                    </a:cubicBezTo>
                    <a:cubicBezTo>
                      <a:pt x="49680" y="51974"/>
                      <a:pt x="51858" y="52917"/>
                      <a:pt x="53975" y="53975"/>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75" name="Freeform: Shape 574">
                <a:extLst>
                  <a:ext uri="{FF2B5EF4-FFF2-40B4-BE49-F238E27FC236}">
                    <a16:creationId xmlns:a16="http://schemas.microsoft.com/office/drawing/2014/main" id="{FE664A78-708D-4758-8034-04F9FD9A63A4}"/>
                  </a:ext>
                </a:extLst>
              </p:cNvPr>
              <p:cNvSpPr/>
              <p:nvPr/>
            </p:nvSpPr>
            <p:spPr bwMode="gray">
              <a:xfrm>
                <a:off x="5099050" y="3174889"/>
                <a:ext cx="400050" cy="51289"/>
              </a:xfrm>
              <a:custGeom>
                <a:avLst/>
                <a:gdLst>
                  <a:gd name="connsiteX0" fmla="*/ 0 w 400050"/>
                  <a:gd name="connsiteY0" fmla="*/ 25511 h 51289"/>
                  <a:gd name="connsiteX1" fmla="*/ 177800 w 400050"/>
                  <a:gd name="connsiteY1" fmla="*/ 22336 h 51289"/>
                  <a:gd name="connsiteX2" fmla="*/ 225425 w 400050"/>
                  <a:gd name="connsiteY2" fmla="*/ 12811 h 51289"/>
                  <a:gd name="connsiteX3" fmla="*/ 241300 w 400050"/>
                  <a:gd name="connsiteY3" fmla="*/ 9636 h 51289"/>
                  <a:gd name="connsiteX4" fmla="*/ 260350 w 400050"/>
                  <a:gd name="connsiteY4" fmla="*/ 111 h 51289"/>
                  <a:gd name="connsiteX5" fmla="*/ 301625 w 400050"/>
                  <a:gd name="connsiteY5" fmla="*/ 6461 h 51289"/>
                  <a:gd name="connsiteX6" fmla="*/ 317500 w 400050"/>
                  <a:gd name="connsiteY6" fmla="*/ 15986 h 51289"/>
                  <a:gd name="connsiteX7" fmla="*/ 361950 w 400050"/>
                  <a:gd name="connsiteY7" fmla="*/ 31861 h 51289"/>
                  <a:gd name="connsiteX8" fmla="*/ 371475 w 400050"/>
                  <a:gd name="connsiteY8" fmla="*/ 41386 h 51289"/>
                  <a:gd name="connsiteX9" fmla="*/ 377825 w 400050"/>
                  <a:gd name="connsiteY9" fmla="*/ 50911 h 51289"/>
                  <a:gd name="connsiteX10" fmla="*/ 400050 w 400050"/>
                  <a:gd name="connsiteY10" fmla="*/ 41386 h 5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0050" h="51289">
                    <a:moveTo>
                      <a:pt x="0" y="25511"/>
                    </a:moveTo>
                    <a:lnTo>
                      <a:pt x="177800" y="22336"/>
                    </a:lnTo>
                    <a:cubicBezTo>
                      <a:pt x="194139" y="21817"/>
                      <a:pt x="209704" y="16439"/>
                      <a:pt x="225425" y="12811"/>
                    </a:cubicBezTo>
                    <a:cubicBezTo>
                      <a:pt x="230683" y="11598"/>
                      <a:pt x="236008" y="10694"/>
                      <a:pt x="241300" y="9636"/>
                    </a:cubicBezTo>
                    <a:cubicBezTo>
                      <a:pt x="247650" y="6461"/>
                      <a:pt x="253322" y="1115"/>
                      <a:pt x="260350" y="111"/>
                    </a:cubicBezTo>
                    <a:cubicBezTo>
                      <a:pt x="267078" y="-850"/>
                      <a:pt x="292579" y="4652"/>
                      <a:pt x="301625" y="6461"/>
                    </a:cubicBezTo>
                    <a:cubicBezTo>
                      <a:pt x="306917" y="9636"/>
                      <a:pt x="311980" y="13226"/>
                      <a:pt x="317500" y="15986"/>
                    </a:cubicBezTo>
                    <a:cubicBezTo>
                      <a:pt x="327579" y="21025"/>
                      <a:pt x="354601" y="29411"/>
                      <a:pt x="361950" y="31861"/>
                    </a:cubicBezTo>
                    <a:cubicBezTo>
                      <a:pt x="365125" y="35036"/>
                      <a:pt x="368600" y="37937"/>
                      <a:pt x="371475" y="41386"/>
                    </a:cubicBezTo>
                    <a:cubicBezTo>
                      <a:pt x="373918" y="44317"/>
                      <a:pt x="374205" y="49704"/>
                      <a:pt x="377825" y="50911"/>
                    </a:cubicBezTo>
                    <a:cubicBezTo>
                      <a:pt x="384659" y="53189"/>
                      <a:pt x="395261" y="44579"/>
                      <a:pt x="400050" y="41386"/>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76" name="Freeform: Shape 575">
                <a:extLst>
                  <a:ext uri="{FF2B5EF4-FFF2-40B4-BE49-F238E27FC236}">
                    <a16:creationId xmlns:a16="http://schemas.microsoft.com/office/drawing/2014/main" id="{795A23C5-6955-4226-8A10-4DA846B57E0F}"/>
                  </a:ext>
                </a:extLst>
              </p:cNvPr>
              <p:cNvSpPr/>
              <p:nvPr/>
            </p:nvSpPr>
            <p:spPr bwMode="gray">
              <a:xfrm>
                <a:off x="5089525" y="2847975"/>
                <a:ext cx="85749" cy="149225"/>
              </a:xfrm>
              <a:custGeom>
                <a:avLst/>
                <a:gdLst>
                  <a:gd name="connsiteX0" fmla="*/ 0 w 85749"/>
                  <a:gd name="connsiteY0" fmla="*/ 0 h 149225"/>
                  <a:gd name="connsiteX1" fmla="*/ 28575 w 85749"/>
                  <a:gd name="connsiteY1" fmla="*/ 3175 h 149225"/>
                  <a:gd name="connsiteX2" fmla="*/ 47625 w 85749"/>
                  <a:gd name="connsiteY2" fmla="*/ 19050 h 149225"/>
                  <a:gd name="connsiteX3" fmla="*/ 57150 w 85749"/>
                  <a:gd name="connsiteY3" fmla="*/ 25400 h 149225"/>
                  <a:gd name="connsiteX4" fmla="*/ 69850 w 85749"/>
                  <a:gd name="connsiteY4" fmla="*/ 47625 h 149225"/>
                  <a:gd name="connsiteX5" fmla="*/ 66675 w 85749"/>
                  <a:gd name="connsiteY5" fmla="*/ 69850 h 149225"/>
                  <a:gd name="connsiteX6" fmla="*/ 73025 w 85749"/>
                  <a:gd name="connsiteY6" fmla="*/ 101600 h 149225"/>
                  <a:gd name="connsiteX7" fmla="*/ 79375 w 85749"/>
                  <a:gd name="connsiteY7" fmla="*/ 114300 h 149225"/>
                  <a:gd name="connsiteX8" fmla="*/ 82550 w 85749"/>
                  <a:gd name="connsiteY8" fmla="*/ 130175 h 149225"/>
                  <a:gd name="connsiteX9" fmla="*/ 85725 w 85749"/>
                  <a:gd name="connsiteY9" fmla="*/ 149225 h 149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749" h="149225">
                    <a:moveTo>
                      <a:pt x="0" y="0"/>
                    </a:moveTo>
                    <a:cubicBezTo>
                      <a:pt x="9525" y="1058"/>
                      <a:pt x="19237" y="1020"/>
                      <a:pt x="28575" y="3175"/>
                    </a:cubicBezTo>
                    <a:cubicBezTo>
                      <a:pt x="46285" y="7262"/>
                      <a:pt x="37362" y="8787"/>
                      <a:pt x="47625" y="19050"/>
                    </a:cubicBezTo>
                    <a:cubicBezTo>
                      <a:pt x="50323" y="21748"/>
                      <a:pt x="53975" y="23283"/>
                      <a:pt x="57150" y="25400"/>
                    </a:cubicBezTo>
                    <a:cubicBezTo>
                      <a:pt x="59972" y="29633"/>
                      <a:pt x="69426" y="42961"/>
                      <a:pt x="69850" y="47625"/>
                    </a:cubicBezTo>
                    <a:cubicBezTo>
                      <a:pt x="70528" y="55078"/>
                      <a:pt x="67733" y="62442"/>
                      <a:pt x="66675" y="69850"/>
                    </a:cubicBezTo>
                    <a:cubicBezTo>
                      <a:pt x="68792" y="80433"/>
                      <a:pt x="70060" y="91222"/>
                      <a:pt x="73025" y="101600"/>
                    </a:cubicBezTo>
                    <a:cubicBezTo>
                      <a:pt x="74325" y="106151"/>
                      <a:pt x="77878" y="109810"/>
                      <a:pt x="79375" y="114300"/>
                    </a:cubicBezTo>
                    <a:cubicBezTo>
                      <a:pt x="81082" y="119420"/>
                      <a:pt x="81379" y="124907"/>
                      <a:pt x="82550" y="130175"/>
                    </a:cubicBezTo>
                    <a:cubicBezTo>
                      <a:pt x="86238" y="146773"/>
                      <a:pt x="85725" y="137617"/>
                      <a:pt x="85725" y="149225"/>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77" name="Freeform: Shape 576">
                <a:extLst>
                  <a:ext uri="{FF2B5EF4-FFF2-40B4-BE49-F238E27FC236}">
                    <a16:creationId xmlns:a16="http://schemas.microsoft.com/office/drawing/2014/main" id="{369D1D1F-9002-46E3-9EAB-D5C11E071509}"/>
                  </a:ext>
                </a:extLst>
              </p:cNvPr>
              <p:cNvSpPr/>
              <p:nvPr/>
            </p:nvSpPr>
            <p:spPr bwMode="gray">
              <a:xfrm>
                <a:off x="5153025" y="2870200"/>
                <a:ext cx="79375" cy="6350"/>
              </a:xfrm>
              <a:custGeom>
                <a:avLst/>
                <a:gdLst>
                  <a:gd name="connsiteX0" fmla="*/ 0 w 79375"/>
                  <a:gd name="connsiteY0" fmla="*/ 0 h 6350"/>
                  <a:gd name="connsiteX1" fmla="*/ 79375 w 79375"/>
                  <a:gd name="connsiteY1" fmla="*/ 6350 h 6350"/>
                </a:gdLst>
                <a:ahLst/>
                <a:cxnLst>
                  <a:cxn ang="0">
                    <a:pos x="connsiteX0" y="connsiteY0"/>
                  </a:cxn>
                  <a:cxn ang="0">
                    <a:pos x="connsiteX1" y="connsiteY1"/>
                  </a:cxn>
                </a:cxnLst>
                <a:rect l="l" t="t" r="r" b="b"/>
                <a:pathLst>
                  <a:path w="79375" h="6350">
                    <a:moveTo>
                      <a:pt x="0" y="0"/>
                    </a:moveTo>
                    <a:lnTo>
                      <a:pt x="79375" y="635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78" name="Freeform: Shape 577">
                <a:extLst>
                  <a:ext uri="{FF2B5EF4-FFF2-40B4-BE49-F238E27FC236}">
                    <a16:creationId xmlns:a16="http://schemas.microsoft.com/office/drawing/2014/main" id="{F85B011D-0C52-463C-8941-6772A633484F}"/>
                  </a:ext>
                </a:extLst>
              </p:cNvPr>
              <p:cNvSpPr/>
              <p:nvPr/>
            </p:nvSpPr>
            <p:spPr bwMode="gray">
              <a:xfrm>
                <a:off x="5153025" y="2901950"/>
                <a:ext cx="247650" cy="409575"/>
              </a:xfrm>
              <a:custGeom>
                <a:avLst/>
                <a:gdLst>
                  <a:gd name="connsiteX0" fmla="*/ 0 w 247650"/>
                  <a:gd name="connsiteY0" fmla="*/ 15875 h 409575"/>
                  <a:gd name="connsiteX1" fmla="*/ 31750 w 247650"/>
                  <a:gd name="connsiteY1" fmla="*/ 0 h 409575"/>
                  <a:gd name="connsiteX2" fmla="*/ 85725 w 247650"/>
                  <a:gd name="connsiteY2" fmla="*/ 69850 h 409575"/>
                  <a:gd name="connsiteX3" fmla="*/ 107950 w 247650"/>
                  <a:gd name="connsiteY3" fmla="*/ 123825 h 409575"/>
                  <a:gd name="connsiteX4" fmla="*/ 127000 w 247650"/>
                  <a:gd name="connsiteY4" fmla="*/ 238125 h 409575"/>
                  <a:gd name="connsiteX5" fmla="*/ 165100 w 247650"/>
                  <a:gd name="connsiteY5" fmla="*/ 282575 h 409575"/>
                  <a:gd name="connsiteX6" fmla="*/ 209550 w 247650"/>
                  <a:gd name="connsiteY6" fmla="*/ 342900 h 409575"/>
                  <a:gd name="connsiteX7" fmla="*/ 244475 w 247650"/>
                  <a:gd name="connsiteY7" fmla="*/ 387350 h 409575"/>
                  <a:gd name="connsiteX8" fmla="*/ 247650 w 247650"/>
                  <a:gd name="connsiteY8" fmla="*/ 409575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409575">
                    <a:moveTo>
                      <a:pt x="0" y="15875"/>
                    </a:moveTo>
                    <a:lnTo>
                      <a:pt x="31750" y="0"/>
                    </a:lnTo>
                    <a:lnTo>
                      <a:pt x="85725" y="69850"/>
                    </a:lnTo>
                    <a:lnTo>
                      <a:pt x="107950" y="123825"/>
                    </a:lnTo>
                    <a:lnTo>
                      <a:pt x="127000" y="238125"/>
                    </a:lnTo>
                    <a:lnTo>
                      <a:pt x="165100" y="282575"/>
                    </a:lnTo>
                    <a:lnTo>
                      <a:pt x="209550" y="342900"/>
                    </a:lnTo>
                    <a:lnTo>
                      <a:pt x="244475" y="387350"/>
                    </a:lnTo>
                    <a:lnTo>
                      <a:pt x="247650" y="409575"/>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79" name="Freeform: Shape 578">
                <a:extLst>
                  <a:ext uri="{FF2B5EF4-FFF2-40B4-BE49-F238E27FC236}">
                    <a16:creationId xmlns:a16="http://schemas.microsoft.com/office/drawing/2014/main" id="{EA3FA403-761A-473E-984F-332DE62BC192}"/>
                  </a:ext>
                </a:extLst>
              </p:cNvPr>
              <p:cNvSpPr/>
              <p:nvPr/>
            </p:nvSpPr>
            <p:spPr bwMode="gray">
              <a:xfrm>
                <a:off x="5260975" y="3076575"/>
                <a:ext cx="1584325" cy="304800"/>
              </a:xfrm>
              <a:custGeom>
                <a:avLst/>
                <a:gdLst>
                  <a:gd name="connsiteX0" fmla="*/ 0 w 1584325"/>
                  <a:gd name="connsiteY0" fmla="*/ 288925 h 304800"/>
                  <a:gd name="connsiteX1" fmla="*/ 88900 w 1584325"/>
                  <a:gd name="connsiteY1" fmla="*/ 238125 h 304800"/>
                  <a:gd name="connsiteX2" fmla="*/ 165100 w 1584325"/>
                  <a:gd name="connsiteY2" fmla="*/ 222250 h 304800"/>
                  <a:gd name="connsiteX3" fmla="*/ 212725 w 1584325"/>
                  <a:gd name="connsiteY3" fmla="*/ 209550 h 304800"/>
                  <a:gd name="connsiteX4" fmla="*/ 327025 w 1584325"/>
                  <a:gd name="connsiteY4" fmla="*/ 276225 h 304800"/>
                  <a:gd name="connsiteX5" fmla="*/ 428625 w 1584325"/>
                  <a:gd name="connsiteY5" fmla="*/ 273050 h 304800"/>
                  <a:gd name="connsiteX6" fmla="*/ 603250 w 1584325"/>
                  <a:gd name="connsiteY6" fmla="*/ 304800 h 304800"/>
                  <a:gd name="connsiteX7" fmla="*/ 673100 w 1584325"/>
                  <a:gd name="connsiteY7" fmla="*/ 266700 h 304800"/>
                  <a:gd name="connsiteX8" fmla="*/ 723900 w 1584325"/>
                  <a:gd name="connsiteY8" fmla="*/ 228600 h 304800"/>
                  <a:gd name="connsiteX9" fmla="*/ 768350 w 1584325"/>
                  <a:gd name="connsiteY9" fmla="*/ 203200 h 304800"/>
                  <a:gd name="connsiteX10" fmla="*/ 809625 w 1584325"/>
                  <a:gd name="connsiteY10" fmla="*/ 187325 h 304800"/>
                  <a:gd name="connsiteX11" fmla="*/ 933450 w 1584325"/>
                  <a:gd name="connsiteY11" fmla="*/ 196850 h 304800"/>
                  <a:gd name="connsiteX12" fmla="*/ 1022350 w 1584325"/>
                  <a:gd name="connsiteY12" fmla="*/ 177800 h 304800"/>
                  <a:gd name="connsiteX13" fmla="*/ 1133475 w 1584325"/>
                  <a:gd name="connsiteY13" fmla="*/ 177800 h 304800"/>
                  <a:gd name="connsiteX14" fmla="*/ 1225550 w 1584325"/>
                  <a:gd name="connsiteY14" fmla="*/ 165100 h 304800"/>
                  <a:gd name="connsiteX15" fmla="*/ 1323975 w 1584325"/>
                  <a:gd name="connsiteY15" fmla="*/ 123825 h 304800"/>
                  <a:gd name="connsiteX16" fmla="*/ 1381125 w 1584325"/>
                  <a:gd name="connsiteY16" fmla="*/ 92075 h 304800"/>
                  <a:gd name="connsiteX17" fmla="*/ 1482725 w 1584325"/>
                  <a:gd name="connsiteY17" fmla="*/ 47625 h 304800"/>
                  <a:gd name="connsiteX18" fmla="*/ 1584325 w 1584325"/>
                  <a:gd name="connsiteY18"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4325" h="304800">
                    <a:moveTo>
                      <a:pt x="0" y="288925"/>
                    </a:moveTo>
                    <a:lnTo>
                      <a:pt x="88900" y="238125"/>
                    </a:lnTo>
                    <a:lnTo>
                      <a:pt x="165100" y="222250"/>
                    </a:lnTo>
                    <a:lnTo>
                      <a:pt x="212725" y="209550"/>
                    </a:lnTo>
                    <a:lnTo>
                      <a:pt x="327025" y="276225"/>
                    </a:lnTo>
                    <a:lnTo>
                      <a:pt x="428625" y="273050"/>
                    </a:lnTo>
                    <a:lnTo>
                      <a:pt x="603250" y="304800"/>
                    </a:lnTo>
                    <a:lnTo>
                      <a:pt x="673100" y="266700"/>
                    </a:lnTo>
                    <a:lnTo>
                      <a:pt x="723900" y="228600"/>
                    </a:lnTo>
                    <a:lnTo>
                      <a:pt x="768350" y="203200"/>
                    </a:lnTo>
                    <a:lnTo>
                      <a:pt x="809625" y="187325"/>
                    </a:lnTo>
                    <a:lnTo>
                      <a:pt x="933450" y="196850"/>
                    </a:lnTo>
                    <a:lnTo>
                      <a:pt x="1022350" y="177800"/>
                    </a:lnTo>
                    <a:lnTo>
                      <a:pt x="1133475" y="177800"/>
                    </a:lnTo>
                    <a:lnTo>
                      <a:pt x="1225550" y="165100"/>
                    </a:lnTo>
                    <a:lnTo>
                      <a:pt x="1323975" y="123825"/>
                    </a:lnTo>
                    <a:lnTo>
                      <a:pt x="1381125" y="92075"/>
                    </a:lnTo>
                    <a:lnTo>
                      <a:pt x="1482725" y="47625"/>
                    </a:lnTo>
                    <a:lnTo>
                      <a:pt x="1584325"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80" name="Freeform: Shape 579">
                <a:extLst>
                  <a:ext uri="{FF2B5EF4-FFF2-40B4-BE49-F238E27FC236}">
                    <a16:creationId xmlns:a16="http://schemas.microsoft.com/office/drawing/2014/main" id="{A4BCB15E-5006-4B91-BDCA-820808587D24}"/>
                  </a:ext>
                </a:extLst>
              </p:cNvPr>
              <p:cNvSpPr/>
              <p:nvPr/>
            </p:nvSpPr>
            <p:spPr bwMode="gray">
              <a:xfrm>
                <a:off x="5543550" y="2730500"/>
                <a:ext cx="434975" cy="311150"/>
              </a:xfrm>
              <a:custGeom>
                <a:avLst/>
                <a:gdLst>
                  <a:gd name="connsiteX0" fmla="*/ 0 w 434975"/>
                  <a:gd name="connsiteY0" fmla="*/ 0 h 311150"/>
                  <a:gd name="connsiteX1" fmla="*/ 19050 w 434975"/>
                  <a:gd name="connsiteY1" fmla="*/ 3175 h 311150"/>
                  <a:gd name="connsiteX2" fmla="*/ 22225 w 434975"/>
                  <a:gd name="connsiteY2" fmla="*/ 12700 h 311150"/>
                  <a:gd name="connsiteX3" fmla="*/ 41275 w 434975"/>
                  <a:gd name="connsiteY3" fmla="*/ 31750 h 311150"/>
                  <a:gd name="connsiteX4" fmla="*/ 57150 w 434975"/>
                  <a:gd name="connsiteY4" fmla="*/ 53975 h 311150"/>
                  <a:gd name="connsiteX5" fmla="*/ 85725 w 434975"/>
                  <a:gd name="connsiteY5" fmla="*/ 85725 h 311150"/>
                  <a:gd name="connsiteX6" fmla="*/ 98425 w 434975"/>
                  <a:gd name="connsiteY6" fmla="*/ 111125 h 311150"/>
                  <a:gd name="connsiteX7" fmla="*/ 107950 w 434975"/>
                  <a:gd name="connsiteY7" fmla="*/ 136525 h 311150"/>
                  <a:gd name="connsiteX8" fmla="*/ 117475 w 434975"/>
                  <a:gd name="connsiteY8" fmla="*/ 152400 h 311150"/>
                  <a:gd name="connsiteX9" fmla="*/ 123825 w 434975"/>
                  <a:gd name="connsiteY9" fmla="*/ 177800 h 311150"/>
                  <a:gd name="connsiteX10" fmla="*/ 133350 w 434975"/>
                  <a:gd name="connsiteY10" fmla="*/ 184150 h 311150"/>
                  <a:gd name="connsiteX11" fmla="*/ 152400 w 434975"/>
                  <a:gd name="connsiteY11" fmla="*/ 206375 h 311150"/>
                  <a:gd name="connsiteX12" fmla="*/ 168275 w 434975"/>
                  <a:gd name="connsiteY12" fmla="*/ 215900 h 311150"/>
                  <a:gd name="connsiteX13" fmla="*/ 180975 w 434975"/>
                  <a:gd name="connsiteY13" fmla="*/ 231775 h 311150"/>
                  <a:gd name="connsiteX14" fmla="*/ 203200 w 434975"/>
                  <a:gd name="connsiteY14" fmla="*/ 263525 h 311150"/>
                  <a:gd name="connsiteX15" fmla="*/ 212725 w 434975"/>
                  <a:gd name="connsiteY15" fmla="*/ 269875 h 311150"/>
                  <a:gd name="connsiteX16" fmla="*/ 225425 w 434975"/>
                  <a:gd name="connsiteY16" fmla="*/ 279400 h 311150"/>
                  <a:gd name="connsiteX17" fmla="*/ 260350 w 434975"/>
                  <a:gd name="connsiteY17" fmla="*/ 301625 h 311150"/>
                  <a:gd name="connsiteX18" fmla="*/ 292100 w 434975"/>
                  <a:gd name="connsiteY18" fmla="*/ 311150 h 311150"/>
                  <a:gd name="connsiteX19" fmla="*/ 307975 w 434975"/>
                  <a:gd name="connsiteY19" fmla="*/ 301625 h 311150"/>
                  <a:gd name="connsiteX20" fmla="*/ 330200 w 434975"/>
                  <a:gd name="connsiteY20" fmla="*/ 279400 h 311150"/>
                  <a:gd name="connsiteX21" fmla="*/ 415925 w 434975"/>
                  <a:gd name="connsiteY21" fmla="*/ 285750 h 311150"/>
                  <a:gd name="connsiteX22" fmla="*/ 425450 w 434975"/>
                  <a:gd name="connsiteY22" fmla="*/ 282575 h 311150"/>
                  <a:gd name="connsiteX23" fmla="*/ 434975 w 434975"/>
                  <a:gd name="connsiteY23" fmla="*/ 276225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4975" h="311150">
                    <a:moveTo>
                      <a:pt x="0" y="0"/>
                    </a:moveTo>
                    <a:cubicBezTo>
                      <a:pt x="6350" y="1058"/>
                      <a:pt x="13461" y="-19"/>
                      <a:pt x="19050" y="3175"/>
                    </a:cubicBezTo>
                    <a:cubicBezTo>
                      <a:pt x="21956" y="4835"/>
                      <a:pt x="20170" y="10058"/>
                      <a:pt x="22225" y="12700"/>
                    </a:cubicBezTo>
                    <a:cubicBezTo>
                      <a:pt x="27738" y="19789"/>
                      <a:pt x="36294" y="24278"/>
                      <a:pt x="41275" y="31750"/>
                    </a:cubicBezTo>
                    <a:cubicBezTo>
                      <a:pt x="45827" y="38578"/>
                      <a:pt x="51899" y="48068"/>
                      <a:pt x="57150" y="53975"/>
                    </a:cubicBezTo>
                    <a:cubicBezTo>
                      <a:pt x="98484" y="100475"/>
                      <a:pt x="49635" y="40613"/>
                      <a:pt x="85725" y="85725"/>
                    </a:cubicBezTo>
                    <a:cubicBezTo>
                      <a:pt x="91296" y="108009"/>
                      <a:pt x="84933" y="89537"/>
                      <a:pt x="98425" y="111125"/>
                    </a:cubicBezTo>
                    <a:cubicBezTo>
                      <a:pt x="114242" y="136432"/>
                      <a:pt x="96698" y="111209"/>
                      <a:pt x="107950" y="136525"/>
                    </a:cubicBezTo>
                    <a:cubicBezTo>
                      <a:pt x="110456" y="142164"/>
                      <a:pt x="114300" y="147108"/>
                      <a:pt x="117475" y="152400"/>
                    </a:cubicBezTo>
                    <a:cubicBezTo>
                      <a:pt x="119592" y="160867"/>
                      <a:pt x="116563" y="172959"/>
                      <a:pt x="123825" y="177800"/>
                    </a:cubicBezTo>
                    <a:cubicBezTo>
                      <a:pt x="127000" y="179917"/>
                      <a:pt x="130652" y="181452"/>
                      <a:pt x="133350" y="184150"/>
                    </a:cubicBezTo>
                    <a:cubicBezTo>
                      <a:pt x="146226" y="197026"/>
                      <a:pt x="138576" y="196007"/>
                      <a:pt x="152400" y="206375"/>
                    </a:cubicBezTo>
                    <a:cubicBezTo>
                      <a:pt x="157337" y="210078"/>
                      <a:pt x="162983" y="212725"/>
                      <a:pt x="168275" y="215900"/>
                    </a:cubicBezTo>
                    <a:cubicBezTo>
                      <a:pt x="172508" y="221192"/>
                      <a:pt x="177089" y="226223"/>
                      <a:pt x="180975" y="231775"/>
                    </a:cubicBezTo>
                    <a:cubicBezTo>
                      <a:pt x="192421" y="248126"/>
                      <a:pt x="188364" y="248689"/>
                      <a:pt x="203200" y="263525"/>
                    </a:cubicBezTo>
                    <a:cubicBezTo>
                      <a:pt x="205898" y="266223"/>
                      <a:pt x="209620" y="267657"/>
                      <a:pt x="212725" y="269875"/>
                    </a:cubicBezTo>
                    <a:cubicBezTo>
                      <a:pt x="217031" y="272951"/>
                      <a:pt x="221090" y="276365"/>
                      <a:pt x="225425" y="279400"/>
                    </a:cubicBezTo>
                    <a:cubicBezTo>
                      <a:pt x="227247" y="280675"/>
                      <a:pt x="256013" y="300179"/>
                      <a:pt x="260350" y="301625"/>
                    </a:cubicBezTo>
                    <a:cubicBezTo>
                      <a:pt x="277184" y="307236"/>
                      <a:pt x="266657" y="303881"/>
                      <a:pt x="292100" y="311150"/>
                    </a:cubicBezTo>
                    <a:cubicBezTo>
                      <a:pt x="297392" y="307975"/>
                      <a:pt x="303234" y="305576"/>
                      <a:pt x="307975" y="301625"/>
                    </a:cubicBezTo>
                    <a:cubicBezTo>
                      <a:pt x="316024" y="294918"/>
                      <a:pt x="330200" y="279400"/>
                      <a:pt x="330200" y="279400"/>
                    </a:cubicBezTo>
                    <a:cubicBezTo>
                      <a:pt x="379987" y="289357"/>
                      <a:pt x="369827" y="291896"/>
                      <a:pt x="415925" y="285750"/>
                    </a:cubicBezTo>
                    <a:cubicBezTo>
                      <a:pt x="419242" y="285308"/>
                      <a:pt x="422457" y="284072"/>
                      <a:pt x="425450" y="282575"/>
                    </a:cubicBezTo>
                    <a:cubicBezTo>
                      <a:pt x="428863" y="280868"/>
                      <a:pt x="434975" y="276225"/>
                      <a:pt x="434975" y="276225"/>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81" name="Freeform: Shape 580">
                <a:extLst>
                  <a:ext uri="{FF2B5EF4-FFF2-40B4-BE49-F238E27FC236}">
                    <a16:creationId xmlns:a16="http://schemas.microsoft.com/office/drawing/2014/main" id="{FC23BDB5-1A2C-497C-81DC-A628A502BB77}"/>
                  </a:ext>
                </a:extLst>
              </p:cNvPr>
              <p:cNvSpPr/>
              <p:nvPr/>
            </p:nvSpPr>
            <p:spPr bwMode="gray">
              <a:xfrm>
                <a:off x="5625607" y="2428875"/>
                <a:ext cx="45984" cy="209550"/>
              </a:xfrm>
              <a:custGeom>
                <a:avLst/>
                <a:gdLst>
                  <a:gd name="connsiteX0" fmla="*/ 16368 w 45984"/>
                  <a:gd name="connsiteY0" fmla="*/ 209550 h 209550"/>
                  <a:gd name="connsiteX1" fmla="*/ 13193 w 45984"/>
                  <a:gd name="connsiteY1" fmla="*/ 187325 h 209550"/>
                  <a:gd name="connsiteX2" fmla="*/ 3668 w 45984"/>
                  <a:gd name="connsiteY2" fmla="*/ 174625 h 209550"/>
                  <a:gd name="connsiteX3" fmla="*/ 6843 w 45984"/>
                  <a:gd name="connsiteY3" fmla="*/ 146050 h 209550"/>
                  <a:gd name="connsiteX4" fmla="*/ 13193 w 45984"/>
                  <a:gd name="connsiteY4" fmla="*/ 136525 h 209550"/>
                  <a:gd name="connsiteX5" fmla="*/ 16368 w 45984"/>
                  <a:gd name="connsiteY5" fmla="*/ 117475 h 209550"/>
                  <a:gd name="connsiteX6" fmla="*/ 22718 w 45984"/>
                  <a:gd name="connsiteY6" fmla="*/ 63500 h 209550"/>
                  <a:gd name="connsiteX7" fmla="*/ 25893 w 45984"/>
                  <a:gd name="connsiteY7" fmla="*/ 53975 h 209550"/>
                  <a:gd name="connsiteX8" fmla="*/ 35418 w 45984"/>
                  <a:gd name="connsiteY8" fmla="*/ 28575 h 209550"/>
                  <a:gd name="connsiteX9" fmla="*/ 44943 w 45984"/>
                  <a:gd name="connsiteY9" fmla="*/ 22225 h 209550"/>
                  <a:gd name="connsiteX10" fmla="*/ 44943 w 45984"/>
                  <a:gd name="connsiteY10" fmla="*/ 0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84" h="209550">
                    <a:moveTo>
                      <a:pt x="16368" y="209550"/>
                    </a:moveTo>
                    <a:cubicBezTo>
                      <a:pt x="15310" y="202142"/>
                      <a:pt x="17159" y="193671"/>
                      <a:pt x="13193" y="187325"/>
                    </a:cubicBezTo>
                    <a:cubicBezTo>
                      <a:pt x="1926" y="169298"/>
                      <a:pt x="-4476" y="199058"/>
                      <a:pt x="3668" y="174625"/>
                    </a:cubicBezTo>
                    <a:cubicBezTo>
                      <a:pt x="4726" y="165100"/>
                      <a:pt x="4519" y="155347"/>
                      <a:pt x="6843" y="146050"/>
                    </a:cubicBezTo>
                    <a:cubicBezTo>
                      <a:pt x="7768" y="142348"/>
                      <a:pt x="11986" y="140145"/>
                      <a:pt x="13193" y="136525"/>
                    </a:cubicBezTo>
                    <a:cubicBezTo>
                      <a:pt x="15229" y="130418"/>
                      <a:pt x="15535" y="123859"/>
                      <a:pt x="16368" y="117475"/>
                    </a:cubicBezTo>
                    <a:cubicBezTo>
                      <a:pt x="18711" y="99511"/>
                      <a:pt x="20031" y="81415"/>
                      <a:pt x="22718" y="63500"/>
                    </a:cubicBezTo>
                    <a:cubicBezTo>
                      <a:pt x="23214" y="60190"/>
                      <a:pt x="24749" y="57120"/>
                      <a:pt x="25893" y="53975"/>
                    </a:cubicBezTo>
                    <a:cubicBezTo>
                      <a:pt x="28983" y="45477"/>
                      <a:pt x="30766" y="36329"/>
                      <a:pt x="35418" y="28575"/>
                    </a:cubicBezTo>
                    <a:cubicBezTo>
                      <a:pt x="37381" y="25303"/>
                      <a:pt x="43736" y="25845"/>
                      <a:pt x="44943" y="22225"/>
                    </a:cubicBezTo>
                    <a:cubicBezTo>
                      <a:pt x="47286" y="15197"/>
                      <a:pt x="44943" y="7408"/>
                      <a:pt x="44943" y="0"/>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82" name="Freeform: Shape 581">
                <a:extLst>
                  <a:ext uri="{FF2B5EF4-FFF2-40B4-BE49-F238E27FC236}">
                    <a16:creationId xmlns:a16="http://schemas.microsoft.com/office/drawing/2014/main" id="{153B2878-6B75-458A-9B91-6B166BA7A665}"/>
                  </a:ext>
                </a:extLst>
              </p:cNvPr>
              <p:cNvSpPr/>
              <p:nvPr/>
            </p:nvSpPr>
            <p:spPr bwMode="gray">
              <a:xfrm>
                <a:off x="5565775" y="2486025"/>
                <a:ext cx="180975" cy="114300"/>
              </a:xfrm>
              <a:custGeom>
                <a:avLst/>
                <a:gdLst>
                  <a:gd name="connsiteX0" fmla="*/ 0 w 180975"/>
                  <a:gd name="connsiteY0" fmla="*/ 0 h 114300"/>
                  <a:gd name="connsiteX1" fmla="*/ 79375 w 180975"/>
                  <a:gd name="connsiteY1" fmla="*/ 41275 h 114300"/>
                  <a:gd name="connsiteX2" fmla="*/ 180975 w 180975"/>
                  <a:gd name="connsiteY2" fmla="*/ 114300 h 114300"/>
                </a:gdLst>
                <a:ahLst/>
                <a:cxnLst>
                  <a:cxn ang="0">
                    <a:pos x="connsiteX0" y="connsiteY0"/>
                  </a:cxn>
                  <a:cxn ang="0">
                    <a:pos x="connsiteX1" y="connsiteY1"/>
                  </a:cxn>
                  <a:cxn ang="0">
                    <a:pos x="connsiteX2" y="connsiteY2"/>
                  </a:cxn>
                </a:cxnLst>
                <a:rect l="l" t="t" r="r" b="b"/>
                <a:pathLst>
                  <a:path w="180975" h="114300">
                    <a:moveTo>
                      <a:pt x="0" y="0"/>
                    </a:moveTo>
                    <a:lnTo>
                      <a:pt x="79375" y="41275"/>
                    </a:lnTo>
                    <a:lnTo>
                      <a:pt x="180975" y="11430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83" name="Freeform: Shape 582">
                <a:extLst>
                  <a:ext uri="{FF2B5EF4-FFF2-40B4-BE49-F238E27FC236}">
                    <a16:creationId xmlns:a16="http://schemas.microsoft.com/office/drawing/2014/main" id="{2246C5F4-132F-492F-A991-6A25ED55886A}"/>
                  </a:ext>
                </a:extLst>
              </p:cNvPr>
              <p:cNvSpPr/>
              <p:nvPr/>
            </p:nvSpPr>
            <p:spPr bwMode="gray">
              <a:xfrm>
                <a:off x="5851525" y="2768600"/>
                <a:ext cx="123825" cy="92075"/>
              </a:xfrm>
              <a:custGeom>
                <a:avLst/>
                <a:gdLst>
                  <a:gd name="connsiteX0" fmla="*/ 0 w 123825"/>
                  <a:gd name="connsiteY0" fmla="*/ 0 h 92075"/>
                  <a:gd name="connsiteX1" fmla="*/ 50800 w 123825"/>
                  <a:gd name="connsiteY1" fmla="*/ 73025 h 92075"/>
                  <a:gd name="connsiteX2" fmla="*/ 66675 w 123825"/>
                  <a:gd name="connsiteY2" fmla="*/ 63500 h 92075"/>
                  <a:gd name="connsiteX3" fmla="*/ 98425 w 123825"/>
                  <a:gd name="connsiteY3" fmla="*/ 57150 h 92075"/>
                  <a:gd name="connsiteX4" fmla="*/ 123825 w 123825"/>
                  <a:gd name="connsiteY4" fmla="*/ 92075 h 92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25" h="92075">
                    <a:moveTo>
                      <a:pt x="0" y="0"/>
                    </a:moveTo>
                    <a:lnTo>
                      <a:pt x="50800" y="73025"/>
                    </a:lnTo>
                    <a:lnTo>
                      <a:pt x="66675" y="63500"/>
                    </a:lnTo>
                    <a:lnTo>
                      <a:pt x="98425" y="57150"/>
                    </a:lnTo>
                    <a:lnTo>
                      <a:pt x="123825" y="92075"/>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84" name="Freeform: Shape 583">
                <a:extLst>
                  <a:ext uri="{FF2B5EF4-FFF2-40B4-BE49-F238E27FC236}">
                    <a16:creationId xmlns:a16="http://schemas.microsoft.com/office/drawing/2014/main" id="{F4B13AA6-6E73-49DC-B9A2-C8BE6D1FA25B}"/>
                  </a:ext>
                </a:extLst>
              </p:cNvPr>
              <p:cNvSpPr/>
              <p:nvPr/>
            </p:nvSpPr>
            <p:spPr bwMode="gray">
              <a:xfrm>
                <a:off x="5889625" y="2994025"/>
                <a:ext cx="85725" cy="142875"/>
              </a:xfrm>
              <a:custGeom>
                <a:avLst/>
                <a:gdLst>
                  <a:gd name="connsiteX0" fmla="*/ 0 w 85725"/>
                  <a:gd name="connsiteY0" fmla="*/ 142875 h 142875"/>
                  <a:gd name="connsiteX1" fmla="*/ 85725 w 85725"/>
                  <a:gd name="connsiteY1" fmla="*/ 69850 h 142875"/>
                  <a:gd name="connsiteX2" fmla="*/ 44450 w 85725"/>
                  <a:gd name="connsiteY2" fmla="*/ 0 h 142875"/>
                </a:gdLst>
                <a:ahLst/>
                <a:cxnLst>
                  <a:cxn ang="0">
                    <a:pos x="connsiteX0" y="connsiteY0"/>
                  </a:cxn>
                  <a:cxn ang="0">
                    <a:pos x="connsiteX1" y="connsiteY1"/>
                  </a:cxn>
                  <a:cxn ang="0">
                    <a:pos x="connsiteX2" y="connsiteY2"/>
                  </a:cxn>
                </a:cxnLst>
                <a:rect l="l" t="t" r="r" b="b"/>
                <a:pathLst>
                  <a:path w="85725" h="142875">
                    <a:moveTo>
                      <a:pt x="0" y="142875"/>
                    </a:moveTo>
                    <a:lnTo>
                      <a:pt x="85725" y="69850"/>
                    </a:lnTo>
                    <a:lnTo>
                      <a:pt x="4445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85" name="Freeform: Shape 584">
                <a:extLst>
                  <a:ext uri="{FF2B5EF4-FFF2-40B4-BE49-F238E27FC236}">
                    <a16:creationId xmlns:a16="http://schemas.microsoft.com/office/drawing/2014/main" id="{E7EEFC2C-EF0E-4CA8-B75D-4FD06C126AD4}"/>
                  </a:ext>
                </a:extLst>
              </p:cNvPr>
              <p:cNvSpPr/>
              <p:nvPr/>
            </p:nvSpPr>
            <p:spPr bwMode="gray">
              <a:xfrm>
                <a:off x="5943600" y="2720975"/>
                <a:ext cx="457200" cy="714375"/>
              </a:xfrm>
              <a:custGeom>
                <a:avLst/>
                <a:gdLst>
                  <a:gd name="connsiteX0" fmla="*/ 222250 w 457200"/>
                  <a:gd name="connsiteY0" fmla="*/ 28575 h 714375"/>
                  <a:gd name="connsiteX1" fmla="*/ 76200 w 457200"/>
                  <a:gd name="connsiteY1" fmla="*/ 0 h 714375"/>
                  <a:gd name="connsiteX2" fmla="*/ 66675 w 457200"/>
                  <a:gd name="connsiteY2" fmla="*/ 31750 h 714375"/>
                  <a:gd name="connsiteX3" fmla="*/ 53975 w 457200"/>
                  <a:gd name="connsiteY3" fmla="*/ 57150 h 714375"/>
                  <a:gd name="connsiteX4" fmla="*/ 57150 w 457200"/>
                  <a:gd name="connsiteY4" fmla="*/ 104775 h 714375"/>
                  <a:gd name="connsiteX5" fmla="*/ 31750 w 457200"/>
                  <a:gd name="connsiteY5" fmla="*/ 136525 h 714375"/>
                  <a:gd name="connsiteX6" fmla="*/ 19050 w 457200"/>
                  <a:gd name="connsiteY6" fmla="*/ 168275 h 714375"/>
                  <a:gd name="connsiteX7" fmla="*/ 0 w 457200"/>
                  <a:gd name="connsiteY7" fmla="*/ 187325 h 714375"/>
                  <a:gd name="connsiteX8" fmla="*/ 15875 w 457200"/>
                  <a:gd name="connsiteY8" fmla="*/ 219075 h 714375"/>
                  <a:gd name="connsiteX9" fmla="*/ 28575 w 457200"/>
                  <a:gd name="connsiteY9" fmla="*/ 282575 h 714375"/>
                  <a:gd name="connsiteX10" fmla="*/ 152400 w 457200"/>
                  <a:gd name="connsiteY10" fmla="*/ 311150 h 714375"/>
                  <a:gd name="connsiteX11" fmla="*/ 301625 w 457200"/>
                  <a:gd name="connsiteY11" fmla="*/ 333375 h 714375"/>
                  <a:gd name="connsiteX12" fmla="*/ 396875 w 457200"/>
                  <a:gd name="connsiteY12" fmla="*/ 346075 h 714375"/>
                  <a:gd name="connsiteX13" fmla="*/ 425450 w 457200"/>
                  <a:gd name="connsiteY13" fmla="*/ 457200 h 714375"/>
                  <a:gd name="connsiteX14" fmla="*/ 428625 w 457200"/>
                  <a:gd name="connsiteY14" fmla="*/ 546100 h 714375"/>
                  <a:gd name="connsiteX15" fmla="*/ 447675 w 457200"/>
                  <a:gd name="connsiteY15" fmla="*/ 609600 h 714375"/>
                  <a:gd name="connsiteX16" fmla="*/ 457200 w 457200"/>
                  <a:gd name="connsiteY16" fmla="*/ 654050 h 714375"/>
                  <a:gd name="connsiteX17" fmla="*/ 454025 w 457200"/>
                  <a:gd name="connsiteY17" fmla="*/ 714375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7200" h="714375">
                    <a:moveTo>
                      <a:pt x="222250" y="28575"/>
                    </a:moveTo>
                    <a:lnTo>
                      <a:pt x="76200" y="0"/>
                    </a:lnTo>
                    <a:lnTo>
                      <a:pt x="66675" y="31750"/>
                    </a:lnTo>
                    <a:lnTo>
                      <a:pt x="53975" y="57150"/>
                    </a:lnTo>
                    <a:lnTo>
                      <a:pt x="57150" y="104775"/>
                    </a:lnTo>
                    <a:lnTo>
                      <a:pt x="31750" y="136525"/>
                    </a:lnTo>
                    <a:lnTo>
                      <a:pt x="19050" y="168275"/>
                    </a:lnTo>
                    <a:lnTo>
                      <a:pt x="0" y="187325"/>
                    </a:lnTo>
                    <a:lnTo>
                      <a:pt x="15875" y="219075"/>
                    </a:lnTo>
                    <a:lnTo>
                      <a:pt x="28575" y="282575"/>
                    </a:lnTo>
                    <a:lnTo>
                      <a:pt x="152400" y="311150"/>
                    </a:lnTo>
                    <a:lnTo>
                      <a:pt x="301625" y="333375"/>
                    </a:lnTo>
                    <a:lnTo>
                      <a:pt x="396875" y="346075"/>
                    </a:lnTo>
                    <a:lnTo>
                      <a:pt x="425450" y="457200"/>
                    </a:lnTo>
                    <a:lnTo>
                      <a:pt x="428625" y="546100"/>
                    </a:lnTo>
                    <a:lnTo>
                      <a:pt x="447675" y="609600"/>
                    </a:lnTo>
                    <a:lnTo>
                      <a:pt x="457200" y="654050"/>
                    </a:lnTo>
                    <a:lnTo>
                      <a:pt x="454025" y="714375"/>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86" name="Freeform: Shape 585">
                <a:extLst>
                  <a:ext uri="{FF2B5EF4-FFF2-40B4-BE49-F238E27FC236}">
                    <a16:creationId xmlns:a16="http://schemas.microsoft.com/office/drawing/2014/main" id="{7804E122-CFF4-47E0-B8BD-36F7BAE7581A}"/>
                  </a:ext>
                </a:extLst>
              </p:cNvPr>
              <p:cNvSpPr/>
              <p:nvPr/>
            </p:nvSpPr>
            <p:spPr bwMode="gray">
              <a:xfrm>
                <a:off x="5549900" y="3717925"/>
                <a:ext cx="136525" cy="69850"/>
              </a:xfrm>
              <a:custGeom>
                <a:avLst/>
                <a:gdLst>
                  <a:gd name="connsiteX0" fmla="*/ 0 w 136525"/>
                  <a:gd name="connsiteY0" fmla="*/ 0 h 69850"/>
                  <a:gd name="connsiteX1" fmla="*/ 98425 w 136525"/>
                  <a:gd name="connsiteY1" fmla="*/ 44450 h 69850"/>
                  <a:gd name="connsiteX2" fmla="*/ 136525 w 136525"/>
                  <a:gd name="connsiteY2" fmla="*/ 69850 h 69850"/>
                </a:gdLst>
                <a:ahLst/>
                <a:cxnLst>
                  <a:cxn ang="0">
                    <a:pos x="connsiteX0" y="connsiteY0"/>
                  </a:cxn>
                  <a:cxn ang="0">
                    <a:pos x="connsiteX1" y="connsiteY1"/>
                  </a:cxn>
                  <a:cxn ang="0">
                    <a:pos x="connsiteX2" y="connsiteY2"/>
                  </a:cxn>
                </a:cxnLst>
                <a:rect l="l" t="t" r="r" b="b"/>
                <a:pathLst>
                  <a:path w="136525" h="69850">
                    <a:moveTo>
                      <a:pt x="0" y="0"/>
                    </a:moveTo>
                    <a:lnTo>
                      <a:pt x="98425" y="44450"/>
                    </a:lnTo>
                    <a:lnTo>
                      <a:pt x="136525" y="6985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87" name="Freeform: Shape 586">
                <a:extLst>
                  <a:ext uri="{FF2B5EF4-FFF2-40B4-BE49-F238E27FC236}">
                    <a16:creationId xmlns:a16="http://schemas.microsoft.com/office/drawing/2014/main" id="{97EF0704-2771-47C2-A664-5ED8B4FAF5F0}"/>
                  </a:ext>
                </a:extLst>
              </p:cNvPr>
              <p:cNvSpPr/>
              <p:nvPr/>
            </p:nvSpPr>
            <p:spPr bwMode="gray">
              <a:xfrm>
                <a:off x="5673725" y="3768725"/>
                <a:ext cx="187325" cy="53975"/>
              </a:xfrm>
              <a:custGeom>
                <a:avLst/>
                <a:gdLst>
                  <a:gd name="connsiteX0" fmla="*/ 0 w 187325"/>
                  <a:gd name="connsiteY0" fmla="*/ 44450 h 53975"/>
                  <a:gd name="connsiteX1" fmla="*/ 41275 w 187325"/>
                  <a:gd name="connsiteY1" fmla="*/ 0 h 53975"/>
                  <a:gd name="connsiteX2" fmla="*/ 187325 w 187325"/>
                  <a:gd name="connsiteY2" fmla="*/ 53975 h 53975"/>
                </a:gdLst>
                <a:ahLst/>
                <a:cxnLst>
                  <a:cxn ang="0">
                    <a:pos x="connsiteX0" y="connsiteY0"/>
                  </a:cxn>
                  <a:cxn ang="0">
                    <a:pos x="connsiteX1" y="connsiteY1"/>
                  </a:cxn>
                  <a:cxn ang="0">
                    <a:pos x="connsiteX2" y="connsiteY2"/>
                  </a:cxn>
                </a:cxnLst>
                <a:rect l="l" t="t" r="r" b="b"/>
                <a:pathLst>
                  <a:path w="187325" h="53975">
                    <a:moveTo>
                      <a:pt x="0" y="44450"/>
                    </a:moveTo>
                    <a:lnTo>
                      <a:pt x="41275" y="0"/>
                    </a:lnTo>
                    <a:lnTo>
                      <a:pt x="187325" y="53975"/>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88" name="Freeform: Shape 587">
                <a:extLst>
                  <a:ext uri="{FF2B5EF4-FFF2-40B4-BE49-F238E27FC236}">
                    <a16:creationId xmlns:a16="http://schemas.microsoft.com/office/drawing/2014/main" id="{6031C1C8-2208-4BBE-829D-87EAC0A4FF97}"/>
                  </a:ext>
                </a:extLst>
              </p:cNvPr>
              <p:cNvSpPr/>
              <p:nvPr/>
            </p:nvSpPr>
            <p:spPr bwMode="gray">
              <a:xfrm>
                <a:off x="5832475" y="3302000"/>
                <a:ext cx="212725" cy="619125"/>
              </a:xfrm>
              <a:custGeom>
                <a:avLst/>
                <a:gdLst>
                  <a:gd name="connsiteX0" fmla="*/ 0 w 212725"/>
                  <a:gd name="connsiteY0" fmla="*/ 619125 h 619125"/>
                  <a:gd name="connsiteX1" fmla="*/ 28575 w 212725"/>
                  <a:gd name="connsiteY1" fmla="*/ 520700 h 619125"/>
                  <a:gd name="connsiteX2" fmla="*/ 66675 w 212725"/>
                  <a:gd name="connsiteY2" fmla="*/ 469900 h 619125"/>
                  <a:gd name="connsiteX3" fmla="*/ 117475 w 212725"/>
                  <a:gd name="connsiteY3" fmla="*/ 412750 h 619125"/>
                  <a:gd name="connsiteX4" fmla="*/ 149225 w 212725"/>
                  <a:gd name="connsiteY4" fmla="*/ 355600 h 619125"/>
                  <a:gd name="connsiteX5" fmla="*/ 212725 w 212725"/>
                  <a:gd name="connsiteY5" fmla="*/ 307975 h 619125"/>
                  <a:gd name="connsiteX6" fmla="*/ 209550 w 212725"/>
                  <a:gd name="connsiteY6" fmla="*/ 212725 h 619125"/>
                  <a:gd name="connsiteX7" fmla="*/ 193675 w 212725"/>
                  <a:gd name="connsiteY7" fmla="*/ 161925 h 619125"/>
                  <a:gd name="connsiteX8" fmla="*/ 190500 w 212725"/>
                  <a:gd name="connsiteY8" fmla="*/ 133350 h 619125"/>
                  <a:gd name="connsiteX9" fmla="*/ 152400 w 212725"/>
                  <a:gd name="connsiteY9" fmla="*/ 0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2725" h="619125">
                    <a:moveTo>
                      <a:pt x="0" y="619125"/>
                    </a:moveTo>
                    <a:lnTo>
                      <a:pt x="28575" y="520700"/>
                    </a:lnTo>
                    <a:lnTo>
                      <a:pt x="66675" y="469900"/>
                    </a:lnTo>
                    <a:lnTo>
                      <a:pt x="117475" y="412750"/>
                    </a:lnTo>
                    <a:lnTo>
                      <a:pt x="149225" y="355600"/>
                    </a:lnTo>
                    <a:lnTo>
                      <a:pt x="212725" y="307975"/>
                    </a:lnTo>
                    <a:lnTo>
                      <a:pt x="209550" y="212725"/>
                    </a:lnTo>
                    <a:lnTo>
                      <a:pt x="193675" y="161925"/>
                    </a:lnTo>
                    <a:lnTo>
                      <a:pt x="190500" y="133350"/>
                    </a:lnTo>
                    <a:lnTo>
                      <a:pt x="15240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89" name="Freeform: Shape 588">
                <a:extLst>
                  <a:ext uri="{FF2B5EF4-FFF2-40B4-BE49-F238E27FC236}">
                    <a16:creationId xmlns:a16="http://schemas.microsoft.com/office/drawing/2014/main" id="{F03E0ABC-BCB8-4126-B3F9-9D71697D4BDE}"/>
                  </a:ext>
                </a:extLst>
              </p:cNvPr>
              <p:cNvSpPr/>
              <p:nvPr/>
            </p:nvSpPr>
            <p:spPr bwMode="gray">
              <a:xfrm>
                <a:off x="5664200" y="3273425"/>
                <a:ext cx="76200" cy="234950"/>
              </a:xfrm>
              <a:custGeom>
                <a:avLst/>
                <a:gdLst>
                  <a:gd name="connsiteX0" fmla="*/ 57150 w 76200"/>
                  <a:gd name="connsiteY0" fmla="*/ 234950 h 234950"/>
                  <a:gd name="connsiteX1" fmla="*/ 76200 w 76200"/>
                  <a:gd name="connsiteY1" fmla="*/ 184150 h 234950"/>
                  <a:gd name="connsiteX2" fmla="*/ 22225 w 76200"/>
                  <a:gd name="connsiteY2" fmla="*/ 146050 h 234950"/>
                  <a:gd name="connsiteX3" fmla="*/ 12700 w 76200"/>
                  <a:gd name="connsiteY3" fmla="*/ 66675 h 234950"/>
                  <a:gd name="connsiteX4" fmla="*/ 15875 w 76200"/>
                  <a:gd name="connsiteY4" fmla="*/ 19050 h 234950"/>
                  <a:gd name="connsiteX5" fmla="*/ 0 w 76200"/>
                  <a:gd name="connsiteY5" fmla="*/ 0 h 23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234950">
                    <a:moveTo>
                      <a:pt x="57150" y="234950"/>
                    </a:moveTo>
                    <a:lnTo>
                      <a:pt x="76200" y="184150"/>
                    </a:lnTo>
                    <a:lnTo>
                      <a:pt x="22225" y="146050"/>
                    </a:lnTo>
                    <a:lnTo>
                      <a:pt x="12700" y="66675"/>
                    </a:lnTo>
                    <a:lnTo>
                      <a:pt x="15875" y="19050"/>
                    </a:lnTo>
                    <a:lnTo>
                      <a:pt x="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90" name="Freeform: Shape 589">
                <a:extLst>
                  <a:ext uri="{FF2B5EF4-FFF2-40B4-BE49-F238E27FC236}">
                    <a16:creationId xmlns:a16="http://schemas.microsoft.com/office/drawing/2014/main" id="{91516A8B-EE0E-4CA2-925C-BD628C3537E9}"/>
                  </a:ext>
                </a:extLst>
              </p:cNvPr>
              <p:cNvSpPr/>
              <p:nvPr/>
            </p:nvSpPr>
            <p:spPr bwMode="gray">
              <a:xfrm>
                <a:off x="5657850" y="3425825"/>
                <a:ext cx="44450" cy="28575"/>
              </a:xfrm>
              <a:custGeom>
                <a:avLst/>
                <a:gdLst>
                  <a:gd name="connsiteX0" fmla="*/ 0 w 44450"/>
                  <a:gd name="connsiteY0" fmla="*/ 28575 h 28575"/>
                  <a:gd name="connsiteX1" fmla="*/ 25400 w 44450"/>
                  <a:gd name="connsiteY1" fmla="*/ 12700 h 28575"/>
                  <a:gd name="connsiteX2" fmla="*/ 44450 w 44450"/>
                  <a:gd name="connsiteY2" fmla="*/ 0 h 28575"/>
                </a:gdLst>
                <a:ahLst/>
                <a:cxnLst>
                  <a:cxn ang="0">
                    <a:pos x="connsiteX0" y="connsiteY0"/>
                  </a:cxn>
                  <a:cxn ang="0">
                    <a:pos x="connsiteX1" y="connsiteY1"/>
                  </a:cxn>
                  <a:cxn ang="0">
                    <a:pos x="connsiteX2" y="connsiteY2"/>
                  </a:cxn>
                </a:cxnLst>
                <a:rect l="l" t="t" r="r" b="b"/>
                <a:pathLst>
                  <a:path w="44450" h="28575">
                    <a:moveTo>
                      <a:pt x="0" y="28575"/>
                    </a:moveTo>
                    <a:cubicBezTo>
                      <a:pt x="35685" y="14301"/>
                      <a:pt x="-478" y="31184"/>
                      <a:pt x="25400" y="12700"/>
                    </a:cubicBezTo>
                    <a:cubicBezTo>
                      <a:pt x="52310" y="-6522"/>
                      <a:pt x="27459" y="16991"/>
                      <a:pt x="44450" y="0"/>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91" name="Freeform: Shape 590">
                <a:extLst>
                  <a:ext uri="{FF2B5EF4-FFF2-40B4-BE49-F238E27FC236}">
                    <a16:creationId xmlns:a16="http://schemas.microsoft.com/office/drawing/2014/main" id="{8405E5AA-AD4D-4460-AA7F-0C7156EFC265}"/>
                  </a:ext>
                </a:extLst>
              </p:cNvPr>
              <p:cNvSpPr/>
              <p:nvPr/>
            </p:nvSpPr>
            <p:spPr bwMode="gray">
              <a:xfrm>
                <a:off x="5702300" y="3248025"/>
                <a:ext cx="152400" cy="92075"/>
              </a:xfrm>
              <a:custGeom>
                <a:avLst/>
                <a:gdLst>
                  <a:gd name="connsiteX0" fmla="*/ 0 w 152400"/>
                  <a:gd name="connsiteY0" fmla="*/ 0 h 92075"/>
                  <a:gd name="connsiteX1" fmla="*/ 92075 w 152400"/>
                  <a:gd name="connsiteY1" fmla="*/ 34925 h 92075"/>
                  <a:gd name="connsiteX2" fmla="*/ 152400 w 152400"/>
                  <a:gd name="connsiteY2" fmla="*/ 92075 h 92075"/>
                </a:gdLst>
                <a:ahLst/>
                <a:cxnLst>
                  <a:cxn ang="0">
                    <a:pos x="connsiteX0" y="connsiteY0"/>
                  </a:cxn>
                  <a:cxn ang="0">
                    <a:pos x="connsiteX1" y="connsiteY1"/>
                  </a:cxn>
                  <a:cxn ang="0">
                    <a:pos x="connsiteX2" y="connsiteY2"/>
                  </a:cxn>
                </a:cxnLst>
                <a:rect l="l" t="t" r="r" b="b"/>
                <a:pathLst>
                  <a:path w="152400" h="92075">
                    <a:moveTo>
                      <a:pt x="0" y="0"/>
                    </a:moveTo>
                    <a:lnTo>
                      <a:pt x="92075" y="34925"/>
                    </a:lnTo>
                    <a:lnTo>
                      <a:pt x="152400" y="92075"/>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92" name="Freeform: Shape 591">
                <a:extLst>
                  <a:ext uri="{FF2B5EF4-FFF2-40B4-BE49-F238E27FC236}">
                    <a16:creationId xmlns:a16="http://schemas.microsoft.com/office/drawing/2014/main" id="{36880DA6-8007-48DE-BB55-832C21C21D32}"/>
                  </a:ext>
                </a:extLst>
              </p:cNvPr>
              <p:cNvSpPr/>
              <p:nvPr/>
            </p:nvSpPr>
            <p:spPr bwMode="gray">
              <a:xfrm>
                <a:off x="5832475" y="3289300"/>
                <a:ext cx="120650" cy="123825"/>
              </a:xfrm>
              <a:custGeom>
                <a:avLst/>
                <a:gdLst>
                  <a:gd name="connsiteX0" fmla="*/ 0 w 120650"/>
                  <a:gd name="connsiteY0" fmla="*/ 123825 h 123825"/>
                  <a:gd name="connsiteX1" fmla="*/ 22225 w 120650"/>
                  <a:gd name="connsiteY1" fmla="*/ 53975 h 123825"/>
                  <a:gd name="connsiteX2" fmla="*/ 69850 w 120650"/>
                  <a:gd name="connsiteY2" fmla="*/ 44450 h 123825"/>
                  <a:gd name="connsiteX3" fmla="*/ 107950 w 120650"/>
                  <a:gd name="connsiteY3" fmla="*/ 53975 h 123825"/>
                  <a:gd name="connsiteX4" fmla="*/ 120650 w 120650"/>
                  <a:gd name="connsiteY4" fmla="*/ 31750 h 123825"/>
                  <a:gd name="connsiteX5" fmla="*/ 50800 w 120650"/>
                  <a:gd name="connsiteY5" fmla="*/ 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650" h="123825">
                    <a:moveTo>
                      <a:pt x="0" y="123825"/>
                    </a:moveTo>
                    <a:lnTo>
                      <a:pt x="22225" y="53975"/>
                    </a:lnTo>
                    <a:lnTo>
                      <a:pt x="69850" y="44450"/>
                    </a:lnTo>
                    <a:lnTo>
                      <a:pt x="107950" y="53975"/>
                    </a:lnTo>
                    <a:lnTo>
                      <a:pt x="120650" y="31750"/>
                    </a:lnTo>
                    <a:lnTo>
                      <a:pt x="5080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93" name="Freeform: Shape 592">
                <a:extLst>
                  <a:ext uri="{FF2B5EF4-FFF2-40B4-BE49-F238E27FC236}">
                    <a16:creationId xmlns:a16="http://schemas.microsoft.com/office/drawing/2014/main" id="{05C4E0DC-B0F2-41B7-A540-4DE22D2C1313}"/>
                  </a:ext>
                </a:extLst>
              </p:cNvPr>
              <p:cNvSpPr/>
              <p:nvPr/>
            </p:nvSpPr>
            <p:spPr bwMode="gray">
              <a:xfrm>
                <a:off x="5765800" y="3155950"/>
                <a:ext cx="60325" cy="212725"/>
              </a:xfrm>
              <a:custGeom>
                <a:avLst/>
                <a:gdLst>
                  <a:gd name="connsiteX0" fmla="*/ 0 w 60325"/>
                  <a:gd name="connsiteY0" fmla="*/ 212725 h 212725"/>
                  <a:gd name="connsiteX1" fmla="*/ 22225 w 60325"/>
                  <a:gd name="connsiteY1" fmla="*/ 123825 h 212725"/>
                  <a:gd name="connsiteX2" fmla="*/ 34925 w 60325"/>
                  <a:gd name="connsiteY2" fmla="*/ 19050 h 212725"/>
                  <a:gd name="connsiteX3" fmla="*/ 19050 w 60325"/>
                  <a:gd name="connsiteY3" fmla="*/ 0 h 212725"/>
                  <a:gd name="connsiteX4" fmla="*/ 60325 w 60325"/>
                  <a:gd name="connsiteY4" fmla="*/ 19050 h 212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325" h="212725">
                    <a:moveTo>
                      <a:pt x="0" y="212725"/>
                    </a:moveTo>
                    <a:lnTo>
                      <a:pt x="22225" y="123825"/>
                    </a:lnTo>
                    <a:lnTo>
                      <a:pt x="34925" y="19050"/>
                    </a:lnTo>
                    <a:lnTo>
                      <a:pt x="19050" y="0"/>
                    </a:lnTo>
                    <a:lnTo>
                      <a:pt x="60325" y="1905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94" name="Freeform: Shape 593">
                <a:extLst>
                  <a:ext uri="{FF2B5EF4-FFF2-40B4-BE49-F238E27FC236}">
                    <a16:creationId xmlns:a16="http://schemas.microsoft.com/office/drawing/2014/main" id="{309784A3-1CAF-4A7E-9E5B-112FCD43136B}"/>
                  </a:ext>
                </a:extLst>
              </p:cNvPr>
              <p:cNvSpPr/>
              <p:nvPr/>
            </p:nvSpPr>
            <p:spPr bwMode="gray">
              <a:xfrm>
                <a:off x="5984875" y="2873375"/>
                <a:ext cx="257175" cy="47625"/>
              </a:xfrm>
              <a:custGeom>
                <a:avLst/>
                <a:gdLst>
                  <a:gd name="connsiteX0" fmla="*/ 0 w 257175"/>
                  <a:gd name="connsiteY0" fmla="*/ 47625 h 47625"/>
                  <a:gd name="connsiteX1" fmla="*/ 15875 w 257175"/>
                  <a:gd name="connsiteY1" fmla="*/ 34925 h 47625"/>
                  <a:gd name="connsiteX2" fmla="*/ 19050 w 257175"/>
                  <a:gd name="connsiteY2" fmla="*/ 22225 h 47625"/>
                  <a:gd name="connsiteX3" fmla="*/ 34925 w 257175"/>
                  <a:gd name="connsiteY3" fmla="*/ 3175 h 47625"/>
                  <a:gd name="connsiteX4" fmla="*/ 50800 w 257175"/>
                  <a:gd name="connsiteY4" fmla="*/ 0 h 47625"/>
                  <a:gd name="connsiteX5" fmla="*/ 76200 w 257175"/>
                  <a:gd name="connsiteY5" fmla="*/ 6350 h 47625"/>
                  <a:gd name="connsiteX6" fmla="*/ 117475 w 257175"/>
                  <a:gd name="connsiteY6" fmla="*/ 31750 h 47625"/>
                  <a:gd name="connsiteX7" fmla="*/ 146050 w 257175"/>
                  <a:gd name="connsiteY7" fmla="*/ 38100 h 47625"/>
                  <a:gd name="connsiteX8" fmla="*/ 155575 w 257175"/>
                  <a:gd name="connsiteY8" fmla="*/ 41275 h 47625"/>
                  <a:gd name="connsiteX9" fmla="*/ 225425 w 257175"/>
                  <a:gd name="connsiteY9" fmla="*/ 28575 h 47625"/>
                  <a:gd name="connsiteX10" fmla="*/ 234950 w 257175"/>
                  <a:gd name="connsiteY10" fmla="*/ 22225 h 47625"/>
                  <a:gd name="connsiteX11" fmla="*/ 257175 w 257175"/>
                  <a:gd name="connsiteY11" fmla="*/ 22225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7175" h="47625">
                    <a:moveTo>
                      <a:pt x="0" y="47625"/>
                    </a:moveTo>
                    <a:cubicBezTo>
                      <a:pt x="5292" y="43392"/>
                      <a:pt x="11809" y="40346"/>
                      <a:pt x="15875" y="34925"/>
                    </a:cubicBezTo>
                    <a:cubicBezTo>
                      <a:pt x="18493" y="31434"/>
                      <a:pt x="17331" y="26236"/>
                      <a:pt x="19050" y="22225"/>
                    </a:cubicBezTo>
                    <a:cubicBezTo>
                      <a:pt x="21039" y="17584"/>
                      <a:pt x="30764" y="5256"/>
                      <a:pt x="34925" y="3175"/>
                    </a:cubicBezTo>
                    <a:cubicBezTo>
                      <a:pt x="39752" y="762"/>
                      <a:pt x="45508" y="1058"/>
                      <a:pt x="50800" y="0"/>
                    </a:cubicBezTo>
                    <a:cubicBezTo>
                      <a:pt x="59267" y="2117"/>
                      <a:pt x="68292" y="2659"/>
                      <a:pt x="76200" y="6350"/>
                    </a:cubicBezTo>
                    <a:cubicBezTo>
                      <a:pt x="112617" y="23345"/>
                      <a:pt x="83720" y="20498"/>
                      <a:pt x="117475" y="31750"/>
                    </a:cubicBezTo>
                    <a:cubicBezTo>
                      <a:pt x="126732" y="34836"/>
                      <a:pt x="136584" y="35733"/>
                      <a:pt x="146050" y="38100"/>
                    </a:cubicBezTo>
                    <a:cubicBezTo>
                      <a:pt x="149297" y="38912"/>
                      <a:pt x="152400" y="40217"/>
                      <a:pt x="155575" y="41275"/>
                    </a:cubicBezTo>
                    <a:cubicBezTo>
                      <a:pt x="169257" y="39170"/>
                      <a:pt x="209363" y="33929"/>
                      <a:pt x="225425" y="28575"/>
                    </a:cubicBezTo>
                    <a:cubicBezTo>
                      <a:pt x="229045" y="27368"/>
                      <a:pt x="231443" y="23728"/>
                      <a:pt x="234950" y="22225"/>
                    </a:cubicBezTo>
                    <a:cubicBezTo>
                      <a:pt x="247159" y="16992"/>
                      <a:pt x="246377" y="18626"/>
                      <a:pt x="257175" y="22225"/>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95" name="Freeform: Shape 594">
                <a:extLst>
                  <a:ext uri="{FF2B5EF4-FFF2-40B4-BE49-F238E27FC236}">
                    <a16:creationId xmlns:a16="http://schemas.microsoft.com/office/drawing/2014/main" id="{95A257F6-09E7-486E-84DA-F8277B33B7CB}"/>
                  </a:ext>
                </a:extLst>
              </p:cNvPr>
              <p:cNvSpPr/>
              <p:nvPr/>
            </p:nvSpPr>
            <p:spPr bwMode="gray">
              <a:xfrm>
                <a:off x="6327775" y="2587625"/>
                <a:ext cx="60325" cy="121421"/>
              </a:xfrm>
              <a:custGeom>
                <a:avLst/>
                <a:gdLst>
                  <a:gd name="connsiteX0" fmla="*/ 0 w 60325"/>
                  <a:gd name="connsiteY0" fmla="*/ 0 h 121421"/>
                  <a:gd name="connsiteX1" fmla="*/ 9525 w 60325"/>
                  <a:gd name="connsiteY1" fmla="*/ 15875 h 121421"/>
                  <a:gd name="connsiteX2" fmla="*/ 15875 w 60325"/>
                  <a:gd name="connsiteY2" fmla="*/ 53975 h 121421"/>
                  <a:gd name="connsiteX3" fmla="*/ 22225 w 60325"/>
                  <a:gd name="connsiteY3" fmla="*/ 63500 h 121421"/>
                  <a:gd name="connsiteX4" fmla="*/ 28575 w 60325"/>
                  <a:gd name="connsiteY4" fmla="*/ 82550 h 121421"/>
                  <a:gd name="connsiteX5" fmla="*/ 60325 w 60325"/>
                  <a:gd name="connsiteY5" fmla="*/ 120650 h 121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25" h="121421">
                    <a:moveTo>
                      <a:pt x="0" y="0"/>
                    </a:moveTo>
                    <a:cubicBezTo>
                      <a:pt x="3175" y="5292"/>
                      <a:pt x="7233" y="10145"/>
                      <a:pt x="9525" y="15875"/>
                    </a:cubicBezTo>
                    <a:cubicBezTo>
                      <a:pt x="12735" y="23900"/>
                      <a:pt x="13923" y="47470"/>
                      <a:pt x="15875" y="53975"/>
                    </a:cubicBezTo>
                    <a:cubicBezTo>
                      <a:pt x="16971" y="57630"/>
                      <a:pt x="20675" y="60013"/>
                      <a:pt x="22225" y="63500"/>
                    </a:cubicBezTo>
                    <a:cubicBezTo>
                      <a:pt x="24943" y="69617"/>
                      <a:pt x="26458" y="76200"/>
                      <a:pt x="28575" y="82550"/>
                    </a:cubicBezTo>
                    <a:cubicBezTo>
                      <a:pt x="32541" y="130142"/>
                      <a:pt x="19006" y="120650"/>
                      <a:pt x="60325" y="120650"/>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96" name="Freeform: Shape 595">
                <a:extLst>
                  <a:ext uri="{FF2B5EF4-FFF2-40B4-BE49-F238E27FC236}">
                    <a16:creationId xmlns:a16="http://schemas.microsoft.com/office/drawing/2014/main" id="{A50C07DE-96A7-40FD-8AEB-DC28A35D4944}"/>
                  </a:ext>
                </a:extLst>
              </p:cNvPr>
              <p:cNvSpPr/>
              <p:nvPr/>
            </p:nvSpPr>
            <p:spPr bwMode="gray">
              <a:xfrm>
                <a:off x="6261980" y="2686050"/>
                <a:ext cx="94370" cy="171450"/>
              </a:xfrm>
              <a:custGeom>
                <a:avLst/>
                <a:gdLst>
                  <a:gd name="connsiteX0" fmla="*/ 94370 w 94370"/>
                  <a:gd name="connsiteY0" fmla="*/ 0 h 171450"/>
                  <a:gd name="connsiteX1" fmla="*/ 68970 w 94370"/>
                  <a:gd name="connsiteY1" fmla="*/ 3175 h 171450"/>
                  <a:gd name="connsiteX2" fmla="*/ 56270 w 94370"/>
                  <a:gd name="connsiteY2" fmla="*/ 6350 h 171450"/>
                  <a:gd name="connsiteX3" fmla="*/ 40395 w 94370"/>
                  <a:gd name="connsiteY3" fmla="*/ 9525 h 171450"/>
                  <a:gd name="connsiteX4" fmla="*/ 2295 w 94370"/>
                  <a:gd name="connsiteY4" fmla="*/ 28575 h 171450"/>
                  <a:gd name="connsiteX5" fmla="*/ 8645 w 94370"/>
                  <a:gd name="connsiteY5" fmla="*/ 69850 h 171450"/>
                  <a:gd name="connsiteX6" fmla="*/ 18170 w 94370"/>
                  <a:gd name="connsiteY6" fmla="*/ 82550 h 171450"/>
                  <a:gd name="connsiteX7" fmla="*/ 24520 w 94370"/>
                  <a:gd name="connsiteY7" fmla="*/ 95250 h 171450"/>
                  <a:gd name="connsiteX8" fmla="*/ 37220 w 94370"/>
                  <a:gd name="connsiteY8" fmla="*/ 104775 h 171450"/>
                  <a:gd name="connsiteX9" fmla="*/ 46745 w 94370"/>
                  <a:gd name="connsiteY9" fmla="*/ 114300 h 171450"/>
                  <a:gd name="connsiteX10" fmla="*/ 53095 w 94370"/>
                  <a:gd name="connsiteY10" fmla="*/ 142875 h 171450"/>
                  <a:gd name="connsiteX11" fmla="*/ 59445 w 94370"/>
                  <a:gd name="connsiteY11" fmla="*/ 17145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4370" h="171450">
                    <a:moveTo>
                      <a:pt x="94370" y="0"/>
                    </a:moveTo>
                    <a:cubicBezTo>
                      <a:pt x="85903" y="1058"/>
                      <a:pt x="77386" y="1772"/>
                      <a:pt x="68970" y="3175"/>
                    </a:cubicBezTo>
                    <a:cubicBezTo>
                      <a:pt x="64666" y="3892"/>
                      <a:pt x="60530" y="5403"/>
                      <a:pt x="56270" y="6350"/>
                    </a:cubicBezTo>
                    <a:cubicBezTo>
                      <a:pt x="51002" y="7521"/>
                      <a:pt x="45687" y="8467"/>
                      <a:pt x="40395" y="9525"/>
                    </a:cubicBezTo>
                    <a:cubicBezTo>
                      <a:pt x="27695" y="15875"/>
                      <a:pt x="8908" y="16010"/>
                      <a:pt x="2295" y="28575"/>
                    </a:cubicBezTo>
                    <a:cubicBezTo>
                      <a:pt x="-4188" y="40893"/>
                      <a:pt x="4717" y="56495"/>
                      <a:pt x="8645" y="69850"/>
                    </a:cubicBezTo>
                    <a:cubicBezTo>
                      <a:pt x="10138" y="74927"/>
                      <a:pt x="15365" y="78063"/>
                      <a:pt x="18170" y="82550"/>
                    </a:cubicBezTo>
                    <a:cubicBezTo>
                      <a:pt x="20678" y="86564"/>
                      <a:pt x="21440" y="91656"/>
                      <a:pt x="24520" y="95250"/>
                    </a:cubicBezTo>
                    <a:cubicBezTo>
                      <a:pt x="27964" y="99268"/>
                      <a:pt x="33202" y="101331"/>
                      <a:pt x="37220" y="104775"/>
                    </a:cubicBezTo>
                    <a:cubicBezTo>
                      <a:pt x="40629" y="107697"/>
                      <a:pt x="43570" y="111125"/>
                      <a:pt x="46745" y="114300"/>
                    </a:cubicBezTo>
                    <a:cubicBezTo>
                      <a:pt x="48558" y="123364"/>
                      <a:pt x="50405" y="133907"/>
                      <a:pt x="53095" y="142875"/>
                    </a:cubicBezTo>
                    <a:cubicBezTo>
                      <a:pt x="60449" y="167388"/>
                      <a:pt x="59445" y="154069"/>
                      <a:pt x="59445" y="171450"/>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97" name="Freeform: Shape 596">
                <a:extLst>
                  <a:ext uri="{FF2B5EF4-FFF2-40B4-BE49-F238E27FC236}">
                    <a16:creationId xmlns:a16="http://schemas.microsoft.com/office/drawing/2014/main" id="{30DE6F32-43FD-4FB2-8981-3EE0CD26B6E9}"/>
                  </a:ext>
                </a:extLst>
              </p:cNvPr>
              <p:cNvSpPr/>
              <p:nvPr/>
            </p:nvSpPr>
            <p:spPr bwMode="gray">
              <a:xfrm>
                <a:off x="6137275" y="2740025"/>
                <a:ext cx="336550" cy="844550"/>
              </a:xfrm>
              <a:custGeom>
                <a:avLst/>
                <a:gdLst>
                  <a:gd name="connsiteX0" fmla="*/ 165100 w 336550"/>
                  <a:gd name="connsiteY0" fmla="*/ 0 h 844550"/>
                  <a:gd name="connsiteX1" fmla="*/ 171450 w 336550"/>
                  <a:gd name="connsiteY1" fmla="*/ 47625 h 844550"/>
                  <a:gd name="connsiteX2" fmla="*/ 158750 w 336550"/>
                  <a:gd name="connsiteY2" fmla="*/ 57150 h 844550"/>
                  <a:gd name="connsiteX3" fmla="*/ 133350 w 336550"/>
                  <a:gd name="connsiteY3" fmla="*/ 92075 h 844550"/>
                  <a:gd name="connsiteX4" fmla="*/ 117475 w 336550"/>
                  <a:gd name="connsiteY4" fmla="*/ 123825 h 844550"/>
                  <a:gd name="connsiteX5" fmla="*/ 104775 w 336550"/>
                  <a:gd name="connsiteY5" fmla="*/ 161925 h 844550"/>
                  <a:gd name="connsiteX6" fmla="*/ 101600 w 336550"/>
                  <a:gd name="connsiteY6" fmla="*/ 200025 h 844550"/>
                  <a:gd name="connsiteX7" fmla="*/ 92075 w 336550"/>
                  <a:gd name="connsiteY7" fmla="*/ 215900 h 844550"/>
                  <a:gd name="connsiteX8" fmla="*/ 82550 w 336550"/>
                  <a:gd name="connsiteY8" fmla="*/ 260350 h 844550"/>
                  <a:gd name="connsiteX9" fmla="*/ 79375 w 336550"/>
                  <a:gd name="connsiteY9" fmla="*/ 342900 h 844550"/>
                  <a:gd name="connsiteX10" fmla="*/ 66675 w 336550"/>
                  <a:gd name="connsiteY10" fmla="*/ 352425 h 844550"/>
                  <a:gd name="connsiteX11" fmla="*/ 44450 w 336550"/>
                  <a:gd name="connsiteY11" fmla="*/ 374650 h 844550"/>
                  <a:gd name="connsiteX12" fmla="*/ 34925 w 336550"/>
                  <a:gd name="connsiteY12" fmla="*/ 384175 h 844550"/>
                  <a:gd name="connsiteX13" fmla="*/ 31750 w 336550"/>
                  <a:gd name="connsiteY13" fmla="*/ 396875 h 844550"/>
                  <a:gd name="connsiteX14" fmla="*/ 25400 w 336550"/>
                  <a:gd name="connsiteY14" fmla="*/ 406400 h 844550"/>
                  <a:gd name="connsiteX15" fmla="*/ 15875 w 336550"/>
                  <a:gd name="connsiteY15" fmla="*/ 428625 h 844550"/>
                  <a:gd name="connsiteX16" fmla="*/ 22225 w 336550"/>
                  <a:gd name="connsiteY16" fmla="*/ 450850 h 844550"/>
                  <a:gd name="connsiteX17" fmla="*/ 19050 w 336550"/>
                  <a:gd name="connsiteY17" fmla="*/ 482600 h 844550"/>
                  <a:gd name="connsiteX18" fmla="*/ 15875 w 336550"/>
                  <a:gd name="connsiteY18" fmla="*/ 498475 h 844550"/>
                  <a:gd name="connsiteX19" fmla="*/ 6350 w 336550"/>
                  <a:gd name="connsiteY19" fmla="*/ 508000 h 844550"/>
                  <a:gd name="connsiteX20" fmla="*/ 0 w 336550"/>
                  <a:gd name="connsiteY20" fmla="*/ 520700 h 844550"/>
                  <a:gd name="connsiteX21" fmla="*/ 12700 w 336550"/>
                  <a:gd name="connsiteY21" fmla="*/ 565150 h 844550"/>
                  <a:gd name="connsiteX22" fmla="*/ 31750 w 336550"/>
                  <a:gd name="connsiteY22" fmla="*/ 590550 h 844550"/>
                  <a:gd name="connsiteX23" fmla="*/ 66675 w 336550"/>
                  <a:gd name="connsiteY23" fmla="*/ 609600 h 844550"/>
                  <a:gd name="connsiteX24" fmla="*/ 76200 w 336550"/>
                  <a:gd name="connsiteY24" fmla="*/ 615950 h 844550"/>
                  <a:gd name="connsiteX25" fmla="*/ 111125 w 336550"/>
                  <a:gd name="connsiteY25" fmla="*/ 644525 h 844550"/>
                  <a:gd name="connsiteX26" fmla="*/ 146050 w 336550"/>
                  <a:gd name="connsiteY26" fmla="*/ 647700 h 844550"/>
                  <a:gd name="connsiteX27" fmla="*/ 190500 w 336550"/>
                  <a:gd name="connsiteY27" fmla="*/ 654050 h 844550"/>
                  <a:gd name="connsiteX28" fmla="*/ 234950 w 336550"/>
                  <a:gd name="connsiteY28" fmla="*/ 688975 h 844550"/>
                  <a:gd name="connsiteX29" fmla="*/ 257175 w 336550"/>
                  <a:gd name="connsiteY29" fmla="*/ 708025 h 844550"/>
                  <a:gd name="connsiteX30" fmla="*/ 279400 w 336550"/>
                  <a:gd name="connsiteY30" fmla="*/ 717550 h 844550"/>
                  <a:gd name="connsiteX31" fmla="*/ 295275 w 336550"/>
                  <a:gd name="connsiteY31" fmla="*/ 746125 h 844550"/>
                  <a:gd name="connsiteX32" fmla="*/ 307975 w 336550"/>
                  <a:gd name="connsiteY32" fmla="*/ 758825 h 844550"/>
                  <a:gd name="connsiteX33" fmla="*/ 314325 w 336550"/>
                  <a:gd name="connsiteY33" fmla="*/ 777875 h 844550"/>
                  <a:gd name="connsiteX34" fmla="*/ 327025 w 336550"/>
                  <a:gd name="connsiteY34" fmla="*/ 838200 h 844550"/>
                  <a:gd name="connsiteX35" fmla="*/ 336550 w 336550"/>
                  <a:gd name="connsiteY35" fmla="*/ 844550 h 844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36550" h="844550">
                    <a:moveTo>
                      <a:pt x="165100" y="0"/>
                    </a:moveTo>
                    <a:cubicBezTo>
                      <a:pt x="167115" y="7387"/>
                      <a:pt x="180683" y="34699"/>
                      <a:pt x="171450" y="47625"/>
                    </a:cubicBezTo>
                    <a:cubicBezTo>
                      <a:pt x="168374" y="51931"/>
                      <a:pt x="162194" y="53132"/>
                      <a:pt x="158750" y="57150"/>
                    </a:cubicBezTo>
                    <a:cubicBezTo>
                      <a:pt x="149382" y="68079"/>
                      <a:pt x="133350" y="92075"/>
                      <a:pt x="133350" y="92075"/>
                    </a:cubicBezTo>
                    <a:cubicBezTo>
                      <a:pt x="118666" y="136128"/>
                      <a:pt x="136282" y="89972"/>
                      <a:pt x="117475" y="123825"/>
                    </a:cubicBezTo>
                    <a:cubicBezTo>
                      <a:pt x="112056" y="133578"/>
                      <a:pt x="107563" y="152167"/>
                      <a:pt x="104775" y="161925"/>
                    </a:cubicBezTo>
                    <a:cubicBezTo>
                      <a:pt x="103717" y="174625"/>
                      <a:pt x="104519" y="187620"/>
                      <a:pt x="101600" y="200025"/>
                    </a:cubicBezTo>
                    <a:cubicBezTo>
                      <a:pt x="100187" y="206032"/>
                      <a:pt x="93665" y="209937"/>
                      <a:pt x="92075" y="215900"/>
                    </a:cubicBezTo>
                    <a:cubicBezTo>
                      <a:pt x="75408" y="278402"/>
                      <a:pt x="99451" y="226548"/>
                      <a:pt x="82550" y="260350"/>
                    </a:cubicBezTo>
                    <a:cubicBezTo>
                      <a:pt x="81492" y="287867"/>
                      <a:pt x="84054" y="315763"/>
                      <a:pt x="79375" y="342900"/>
                    </a:cubicBezTo>
                    <a:cubicBezTo>
                      <a:pt x="78476" y="348115"/>
                      <a:pt x="70591" y="348865"/>
                      <a:pt x="66675" y="352425"/>
                    </a:cubicBezTo>
                    <a:cubicBezTo>
                      <a:pt x="58923" y="359473"/>
                      <a:pt x="51858" y="367242"/>
                      <a:pt x="44450" y="374650"/>
                    </a:cubicBezTo>
                    <a:lnTo>
                      <a:pt x="34925" y="384175"/>
                    </a:lnTo>
                    <a:cubicBezTo>
                      <a:pt x="33867" y="388408"/>
                      <a:pt x="33469" y="392864"/>
                      <a:pt x="31750" y="396875"/>
                    </a:cubicBezTo>
                    <a:cubicBezTo>
                      <a:pt x="30247" y="400382"/>
                      <a:pt x="27293" y="403087"/>
                      <a:pt x="25400" y="406400"/>
                    </a:cubicBezTo>
                    <a:cubicBezTo>
                      <a:pt x="19123" y="417385"/>
                      <a:pt x="19437" y="417939"/>
                      <a:pt x="15875" y="428625"/>
                    </a:cubicBezTo>
                    <a:cubicBezTo>
                      <a:pt x="17372" y="433117"/>
                      <a:pt x="22225" y="446863"/>
                      <a:pt x="22225" y="450850"/>
                    </a:cubicBezTo>
                    <a:cubicBezTo>
                      <a:pt x="22225" y="461486"/>
                      <a:pt x="20456" y="472057"/>
                      <a:pt x="19050" y="482600"/>
                    </a:cubicBezTo>
                    <a:cubicBezTo>
                      <a:pt x="18337" y="487949"/>
                      <a:pt x="18288" y="493648"/>
                      <a:pt x="15875" y="498475"/>
                    </a:cubicBezTo>
                    <a:cubicBezTo>
                      <a:pt x="13867" y="502491"/>
                      <a:pt x="8960" y="504346"/>
                      <a:pt x="6350" y="508000"/>
                    </a:cubicBezTo>
                    <a:cubicBezTo>
                      <a:pt x="3599" y="511851"/>
                      <a:pt x="2117" y="516467"/>
                      <a:pt x="0" y="520700"/>
                    </a:cubicBezTo>
                    <a:cubicBezTo>
                      <a:pt x="550" y="522899"/>
                      <a:pt x="9284" y="560595"/>
                      <a:pt x="12700" y="565150"/>
                    </a:cubicBezTo>
                    <a:cubicBezTo>
                      <a:pt x="19050" y="573617"/>
                      <a:pt x="22022" y="586381"/>
                      <a:pt x="31750" y="590550"/>
                    </a:cubicBezTo>
                    <a:cubicBezTo>
                      <a:pt x="62484" y="603722"/>
                      <a:pt x="45133" y="594213"/>
                      <a:pt x="66675" y="609600"/>
                    </a:cubicBezTo>
                    <a:cubicBezTo>
                      <a:pt x="69780" y="611818"/>
                      <a:pt x="73502" y="613252"/>
                      <a:pt x="76200" y="615950"/>
                    </a:cubicBezTo>
                    <a:cubicBezTo>
                      <a:pt x="91303" y="631053"/>
                      <a:pt x="89248" y="639378"/>
                      <a:pt x="111125" y="644525"/>
                    </a:cubicBezTo>
                    <a:cubicBezTo>
                      <a:pt x="122504" y="647202"/>
                      <a:pt x="134444" y="646307"/>
                      <a:pt x="146050" y="647700"/>
                    </a:cubicBezTo>
                    <a:cubicBezTo>
                      <a:pt x="160910" y="649483"/>
                      <a:pt x="175683" y="651933"/>
                      <a:pt x="190500" y="654050"/>
                    </a:cubicBezTo>
                    <a:cubicBezTo>
                      <a:pt x="207299" y="665249"/>
                      <a:pt x="217733" y="671758"/>
                      <a:pt x="234950" y="688975"/>
                    </a:cubicBezTo>
                    <a:cubicBezTo>
                      <a:pt x="243609" y="697634"/>
                      <a:pt x="246314" y="701237"/>
                      <a:pt x="257175" y="708025"/>
                    </a:cubicBezTo>
                    <a:cubicBezTo>
                      <a:pt x="266143" y="713630"/>
                      <a:pt x="270141" y="714464"/>
                      <a:pt x="279400" y="717550"/>
                    </a:cubicBezTo>
                    <a:cubicBezTo>
                      <a:pt x="304082" y="742232"/>
                      <a:pt x="271965" y="707275"/>
                      <a:pt x="295275" y="746125"/>
                    </a:cubicBezTo>
                    <a:cubicBezTo>
                      <a:pt x="298355" y="751259"/>
                      <a:pt x="303742" y="754592"/>
                      <a:pt x="307975" y="758825"/>
                    </a:cubicBezTo>
                    <a:cubicBezTo>
                      <a:pt x="310092" y="765175"/>
                      <a:pt x="312763" y="771366"/>
                      <a:pt x="314325" y="777875"/>
                    </a:cubicBezTo>
                    <a:cubicBezTo>
                      <a:pt x="319121" y="797857"/>
                      <a:pt x="309927" y="826801"/>
                      <a:pt x="327025" y="838200"/>
                    </a:cubicBezTo>
                    <a:lnTo>
                      <a:pt x="336550" y="84455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98" name="Freeform: Shape 597">
                <a:extLst>
                  <a:ext uri="{FF2B5EF4-FFF2-40B4-BE49-F238E27FC236}">
                    <a16:creationId xmlns:a16="http://schemas.microsoft.com/office/drawing/2014/main" id="{708CDF7B-0928-45C9-9552-89A6E37145B8}"/>
                  </a:ext>
                </a:extLst>
              </p:cNvPr>
              <p:cNvSpPr/>
              <p:nvPr/>
            </p:nvSpPr>
            <p:spPr bwMode="gray">
              <a:xfrm>
                <a:off x="5788025" y="3216275"/>
                <a:ext cx="276225" cy="117475"/>
              </a:xfrm>
              <a:custGeom>
                <a:avLst/>
                <a:gdLst>
                  <a:gd name="connsiteX0" fmla="*/ 0 w 276225"/>
                  <a:gd name="connsiteY0" fmla="*/ 73025 h 117475"/>
                  <a:gd name="connsiteX1" fmla="*/ 69850 w 276225"/>
                  <a:gd name="connsiteY1" fmla="*/ 15875 h 117475"/>
                  <a:gd name="connsiteX2" fmla="*/ 142875 w 276225"/>
                  <a:gd name="connsiteY2" fmla="*/ 0 h 117475"/>
                  <a:gd name="connsiteX3" fmla="*/ 190500 w 276225"/>
                  <a:gd name="connsiteY3" fmla="*/ 28575 h 117475"/>
                  <a:gd name="connsiteX4" fmla="*/ 260350 w 276225"/>
                  <a:gd name="connsiteY4" fmla="*/ 50800 h 117475"/>
                  <a:gd name="connsiteX5" fmla="*/ 276225 w 276225"/>
                  <a:gd name="connsiteY5" fmla="*/ 117475 h 11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6225" h="117475">
                    <a:moveTo>
                      <a:pt x="0" y="73025"/>
                    </a:moveTo>
                    <a:lnTo>
                      <a:pt x="69850" y="15875"/>
                    </a:lnTo>
                    <a:lnTo>
                      <a:pt x="142875" y="0"/>
                    </a:lnTo>
                    <a:lnTo>
                      <a:pt x="190500" y="28575"/>
                    </a:lnTo>
                    <a:lnTo>
                      <a:pt x="260350" y="50800"/>
                    </a:lnTo>
                    <a:lnTo>
                      <a:pt x="276225" y="117475"/>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99" name="Freeform: Shape 598">
                <a:extLst>
                  <a:ext uri="{FF2B5EF4-FFF2-40B4-BE49-F238E27FC236}">
                    <a16:creationId xmlns:a16="http://schemas.microsoft.com/office/drawing/2014/main" id="{344D5F26-7A5B-4C13-BD96-F50F59EB1D69}"/>
                  </a:ext>
                </a:extLst>
              </p:cNvPr>
              <p:cNvSpPr/>
              <p:nvPr/>
            </p:nvSpPr>
            <p:spPr bwMode="gray">
              <a:xfrm>
                <a:off x="5794375" y="3340100"/>
                <a:ext cx="50800" cy="76200"/>
              </a:xfrm>
              <a:custGeom>
                <a:avLst/>
                <a:gdLst>
                  <a:gd name="connsiteX0" fmla="*/ 34925 w 50800"/>
                  <a:gd name="connsiteY0" fmla="*/ 76200 h 76200"/>
                  <a:gd name="connsiteX1" fmla="*/ 0 w 50800"/>
                  <a:gd name="connsiteY1" fmla="*/ 34925 h 76200"/>
                  <a:gd name="connsiteX2" fmla="*/ 50800 w 50800"/>
                  <a:gd name="connsiteY2" fmla="*/ 0 h 76200"/>
                </a:gdLst>
                <a:ahLst/>
                <a:cxnLst>
                  <a:cxn ang="0">
                    <a:pos x="connsiteX0" y="connsiteY0"/>
                  </a:cxn>
                  <a:cxn ang="0">
                    <a:pos x="connsiteX1" y="connsiteY1"/>
                  </a:cxn>
                  <a:cxn ang="0">
                    <a:pos x="connsiteX2" y="connsiteY2"/>
                  </a:cxn>
                </a:cxnLst>
                <a:rect l="l" t="t" r="r" b="b"/>
                <a:pathLst>
                  <a:path w="50800" h="76200">
                    <a:moveTo>
                      <a:pt x="34925" y="76200"/>
                    </a:moveTo>
                    <a:lnTo>
                      <a:pt x="0" y="34925"/>
                    </a:lnTo>
                    <a:lnTo>
                      <a:pt x="5080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00" name="Freeform: Shape 599">
                <a:extLst>
                  <a:ext uri="{FF2B5EF4-FFF2-40B4-BE49-F238E27FC236}">
                    <a16:creationId xmlns:a16="http://schemas.microsoft.com/office/drawing/2014/main" id="{96A10848-2743-4D9A-B0E9-5EF09CE05339}"/>
                  </a:ext>
                </a:extLst>
              </p:cNvPr>
              <p:cNvSpPr/>
              <p:nvPr/>
            </p:nvSpPr>
            <p:spPr bwMode="gray">
              <a:xfrm>
                <a:off x="5978525" y="3035300"/>
                <a:ext cx="130175" cy="200025"/>
              </a:xfrm>
              <a:custGeom>
                <a:avLst/>
                <a:gdLst>
                  <a:gd name="connsiteX0" fmla="*/ 0 w 130175"/>
                  <a:gd name="connsiteY0" fmla="*/ 200025 h 200025"/>
                  <a:gd name="connsiteX1" fmla="*/ 28575 w 130175"/>
                  <a:gd name="connsiteY1" fmla="*/ 158750 h 200025"/>
                  <a:gd name="connsiteX2" fmla="*/ 63500 w 130175"/>
                  <a:gd name="connsiteY2" fmla="*/ 127000 h 200025"/>
                  <a:gd name="connsiteX3" fmla="*/ 98425 w 130175"/>
                  <a:gd name="connsiteY3" fmla="*/ 66675 h 200025"/>
                  <a:gd name="connsiteX4" fmla="*/ 130175 w 130175"/>
                  <a:gd name="connsiteY4" fmla="*/ 0 h 20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175" h="200025">
                    <a:moveTo>
                      <a:pt x="0" y="200025"/>
                    </a:moveTo>
                    <a:lnTo>
                      <a:pt x="28575" y="158750"/>
                    </a:lnTo>
                    <a:lnTo>
                      <a:pt x="63500" y="127000"/>
                    </a:lnTo>
                    <a:lnTo>
                      <a:pt x="98425" y="66675"/>
                    </a:lnTo>
                    <a:lnTo>
                      <a:pt x="130175"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01" name="Freeform: Shape 600">
                <a:extLst>
                  <a:ext uri="{FF2B5EF4-FFF2-40B4-BE49-F238E27FC236}">
                    <a16:creationId xmlns:a16="http://schemas.microsoft.com/office/drawing/2014/main" id="{83E2179C-24BA-4B81-B0F3-F8F16EC3F727}"/>
                  </a:ext>
                </a:extLst>
              </p:cNvPr>
              <p:cNvSpPr/>
              <p:nvPr/>
            </p:nvSpPr>
            <p:spPr bwMode="gray">
              <a:xfrm>
                <a:off x="6051550" y="2901950"/>
                <a:ext cx="31750" cy="41275"/>
              </a:xfrm>
              <a:custGeom>
                <a:avLst/>
                <a:gdLst>
                  <a:gd name="connsiteX0" fmla="*/ 0 w 31750"/>
                  <a:gd name="connsiteY0" fmla="*/ 41275 h 41275"/>
                  <a:gd name="connsiteX1" fmla="*/ 31750 w 31750"/>
                  <a:gd name="connsiteY1" fmla="*/ 0 h 41275"/>
                </a:gdLst>
                <a:ahLst/>
                <a:cxnLst>
                  <a:cxn ang="0">
                    <a:pos x="connsiteX0" y="connsiteY0"/>
                  </a:cxn>
                  <a:cxn ang="0">
                    <a:pos x="connsiteX1" y="connsiteY1"/>
                  </a:cxn>
                </a:cxnLst>
                <a:rect l="l" t="t" r="r" b="b"/>
                <a:pathLst>
                  <a:path w="31750" h="41275">
                    <a:moveTo>
                      <a:pt x="0" y="41275"/>
                    </a:moveTo>
                    <a:lnTo>
                      <a:pt x="3175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02" name="Freeform: Shape 601">
                <a:extLst>
                  <a:ext uri="{FF2B5EF4-FFF2-40B4-BE49-F238E27FC236}">
                    <a16:creationId xmlns:a16="http://schemas.microsoft.com/office/drawing/2014/main" id="{8DAC8CB8-198C-4C65-9C20-9F2084949325}"/>
                  </a:ext>
                </a:extLst>
              </p:cNvPr>
              <p:cNvSpPr/>
              <p:nvPr/>
            </p:nvSpPr>
            <p:spPr bwMode="gray">
              <a:xfrm>
                <a:off x="6029325" y="2898775"/>
                <a:ext cx="50800" cy="19050"/>
              </a:xfrm>
              <a:custGeom>
                <a:avLst/>
                <a:gdLst>
                  <a:gd name="connsiteX0" fmla="*/ 0 w 50800"/>
                  <a:gd name="connsiteY0" fmla="*/ 19050 h 19050"/>
                  <a:gd name="connsiteX1" fmla="*/ 50800 w 50800"/>
                  <a:gd name="connsiteY1" fmla="*/ 0 h 19050"/>
                </a:gdLst>
                <a:ahLst/>
                <a:cxnLst>
                  <a:cxn ang="0">
                    <a:pos x="connsiteX0" y="connsiteY0"/>
                  </a:cxn>
                  <a:cxn ang="0">
                    <a:pos x="connsiteX1" y="connsiteY1"/>
                  </a:cxn>
                </a:cxnLst>
                <a:rect l="l" t="t" r="r" b="b"/>
                <a:pathLst>
                  <a:path w="50800" h="19050">
                    <a:moveTo>
                      <a:pt x="0" y="19050"/>
                    </a:moveTo>
                    <a:lnTo>
                      <a:pt x="5080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03" name="Freeform: Shape 602">
                <a:extLst>
                  <a:ext uri="{FF2B5EF4-FFF2-40B4-BE49-F238E27FC236}">
                    <a16:creationId xmlns:a16="http://schemas.microsoft.com/office/drawing/2014/main" id="{13963DBF-841B-4359-9EA9-73641B53E7E6}"/>
                  </a:ext>
                </a:extLst>
              </p:cNvPr>
              <p:cNvSpPr/>
              <p:nvPr/>
            </p:nvSpPr>
            <p:spPr bwMode="gray">
              <a:xfrm>
                <a:off x="6238875" y="2263775"/>
                <a:ext cx="98425" cy="247650"/>
              </a:xfrm>
              <a:custGeom>
                <a:avLst/>
                <a:gdLst>
                  <a:gd name="connsiteX0" fmla="*/ 34925 w 98425"/>
                  <a:gd name="connsiteY0" fmla="*/ 247650 h 247650"/>
                  <a:gd name="connsiteX1" fmla="*/ 34925 w 98425"/>
                  <a:gd name="connsiteY1" fmla="*/ 180975 h 247650"/>
                  <a:gd name="connsiteX2" fmla="*/ 50800 w 98425"/>
                  <a:gd name="connsiteY2" fmla="*/ 130175 h 247650"/>
                  <a:gd name="connsiteX3" fmla="*/ 38100 w 98425"/>
                  <a:gd name="connsiteY3" fmla="*/ 53975 h 247650"/>
                  <a:gd name="connsiteX4" fmla="*/ 0 w 98425"/>
                  <a:gd name="connsiteY4" fmla="*/ 0 h 247650"/>
                  <a:gd name="connsiteX5" fmla="*/ 38100 w 98425"/>
                  <a:gd name="connsiteY5" fmla="*/ 41275 h 247650"/>
                  <a:gd name="connsiteX6" fmla="*/ 98425 w 98425"/>
                  <a:gd name="connsiteY6" fmla="*/ 53975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425" h="247650">
                    <a:moveTo>
                      <a:pt x="34925" y="247650"/>
                    </a:moveTo>
                    <a:lnTo>
                      <a:pt x="34925" y="180975"/>
                    </a:lnTo>
                    <a:lnTo>
                      <a:pt x="50800" y="130175"/>
                    </a:lnTo>
                    <a:lnTo>
                      <a:pt x="38100" y="53975"/>
                    </a:lnTo>
                    <a:lnTo>
                      <a:pt x="0" y="0"/>
                    </a:lnTo>
                    <a:lnTo>
                      <a:pt x="38100" y="41275"/>
                    </a:lnTo>
                    <a:lnTo>
                      <a:pt x="98425" y="53975"/>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04" name="Freeform: Shape 603">
                <a:extLst>
                  <a:ext uri="{FF2B5EF4-FFF2-40B4-BE49-F238E27FC236}">
                    <a16:creationId xmlns:a16="http://schemas.microsoft.com/office/drawing/2014/main" id="{83C0ECFC-6068-44F0-8E3A-6A60A6639911}"/>
                  </a:ext>
                </a:extLst>
              </p:cNvPr>
              <p:cNvSpPr/>
              <p:nvPr/>
            </p:nvSpPr>
            <p:spPr bwMode="gray">
              <a:xfrm>
                <a:off x="6235700" y="2463427"/>
                <a:ext cx="31784" cy="6836"/>
              </a:xfrm>
              <a:custGeom>
                <a:avLst/>
                <a:gdLst>
                  <a:gd name="connsiteX0" fmla="*/ 0 w 31784"/>
                  <a:gd name="connsiteY0" fmla="*/ 3548 h 6836"/>
                  <a:gd name="connsiteX1" fmla="*/ 31750 w 31784"/>
                  <a:gd name="connsiteY1" fmla="*/ 6723 h 6836"/>
                  <a:gd name="connsiteX2" fmla="*/ 0 w 31784"/>
                  <a:gd name="connsiteY2" fmla="*/ 3548 h 6836"/>
                </a:gdLst>
                <a:ahLst/>
                <a:cxnLst>
                  <a:cxn ang="0">
                    <a:pos x="connsiteX0" y="connsiteY0"/>
                  </a:cxn>
                  <a:cxn ang="0">
                    <a:pos x="connsiteX1" y="connsiteY1"/>
                  </a:cxn>
                  <a:cxn ang="0">
                    <a:pos x="connsiteX2" y="connsiteY2"/>
                  </a:cxn>
                </a:cxnLst>
                <a:rect l="l" t="t" r="r" b="b"/>
                <a:pathLst>
                  <a:path w="31784" h="6836">
                    <a:moveTo>
                      <a:pt x="0" y="3548"/>
                    </a:moveTo>
                    <a:cubicBezTo>
                      <a:pt x="0" y="3548"/>
                      <a:pt x="12286" y="-6253"/>
                      <a:pt x="31750" y="6723"/>
                    </a:cubicBezTo>
                    <a:cubicBezTo>
                      <a:pt x="32995" y="7553"/>
                      <a:pt x="0" y="3548"/>
                      <a:pt x="0" y="3548"/>
                    </a:cubicBezTo>
                    <a:close/>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05" name="Freeform: Shape 604">
                <a:extLst>
                  <a:ext uri="{FF2B5EF4-FFF2-40B4-BE49-F238E27FC236}">
                    <a16:creationId xmlns:a16="http://schemas.microsoft.com/office/drawing/2014/main" id="{E23991F1-B5F5-4D7E-BAEB-8981ED0AE8D9}"/>
                  </a:ext>
                </a:extLst>
              </p:cNvPr>
              <p:cNvSpPr/>
              <p:nvPr/>
            </p:nvSpPr>
            <p:spPr bwMode="gray">
              <a:xfrm>
                <a:off x="6137275" y="2816225"/>
                <a:ext cx="933450" cy="438150"/>
              </a:xfrm>
              <a:custGeom>
                <a:avLst/>
                <a:gdLst>
                  <a:gd name="connsiteX0" fmla="*/ 0 w 933450"/>
                  <a:gd name="connsiteY0" fmla="*/ 438150 h 438150"/>
                  <a:gd name="connsiteX1" fmla="*/ 25400 w 933450"/>
                  <a:gd name="connsiteY1" fmla="*/ 428625 h 438150"/>
                  <a:gd name="connsiteX2" fmla="*/ 34925 w 933450"/>
                  <a:gd name="connsiteY2" fmla="*/ 415925 h 438150"/>
                  <a:gd name="connsiteX3" fmla="*/ 57150 w 933450"/>
                  <a:gd name="connsiteY3" fmla="*/ 396875 h 438150"/>
                  <a:gd name="connsiteX4" fmla="*/ 95250 w 933450"/>
                  <a:gd name="connsiteY4" fmla="*/ 387350 h 438150"/>
                  <a:gd name="connsiteX5" fmla="*/ 120650 w 933450"/>
                  <a:gd name="connsiteY5" fmla="*/ 384175 h 438150"/>
                  <a:gd name="connsiteX6" fmla="*/ 136525 w 933450"/>
                  <a:gd name="connsiteY6" fmla="*/ 377825 h 438150"/>
                  <a:gd name="connsiteX7" fmla="*/ 152400 w 933450"/>
                  <a:gd name="connsiteY7" fmla="*/ 368300 h 438150"/>
                  <a:gd name="connsiteX8" fmla="*/ 161925 w 933450"/>
                  <a:gd name="connsiteY8" fmla="*/ 361950 h 438150"/>
                  <a:gd name="connsiteX9" fmla="*/ 215900 w 933450"/>
                  <a:gd name="connsiteY9" fmla="*/ 346075 h 438150"/>
                  <a:gd name="connsiteX10" fmla="*/ 228600 w 933450"/>
                  <a:gd name="connsiteY10" fmla="*/ 336550 h 438150"/>
                  <a:gd name="connsiteX11" fmla="*/ 250825 w 933450"/>
                  <a:gd name="connsiteY11" fmla="*/ 320675 h 438150"/>
                  <a:gd name="connsiteX12" fmla="*/ 257175 w 933450"/>
                  <a:gd name="connsiteY12" fmla="*/ 311150 h 438150"/>
                  <a:gd name="connsiteX13" fmla="*/ 279400 w 933450"/>
                  <a:gd name="connsiteY13" fmla="*/ 282575 h 438150"/>
                  <a:gd name="connsiteX14" fmla="*/ 288925 w 933450"/>
                  <a:gd name="connsiteY14" fmla="*/ 279400 h 438150"/>
                  <a:gd name="connsiteX15" fmla="*/ 320675 w 933450"/>
                  <a:gd name="connsiteY15" fmla="*/ 250825 h 438150"/>
                  <a:gd name="connsiteX16" fmla="*/ 339725 w 933450"/>
                  <a:gd name="connsiteY16" fmla="*/ 244475 h 438150"/>
                  <a:gd name="connsiteX17" fmla="*/ 358775 w 933450"/>
                  <a:gd name="connsiteY17" fmla="*/ 228600 h 438150"/>
                  <a:gd name="connsiteX18" fmla="*/ 387350 w 933450"/>
                  <a:gd name="connsiteY18" fmla="*/ 196850 h 438150"/>
                  <a:gd name="connsiteX19" fmla="*/ 409575 w 933450"/>
                  <a:gd name="connsiteY19" fmla="*/ 180975 h 438150"/>
                  <a:gd name="connsiteX20" fmla="*/ 428625 w 933450"/>
                  <a:gd name="connsiteY20" fmla="*/ 168275 h 438150"/>
                  <a:gd name="connsiteX21" fmla="*/ 441325 w 933450"/>
                  <a:gd name="connsiteY21" fmla="*/ 158750 h 438150"/>
                  <a:gd name="connsiteX22" fmla="*/ 450850 w 933450"/>
                  <a:gd name="connsiteY22" fmla="*/ 149225 h 438150"/>
                  <a:gd name="connsiteX23" fmla="*/ 463550 w 933450"/>
                  <a:gd name="connsiteY23" fmla="*/ 142875 h 438150"/>
                  <a:gd name="connsiteX24" fmla="*/ 485775 w 933450"/>
                  <a:gd name="connsiteY24" fmla="*/ 117475 h 438150"/>
                  <a:gd name="connsiteX25" fmla="*/ 504825 w 933450"/>
                  <a:gd name="connsiteY25" fmla="*/ 101600 h 438150"/>
                  <a:gd name="connsiteX26" fmla="*/ 542925 w 933450"/>
                  <a:gd name="connsiteY26" fmla="*/ 92075 h 438150"/>
                  <a:gd name="connsiteX27" fmla="*/ 552450 w 933450"/>
                  <a:gd name="connsiteY27" fmla="*/ 88900 h 438150"/>
                  <a:gd name="connsiteX28" fmla="*/ 854075 w 933450"/>
                  <a:gd name="connsiteY28" fmla="*/ 85725 h 438150"/>
                  <a:gd name="connsiteX29" fmla="*/ 885825 w 933450"/>
                  <a:gd name="connsiteY29" fmla="*/ 66675 h 438150"/>
                  <a:gd name="connsiteX30" fmla="*/ 898525 w 933450"/>
                  <a:gd name="connsiteY30" fmla="*/ 63500 h 438150"/>
                  <a:gd name="connsiteX31" fmla="*/ 904875 w 933450"/>
                  <a:gd name="connsiteY31" fmla="*/ 53975 h 438150"/>
                  <a:gd name="connsiteX32" fmla="*/ 908050 w 933450"/>
                  <a:gd name="connsiteY32" fmla="*/ 44450 h 438150"/>
                  <a:gd name="connsiteX33" fmla="*/ 920750 w 933450"/>
                  <a:gd name="connsiteY33" fmla="*/ 25400 h 438150"/>
                  <a:gd name="connsiteX34" fmla="*/ 927100 w 933450"/>
                  <a:gd name="connsiteY34" fmla="*/ 15875 h 438150"/>
                  <a:gd name="connsiteX35" fmla="*/ 933450 w 933450"/>
                  <a:gd name="connsiteY35" fmla="*/ 0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33450" h="438150">
                    <a:moveTo>
                      <a:pt x="0" y="438150"/>
                    </a:moveTo>
                    <a:cubicBezTo>
                      <a:pt x="8467" y="434975"/>
                      <a:pt x="17771" y="433480"/>
                      <a:pt x="25400" y="428625"/>
                    </a:cubicBezTo>
                    <a:cubicBezTo>
                      <a:pt x="29864" y="425784"/>
                      <a:pt x="31440" y="419907"/>
                      <a:pt x="34925" y="415925"/>
                    </a:cubicBezTo>
                    <a:cubicBezTo>
                      <a:pt x="39932" y="410203"/>
                      <a:pt x="49267" y="400379"/>
                      <a:pt x="57150" y="396875"/>
                    </a:cubicBezTo>
                    <a:cubicBezTo>
                      <a:pt x="70933" y="390749"/>
                      <a:pt x="80537" y="389452"/>
                      <a:pt x="95250" y="387350"/>
                    </a:cubicBezTo>
                    <a:cubicBezTo>
                      <a:pt x="103697" y="386143"/>
                      <a:pt x="112183" y="385233"/>
                      <a:pt x="120650" y="384175"/>
                    </a:cubicBezTo>
                    <a:cubicBezTo>
                      <a:pt x="125942" y="382058"/>
                      <a:pt x="131427" y="380374"/>
                      <a:pt x="136525" y="377825"/>
                    </a:cubicBezTo>
                    <a:cubicBezTo>
                      <a:pt x="142045" y="375065"/>
                      <a:pt x="147167" y="371571"/>
                      <a:pt x="152400" y="368300"/>
                    </a:cubicBezTo>
                    <a:cubicBezTo>
                      <a:pt x="155636" y="366278"/>
                      <a:pt x="158403" y="363418"/>
                      <a:pt x="161925" y="361950"/>
                    </a:cubicBezTo>
                    <a:cubicBezTo>
                      <a:pt x="180352" y="354272"/>
                      <a:pt x="196777" y="350856"/>
                      <a:pt x="215900" y="346075"/>
                    </a:cubicBezTo>
                    <a:cubicBezTo>
                      <a:pt x="220133" y="342900"/>
                      <a:pt x="224294" y="339626"/>
                      <a:pt x="228600" y="336550"/>
                    </a:cubicBezTo>
                    <a:cubicBezTo>
                      <a:pt x="234910" y="332043"/>
                      <a:pt x="245637" y="325863"/>
                      <a:pt x="250825" y="320675"/>
                    </a:cubicBezTo>
                    <a:cubicBezTo>
                      <a:pt x="253523" y="317977"/>
                      <a:pt x="254885" y="314203"/>
                      <a:pt x="257175" y="311150"/>
                    </a:cubicBezTo>
                    <a:cubicBezTo>
                      <a:pt x="264415" y="301497"/>
                      <a:pt x="270867" y="291108"/>
                      <a:pt x="279400" y="282575"/>
                    </a:cubicBezTo>
                    <a:cubicBezTo>
                      <a:pt x="281767" y="280208"/>
                      <a:pt x="285750" y="280458"/>
                      <a:pt x="288925" y="279400"/>
                    </a:cubicBezTo>
                    <a:cubicBezTo>
                      <a:pt x="298421" y="267530"/>
                      <a:pt x="304964" y="256062"/>
                      <a:pt x="320675" y="250825"/>
                    </a:cubicBezTo>
                    <a:lnTo>
                      <a:pt x="339725" y="244475"/>
                    </a:lnTo>
                    <a:cubicBezTo>
                      <a:pt x="346075" y="239183"/>
                      <a:pt x="352930" y="234445"/>
                      <a:pt x="358775" y="228600"/>
                    </a:cubicBezTo>
                    <a:cubicBezTo>
                      <a:pt x="380102" y="207273"/>
                      <a:pt x="337263" y="230241"/>
                      <a:pt x="387350" y="196850"/>
                    </a:cubicBezTo>
                    <a:cubicBezTo>
                      <a:pt x="394888" y="191824"/>
                      <a:pt x="402683" y="186882"/>
                      <a:pt x="409575" y="180975"/>
                    </a:cubicBezTo>
                    <a:cubicBezTo>
                      <a:pt x="424710" y="168002"/>
                      <a:pt x="412423" y="173676"/>
                      <a:pt x="428625" y="168275"/>
                    </a:cubicBezTo>
                    <a:cubicBezTo>
                      <a:pt x="432858" y="165100"/>
                      <a:pt x="437307" y="162194"/>
                      <a:pt x="441325" y="158750"/>
                    </a:cubicBezTo>
                    <a:cubicBezTo>
                      <a:pt x="444734" y="155828"/>
                      <a:pt x="447196" y="151835"/>
                      <a:pt x="450850" y="149225"/>
                    </a:cubicBezTo>
                    <a:cubicBezTo>
                      <a:pt x="454701" y="146474"/>
                      <a:pt x="459317" y="144992"/>
                      <a:pt x="463550" y="142875"/>
                    </a:cubicBezTo>
                    <a:cubicBezTo>
                      <a:pt x="473842" y="122291"/>
                      <a:pt x="464899" y="135741"/>
                      <a:pt x="485775" y="117475"/>
                    </a:cubicBezTo>
                    <a:cubicBezTo>
                      <a:pt x="491216" y="112714"/>
                      <a:pt x="497327" y="104099"/>
                      <a:pt x="504825" y="101600"/>
                    </a:cubicBezTo>
                    <a:cubicBezTo>
                      <a:pt x="517244" y="97460"/>
                      <a:pt x="530506" y="96215"/>
                      <a:pt x="542925" y="92075"/>
                    </a:cubicBezTo>
                    <a:cubicBezTo>
                      <a:pt x="546100" y="91017"/>
                      <a:pt x="549104" y="88968"/>
                      <a:pt x="552450" y="88900"/>
                    </a:cubicBezTo>
                    <a:lnTo>
                      <a:pt x="854075" y="85725"/>
                    </a:lnTo>
                    <a:cubicBezTo>
                      <a:pt x="863570" y="79395"/>
                      <a:pt x="874667" y="70859"/>
                      <a:pt x="885825" y="66675"/>
                    </a:cubicBezTo>
                    <a:cubicBezTo>
                      <a:pt x="889911" y="65143"/>
                      <a:pt x="894292" y="64558"/>
                      <a:pt x="898525" y="63500"/>
                    </a:cubicBezTo>
                    <a:cubicBezTo>
                      <a:pt x="900642" y="60325"/>
                      <a:pt x="903168" y="57388"/>
                      <a:pt x="904875" y="53975"/>
                    </a:cubicBezTo>
                    <a:cubicBezTo>
                      <a:pt x="906372" y="50982"/>
                      <a:pt x="906425" y="47376"/>
                      <a:pt x="908050" y="44450"/>
                    </a:cubicBezTo>
                    <a:cubicBezTo>
                      <a:pt x="911756" y="37779"/>
                      <a:pt x="916517" y="31750"/>
                      <a:pt x="920750" y="25400"/>
                    </a:cubicBezTo>
                    <a:cubicBezTo>
                      <a:pt x="922867" y="22225"/>
                      <a:pt x="925893" y="19495"/>
                      <a:pt x="927100" y="15875"/>
                    </a:cubicBezTo>
                    <a:cubicBezTo>
                      <a:pt x="931023" y="4105"/>
                      <a:pt x="928778" y="9343"/>
                      <a:pt x="933450" y="0"/>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06" name="Freeform: Shape 605">
                <a:extLst>
                  <a:ext uri="{FF2B5EF4-FFF2-40B4-BE49-F238E27FC236}">
                    <a16:creationId xmlns:a16="http://schemas.microsoft.com/office/drawing/2014/main" id="{C0D9EF2F-B7F0-4EBF-9E61-5118AF64172A}"/>
                  </a:ext>
                </a:extLst>
              </p:cNvPr>
              <p:cNvSpPr/>
              <p:nvPr/>
            </p:nvSpPr>
            <p:spPr bwMode="gray">
              <a:xfrm>
                <a:off x="6607175" y="2383155"/>
                <a:ext cx="123825" cy="455295"/>
              </a:xfrm>
              <a:custGeom>
                <a:avLst/>
                <a:gdLst>
                  <a:gd name="connsiteX0" fmla="*/ 0 w 123825"/>
                  <a:gd name="connsiteY0" fmla="*/ 115570 h 455295"/>
                  <a:gd name="connsiteX1" fmla="*/ 6350 w 123825"/>
                  <a:gd name="connsiteY1" fmla="*/ 99695 h 455295"/>
                  <a:gd name="connsiteX2" fmla="*/ 12700 w 123825"/>
                  <a:gd name="connsiteY2" fmla="*/ 86995 h 455295"/>
                  <a:gd name="connsiteX3" fmla="*/ 19050 w 123825"/>
                  <a:gd name="connsiteY3" fmla="*/ 61595 h 455295"/>
                  <a:gd name="connsiteX4" fmla="*/ 22225 w 123825"/>
                  <a:gd name="connsiteY4" fmla="*/ 52070 h 455295"/>
                  <a:gd name="connsiteX5" fmla="*/ 19050 w 123825"/>
                  <a:gd name="connsiteY5" fmla="*/ 1270 h 455295"/>
                  <a:gd name="connsiteX6" fmla="*/ 15875 w 123825"/>
                  <a:gd name="connsiteY6" fmla="*/ 20320 h 455295"/>
                  <a:gd name="connsiteX7" fmla="*/ 22225 w 123825"/>
                  <a:gd name="connsiteY7" fmla="*/ 61595 h 455295"/>
                  <a:gd name="connsiteX8" fmla="*/ 31750 w 123825"/>
                  <a:gd name="connsiteY8" fmla="*/ 80645 h 455295"/>
                  <a:gd name="connsiteX9" fmla="*/ 41275 w 123825"/>
                  <a:gd name="connsiteY9" fmla="*/ 90170 h 455295"/>
                  <a:gd name="connsiteX10" fmla="*/ 47625 w 123825"/>
                  <a:gd name="connsiteY10" fmla="*/ 99695 h 455295"/>
                  <a:gd name="connsiteX11" fmla="*/ 57150 w 123825"/>
                  <a:gd name="connsiteY11" fmla="*/ 112395 h 455295"/>
                  <a:gd name="connsiteX12" fmla="*/ 69850 w 123825"/>
                  <a:gd name="connsiteY12" fmla="*/ 134620 h 455295"/>
                  <a:gd name="connsiteX13" fmla="*/ 85725 w 123825"/>
                  <a:gd name="connsiteY13" fmla="*/ 153670 h 455295"/>
                  <a:gd name="connsiteX14" fmla="*/ 85725 w 123825"/>
                  <a:gd name="connsiteY14" fmla="*/ 204470 h 455295"/>
                  <a:gd name="connsiteX15" fmla="*/ 82550 w 123825"/>
                  <a:gd name="connsiteY15" fmla="*/ 233045 h 455295"/>
                  <a:gd name="connsiteX16" fmla="*/ 73025 w 123825"/>
                  <a:gd name="connsiteY16" fmla="*/ 252095 h 455295"/>
                  <a:gd name="connsiteX17" fmla="*/ 66675 w 123825"/>
                  <a:gd name="connsiteY17" fmla="*/ 267970 h 455295"/>
                  <a:gd name="connsiteX18" fmla="*/ 66675 w 123825"/>
                  <a:gd name="connsiteY18" fmla="*/ 417195 h 455295"/>
                  <a:gd name="connsiteX19" fmla="*/ 82550 w 123825"/>
                  <a:gd name="connsiteY19" fmla="*/ 455295 h 455295"/>
                  <a:gd name="connsiteX20" fmla="*/ 120650 w 123825"/>
                  <a:gd name="connsiteY20" fmla="*/ 452120 h 455295"/>
                  <a:gd name="connsiteX21" fmla="*/ 123825 w 123825"/>
                  <a:gd name="connsiteY21" fmla="*/ 455295 h 45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3825" h="455295">
                    <a:moveTo>
                      <a:pt x="0" y="115570"/>
                    </a:moveTo>
                    <a:cubicBezTo>
                      <a:pt x="2117" y="110278"/>
                      <a:pt x="4035" y="104903"/>
                      <a:pt x="6350" y="99695"/>
                    </a:cubicBezTo>
                    <a:cubicBezTo>
                      <a:pt x="8272" y="95370"/>
                      <a:pt x="10836" y="91345"/>
                      <a:pt x="12700" y="86995"/>
                    </a:cubicBezTo>
                    <a:cubicBezTo>
                      <a:pt x="17055" y="76834"/>
                      <a:pt x="16068" y="73522"/>
                      <a:pt x="19050" y="61595"/>
                    </a:cubicBezTo>
                    <a:cubicBezTo>
                      <a:pt x="19862" y="58348"/>
                      <a:pt x="21167" y="55245"/>
                      <a:pt x="22225" y="52070"/>
                    </a:cubicBezTo>
                    <a:cubicBezTo>
                      <a:pt x="21167" y="35137"/>
                      <a:pt x="22377" y="17907"/>
                      <a:pt x="19050" y="1270"/>
                    </a:cubicBezTo>
                    <a:cubicBezTo>
                      <a:pt x="17787" y="-5043"/>
                      <a:pt x="15537" y="13891"/>
                      <a:pt x="15875" y="20320"/>
                    </a:cubicBezTo>
                    <a:cubicBezTo>
                      <a:pt x="16607" y="34221"/>
                      <a:pt x="19660" y="47913"/>
                      <a:pt x="22225" y="61595"/>
                    </a:cubicBezTo>
                    <a:cubicBezTo>
                      <a:pt x="23611" y="68986"/>
                      <a:pt x="26959" y="74896"/>
                      <a:pt x="31750" y="80645"/>
                    </a:cubicBezTo>
                    <a:cubicBezTo>
                      <a:pt x="34625" y="84094"/>
                      <a:pt x="38400" y="86721"/>
                      <a:pt x="41275" y="90170"/>
                    </a:cubicBezTo>
                    <a:cubicBezTo>
                      <a:pt x="43718" y="93101"/>
                      <a:pt x="45407" y="96590"/>
                      <a:pt x="47625" y="99695"/>
                    </a:cubicBezTo>
                    <a:cubicBezTo>
                      <a:pt x="50701" y="104001"/>
                      <a:pt x="53975" y="108162"/>
                      <a:pt x="57150" y="112395"/>
                    </a:cubicBezTo>
                    <a:cubicBezTo>
                      <a:pt x="63299" y="136993"/>
                      <a:pt x="55299" y="114249"/>
                      <a:pt x="69850" y="134620"/>
                    </a:cubicBezTo>
                    <a:cubicBezTo>
                      <a:pt x="84498" y="155127"/>
                      <a:pt x="66948" y="141152"/>
                      <a:pt x="85725" y="153670"/>
                    </a:cubicBezTo>
                    <a:cubicBezTo>
                      <a:pt x="101751" y="185722"/>
                      <a:pt x="94863" y="161065"/>
                      <a:pt x="85725" y="204470"/>
                    </a:cubicBezTo>
                    <a:cubicBezTo>
                      <a:pt x="83751" y="213848"/>
                      <a:pt x="85019" y="223785"/>
                      <a:pt x="82550" y="233045"/>
                    </a:cubicBezTo>
                    <a:cubicBezTo>
                      <a:pt x="80721" y="239905"/>
                      <a:pt x="75963" y="245632"/>
                      <a:pt x="73025" y="252095"/>
                    </a:cubicBezTo>
                    <a:cubicBezTo>
                      <a:pt x="70667" y="257283"/>
                      <a:pt x="68792" y="262678"/>
                      <a:pt x="66675" y="267970"/>
                    </a:cubicBezTo>
                    <a:cubicBezTo>
                      <a:pt x="65140" y="321688"/>
                      <a:pt x="59733" y="366290"/>
                      <a:pt x="66675" y="417195"/>
                    </a:cubicBezTo>
                    <a:cubicBezTo>
                      <a:pt x="71289" y="451030"/>
                      <a:pt x="64923" y="443544"/>
                      <a:pt x="82550" y="455295"/>
                    </a:cubicBezTo>
                    <a:cubicBezTo>
                      <a:pt x="101756" y="451027"/>
                      <a:pt x="106203" y="444896"/>
                      <a:pt x="120650" y="452120"/>
                    </a:cubicBezTo>
                    <a:cubicBezTo>
                      <a:pt x="121989" y="452789"/>
                      <a:pt x="122767" y="454237"/>
                      <a:pt x="123825" y="455295"/>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07" name="Freeform: Shape 606">
                <a:extLst>
                  <a:ext uri="{FF2B5EF4-FFF2-40B4-BE49-F238E27FC236}">
                    <a16:creationId xmlns:a16="http://schemas.microsoft.com/office/drawing/2014/main" id="{060D63BD-0314-4C7B-8336-E23AEBAB09D1}"/>
                  </a:ext>
                </a:extLst>
              </p:cNvPr>
              <p:cNvSpPr/>
              <p:nvPr/>
            </p:nvSpPr>
            <p:spPr bwMode="gray">
              <a:xfrm>
                <a:off x="6397625" y="2984500"/>
                <a:ext cx="181324" cy="555625"/>
              </a:xfrm>
              <a:custGeom>
                <a:avLst/>
                <a:gdLst>
                  <a:gd name="connsiteX0" fmla="*/ 53975 w 181324"/>
                  <a:gd name="connsiteY0" fmla="*/ 555625 h 555625"/>
                  <a:gd name="connsiteX1" fmla="*/ 25400 w 181324"/>
                  <a:gd name="connsiteY1" fmla="*/ 552450 h 555625"/>
                  <a:gd name="connsiteX2" fmla="*/ 0 w 181324"/>
                  <a:gd name="connsiteY2" fmla="*/ 508000 h 555625"/>
                  <a:gd name="connsiteX3" fmla="*/ 3175 w 181324"/>
                  <a:gd name="connsiteY3" fmla="*/ 463550 h 555625"/>
                  <a:gd name="connsiteX4" fmla="*/ 12700 w 181324"/>
                  <a:gd name="connsiteY4" fmla="*/ 454025 h 555625"/>
                  <a:gd name="connsiteX5" fmla="*/ 19050 w 181324"/>
                  <a:gd name="connsiteY5" fmla="*/ 444500 h 555625"/>
                  <a:gd name="connsiteX6" fmla="*/ 25400 w 181324"/>
                  <a:gd name="connsiteY6" fmla="*/ 339725 h 555625"/>
                  <a:gd name="connsiteX7" fmla="*/ 31750 w 181324"/>
                  <a:gd name="connsiteY7" fmla="*/ 301625 h 555625"/>
                  <a:gd name="connsiteX8" fmla="*/ 50800 w 181324"/>
                  <a:gd name="connsiteY8" fmla="*/ 276225 h 555625"/>
                  <a:gd name="connsiteX9" fmla="*/ 69850 w 181324"/>
                  <a:gd name="connsiteY9" fmla="*/ 260350 h 555625"/>
                  <a:gd name="connsiteX10" fmla="*/ 85725 w 181324"/>
                  <a:gd name="connsiteY10" fmla="*/ 241300 h 555625"/>
                  <a:gd name="connsiteX11" fmla="*/ 95250 w 181324"/>
                  <a:gd name="connsiteY11" fmla="*/ 231775 h 555625"/>
                  <a:gd name="connsiteX12" fmla="*/ 104775 w 181324"/>
                  <a:gd name="connsiteY12" fmla="*/ 215900 h 555625"/>
                  <a:gd name="connsiteX13" fmla="*/ 130175 w 181324"/>
                  <a:gd name="connsiteY13" fmla="*/ 193675 h 555625"/>
                  <a:gd name="connsiteX14" fmla="*/ 146050 w 181324"/>
                  <a:gd name="connsiteY14" fmla="*/ 171450 h 555625"/>
                  <a:gd name="connsiteX15" fmla="*/ 149225 w 181324"/>
                  <a:gd name="connsiteY15" fmla="*/ 158750 h 555625"/>
                  <a:gd name="connsiteX16" fmla="*/ 155575 w 181324"/>
                  <a:gd name="connsiteY16" fmla="*/ 104775 h 555625"/>
                  <a:gd name="connsiteX17" fmla="*/ 161925 w 181324"/>
                  <a:gd name="connsiteY17" fmla="*/ 92075 h 555625"/>
                  <a:gd name="connsiteX18" fmla="*/ 165100 w 181324"/>
                  <a:gd name="connsiteY18" fmla="*/ 82550 h 555625"/>
                  <a:gd name="connsiteX19" fmla="*/ 171450 w 181324"/>
                  <a:gd name="connsiteY19" fmla="*/ 25400 h 555625"/>
                  <a:gd name="connsiteX20" fmla="*/ 180975 w 181324"/>
                  <a:gd name="connsiteY20" fmla="*/ 6350 h 555625"/>
                  <a:gd name="connsiteX21" fmla="*/ 180975 w 181324"/>
                  <a:gd name="connsiteY21" fmla="*/ 0 h 55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1324" h="555625">
                    <a:moveTo>
                      <a:pt x="53975" y="555625"/>
                    </a:moveTo>
                    <a:cubicBezTo>
                      <a:pt x="44450" y="554567"/>
                      <a:pt x="33972" y="556736"/>
                      <a:pt x="25400" y="552450"/>
                    </a:cubicBezTo>
                    <a:cubicBezTo>
                      <a:pt x="10735" y="545118"/>
                      <a:pt x="4771" y="520722"/>
                      <a:pt x="0" y="508000"/>
                    </a:cubicBezTo>
                    <a:cubicBezTo>
                      <a:pt x="1058" y="493183"/>
                      <a:pt x="-227" y="478010"/>
                      <a:pt x="3175" y="463550"/>
                    </a:cubicBezTo>
                    <a:cubicBezTo>
                      <a:pt x="4203" y="459179"/>
                      <a:pt x="9825" y="457474"/>
                      <a:pt x="12700" y="454025"/>
                    </a:cubicBezTo>
                    <a:cubicBezTo>
                      <a:pt x="15143" y="451094"/>
                      <a:pt x="16933" y="447675"/>
                      <a:pt x="19050" y="444500"/>
                    </a:cubicBezTo>
                    <a:cubicBezTo>
                      <a:pt x="27060" y="388428"/>
                      <a:pt x="18475" y="453991"/>
                      <a:pt x="25400" y="339725"/>
                    </a:cubicBezTo>
                    <a:cubicBezTo>
                      <a:pt x="25613" y="336209"/>
                      <a:pt x="29794" y="307494"/>
                      <a:pt x="31750" y="301625"/>
                    </a:cubicBezTo>
                    <a:cubicBezTo>
                      <a:pt x="35719" y="289718"/>
                      <a:pt x="41152" y="284495"/>
                      <a:pt x="50800" y="276225"/>
                    </a:cubicBezTo>
                    <a:cubicBezTo>
                      <a:pt x="68643" y="260931"/>
                      <a:pt x="52235" y="280167"/>
                      <a:pt x="69850" y="260350"/>
                    </a:cubicBezTo>
                    <a:cubicBezTo>
                      <a:pt x="75342" y="254172"/>
                      <a:pt x="80233" y="247478"/>
                      <a:pt x="85725" y="241300"/>
                    </a:cubicBezTo>
                    <a:cubicBezTo>
                      <a:pt x="88708" y="237944"/>
                      <a:pt x="92556" y="235367"/>
                      <a:pt x="95250" y="231775"/>
                    </a:cubicBezTo>
                    <a:cubicBezTo>
                      <a:pt x="98953" y="226838"/>
                      <a:pt x="100986" y="220771"/>
                      <a:pt x="104775" y="215900"/>
                    </a:cubicBezTo>
                    <a:cubicBezTo>
                      <a:pt x="122089" y="193640"/>
                      <a:pt x="111915" y="211935"/>
                      <a:pt x="130175" y="193675"/>
                    </a:cubicBezTo>
                    <a:cubicBezTo>
                      <a:pt x="134113" y="189737"/>
                      <a:pt x="142444" y="176858"/>
                      <a:pt x="146050" y="171450"/>
                    </a:cubicBezTo>
                    <a:cubicBezTo>
                      <a:pt x="147108" y="167217"/>
                      <a:pt x="148684" y="163080"/>
                      <a:pt x="149225" y="158750"/>
                    </a:cubicBezTo>
                    <a:cubicBezTo>
                      <a:pt x="150387" y="149457"/>
                      <a:pt x="150943" y="118671"/>
                      <a:pt x="155575" y="104775"/>
                    </a:cubicBezTo>
                    <a:cubicBezTo>
                      <a:pt x="157072" y="100285"/>
                      <a:pt x="160061" y="96425"/>
                      <a:pt x="161925" y="92075"/>
                    </a:cubicBezTo>
                    <a:cubicBezTo>
                      <a:pt x="163243" y="88999"/>
                      <a:pt x="164042" y="85725"/>
                      <a:pt x="165100" y="82550"/>
                    </a:cubicBezTo>
                    <a:cubicBezTo>
                      <a:pt x="167217" y="63500"/>
                      <a:pt x="168739" y="44375"/>
                      <a:pt x="171450" y="25400"/>
                    </a:cubicBezTo>
                    <a:cubicBezTo>
                      <a:pt x="173536" y="10796"/>
                      <a:pt x="175386" y="20323"/>
                      <a:pt x="180975" y="6350"/>
                    </a:cubicBezTo>
                    <a:cubicBezTo>
                      <a:pt x="181761" y="4385"/>
                      <a:pt x="180975" y="2117"/>
                      <a:pt x="180975" y="0"/>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08" name="Freeform: Shape 607">
                <a:extLst>
                  <a:ext uri="{FF2B5EF4-FFF2-40B4-BE49-F238E27FC236}">
                    <a16:creationId xmlns:a16="http://schemas.microsoft.com/office/drawing/2014/main" id="{8476EB74-803A-46A7-A461-E31D849392B0}"/>
                  </a:ext>
                </a:extLst>
              </p:cNvPr>
              <p:cNvSpPr/>
              <p:nvPr/>
            </p:nvSpPr>
            <p:spPr bwMode="gray">
              <a:xfrm>
                <a:off x="6467475" y="3511550"/>
                <a:ext cx="212725" cy="466725"/>
              </a:xfrm>
              <a:custGeom>
                <a:avLst/>
                <a:gdLst>
                  <a:gd name="connsiteX0" fmla="*/ 111125 w 212725"/>
                  <a:gd name="connsiteY0" fmla="*/ 0 h 466725"/>
                  <a:gd name="connsiteX1" fmla="*/ 9525 w 212725"/>
                  <a:gd name="connsiteY1" fmla="*/ 73025 h 466725"/>
                  <a:gd name="connsiteX2" fmla="*/ 6350 w 212725"/>
                  <a:gd name="connsiteY2" fmla="*/ 111125 h 466725"/>
                  <a:gd name="connsiteX3" fmla="*/ 0 w 212725"/>
                  <a:gd name="connsiteY3" fmla="*/ 168275 h 466725"/>
                  <a:gd name="connsiteX4" fmla="*/ 107950 w 212725"/>
                  <a:gd name="connsiteY4" fmla="*/ 222250 h 466725"/>
                  <a:gd name="connsiteX5" fmla="*/ 180975 w 212725"/>
                  <a:gd name="connsiteY5" fmla="*/ 304800 h 466725"/>
                  <a:gd name="connsiteX6" fmla="*/ 212725 w 212725"/>
                  <a:gd name="connsiteY6" fmla="*/ 393700 h 466725"/>
                  <a:gd name="connsiteX7" fmla="*/ 206375 w 212725"/>
                  <a:gd name="connsiteY7" fmla="*/ 419100 h 466725"/>
                  <a:gd name="connsiteX8" fmla="*/ 161925 w 212725"/>
                  <a:gd name="connsiteY8" fmla="*/ 466725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725" h="466725">
                    <a:moveTo>
                      <a:pt x="111125" y="0"/>
                    </a:moveTo>
                    <a:lnTo>
                      <a:pt x="9525" y="73025"/>
                    </a:lnTo>
                    <a:lnTo>
                      <a:pt x="6350" y="111125"/>
                    </a:lnTo>
                    <a:lnTo>
                      <a:pt x="0" y="168275"/>
                    </a:lnTo>
                    <a:lnTo>
                      <a:pt x="107950" y="222250"/>
                    </a:lnTo>
                    <a:lnTo>
                      <a:pt x="180975" y="304800"/>
                    </a:lnTo>
                    <a:lnTo>
                      <a:pt x="212725" y="393700"/>
                    </a:lnTo>
                    <a:lnTo>
                      <a:pt x="206375" y="419100"/>
                    </a:lnTo>
                    <a:lnTo>
                      <a:pt x="161925" y="466725"/>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09" name="Freeform: Shape 608">
                <a:extLst>
                  <a:ext uri="{FF2B5EF4-FFF2-40B4-BE49-F238E27FC236}">
                    <a16:creationId xmlns:a16="http://schemas.microsoft.com/office/drawing/2014/main" id="{09E6FFCE-9A3F-4105-A411-463049CA020A}"/>
                  </a:ext>
                </a:extLst>
              </p:cNvPr>
              <p:cNvSpPr/>
              <p:nvPr/>
            </p:nvSpPr>
            <p:spPr bwMode="gray">
              <a:xfrm>
                <a:off x="6813550" y="2238375"/>
                <a:ext cx="73025" cy="704850"/>
              </a:xfrm>
              <a:custGeom>
                <a:avLst/>
                <a:gdLst>
                  <a:gd name="connsiteX0" fmla="*/ 66675 w 73025"/>
                  <a:gd name="connsiteY0" fmla="*/ 0 h 704850"/>
                  <a:gd name="connsiteX1" fmla="*/ 15875 w 73025"/>
                  <a:gd name="connsiteY1" fmla="*/ 50800 h 704850"/>
                  <a:gd name="connsiteX2" fmla="*/ 38100 w 73025"/>
                  <a:gd name="connsiteY2" fmla="*/ 120650 h 704850"/>
                  <a:gd name="connsiteX3" fmla="*/ 28575 w 73025"/>
                  <a:gd name="connsiteY3" fmla="*/ 193675 h 704850"/>
                  <a:gd name="connsiteX4" fmla="*/ 25400 w 73025"/>
                  <a:gd name="connsiteY4" fmla="*/ 234950 h 704850"/>
                  <a:gd name="connsiteX5" fmla="*/ 47625 w 73025"/>
                  <a:gd name="connsiteY5" fmla="*/ 317500 h 704850"/>
                  <a:gd name="connsiteX6" fmla="*/ 44450 w 73025"/>
                  <a:gd name="connsiteY6" fmla="*/ 390525 h 704850"/>
                  <a:gd name="connsiteX7" fmla="*/ 60325 w 73025"/>
                  <a:gd name="connsiteY7" fmla="*/ 498475 h 704850"/>
                  <a:gd name="connsiteX8" fmla="*/ 73025 w 73025"/>
                  <a:gd name="connsiteY8" fmla="*/ 536575 h 704850"/>
                  <a:gd name="connsiteX9" fmla="*/ 47625 w 73025"/>
                  <a:gd name="connsiteY9" fmla="*/ 609600 h 704850"/>
                  <a:gd name="connsiteX10" fmla="*/ 19050 w 73025"/>
                  <a:gd name="connsiteY10" fmla="*/ 647700 h 704850"/>
                  <a:gd name="connsiteX11" fmla="*/ 0 w 73025"/>
                  <a:gd name="connsiteY11" fmla="*/ 682625 h 704850"/>
                  <a:gd name="connsiteX12" fmla="*/ 41275 w 73025"/>
                  <a:gd name="connsiteY12" fmla="*/ 704850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025" h="704850">
                    <a:moveTo>
                      <a:pt x="66675" y="0"/>
                    </a:moveTo>
                    <a:lnTo>
                      <a:pt x="15875" y="50800"/>
                    </a:lnTo>
                    <a:lnTo>
                      <a:pt x="38100" y="120650"/>
                    </a:lnTo>
                    <a:lnTo>
                      <a:pt x="28575" y="193675"/>
                    </a:lnTo>
                    <a:lnTo>
                      <a:pt x="25400" y="234950"/>
                    </a:lnTo>
                    <a:lnTo>
                      <a:pt x="47625" y="317500"/>
                    </a:lnTo>
                    <a:lnTo>
                      <a:pt x="44450" y="390525"/>
                    </a:lnTo>
                    <a:lnTo>
                      <a:pt x="60325" y="498475"/>
                    </a:lnTo>
                    <a:lnTo>
                      <a:pt x="73025" y="536575"/>
                    </a:lnTo>
                    <a:lnTo>
                      <a:pt x="47625" y="609600"/>
                    </a:lnTo>
                    <a:lnTo>
                      <a:pt x="19050" y="647700"/>
                    </a:lnTo>
                    <a:lnTo>
                      <a:pt x="0" y="682625"/>
                    </a:lnTo>
                    <a:lnTo>
                      <a:pt x="41275" y="70485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10" name="Freeform: Shape 609">
                <a:extLst>
                  <a:ext uri="{FF2B5EF4-FFF2-40B4-BE49-F238E27FC236}">
                    <a16:creationId xmlns:a16="http://schemas.microsoft.com/office/drawing/2014/main" id="{D9A9A841-89E2-4F4A-8AE1-57A7593A9E5B}"/>
                  </a:ext>
                </a:extLst>
              </p:cNvPr>
              <p:cNvSpPr/>
              <p:nvPr/>
            </p:nvSpPr>
            <p:spPr bwMode="gray">
              <a:xfrm>
                <a:off x="6378575" y="2946400"/>
                <a:ext cx="146050" cy="82550"/>
              </a:xfrm>
              <a:custGeom>
                <a:avLst/>
                <a:gdLst>
                  <a:gd name="connsiteX0" fmla="*/ 0 w 146050"/>
                  <a:gd name="connsiteY0" fmla="*/ 82550 h 82550"/>
                  <a:gd name="connsiteX1" fmla="*/ 95250 w 146050"/>
                  <a:gd name="connsiteY1" fmla="*/ 19050 h 82550"/>
                  <a:gd name="connsiteX2" fmla="*/ 120650 w 146050"/>
                  <a:gd name="connsiteY2" fmla="*/ 31750 h 82550"/>
                  <a:gd name="connsiteX3" fmla="*/ 146050 w 146050"/>
                  <a:gd name="connsiteY3" fmla="*/ 0 h 82550"/>
                </a:gdLst>
                <a:ahLst/>
                <a:cxnLst>
                  <a:cxn ang="0">
                    <a:pos x="connsiteX0" y="connsiteY0"/>
                  </a:cxn>
                  <a:cxn ang="0">
                    <a:pos x="connsiteX1" y="connsiteY1"/>
                  </a:cxn>
                  <a:cxn ang="0">
                    <a:pos x="connsiteX2" y="connsiteY2"/>
                  </a:cxn>
                  <a:cxn ang="0">
                    <a:pos x="connsiteX3" y="connsiteY3"/>
                  </a:cxn>
                </a:cxnLst>
                <a:rect l="l" t="t" r="r" b="b"/>
                <a:pathLst>
                  <a:path w="146050" h="82550">
                    <a:moveTo>
                      <a:pt x="0" y="82550"/>
                    </a:moveTo>
                    <a:lnTo>
                      <a:pt x="95250" y="19050"/>
                    </a:lnTo>
                    <a:lnTo>
                      <a:pt x="120650" y="31750"/>
                    </a:lnTo>
                    <a:lnTo>
                      <a:pt x="14605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11" name="Freeform: Shape 610">
                <a:extLst>
                  <a:ext uri="{FF2B5EF4-FFF2-40B4-BE49-F238E27FC236}">
                    <a16:creationId xmlns:a16="http://schemas.microsoft.com/office/drawing/2014/main" id="{4B6E0722-23ED-4A7F-9B3C-DFD4535AD3F4}"/>
                  </a:ext>
                </a:extLst>
              </p:cNvPr>
              <p:cNvSpPr/>
              <p:nvPr/>
            </p:nvSpPr>
            <p:spPr bwMode="gray">
              <a:xfrm>
                <a:off x="6426200" y="2651125"/>
                <a:ext cx="257175" cy="254000"/>
              </a:xfrm>
              <a:custGeom>
                <a:avLst/>
                <a:gdLst>
                  <a:gd name="connsiteX0" fmla="*/ 0 w 257175"/>
                  <a:gd name="connsiteY0" fmla="*/ 57150 h 254000"/>
                  <a:gd name="connsiteX1" fmla="*/ 44450 w 257175"/>
                  <a:gd name="connsiteY1" fmla="*/ 57150 h 254000"/>
                  <a:gd name="connsiteX2" fmla="*/ 82550 w 257175"/>
                  <a:gd name="connsiteY2" fmla="*/ 0 h 254000"/>
                  <a:gd name="connsiteX3" fmla="*/ 171450 w 257175"/>
                  <a:gd name="connsiteY3" fmla="*/ 38100 h 254000"/>
                  <a:gd name="connsiteX4" fmla="*/ 203200 w 257175"/>
                  <a:gd name="connsiteY4" fmla="*/ 66675 h 254000"/>
                  <a:gd name="connsiteX5" fmla="*/ 231775 w 257175"/>
                  <a:gd name="connsiteY5" fmla="*/ 174625 h 254000"/>
                  <a:gd name="connsiteX6" fmla="*/ 244475 w 257175"/>
                  <a:gd name="connsiteY6" fmla="*/ 219075 h 254000"/>
                  <a:gd name="connsiteX7" fmla="*/ 257175 w 257175"/>
                  <a:gd name="connsiteY7" fmla="*/ 254000 h 25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54000">
                    <a:moveTo>
                      <a:pt x="0" y="57150"/>
                    </a:moveTo>
                    <a:lnTo>
                      <a:pt x="44450" y="57150"/>
                    </a:lnTo>
                    <a:lnTo>
                      <a:pt x="82550" y="0"/>
                    </a:lnTo>
                    <a:lnTo>
                      <a:pt x="171450" y="38100"/>
                    </a:lnTo>
                    <a:lnTo>
                      <a:pt x="203200" y="66675"/>
                    </a:lnTo>
                    <a:lnTo>
                      <a:pt x="231775" y="174625"/>
                    </a:lnTo>
                    <a:lnTo>
                      <a:pt x="244475" y="219075"/>
                    </a:lnTo>
                    <a:lnTo>
                      <a:pt x="257175" y="25400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12" name="Freeform: Shape 611">
                <a:extLst>
                  <a:ext uri="{FF2B5EF4-FFF2-40B4-BE49-F238E27FC236}">
                    <a16:creationId xmlns:a16="http://schemas.microsoft.com/office/drawing/2014/main" id="{8737B4F1-A5DA-4DDB-999E-0377E6C7B1F8}"/>
                  </a:ext>
                </a:extLst>
              </p:cNvPr>
              <p:cNvSpPr/>
              <p:nvPr/>
            </p:nvSpPr>
            <p:spPr bwMode="gray">
              <a:xfrm>
                <a:off x="6403975" y="2533650"/>
                <a:ext cx="288925" cy="212725"/>
              </a:xfrm>
              <a:custGeom>
                <a:avLst/>
                <a:gdLst>
                  <a:gd name="connsiteX0" fmla="*/ 0 w 288925"/>
                  <a:gd name="connsiteY0" fmla="*/ 206375 h 212725"/>
                  <a:gd name="connsiteX1" fmla="*/ 69850 w 288925"/>
                  <a:gd name="connsiteY1" fmla="*/ 209550 h 212725"/>
                  <a:gd name="connsiteX2" fmla="*/ 107950 w 288925"/>
                  <a:gd name="connsiteY2" fmla="*/ 190500 h 212725"/>
                  <a:gd name="connsiteX3" fmla="*/ 155575 w 288925"/>
                  <a:gd name="connsiteY3" fmla="*/ 212725 h 212725"/>
                  <a:gd name="connsiteX4" fmla="*/ 288925 w 288925"/>
                  <a:gd name="connsiteY4" fmla="*/ 127000 h 212725"/>
                  <a:gd name="connsiteX5" fmla="*/ 219075 w 288925"/>
                  <a:gd name="connsiteY5" fmla="*/ 0 h 212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925" h="212725">
                    <a:moveTo>
                      <a:pt x="0" y="206375"/>
                    </a:moveTo>
                    <a:lnTo>
                      <a:pt x="69850" y="209550"/>
                    </a:lnTo>
                    <a:lnTo>
                      <a:pt x="107950" y="190500"/>
                    </a:lnTo>
                    <a:lnTo>
                      <a:pt x="155575" y="212725"/>
                    </a:lnTo>
                    <a:lnTo>
                      <a:pt x="288925" y="127000"/>
                    </a:lnTo>
                    <a:lnTo>
                      <a:pt x="219075"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13" name="Freeform: Shape 612">
                <a:extLst>
                  <a:ext uri="{FF2B5EF4-FFF2-40B4-BE49-F238E27FC236}">
                    <a16:creationId xmlns:a16="http://schemas.microsoft.com/office/drawing/2014/main" id="{032DBE4D-B150-4C8E-BF88-D775096E4777}"/>
                  </a:ext>
                </a:extLst>
              </p:cNvPr>
              <p:cNvSpPr/>
              <p:nvPr/>
            </p:nvSpPr>
            <p:spPr bwMode="gray">
              <a:xfrm>
                <a:off x="6600825" y="2565400"/>
                <a:ext cx="34925" cy="38100"/>
              </a:xfrm>
              <a:custGeom>
                <a:avLst/>
                <a:gdLst>
                  <a:gd name="connsiteX0" fmla="*/ 0 w 34925"/>
                  <a:gd name="connsiteY0" fmla="*/ 38100 h 38100"/>
                  <a:gd name="connsiteX1" fmla="*/ 34925 w 34925"/>
                  <a:gd name="connsiteY1" fmla="*/ 0 h 38100"/>
                </a:gdLst>
                <a:ahLst/>
                <a:cxnLst>
                  <a:cxn ang="0">
                    <a:pos x="connsiteX0" y="connsiteY0"/>
                  </a:cxn>
                  <a:cxn ang="0">
                    <a:pos x="connsiteX1" y="connsiteY1"/>
                  </a:cxn>
                </a:cxnLst>
                <a:rect l="l" t="t" r="r" b="b"/>
                <a:pathLst>
                  <a:path w="34925" h="38100">
                    <a:moveTo>
                      <a:pt x="0" y="38100"/>
                    </a:moveTo>
                    <a:lnTo>
                      <a:pt x="34925"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14" name="Freeform: Shape 613">
                <a:extLst>
                  <a:ext uri="{FF2B5EF4-FFF2-40B4-BE49-F238E27FC236}">
                    <a16:creationId xmlns:a16="http://schemas.microsoft.com/office/drawing/2014/main" id="{434B18B4-5F51-41C0-A24E-128569044330}"/>
                  </a:ext>
                </a:extLst>
              </p:cNvPr>
              <p:cNvSpPr/>
              <p:nvPr/>
            </p:nvSpPr>
            <p:spPr bwMode="gray">
              <a:xfrm>
                <a:off x="6429375" y="2644775"/>
                <a:ext cx="57150" cy="82550"/>
              </a:xfrm>
              <a:custGeom>
                <a:avLst/>
                <a:gdLst>
                  <a:gd name="connsiteX0" fmla="*/ 0 w 57150"/>
                  <a:gd name="connsiteY0" fmla="*/ 0 h 82550"/>
                  <a:gd name="connsiteX1" fmla="*/ 44450 w 57150"/>
                  <a:gd name="connsiteY1" fmla="*/ 53975 h 82550"/>
                  <a:gd name="connsiteX2" fmla="*/ 57150 w 57150"/>
                  <a:gd name="connsiteY2" fmla="*/ 82550 h 82550"/>
                </a:gdLst>
                <a:ahLst/>
                <a:cxnLst>
                  <a:cxn ang="0">
                    <a:pos x="connsiteX0" y="connsiteY0"/>
                  </a:cxn>
                  <a:cxn ang="0">
                    <a:pos x="connsiteX1" y="connsiteY1"/>
                  </a:cxn>
                  <a:cxn ang="0">
                    <a:pos x="connsiteX2" y="connsiteY2"/>
                  </a:cxn>
                </a:cxnLst>
                <a:rect l="l" t="t" r="r" b="b"/>
                <a:pathLst>
                  <a:path w="57150" h="82550">
                    <a:moveTo>
                      <a:pt x="0" y="0"/>
                    </a:moveTo>
                    <a:lnTo>
                      <a:pt x="44450" y="53975"/>
                    </a:lnTo>
                    <a:lnTo>
                      <a:pt x="57150" y="8255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15" name="Freeform: Shape 614">
                <a:extLst>
                  <a:ext uri="{FF2B5EF4-FFF2-40B4-BE49-F238E27FC236}">
                    <a16:creationId xmlns:a16="http://schemas.microsoft.com/office/drawing/2014/main" id="{45E331FF-7080-47D2-8F37-5EAD7C33680F}"/>
                  </a:ext>
                </a:extLst>
              </p:cNvPr>
              <p:cNvSpPr/>
              <p:nvPr/>
            </p:nvSpPr>
            <p:spPr bwMode="gray">
              <a:xfrm>
                <a:off x="6315075" y="2749550"/>
                <a:ext cx="177800" cy="63500"/>
              </a:xfrm>
              <a:custGeom>
                <a:avLst/>
                <a:gdLst>
                  <a:gd name="connsiteX0" fmla="*/ 0 w 177800"/>
                  <a:gd name="connsiteY0" fmla="*/ 22225 h 63500"/>
                  <a:gd name="connsiteX1" fmla="*/ 92075 w 177800"/>
                  <a:gd name="connsiteY1" fmla="*/ 63500 h 63500"/>
                  <a:gd name="connsiteX2" fmla="*/ 177800 w 177800"/>
                  <a:gd name="connsiteY2" fmla="*/ 0 h 63500"/>
                </a:gdLst>
                <a:ahLst/>
                <a:cxnLst>
                  <a:cxn ang="0">
                    <a:pos x="connsiteX0" y="connsiteY0"/>
                  </a:cxn>
                  <a:cxn ang="0">
                    <a:pos x="connsiteX1" y="connsiteY1"/>
                  </a:cxn>
                  <a:cxn ang="0">
                    <a:pos x="connsiteX2" y="connsiteY2"/>
                  </a:cxn>
                </a:cxnLst>
                <a:rect l="l" t="t" r="r" b="b"/>
                <a:pathLst>
                  <a:path w="177800" h="63500">
                    <a:moveTo>
                      <a:pt x="0" y="22225"/>
                    </a:moveTo>
                    <a:lnTo>
                      <a:pt x="92075" y="63500"/>
                    </a:lnTo>
                    <a:lnTo>
                      <a:pt x="17780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16" name="Freeform: Shape 615">
                <a:extLst>
                  <a:ext uri="{FF2B5EF4-FFF2-40B4-BE49-F238E27FC236}">
                    <a16:creationId xmlns:a16="http://schemas.microsoft.com/office/drawing/2014/main" id="{0D5C76D2-A3A1-42A6-8882-768D23EBEE68}"/>
                  </a:ext>
                </a:extLst>
              </p:cNvPr>
              <p:cNvSpPr/>
              <p:nvPr/>
            </p:nvSpPr>
            <p:spPr bwMode="gray">
              <a:xfrm>
                <a:off x="6400800" y="2806700"/>
                <a:ext cx="285750" cy="22225"/>
              </a:xfrm>
              <a:custGeom>
                <a:avLst/>
                <a:gdLst>
                  <a:gd name="connsiteX0" fmla="*/ 0 w 285750"/>
                  <a:gd name="connsiteY0" fmla="*/ 0 h 22225"/>
                  <a:gd name="connsiteX1" fmla="*/ 174625 w 285750"/>
                  <a:gd name="connsiteY1" fmla="*/ 19050 h 22225"/>
                  <a:gd name="connsiteX2" fmla="*/ 285750 w 285750"/>
                  <a:gd name="connsiteY2" fmla="*/ 22225 h 22225"/>
                </a:gdLst>
                <a:ahLst/>
                <a:cxnLst>
                  <a:cxn ang="0">
                    <a:pos x="connsiteX0" y="connsiteY0"/>
                  </a:cxn>
                  <a:cxn ang="0">
                    <a:pos x="connsiteX1" y="connsiteY1"/>
                  </a:cxn>
                  <a:cxn ang="0">
                    <a:pos x="connsiteX2" y="connsiteY2"/>
                  </a:cxn>
                </a:cxnLst>
                <a:rect l="l" t="t" r="r" b="b"/>
                <a:pathLst>
                  <a:path w="285750" h="22225">
                    <a:moveTo>
                      <a:pt x="0" y="0"/>
                    </a:moveTo>
                    <a:lnTo>
                      <a:pt x="174625" y="19050"/>
                    </a:lnTo>
                    <a:lnTo>
                      <a:pt x="285750" y="22225"/>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17" name="Freeform: Shape 616">
                <a:extLst>
                  <a:ext uri="{FF2B5EF4-FFF2-40B4-BE49-F238E27FC236}">
                    <a16:creationId xmlns:a16="http://schemas.microsoft.com/office/drawing/2014/main" id="{64BA739B-20D8-4204-A52F-1A8F70F407C0}"/>
                  </a:ext>
                </a:extLst>
              </p:cNvPr>
              <p:cNvSpPr/>
              <p:nvPr/>
            </p:nvSpPr>
            <p:spPr bwMode="gray">
              <a:xfrm>
                <a:off x="6470650" y="2819400"/>
                <a:ext cx="50800" cy="44450"/>
              </a:xfrm>
              <a:custGeom>
                <a:avLst/>
                <a:gdLst>
                  <a:gd name="connsiteX0" fmla="*/ 50800 w 50800"/>
                  <a:gd name="connsiteY0" fmla="*/ 34925 h 44450"/>
                  <a:gd name="connsiteX1" fmla="*/ 0 w 50800"/>
                  <a:gd name="connsiteY1" fmla="*/ 44450 h 44450"/>
                  <a:gd name="connsiteX2" fmla="*/ 12700 w 50800"/>
                  <a:gd name="connsiteY2" fmla="*/ 0 h 44450"/>
                </a:gdLst>
                <a:ahLst/>
                <a:cxnLst>
                  <a:cxn ang="0">
                    <a:pos x="connsiteX0" y="connsiteY0"/>
                  </a:cxn>
                  <a:cxn ang="0">
                    <a:pos x="connsiteX1" y="connsiteY1"/>
                  </a:cxn>
                  <a:cxn ang="0">
                    <a:pos x="connsiteX2" y="connsiteY2"/>
                  </a:cxn>
                </a:cxnLst>
                <a:rect l="l" t="t" r="r" b="b"/>
                <a:pathLst>
                  <a:path w="50800" h="44450">
                    <a:moveTo>
                      <a:pt x="50800" y="34925"/>
                    </a:moveTo>
                    <a:lnTo>
                      <a:pt x="0" y="44450"/>
                    </a:lnTo>
                    <a:lnTo>
                      <a:pt x="1270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18" name="Freeform: Shape 617">
                <a:extLst>
                  <a:ext uri="{FF2B5EF4-FFF2-40B4-BE49-F238E27FC236}">
                    <a16:creationId xmlns:a16="http://schemas.microsoft.com/office/drawing/2014/main" id="{334E926E-E516-49EF-A2A0-970DFF444970}"/>
                  </a:ext>
                </a:extLst>
              </p:cNvPr>
              <p:cNvSpPr/>
              <p:nvPr/>
            </p:nvSpPr>
            <p:spPr bwMode="gray">
              <a:xfrm>
                <a:off x="6410325" y="2825750"/>
                <a:ext cx="260350" cy="114300"/>
              </a:xfrm>
              <a:custGeom>
                <a:avLst/>
                <a:gdLst>
                  <a:gd name="connsiteX0" fmla="*/ 0 w 260350"/>
                  <a:gd name="connsiteY0" fmla="*/ 92075 h 114300"/>
                  <a:gd name="connsiteX1" fmla="*/ 66675 w 260350"/>
                  <a:gd name="connsiteY1" fmla="*/ 85725 h 114300"/>
                  <a:gd name="connsiteX2" fmla="*/ 114300 w 260350"/>
                  <a:gd name="connsiteY2" fmla="*/ 114300 h 114300"/>
                  <a:gd name="connsiteX3" fmla="*/ 260350 w 260350"/>
                  <a:gd name="connsiteY3" fmla="*/ 0 h 114300"/>
                </a:gdLst>
                <a:ahLst/>
                <a:cxnLst>
                  <a:cxn ang="0">
                    <a:pos x="connsiteX0" y="connsiteY0"/>
                  </a:cxn>
                  <a:cxn ang="0">
                    <a:pos x="connsiteX1" y="connsiteY1"/>
                  </a:cxn>
                  <a:cxn ang="0">
                    <a:pos x="connsiteX2" y="connsiteY2"/>
                  </a:cxn>
                  <a:cxn ang="0">
                    <a:pos x="connsiteX3" y="connsiteY3"/>
                  </a:cxn>
                </a:cxnLst>
                <a:rect l="l" t="t" r="r" b="b"/>
                <a:pathLst>
                  <a:path w="260350" h="114300">
                    <a:moveTo>
                      <a:pt x="0" y="92075"/>
                    </a:moveTo>
                    <a:lnTo>
                      <a:pt x="66675" y="85725"/>
                    </a:lnTo>
                    <a:lnTo>
                      <a:pt x="114300" y="114300"/>
                    </a:lnTo>
                    <a:lnTo>
                      <a:pt x="26035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19" name="Freeform: Shape 618">
                <a:extLst>
                  <a:ext uri="{FF2B5EF4-FFF2-40B4-BE49-F238E27FC236}">
                    <a16:creationId xmlns:a16="http://schemas.microsoft.com/office/drawing/2014/main" id="{73DEB8AC-3B0C-4DF5-A3F9-E5266F60C4ED}"/>
                  </a:ext>
                </a:extLst>
              </p:cNvPr>
              <p:cNvSpPr/>
              <p:nvPr/>
            </p:nvSpPr>
            <p:spPr bwMode="gray">
              <a:xfrm>
                <a:off x="6683375" y="2905125"/>
                <a:ext cx="133350" cy="349250"/>
              </a:xfrm>
              <a:custGeom>
                <a:avLst/>
                <a:gdLst>
                  <a:gd name="connsiteX0" fmla="*/ 133350 w 133350"/>
                  <a:gd name="connsiteY0" fmla="*/ 317500 h 349250"/>
                  <a:gd name="connsiteX1" fmla="*/ 79375 w 133350"/>
                  <a:gd name="connsiteY1" fmla="*/ 349250 h 349250"/>
                  <a:gd name="connsiteX2" fmla="*/ 111125 w 133350"/>
                  <a:gd name="connsiteY2" fmla="*/ 257175 h 349250"/>
                  <a:gd name="connsiteX3" fmla="*/ 107950 w 133350"/>
                  <a:gd name="connsiteY3" fmla="*/ 206375 h 349250"/>
                  <a:gd name="connsiteX4" fmla="*/ 130175 w 133350"/>
                  <a:gd name="connsiteY4" fmla="*/ 174625 h 349250"/>
                  <a:gd name="connsiteX5" fmla="*/ 88900 w 133350"/>
                  <a:gd name="connsiteY5" fmla="*/ 104775 h 349250"/>
                  <a:gd name="connsiteX6" fmla="*/ 25400 w 133350"/>
                  <a:gd name="connsiteY6" fmla="*/ 44450 h 349250"/>
                  <a:gd name="connsiteX7" fmla="*/ 0 w 133350"/>
                  <a:gd name="connsiteY7" fmla="*/ 0 h 34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3350" h="349250">
                    <a:moveTo>
                      <a:pt x="133350" y="317500"/>
                    </a:moveTo>
                    <a:lnTo>
                      <a:pt x="79375" y="349250"/>
                    </a:lnTo>
                    <a:lnTo>
                      <a:pt x="111125" y="257175"/>
                    </a:lnTo>
                    <a:lnTo>
                      <a:pt x="107950" y="206375"/>
                    </a:lnTo>
                    <a:lnTo>
                      <a:pt x="130175" y="174625"/>
                    </a:lnTo>
                    <a:lnTo>
                      <a:pt x="88900" y="104775"/>
                    </a:lnTo>
                    <a:lnTo>
                      <a:pt x="25400" y="44450"/>
                    </a:lnTo>
                    <a:lnTo>
                      <a:pt x="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20" name="Freeform: Shape 619">
                <a:extLst>
                  <a:ext uri="{FF2B5EF4-FFF2-40B4-BE49-F238E27FC236}">
                    <a16:creationId xmlns:a16="http://schemas.microsoft.com/office/drawing/2014/main" id="{77E63FCB-716C-44D8-ADBE-BEDCB1BE3710}"/>
                  </a:ext>
                </a:extLst>
              </p:cNvPr>
              <p:cNvSpPr/>
              <p:nvPr/>
            </p:nvSpPr>
            <p:spPr bwMode="gray">
              <a:xfrm>
                <a:off x="6423025" y="2994025"/>
                <a:ext cx="63500" cy="57150"/>
              </a:xfrm>
              <a:custGeom>
                <a:avLst/>
                <a:gdLst>
                  <a:gd name="connsiteX0" fmla="*/ 0 w 63500"/>
                  <a:gd name="connsiteY0" fmla="*/ 0 h 57150"/>
                  <a:gd name="connsiteX1" fmla="*/ 63500 w 63500"/>
                  <a:gd name="connsiteY1" fmla="*/ 57150 h 57150"/>
                </a:gdLst>
                <a:ahLst/>
                <a:cxnLst>
                  <a:cxn ang="0">
                    <a:pos x="connsiteX0" y="connsiteY0"/>
                  </a:cxn>
                  <a:cxn ang="0">
                    <a:pos x="connsiteX1" y="connsiteY1"/>
                  </a:cxn>
                </a:cxnLst>
                <a:rect l="l" t="t" r="r" b="b"/>
                <a:pathLst>
                  <a:path w="63500" h="57150">
                    <a:moveTo>
                      <a:pt x="0" y="0"/>
                    </a:moveTo>
                    <a:lnTo>
                      <a:pt x="63500" y="5715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21" name="Freeform: Shape 620">
                <a:extLst>
                  <a:ext uri="{FF2B5EF4-FFF2-40B4-BE49-F238E27FC236}">
                    <a16:creationId xmlns:a16="http://schemas.microsoft.com/office/drawing/2014/main" id="{ED24820B-1A18-4D55-BF0B-C588671D1F0A}"/>
                  </a:ext>
                </a:extLst>
              </p:cNvPr>
              <p:cNvSpPr/>
              <p:nvPr/>
            </p:nvSpPr>
            <p:spPr bwMode="gray">
              <a:xfrm>
                <a:off x="6276975" y="2908300"/>
                <a:ext cx="92075" cy="158750"/>
              </a:xfrm>
              <a:custGeom>
                <a:avLst/>
                <a:gdLst>
                  <a:gd name="connsiteX0" fmla="*/ 28575 w 92075"/>
                  <a:gd name="connsiteY0" fmla="*/ 0 h 158750"/>
                  <a:gd name="connsiteX1" fmla="*/ 50800 w 92075"/>
                  <a:gd name="connsiteY1" fmla="*/ 79375 h 158750"/>
                  <a:gd name="connsiteX2" fmla="*/ 41275 w 92075"/>
                  <a:gd name="connsiteY2" fmla="*/ 123825 h 158750"/>
                  <a:gd name="connsiteX3" fmla="*/ 0 w 92075"/>
                  <a:gd name="connsiteY3" fmla="*/ 158750 h 158750"/>
                  <a:gd name="connsiteX4" fmla="*/ 92075 w 92075"/>
                  <a:gd name="connsiteY4" fmla="*/ 111125 h 158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75" h="158750">
                    <a:moveTo>
                      <a:pt x="28575" y="0"/>
                    </a:moveTo>
                    <a:lnTo>
                      <a:pt x="50800" y="79375"/>
                    </a:lnTo>
                    <a:lnTo>
                      <a:pt x="41275" y="123825"/>
                    </a:lnTo>
                    <a:lnTo>
                      <a:pt x="0" y="158750"/>
                    </a:lnTo>
                    <a:lnTo>
                      <a:pt x="92075" y="111125"/>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22" name="Freeform: Shape 621">
                <a:extLst>
                  <a:ext uri="{FF2B5EF4-FFF2-40B4-BE49-F238E27FC236}">
                    <a16:creationId xmlns:a16="http://schemas.microsoft.com/office/drawing/2014/main" id="{E78C2ADB-E407-46F5-921B-F07FB4C604AF}"/>
                  </a:ext>
                </a:extLst>
              </p:cNvPr>
              <p:cNvSpPr/>
              <p:nvPr/>
            </p:nvSpPr>
            <p:spPr bwMode="gray">
              <a:xfrm>
                <a:off x="6035675" y="3387725"/>
                <a:ext cx="69850" cy="63500"/>
              </a:xfrm>
              <a:custGeom>
                <a:avLst/>
                <a:gdLst>
                  <a:gd name="connsiteX0" fmla="*/ 0 w 69850"/>
                  <a:gd name="connsiteY0" fmla="*/ 0 h 63500"/>
                  <a:gd name="connsiteX1" fmla="*/ 41275 w 69850"/>
                  <a:gd name="connsiteY1" fmla="*/ 41275 h 63500"/>
                  <a:gd name="connsiteX2" fmla="*/ 69850 w 69850"/>
                  <a:gd name="connsiteY2" fmla="*/ 41275 h 63500"/>
                  <a:gd name="connsiteX3" fmla="*/ 25400 w 69850"/>
                  <a:gd name="connsiteY3" fmla="*/ 63500 h 63500"/>
                </a:gdLst>
                <a:ahLst/>
                <a:cxnLst>
                  <a:cxn ang="0">
                    <a:pos x="connsiteX0" y="connsiteY0"/>
                  </a:cxn>
                  <a:cxn ang="0">
                    <a:pos x="connsiteX1" y="connsiteY1"/>
                  </a:cxn>
                  <a:cxn ang="0">
                    <a:pos x="connsiteX2" y="connsiteY2"/>
                  </a:cxn>
                  <a:cxn ang="0">
                    <a:pos x="connsiteX3" y="connsiteY3"/>
                  </a:cxn>
                </a:cxnLst>
                <a:rect l="l" t="t" r="r" b="b"/>
                <a:pathLst>
                  <a:path w="69850" h="63500">
                    <a:moveTo>
                      <a:pt x="0" y="0"/>
                    </a:moveTo>
                    <a:lnTo>
                      <a:pt x="41275" y="41275"/>
                    </a:lnTo>
                    <a:lnTo>
                      <a:pt x="69850" y="41275"/>
                    </a:lnTo>
                    <a:lnTo>
                      <a:pt x="25400" y="6350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23" name="Freeform: Shape 622">
                <a:extLst>
                  <a:ext uri="{FF2B5EF4-FFF2-40B4-BE49-F238E27FC236}">
                    <a16:creationId xmlns:a16="http://schemas.microsoft.com/office/drawing/2014/main" id="{82F7377F-64F9-487F-B7F5-C23A239F3BC6}"/>
                  </a:ext>
                </a:extLst>
              </p:cNvPr>
              <p:cNvSpPr/>
              <p:nvPr/>
            </p:nvSpPr>
            <p:spPr bwMode="gray">
              <a:xfrm>
                <a:off x="5994400" y="3467100"/>
                <a:ext cx="50800" cy="117475"/>
              </a:xfrm>
              <a:custGeom>
                <a:avLst/>
                <a:gdLst>
                  <a:gd name="connsiteX0" fmla="*/ 50800 w 50800"/>
                  <a:gd name="connsiteY0" fmla="*/ 111125 h 117475"/>
                  <a:gd name="connsiteX1" fmla="*/ 15875 w 50800"/>
                  <a:gd name="connsiteY1" fmla="*/ 117475 h 117475"/>
                  <a:gd name="connsiteX2" fmla="*/ 0 w 50800"/>
                  <a:gd name="connsiteY2" fmla="*/ 15875 h 117475"/>
                  <a:gd name="connsiteX3" fmla="*/ 25400 w 50800"/>
                  <a:gd name="connsiteY3" fmla="*/ 0 h 117475"/>
                </a:gdLst>
                <a:ahLst/>
                <a:cxnLst>
                  <a:cxn ang="0">
                    <a:pos x="connsiteX0" y="connsiteY0"/>
                  </a:cxn>
                  <a:cxn ang="0">
                    <a:pos x="connsiteX1" y="connsiteY1"/>
                  </a:cxn>
                  <a:cxn ang="0">
                    <a:pos x="connsiteX2" y="connsiteY2"/>
                  </a:cxn>
                  <a:cxn ang="0">
                    <a:pos x="connsiteX3" y="connsiteY3"/>
                  </a:cxn>
                </a:cxnLst>
                <a:rect l="l" t="t" r="r" b="b"/>
                <a:pathLst>
                  <a:path w="50800" h="117475">
                    <a:moveTo>
                      <a:pt x="50800" y="111125"/>
                    </a:moveTo>
                    <a:lnTo>
                      <a:pt x="15875" y="117475"/>
                    </a:lnTo>
                    <a:lnTo>
                      <a:pt x="0" y="15875"/>
                    </a:lnTo>
                    <a:lnTo>
                      <a:pt x="2540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24" name="Freeform: Shape 623">
                <a:extLst>
                  <a:ext uri="{FF2B5EF4-FFF2-40B4-BE49-F238E27FC236}">
                    <a16:creationId xmlns:a16="http://schemas.microsoft.com/office/drawing/2014/main" id="{4680787E-762B-460C-9912-E4B78B8B737A}"/>
                  </a:ext>
                </a:extLst>
              </p:cNvPr>
              <p:cNvSpPr/>
              <p:nvPr/>
            </p:nvSpPr>
            <p:spPr bwMode="gray">
              <a:xfrm>
                <a:off x="6867525" y="2838450"/>
                <a:ext cx="339725" cy="107950"/>
              </a:xfrm>
              <a:custGeom>
                <a:avLst/>
                <a:gdLst>
                  <a:gd name="connsiteX0" fmla="*/ 339725 w 339725"/>
                  <a:gd name="connsiteY0" fmla="*/ 98425 h 107950"/>
                  <a:gd name="connsiteX1" fmla="*/ 234950 w 339725"/>
                  <a:gd name="connsiteY1" fmla="*/ 107950 h 107950"/>
                  <a:gd name="connsiteX2" fmla="*/ 155575 w 339725"/>
                  <a:gd name="connsiteY2" fmla="*/ 50800 h 107950"/>
                  <a:gd name="connsiteX3" fmla="*/ 117475 w 339725"/>
                  <a:gd name="connsiteY3" fmla="*/ 25400 h 107950"/>
                  <a:gd name="connsiteX4" fmla="*/ 44450 w 339725"/>
                  <a:gd name="connsiteY4" fmla="*/ 3175 h 107950"/>
                  <a:gd name="connsiteX5" fmla="*/ 0 w 339725"/>
                  <a:gd name="connsiteY5" fmla="*/ 0 h 10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725" h="107950">
                    <a:moveTo>
                      <a:pt x="339725" y="98425"/>
                    </a:moveTo>
                    <a:lnTo>
                      <a:pt x="234950" y="107950"/>
                    </a:lnTo>
                    <a:lnTo>
                      <a:pt x="155575" y="50800"/>
                    </a:lnTo>
                    <a:lnTo>
                      <a:pt x="117475" y="25400"/>
                    </a:lnTo>
                    <a:lnTo>
                      <a:pt x="44450" y="3175"/>
                    </a:lnTo>
                    <a:lnTo>
                      <a:pt x="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25" name="Freeform: Shape 624">
                <a:extLst>
                  <a:ext uri="{FF2B5EF4-FFF2-40B4-BE49-F238E27FC236}">
                    <a16:creationId xmlns:a16="http://schemas.microsoft.com/office/drawing/2014/main" id="{CC87D071-EAA4-46AD-A3A8-2E5C82D743C5}"/>
                  </a:ext>
                </a:extLst>
              </p:cNvPr>
              <p:cNvSpPr/>
              <p:nvPr/>
            </p:nvSpPr>
            <p:spPr bwMode="gray">
              <a:xfrm>
                <a:off x="7029450" y="2854325"/>
                <a:ext cx="79375" cy="57150"/>
              </a:xfrm>
              <a:custGeom>
                <a:avLst/>
                <a:gdLst>
                  <a:gd name="connsiteX0" fmla="*/ 79375 w 79375"/>
                  <a:gd name="connsiteY0" fmla="*/ 0 h 57150"/>
                  <a:gd name="connsiteX1" fmla="*/ 0 w 79375"/>
                  <a:gd name="connsiteY1" fmla="*/ 12700 h 57150"/>
                  <a:gd name="connsiteX2" fmla="*/ 73025 w 79375"/>
                  <a:gd name="connsiteY2" fmla="*/ 57150 h 57150"/>
                </a:gdLst>
                <a:ahLst/>
                <a:cxnLst>
                  <a:cxn ang="0">
                    <a:pos x="connsiteX0" y="connsiteY0"/>
                  </a:cxn>
                  <a:cxn ang="0">
                    <a:pos x="connsiteX1" y="connsiteY1"/>
                  </a:cxn>
                  <a:cxn ang="0">
                    <a:pos x="connsiteX2" y="connsiteY2"/>
                  </a:cxn>
                </a:cxnLst>
                <a:rect l="l" t="t" r="r" b="b"/>
                <a:pathLst>
                  <a:path w="79375" h="57150">
                    <a:moveTo>
                      <a:pt x="79375" y="0"/>
                    </a:moveTo>
                    <a:lnTo>
                      <a:pt x="0" y="12700"/>
                    </a:lnTo>
                    <a:lnTo>
                      <a:pt x="73025" y="5715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26" name="Freeform: Shape 625">
                <a:extLst>
                  <a:ext uri="{FF2B5EF4-FFF2-40B4-BE49-F238E27FC236}">
                    <a16:creationId xmlns:a16="http://schemas.microsoft.com/office/drawing/2014/main" id="{AE0450A8-4EED-479E-9BFD-08A4121B7BB7}"/>
                  </a:ext>
                </a:extLst>
              </p:cNvPr>
              <p:cNvSpPr/>
              <p:nvPr/>
            </p:nvSpPr>
            <p:spPr bwMode="gray">
              <a:xfrm>
                <a:off x="6880225" y="2841625"/>
                <a:ext cx="28575" cy="60325"/>
              </a:xfrm>
              <a:custGeom>
                <a:avLst/>
                <a:gdLst>
                  <a:gd name="connsiteX0" fmla="*/ 0 w 28575"/>
                  <a:gd name="connsiteY0" fmla="*/ 60325 h 60325"/>
                  <a:gd name="connsiteX1" fmla="*/ 28575 w 28575"/>
                  <a:gd name="connsiteY1" fmla="*/ 0 h 60325"/>
                </a:gdLst>
                <a:ahLst/>
                <a:cxnLst>
                  <a:cxn ang="0">
                    <a:pos x="connsiteX0" y="connsiteY0"/>
                  </a:cxn>
                  <a:cxn ang="0">
                    <a:pos x="connsiteX1" y="connsiteY1"/>
                  </a:cxn>
                </a:cxnLst>
                <a:rect l="l" t="t" r="r" b="b"/>
                <a:pathLst>
                  <a:path w="28575" h="60325">
                    <a:moveTo>
                      <a:pt x="0" y="60325"/>
                    </a:moveTo>
                    <a:lnTo>
                      <a:pt x="28575"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27" name="Freeform: Shape 626">
                <a:extLst>
                  <a:ext uri="{FF2B5EF4-FFF2-40B4-BE49-F238E27FC236}">
                    <a16:creationId xmlns:a16="http://schemas.microsoft.com/office/drawing/2014/main" id="{4A34508E-4F10-4662-8221-9D72A2DABF41}"/>
                  </a:ext>
                </a:extLst>
              </p:cNvPr>
              <p:cNvSpPr/>
              <p:nvPr/>
            </p:nvSpPr>
            <p:spPr bwMode="gray">
              <a:xfrm>
                <a:off x="6797675" y="2701925"/>
                <a:ext cx="41275" cy="50800"/>
              </a:xfrm>
              <a:custGeom>
                <a:avLst/>
                <a:gdLst>
                  <a:gd name="connsiteX0" fmla="*/ 41275 w 41275"/>
                  <a:gd name="connsiteY0" fmla="*/ 50800 h 50800"/>
                  <a:gd name="connsiteX1" fmla="*/ 0 w 41275"/>
                  <a:gd name="connsiteY1" fmla="*/ 0 h 50800"/>
                </a:gdLst>
                <a:ahLst/>
                <a:cxnLst>
                  <a:cxn ang="0">
                    <a:pos x="connsiteX0" y="connsiteY0"/>
                  </a:cxn>
                  <a:cxn ang="0">
                    <a:pos x="connsiteX1" y="connsiteY1"/>
                  </a:cxn>
                </a:cxnLst>
                <a:rect l="l" t="t" r="r" b="b"/>
                <a:pathLst>
                  <a:path w="41275" h="50800">
                    <a:moveTo>
                      <a:pt x="41275" y="50800"/>
                    </a:moveTo>
                    <a:lnTo>
                      <a:pt x="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28" name="Freeform: Shape 627">
                <a:extLst>
                  <a:ext uri="{FF2B5EF4-FFF2-40B4-BE49-F238E27FC236}">
                    <a16:creationId xmlns:a16="http://schemas.microsoft.com/office/drawing/2014/main" id="{9D25CD2E-6FDE-455E-962F-BFA80C3806DD}"/>
                  </a:ext>
                </a:extLst>
              </p:cNvPr>
              <p:cNvSpPr/>
              <p:nvPr/>
            </p:nvSpPr>
            <p:spPr bwMode="gray">
              <a:xfrm>
                <a:off x="6772275" y="2613025"/>
                <a:ext cx="92075" cy="88900"/>
              </a:xfrm>
              <a:custGeom>
                <a:avLst/>
                <a:gdLst>
                  <a:gd name="connsiteX0" fmla="*/ 92075 w 92075"/>
                  <a:gd name="connsiteY0" fmla="*/ 88900 h 88900"/>
                  <a:gd name="connsiteX1" fmla="*/ 0 w 92075"/>
                  <a:gd name="connsiteY1" fmla="*/ 88900 h 88900"/>
                  <a:gd name="connsiteX2" fmla="*/ 6350 w 92075"/>
                  <a:gd name="connsiteY2" fmla="*/ 0 h 88900"/>
                  <a:gd name="connsiteX3" fmla="*/ 92075 w 92075"/>
                  <a:gd name="connsiteY3" fmla="*/ 88900 h 88900"/>
                </a:gdLst>
                <a:ahLst/>
                <a:cxnLst>
                  <a:cxn ang="0">
                    <a:pos x="connsiteX0" y="connsiteY0"/>
                  </a:cxn>
                  <a:cxn ang="0">
                    <a:pos x="connsiteX1" y="connsiteY1"/>
                  </a:cxn>
                  <a:cxn ang="0">
                    <a:pos x="connsiteX2" y="connsiteY2"/>
                  </a:cxn>
                  <a:cxn ang="0">
                    <a:pos x="connsiteX3" y="connsiteY3"/>
                  </a:cxn>
                </a:cxnLst>
                <a:rect l="l" t="t" r="r" b="b"/>
                <a:pathLst>
                  <a:path w="92075" h="88900">
                    <a:moveTo>
                      <a:pt x="92075" y="88900"/>
                    </a:moveTo>
                    <a:lnTo>
                      <a:pt x="0" y="88900"/>
                    </a:lnTo>
                    <a:lnTo>
                      <a:pt x="6350" y="0"/>
                    </a:lnTo>
                    <a:lnTo>
                      <a:pt x="92075" y="88900"/>
                    </a:lnTo>
                    <a:close/>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29" name="Freeform: Shape 628">
                <a:extLst>
                  <a:ext uri="{FF2B5EF4-FFF2-40B4-BE49-F238E27FC236}">
                    <a16:creationId xmlns:a16="http://schemas.microsoft.com/office/drawing/2014/main" id="{6D49BBF4-612E-40CB-8860-3A55FFBA48E0}"/>
                  </a:ext>
                </a:extLst>
              </p:cNvPr>
              <p:cNvSpPr/>
              <p:nvPr/>
            </p:nvSpPr>
            <p:spPr bwMode="gray">
              <a:xfrm>
                <a:off x="6864350" y="2685896"/>
                <a:ext cx="41275" cy="3329"/>
              </a:xfrm>
              <a:custGeom>
                <a:avLst/>
                <a:gdLst>
                  <a:gd name="connsiteX0" fmla="*/ 41275 w 41275"/>
                  <a:gd name="connsiteY0" fmla="*/ 3329 h 3329"/>
                  <a:gd name="connsiteX1" fmla="*/ 0 w 41275"/>
                  <a:gd name="connsiteY1" fmla="*/ 154 h 3329"/>
                </a:gdLst>
                <a:ahLst/>
                <a:cxnLst>
                  <a:cxn ang="0">
                    <a:pos x="connsiteX0" y="connsiteY0"/>
                  </a:cxn>
                  <a:cxn ang="0">
                    <a:pos x="connsiteX1" y="connsiteY1"/>
                  </a:cxn>
                </a:cxnLst>
                <a:rect l="l" t="t" r="r" b="b"/>
                <a:pathLst>
                  <a:path w="41275" h="3329">
                    <a:moveTo>
                      <a:pt x="41275" y="3329"/>
                    </a:moveTo>
                    <a:cubicBezTo>
                      <a:pt x="14917" y="-1064"/>
                      <a:pt x="28663" y="154"/>
                      <a:pt x="0" y="154"/>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30" name="Freeform: Shape 629">
                <a:extLst>
                  <a:ext uri="{FF2B5EF4-FFF2-40B4-BE49-F238E27FC236}">
                    <a16:creationId xmlns:a16="http://schemas.microsoft.com/office/drawing/2014/main" id="{8F115D45-6926-494B-A87A-04DB0C488141}"/>
                  </a:ext>
                </a:extLst>
              </p:cNvPr>
              <p:cNvSpPr/>
              <p:nvPr/>
            </p:nvSpPr>
            <p:spPr bwMode="gray">
              <a:xfrm>
                <a:off x="6924675" y="2451100"/>
                <a:ext cx="60325" cy="95250"/>
              </a:xfrm>
              <a:custGeom>
                <a:avLst/>
                <a:gdLst>
                  <a:gd name="connsiteX0" fmla="*/ 0 w 60325"/>
                  <a:gd name="connsiteY0" fmla="*/ 95250 h 95250"/>
                  <a:gd name="connsiteX1" fmla="*/ 15875 w 60325"/>
                  <a:gd name="connsiteY1" fmla="*/ 53975 h 95250"/>
                  <a:gd name="connsiteX2" fmla="*/ 19050 w 60325"/>
                  <a:gd name="connsiteY2" fmla="*/ 44450 h 95250"/>
                  <a:gd name="connsiteX3" fmla="*/ 38100 w 60325"/>
                  <a:gd name="connsiteY3" fmla="*/ 22225 h 95250"/>
                  <a:gd name="connsiteX4" fmla="*/ 44450 w 60325"/>
                  <a:gd name="connsiteY4" fmla="*/ 12700 h 95250"/>
                  <a:gd name="connsiteX5" fmla="*/ 60325 w 60325"/>
                  <a:gd name="connsiteY5" fmla="*/ 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25" h="95250">
                    <a:moveTo>
                      <a:pt x="0" y="95250"/>
                    </a:moveTo>
                    <a:cubicBezTo>
                      <a:pt x="7231" y="59097"/>
                      <a:pt x="-1282" y="71132"/>
                      <a:pt x="15875" y="53975"/>
                    </a:cubicBezTo>
                    <a:cubicBezTo>
                      <a:pt x="16933" y="50800"/>
                      <a:pt x="17390" y="47356"/>
                      <a:pt x="19050" y="44450"/>
                    </a:cubicBezTo>
                    <a:cubicBezTo>
                      <a:pt x="27698" y="29317"/>
                      <a:pt x="27864" y="34509"/>
                      <a:pt x="38100" y="22225"/>
                    </a:cubicBezTo>
                    <a:cubicBezTo>
                      <a:pt x="40543" y="19294"/>
                      <a:pt x="41519" y="15143"/>
                      <a:pt x="44450" y="12700"/>
                    </a:cubicBezTo>
                    <a:cubicBezTo>
                      <a:pt x="63500" y="-3175"/>
                      <a:pt x="52917" y="14817"/>
                      <a:pt x="60325" y="0"/>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31" name="Freeform: Shape 630">
                <a:extLst>
                  <a:ext uri="{FF2B5EF4-FFF2-40B4-BE49-F238E27FC236}">
                    <a16:creationId xmlns:a16="http://schemas.microsoft.com/office/drawing/2014/main" id="{6D7431DE-BDAE-45A9-9125-C9BAC5002F38}"/>
                  </a:ext>
                </a:extLst>
              </p:cNvPr>
              <p:cNvSpPr/>
              <p:nvPr/>
            </p:nvSpPr>
            <p:spPr bwMode="gray">
              <a:xfrm>
                <a:off x="6842125" y="2425700"/>
                <a:ext cx="88900" cy="82550"/>
              </a:xfrm>
              <a:custGeom>
                <a:avLst/>
                <a:gdLst>
                  <a:gd name="connsiteX0" fmla="*/ 88900 w 88900"/>
                  <a:gd name="connsiteY0" fmla="*/ 82550 h 82550"/>
                  <a:gd name="connsiteX1" fmla="*/ 38100 w 88900"/>
                  <a:gd name="connsiteY1" fmla="*/ 0 h 82550"/>
                  <a:gd name="connsiteX2" fmla="*/ 0 w 88900"/>
                  <a:gd name="connsiteY2" fmla="*/ 44450 h 82550"/>
                </a:gdLst>
                <a:ahLst/>
                <a:cxnLst>
                  <a:cxn ang="0">
                    <a:pos x="connsiteX0" y="connsiteY0"/>
                  </a:cxn>
                  <a:cxn ang="0">
                    <a:pos x="connsiteX1" y="connsiteY1"/>
                  </a:cxn>
                  <a:cxn ang="0">
                    <a:pos x="connsiteX2" y="connsiteY2"/>
                  </a:cxn>
                </a:cxnLst>
                <a:rect l="l" t="t" r="r" b="b"/>
                <a:pathLst>
                  <a:path w="88900" h="82550">
                    <a:moveTo>
                      <a:pt x="88900" y="82550"/>
                    </a:moveTo>
                    <a:lnTo>
                      <a:pt x="38100" y="0"/>
                    </a:lnTo>
                    <a:lnTo>
                      <a:pt x="0" y="4445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32" name="Freeform: Shape 631">
                <a:extLst>
                  <a:ext uri="{FF2B5EF4-FFF2-40B4-BE49-F238E27FC236}">
                    <a16:creationId xmlns:a16="http://schemas.microsoft.com/office/drawing/2014/main" id="{02813986-F3F7-48A3-B969-76B7E43E5157}"/>
                  </a:ext>
                </a:extLst>
              </p:cNvPr>
              <p:cNvSpPr/>
              <p:nvPr/>
            </p:nvSpPr>
            <p:spPr bwMode="gray">
              <a:xfrm>
                <a:off x="6553200" y="3794125"/>
                <a:ext cx="184150" cy="44450"/>
              </a:xfrm>
              <a:custGeom>
                <a:avLst/>
                <a:gdLst>
                  <a:gd name="connsiteX0" fmla="*/ 0 w 184150"/>
                  <a:gd name="connsiteY0" fmla="*/ 3175 h 44450"/>
                  <a:gd name="connsiteX1" fmla="*/ 53975 w 184150"/>
                  <a:gd name="connsiteY1" fmla="*/ 44450 h 44450"/>
                  <a:gd name="connsiteX2" fmla="*/ 111125 w 184150"/>
                  <a:gd name="connsiteY2" fmla="*/ 0 h 44450"/>
                  <a:gd name="connsiteX3" fmla="*/ 184150 w 184150"/>
                  <a:gd name="connsiteY3" fmla="*/ 6350 h 44450"/>
                </a:gdLst>
                <a:ahLst/>
                <a:cxnLst>
                  <a:cxn ang="0">
                    <a:pos x="connsiteX0" y="connsiteY0"/>
                  </a:cxn>
                  <a:cxn ang="0">
                    <a:pos x="connsiteX1" y="connsiteY1"/>
                  </a:cxn>
                  <a:cxn ang="0">
                    <a:pos x="connsiteX2" y="connsiteY2"/>
                  </a:cxn>
                  <a:cxn ang="0">
                    <a:pos x="connsiteX3" y="connsiteY3"/>
                  </a:cxn>
                </a:cxnLst>
                <a:rect l="l" t="t" r="r" b="b"/>
                <a:pathLst>
                  <a:path w="184150" h="44450">
                    <a:moveTo>
                      <a:pt x="0" y="3175"/>
                    </a:moveTo>
                    <a:lnTo>
                      <a:pt x="53975" y="44450"/>
                    </a:lnTo>
                    <a:lnTo>
                      <a:pt x="111125" y="0"/>
                    </a:lnTo>
                    <a:lnTo>
                      <a:pt x="184150" y="635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33" name="Freeform: Shape 632">
                <a:extLst>
                  <a:ext uri="{FF2B5EF4-FFF2-40B4-BE49-F238E27FC236}">
                    <a16:creationId xmlns:a16="http://schemas.microsoft.com/office/drawing/2014/main" id="{E089F053-F76E-4C40-A0E3-0CD8B0D34321}"/>
                  </a:ext>
                </a:extLst>
              </p:cNvPr>
              <p:cNvSpPr/>
              <p:nvPr/>
            </p:nvSpPr>
            <p:spPr bwMode="gray">
              <a:xfrm>
                <a:off x="6670675" y="3800426"/>
                <a:ext cx="19250" cy="16397"/>
              </a:xfrm>
              <a:custGeom>
                <a:avLst/>
                <a:gdLst>
                  <a:gd name="connsiteX0" fmla="*/ 0 w 19250"/>
                  <a:gd name="connsiteY0" fmla="*/ 49 h 16397"/>
                  <a:gd name="connsiteX1" fmla="*/ 19050 w 19250"/>
                  <a:gd name="connsiteY1" fmla="*/ 15924 h 16397"/>
                  <a:gd name="connsiteX2" fmla="*/ 0 w 19250"/>
                  <a:gd name="connsiteY2" fmla="*/ 49 h 16397"/>
                </a:gdLst>
                <a:ahLst/>
                <a:cxnLst>
                  <a:cxn ang="0">
                    <a:pos x="connsiteX0" y="connsiteY0"/>
                  </a:cxn>
                  <a:cxn ang="0">
                    <a:pos x="connsiteX1" y="connsiteY1"/>
                  </a:cxn>
                  <a:cxn ang="0">
                    <a:pos x="connsiteX2" y="connsiteY2"/>
                  </a:cxn>
                </a:cxnLst>
                <a:rect l="l" t="t" r="r" b="b"/>
                <a:pathLst>
                  <a:path w="19250" h="16397">
                    <a:moveTo>
                      <a:pt x="0" y="49"/>
                    </a:moveTo>
                    <a:cubicBezTo>
                      <a:pt x="0" y="49"/>
                      <a:pt x="7286" y="-1723"/>
                      <a:pt x="19050" y="15924"/>
                    </a:cubicBezTo>
                    <a:cubicBezTo>
                      <a:pt x="21541" y="19660"/>
                      <a:pt x="0" y="49"/>
                      <a:pt x="0" y="49"/>
                    </a:cubicBezTo>
                    <a:close/>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34" name="Freeform: Shape 633">
                <a:extLst>
                  <a:ext uri="{FF2B5EF4-FFF2-40B4-BE49-F238E27FC236}">
                    <a16:creationId xmlns:a16="http://schemas.microsoft.com/office/drawing/2014/main" id="{263591E3-EB5D-412E-8D96-090DF7076650}"/>
                  </a:ext>
                </a:extLst>
              </p:cNvPr>
              <p:cNvSpPr/>
              <p:nvPr/>
            </p:nvSpPr>
            <p:spPr bwMode="gray">
              <a:xfrm>
                <a:off x="7042150" y="3114675"/>
                <a:ext cx="41275" cy="98425"/>
              </a:xfrm>
              <a:custGeom>
                <a:avLst/>
                <a:gdLst>
                  <a:gd name="connsiteX0" fmla="*/ 0 w 41275"/>
                  <a:gd name="connsiteY0" fmla="*/ 98425 h 98425"/>
                  <a:gd name="connsiteX1" fmla="*/ 28575 w 41275"/>
                  <a:gd name="connsiteY1" fmla="*/ 57150 h 98425"/>
                  <a:gd name="connsiteX2" fmla="*/ 41275 w 41275"/>
                  <a:gd name="connsiteY2" fmla="*/ 0 h 98425"/>
                </a:gdLst>
                <a:ahLst/>
                <a:cxnLst>
                  <a:cxn ang="0">
                    <a:pos x="connsiteX0" y="connsiteY0"/>
                  </a:cxn>
                  <a:cxn ang="0">
                    <a:pos x="connsiteX1" y="connsiteY1"/>
                  </a:cxn>
                  <a:cxn ang="0">
                    <a:pos x="connsiteX2" y="connsiteY2"/>
                  </a:cxn>
                </a:cxnLst>
                <a:rect l="l" t="t" r="r" b="b"/>
                <a:pathLst>
                  <a:path w="41275" h="98425">
                    <a:moveTo>
                      <a:pt x="0" y="98425"/>
                    </a:moveTo>
                    <a:lnTo>
                      <a:pt x="28575" y="57150"/>
                    </a:lnTo>
                    <a:lnTo>
                      <a:pt x="41275"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35" name="Freeform: Shape 634">
                <a:extLst>
                  <a:ext uri="{FF2B5EF4-FFF2-40B4-BE49-F238E27FC236}">
                    <a16:creationId xmlns:a16="http://schemas.microsoft.com/office/drawing/2014/main" id="{3DA9F56E-559C-4212-B408-5709E8495094}"/>
                  </a:ext>
                </a:extLst>
              </p:cNvPr>
              <p:cNvSpPr/>
              <p:nvPr/>
            </p:nvSpPr>
            <p:spPr bwMode="gray">
              <a:xfrm>
                <a:off x="6465094" y="3219450"/>
                <a:ext cx="59531" cy="33338"/>
              </a:xfrm>
              <a:custGeom>
                <a:avLst/>
                <a:gdLst>
                  <a:gd name="connsiteX0" fmla="*/ 0 w 59531"/>
                  <a:gd name="connsiteY0" fmla="*/ 0 h 33338"/>
                  <a:gd name="connsiteX1" fmla="*/ 11906 w 59531"/>
                  <a:gd name="connsiteY1" fmla="*/ 2381 h 33338"/>
                  <a:gd name="connsiteX2" fmla="*/ 26194 w 59531"/>
                  <a:gd name="connsiteY2" fmla="*/ 14288 h 33338"/>
                  <a:gd name="connsiteX3" fmla="*/ 45244 w 59531"/>
                  <a:gd name="connsiteY3" fmla="*/ 23813 h 33338"/>
                  <a:gd name="connsiteX4" fmla="*/ 59531 w 59531"/>
                  <a:gd name="connsiteY4" fmla="*/ 33338 h 33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531" h="33338">
                    <a:moveTo>
                      <a:pt x="0" y="0"/>
                    </a:moveTo>
                    <a:cubicBezTo>
                      <a:pt x="3969" y="794"/>
                      <a:pt x="8116" y="960"/>
                      <a:pt x="11906" y="2381"/>
                    </a:cubicBezTo>
                    <a:cubicBezTo>
                      <a:pt x="18143" y="4720"/>
                      <a:pt x="21390" y="10171"/>
                      <a:pt x="26194" y="14288"/>
                    </a:cubicBezTo>
                    <a:cubicBezTo>
                      <a:pt x="36193" y="22858"/>
                      <a:pt x="33637" y="20910"/>
                      <a:pt x="45244" y="23813"/>
                    </a:cubicBezTo>
                    <a:lnTo>
                      <a:pt x="59531" y="33338"/>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636" name="Freeform: Shape 635">
                <a:extLst>
                  <a:ext uri="{FF2B5EF4-FFF2-40B4-BE49-F238E27FC236}">
                    <a16:creationId xmlns:a16="http://schemas.microsoft.com/office/drawing/2014/main" id="{F922D262-EFF7-40A4-8E56-B3A746FE1AA9}"/>
                  </a:ext>
                </a:extLst>
              </p:cNvPr>
              <p:cNvSpPr/>
              <p:nvPr/>
            </p:nvSpPr>
            <p:spPr bwMode="gray">
              <a:xfrm>
                <a:off x="6643659" y="3169182"/>
                <a:ext cx="8642" cy="27673"/>
              </a:xfrm>
              <a:custGeom>
                <a:avLst/>
                <a:gdLst>
                  <a:gd name="connsiteX0" fmla="*/ 28 w 8642"/>
                  <a:gd name="connsiteY0" fmla="*/ 262 h 27673"/>
                  <a:gd name="connsiteX1" fmla="*/ 4791 w 8642"/>
                  <a:gd name="connsiteY1" fmla="*/ 12168 h 27673"/>
                  <a:gd name="connsiteX2" fmla="*/ 7172 w 8642"/>
                  <a:gd name="connsiteY2" fmla="*/ 24074 h 27673"/>
                  <a:gd name="connsiteX3" fmla="*/ 28 w 8642"/>
                  <a:gd name="connsiteY3" fmla="*/ 262 h 27673"/>
                </a:gdLst>
                <a:ahLst/>
                <a:cxnLst>
                  <a:cxn ang="0">
                    <a:pos x="connsiteX0" y="connsiteY0"/>
                  </a:cxn>
                  <a:cxn ang="0">
                    <a:pos x="connsiteX1" y="connsiteY1"/>
                  </a:cxn>
                  <a:cxn ang="0">
                    <a:pos x="connsiteX2" y="connsiteY2"/>
                  </a:cxn>
                  <a:cxn ang="0">
                    <a:pos x="connsiteX3" y="connsiteY3"/>
                  </a:cxn>
                </a:cxnLst>
                <a:rect l="l" t="t" r="r" b="b"/>
                <a:pathLst>
                  <a:path w="8642" h="27673">
                    <a:moveTo>
                      <a:pt x="28" y="262"/>
                    </a:moveTo>
                    <a:cubicBezTo>
                      <a:pt x="-369" y="-1722"/>
                      <a:pt x="3563" y="8074"/>
                      <a:pt x="4791" y="12168"/>
                    </a:cubicBezTo>
                    <a:cubicBezTo>
                      <a:pt x="5954" y="16045"/>
                      <a:pt x="5751" y="20284"/>
                      <a:pt x="7172" y="24074"/>
                    </a:cubicBezTo>
                    <a:cubicBezTo>
                      <a:pt x="12814" y="39122"/>
                      <a:pt x="425" y="2246"/>
                      <a:pt x="28" y="262"/>
                    </a:cubicBezTo>
                    <a:close/>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grpSp>
        <p:grpSp>
          <p:nvGrpSpPr>
            <p:cNvPr id="300" name="Group 299">
              <a:extLst>
                <a:ext uri="{FF2B5EF4-FFF2-40B4-BE49-F238E27FC236}">
                  <a16:creationId xmlns:a16="http://schemas.microsoft.com/office/drawing/2014/main" id="{448F0304-CF27-4C28-BE16-DAE4CDD84C67}"/>
                </a:ext>
              </a:extLst>
            </p:cNvPr>
            <p:cNvGrpSpPr/>
            <p:nvPr/>
          </p:nvGrpSpPr>
          <p:grpSpPr bwMode="gray">
            <a:xfrm>
              <a:off x="5691188" y="5269706"/>
              <a:ext cx="1688306" cy="526257"/>
              <a:chOff x="5691188" y="5269706"/>
              <a:chExt cx="1688306" cy="526257"/>
            </a:xfrm>
          </p:grpSpPr>
          <p:sp>
            <p:nvSpPr>
              <p:cNvPr id="561" name="Freeform: Shape 560">
                <a:extLst>
                  <a:ext uri="{FF2B5EF4-FFF2-40B4-BE49-F238E27FC236}">
                    <a16:creationId xmlns:a16="http://schemas.microsoft.com/office/drawing/2014/main" id="{7F7ACB06-C702-480F-B044-221F1A7E23AB}"/>
                  </a:ext>
                </a:extLst>
              </p:cNvPr>
              <p:cNvSpPr/>
              <p:nvPr/>
            </p:nvSpPr>
            <p:spPr bwMode="gray">
              <a:xfrm>
                <a:off x="5691188" y="5374481"/>
                <a:ext cx="169068" cy="114300"/>
              </a:xfrm>
              <a:custGeom>
                <a:avLst/>
                <a:gdLst>
                  <a:gd name="connsiteX0" fmla="*/ 0 w 169068"/>
                  <a:gd name="connsiteY0" fmla="*/ 0 h 114300"/>
                  <a:gd name="connsiteX1" fmla="*/ 52387 w 169068"/>
                  <a:gd name="connsiteY1" fmla="*/ 35719 h 114300"/>
                  <a:gd name="connsiteX2" fmla="*/ 119062 w 169068"/>
                  <a:gd name="connsiteY2" fmla="*/ 80963 h 114300"/>
                  <a:gd name="connsiteX3" fmla="*/ 152400 w 169068"/>
                  <a:gd name="connsiteY3" fmla="*/ 114300 h 114300"/>
                  <a:gd name="connsiteX4" fmla="*/ 169068 w 169068"/>
                  <a:gd name="connsiteY4" fmla="*/ 102394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068" h="114300">
                    <a:moveTo>
                      <a:pt x="0" y="0"/>
                    </a:moveTo>
                    <a:lnTo>
                      <a:pt x="52387" y="35719"/>
                    </a:lnTo>
                    <a:lnTo>
                      <a:pt x="119062" y="80963"/>
                    </a:lnTo>
                    <a:lnTo>
                      <a:pt x="152400" y="114300"/>
                    </a:lnTo>
                    <a:lnTo>
                      <a:pt x="169068" y="102394"/>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62" name="Freeform: Shape 561">
                <a:extLst>
                  <a:ext uri="{FF2B5EF4-FFF2-40B4-BE49-F238E27FC236}">
                    <a16:creationId xmlns:a16="http://schemas.microsoft.com/office/drawing/2014/main" id="{45233B32-1FCC-4BE5-976E-DFF8A950CA2A}"/>
                  </a:ext>
                </a:extLst>
              </p:cNvPr>
              <p:cNvSpPr/>
              <p:nvPr/>
            </p:nvSpPr>
            <p:spPr bwMode="gray">
              <a:xfrm>
                <a:off x="5857875" y="5376863"/>
                <a:ext cx="309563" cy="419100"/>
              </a:xfrm>
              <a:custGeom>
                <a:avLst/>
                <a:gdLst>
                  <a:gd name="connsiteX0" fmla="*/ 102394 w 309563"/>
                  <a:gd name="connsiteY0" fmla="*/ 2381 h 419100"/>
                  <a:gd name="connsiteX1" fmla="*/ 42863 w 309563"/>
                  <a:gd name="connsiteY1" fmla="*/ 0 h 419100"/>
                  <a:gd name="connsiteX2" fmla="*/ 14288 w 309563"/>
                  <a:gd name="connsiteY2" fmla="*/ 23812 h 419100"/>
                  <a:gd name="connsiteX3" fmla="*/ 19050 w 309563"/>
                  <a:gd name="connsiteY3" fmla="*/ 54768 h 419100"/>
                  <a:gd name="connsiteX4" fmla="*/ 0 w 309563"/>
                  <a:gd name="connsiteY4" fmla="*/ 95250 h 419100"/>
                  <a:gd name="connsiteX5" fmla="*/ 38100 w 309563"/>
                  <a:gd name="connsiteY5" fmla="*/ 147637 h 419100"/>
                  <a:gd name="connsiteX6" fmla="*/ 69056 w 309563"/>
                  <a:gd name="connsiteY6" fmla="*/ 147637 h 419100"/>
                  <a:gd name="connsiteX7" fmla="*/ 90488 w 309563"/>
                  <a:gd name="connsiteY7" fmla="*/ 204787 h 419100"/>
                  <a:gd name="connsiteX8" fmla="*/ 173831 w 309563"/>
                  <a:gd name="connsiteY8" fmla="*/ 230981 h 419100"/>
                  <a:gd name="connsiteX9" fmla="*/ 226219 w 309563"/>
                  <a:gd name="connsiteY9" fmla="*/ 207168 h 419100"/>
                  <a:gd name="connsiteX10" fmla="*/ 309563 w 309563"/>
                  <a:gd name="connsiteY10" fmla="*/ 285750 h 419100"/>
                  <a:gd name="connsiteX11" fmla="*/ 307181 w 309563"/>
                  <a:gd name="connsiteY11" fmla="*/ 340518 h 419100"/>
                  <a:gd name="connsiteX12" fmla="*/ 285750 w 309563"/>
                  <a:gd name="connsiteY12" fmla="*/ 388143 h 419100"/>
                  <a:gd name="connsiteX13" fmla="*/ 280988 w 309563"/>
                  <a:gd name="connsiteY13" fmla="*/ 419100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9563" h="419100">
                    <a:moveTo>
                      <a:pt x="102394" y="2381"/>
                    </a:moveTo>
                    <a:lnTo>
                      <a:pt x="42863" y="0"/>
                    </a:lnTo>
                    <a:lnTo>
                      <a:pt x="14288" y="23812"/>
                    </a:lnTo>
                    <a:lnTo>
                      <a:pt x="19050" y="54768"/>
                    </a:lnTo>
                    <a:lnTo>
                      <a:pt x="0" y="95250"/>
                    </a:lnTo>
                    <a:lnTo>
                      <a:pt x="38100" y="147637"/>
                    </a:lnTo>
                    <a:lnTo>
                      <a:pt x="69056" y="147637"/>
                    </a:lnTo>
                    <a:lnTo>
                      <a:pt x="90488" y="204787"/>
                    </a:lnTo>
                    <a:lnTo>
                      <a:pt x="173831" y="230981"/>
                    </a:lnTo>
                    <a:lnTo>
                      <a:pt x="226219" y="207168"/>
                    </a:lnTo>
                    <a:lnTo>
                      <a:pt x="309563" y="285750"/>
                    </a:lnTo>
                    <a:lnTo>
                      <a:pt x="307181" y="340518"/>
                    </a:lnTo>
                    <a:lnTo>
                      <a:pt x="285750" y="388143"/>
                    </a:lnTo>
                    <a:lnTo>
                      <a:pt x="280988" y="41910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63" name="Freeform: Shape 562">
                <a:extLst>
                  <a:ext uri="{FF2B5EF4-FFF2-40B4-BE49-F238E27FC236}">
                    <a16:creationId xmlns:a16="http://schemas.microsoft.com/office/drawing/2014/main" id="{9CCFFE47-939E-4086-B792-594889C2879C}"/>
                  </a:ext>
                </a:extLst>
              </p:cNvPr>
              <p:cNvSpPr/>
              <p:nvPr/>
            </p:nvSpPr>
            <p:spPr bwMode="gray">
              <a:xfrm>
                <a:off x="6107906" y="5679281"/>
                <a:ext cx="50007" cy="57150"/>
              </a:xfrm>
              <a:custGeom>
                <a:avLst/>
                <a:gdLst>
                  <a:gd name="connsiteX0" fmla="*/ 0 w 50007"/>
                  <a:gd name="connsiteY0" fmla="*/ 19050 h 57150"/>
                  <a:gd name="connsiteX1" fmla="*/ 23813 w 50007"/>
                  <a:gd name="connsiteY1" fmla="*/ 0 h 57150"/>
                  <a:gd name="connsiteX2" fmla="*/ 50007 w 50007"/>
                  <a:gd name="connsiteY2" fmla="*/ 30957 h 57150"/>
                  <a:gd name="connsiteX3" fmla="*/ 50007 w 50007"/>
                  <a:gd name="connsiteY3" fmla="*/ 57150 h 57150"/>
                </a:gdLst>
                <a:ahLst/>
                <a:cxnLst>
                  <a:cxn ang="0">
                    <a:pos x="connsiteX0" y="connsiteY0"/>
                  </a:cxn>
                  <a:cxn ang="0">
                    <a:pos x="connsiteX1" y="connsiteY1"/>
                  </a:cxn>
                  <a:cxn ang="0">
                    <a:pos x="connsiteX2" y="connsiteY2"/>
                  </a:cxn>
                  <a:cxn ang="0">
                    <a:pos x="connsiteX3" y="connsiteY3"/>
                  </a:cxn>
                </a:cxnLst>
                <a:rect l="l" t="t" r="r" b="b"/>
                <a:pathLst>
                  <a:path w="50007" h="57150">
                    <a:moveTo>
                      <a:pt x="0" y="19050"/>
                    </a:moveTo>
                    <a:lnTo>
                      <a:pt x="23813" y="0"/>
                    </a:lnTo>
                    <a:lnTo>
                      <a:pt x="50007" y="30957"/>
                    </a:lnTo>
                    <a:lnTo>
                      <a:pt x="50007" y="5715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64" name="Freeform: Shape 563">
                <a:extLst>
                  <a:ext uri="{FF2B5EF4-FFF2-40B4-BE49-F238E27FC236}">
                    <a16:creationId xmlns:a16="http://schemas.microsoft.com/office/drawing/2014/main" id="{6DD97BCB-B388-4B16-A100-4D2961BF9CB7}"/>
                  </a:ext>
                </a:extLst>
              </p:cNvPr>
              <p:cNvSpPr/>
              <p:nvPr/>
            </p:nvSpPr>
            <p:spPr bwMode="gray">
              <a:xfrm>
                <a:off x="6391275" y="5507831"/>
                <a:ext cx="319088" cy="71438"/>
              </a:xfrm>
              <a:custGeom>
                <a:avLst/>
                <a:gdLst>
                  <a:gd name="connsiteX0" fmla="*/ 0 w 319088"/>
                  <a:gd name="connsiteY0" fmla="*/ 0 h 71438"/>
                  <a:gd name="connsiteX1" fmla="*/ 42863 w 319088"/>
                  <a:gd name="connsiteY1" fmla="*/ 30957 h 71438"/>
                  <a:gd name="connsiteX2" fmla="*/ 78581 w 319088"/>
                  <a:gd name="connsiteY2" fmla="*/ 21432 h 71438"/>
                  <a:gd name="connsiteX3" fmla="*/ 107156 w 319088"/>
                  <a:gd name="connsiteY3" fmla="*/ 21432 h 71438"/>
                  <a:gd name="connsiteX4" fmla="*/ 116681 w 319088"/>
                  <a:gd name="connsiteY4" fmla="*/ 16669 h 71438"/>
                  <a:gd name="connsiteX5" fmla="*/ 176213 w 319088"/>
                  <a:gd name="connsiteY5" fmla="*/ 28575 h 71438"/>
                  <a:gd name="connsiteX6" fmla="*/ 219075 w 319088"/>
                  <a:gd name="connsiteY6" fmla="*/ 52388 h 71438"/>
                  <a:gd name="connsiteX7" fmla="*/ 254794 w 319088"/>
                  <a:gd name="connsiteY7" fmla="*/ 71438 h 71438"/>
                  <a:gd name="connsiteX8" fmla="*/ 304800 w 319088"/>
                  <a:gd name="connsiteY8" fmla="*/ 66675 h 71438"/>
                  <a:gd name="connsiteX9" fmla="*/ 319088 w 319088"/>
                  <a:gd name="connsiteY9" fmla="*/ 57150 h 71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088" h="71438">
                    <a:moveTo>
                      <a:pt x="0" y="0"/>
                    </a:moveTo>
                    <a:lnTo>
                      <a:pt x="42863" y="30957"/>
                    </a:lnTo>
                    <a:lnTo>
                      <a:pt x="78581" y="21432"/>
                    </a:lnTo>
                    <a:lnTo>
                      <a:pt x="107156" y="21432"/>
                    </a:lnTo>
                    <a:lnTo>
                      <a:pt x="116681" y="16669"/>
                    </a:lnTo>
                    <a:lnTo>
                      <a:pt x="176213" y="28575"/>
                    </a:lnTo>
                    <a:lnTo>
                      <a:pt x="219075" y="52388"/>
                    </a:lnTo>
                    <a:lnTo>
                      <a:pt x="254794" y="71438"/>
                    </a:lnTo>
                    <a:lnTo>
                      <a:pt x="304800" y="66675"/>
                    </a:lnTo>
                    <a:lnTo>
                      <a:pt x="319088" y="5715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65" name="Freeform: Shape 564">
                <a:extLst>
                  <a:ext uri="{FF2B5EF4-FFF2-40B4-BE49-F238E27FC236}">
                    <a16:creationId xmlns:a16="http://schemas.microsoft.com/office/drawing/2014/main" id="{17CFFD07-7F7C-4562-B8E9-174266FF2821}"/>
                  </a:ext>
                </a:extLst>
              </p:cNvPr>
              <p:cNvSpPr/>
              <p:nvPr/>
            </p:nvSpPr>
            <p:spPr bwMode="gray">
              <a:xfrm>
                <a:off x="6619875" y="5584031"/>
                <a:ext cx="54769" cy="142875"/>
              </a:xfrm>
              <a:custGeom>
                <a:avLst/>
                <a:gdLst>
                  <a:gd name="connsiteX0" fmla="*/ 54769 w 54769"/>
                  <a:gd name="connsiteY0" fmla="*/ 142875 h 142875"/>
                  <a:gd name="connsiteX1" fmla="*/ 45244 w 54769"/>
                  <a:gd name="connsiteY1" fmla="*/ 119063 h 142875"/>
                  <a:gd name="connsiteX2" fmla="*/ 38100 w 54769"/>
                  <a:gd name="connsiteY2" fmla="*/ 95250 h 142875"/>
                  <a:gd name="connsiteX3" fmla="*/ 0 w 54769"/>
                  <a:gd name="connsiteY3" fmla="*/ 66675 h 142875"/>
                  <a:gd name="connsiteX4" fmla="*/ 9525 w 54769"/>
                  <a:gd name="connsiteY4" fmla="*/ 38100 h 142875"/>
                  <a:gd name="connsiteX5" fmla="*/ 26194 w 54769"/>
                  <a:gd name="connsiteY5" fmla="*/ 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769" h="142875">
                    <a:moveTo>
                      <a:pt x="54769" y="142875"/>
                    </a:moveTo>
                    <a:lnTo>
                      <a:pt x="45244" y="119063"/>
                    </a:lnTo>
                    <a:lnTo>
                      <a:pt x="38100" y="95250"/>
                    </a:lnTo>
                    <a:lnTo>
                      <a:pt x="0" y="66675"/>
                    </a:lnTo>
                    <a:lnTo>
                      <a:pt x="9525" y="38100"/>
                    </a:lnTo>
                    <a:lnTo>
                      <a:pt x="26194"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66" name="Freeform: Shape 565">
                <a:extLst>
                  <a:ext uri="{FF2B5EF4-FFF2-40B4-BE49-F238E27FC236}">
                    <a16:creationId xmlns:a16="http://schemas.microsoft.com/office/drawing/2014/main" id="{63369788-84B6-43AA-AC10-FD776D02CFE9}"/>
                  </a:ext>
                </a:extLst>
              </p:cNvPr>
              <p:cNvSpPr/>
              <p:nvPr/>
            </p:nvSpPr>
            <p:spPr bwMode="gray">
              <a:xfrm>
                <a:off x="6691313" y="5272088"/>
                <a:ext cx="183356" cy="450056"/>
              </a:xfrm>
              <a:custGeom>
                <a:avLst/>
                <a:gdLst>
                  <a:gd name="connsiteX0" fmla="*/ 0 w 183356"/>
                  <a:gd name="connsiteY0" fmla="*/ 450056 h 450056"/>
                  <a:gd name="connsiteX1" fmla="*/ 23812 w 183356"/>
                  <a:gd name="connsiteY1" fmla="*/ 397668 h 450056"/>
                  <a:gd name="connsiteX2" fmla="*/ 7143 w 183356"/>
                  <a:gd name="connsiteY2" fmla="*/ 345281 h 450056"/>
                  <a:gd name="connsiteX3" fmla="*/ 19050 w 183356"/>
                  <a:gd name="connsiteY3" fmla="*/ 302418 h 450056"/>
                  <a:gd name="connsiteX4" fmla="*/ 45243 w 183356"/>
                  <a:gd name="connsiteY4" fmla="*/ 264318 h 450056"/>
                  <a:gd name="connsiteX5" fmla="*/ 59531 w 183356"/>
                  <a:gd name="connsiteY5" fmla="*/ 207168 h 450056"/>
                  <a:gd name="connsiteX6" fmla="*/ 88106 w 183356"/>
                  <a:gd name="connsiteY6" fmla="*/ 185737 h 450056"/>
                  <a:gd name="connsiteX7" fmla="*/ 152400 w 183356"/>
                  <a:gd name="connsiteY7" fmla="*/ 140493 h 450056"/>
                  <a:gd name="connsiteX8" fmla="*/ 161925 w 183356"/>
                  <a:gd name="connsiteY8" fmla="*/ 114300 h 450056"/>
                  <a:gd name="connsiteX9" fmla="*/ 183356 w 183356"/>
                  <a:gd name="connsiteY9" fmla="*/ 66675 h 450056"/>
                  <a:gd name="connsiteX10" fmla="*/ 176212 w 183356"/>
                  <a:gd name="connsiteY10" fmla="*/ 28575 h 450056"/>
                  <a:gd name="connsiteX11" fmla="*/ 154781 w 183356"/>
                  <a:gd name="connsiteY11" fmla="*/ 2381 h 450056"/>
                  <a:gd name="connsiteX12" fmla="*/ 130968 w 183356"/>
                  <a:gd name="connsiteY12" fmla="*/ 0 h 450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3356" h="450056">
                    <a:moveTo>
                      <a:pt x="0" y="450056"/>
                    </a:moveTo>
                    <a:lnTo>
                      <a:pt x="23812" y="397668"/>
                    </a:lnTo>
                    <a:lnTo>
                      <a:pt x="7143" y="345281"/>
                    </a:lnTo>
                    <a:lnTo>
                      <a:pt x="19050" y="302418"/>
                    </a:lnTo>
                    <a:lnTo>
                      <a:pt x="45243" y="264318"/>
                    </a:lnTo>
                    <a:lnTo>
                      <a:pt x="59531" y="207168"/>
                    </a:lnTo>
                    <a:lnTo>
                      <a:pt x="88106" y="185737"/>
                    </a:lnTo>
                    <a:lnTo>
                      <a:pt x="152400" y="140493"/>
                    </a:lnTo>
                    <a:lnTo>
                      <a:pt x="161925" y="114300"/>
                    </a:lnTo>
                    <a:lnTo>
                      <a:pt x="183356" y="66675"/>
                    </a:lnTo>
                    <a:lnTo>
                      <a:pt x="176212" y="28575"/>
                    </a:lnTo>
                    <a:lnTo>
                      <a:pt x="154781" y="2381"/>
                    </a:lnTo>
                    <a:lnTo>
                      <a:pt x="130968"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67" name="Freeform: Shape 566">
                <a:extLst>
                  <a:ext uri="{FF2B5EF4-FFF2-40B4-BE49-F238E27FC236}">
                    <a16:creationId xmlns:a16="http://schemas.microsoft.com/office/drawing/2014/main" id="{090C51F5-698C-4AA6-A4E3-ECCECED2900D}"/>
                  </a:ext>
                </a:extLst>
              </p:cNvPr>
              <p:cNvSpPr/>
              <p:nvPr/>
            </p:nvSpPr>
            <p:spPr bwMode="gray">
              <a:xfrm>
                <a:off x="6705600" y="5438775"/>
                <a:ext cx="42863" cy="42863"/>
              </a:xfrm>
              <a:custGeom>
                <a:avLst/>
                <a:gdLst>
                  <a:gd name="connsiteX0" fmla="*/ 0 w 42863"/>
                  <a:gd name="connsiteY0" fmla="*/ 0 h 42863"/>
                  <a:gd name="connsiteX1" fmla="*/ 14288 w 42863"/>
                  <a:gd name="connsiteY1" fmla="*/ 28575 h 42863"/>
                  <a:gd name="connsiteX2" fmla="*/ 42863 w 42863"/>
                  <a:gd name="connsiteY2" fmla="*/ 42863 h 42863"/>
                </a:gdLst>
                <a:ahLst/>
                <a:cxnLst>
                  <a:cxn ang="0">
                    <a:pos x="connsiteX0" y="connsiteY0"/>
                  </a:cxn>
                  <a:cxn ang="0">
                    <a:pos x="connsiteX1" y="connsiteY1"/>
                  </a:cxn>
                  <a:cxn ang="0">
                    <a:pos x="connsiteX2" y="connsiteY2"/>
                  </a:cxn>
                </a:cxnLst>
                <a:rect l="l" t="t" r="r" b="b"/>
                <a:pathLst>
                  <a:path w="42863" h="42863">
                    <a:moveTo>
                      <a:pt x="0" y="0"/>
                    </a:moveTo>
                    <a:lnTo>
                      <a:pt x="14288" y="28575"/>
                    </a:lnTo>
                    <a:lnTo>
                      <a:pt x="42863" y="42863"/>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68" name="Freeform: Shape 567">
                <a:extLst>
                  <a:ext uri="{FF2B5EF4-FFF2-40B4-BE49-F238E27FC236}">
                    <a16:creationId xmlns:a16="http://schemas.microsoft.com/office/drawing/2014/main" id="{B077BD5A-F611-4F7B-900C-127C631C4091}"/>
                  </a:ext>
                </a:extLst>
              </p:cNvPr>
              <p:cNvSpPr/>
              <p:nvPr/>
            </p:nvSpPr>
            <p:spPr bwMode="gray">
              <a:xfrm>
                <a:off x="6862762" y="5274469"/>
                <a:ext cx="52388" cy="26194"/>
              </a:xfrm>
              <a:custGeom>
                <a:avLst/>
                <a:gdLst>
                  <a:gd name="connsiteX0" fmla="*/ 0 w 52388"/>
                  <a:gd name="connsiteY0" fmla="*/ 26194 h 26194"/>
                  <a:gd name="connsiteX1" fmla="*/ 52388 w 52388"/>
                  <a:gd name="connsiteY1" fmla="*/ 0 h 26194"/>
                </a:gdLst>
                <a:ahLst/>
                <a:cxnLst>
                  <a:cxn ang="0">
                    <a:pos x="connsiteX0" y="connsiteY0"/>
                  </a:cxn>
                  <a:cxn ang="0">
                    <a:pos x="connsiteX1" y="connsiteY1"/>
                  </a:cxn>
                </a:cxnLst>
                <a:rect l="l" t="t" r="r" b="b"/>
                <a:pathLst>
                  <a:path w="52388" h="26194">
                    <a:moveTo>
                      <a:pt x="0" y="26194"/>
                    </a:moveTo>
                    <a:lnTo>
                      <a:pt x="52388"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69" name="Freeform: Shape 568">
                <a:extLst>
                  <a:ext uri="{FF2B5EF4-FFF2-40B4-BE49-F238E27FC236}">
                    <a16:creationId xmlns:a16="http://schemas.microsoft.com/office/drawing/2014/main" id="{D54AA29C-96A5-4A62-AC39-C6D9A3AE5B9A}"/>
                  </a:ext>
                </a:extLst>
              </p:cNvPr>
              <p:cNvSpPr/>
              <p:nvPr/>
            </p:nvSpPr>
            <p:spPr bwMode="gray">
              <a:xfrm>
                <a:off x="6960394" y="5624513"/>
                <a:ext cx="200025" cy="145256"/>
              </a:xfrm>
              <a:custGeom>
                <a:avLst/>
                <a:gdLst>
                  <a:gd name="connsiteX0" fmla="*/ 0 w 200025"/>
                  <a:gd name="connsiteY0" fmla="*/ 19050 h 145256"/>
                  <a:gd name="connsiteX1" fmla="*/ 69056 w 200025"/>
                  <a:gd name="connsiteY1" fmla="*/ 0 h 145256"/>
                  <a:gd name="connsiteX2" fmla="*/ 64294 w 200025"/>
                  <a:gd name="connsiteY2" fmla="*/ 28575 h 145256"/>
                  <a:gd name="connsiteX3" fmla="*/ 52387 w 200025"/>
                  <a:gd name="connsiteY3" fmla="*/ 64293 h 145256"/>
                  <a:gd name="connsiteX4" fmla="*/ 157162 w 200025"/>
                  <a:gd name="connsiteY4" fmla="*/ 95250 h 145256"/>
                  <a:gd name="connsiteX5" fmla="*/ 200025 w 200025"/>
                  <a:gd name="connsiteY5" fmla="*/ 145256 h 145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025" h="145256">
                    <a:moveTo>
                      <a:pt x="0" y="19050"/>
                    </a:moveTo>
                    <a:lnTo>
                      <a:pt x="69056" y="0"/>
                    </a:lnTo>
                    <a:lnTo>
                      <a:pt x="64294" y="28575"/>
                    </a:lnTo>
                    <a:lnTo>
                      <a:pt x="52387" y="64293"/>
                    </a:lnTo>
                    <a:lnTo>
                      <a:pt x="157162" y="95250"/>
                    </a:lnTo>
                    <a:lnTo>
                      <a:pt x="200025" y="145256"/>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70" name="Freeform: Shape 569">
                <a:extLst>
                  <a:ext uri="{FF2B5EF4-FFF2-40B4-BE49-F238E27FC236}">
                    <a16:creationId xmlns:a16="http://schemas.microsoft.com/office/drawing/2014/main" id="{FFB77E87-BD3C-4C19-A521-62604A584C8C}"/>
                  </a:ext>
                </a:extLst>
              </p:cNvPr>
              <p:cNvSpPr/>
              <p:nvPr/>
            </p:nvSpPr>
            <p:spPr bwMode="gray">
              <a:xfrm>
                <a:off x="7255669" y="5269706"/>
                <a:ext cx="123825" cy="326232"/>
              </a:xfrm>
              <a:custGeom>
                <a:avLst/>
                <a:gdLst>
                  <a:gd name="connsiteX0" fmla="*/ 38100 w 123825"/>
                  <a:gd name="connsiteY0" fmla="*/ 0 h 326232"/>
                  <a:gd name="connsiteX1" fmla="*/ 7144 w 123825"/>
                  <a:gd name="connsiteY1" fmla="*/ 30957 h 326232"/>
                  <a:gd name="connsiteX2" fmla="*/ 0 w 123825"/>
                  <a:gd name="connsiteY2" fmla="*/ 73819 h 326232"/>
                  <a:gd name="connsiteX3" fmla="*/ 0 w 123825"/>
                  <a:gd name="connsiteY3" fmla="*/ 121444 h 326232"/>
                  <a:gd name="connsiteX4" fmla="*/ 21431 w 123825"/>
                  <a:gd name="connsiteY4" fmla="*/ 147638 h 326232"/>
                  <a:gd name="connsiteX5" fmla="*/ 33337 w 123825"/>
                  <a:gd name="connsiteY5" fmla="*/ 176213 h 326232"/>
                  <a:gd name="connsiteX6" fmla="*/ 57150 w 123825"/>
                  <a:gd name="connsiteY6" fmla="*/ 204788 h 326232"/>
                  <a:gd name="connsiteX7" fmla="*/ 83344 w 123825"/>
                  <a:gd name="connsiteY7" fmla="*/ 250032 h 326232"/>
                  <a:gd name="connsiteX8" fmla="*/ 107156 w 123825"/>
                  <a:gd name="connsiteY8" fmla="*/ 285750 h 326232"/>
                  <a:gd name="connsiteX9" fmla="*/ 121444 w 123825"/>
                  <a:gd name="connsiteY9" fmla="*/ 297657 h 326232"/>
                  <a:gd name="connsiteX10" fmla="*/ 123825 w 123825"/>
                  <a:gd name="connsiteY10" fmla="*/ 326232 h 32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825" h="326232">
                    <a:moveTo>
                      <a:pt x="38100" y="0"/>
                    </a:moveTo>
                    <a:lnTo>
                      <a:pt x="7144" y="30957"/>
                    </a:lnTo>
                    <a:lnTo>
                      <a:pt x="0" y="73819"/>
                    </a:lnTo>
                    <a:lnTo>
                      <a:pt x="0" y="121444"/>
                    </a:lnTo>
                    <a:lnTo>
                      <a:pt x="21431" y="147638"/>
                    </a:lnTo>
                    <a:lnTo>
                      <a:pt x="33337" y="176213"/>
                    </a:lnTo>
                    <a:lnTo>
                      <a:pt x="57150" y="204788"/>
                    </a:lnTo>
                    <a:lnTo>
                      <a:pt x="83344" y="250032"/>
                    </a:lnTo>
                    <a:lnTo>
                      <a:pt x="107156" y="285750"/>
                    </a:lnTo>
                    <a:lnTo>
                      <a:pt x="121444" y="297657"/>
                    </a:lnTo>
                    <a:lnTo>
                      <a:pt x="123825" y="326232"/>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grpSp>
        <p:grpSp>
          <p:nvGrpSpPr>
            <p:cNvPr id="301" name="Group 300">
              <a:extLst>
                <a:ext uri="{FF2B5EF4-FFF2-40B4-BE49-F238E27FC236}">
                  <a16:creationId xmlns:a16="http://schemas.microsoft.com/office/drawing/2014/main" id="{07F6AF28-6F62-4AC4-86B1-E547BB09F271}"/>
                </a:ext>
              </a:extLst>
            </p:cNvPr>
            <p:cNvGrpSpPr/>
            <p:nvPr/>
          </p:nvGrpSpPr>
          <p:grpSpPr bwMode="gray">
            <a:xfrm>
              <a:off x="6029325" y="3955256"/>
              <a:ext cx="2747963" cy="1638300"/>
              <a:chOff x="6029325" y="3955256"/>
              <a:chExt cx="2747963" cy="1638300"/>
            </a:xfrm>
          </p:grpSpPr>
          <p:sp>
            <p:nvSpPr>
              <p:cNvPr id="541" name="Freeform: Shape 540">
                <a:extLst>
                  <a:ext uri="{FF2B5EF4-FFF2-40B4-BE49-F238E27FC236}">
                    <a16:creationId xmlns:a16="http://schemas.microsoft.com/office/drawing/2014/main" id="{688C17CF-563B-473B-9471-88FD3DE41FE0}"/>
                  </a:ext>
                </a:extLst>
              </p:cNvPr>
              <p:cNvSpPr/>
              <p:nvPr/>
            </p:nvSpPr>
            <p:spPr bwMode="gray">
              <a:xfrm>
                <a:off x="6029325" y="3981450"/>
                <a:ext cx="597694" cy="150019"/>
              </a:xfrm>
              <a:custGeom>
                <a:avLst/>
                <a:gdLst>
                  <a:gd name="connsiteX0" fmla="*/ 0 w 597694"/>
                  <a:gd name="connsiteY0" fmla="*/ 2381 h 150019"/>
                  <a:gd name="connsiteX1" fmla="*/ 30956 w 597694"/>
                  <a:gd name="connsiteY1" fmla="*/ 59531 h 150019"/>
                  <a:gd name="connsiteX2" fmla="*/ 119063 w 597694"/>
                  <a:gd name="connsiteY2" fmla="*/ 66675 h 150019"/>
                  <a:gd name="connsiteX3" fmla="*/ 169069 w 597694"/>
                  <a:gd name="connsiteY3" fmla="*/ 104775 h 150019"/>
                  <a:gd name="connsiteX4" fmla="*/ 254794 w 597694"/>
                  <a:gd name="connsiteY4" fmla="*/ 102394 h 150019"/>
                  <a:gd name="connsiteX5" fmla="*/ 302419 w 597694"/>
                  <a:gd name="connsiteY5" fmla="*/ 121444 h 150019"/>
                  <a:gd name="connsiteX6" fmla="*/ 338138 w 597694"/>
                  <a:gd name="connsiteY6" fmla="*/ 150019 h 150019"/>
                  <a:gd name="connsiteX7" fmla="*/ 381000 w 597694"/>
                  <a:gd name="connsiteY7" fmla="*/ 128588 h 150019"/>
                  <a:gd name="connsiteX8" fmla="*/ 485775 w 597694"/>
                  <a:gd name="connsiteY8" fmla="*/ 73819 h 150019"/>
                  <a:gd name="connsiteX9" fmla="*/ 528638 w 597694"/>
                  <a:gd name="connsiteY9" fmla="*/ 71438 h 150019"/>
                  <a:gd name="connsiteX10" fmla="*/ 550069 w 597694"/>
                  <a:gd name="connsiteY10" fmla="*/ 78581 h 150019"/>
                  <a:gd name="connsiteX11" fmla="*/ 583406 w 597694"/>
                  <a:gd name="connsiteY11" fmla="*/ 47625 h 150019"/>
                  <a:gd name="connsiteX12" fmla="*/ 597694 w 597694"/>
                  <a:gd name="connsiteY12" fmla="*/ 0 h 1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7694" h="150019">
                    <a:moveTo>
                      <a:pt x="0" y="2381"/>
                    </a:moveTo>
                    <a:lnTo>
                      <a:pt x="30956" y="59531"/>
                    </a:lnTo>
                    <a:lnTo>
                      <a:pt x="119063" y="66675"/>
                    </a:lnTo>
                    <a:lnTo>
                      <a:pt x="169069" y="104775"/>
                    </a:lnTo>
                    <a:lnTo>
                      <a:pt x="254794" y="102394"/>
                    </a:lnTo>
                    <a:lnTo>
                      <a:pt x="302419" y="121444"/>
                    </a:lnTo>
                    <a:lnTo>
                      <a:pt x="338138" y="150019"/>
                    </a:lnTo>
                    <a:lnTo>
                      <a:pt x="381000" y="128588"/>
                    </a:lnTo>
                    <a:lnTo>
                      <a:pt x="485775" y="73819"/>
                    </a:lnTo>
                    <a:lnTo>
                      <a:pt x="528638" y="71438"/>
                    </a:lnTo>
                    <a:lnTo>
                      <a:pt x="550069" y="78581"/>
                    </a:lnTo>
                    <a:lnTo>
                      <a:pt x="583406" y="47625"/>
                    </a:lnTo>
                    <a:lnTo>
                      <a:pt x="597694"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42" name="Freeform: Shape 541">
                <a:extLst>
                  <a:ext uri="{FF2B5EF4-FFF2-40B4-BE49-F238E27FC236}">
                    <a16:creationId xmlns:a16="http://schemas.microsoft.com/office/drawing/2014/main" id="{FDD67E88-0F26-4E7E-9B50-9599A3E80A31}"/>
                  </a:ext>
                </a:extLst>
              </p:cNvPr>
              <p:cNvSpPr/>
              <p:nvPr/>
            </p:nvSpPr>
            <p:spPr bwMode="gray">
              <a:xfrm>
                <a:off x="6579394" y="4060031"/>
                <a:ext cx="1185862" cy="369094"/>
              </a:xfrm>
              <a:custGeom>
                <a:avLst/>
                <a:gdLst>
                  <a:gd name="connsiteX0" fmla="*/ 0 w 1185862"/>
                  <a:gd name="connsiteY0" fmla="*/ 0 h 369094"/>
                  <a:gd name="connsiteX1" fmla="*/ 35719 w 1185862"/>
                  <a:gd name="connsiteY1" fmla="*/ 59532 h 369094"/>
                  <a:gd name="connsiteX2" fmla="*/ 90487 w 1185862"/>
                  <a:gd name="connsiteY2" fmla="*/ 59532 h 369094"/>
                  <a:gd name="connsiteX3" fmla="*/ 100012 w 1185862"/>
                  <a:gd name="connsiteY3" fmla="*/ 71438 h 369094"/>
                  <a:gd name="connsiteX4" fmla="*/ 130969 w 1185862"/>
                  <a:gd name="connsiteY4" fmla="*/ 71438 h 369094"/>
                  <a:gd name="connsiteX5" fmla="*/ 159544 w 1185862"/>
                  <a:gd name="connsiteY5" fmla="*/ 95250 h 369094"/>
                  <a:gd name="connsiteX6" fmla="*/ 188119 w 1185862"/>
                  <a:gd name="connsiteY6" fmla="*/ 80963 h 369094"/>
                  <a:gd name="connsiteX7" fmla="*/ 254794 w 1185862"/>
                  <a:gd name="connsiteY7" fmla="*/ 119063 h 369094"/>
                  <a:gd name="connsiteX8" fmla="*/ 314325 w 1185862"/>
                  <a:gd name="connsiteY8" fmla="*/ 123825 h 369094"/>
                  <a:gd name="connsiteX9" fmla="*/ 357187 w 1185862"/>
                  <a:gd name="connsiteY9" fmla="*/ 130969 h 369094"/>
                  <a:gd name="connsiteX10" fmla="*/ 404812 w 1185862"/>
                  <a:gd name="connsiteY10" fmla="*/ 166688 h 369094"/>
                  <a:gd name="connsiteX11" fmla="*/ 459581 w 1185862"/>
                  <a:gd name="connsiteY11" fmla="*/ 171450 h 369094"/>
                  <a:gd name="connsiteX12" fmla="*/ 481012 w 1185862"/>
                  <a:gd name="connsiteY12" fmla="*/ 202407 h 369094"/>
                  <a:gd name="connsiteX13" fmla="*/ 552450 w 1185862"/>
                  <a:gd name="connsiteY13" fmla="*/ 252413 h 369094"/>
                  <a:gd name="connsiteX14" fmla="*/ 583406 w 1185862"/>
                  <a:gd name="connsiteY14" fmla="*/ 247650 h 369094"/>
                  <a:gd name="connsiteX15" fmla="*/ 642937 w 1185862"/>
                  <a:gd name="connsiteY15" fmla="*/ 297657 h 369094"/>
                  <a:gd name="connsiteX16" fmla="*/ 714375 w 1185862"/>
                  <a:gd name="connsiteY16" fmla="*/ 295275 h 369094"/>
                  <a:gd name="connsiteX17" fmla="*/ 802481 w 1185862"/>
                  <a:gd name="connsiteY17" fmla="*/ 316707 h 369094"/>
                  <a:gd name="connsiteX18" fmla="*/ 847725 w 1185862"/>
                  <a:gd name="connsiteY18" fmla="*/ 328613 h 369094"/>
                  <a:gd name="connsiteX19" fmla="*/ 878681 w 1185862"/>
                  <a:gd name="connsiteY19" fmla="*/ 369094 h 369094"/>
                  <a:gd name="connsiteX20" fmla="*/ 969169 w 1185862"/>
                  <a:gd name="connsiteY20" fmla="*/ 326232 h 369094"/>
                  <a:gd name="connsiteX21" fmla="*/ 1000125 w 1185862"/>
                  <a:gd name="connsiteY21" fmla="*/ 314325 h 369094"/>
                  <a:gd name="connsiteX22" fmla="*/ 1121569 w 1185862"/>
                  <a:gd name="connsiteY22" fmla="*/ 285750 h 369094"/>
                  <a:gd name="connsiteX23" fmla="*/ 1152525 w 1185862"/>
                  <a:gd name="connsiteY23" fmla="*/ 290513 h 369094"/>
                  <a:gd name="connsiteX24" fmla="*/ 1171575 w 1185862"/>
                  <a:gd name="connsiteY24" fmla="*/ 240507 h 369094"/>
                  <a:gd name="connsiteX25" fmla="*/ 1185862 w 1185862"/>
                  <a:gd name="connsiteY25" fmla="*/ 226219 h 369094"/>
                  <a:gd name="connsiteX26" fmla="*/ 1164431 w 1185862"/>
                  <a:gd name="connsiteY26" fmla="*/ 154782 h 369094"/>
                  <a:gd name="connsiteX27" fmla="*/ 1140619 w 1185862"/>
                  <a:gd name="connsiteY27" fmla="*/ 95250 h 369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85862" h="369094">
                    <a:moveTo>
                      <a:pt x="0" y="0"/>
                    </a:moveTo>
                    <a:lnTo>
                      <a:pt x="35719" y="59532"/>
                    </a:lnTo>
                    <a:lnTo>
                      <a:pt x="90487" y="59532"/>
                    </a:lnTo>
                    <a:lnTo>
                      <a:pt x="100012" y="71438"/>
                    </a:lnTo>
                    <a:lnTo>
                      <a:pt x="130969" y="71438"/>
                    </a:lnTo>
                    <a:lnTo>
                      <a:pt x="159544" y="95250"/>
                    </a:lnTo>
                    <a:lnTo>
                      <a:pt x="188119" y="80963"/>
                    </a:lnTo>
                    <a:lnTo>
                      <a:pt x="254794" y="119063"/>
                    </a:lnTo>
                    <a:lnTo>
                      <a:pt x="314325" y="123825"/>
                    </a:lnTo>
                    <a:lnTo>
                      <a:pt x="357187" y="130969"/>
                    </a:lnTo>
                    <a:lnTo>
                      <a:pt x="404812" y="166688"/>
                    </a:lnTo>
                    <a:lnTo>
                      <a:pt x="459581" y="171450"/>
                    </a:lnTo>
                    <a:lnTo>
                      <a:pt x="481012" y="202407"/>
                    </a:lnTo>
                    <a:lnTo>
                      <a:pt x="552450" y="252413"/>
                    </a:lnTo>
                    <a:lnTo>
                      <a:pt x="583406" y="247650"/>
                    </a:lnTo>
                    <a:lnTo>
                      <a:pt x="642937" y="297657"/>
                    </a:lnTo>
                    <a:lnTo>
                      <a:pt x="714375" y="295275"/>
                    </a:lnTo>
                    <a:lnTo>
                      <a:pt x="802481" y="316707"/>
                    </a:lnTo>
                    <a:lnTo>
                      <a:pt x="847725" y="328613"/>
                    </a:lnTo>
                    <a:lnTo>
                      <a:pt x="878681" y="369094"/>
                    </a:lnTo>
                    <a:lnTo>
                      <a:pt x="969169" y="326232"/>
                    </a:lnTo>
                    <a:lnTo>
                      <a:pt x="1000125" y="314325"/>
                    </a:lnTo>
                    <a:lnTo>
                      <a:pt x="1121569" y="285750"/>
                    </a:lnTo>
                    <a:lnTo>
                      <a:pt x="1152525" y="290513"/>
                    </a:lnTo>
                    <a:lnTo>
                      <a:pt x="1171575" y="240507"/>
                    </a:lnTo>
                    <a:lnTo>
                      <a:pt x="1185862" y="226219"/>
                    </a:lnTo>
                    <a:lnTo>
                      <a:pt x="1164431" y="154782"/>
                    </a:lnTo>
                    <a:lnTo>
                      <a:pt x="1140619" y="9525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43" name="Freeform: Shape 542">
                <a:extLst>
                  <a:ext uri="{FF2B5EF4-FFF2-40B4-BE49-F238E27FC236}">
                    <a16:creationId xmlns:a16="http://schemas.microsoft.com/office/drawing/2014/main" id="{DACFCBC4-83E7-4953-BD69-AB2A45D10CFA}"/>
                  </a:ext>
                </a:extLst>
              </p:cNvPr>
              <p:cNvSpPr/>
              <p:nvPr/>
            </p:nvSpPr>
            <p:spPr bwMode="gray">
              <a:xfrm>
                <a:off x="7586663" y="4188619"/>
                <a:ext cx="402431" cy="185737"/>
              </a:xfrm>
              <a:custGeom>
                <a:avLst/>
                <a:gdLst>
                  <a:gd name="connsiteX0" fmla="*/ 0 w 402431"/>
                  <a:gd name="connsiteY0" fmla="*/ 40481 h 185737"/>
                  <a:gd name="connsiteX1" fmla="*/ 66675 w 402431"/>
                  <a:gd name="connsiteY1" fmla="*/ 47625 h 185737"/>
                  <a:gd name="connsiteX2" fmla="*/ 104775 w 402431"/>
                  <a:gd name="connsiteY2" fmla="*/ 80962 h 185737"/>
                  <a:gd name="connsiteX3" fmla="*/ 164306 w 402431"/>
                  <a:gd name="connsiteY3" fmla="*/ 111919 h 185737"/>
                  <a:gd name="connsiteX4" fmla="*/ 178593 w 402431"/>
                  <a:gd name="connsiteY4" fmla="*/ 157162 h 185737"/>
                  <a:gd name="connsiteX5" fmla="*/ 192881 w 402431"/>
                  <a:gd name="connsiteY5" fmla="*/ 102394 h 185737"/>
                  <a:gd name="connsiteX6" fmla="*/ 276225 w 402431"/>
                  <a:gd name="connsiteY6" fmla="*/ 26194 h 185737"/>
                  <a:gd name="connsiteX7" fmla="*/ 333375 w 402431"/>
                  <a:gd name="connsiteY7" fmla="*/ 0 h 185737"/>
                  <a:gd name="connsiteX8" fmla="*/ 352425 w 402431"/>
                  <a:gd name="connsiteY8" fmla="*/ 40481 h 185737"/>
                  <a:gd name="connsiteX9" fmla="*/ 392906 w 402431"/>
                  <a:gd name="connsiteY9" fmla="*/ 69056 h 185737"/>
                  <a:gd name="connsiteX10" fmla="*/ 402431 w 402431"/>
                  <a:gd name="connsiteY10" fmla="*/ 114300 h 185737"/>
                  <a:gd name="connsiteX11" fmla="*/ 388143 w 402431"/>
                  <a:gd name="connsiteY11" fmla="*/ 152400 h 185737"/>
                  <a:gd name="connsiteX12" fmla="*/ 373856 w 402431"/>
                  <a:gd name="connsiteY12" fmla="*/ 185737 h 18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2431" h="185737">
                    <a:moveTo>
                      <a:pt x="0" y="40481"/>
                    </a:moveTo>
                    <a:lnTo>
                      <a:pt x="66675" y="47625"/>
                    </a:lnTo>
                    <a:lnTo>
                      <a:pt x="104775" y="80962"/>
                    </a:lnTo>
                    <a:lnTo>
                      <a:pt x="164306" y="111919"/>
                    </a:lnTo>
                    <a:lnTo>
                      <a:pt x="178593" y="157162"/>
                    </a:lnTo>
                    <a:lnTo>
                      <a:pt x="192881" y="102394"/>
                    </a:lnTo>
                    <a:lnTo>
                      <a:pt x="276225" y="26194"/>
                    </a:lnTo>
                    <a:lnTo>
                      <a:pt x="333375" y="0"/>
                    </a:lnTo>
                    <a:lnTo>
                      <a:pt x="352425" y="40481"/>
                    </a:lnTo>
                    <a:lnTo>
                      <a:pt x="392906" y="69056"/>
                    </a:lnTo>
                    <a:lnTo>
                      <a:pt x="402431" y="114300"/>
                    </a:lnTo>
                    <a:lnTo>
                      <a:pt x="388143" y="152400"/>
                    </a:lnTo>
                    <a:lnTo>
                      <a:pt x="373856" y="185737"/>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44" name="Freeform: Shape 543">
                <a:extLst>
                  <a:ext uri="{FF2B5EF4-FFF2-40B4-BE49-F238E27FC236}">
                    <a16:creationId xmlns:a16="http://schemas.microsoft.com/office/drawing/2014/main" id="{4AE57276-C0D1-4346-84CA-621646A5836C}"/>
                  </a:ext>
                </a:extLst>
              </p:cNvPr>
              <p:cNvSpPr/>
              <p:nvPr/>
            </p:nvSpPr>
            <p:spPr bwMode="gray">
              <a:xfrm>
                <a:off x="7429500" y="4341019"/>
                <a:ext cx="35719" cy="47625"/>
              </a:xfrm>
              <a:custGeom>
                <a:avLst/>
                <a:gdLst>
                  <a:gd name="connsiteX0" fmla="*/ 35719 w 35719"/>
                  <a:gd name="connsiteY0" fmla="*/ 0 h 47625"/>
                  <a:gd name="connsiteX1" fmla="*/ 0 w 35719"/>
                  <a:gd name="connsiteY1" fmla="*/ 47625 h 47625"/>
                </a:gdLst>
                <a:ahLst/>
                <a:cxnLst>
                  <a:cxn ang="0">
                    <a:pos x="connsiteX0" y="connsiteY0"/>
                  </a:cxn>
                  <a:cxn ang="0">
                    <a:pos x="connsiteX1" y="connsiteY1"/>
                  </a:cxn>
                </a:cxnLst>
                <a:rect l="l" t="t" r="r" b="b"/>
                <a:pathLst>
                  <a:path w="35719" h="47625">
                    <a:moveTo>
                      <a:pt x="35719" y="0"/>
                    </a:moveTo>
                    <a:lnTo>
                      <a:pt x="0" y="47625"/>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45" name="Freeform: Shape 544">
                <a:extLst>
                  <a:ext uri="{FF2B5EF4-FFF2-40B4-BE49-F238E27FC236}">
                    <a16:creationId xmlns:a16="http://schemas.microsoft.com/office/drawing/2014/main" id="{13CEEFA3-3044-4752-A470-7A3D0F037A79}"/>
                  </a:ext>
                </a:extLst>
              </p:cNvPr>
              <p:cNvSpPr/>
              <p:nvPr/>
            </p:nvSpPr>
            <p:spPr bwMode="gray">
              <a:xfrm>
                <a:off x="6960394" y="4662488"/>
                <a:ext cx="180975" cy="52387"/>
              </a:xfrm>
              <a:custGeom>
                <a:avLst/>
                <a:gdLst>
                  <a:gd name="connsiteX0" fmla="*/ 0 w 180975"/>
                  <a:gd name="connsiteY0" fmla="*/ 0 h 52387"/>
                  <a:gd name="connsiteX1" fmla="*/ 61912 w 180975"/>
                  <a:gd name="connsiteY1" fmla="*/ 19050 h 52387"/>
                  <a:gd name="connsiteX2" fmla="*/ 88106 w 180975"/>
                  <a:gd name="connsiteY2" fmla="*/ 52387 h 52387"/>
                  <a:gd name="connsiteX3" fmla="*/ 180975 w 180975"/>
                  <a:gd name="connsiteY3" fmla="*/ 47625 h 52387"/>
                </a:gdLst>
                <a:ahLst/>
                <a:cxnLst>
                  <a:cxn ang="0">
                    <a:pos x="connsiteX0" y="connsiteY0"/>
                  </a:cxn>
                  <a:cxn ang="0">
                    <a:pos x="connsiteX1" y="connsiteY1"/>
                  </a:cxn>
                  <a:cxn ang="0">
                    <a:pos x="connsiteX2" y="connsiteY2"/>
                  </a:cxn>
                  <a:cxn ang="0">
                    <a:pos x="connsiteX3" y="connsiteY3"/>
                  </a:cxn>
                </a:cxnLst>
                <a:rect l="l" t="t" r="r" b="b"/>
                <a:pathLst>
                  <a:path w="180975" h="52387">
                    <a:moveTo>
                      <a:pt x="0" y="0"/>
                    </a:moveTo>
                    <a:lnTo>
                      <a:pt x="61912" y="19050"/>
                    </a:lnTo>
                    <a:lnTo>
                      <a:pt x="88106" y="52387"/>
                    </a:lnTo>
                    <a:lnTo>
                      <a:pt x="180975" y="47625"/>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46" name="Freeform: Shape 545">
                <a:extLst>
                  <a:ext uri="{FF2B5EF4-FFF2-40B4-BE49-F238E27FC236}">
                    <a16:creationId xmlns:a16="http://schemas.microsoft.com/office/drawing/2014/main" id="{E97448F1-A30C-4F6C-96E9-DD1A8E6C970E}"/>
                  </a:ext>
                </a:extLst>
              </p:cNvPr>
              <p:cNvSpPr/>
              <p:nvPr/>
            </p:nvSpPr>
            <p:spPr bwMode="gray">
              <a:xfrm>
                <a:off x="7053263" y="4681538"/>
                <a:ext cx="14287" cy="66675"/>
              </a:xfrm>
              <a:custGeom>
                <a:avLst/>
                <a:gdLst>
                  <a:gd name="connsiteX0" fmla="*/ 0 w 14287"/>
                  <a:gd name="connsiteY0" fmla="*/ 66675 h 66675"/>
                  <a:gd name="connsiteX1" fmla="*/ 14287 w 14287"/>
                  <a:gd name="connsiteY1" fmla="*/ 28575 h 66675"/>
                  <a:gd name="connsiteX2" fmla="*/ 11906 w 14287"/>
                  <a:gd name="connsiteY2" fmla="*/ 0 h 66675"/>
                </a:gdLst>
                <a:ahLst/>
                <a:cxnLst>
                  <a:cxn ang="0">
                    <a:pos x="connsiteX0" y="connsiteY0"/>
                  </a:cxn>
                  <a:cxn ang="0">
                    <a:pos x="connsiteX1" y="connsiteY1"/>
                  </a:cxn>
                  <a:cxn ang="0">
                    <a:pos x="connsiteX2" y="connsiteY2"/>
                  </a:cxn>
                </a:cxnLst>
                <a:rect l="l" t="t" r="r" b="b"/>
                <a:pathLst>
                  <a:path w="14287" h="66675">
                    <a:moveTo>
                      <a:pt x="0" y="66675"/>
                    </a:moveTo>
                    <a:lnTo>
                      <a:pt x="14287" y="28575"/>
                    </a:lnTo>
                    <a:lnTo>
                      <a:pt x="11906"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47" name="Freeform: Shape 546">
                <a:extLst>
                  <a:ext uri="{FF2B5EF4-FFF2-40B4-BE49-F238E27FC236}">
                    <a16:creationId xmlns:a16="http://schemas.microsoft.com/office/drawing/2014/main" id="{7B5B930C-031A-4A78-B55E-819010C4B71C}"/>
                  </a:ext>
                </a:extLst>
              </p:cNvPr>
              <p:cNvSpPr/>
              <p:nvPr/>
            </p:nvSpPr>
            <p:spPr bwMode="gray">
              <a:xfrm>
                <a:off x="7134225" y="4429125"/>
                <a:ext cx="326231" cy="350044"/>
              </a:xfrm>
              <a:custGeom>
                <a:avLst/>
                <a:gdLst>
                  <a:gd name="connsiteX0" fmla="*/ 7144 w 326231"/>
                  <a:gd name="connsiteY0" fmla="*/ 350044 h 350044"/>
                  <a:gd name="connsiteX1" fmla="*/ 0 w 326231"/>
                  <a:gd name="connsiteY1" fmla="*/ 292894 h 350044"/>
                  <a:gd name="connsiteX2" fmla="*/ 14288 w 326231"/>
                  <a:gd name="connsiteY2" fmla="*/ 276225 h 350044"/>
                  <a:gd name="connsiteX3" fmla="*/ 42863 w 326231"/>
                  <a:gd name="connsiteY3" fmla="*/ 261938 h 350044"/>
                  <a:gd name="connsiteX4" fmla="*/ 107156 w 326231"/>
                  <a:gd name="connsiteY4" fmla="*/ 228600 h 350044"/>
                  <a:gd name="connsiteX5" fmla="*/ 121444 w 326231"/>
                  <a:gd name="connsiteY5" fmla="*/ 257175 h 350044"/>
                  <a:gd name="connsiteX6" fmla="*/ 97631 w 326231"/>
                  <a:gd name="connsiteY6" fmla="*/ 223838 h 350044"/>
                  <a:gd name="connsiteX7" fmla="*/ 123825 w 326231"/>
                  <a:gd name="connsiteY7" fmla="*/ 204788 h 350044"/>
                  <a:gd name="connsiteX8" fmla="*/ 140494 w 326231"/>
                  <a:gd name="connsiteY8" fmla="*/ 152400 h 350044"/>
                  <a:gd name="connsiteX9" fmla="*/ 204788 w 326231"/>
                  <a:gd name="connsiteY9" fmla="*/ 104775 h 350044"/>
                  <a:gd name="connsiteX10" fmla="*/ 261938 w 326231"/>
                  <a:gd name="connsiteY10" fmla="*/ 61913 h 350044"/>
                  <a:gd name="connsiteX11" fmla="*/ 288131 w 326231"/>
                  <a:gd name="connsiteY11" fmla="*/ 47625 h 350044"/>
                  <a:gd name="connsiteX12" fmla="*/ 316706 w 326231"/>
                  <a:gd name="connsiteY12" fmla="*/ 35719 h 350044"/>
                  <a:gd name="connsiteX13" fmla="*/ 309563 w 326231"/>
                  <a:gd name="connsiteY13" fmla="*/ 26194 h 350044"/>
                  <a:gd name="connsiteX14" fmla="*/ 311944 w 326231"/>
                  <a:gd name="connsiteY14" fmla="*/ 11906 h 350044"/>
                  <a:gd name="connsiteX15" fmla="*/ 326231 w 326231"/>
                  <a:gd name="connsiteY15" fmla="*/ 0 h 35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6231" h="350044">
                    <a:moveTo>
                      <a:pt x="7144" y="350044"/>
                    </a:moveTo>
                    <a:lnTo>
                      <a:pt x="0" y="292894"/>
                    </a:lnTo>
                    <a:lnTo>
                      <a:pt x="14288" y="276225"/>
                    </a:lnTo>
                    <a:lnTo>
                      <a:pt x="42863" y="261938"/>
                    </a:lnTo>
                    <a:lnTo>
                      <a:pt x="107156" y="228600"/>
                    </a:lnTo>
                    <a:lnTo>
                      <a:pt x="121444" y="257175"/>
                    </a:lnTo>
                    <a:lnTo>
                      <a:pt x="97631" y="223838"/>
                    </a:lnTo>
                    <a:lnTo>
                      <a:pt x="123825" y="204788"/>
                    </a:lnTo>
                    <a:lnTo>
                      <a:pt x="140494" y="152400"/>
                    </a:lnTo>
                    <a:lnTo>
                      <a:pt x="204788" y="104775"/>
                    </a:lnTo>
                    <a:lnTo>
                      <a:pt x="261938" y="61913"/>
                    </a:lnTo>
                    <a:lnTo>
                      <a:pt x="288131" y="47625"/>
                    </a:lnTo>
                    <a:lnTo>
                      <a:pt x="316706" y="35719"/>
                    </a:lnTo>
                    <a:lnTo>
                      <a:pt x="309563" y="26194"/>
                    </a:lnTo>
                    <a:lnTo>
                      <a:pt x="311944" y="11906"/>
                    </a:lnTo>
                    <a:lnTo>
                      <a:pt x="326231"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48" name="Freeform: Shape 547">
                <a:extLst>
                  <a:ext uri="{FF2B5EF4-FFF2-40B4-BE49-F238E27FC236}">
                    <a16:creationId xmlns:a16="http://schemas.microsoft.com/office/drawing/2014/main" id="{A14A7C68-2EBE-44AE-8C59-1A67DC1A1B65}"/>
                  </a:ext>
                </a:extLst>
              </p:cNvPr>
              <p:cNvSpPr/>
              <p:nvPr/>
            </p:nvSpPr>
            <p:spPr bwMode="gray">
              <a:xfrm>
                <a:off x="7524750" y="4374356"/>
                <a:ext cx="42863" cy="54769"/>
              </a:xfrm>
              <a:custGeom>
                <a:avLst/>
                <a:gdLst>
                  <a:gd name="connsiteX0" fmla="*/ 0 w 42863"/>
                  <a:gd name="connsiteY0" fmla="*/ 54769 h 54769"/>
                  <a:gd name="connsiteX1" fmla="*/ 42863 w 42863"/>
                  <a:gd name="connsiteY1" fmla="*/ 0 h 54769"/>
                  <a:gd name="connsiteX2" fmla="*/ 7144 w 42863"/>
                  <a:gd name="connsiteY2" fmla="*/ 0 h 54769"/>
                  <a:gd name="connsiteX3" fmla="*/ 42863 w 42863"/>
                  <a:gd name="connsiteY3" fmla="*/ 9525 h 54769"/>
                  <a:gd name="connsiteX4" fmla="*/ 38100 w 42863"/>
                  <a:gd name="connsiteY4" fmla="*/ 52388 h 54769"/>
                  <a:gd name="connsiteX5" fmla="*/ 28575 w 42863"/>
                  <a:gd name="connsiteY5" fmla="*/ 30957 h 54769"/>
                  <a:gd name="connsiteX6" fmla="*/ 0 w 42863"/>
                  <a:gd name="connsiteY6" fmla="*/ 54769 h 5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863" h="54769">
                    <a:moveTo>
                      <a:pt x="0" y="54769"/>
                    </a:moveTo>
                    <a:lnTo>
                      <a:pt x="42863" y="0"/>
                    </a:lnTo>
                    <a:lnTo>
                      <a:pt x="7144" y="0"/>
                    </a:lnTo>
                    <a:lnTo>
                      <a:pt x="42863" y="9525"/>
                    </a:lnTo>
                    <a:lnTo>
                      <a:pt x="38100" y="52388"/>
                    </a:lnTo>
                    <a:cubicBezTo>
                      <a:pt x="34925" y="45244"/>
                      <a:pt x="31654" y="38142"/>
                      <a:pt x="28575" y="30957"/>
                    </a:cubicBezTo>
                    <a:cubicBezTo>
                      <a:pt x="20446" y="11989"/>
                      <a:pt x="26850" y="25121"/>
                      <a:pt x="0" y="54769"/>
                    </a:cubicBezTo>
                    <a:close/>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49" name="Freeform: Shape 548">
                <a:extLst>
                  <a:ext uri="{FF2B5EF4-FFF2-40B4-BE49-F238E27FC236}">
                    <a16:creationId xmlns:a16="http://schemas.microsoft.com/office/drawing/2014/main" id="{66D111F8-3A3A-4AD8-9F7E-397453CF0DAA}"/>
                  </a:ext>
                </a:extLst>
              </p:cNvPr>
              <p:cNvSpPr/>
              <p:nvPr/>
            </p:nvSpPr>
            <p:spPr bwMode="gray">
              <a:xfrm>
                <a:off x="7727156" y="4345781"/>
                <a:ext cx="133350" cy="469107"/>
              </a:xfrm>
              <a:custGeom>
                <a:avLst/>
                <a:gdLst>
                  <a:gd name="connsiteX0" fmla="*/ 2382 w 133350"/>
                  <a:gd name="connsiteY0" fmla="*/ 0 h 469107"/>
                  <a:gd name="connsiteX1" fmla="*/ 21432 w 133350"/>
                  <a:gd name="connsiteY1" fmla="*/ 35719 h 469107"/>
                  <a:gd name="connsiteX2" fmla="*/ 26194 w 133350"/>
                  <a:gd name="connsiteY2" fmla="*/ 61913 h 469107"/>
                  <a:gd name="connsiteX3" fmla="*/ 0 w 133350"/>
                  <a:gd name="connsiteY3" fmla="*/ 97632 h 469107"/>
                  <a:gd name="connsiteX4" fmla="*/ 26194 w 133350"/>
                  <a:gd name="connsiteY4" fmla="*/ 121444 h 469107"/>
                  <a:gd name="connsiteX5" fmla="*/ 16669 w 133350"/>
                  <a:gd name="connsiteY5" fmla="*/ 176213 h 469107"/>
                  <a:gd name="connsiteX6" fmla="*/ 64294 w 133350"/>
                  <a:gd name="connsiteY6" fmla="*/ 216694 h 469107"/>
                  <a:gd name="connsiteX7" fmla="*/ 92869 w 133350"/>
                  <a:gd name="connsiteY7" fmla="*/ 216694 h 469107"/>
                  <a:gd name="connsiteX8" fmla="*/ 90488 w 133350"/>
                  <a:gd name="connsiteY8" fmla="*/ 278607 h 469107"/>
                  <a:gd name="connsiteX9" fmla="*/ 133350 w 133350"/>
                  <a:gd name="connsiteY9" fmla="*/ 338138 h 469107"/>
                  <a:gd name="connsiteX10" fmla="*/ 114300 w 133350"/>
                  <a:gd name="connsiteY10" fmla="*/ 307182 h 469107"/>
                  <a:gd name="connsiteX11" fmla="*/ 92869 w 133350"/>
                  <a:gd name="connsiteY11" fmla="*/ 352425 h 469107"/>
                  <a:gd name="connsiteX12" fmla="*/ 92869 w 133350"/>
                  <a:gd name="connsiteY12" fmla="*/ 383382 h 469107"/>
                  <a:gd name="connsiteX13" fmla="*/ 59532 w 133350"/>
                  <a:gd name="connsiteY13" fmla="*/ 447675 h 469107"/>
                  <a:gd name="connsiteX14" fmla="*/ 111919 w 133350"/>
                  <a:gd name="connsiteY14" fmla="*/ 469107 h 469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3350" h="469107">
                    <a:moveTo>
                      <a:pt x="2382" y="0"/>
                    </a:moveTo>
                    <a:lnTo>
                      <a:pt x="21432" y="35719"/>
                    </a:lnTo>
                    <a:cubicBezTo>
                      <a:pt x="26538" y="58700"/>
                      <a:pt x="26194" y="49832"/>
                      <a:pt x="26194" y="61913"/>
                    </a:cubicBezTo>
                    <a:lnTo>
                      <a:pt x="0" y="97632"/>
                    </a:lnTo>
                    <a:lnTo>
                      <a:pt x="26194" y="121444"/>
                    </a:lnTo>
                    <a:lnTo>
                      <a:pt x="16669" y="176213"/>
                    </a:lnTo>
                    <a:lnTo>
                      <a:pt x="64294" y="216694"/>
                    </a:lnTo>
                    <a:lnTo>
                      <a:pt x="92869" y="216694"/>
                    </a:lnTo>
                    <a:cubicBezTo>
                      <a:pt x="92075" y="237332"/>
                      <a:pt x="91282" y="257969"/>
                      <a:pt x="90488" y="278607"/>
                    </a:cubicBezTo>
                    <a:lnTo>
                      <a:pt x="133350" y="338138"/>
                    </a:lnTo>
                    <a:lnTo>
                      <a:pt x="114300" y="307182"/>
                    </a:lnTo>
                    <a:lnTo>
                      <a:pt x="92869" y="352425"/>
                    </a:lnTo>
                    <a:lnTo>
                      <a:pt x="92869" y="383382"/>
                    </a:lnTo>
                    <a:lnTo>
                      <a:pt x="59532" y="447675"/>
                    </a:lnTo>
                    <a:lnTo>
                      <a:pt x="111919" y="469107"/>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50" name="Freeform: Shape 549">
                <a:extLst>
                  <a:ext uri="{FF2B5EF4-FFF2-40B4-BE49-F238E27FC236}">
                    <a16:creationId xmlns:a16="http://schemas.microsoft.com/office/drawing/2014/main" id="{8C2B91EA-33C1-4520-875C-831A78200A80}"/>
                  </a:ext>
                </a:extLst>
              </p:cNvPr>
              <p:cNvSpPr/>
              <p:nvPr/>
            </p:nvSpPr>
            <p:spPr bwMode="gray">
              <a:xfrm>
                <a:off x="7762875" y="4595813"/>
                <a:ext cx="257175" cy="419100"/>
              </a:xfrm>
              <a:custGeom>
                <a:avLst/>
                <a:gdLst>
                  <a:gd name="connsiteX0" fmla="*/ 54769 w 257175"/>
                  <a:gd name="connsiteY0" fmla="*/ 0 h 419100"/>
                  <a:gd name="connsiteX1" fmla="*/ 19050 w 257175"/>
                  <a:gd name="connsiteY1" fmla="*/ 21431 h 419100"/>
                  <a:gd name="connsiteX2" fmla="*/ 26194 w 257175"/>
                  <a:gd name="connsiteY2" fmla="*/ 52387 h 419100"/>
                  <a:gd name="connsiteX3" fmla="*/ 14288 w 257175"/>
                  <a:gd name="connsiteY3" fmla="*/ 85725 h 419100"/>
                  <a:gd name="connsiteX4" fmla="*/ 0 w 257175"/>
                  <a:gd name="connsiteY4" fmla="*/ 109537 h 419100"/>
                  <a:gd name="connsiteX5" fmla="*/ 28575 w 257175"/>
                  <a:gd name="connsiteY5" fmla="*/ 152400 h 419100"/>
                  <a:gd name="connsiteX6" fmla="*/ 35719 w 257175"/>
                  <a:gd name="connsiteY6" fmla="*/ 169068 h 419100"/>
                  <a:gd name="connsiteX7" fmla="*/ 52388 w 257175"/>
                  <a:gd name="connsiteY7" fmla="*/ 257175 h 419100"/>
                  <a:gd name="connsiteX8" fmla="*/ 78581 w 257175"/>
                  <a:gd name="connsiteY8" fmla="*/ 292893 h 419100"/>
                  <a:gd name="connsiteX9" fmla="*/ 100013 w 257175"/>
                  <a:gd name="connsiteY9" fmla="*/ 335756 h 419100"/>
                  <a:gd name="connsiteX10" fmla="*/ 128588 w 257175"/>
                  <a:gd name="connsiteY10" fmla="*/ 371475 h 419100"/>
                  <a:gd name="connsiteX11" fmla="*/ 140494 w 257175"/>
                  <a:gd name="connsiteY11" fmla="*/ 392906 h 419100"/>
                  <a:gd name="connsiteX12" fmla="*/ 180975 w 257175"/>
                  <a:gd name="connsiteY12" fmla="*/ 397668 h 419100"/>
                  <a:gd name="connsiteX13" fmla="*/ 216694 w 257175"/>
                  <a:gd name="connsiteY13" fmla="*/ 395287 h 419100"/>
                  <a:gd name="connsiteX14" fmla="*/ 211931 w 257175"/>
                  <a:gd name="connsiteY14" fmla="*/ 376237 h 419100"/>
                  <a:gd name="connsiteX15" fmla="*/ 228600 w 257175"/>
                  <a:gd name="connsiteY15" fmla="*/ 419100 h 419100"/>
                  <a:gd name="connsiteX16" fmla="*/ 223838 w 257175"/>
                  <a:gd name="connsiteY16" fmla="*/ 407193 h 419100"/>
                  <a:gd name="connsiteX17" fmla="*/ 257175 w 257175"/>
                  <a:gd name="connsiteY17" fmla="*/ 404812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7175" h="419100">
                    <a:moveTo>
                      <a:pt x="54769" y="0"/>
                    </a:moveTo>
                    <a:lnTo>
                      <a:pt x="19050" y="21431"/>
                    </a:lnTo>
                    <a:cubicBezTo>
                      <a:pt x="24523" y="46057"/>
                      <a:pt x="22038" y="35762"/>
                      <a:pt x="26194" y="52387"/>
                    </a:cubicBezTo>
                    <a:lnTo>
                      <a:pt x="14288" y="85725"/>
                    </a:lnTo>
                    <a:lnTo>
                      <a:pt x="0" y="109537"/>
                    </a:lnTo>
                    <a:lnTo>
                      <a:pt x="28575" y="152400"/>
                    </a:lnTo>
                    <a:lnTo>
                      <a:pt x="35719" y="169068"/>
                    </a:lnTo>
                    <a:lnTo>
                      <a:pt x="52388" y="257175"/>
                    </a:lnTo>
                    <a:lnTo>
                      <a:pt x="78581" y="292893"/>
                    </a:lnTo>
                    <a:lnTo>
                      <a:pt x="100013" y="335756"/>
                    </a:lnTo>
                    <a:lnTo>
                      <a:pt x="128588" y="371475"/>
                    </a:lnTo>
                    <a:lnTo>
                      <a:pt x="140494" y="392906"/>
                    </a:lnTo>
                    <a:lnTo>
                      <a:pt x="180975" y="397668"/>
                    </a:lnTo>
                    <a:lnTo>
                      <a:pt x="216694" y="395287"/>
                    </a:lnTo>
                    <a:lnTo>
                      <a:pt x="211931" y="376237"/>
                    </a:lnTo>
                    <a:lnTo>
                      <a:pt x="228600" y="419100"/>
                    </a:lnTo>
                    <a:lnTo>
                      <a:pt x="223838" y="407193"/>
                    </a:lnTo>
                    <a:lnTo>
                      <a:pt x="257175" y="404812"/>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51" name="Freeform: Shape 550">
                <a:extLst>
                  <a:ext uri="{FF2B5EF4-FFF2-40B4-BE49-F238E27FC236}">
                    <a16:creationId xmlns:a16="http://schemas.microsoft.com/office/drawing/2014/main" id="{8C115419-B900-4DF8-AF6E-DFF35F9387A9}"/>
                  </a:ext>
                </a:extLst>
              </p:cNvPr>
              <p:cNvSpPr/>
              <p:nvPr/>
            </p:nvSpPr>
            <p:spPr bwMode="gray">
              <a:xfrm>
                <a:off x="7760494" y="3955256"/>
                <a:ext cx="666750" cy="309563"/>
              </a:xfrm>
              <a:custGeom>
                <a:avLst/>
                <a:gdLst>
                  <a:gd name="connsiteX0" fmla="*/ 0 w 666750"/>
                  <a:gd name="connsiteY0" fmla="*/ 300038 h 309563"/>
                  <a:gd name="connsiteX1" fmla="*/ 47625 w 666750"/>
                  <a:gd name="connsiteY1" fmla="*/ 300038 h 309563"/>
                  <a:gd name="connsiteX2" fmla="*/ 71437 w 666750"/>
                  <a:gd name="connsiteY2" fmla="*/ 309563 h 309563"/>
                  <a:gd name="connsiteX3" fmla="*/ 180975 w 666750"/>
                  <a:gd name="connsiteY3" fmla="*/ 250032 h 309563"/>
                  <a:gd name="connsiteX4" fmla="*/ 226219 w 666750"/>
                  <a:gd name="connsiteY4" fmla="*/ 235744 h 309563"/>
                  <a:gd name="connsiteX5" fmla="*/ 242887 w 666750"/>
                  <a:gd name="connsiteY5" fmla="*/ 204788 h 309563"/>
                  <a:gd name="connsiteX6" fmla="*/ 302419 w 666750"/>
                  <a:gd name="connsiteY6" fmla="*/ 171450 h 309563"/>
                  <a:gd name="connsiteX7" fmla="*/ 326231 w 666750"/>
                  <a:gd name="connsiteY7" fmla="*/ 161925 h 309563"/>
                  <a:gd name="connsiteX8" fmla="*/ 383381 w 666750"/>
                  <a:gd name="connsiteY8" fmla="*/ 130969 h 309563"/>
                  <a:gd name="connsiteX9" fmla="*/ 419100 w 666750"/>
                  <a:gd name="connsiteY9" fmla="*/ 128588 h 309563"/>
                  <a:gd name="connsiteX10" fmla="*/ 478631 w 666750"/>
                  <a:gd name="connsiteY10" fmla="*/ 71438 h 309563"/>
                  <a:gd name="connsiteX11" fmla="*/ 538162 w 666750"/>
                  <a:gd name="connsiteY11" fmla="*/ 54769 h 309563"/>
                  <a:gd name="connsiteX12" fmla="*/ 573881 w 666750"/>
                  <a:gd name="connsiteY12" fmla="*/ 35719 h 309563"/>
                  <a:gd name="connsiteX13" fmla="*/ 638175 w 666750"/>
                  <a:gd name="connsiteY13" fmla="*/ 21432 h 309563"/>
                  <a:gd name="connsiteX14" fmla="*/ 666750 w 666750"/>
                  <a:gd name="connsiteY14" fmla="*/ 0 h 309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6750" h="309563">
                    <a:moveTo>
                      <a:pt x="0" y="300038"/>
                    </a:moveTo>
                    <a:lnTo>
                      <a:pt x="47625" y="300038"/>
                    </a:lnTo>
                    <a:lnTo>
                      <a:pt x="71437" y="309563"/>
                    </a:lnTo>
                    <a:lnTo>
                      <a:pt x="180975" y="250032"/>
                    </a:lnTo>
                    <a:lnTo>
                      <a:pt x="226219" y="235744"/>
                    </a:lnTo>
                    <a:lnTo>
                      <a:pt x="242887" y="204788"/>
                    </a:lnTo>
                    <a:lnTo>
                      <a:pt x="302419" y="171450"/>
                    </a:lnTo>
                    <a:lnTo>
                      <a:pt x="326231" y="161925"/>
                    </a:lnTo>
                    <a:lnTo>
                      <a:pt x="383381" y="130969"/>
                    </a:lnTo>
                    <a:lnTo>
                      <a:pt x="419100" y="128588"/>
                    </a:lnTo>
                    <a:lnTo>
                      <a:pt x="478631" y="71438"/>
                    </a:lnTo>
                    <a:lnTo>
                      <a:pt x="538162" y="54769"/>
                    </a:lnTo>
                    <a:lnTo>
                      <a:pt x="573881" y="35719"/>
                    </a:lnTo>
                    <a:lnTo>
                      <a:pt x="638175" y="21432"/>
                    </a:lnTo>
                    <a:lnTo>
                      <a:pt x="66675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52" name="Freeform: Shape 551">
                <a:extLst>
                  <a:ext uri="{FF2B5EF4-FFF2-40B4-BE49-F238E27FC236}">
                    <a16:creationId xmlns:a16="http://schemas.microsoft.com/office/drawing/2014/main" id="{CFA77668-A7E2-4E21-8871-78CBFA2D1408}"/>
                  </a:ext>
                </a:extLst>
              </p:cNvPr>
              <p:cNvSpPr/>
              <p:nvPr/>
            </p:nvSpPr>
            <p:spPr bwMode="gray">
              <a:xfrm>
                <a:off x="8012906" y="4031456"/>
                <a:ext cx="157163" cy="100013"/>
              </a:xfrm>
              <a:custGeom>
                <a:avLst/>
                <a:gdLst>
                  <a:gd name="connsiteX0" fmla="*/ 0 w 157163"/>
                  <a:gd name="connsiteY0" fmla="*/ 0 h 100013"/>
                  <a:gd name="connsiteX1" fmla="*/ 30957 w 157163"/>
                  <a:gd name="connsiteY1" fmla="*/ 61913 h 100013"/>
                  <a:gd name="connsiteX2" fmla="*/ 50007 w 157163"/>
                  <a:gd name="connsiteY2" fmla="*/ 90488 h 100013"/>
                  <a:gd name="connsiteX3" fmla="*/ 88107 w 157163"/>
                  <a:gd name="connsiteY3" fmla="*/ 100013 h 100013"/>
                  <a:gd name="connsiteX4" fmla="*/ 150019 w 157163"/>
                  <a:gd name="connsiteY4" fmla="*/ 54769 h 100013"/>
                  <a:gd name="connsiteX5" fmla="*/ 157163 w 157163"/>
                  <a:gd name="connsiteY5" fmla="*/ 52388 h 100013"/>
                  <a:gd name="connsiteX0" fmla="*/ 0 w 157163"/>
                  <a:gd name="connsiteY0" fmla="*/ 0 h 100013"/>
                  <a:gd name="connsiteX1" fmla="*/ 30957 w 157163"/>
                  <a:gd name="connsiteY1" fmla="*/ 16669 h 100013"/>
                  <a:gd name="connsiteX2" fmla="*/ 30957 w 157163"/>
                  <a:gd name="connsiteY2" fmla="*/ 61913 h 100013"/>
                  <a:gd name="connsiteX3" fmla="*/ 50007 w 157163"/>
                  <a:gd name="connsiteY3" fmla="*/ 90488 h 100013"/>
                  <a:gd name="connsiteX4" fmla="*/ 88107 w 157163"/>
                  <a:gd name="connsiteY4" fmla="*/ 100013 h 100013"/>
                  <a:gd name="connsiteX5" fmla="*/ 150019 w 157163"/>
                  <a:gd name="connsiteY5" fmla="*/ 54769 h 100013"/>
                  <a:gd name="connsiteX6" fmla="*/ 157163 w 157163"/>
                  <a:gd name="connsiteY6" fmla="*/ 52388 h 100013"/>
                  <a:gd name="connsiteX0" fmla="*/ 0 w 157163"/>
                  <a:gd name="connsiteY0" fmla="*/ 0 h 100013"/>
                  <a:gd name="connsiteX1" fmla="*/ 21432 w 157163"/>
                  <a:gd name="connsiteY1" fmla="*/ 16669 h 100013"/>
                  <a:gd name="connsiteX2" fmla="*/ 30957 w 157163"/>
                  <a:gd name="connsiteY2" fmla="*/ 61913 h 100013"/>
                  <a:gd name="connsiteX3" fmla="*/ 50007 w 157163"/>
                  <a:gd name="connsiteY3" fmla="*/ 90488 h 100013"/>
                  <a:gd name="connsiteX4" fmla="*/ 88107 w 157163"/>
                  <a:gd name="connsiteY4" fmla="*/ 100013 h 100013"/>
                  <a:gd name="connsiteX5" fmla="*/ 150019 w 157163"/>
                  <a:gd name="connsiteY5" fmla="*/ 54769 h 100013"/>
                  <a:gd name="connsiteX6" fmla="*/ 157163 w 157163"/>
                  <a:gd name="connsiteY6" fmla="*/ 52388 h 10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163" h="100013">
                    <a:moveTo>
                      <a:pt x="0" y="0"/>
                    </a:moveTo>
                    <a:cubicBezTo>
                      <a:pt x="5556" y="7938"/>
                      <a:pt x="15876" y="8731"/>
                      <a:pt x="21432" y="16669"/>
                    </a:cubicBezTo>
                    <a:lnTo>
                      <a:pt x="30957" y="61913"/>
                    </a:lnTo>
                    <a:lnTo>
                      <a:pt x="50007" y="90488"/>
                    </a:lnTo>
                    <a:lnTo>
                      <a:pt x="88107" y="100013"/>
                    </a:lnTo>
                    <a:lnTo>
                      <a:pt x="150019" y="54769"/>
                    </a:lnTo>
                    <a:lnTo>
                      <a:pt x="157163" y="52388"/>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53" name="Freeform: Shape 552">
                <a:extLst>
                  <a:ext uri="{FF2B5EF4-FFF2-40B4-BE49-F238E27FC236}">
                    <a16:creationId xmlns:a16="http://schemas.microsoft.com/office/drawing/2014/main" id="{77C2D1D5-46E2-47FD-A6DA-AA7A4C08AA0F}"/>
                  </a:ext>
                </a:extLst>
              </p:cNvPr>
              <p:cNvSpPr/>
              <p:nvPr/>
            </p:nvSpPr>
            <p:spPr bwMode="gray">
              <a:xfrm>
                <a:off x="8217694" y="4698207"/>
                <a:ext cx="545306" cy="459581"/>
              </a:xfrm>
              <a:custGeom>
                <a:avLst/>
                <a:gdLst>
                  <a:gd name="connsiteX0" fmla="*/ 0 w 733425"/>
                  <a:gd name="connsiteY0" fmla="*/ 0 h 466725"/>
                  <a:gd name="connsiteX1" fmla="*/ 23812 w 733425"/>
                  <a:gd name="connsiteY1" fmla="*/ 69056 h 466725"/>
                  <a:gd name="connsiteX2" fmla="*/ 40481 w 733425"/>
                  <a:gd name="connsiteY2" fmla="*/ 121443 h 466725"/>
                  <a:gd name="connsiteX3" fmla="*/ 71437 w 733425"/>
                  <a:gd name="connsiteY3" fmla="*/ 176212 h 466725"/>
                  <a:gd name="connsiteX4" fmla="*/ 109537 w 733425"/>
                  <a:gd name="connsiteY4" fmla="*/ 204787 h 466725"/>
                  <a:gd name="connsiteX5" fmla="*/ 119062 w 733425"/>
                  <a:gd name="connsiteY5" fmla="*/ 238125 h 466725"/>
                  <a:gd name="connsiteX6" fmla="*/ 145256 w 733425"/>
                  <a:gd name="connsiteY6" fmla="*/ 340518 h 466725"/>
                  <a:gd name="connsiteX7" fmla="*/ 254794 w 733425"/>
                  <a:gd name="connsiteY7" fmla="*/ 426243 h 466725"/>
                  <a:gd name="connsiteX8" fmla="*/ 307181 w 733425"/>
                  <a:gd name="connsiteY8" fmla="*/ 421481 h 466725"/>
                  <a:gd name="connsiteX9" fmla="*/ 435769 w 733425"/>
                  <a:gd name="connsiteY9" fmla="*/ 435768 h 466725"/>
                  <a:gd name="connsiteX10" fmla="*/ 545306 w 733425"/>
                  <a:gd name="connsiteY10" fmla="*/ 459581 h 466725"/>
                  <a:gd name="connsiteX11" fmla="*/ 590550 w 733425"/>
                  <a:gd name="connsiteY11" fmla="*/ 466725 h 466725"/>
                  <a:gd name="connsiteX12" fmla="*/ 711994 w 733425"/>
                  <a:gd name="connsiteY12" fmla="*/ 431006 h 466725"/>
                  <a:gd name="connsiteX13" fmla="*/ 733425 w 733425"/>
                  <a:gd name="connsiteY13" fmla="*/ 411956 h 466725"/>
                  <a:gd name="connsiteX14" fmla="*/ 716756 w 733425"/>
                  <a:gd name="connsiteY14" fmla="*/ 364331 h 466725"/>
                  <a:gd name="connsiteX0" fmla="*/ 0 w 733425"/>
                  <a:gd name="connsiteY0" fmla="*/ 0 h 466725"/>
                  <a:gd name="connsiteX1" fmla="*/ 23812 w 733425"/>
                  <a:gd name="connsiteY1" fmla="*/ 69056 h 466725"/>
                  <a:gd name="connsiteX2" fmla="*/ 40481 w 733425"/>
                  <a:gd name="connsiteY2" fmla="*/ 121443 h 466725"/>
                  <a:gd name="connsiteX3" fmla="*/ 71437 w 733425"/>
                  <a:gd name="connsiteY3" fmla="*/ 176212 h 466725"/>
                  <a:gd name="connsiteX4" fmla="*/ 109537 w 733425"/>
                  <a:gd name="connsiteY4" fmla="*/ 204787 h 466725"/>
                  <a:gd name="connsiteX5" fmla="*/ 119062 w 733425"/>
                  <a:gd name="connsiteY5" fmla="*/ 238125 h 466725"/>
                  <a:gd name="connsiteX6" fmla="*/ 145256 w 733425"/>
                  <a:gd name="connsiteY6" fmla="*/ 340518 h 466725"/>
                  <a:gd name="connsiteX7" fmla="*/ 254794 w 733425"/>
                  <a:gd name="connsiteY7" fmla="*/ 426243 h 466725"/>
                  <a:gd name="connsiteX8" fmla="*/ 307181 w 733425"/>
                  <a:gd name="connsiteY8" fmla="*/ 421481 h 466725"/>
                  <a:gd name="connsiteX9" fmla="*/ 435769 w 733425"/>
                  <a:gd name="connsiteY9" fmla="*/ 435768 h 466725"/>
                  <a:gd name="connsiteX10" fmla="*/ 545306 w 733425"/>
                  <a:gd name="connsiteY10" fmla="*/ 459581 h 466725"/>
                  <a:gd name="connsiteX11" fmla="*/ 590550 w 733425"/>
                  <a:gd name="connsiteY11" fmla="*/ 466725 h 466725"/>
                  <a:gd name="connsiteX12" fmla="*/ 711994 w 733425"/>
                  <a:gd name="connsiteY12" fmla="*/ 431006 h 466725"/>
                  <a:gd name="connsiteX13" fmla="*/ 733425 w 733425"/>
                  <a:gd name="connsiteY13" fmla="*/ 411956 h 466725"/>
                  <a:gd name="connsiteX0" fmla="*/ 0 w 711994"/>
                  <a:gd name="connsiteY0" fmla="*/ 0 h 466725"/>
                  <a:gd name="connsiteX1" fmla="*/ 23812 w 711994"/>
                  <a:gd name="connsiteY1" fmla="*/ 69056 h 466725"/>
                  <a:gd name="connsiteX2" fmla="*/ 40481 w 711994"/>
                  <a:gd name="connsiteY2" fmla="*/ 121443 h 466725"/>
                  <a:gd name="connsiteX3" fmla="*/ 71437 w 711994"/>
                  <a:gd name="connsiteY3" fmla="*/ 176212 h 466725"/>
                  <a:gd name="connsiteX4" fmla="*/ 109537 w 711994"/>
                  <a:gd name="connsiteY4" fmla="*/ 204787 h 466725"/>
                  <a:gd name="connsiteX5" fmla="*/ 119062 w 711994"/>
                  <a:gd name="connsiteY5" fmla="*/ 238125 h 466725"/>
                  <a:gd name="connsiteX6" fmla="*/ 145256 w 711994"/>
                  <a:gd name="connsiteY6" fmla="*/ 340518 h 466725"/>
                  <a:gd name="connsiteX7" fmla="*/ 254794 w 711994"/>
                  <a:gd name="connsiteY7" fmla="*/ 426243 h 466725"/>
                  <a:gd name="connsiteX8" fmla="*/ 307181 w 711994"/>
                  <a:gd name="connsiteY8" fmla="*/ 421481 h 466725"/>
                  <a:gd name="connsiteX9" fmla="*/ 435769 w 711994"/>
                  <a:gd name="connsiteY9" fmla="*/ 435768 h 466725"/>
                  <a:gd name="connsiteX10" fmla="*/ 545306 w 711994"/>
                  <a:gd name="connsiteY10" fmla="*/ 459581 h 466725"/>
                  <a:gd name="connsiteX11" fmla="*/ 590550 w 711994"/>
                  <a:gd name="connsiteY11" fmla="*/ 466725 h 466725"/>
                  <a:gd name="connsiteX12" fmla="*/ 711994 w 711994"/>
                  <a:gd name="connsiteY12" fmla="*/ 431006 h 466725"/>
                  <a:gd name="connsiteX0" fmla="*/ 0 w 590550"/>
                  <a:gd name="connsiteY0" fmla="*/ 0 h 466725"/>
                  <a:gd name="connsiteX1" fmla="*/ 23812 w 590550"/>
                  <a:gd name="connsiteY1" fmla="*/ 69056 h 466725"/>
                  <a:gd name="connsiteX2" fmla="*/ 40481 w 590550"/>
                  <a:gd name="connsiteY2" fmla="*/ 121443 h 466725"/>
                  <a:gd name="connsiteX3" fmla="*/ 71437 w 590550"/>
                  <a:gd name="connsiteY3" fmla="*/ 176212 h 466725"/>
                  <a:gd name="connsiteX4" fmla="*/ 109537 w 590550"/>
                  <a:gd name="connsiteY4" fmla="*/ 204787 h 466725"/>
                  <a:gd name="connsiteX5" fmla="*/ 119062 w 590550"/>
                  <a:gd name="connsiteY5" fmla="*/ 238125 h 466725"/>
                  <a:gd name="connsiteX6" fmla="*/ 145256 w 590550"/>
                  <a:gd name="connsiteY6" fmla="*/ 340518 h 466725"/>
                  <a:gd name="connsiteX7" fmla="*/ 254794 w 590550"/>
                  <a:gd name="connsiteY7" fmla="*/ 426243 h 466725"/>
                  <a:gd name="connsiteX8" fmla="*/ 307181 w 590550"/>
                  <a:gd name="connsiteY8" fmla="*/ 421481 h 466725"/>
                  <a:gd name="connsiteX9" fmla="*/ 435769 w 590550"/>
                  <a:gd name="connsiteY9" fmla="*/ 435768 h 466725"/>
                  <a:gd name="connsiteX10" fmla="*/ 545306 w 590550"/>
                  <a:gd name="connsiteY10" fmla="*/ 459581 h 466725"/>
                  <a:gd name="connsiteX11" fmla="*/ 590550 w 590550"/>
                  <a:gd name="connsiteY11" fmla="*/ 466725 h 466725"/>
                  <a:gd name="connsiteX0" fmla="*/ 0 w 545306"/>
                  <a:gd name="connsiteY0" fmla="*/ 0 h 459581"/>
                  <a:gd name="connsiteX1" fmla="*/ 23812 w 545306"/>
                  <a:gd name="connsiteY1" fmla="*/ 69056 h 459581"/>
                  <a:gd name="connsiteX2" fmla="*/ 40481 w 545306"/>
                  <a:gd name="connsiteY2" fmla="*/ 121443 h 459581"/>
                  <a:gd name="connsiteX3" fmla="*/ 71437 w 545306"/>
                  <a:gd name="connsiteY3" fmla="*/ 176212 h 459581"/>
                  <a:gd name="connsiteX4" fmla="*/ 109537 w 545306"/>
                  <a:gd name="connsiteY4" fmla="*/ 204787 h 459581"/>
                  <a:gd name="connsiteX5" fmla="*/ 119062 w 545306"/>
                  <a:gd name="connsiteY5" fmla="*/ 238125 h 459581"/>
                  <a:gd name="connsiteX6" fmla="*/ 145256 w 545306"/>
                  <a:gd name="connsiteY6" fmla="*/ 340518 h 459581"/>
                  <a:gd name="connsiteX7" fmla="*/ 254794 w 545306"/>
                  <a:gd name="connsiteY7" fmla="*/ 426243 h 459581"/>
                  <a:gd name="connsiteX8" fmla="*/ 307181 w 545306"/>
                  <a:gd name="connsiteY8" fmla="*/ 421481 h 459581"/>
                  <a:gd name="connsiteX9" fmla="*/ 435769 w 545306"/>
                  <a:gd name="connsiteY9" fmla="*/ 435768 h 459581"/>
                  <a:gd name="connsiteX10" fmla="*/ 545306 w 545306"/>
                  <a:gd name="connsiteY10" fmla="*/ 459581 h 459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5306" h="459581">
                    <a:moveTo>
                      <a:pt x="0" y="0"/>
                    </a:moveTo>
                    <a:lnTo>
                      <a:pt x="23812" y="69056"/>
                    </a:lnTo>
                    <a:lnTo>
                      <a:pt x="40481" y="121443"/>
                    </a:lnTo>
                    <a:lnTo>
                      <a:pt x="71437" y="176212"/>
                    </a:lnTo>
                    <a:lnTo>
                      <a:pt x="109537" y="204787"/>
                    </a:lnTo>
                    <a:lnTo>
                      <a:pt x="119062" y="238125"/>
                    </a:lnTo>
                    <a:lnTo>
                      <a:pt x="145256" y="340518"/>
                    </a:lnTo>
                    <a:lnTo>
                      <a:pt x="254794" y="426243"/>
                    </a:lnTo>
                    <a:lnTo>
                      <a:pt x="307181" y="421481"/>
                    </a:lnTo>
                    <a:lnTo>
                      <a:pt x="435769" y="435768"/>
                    </a:lnTo>
                    <a:lnTo>
                      <a:pt x="545306" y="459581"/>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54" name="Freeform: Shape 553">
                <a:extLst>
                  <a:ext uri="{FF2B5EF4-FFF2-40B4-BE49-F238E27FC236}">
                    <a16:creationId xmlns:a16="http://schemas.microsoft.com/office/drawing/2014/main" id="{78B363D9-1D0E-48DE-B759-05583F19089B}"/>
                  </a:ext>
                </a:extLst>
              </p:cNvPr>
              <p:cNvSpPr/>
              <p:nvPr/>
            </p:nvSpPr>
            <p:spPr bwMode="gray">
              <a:xfrm>
                <a:off x="8548688" y="4902994"/>
                <a:ext cx="228600" cy="83344"/>
              </a:xfrm>
              <a:custGeom>
                <a:avLst/>
                <a:gdLst>
                  <a:gd name="connsiteX0" fmla="*/ 0 w 228600"/>
                  <a:gd name="connsiteY0" fmla="*/ 0 h 83344"/>
                  <a:gd name="connsiteX1" fmla="*/ 73818 w 228600"/>
                  <a:gd name="connsiteY1" fmla="*/ 19050 h 83344"/>
                  <a:gd name="connsiteX2" fmla="*/ 116681 w 228600"/>
                  <a:gd name="connsiteY2" fmla="*/ 26194 h 83344"/>
                  <a:gd name="connsiteX3" fmla="*/ 183356 w 228600"/>
                  <a:gd name="connsiteY3" fmla="*/ 71437 h 83344"/>
                  <a:gd name="connsiteX4" fmla="*/ 228600 w 228600"/>
                  <a:gd name="connsiteY4" fmla="*/ 83344 h 83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83344">
                    <a:moveTo>
                      <a:pt x="0" y="0"/>
                    </a:moveTo>
                    <a:lnTo>
                      <a:pt x="73818" y="19050"/>
                    </a:lnTo>
                    <a:lnTo>
                      <a:pt x="116681" y="26194"/>
                    </a:lnTo>
                    <a:lnTo>
                      <a:pt x="183356" y="71437"/>
                    </a:lnTo>
                    <a:lnTo>
                      <a:pt x="228600" y="83344"/>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55" name="Freeform: Shape 554">
                <a:extLst>
                  <a:ext uri="{FF2B5EF4-FFF2-40B4-BE49-F238E27FC236}">
                    <a16:creationId xmlns:a16="http://schemas.microsoft.com/office/drawing/2014/main" id="{CE03AA93-6DAD-4851-8B90-795C45EC84FC}"/>
                  </a:ext>
                </a:extLst>
              </p:cNvPr>
              <p:cNvSpPr/>
              <p:nvPr/>
            </p:nvSpPr>
            <p:spPr bwMode="gray">
              <a:xfrm>
                <a:off x="7543800" y="4910138"/>
                <a:ext cx="383381" cy="59531"/>
              </a:xfrm>
              <a:custGeom>
                <a:avLst/>
                <a:gdLst>
                  <a:gd name="connsiteX0" fmla="*/ 0 w 383381"/>
                  <a:gd name="connsiteY0" fmla="*/ 16668 h 59531"/>
                  <a:gd name="connsiteX1" fmla="*/ 0 w 383381"/>
                  <a:gd name="connsiteY1" fmla="*/ 16668 h 59531"/>
                  <a:gd name="connsiteX2" fmla="*/ 21431 w 383381"/>
                  <a:gd name="connsiteY2" fmla="*/ 2381 h 59531"/>
                  <a:gd name="connsiteX3" fmla="*/ 45244 w 383381"/>
                  <a:gd name="connsiteY3" fmla="*/ 4762 h 59531"/>
                  <a:gd name="connsiteX4" fmla="*/ 61913 w 383381"/>
                  <a:gd name="connsiteY4" fmla="*/ 2381 h 59531"/>
                  <a:gd name="connsiteX5" fmla="*/ 54769 w 383381"/>
                  <a:gd name="connsiteY5" fmla="*/ 9525 h 59531"/>
                  <a:gd name="connsiteX6" fmla="*/ 64294 w 383381"/>
                  <a:gd name="connsiteY6" fmla="*/ 33337 h 59531"/>
                  <a:gd name="connsiteX7" fmla="*/ 71438 w 383381"/>
                  <a:gd name="connsiteY7" fmla="*/ 42862 h 59531"/>
                  <a:gd name="connsiteX8" fmla="*/ 92869 w 383381"/>
                  <a:gd name="connsiteY8" fmla="*/ 57150 h 59531"/>
                  <a:gd name="connsiteX9" fmla="*/ 102394 w 383381"/>
                  <a:gd name="connsiteY9" fmla="*/ 59531 h 59531"/>
                  <a:gd name="connsiteX10" fmla="*/ 147638 w 383381"/>
                  <a:gd name="connsiteY10" fmla="*/ 57150 h 59531"/>
                  <a:gd name="connsiteX11" fmla="*/ 154781 w 383381"/>
                  <a:gd name="connsiteY11" fmla="*/ 54768 h 59531"/>
                  <a:gd name="connsiteX12" fmla="*/ 164306 w 383381"/>
                  <a:gd name="connsiteY12" fmla="*/ 52387 h 59531"/>
                  <a:gd name="connsiteX13" fmla="*/ 188119 w 383381"/>
                  <a:gd name="connsiteY13" fmla="*/ 45243 h 59531"/>
                  <a:gd name="connsiteX14" fmla="*/ 242888 w 383381"/>
                  <a:gd name="connsiteY14" fmla="*/ 40481 h 59531"/>
                  <a:gd name="connsiteX15" fmla="*/ 257175 w 383381"/>
                  <a:gd name="connsiteY15" fmla="*/ 35718 h 59531"/>
                  <a:gd name="connsiteX16" fmla="*/ 264319 w 383381"/>
                  <a:gd name="connsiteY16" fmla="*/ 33337 h 59531"/>
                  <a:gd name="connsiteX17" fmla="*/ 273844 w 383381"/>
                  <a:gd name="connsiteY17" fmla="*/ 28575 h 59531"/>
                  <a:gd name="connsiteX18" fmla="*/ 285750 w 383381"/>
                  <a:gd name="connsiteY18" fmla="*/ 26193 h 59531"/>
                  <a:gd name="connsiteX19" fmla="*/ 319088 w 383381"/>
                  <a:gd name="connsiteY19" fmla="*/ 21431 h 59531"/>
                  <a:gd name="connsiteX20" fmla="*/ 328613 w 383381"/>
                  <a:gd name="connsiteY20" fmla="*/ 16668 h 59531"/>
                  <a:gd name="connsiteX21" fmla="*/ 354806 w 383381"/>
                  <a:gd name="connsiteY21" fmla="*/ 0 h 59531"/>
                  <a:gd name="connsiteX22" fmla="*/ 383381 w 383381"/>
                  <a:gd name="connsiteY22" fmla="*/ 2381 h 59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83381" h="59531">
                    <a:moveTo>
                      <a:pt x="0" y="16668"/>
                    </a:moveTo>
                    <a:lnTo>
                      <a:pt x="0" y="16668"/>
                    </a:lnTo>
                    <a:cubicBezTo>
                      <a:pt x="7144" y="11906"/>
                      <a:pt x="13128" y="4566"/>
                      <a:pt x="21431" y="2381"/>
                    </a:cubicBezTo>
                    <a:cubicBezTo>
                      <a:pt x="29146" y="351"/>
                      <a:pt x="37267" y="4762"/>
                      <a:pt x="45244" y="4762"/>
                    </a:cubicBezTo>
                    <a:cubicBezTo>
                      <a:pt x="50857" y="4762"/>
                      <a:pt x="56357" y="3175"/>
                      <a:pt x="61913" y="2381"/>
                    </a:cubicBezTo>
                    <a:cubicBezTo>
                      <a:pt x="59532" y="4762"/>
                      <a:pt x="55430" y="6223"/>
                      <a:pt x="54769" y="9525"/>
                    </a:cubicBezTo>
                    <a:cubicBezTo>
                      <a:pt x="51565" y="25542"/>
                      <a:pt x="56818" y="24616"/>
                      <a:pt x="64294" y="33337"/>
                    </a:cubicBezTo>
                    <a:cubicBezTo>
                      <a:pt x="66877" y="36350"/>
                      <a:pt x="68632" y="40056"/>
                      <a:pt x="71438" y="42862"/>
                    </a:cubicBezTo>
                    <a:cubicBezTo>
                      <a:pt x="75037" y="46461"/>
                      <a:pt x="88788" y="55336"/>
                      <a:pt x="92869" y="57150"/>
                    </a:cubicBezTo>
                    <a:cubicBezTo>
                      <a:pt x="95860" y="58479"/>
                      <a:pt x="99219" y="58737"/>
                      <a:pt x="102394" y="59531"/>
                    </a:cubicBezTo>
                    <a:cubicBezTo>
                      <a:pt x="117475" y="58737"/>
                      <a:pt x="132598" y="58517"/>
                      <a:pt x="147638" y="57150"/>
                    </a:cubicBezTo>
                    <a:cubicBezTo>
                      <a:pt x="150138" y="56923"/>
                      <a:pt x="152368" y="55458"/>
                      <a:pt x="154781" y="54768"/>
                    </a:cubicBezTo>
                    <a:cubicBezTo>
                      <a:pt x="157928" y="53869"/>
                      <a:pt x="161171" y="53327"/>
                      <a:pt x="164306" y="52387"/>
                    </a:cubicBezTo>
                    <a:cubicBezTo>
                      <a:pt x="168519" y="51123"/>
                      <a:pt x="182316" y="45888"/>
                      <a:pt x="188119" y="45243"/>
                    </a:cubicBezTo>
                    <a:cubicBezTo>
                      <a:pt x="206332" y="43219"/>
                      <a:pt x="224632" y="42068"/>
                      <a:pt x="242888" y="40481"/>
                    </a:cubicBezTo>
                    <a:lnTo>
                      <a:pt x="257175" y="35718"/>
                    </a:lnTo>
                    <a:cubicBezTo>
                      <a:pt x="259556" y="34924"/>
                      <a:pt x="262074" y="34459"/>
                      <a:pt x="264319" y="33337"/>
                    </a:cubicBezTo>
                    <a:cubicBezTo>
                      <a:pt x="267494" y="31750"/>
                      <a:pt x="270476" y="29698"/>
                      <a:pt x="273844" y="28575"/>
                    </a:cubicBezTo>
                    <a:cubicBezTo>
                      <a:pt x="277684" y="27295"/>
                      <a:pt x="281752" y="26824"/>
                      <a:pt x="285750" y="26193"/>
                    </a:cubicBezTo>
                    <a:cubicBezTo>
                      <a:pt x="296838" y="24442"/>
                      <a:pt x="307975" y="23018"/>
                      <a:pt x="319088" y="21431"/>
                    </a:cubicBezTo>
                    <a:cubicBezTo>
                      <a:pt x="322263" y="19843"/>
                      <a:pt x="325659" y="18637"/>
                      <a:pt x="328613" y="16668"/>
                    </a:cubicBezTo>
                    <a:cubicBezTo>
                      <a:pt x="354934" y="-879"/>
                      <a:pt x="338469" y="5446"/>
                      <a:pt x="354806" y="0"/>
                    </a:cubicBezTo>
                    <a:cubicBezTo>
                      <a:pt x="381790" y="2453"/>
                      <a:pt x="372233" y="2381"/>
                      <a:pt x="383381" y="2381"/>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56" name="Freeform: Shape 555">
                <a:extLst>
                  <a:ext uri="{FF2B5EF4-FFF2-40B4-BE49-F238E27FC236}">
                    <a16:creationId xmlns:a16="http://schemas.microsoft.com/office/drawing/2014/main" id="{1AD8D509-ADFB-40B3-9536-E27225772FFF}"/>
                  </a:ext>
                </a:extLst>
              </p:cNvPr>
              <p:cNvSpPr/>
              <p:nvPr/>
            </p:nvSpPr>
            <p:spPr bwMode="gray">
              <a:xfrm>
                <a:off x="7924129" y="4976813"/>
                <a:ext cx="114971" cy="280987"/>
              </a:xfrm>
              <a:custGeom>
                <a:avLst/>
                <a:gdLst>
                  <a:gd name="connsiteX0" fmla="*/ 26865 w 114971"/>
                  <a:gd name="connsiteY0" fmla="*/ 0 h 280987"/>
                  <a:gd name="connsiteX1" fmla="*/ 26865 w 114971"/>
                  <a:gd name="connsiteY1" fmla="*/ 0 h 280987"/>
                  <a:gd name="connsiteX2" fmla="*/ 14959 w 114971"/>
                  <a:gd name="connsiteY2" fmla="*/ 16668 h 280987"/>
                  <a:gd name="connsiteX3" fmla="*/ 17340 w 114971"/>
                  <a:gd name="connsiteY3" fmla="*/ 50006 h 280987"/>
                  <a:gd name="connsiteX4" fmla="*/ 22102 w 114971"/>
                  <a:gd name="connsiteY4" fmla="*/ 95250 h 280987"/>
                  <a:gd name="connsiteX5" fmla="*/ 671 w 114971"/>
                  <a:gd name="connsiteY5" fmla="*/ 104775 h 280987"/>
                  <a:gd name="connsiteX6" fmla="*/ 10196 w 114971"/>
                  <a:gd name="connsiteY6" fmla="*/ 102393 h 280987"/>
                  <a:gd name="connsiteX7" fmla="*/ 26865 w 114971"/>
                  <a:gd name="connsiteY7" fmla="*/ 100012 h 280987"/>
                  <a:gd name="connsiteX8" fmla="*/ 34009 w 114971"/>
                  <a:gd name="connsiteY8" fmla="*/ 102393 h 280987"/>
                  <a:gd name="connsiteX9" fmla="*/ 41152 w 114971"/>
                  <a:gd name="connsiteY9" fmla="*/ 121443 h 280987"/>
                  <a:gd name="connsiteX10" fmla="*/ 48296 w 114971"/>
                  <a:gd name="connsiteY10" fmla="*/ 130968 h 280987"/>
                  <a:gd name="connsiteX11" fmla="*/ 53059 w 114971"/>
                  <a:gd name="connsiteY11" fmla="*/ 138112 h 280987"/>
                  <a:gd name="connsiteX12" fmla="*/ 60202 w 114971"/>
                  <a:gd name="connsiteY12" fmla="*/ 147637 h 280987"/>
                  <a:gd name="connsiteX13" fmla="*/ 64965 w 114971"/>
                  <a:gd name="connsiteY13" fmla="*/ 154781 h 280987"/>
                  <a:gd name="connsiteX14" fmla="*/ 74490 w 114971"/>
                  <a:gd name="connsiteY14" fmla="*/ 164306 h 280987"/>
                  <a:gd name="connsiteX15" fmla="*/ 84015 w 114971"/>
                  <a:gd name="connsiteY15" fmla="*/ 180975 h 280987"/>
                  <a:gd name="connsiteX16" fmla="*/ 88777 w 114971"/>
                  <a:gd name="connsiteY16" fmla="*/ 190500 h 280987"/>
                  <a:gd name="connsiteX17" fmla="*/ 95921 w 114971"/>
                  <a:gd name="connsiteY17" fmla="*/ 219075 h 280987"/>
                  <a:gd name="connsiteX18" fmla="*/ 103065 w 114971"/>
                  <a:gd name="connsiteY18" fmla="*/ 223837 h 280987"/>
                  <a:gd name="connsiteX19" fmla="*/ 107827 w 114971"/>
                  <a:gd name="connsiteY19" fmla="*/ 254793 h 280987"/>
                  <a:gd name="connsiteX20" fmla="*/ 114971 w 114971"/>
                  <a:gd name="connsiteY20" fmla="*/ 280987 h 28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4971" h="280987">
                    <a:moveTo>
                      <a:pt x="26865" y="0"/>
                    </a:moveTo>
                    <a:lnTo>
                      <a:pt x="26865" y="0"/>
                    </a:lnTo>
                    <a:cubicBezTo>
                      <a:pt x="22896" y="5556"/>
                      <a:pt x="16237" y="9961"/>
                      <a:pt x="14959" y="16668"/>
                    </a:cubicBezTo>
                    <a:cubicBezTo>
                      <a:pt x="12874" y="27612"/>
                      <a:pt x="16599" y="38890"/>
                      <a:pt x="17340" y="50006"/>
                    </a:cubicBezTo>
                    <a:cubicBezTo>
                      <a:pt x="20089" y="91246"/>
                      <a:pt x="15656" y="75909"/>
                      <a:pt x="22102" y="95250"/>
                    </a:cubicBezTo>
                    <a:cubicBezTo>
                      <a:pt x="13472" y="101722"/>
                      <a:pt x="12254" y="104775"/>
                      <a:pt x="671" y="104775"/>
                    </a:cubicBezTo>
                    <a:cubicBezTo>
                      <a:pt x="-2602" y="104775"/>
                      <a:pt x="6976" y="102979"/>
                      <a:pt x="10196" y="102393"/>
                    </a:cubicBezTo>
                    <a:cubicBezTo>
                      <a:pt x="15718" y="101389"/>
                      <a:pt x="21309" y="100806"/>
                      <a:pt x="26865" y="100012"/>
                    </a:cubicBezTo>
                    <a:cubicBezTo>
                      <a:pt x="29246" y="100806"/>
                      <a:pt x="32234" y="100618"/>
                      <a:pt x="34009" y="102393"/>
                    </a:cubicBezTo>
                    <a:cubicBezTo>
                      <a:pt x="41042" y="109426"/>
                      <a:pt x="37166" y="113471"/>
                      <a:pt x="41152" y="121443"/>
                    </a:cubicBezTo>
                    <a:cubicBezTo>
                      <a:pt x="42927" y="124993"/>
                      <a:pt x="45989" y="127739"/>
                      <a:pt x="48296" y="130968"/>
                    </a:cubicBezTo>
                    <a:cubicBezTo>
                      <a:pt x="49960" y="133297"/>
                      <a:pt x="51395" y="135783"/>
                      <a:pt x="53059" y="138112"/>
                    </a:cubicBezTo>
                    <a:cubicBezTo>
                      <a:pt x="55366" y="141341"/>
                      <a:pt x="57895" y="144408"/>
                      <a:pt x="60202" y="147637"/>
                    </a:cubicBezTo>
                    <a:cubicBezTo>
                      <a:pt x="61866" y="149966"/>
                      <a:pt x="63102" y="152608"/>
                      <a:pt x="64965" y="154781"/>
                    </a:cubicBezTo>
                    <a:cubicBezTo>
                      <a:pt x="67887" y="158190"/>
                      <a:pt x="71315" y="161131"/>
                      <a:pt x="74490" y="164306"/>
                    </a:cubicBezTo>
                    <a:cubicBezTo>
                      <a:pt x="88880" y="193088"/>
                      <a:pt x="70552" y="157415"/>
                      <a:pt x="84015" y="180975"/>
                    </a:cubicBezTo>
                    <a:cubicBezTo>
                      <a:pt x="85776" y="184057"/>
                      <a:pt x="87190" y="187325"/>
                      <a:pt x="88777" y="190500"/>
                    </a:cubicBezTo>
                    <a:cubicBezTo>
                      <a:pt x="89981" y="200132"/>
                      <a:pt x="89195" y="211004"/>
                      <a:pt x="95921" y="219075"/>
                    </a:cubicBezTo>
                    <a:cubicBezTo>
                      <a:pt x="97753" y="221274"/>
                      <a:pt x="100684" y="222250"/>
                      <a:pt x="103065" y="223837"/>
                    </a:cubicBezTo>
                    <a:cubicBezTo>
                      <a:pt x="104652" y="234156"/>
                      <a:pt x="105874" y="244537"/>
                      <a:pt x="107827" y="254793"/>
                    </a:cubicBezTo>
                    <a:cubicBezTo>
                      <a:pt x="110213" y="267319"/>
                      <a:pt x="111665" y="271069"/>
                      <a:pt x="114971" y="280987"/>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57" name="Freeform: Shape 556">
                <a:extLst>
                  <a:ext uri="{FF2B5EF4-FFF2-40B4-BE49-F238E27FC236}">
                    <a16:creationId xmlns:a16="http://schemas.microsoft.com/office/drawing/2014/main" id="{23511694-B03E-4A70-B6D3-F879B3DB24CC}"/>
                  </a:ext>
                </a:extLst>
              </p:cNvPr>
              <p:cNvSpPr/>
              <p:nvPr/>
            </p:nvSpPr>
            <p:spPr bwMode="gray">
              <a:xfrm>
                <a:off x="8258175" y="5519738"/>
                <a:ext cx="371475" cy="73818"/>
              </a:xfrm>
              <a:custGeom>
                <a:avLst/>
                <a:gdLst>
                  <a:gd name="connsiteX0" fmla="*/ 371475 w 371475"/>
                  <a:gd name="connsiteY0" fmla="*/ 73818 h 73818"/>
                  <a:gd name="connsiteX1" fmla="*/ 271463 w 371475"/>
                  <a:gd name="connsiteY1" fmla="*/ 0 h 73818"/>
                  <a:gd name="connsiteX2" fmla="*/ 123825 w 371475"/>
                  <a:gd name="connsiteY2" fmla="*/ 4762 h 73818"/>
                  <a:gd name="connsiteX3" fmla="*/ 97631 w 371475"/>
                  <a:gd name="connsiteY3" fmla="*/ 9525 h 73818"/>
                  <a:gd name="connsiteX4" fmla="*/ 28575 w 371475"/>
                  <a:gd name="connsiteY4" fmla="*/ 4762 h 73818"/>
                  <a:gd name="connsiteX5" fmla="*/ 0 w 371475"/>
                  <a:gd name="connsiteY5" fmla="*/ 26193 h 73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475" h="73818">
                    <a:moveTo>
                      <a:pt x="371475" y="73818"/>
                    </a:moveTo>
                    <a:lnTo>
                      <a:pt x="271463" y="0"/>
                    </a:lnTo>
                    <a:lnTo>
                      <a:pt x="123825" y="4762"/>
                    </a:lnTo>
                    <a:lnTo>
                      <a:pt x="97631" y="9525"/>
                    </a:lnTo>
                    <a:lnTo>
                      <a:pt x="28575" y="4762"/>
                    </a:lnTo>
                    <a:lnTo>
                      <a:pt x="0" y="26193"/>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58" name="Freeform: Shape 557">
                <a:extLst>
                  <a:ext uri="{FF2B5EF4-FFF2-40B4-BE49-F238E27FC236}">
                    <a16:creationId xmlns:a16="http://schemas.microsoft.com/office/drawing/2014/main" id="{290DD511-DECA-4036-863A-EA025487E9D3}"/>
                  </a:ext>
                </a:extLst>
              </p:cNvPr>
              <p:cNvSpPr/>
              <p:nvPr/>
            </p:nvSpPr>
            <p:spPr bwMode="gray">
              <a:xfrm>
                <a:off x="7720013" y="5324475"/>
                <a:ext cx="142875" cy="147638"/>
              </a:xfrm>
              <a:custGeom>
                <a:avLst/>
                <a:gdLst>
                  <a:gd name="connsiteX0" fmla="*/ 30956 w 142875"/>
                  <a:gd name="connsiteY0" fmla="*/ 0 h 147638"/>
                  <a:gd name="connsiteX1" fmla="*/ 0 w 142875"/>
                  <a:gd name="connsiteY1" fmla="*/ 38100 h 147638"/>
                  <a:gd name="connsiteX2" fmla="*/ 16668 w 142875"/>
                  <a:gd name="connsiteY2" fmla="*/ 57150 h 147638"/>
                  <a:gd name="connsiteX3" fmla="*/ 40481 w 142875"/>
                  <a:gd name="connsiteY3" fmla="*/ 85725 h 147638"/>
                  <a:gd name="connsiteX4" fmla="*/ 76200 w 142875"/>
                  <a:gd name="connsiteY4" fmla="*/ 123825 h 147638"/>
                  <a:gd name="connsiteX5" fmla="*/ 107156 w 142875"/>
                  <a:gd name="connsiteY5" fmla="*/ 135731 h 147638"/>
                  <a:gd name="connsiteX6" fmla="*/ 142875 w 142875"/>
                  <a:gd name="connsiteY6" fmla="*/ 147638 h 14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5" h="147638">
                    <a:moveTo>
                      <a:pt x="30956" y="0"/>
                    </a:moveTo>
                    <a:lnTo>
                      <a:pt x="0" y="38100"/>
                    </a:lnTo>
                    <a:cubicBezTo>
                      <a:pt x="14763" y="57785"/>
                      <a:pt x="6350" y="57150"/>
                      <a:pt x="16668" y="57150"/>
                    </a:cubicBezTo>
                    <a:lnTo>
                      <a:pt x="40481" y="85725"/>
                    </a:lnTo>
                    <a:lnTo>
                      <a:pt x="76200" y="123825"/>
                    </a:lnTo>
                    <a:lnTo>
                      <a:pt x="107156" y="135731"/>
                    </a:lnTo>
                    <a:lnTo>
                      <a:pt x="142875" y="147638"/>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59" name="Freeform: Shape 558">
                <a:extLst>
                  <a:ext uri="{FF2B5EF4-FFF2-40B4-BE49-F238E27FC236}">
                    <a16:creationId xmlns:a16="http://schemas.microsoft.com/office/drawing/2014/main" id="{CDA302B4-D786-40EE-807B-B17C817DF1A2}"/>
                  </a:ext>
                </a:extLst>
              </p:cNvPr>
              <p:cNvSpPr/>
              <p:nvPr/>
            </p:nvSpPr>
            <p:spPr bwMode="gray">
              <a:xfrm>
                <a:off x="7778750" y="5467350"/>
                <a:ext cx="88900" cy="12700"/>
              </a:xfrm>
              <a:custGeom>
                <a:avLst/>
                <a:gdLst>
                  <a:gd name="connsiteX0" fmla="*/ 0 w 88900"/>
                  <a:gd name="connsiteY0" fmla="*/ 12700 h 12700"/>
                  <a:gd name="connsiteX1" fmla="*/ 88900 w 88900"/>
                  <a:gd name="connsiteY1" fmla="*/ 0 h 12700"/>
                </a:gdLst>
                <a:ahLst/>
                <a:cxnLst>
                  <a:cxn ang="0">
                    <a:pos x="connsiteX0" y="connsiteY0"/>
                  </a:cxn>
                  <a:cxn ang="0">
                    <a:pos x="connsiteX1" y="connsiteY1"/>
                  </a:cxn>
                </a:cxnLst>
                <a:rect l="l" t="t" r="r" b="b"/>
                <a:pathLst>
                  <a:path w="88900" h="12700">
                    <a:moveTo>
                      <a:pt x="0" y="12700"/>
                    </a:moveTo>
                    <a:lnTo>
                      <a:pt x="8890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60" name="Freeform: Shape 559">
                <a:extLst>
                  <a:ext uri="{FF2B5EF4-FFF2-40B4-BE49-F238E27FC236}">
                    <a16:creationId xmlns:a16="http://schemas.microsoft.com/office/drawing/2014/main" id="{551E4061-E3D5-4DC3-868B-38E08FCB8810}"/>
                  </a:ext>
                </a:extLst>
              </p:cNvPr>
              <p:cNvSpPr/>
              <p:nvPr/>
            </p:nvSpPr>
            <p:spPr bwMode="gray">
              <a:xfrm>
                <a:off x="8080789" y="5326856"/>
                <a:ext cx="63086" cy="147638"/>
              </a:xfrm>
              <a:custGeom>
                <a:avLst/>
                <a:gdLst>
                  <a:gd name="connsiteX0" fmla="*/ 8317 w 63086"/>
                  <a:gd name="connsiteY0" fmla="*/ 0 h 147638"/>
                  <a:gd name="connsiteX1" fmla="*/ 5936 w 63086"/>
                  <a:gd name="connsiteY1" fmla="*/ 14288 h 147638"/>
                  <a:gd name="connsiteX2" fmla="*/ 5936 w 63086"/>
                  <a:gd name="connsiteY2" fmla="*/ 59532 h 147638"/>
                  <a:gd name="connsiteX3" fmla="*/ 41655 w 63086"/>
                  <a:gd name="connsiteY3" fmla="*/ 61913 h 147638"/>
                  <a:gd name="connsiteX4" fmla="*/ 48799 w 63086"/>
                  <a:gd name="connsiteY4" fmla="*/ 73819 h 147638"/>
                  <a:gd name="connsiteX5" fmla="*/ 53561 w 63086"/>
                  <a:gd name="connsiteY5" fmla="*/ 114300 h 147638"/>
                  <a:gd name="connsiteX6" fmla="*/ 58324 w 63086"/>
                  <a:gd name="connsiteY6" fmla="*/ 140494 h 147638"/>
                  <a:gd name="connsiteX7" fmla="*/ 63086 w 63086"/>
                  <a:gd name="connsiteY7" fmla="*/ 147638 h 14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86" h="147638">
                    <a:moveTo>
                      <a:pt x="8317" y="0"/>
                    </a:moveTo>
                    <a:cubicBezTo>
                      <a:pt x="7523" y="4763"/>
                      <a:pt x="6883" y="9553"/>
                      <a:pt x="5936" y="14288"/>
                    </a:cubicBezTo>
                    <a:cubicBezTo>
                      <a:pt x="3203" y="27953"/>
                      <a:pt x="-5932" y="47664"/>
                      <a:pt x="5936" y="59532"/>
                    </a:cubicBezTo>
                    <a:cubicBezTo>
                      <a:pt x="14374" y="67970"/>
                      <a:pt x="29749" y="61119"/>
                      <a:pt x="41655" y="61913"/>
                    </a:cubicBezTo>
                    <a:cubicBezTo>
                      <a:pt x="44036" y="65882"/>
                      <a:pt x="46919" y="69590"/>
                      <a:pt x="48799" y="73819"/>
                    </a:cubicBezTo>
                    <a:cubicBezTo>
                      <a:pt x="52904" y="83056"/>
                      <a:pt x="53413" y="112741"/>
                      <a:pt x="53561" y="114300"/>
                    </a:cubicBezTo>
                    <a:cubicBezTo>
                      <a:pt x="54141" y="120393"/>
                      <a:pt x="54746" y="133339"/>
                      <a:pt x="58324" y="140494"/>
                    </a:cubicBezTo>
                    <a:cubicBezTo>
                      <a:pt x="59604" y="143054"/>
                      <a:pt x="63086" y="147638"/>
                      <a:pt x="63086" y="147638"/>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grpSp>
        <p:grpSp>
          <p:nvGrpSpPr>
            <p:cNvPr id="302" name="Group 301">
              <a:extLst>
                <a:ext uri="{FF2B5EF4-FFF2-40B4-BE49-F238E27FC236}">
                  <a16:creationId xmlns:a16="http://schemas.microsoft.com/office/drawing/2014/main" id="{0E672B6E-272E-46E3-95E7-0BAAA8EE6AF8}"/>
                </a:ext>
              </a:extLst>
            </p:cNvPr>
            <p:cNvGrpSpPr/>
            <p:nvPr/>
          </p:nvGrpSpPr>
          <p:grpSpPr bwMode="gray">
            <a:xfrm>
              <a:off x="4695825" y="4136231"/>
              <a:ext cx="1669256" cy="223838"/>
              <a:chOff x="4695825" y="4136231"/>
              <a:chExt cx="1669256" cy="223838"/>
            </a:xfrm>
          </p:grpSpPr>
          <p:sp>
            <p:nvSpPr>
              <p:cNvPr id="539" name="Freeform: Shape 538">
                <a:extLst>
                  <a:ext uri="{FF2B5EF4-FFF2-40B4-BE49-F238E27FC236}">
                    <a16:creationId xmlns:a16="http://schemas.microsoft.com/office/drawing/2014/main" id="{8D9770DE-5C52-4A5F-A7C8-3FA9B8435D76}"/>
                  </a:ext>
                </a:extLst>
              </p:cNvPr>
              <p:cNvSpPr/>
              <p:nvPr/>
            </p:nvSpPr>
            <p:spPr bwMode="gray">
              <a:xfrm>
                <a:off x="5917406" y="4136231"/>
                <a:ext cx="447675" cy="223838"/>
              </a:xfrm>
              <a:custGeom>
                <a:avLst/>
                <a:gdLst>
                  <a:gd name="connsiteX0" fmla="*/ 0 w 447675"/>
                  <a:gd name="connsiteY0" fmla="*/ 223838 h 223838"/>
                  <a:gd name="connsiteX1" fmla="*/ 116682 w 447675"/>
                  <a:gd name="connsiteY1" fmla="*/ 166688 h 223838"/>
                  <a:gd name="connsiteX2" fmla="*/ 228600 w 447675"/>
                  <a:gd name="connsiteY2" fmla="*/ 150019 h 223838"/>
                  <a:gd name="connsiteX3" fmla="*/ 447675 w 447675"/>
                  <a:gd name="connsiteY3" fmla="*/ 0 h 223838"/>
                </a:gdLst>
                <a:ahLst/>
                <a:cxnLst>
                  <a:cxn ang="0">
                    <a:pos x="connsiteX0" y="connsiteY0"/>
                  </a:cxn>
                  <a:cxn ang="0">
                    <a:pos x="connsiteX1" y="connsiteY1"/>
                  </a:cxn>
                  <a:cxn ang="0">
                    <a:pos x="connsiteX2" y="connsiteY2"/>
                  </a:cxn>
                  <a:cxn ang="0">
                    <a:pos x="connsiteX3" y="connsiteY3"/>
                  </a:cxn>
                </a:cxnLst>
                <a:rect l="l" t="t" r="r" b="b"/>
                <a:pathLst>
                  <a:path w="447675" h="223838">
                    <a:moveTo>
                      <a:pt x="0" y="223838"/>
                    </a:moveTo>
                    <a:lnTo>
                      <a:pt x="116682" y="166688"/>
                    </a:lnTo>
                    <a:lnTo>
                      <a:pt x="228600" y="150019"/>
                    </a:lnTo>
                    <a:lnTo>
                      <a:pt x="447675"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40" name="Freeform: Shape 539">
                <a:extLst>
                  <a:ext uri="{FF2B5EF4-FFF2-40B4-BE49-F238E27FC236}">
                    <a16:creationId xmlns:a16="http://schemas.microsoft.com/office/drawing/2014/main" id="{989F4F38-022D-4CD5-9695-8B06C870742F}"/>
                  </a:ext>
                </a:extLst>
              </p:cNvPr>
              <p:cNvSpPr/>
              <p:nvPr/>
            </p:nvSpPr>
            <p:spPr bwMode="gray">
              <a:xfrm>
                <a:off x="4695825" y="4241006"/>
                <a:ext cx="242888" cy="57150"/>
              </a:xfrm>
              <a:custGeom>
                <a:avLst/>
                <a:gdLst>
                  <a:gd name="connsiteX0" fmla="*/ 0 w 242888"/>
                  <a:gd name="connsiteY0" fmla="*/ 0 h 57150"/>
                  <a:gd name="connsiteX1" fmla="*/ 64294 w 242888"/>
                  <a:gd name="connsiteY1" fmla="*/ 23813 h 57150"/>
                  <a:gd name="connsiteX2" fmla="*/ 128588 w 242888"/>
                  <a:gd name="connsiteY2" fmla="*/ 42863 h 57150"/>
                  <a:gd name="connsiteX3" fmla="*/ 188119 w 242888"/>
                  <a:gd name="connsiteY3" fmla="*/ 45244 h 57150"/>
                  <a:gd name="connsiteX4" fmla="*/ 242888 w 242888"/>
                  <a:gd name="connsiteY4" fmla="*/ 57150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888" h="57150">
                    <a:moveTo>
                      <a:pt x="0" y="0"/>
                    </a:moveTo>
                    <a:lnTo>
                      <a:pt x="64294" y="23813"/>
                    </a:lnTo>
                    <a:lnTo>
                      <a:pt x="128588" y="42863"/>
                    </a:lnTo>
                    <a:lnTo>
                      <a:pt x="188119" y="45244"/>
                    </a:lnTo>
                    <a:lnTo>
                      <a:pt x="242888" y="5715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grpSp>
        <p:grpSp>
          <p:nvGrpSpPr>
            <p:cNvPr id="303" name="Group 302">
              <a:extLst>
                <a:ext uri="{FF2B5EF4-FFF2-40B4-BE49-F238E27FC236}">
                  <a16:creationId xmlns:a16="http://schemas.microsoft.com/office/drawing/2014/main" id="{CF4AEF14-515A-4CAD-B42E-F8DEF81CDC54}"/>
                </a:ext>
              </a:extLst>
            </p:cNvPr>
            <p:cNvGrpSpPr/>
            <p:nvPr/>
          </p:nvGrpSpPr>
          <p:grpSpPr bwMode="gray">
            <a:xfrm>
              <a:off x="1841500" y="3889375"/>
              <a:ext cx="2857500" cy="1209675"/>
              <a:chOff x="1841500" y="3889375"/>
              <a:chExt cx="2857500" cy="1209675"/>
            </a:xfrm>
          </p:grpSpPr>
          <p:sp>
            <p:nvSpPr>
              <p:cNvPr id="514" name="Freeform: Shape 513">
                <a:extLst>
                  <a:ext uri="{FF2B5EF4-FFF2-40B4-BE49-F238E27FC236}">
                    <a16:creationId xmlns:a16="http://schemas.microsoft.com/office/drawing/2014/main" id="{599A29DD-F459-4244-8691-05ADBB1BED5C}"/>
                  </a:ext>
                </a:extLst>
              </p:cNvPr>
              <p:cNvSpPr/>
              <p:nvPr/>
            </p:nvSpPr>
            <p:spPr bwMode="gray">
              <a:xfrm>
                <a:off x="1841500" y="4810125"/>
                <a:ext cx="577850" cy="288925"/>
              </a:xfrm>
              <a:custGeom>
                <a:avLst/>
                <a:gdLst>
                  <a:gd name="connsiteX0" fmla="*/ 0 w 577850"/>
                  <a:gd name="connsiteY0" fmla="*/ 288925 h 288925"/>
                  <a:gd name="connsiteX1" fmla="*/ 127000 w 577850"/>
                  <a:gd name="connsiteY1" fmla="*/ 212725 h 288925"/>
                  <a:gd name="connsiteX2" fmla="*/ 225425 w 577850"/>
                  <a:gd name="connsiteY2" fmla="*/ 123825 h 288925"/>
                  <a:gd name="connsiteX3" fmla="*/ 295275 w 577850"/>
                  <a:gd name="connsiteY3" fmla="*/ 107950 h 288925"/>
                  <a:gd name="connsiteX4" fmla="*/ 336550 w 577850"/>
                  <a:gd name="connsiteY4" fmla="*/ 95250 h 288925"/>
                  <a:gd name="connsiteX5" fmla="*/ 381000 w 577850"/>
                  <a:gd name="connsiteY5" fmla="*/ 9525 h 288925"/>
                  <a:gd name="connsiteX6" fmla="*/ 457200 w 577850"/>
                  <a:gd name="connsiteY6" fmla="*/ 0 h 288925"/>
                  <a:gd name="connsiteX7" fmla="*/ 555625 w 577850"/>
                  <a:gd name="connsiteY7" fmla="*/ 50800 h 288925"/>
                  <a:gd name="connsiteX8" fmla="*/ 555625 w 577850"/>
                  <a:gd name="connsiteY8" fmla="*/ 107950 h 288925"/>
                  <a:gd name="connsiteX9" fmla="*/ 558800 w 577850"/>
                  <a:gd name="connsiteY9" fmla="*/ 146050 h 288925"/>
                  <a:gd name="connsiteX10" fmla="*/ 577850 w 577850"/>
                  <a:gd name="connsiteY10" fmla="*/ 152400 h 288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850" h="288925">
                    <a:moveTo>
                      <a:pt x="0" y="288925"/>
                    </a:moveTo>
                    <a:lnTo>
                      <a:pt x="127000" y="212725"/>
                    </a:lnTo>
                    <a:lnTo>
                      <a:pt x="225425" y="123825"/>
                    </a:lnTo>
                    <a:lnTo>
                      <a:pt x="295275" y="107950"/>
                    </a:lnTo>
                    <a:lnTo>
                      <a:pt x="336550" y="95250"/>
                    </a:lnTo>
                    <a:lnTo>
                      <a:pt x="381000" y="9525"/>
                    </a:lnTo>
                    <a:lnTo>
                      <a:pt x="457200" y="0"/>
                    </a:lnTo>
                    <a:lnTo>
                      <a:pt x="555625" y="50800"/>
                    </a:lnTo>
                    <a:lnTo>
                      <a:pt x="555625" y="107950"/>
                    </a:lnTo>
                    <a:lnTo>
                      <a:pt x="558800" y="146050"/>
                    </a:lnTo>
                    <a:lnTo>
                      <a:pt x="577850" y="15240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15" name="Freeform: Shape 514">
                <a:extLst>
                  <a:ext uri="{FF2B5EF4-FFF2-40B4-BE49-F238E27FC236}">
                    <a16:creationId xmlns:a16="http://schemas.microsoft.com/office/drawing/2014/main" id="{AA88CAD4-2D2F-4364-A74C-A8596404B952}"/>
                  </a:ext>
                </a:extLst>
              </p:cNvPr>
              <p:cNvSpPr/>
              <p:nvPr/>
            </p:nvSpPr>
            <p:spPr bwMode="gray">
              <a:xfrm>
                <a:off x="2330450" y="4908550"/>
                <a:ext cx="69850" cy="79375"/>
              </a:xfrm>
              <a:custGeom>
                <a:avLst/>
                <a:gdLst>
                  <a:gd name="connsiteX0" fmla="*/ 0 w 69850"/>
                  <a:gd name="connsiteY0" fmla="*/ 79375 h 79375"/>
                  <a:gd name="connsiteX1" fmla="*/ 25400 w 69850"/>
                  <a:gd name="connsiteY1" fmla="*/ 25400 h 79375"/>
                  <a:gd name="connsiteX2" fmla="*/ 69850 w 69850"/>
                  <a:gd name="connsiteY2" fmla="*/ 0 h 79375"/>
                </a:gdLst>
                <a:ahLst/>
                <a:cxnLst>
                  <a:cxn ang="0">
                    <a:pos x="connsiteX0" y="connsiteY0"/>
                  </a:cxn>
                  <a:cxn ang="0">
                    <a:pos x="connsiteX1" y="connsiteY1"/>
                  </a:cxn>
                  <a:cxn ang="0">
                    <a:pos x="connsiteX2" y="connsiteY2"/>
                  </a:cxn>
                </a:cxnLst>
                <a:rect l="l" t="t" r="r" b="b"/>
                <a:pathLst>
                  <a:path w="69850" h="79375">
                    <a:moveTo>
                      <a:pt x="0" y="79375"/>
                    </a:moveTo>
                    <a:lnTo>
                      <a:pt x="25400" y="25400"/>
                    </a:lnTo>
                    <a:lnTo>
                      <a:pt x="6985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16" name="Freeform: Shape 515">
                <a:extLst>
                  <a:ext uri="{FF2B5EF4-FFF2-40B4-BE49-F238E27FC236}">
                    <a16:creationId xmlns:a16="http://schemas.microsoft.com/office/drawing/2014/main" id="{5B6BBA1F-E919-408F-A0DD-83ABE8EC2052}"/>
                  </a:ext>
                </a:extLst>
              </p:cNvPr>
              <p:cNvSpPr/>
              <p:nvPr/>
            </p:nvSpPr>
            <p:spPr bwMode="gray">
              <a:xfrm>
                <a:off x="2279650" y="4533900"/>
                <a:ext cx="488950" cy="269875"/>
              </a:xfrm>
              <a:custGeom>
                <a:avLst/>
                <a:gdLst>
                  <a:gd name="connsiteX0" fmla="*/ 0 w 488950"/>
                  <a:gd name="connsiteY0" fmla="*/ 269875 h 269875"/>
                  <a:gd name="connsiteX1" fmla="*/ 47625 w 488950"/>
                  <a:gd name="connsiteY1" fmla="*/ 212725 h 269875"/>
                  <a:gd name="connsiteX2" fmla="*/ 120650 w 488950"/>
                  <a:gd name="connsiteY2" fmla="*/ 168275 h 269875"/>
                  <a:gd name="connsiteX3" fmla="*/ 225425 w 488950"/>
                  <a:gd name="connsiteY3" fmla="*/ 130175 h 269875"/>
                  <a:gd name="connsiteX4" fmla="*/ 219075 w 488950"/>
                  <a:gd name="connsiteY4" fmla="*/ 104775 h 269875"/>
                  <a:gd name="connsiteX5" fmla="*/ 222250 w 488950"/>
                  <a:gd name="connsiteY5" fmla="*/ 142875 h 269875"/>
                  <a:gd name="connsiteX6" fmla="*/ 288925 w 488950"/>
                  <a:gd name="connsiteY6" fmla="*/ 139700 h 269875"/>
                  <a:gd name="connsiteX7" fmla="*/ 419100 w 488950"/>
                  <a:gd name="connsiteY7" fmla="*/ 63500 h 269875"/>
                  <a:gd name="connsiteX8" fmla="*/ 469900 w 488950"/>
                  <a:gd name="connsiteY8" fmla="*/ 38100 h 269875"/>
                  <a:gd name="connsiteX9" fmla="*/ 488950 w 488950"/>
                  <a:gd name="connsiteY9" fmla="*/ 0 h 26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950" h="269875">
                    <a:moveTo>
                      <a:pt x="0" y="269875"/>
                    </a:moveTo>
                    <a:lnTo>
                      <a:pt x="47625" y="212725"/>
                    </a:lnTo>
                    <a:lnTo>
                      <a:pt x="120650" y="168275"/>
                    </a:lnTo>
                    <a:lnTo>
                      <a:pt x="225425" y="130175"/>
                    </a:lnTo>
                    <a:lnTo>
                      <a:pt x="219075" y="104775"/>
                    </a:lnTo>
                    <a:lnTo>
                      <a:pt x="222250" y="142875"/>
                    </a:lnTo>
                    <a:lnTo>
                      <a:pt x="288925" y="139700"/>
                    </a:lnTo>
                    <a:lnTo>
                      <a:pt x="419100" y="63500"/>
                    </a:lnTo>
                    <a:lnTo>
                      <a:pt x="469900" y="38100"/>
                    </a:lnTo>
                    <a:lnTo>
                      <a:pt x="48895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17" name="Freeform: Shape 516">
                <a:extLst>
                  <a:ext uri="{FF2B5EF4-FFF2-40B4-BE49-F238E27FC236}">
                    <a16:creationId xmlns:a16="http://schemas.microsoft.com/office/drawing/2014/main" id="{3739264D-BED4-4B2C-AA3E-F19941186081}"/>
                  </a:ext>
                </a:extLst>
              </p:cNvPr>
              <p:cNvSpPr/>
              <p:nvPr/>
            </p:nvSpPr>
            <p:spPr bwMode="gray">
              <a:xfrm>
                <a:off x="2619375" y="4645025"/>
                <a:ext cx="92075" cy="168275"/>
              </a:xfrm>
              <a:custGeom>
                <a:avLst/>
                <a:gdLst>
                  <a:gd name="connsiteX0" fmla="*/ 92075 w 92075"/>
                  <a:gd name="connsiteY0" fmla="*/ 168275 h 168275"/>
                  <a:gd name="connsiteX1" fmla="*/ 66675 w 92075"/>
                  <a:gd name="connsiteY1" fmla="*/ 98425 h 168275"/>
                  <a:gd name="connsiteX2" fmla="*/ 53975 w 92075"/>
                  <a:gd name="connsiteY2" fmla="*/ 60325 h 168275"/>
                  <a:gd name="connsiteX3" fmla="*/ 0 w 92075"/>
                  <a:gd name="connsiteY3" fmla="*/ 0 h 168275"/>
                </a:gdLst>
                <a:ahLst/>
                <a:cxnLst>
                  <a:cxn ang="0">
                    <a:pos x="connsiteX0" y="connsiteY0"/>
                  </a:cxn>
                  <a:cxn ang="0">
                    <a:pos x="connsiteX1" y="connsiteY1"/>
                  </a:cxn>
                  <a:cxn ang="0">
                    <a:pos x="connsiteX2" y="connsiteY2"/>
                  </a:cxn>
                  <a:cxn ang="0">
                    <a:pos x="connsiteX3" y="connsiteY3"/>
                  </a:cxn>
                </a:cxnLst>
                <a:rect l="l" t="t" r="r" b="b"/>
                <a:pathLst>
                  <a:path w="92075" h="168275">
                    <a:moveTo>
                      <a:pt x="92075" y="168275"/>
                    </a:moveTo>
                    <a:lnTo>
                      <a:pt x="66675" y="98425"/>
                    </a:lnTo>
                    <a:lnTo>
                      <a:pt x="53975" y="60325"/>
                    </a:lnTo>
                    <a:lnTo>
                      <a:pt x="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18" name="Freeform: Shape 517">
                <a:extLst>
                  <a:ext uri="{FF2B5EF4-FFF2-40B4-BE49-F238E27FC236}">
                    <a16:creationId xmlns:a16="http://schemas.microsoft.com/office/drawing/2014/main" id="{22C49E01-F349-4A87-96F7-15F568134541}"/>
                  </a:ext>
                </a:extLst>
              </p:cNvPr>
              <p:cNvSpPr/>
              <p:nvPr/>
            </p:nvSpPr>
            <p:spPr bwMode="gray">
              <a:xfrm>
                <a:off x="2381250" y="4203700"/>
                <a:ext cx="111125" cy="79375"/>
              </a:xfrm>
              <a:custGeom>
                <a:avLst/>
                <a:gdLst>
                  <a:gd name="connsiteX0" fmla="*/ 0 w 111125"/>
                  <a:gd name="connsiteY0" fmla="*/ 79375 h 79375"/>
                  <a:gd name="connsiteX1" fmla="*/ 111125 w 111125"/>
                  <a:gd name="connsiteY1" fmla="*/ 0 h 79375"/>
                </a:gdLst>
                <a:ahLst/>
                <a:cxnLst>
                  <a:cxn ang="0">
                    <a:pos x="connsiteX0" y="connsiteY0"/>
                  </a:cxn>
                  <a:cxn ang="0">
                    <a:pos x="connsiteX1" y="connsiteY1"/>
                  </a:cxn>
                </a:cxnLst>
                <a:rect l="l" t="t" r="r" b="b"/>
                <a:pathLst>
                  <a:path w="111125" h="79375">
                    <a:moveTo>
                      <a:pt x="0" y="79375"/>
                    </a:moveTo>
                    <a:lnTo>
                      <a:pt x="111125"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19" name="Freeform: Shape 518">
                <a:extLst>
                  <a:ext uri="{FF2B5EF4-FFF2-40B4-BE49-F238E27FC236}">
                    <a16:creationId xmlns:a16="http://schemas.microsoft.com/office/drawing/2014/main" id="{C379FD65-BFC3-4D63-9A46-DABF8BC608AF}"/>
                  </a:ext>
                </a:extLst>
              </p:cNvPr>
              <p:cNvSpPr/>
              <p:nvPr/>
            </p:nvSpPr>
            <p:spPr bwMode="gray">
              <a:xfrm>
                <a:off x="2286000" y="4029075"/>
                <a:ext cx="260350" cy="304800"/>
              </a:xfrm>
              <a:custGeom>
                <a:avLst/>
                <a:gdLst>
                  <a:gd name="connsiteX0" fmla="*/ 0 w 260350"/>
                  <a:gd name="connsiteY0" fmla="*/ 0 h 304800"/>
                  <a:gd name="connsiteX1" fmla="*/ 25400 w 260350"/>
                  <a:gd name="connsiteY1" fmla="*/ 47625 h 304800"/>
                  <a:gd name="connsiteX2" fmla="*/ 82550 w 260350"/>
                  <a:gd name="connsiteY2" fmla="*/ 73025 h 304800"/>
                  <a:gd name="connsiteX3" fmla="*/ 127000 w 260350"/>
                  <a:gd name="connsiteY3" fmla="*/ 101600 h 304800"/>
                  <a:gd name="connsiteX4" fmla="*/ 142875 w 260350"/>
                  <a:gd name="connsiteY4" fmla="*/ 117475 h 304800"/>
                  <a:gd name="connsiteX5" fmla="*/ 184150 w 260350"/>
                  <a:gd name="connsiteY5" fmla="*/ 136525 h 304800"/>
                  <a:gd name="connsiteX6" fmla="*/ 200025 w 260350"/>
                  <a:gd name="connsiteY6" fmla="*/ 165100 h 304800"/>
                  <a:gd name="connsiteX7" fmla="*/ 212725 w 260350"/>
                  <a:gd name="connsiteY7" fmla="*/ 180975 h 304800"/>
                  <a:gd name="connsiteX8" fmla="*/ 215900 w 260350"/>
                  <a:gd name="connsiteY8" fmla="*/ 247650 h 304800"/>
                  <a:gd name="connsiteX9" fmla="*/ 260350 w 260350"/>
                  <a:gd name="connsiteY9"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0350" h="304800">
                    <a:moveTo>
                      <a:pt x="0" y="0"/>
                    </a:moveTo>
                    <a:lnTo>
                      <a:pt x="25400" y="47625"/>
                    </a:lnTo>
                    <a:lnTo>
                      <a:pt x="82550" y="73025"/>
                    </a:lnTo>
                    <a:lnTo>
                      <a:pt x="127000" y="101600"/>
                    </a:lnTo>
                    <a:lnTo>
                      <a:pt x="142875" y="117475"/>
                    </a:lnTo>
                    <a:lnTo>
                      <a:pt x="184150" y="136525"/>
                    </a:lnTo>
                    <a:lnTo>
                      <a:pt x="200025" y="165100"/>
                    </a:lnTo>
                    <a:lnTo>
                      <a:pt x="212725" y="180975"/>
                    </a:lnTo>
                    <a:lnTo>
                      <a:pt x="215900" y="247650"/>
                    </a:lnTo>
                    <a:lnTo>
                      <a:pt x="260350" y="30480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20" name="Freeform: Shape 519">
                <a:extLst>
                  <a:ext uri="{FF2B5EF4-FFF2-40B4-BE49-F238E27FC236}">
                    <a16:creationId xmlns:a16="http://schemas.microsoft.com/office/drawing/2014/main" id="{35EC3A62-B0DF-4D11-87D8-FA12C320E9BB}"/>
                  </a:ext>
                </a:extLst>
              </p:cNvPr>
              <p:cNvSpPr/>
              <p:nvPr/>
            </p:nvSpPr>
            <p:spPr bwMode="gray">
              <a:xfrm>
                <a:off x="2628900" y="4683050"/>
                <a:ext cx="22516" cy="3250"/>
              </a:xfrm>
              <a:custGeom>
                <a:avLst/>
                <a:gdLst>
                  <a:gd name="connsiteX0" fmla="*/ 0 w 22516"/>
                  <a:gd name="connsiteY0" fmla="*/ 3250 h 3250"/>
                  <a:gd name="connsiteX1" fmla="*/ 22225 w 22516"/>
                  <a:gd name="connsiteY1" fmla="*/ 75 h 3250"/>
                  <a:gd name="connsiteX2" fmla="*/ 0 w 22516"/>
                  <a:gd name="connsiteY2" fmla="*/ 3250 h 3250"/>
                </a:gdLst>
                <a:ahLst/>
                <a:cxnLst>
                  <a:cxn ang="0">
                    <a:pos x="connsiteX0" y="connsiteY0"/>
                  </a:cxn>
                  <a:cxn ang="0">
                    <a:pos x="connsiteX1" y="connsiteY1"/>
                  </a:cxn>
                  <a:cxn ang="0">
                    <a:pos x="connsiteX2" y="connsiteY2"/>
                  </a:cxn>
                </a:cxnLst>
                <a:rect l="l" t="t" r="r" b="b"/>
                <a:pathLst>
                  <a:path w="22516" h="3250">
                    <a:moveTo>
                      <a:pt x="0" y="3250"/>
                    </a:moveTo>
                    <a:cubicBezTo>
                      <a:pt x="0" y="3250"/>
                      <a:pt x="14887" y="1543"/>
                      <a:pt x="22225" y="75"/>
                    </a:cubicBezTo>
                    <a:cubicBezTo>
                      <a:pt x="25507" y="-581"/>
                      <a:pt x="0" y="3250"/>
                      <a:pt x="0" y="3250"/>
                    </a:cubicBezTo>
                    <a:close/>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21" name="Freeform: Shape 520">
                <a:extLst>
                  <a:ext uri="{FF2B5EF4-FFF2-40B4-BE49-F238E27FC236}">
                    <a16:creationId xmlns:a16="http://schemas.microsoft.com/office/drawing/2014/main" id="{DC788DF1-10BE-4A04-83A2-E086BAA40AC2}"/>
                  </a:ext>
                </a:extLst>
              </p:cNvPr>
              <p:cNvSpPr/>
              <p:nvPr/>
            </p:nvSpPr>
            <p:spPr bwMode="gray">
              <a:xfrm>
                <a:off x="2743200" y="4495800"/>
                <a:ext cx="136525" cy="76200"/>
              </a:xfrm>
              <a:custGeom>
                <a:avLst/>
                <a:gdLst>
                  <a:gd name="connsiteX0" fmla="*/ 0 w 136525"/>
                  <a:gd name="connsiteY0" fmla="*/ 76200 h 76200"/>
                  <a:gd name="connsiteX1" fmla="*/ 76200 w 136525"/>
                  <a:gd name="connsiteY1" fmla="*/ 57150 h 76200"/>
                  <a:gd name="connsiteX2" fmla="*/ 136525 w 136525"/>
                  <a:gd name="connsiteY2" fmla="*/ 41275 h 76200"/>
                  <a:gd name="connsiteX3" fmla="*/ 120650 w 136525"/>
                  <a:gd name="connsiteY3" fmla="*/ 0 h 76200"/>
                </a:gdLst>
                <a:ahLst/>
                <a:cxnLst>
                  <a:cxn ang="0">
                    <a:pos x="connsiteX0" y="connsiteY0"/>
                  </a:cxn>
                  <a:cxn ang="0">
                    <a:pos x="connsiteX1" y="connsiteY1"/>
                  </a:cxn>
                  <a:cxn ang="0">
                    <a:pos x="connsiteX2" y="connsiteY2"/>
                  </a:cxn>
                  <a:cxn ang="0">
                    <a:pos x="connsiteX3" y="connsiteY3"/>
                  </a:cxn>
                </a:cxnLst>
                <a:rect l="l" t="t" r="r" b="b"/>
                <a:pathLst>
                  <a:path w="136525" h="76200">
                    <a:moveTo>
                      <a:pt x="0" y="76200"/>
                    </a:moveTo>
                    <a:lnTo>
                      <a:pt x="76200" y="57150"/>
                    </a:lnTo>
                    <a:lnTo>
                      <a:pt x="136525" y="41275"/>
                    </a:lnTo>
                    <a:lnTo>
                      <a:pt x="12065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22" name="Freeform: Shape 521">
                <a:extLst>
                  <a:ext uri="{FF2B5EF4-FFF2-40B4-BE49-F238E27FC236}">
                    <a16:creationId xmlns:a16="http://schemas.microsoft.com/office/drawing/2014/main" id="{C994F351-E219-459F-879D-9E258CD4EDDB}"/>
                  </a:ext>
                </a:extLst>
              </p:cNvPr>
              <p:cNvSpPr/>
              <p:nvPr/>
            </p:nvSpPr>
            <p:spPr bwMode="gray">
              <a:xfrm>
                <a:off x="2847975" y="4473575"/>
                <a:ext cx="82550" cy="41275"/>
              </a:xfrm>
              <a:custGeom>
                <a:avLst/>
                <a:gdLst>
                  <a:gd name="connsiteX0" fmla="*/ 0 w 82550"/>
                  <a:gd name="connsiteY0" fmla="*/ 41275 h 41275"/>
                  <a:gd name="connsiteX1" fmla="*/ 60325 w 82550"/>
                  <a:gd name="connsiteY1" fmla="*/ 34925 h 41275"/>
                  <a:gd name="connsiteX2" fmla="*/ 82550 w 82550"/>
                  <a:gd name="connsiteY2" fmla="*/ 0 h 41275"/>
                  <a:gd name="connsiteX3" fmla="*/ 82550 w 82550"/>
                  <a:gd name="connsiteY3" fmla="*/ 0 h 41275"/>
                </a:gdLst>
                <a:ahLst/>
                <a:cxnLst>
                  <a:cxn ang="0">
                    <a:pos x="connsiteX0" y="connsiteY0"/>
                  </a:cxn>
                  <a:cxn ang="0">
                    <a:pos x="connsiteX1" y="connsiteY1"/>
                  </a:cxn>
                  <a:cxn ang="0">
                    <a:pos x="connsiteX2" y="connsiteY2"/>
                  </a:cxn>
                  <a:cxn ang="0">
                    <a:pos x="connsiteX3" y="connsiteY3"/>
                  </a:cxn>
                </a:cxnLst>
                <a:rect l="l" t="t" r="r" b="b"/>
                <a:pathLst>
                  <a:path w="82550" h="41275">
                    <a:moveTo>
                      <a:pt x="0" y="41275"/>
                    </a:moveTo>
                    <a:lnTo>
                      <a:pt x="60325" y="34925"/>
                    </a:lnTo>
                    <a:lnTo>
                      <a:pt x="82550" y="0"/>
                    </a:lnTo>
                    <a:lnTo>
                      <a:pt x="8255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23" name="Freeform: Shape 522">
                <a:extLst>
                  <a:ext uri="{FF2B5EF4-FFF2-40B4-BE49-F238E27FC236}">
                    <a16:creationId xmlns:a16="http://schemas.microsoft.com/office/drawing/2014/main" id="{E097EB1C-E845-47D8-A02C-6D408FCF7D49}"/>
                  </a:ext>
                </a:extLst>
              </p:cNvPr>
              <p:cNvSpPr/>
              <p:nvPr/>
            </p:nvSpPr>
            <p:spPr bwMode="gray">
              <a:xfrm>
                <a:off x="2892425" y="4495800"/>
                <a:ext cx="441325" cy="374650"/>
              </a:xfrm>
              <a:custGeom>
                <a:avLst/>
                <a:gdLst>
                  <a:gd name="connsiteX0" fmla="*/ 0 w 441325"/>
                  <a:gd name="connsiteY0" fmla="*/ 0 h 374650"/>
                  <a:gd name="connsiteX1" fmla="*/ 63500 w 441325"/>
                  <a:gd name="connsiteY1" fmla="*/ 47625 h 374650"/>
                  <a:gd name="connsiteX2" fmla="*/ 117475 w 441325"/>
                  <a:gd name="connsiteY2" fmla="*/ 69850 h 374650"/>
                  <a:gd name="connsiteX3" fmla="*/ 168275 w 441325"/>
                  <a:gd name="connsiteY3" fmla="*/ 95250 h 374650"/>
                  <a:gd name="connsiteX4" fmla="*/ 244475 w 441325"/>
                  <a:gd name="connsiteY4" fmla="*/ 101600 h 374650"/>
                  <a:gd name="connsiteX5" fmla="*/ 282575 w 441325"/>
                  <a:gd name="connsiteY5" fmla="*/ 101600 h 374650"/>
                  <a:gd name="connsiteX6" fmla="*/ 336550 w 441325"/>
                  <a:gd name="connsiteY6" fmla="*/ 133350 h 374650"/>
                  <a:gd name="connsiteX7" fmla="*/ 349250 w 441325"/>
                  <a:gd name="connsiteY7" fmla="*/ 222250 h 374650"/>
                  <a:gd name="connsiteX8" fmla="*/ 374650 w 441325"/>
                  <a:gd name="connsiteY8" fmla="*/ 234950 h 374650"/>
                  <a:gd name="connsiteX9" fmla="*/ 365125 w 441325"/>
                  <a:gd name="connsiteY9" fmla="*/ 254000 h 374650"/>
                  <a:gd name="connsiteX10" fmla="*/ 419100 w 441325"/>
                  <a:gd name="connsiteY10" fmla="*/ 342900 h 374650"/>
                  <a:gd name="connsiteX11" fmla="*/ 441325 w 441325"/>
                  <a:gd name="connsiteY11" fmla="*/ 374650 h 37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1325" h="374650">
                    <a:moveTo>
                      <a:pt x="0" y="0"/>
                    </a:moveTo>
                    <a:lnTo>
                      <a:pt x="63500" y="47625"/>
                    </a:lnTo>
                    <a:lnTo>
                      <a:pt x="117475" y="69850"/>
                    </a:lnTo>
                    <a:lnTo>
                      <a:pt x="168275" y="95250"/>
                    </a:lnTo>
                    <a:lnTo>
                      <a:pt x="244475" y="101600"/>
                    </a:lnTo>
                    <a:lnTo>
                      <a:pt x="282575" y="101600"/>
                    </a:lnTo>
                    <a:lnTo>
                      <a:pt x="336550" y="133350"/>
                    </a:lnTo>
                    <a:lnTo>
                      <a:pt x="349250" y="222250"/>
                    </a:lnTo>
                    <a:lnTo>
                      <a:pt x="374650" y="234950"/>
                    </a:lnTo>
                    <a:lnTo>
                      <a:pt x="365125" y="254000"/>
                    </a:lnTo>
                    <a:lnTo>
                      <a:pt x="419100" y="342900"/>
                    </a:lnTo>
                    <a:lnTo>
                      <a:pt x="441325" y="37465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24" name="Freeform: Shape 523">
                <a:extLst>
                  <a:ext uri="{FF2B5EF4-FFF2-40B4-BE49-F238E27FC236}">
                    <a16:creationId xmlns:a16="http://schemas.microsoft.com/office/drawing/2014/main" id="{845CAAE2-1D29-46D7-AFB4-66FDE05C56C5}"/>
                  </a:ext>
                </a:extLst>
              </p:cNvPr>
              <p:cNvSpPr/>
              <p:nvPr/>
            </p:nvSpPr>
            <p:spPr bwMode="gray">
              <a:xfrm>
                <a:off x="3136900" y="4730750"/>
                <a:ext cx="127000" cy="142875"/>
              </a:xfrm>
              <a:custGeom>
                <a:avLst/>
                <a:gdLst>
                  <a:gd name="connsiteX0" fmla="*/ 0 w 127000"/>
                  <a:gd name="connsiteY0" fmla="*/ 142875 h 142875"/>
                  <a:gd name="connsiteX1" fmla="*/ 50800 w 127000"/>
                  <a:gd name="connsiteY1" fmla="*/ 88900 h 142875"/>
                  <a:gd name="connsiteX2" fmla="*/ 57150 w 127000"/>
                  <a:gd name="connsiteY2" fmla="*/ 41275 h 142875"/>
                  <a:gd name="connsiteX3" fmla="*/ 88900 w 127000"/>
                  <a:gd name="connsiteY3" fmla="*/ 28575 h 142875"/>
                  <a:gd name="connsiteX4" fmla="*/ 127000 w 127000"/>
                  <a:gd name="connsiteY4" fmla="*/ 0 h 14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00" h="142875">
                    <a:moveTo>
                      <a:pt x="0" y="142875"/>
                    </a:moveTo>
                    <a:lnTo>
                      <a:pt x="50800" y="88900"/>
                    </a:lnTo>
                    <a:lnTo>
                      <a:pt x="57150" y="41275"/>
                    </a:lnTo>
                    <a:lnTo>
                      <a:pt x="88900" y="28575"/>
                    </a:lnTo>
                    <a:lnTo>
                      <a:pt x="12700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25" name="Freeform: Shape 524">
                <a:extLst>
                  <a:ext uri="{FF2B5EF4-FFF2-40B4-BE49-F238E27FC236}">
                    <a16:creationId xmlns:a16="http://schemas.microsoft.com/office/drawing/2014/main" id="{07371319-44C0-4E58-A9A0-BC6121BCA7AC}"/>
                  </a:ext>
                </a:extLst>
              </p:cNvPr>
              <p:cNvSpPr/>
              <p:nvPr/>
            </p:nvSpPr>
            <p:spPr bwMode="gray">
              <a:xfrm>
                <a:off x="2968625" y="4413250"/>
                <a:ext cx="67028" cy="152400"/>
              </a:xfrm>
              <a:custGeom>
                <a:avLst/>
                <a:gdLst>
                  <a:gd name="connsiteX0" fmla="*/ 38100 w 67028"/>
                  <a:gd name="connsiteY0" fmla="*/ 152400 h 152400"/>
                  <a:gd name="connsiteX1" fmla="*/ 66675 w 67028"/>
                  <a:gd name="connsiteY1" fmla="*/ 136525 h 152400"/>
                  <a:gd name="connsiteX2" fmla="*/ 63500 w 67028"/>
                  <a:gd name="connsiteY2" fmla="*/ 114300 h 152400"/>
                  <a:gd name="connsiteX3" fmla="*/ 57150 w 67028"/>
                  <a:gd name="connsiteY3" fmla="*/ 82550 h 152400"/>
                  <a:gd name="connsiteX4" fmla="*/ 50800 w 67028"/>
                  <a:gd name="connsiteY4" fmla="*/ 73025 h 152400"/>
                  <a:gd name="connsiteX5" fmla="*/ 44450 w 67028"/>
                  <a:gd name="connsiteY5" fmla="*/ 60325 h 152400"/>
                  <a:gd name="connsiteX6" fmla="*/ 41275 w 67028"/>
                  <a:gd name="connsiteY6" fmla="*/ 44450 h 152400"/>
                  <a:gd name="connsiteX7" fmla="*/ 22225 w 67028"/>
                  <a:gd name="connsiteY7" fmla="*/ 28575 h 152400"/>
                  <a:gd name="connsiteX8" fmla="*/ 9525 w 67028"/>
                  <a:gd name="connsiteY8" fmla="*/ 19050 h 152400"/>
                  <a:gd name="connsiteX9" fmla="*/ 0 w 67028"/>
                  <a:gd name="connsiteY9" fmla="*/ 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028" h="152400">
                    <a:moveTo>
                      <a:pt x="38100" y="152400"/>
                    </a:moveTo>
                    <a:cubicBezTo>
                      <a:pt x="43191" y="150703"/>
                      <a:pt x="64638" y="146709"/>
                      <a:pt x="66675" y="136525"/>
                    </a:cubicBezTo>
                    <a:cubicBezTo>
                      <a:pt x="68143" y="129187"/>
                      <a:pt x="64638" y="121697"/>
                      <a:pt x="63500" y="114300"/>
                    </a:cubicBezTo>
                    <a:cubicBezTo>
                      <a:pt x="62870" y="110203"/>
                      <a:pt x="59675" y="88442"/>
                      <a:pt x="57150" y="82550"/>
                    </a:cubicBezTo>
                    <a:cubicBezTo>
                      <a:pt x="55647" y="79043"/>
                      <a:pt x="52693" y="76338"/>
                      <a:pt x="50800" y="73025"/>
                    </a:cubicBezTo>
                    <a:cubicBezTo>
                      <a:pt x="48452" y="68916"/>
                      <a:pt x="46567" y="64558"/>
                      <a:pt x="44450" y="60325"/>
                    </a:cubicBezTo>
                    <a:cubicBezTo>
                      <a:pt x="43392" y="55033"/>
                      <a:pt x="43170" y="49503"/>
                      <a:pt x="41275" y="44450"/>
                    </a:cubicBezTo>
                    <a:cubicBezTo>
                      <a:pt x="36633" y="32071"/>
                      <a:pt x="32963" y="35286"/>
                      <a:pt x="22225" y="28575"/>
                    </a:cubicBezTo>
                    <a:cubicBezTo>
                      <a:pt x="17738" y="25770"/>
                      <a:pt x="13758" y="22225"/>
                      <a:pt x="9525" y="19050"/>
                    </a:cubicBezTo>
                    <a:lnTo>
                      <a:pt x="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26" name="Freeform: Shape 525">
                <a:extLst>
                  <a:ext uri="{FF2B5EF4-FFF2-40B4-BE49-F238E27FC236}">
                    <a16:creationId xmlns:a16="http://schemas.microsoft.com/office/drawing/2014/main" id="{BFD83ACF-30D2-4D7E-9A72-C3A36231E4FD}"/>
                  </a:ext>
                </a:extLst>
              </p:cNvPr>
              <p:cNvSpPr/>
              <p:nvPr/>
            </p:nvSpPr>
            <p:spPr bwMode="gray">
              <a:xfrm>
                <a:off x="3098800" y="3889375"/>
                <a:ext cx="1317625" cy="762000"/>
              </a:xfrm>
              <a:custGeom>
                <a:avLst/>
                <a:gdLst>
                  <a:gd name="connsiteX0" fmla="*/ 0 w 1317625"/>
                  <a:gd name="connsiteY0" fmla="*/ 762000 h 762000"/>
                  <a:gd name="connsiteX1" fmla="*/ 79375 w 1317625"/>
                  <a:gd name="connsiteY1" fmla="*/ 762000 h 762000"/>
                  <a:gd name="connsiteX2" fmla="*/ 120650 w 1317625"/>
                  <a:gd name="connsiteY2" fmla="*/ 752475 h 762000"/>
                  <a:gd name="connsiteX3" fmla="*/ 158750 w 1317625"/>
                  <a:gd name="connsiteY3" fmla="*/ 736600 h 762000"/>
                  <a:gd name="connsiteX4" fmla="*/ 190500 w 1317625"/>
                  <a:gd name="connsiteY4" fmla="*/ 742950 h 762000"/>
                  <a:gd name="connsiteX5" fmla="*/ 250825 w 1317625"/>
                  <a:gd name="connsiteY5" fmla="*/ 685800 h 762000"/>
                  <a:gd name="connsiteX6" fmla="*/ 304800 w 1317625"/>
                  <a:gd name="connsiteY6" fmla="*/ 673100 h 762000"/>
                  <a:gd name="connsiteX7" fmla="*/ 387350 w 1317625"/>
                  <a:gd name="connsiteY7" fmla="*/ 654050 h 762000"/>
                  <a:gd name="connsiteX8" fmla="*/ 479425 w 1317625"/>
                  <a:gd name="connsiteY8" fmla="*/ 596900 h 762000"/>
                  <a:gd name="connsiteX9" fmla="*/ 517525 w 1317625"/>
                  <a:gd name="connsiteY9" fmla="*/ 539750 h 762000"/>
                  <a:gd name="connsiteX10" fmla="*/ 596900 w 1317625"/>
                  <a:gd name="connsiteY10" fmla="*/ 498475 h 762000"/>
                  <a:gd name="connsiteX11" fmla="*/ 663575 w 1317625"/>
                  <a:gd name="connsiteY11" fmla="*/ 457200 h 762000"/>
                  <a:gd name="connsiteX12" fmla="*/ 742950 w 1317625"/>
                  <a:gd name="connsiteY12" fmla="*/ 400050 h 762000"/>
                  <a:gd name="connsiteX13" fmla="*/ 850900 w 1317625"/>
                  <a:gd name="connsiteY13" fmla="*/ 327025 h 762000"/>
                  <a:gd name="connsiteX14" fmla="*/ 917575 w 1317625"/>
                  <a:gd name="connsiteY14" fmla="*/ 320675 h 762000"/>
                  <a:gd name="connsiteX15" fmla="*/ 981075 w 1317625"/>
                  <a:gd name="connsiteY15" fmla="*/ 228600 h 762000"/>
                  <a:gd name="connsiteX16" fmla="*/ 1057275 w 1317625"/>
                  <a:gd name="connsiteY16" fmla="*/ 152400 h 762000"/>
                  <a:gd name="connsiteX17" fmla="*/ 1095375 w 1317625"/>
                  <a:gd name="connsiteY17" fmla="*/ 111125 h 762000"/>
                  <a:gd name="connsiteX18" fmla="*/ 1120775 w 1317625"/>
                  <a:gd name="connsiteY18" fmla="*/ 31750 h 762000"/>
                  <a:gd name="connsiteX19" fmla="*/ 1244600 w 1317625"/>
                  <a:gd name="connsiteY19" fmla="*/ 28575 h 762000"/>
                  <a:gd name="connsiteX20" fmla="*/ 1317625 w 1317625"/>
                  <a:gd name="connsiteY20" fmla="*/ 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17625" h="762000">
                    <a:moveTo>
                      <a:pt x="0" y="762000"/>
                    </a:moveTo>
                    <a:lnTo>
                      <a:pt x="79375" y="762000"/>
                    </a:lnTo>
                    <a:lnTo>
                      <a:pt x="120650" y="752475"/>
                    </a:lnTo>
                    <a:lnTo>
                      <a:pt x="158750" y="736600"/>
                    </a:lnTo>
                    <a:lnTo>
                      <a:pt x="190500" y="742950"/>
                    </a:lnTo>
                    <a:lnTo>
                      <a:pt x="250825" y="685800"/>
                    </a:lnTo>
                    <a:lnTo>
                      <a:pt x="304800" y="673100"/>
                    </a:lnTo>
                    <a:lnTo>
                      <a:pt x="387350" y="654050"/>
                    </a:lnTo>
                    <a:lnTo>
                      <a:pt x="479425" y="596900"/>
                    </a:lnTo>
                    <a:lnTo>
                      <a:pt x="517525" y="539750"/>
                    </a:lnTo>
                    <a:lnTo>
                      <a:pt x="596900" y="498475"/>
                    </a:lnTo>
                    <a:lnTo>
                      <a:pt x="663575" y="457200"/>
                    </a:lnTo>
                    <a:lnTo>
                      <a:pt x="742950" y="400050"/>
                    </a:lnTo>
                    <a:lnTo>
                      <a:pt x="850900" y="327025"/>
                    </a:lnTo>
                    <a:lnTo>
                      <a:pt x="917575" y="320675"/>
                    </a:lnTo>
                    <a:lnTo>
                      <a:pt x="981075" y="228600"/>
                    </a:lnTo>
                    <a:lnTo>
                      <a:pt x="1057275" y="152400"/>
                    </a:lnTo>
                    <a:lnTo>
                      <a:pt x="1095375" y="111125"/>
                    </a:lnTo>
                    <a:lnTo>
                      <a:pt x="1120775" y="31750"/>
                    </a:lnTo>
                    <a:lnTo>
                      <a:pt x="1244600" y="28575"/>
                    </a:lnTo>
                    <a:lnTo>
                      <a:pt x="1317625"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27" name="Freeform: Shape 526">
                <a:extLst>
                  <a:ext uri="{FF2B5EF4-FFF2-40B4-BE49-F238E27FC236}">
                    <a16:creationId xmlns:a16="http://schemas.microsoft.com/office/drawing/2014/main" id="{A669996B-ECE1-4031-AAB4-372185DA129A}"/>
                  </a:ext>
                </a:extLst>
              </p:cNvPr>
              <p:cNvSpPr/>
              <p:nvPr/>
            </p:nvSpPr>
            <p:spPr bwMode="gray">
              <a:xfrm>
                <a:off x="3736975" y="4337050"/>
                <a:ext cx="104775" cy="485775"/>
              </a:xfrm>
              <a:custGeom>
                <a:avLst/>
                <a:gdLst>
                  <a:gd name="connsiteX0" fmla="*/ 41275 w 104775"/>
                  <a:gd name="connsiteY0" fmla="*/ 0 h 485775"/>
                  <a:gd name="connsiteX1" fmla="*/ 66675 w 104775"/>
                  <a:gd name="connsiteY1" fmla="*/ 146050 h 485775"/>
                  <a:gd name="connsiteX2" fmla="*/ 82550 w 104775"/>
                  <a:gd name="connsiteY2" fmla="*/ 200025 h 485775"/>
                  <a:gd name="connsiteX3" fmla="*/ 104775 w 104775"/>
                  <a:gd name="connsiteY3" fmla="*/ 250825 h 485775"/>
                  <a:gd name="connsiteX4" fmla="*/ 76200 w 104775"/>
                  <a:gd name="connsiteY4" fmla="*/ 314325 h 485775"/>
                  <a:gd name="connsiteX5" fmla="*/ 57150 w 104775"/>
                  <a:gd name="connsiteY5" fmla="*/ 419100 h 485775"/>
                  <a:gd name="connsiteX6" fmla="*/ 15875 w 104775"/>
                  <a:gd name="connsiteY6" fmla="*/ 441325 h 485775"/>
                  <a:gd name="connsiteX7" fmla="*/ 0 w 104775"/>
                  <a:gd name="connsiteY7" fmla="*/ 485775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75" h="485775">
                    <a:moveTo>
                      <a:pt x="41275" y="0"/>
                    </a:moveTo>
                    <a:lnTo>
                      <a:pt x="66675" y="146050"/>
                    </a:lnTo>
                    <a:lnTo>
                      <a:pt x="82550" y="200025"/>
                    </a:lnTo>
                    <a:lnTo>
                      <a:pt x="104775" y="250825"/>
                    </a:lnTo>
                    <a:lnTo>
                      <a:pt x="76200" y="314325"/>
                    </a:lnTo>
                    <a:lnTo>
                      <a:pt x="57150" y="419100"/>
                    </a:lnTo>
                    <a:lnTo>
                      <a:pt x="15875" y="441325"/>
                    </a:lnTo>
                    <a:lnTo>
                      <a:pt x="0" y="485775"/>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28" name="Freeform: Shape 527">
                <a:extLst>
                  <a:ext uri="{FF2B5EF4-FFF2-40B4-BE49-F238E27FC236}">
                    <a16:creationId xmlns:a16="http://schemas.microsoft.com/office/drawing/2014/main" id="{1004CA0D-3A83-4FF3-B652-9A949461D03B}"/>
                  </a:ext>
                </a:extLst>
              </p:cNvPr>
              <p:cNvSpPr/>
              <p:nvPr/>
            </p:nvSpPr>
            <p:spPr bwMode="gray">
              <a:xfrm>
                <a:off x="3292475" y="4530614"/>
                <a:ext cx="203200" cy="50981"/>
              </a:xfrm>
              <a:custGeom>
                <a:avLst/>
                <a:gdLst>
                  <a:gd name="connsiteX0" fmla="*/ 0 w 203200"/>
                  <a:gd name="connsiteY0" fmla="*/ 47736 h 50981"/>
                  <a:gd name="connsiteX1" fmla="*/ 15875 w 203200"/>
                  <a:gd name="connsiteY1" fmla="*/ 50911 h 50981"/>
                  <a:gd name="connsiteX2" fmla="*/ 31750 w 203200"/>
                  <a:gd name="connsiteY2" fmla="*/ 44561 h 50981"/>
                  <a:gd name="connsiteX3" fmla="*/ 41275 w 203200"/>
                  <a:gd name="connsiteY3" fmla="*/ 41386 h 50981"/>
                  <a:gd name="connsiteX4" fmla="*/ 47625 w 203200"/>
                  <a:gd name="connsiteY4" fmla="*/ 31861 h 50981"/>
                  <a:gd name="connsiteX5" fmla="*/ 63500 w 203200"/>
                  <a:gd name="connsiteY5" fmla="*/ 47736 h 50981"/>
                  <a:gd name="connsiteX6" fmla="*/ 82550 w 203200"/>
                  <a:gd name="connsiteY6" fmla="*/ 41386 h 50981"/>
                  <a:gd name="connsiteX7" fmla="*/ 88900 w 203200"/>
                  <a:gd name="connsiteY7" fmla="*/ 31861 h 50981"/>
                  <a:gd name="connsiteX8" fmla="*/ 104775 w 203200"/>
                  <a:gd name="connsiteY8" fmla="*/ 6461 h 50981"/>
                  <a:gd name="connsiteX9" fmla="*/ 107950 w 203200"/>
                  <a:gd name="connsiteY9" fmla="*/ 19161 h 50981"/>
                  <a:gd name="connsiteX10" fmla="*/ 142875 w 203200"/>
                  <a:gd name="connsiteY10" fmla="*/ 15986 h 50981"/>
                  <a:gd name="connsiteX11" fmla="*/ 165100 w 203200"/>
                  <a:gd name="connsiteY11" fmla="*/ 111 h 50981"/>
                  <a:gd name="connsiteX12" fmla="*/ 193675 w 203200"/>
                  <a:gd name="connsiteY12" fmla="*/ 3286 h 50981"/>
                  <a:gd name="connsiteX13" fmla="*/ 203200 w 203200"/>
                  <a:gd name="connsiteY13" fmla="*/ 3286 h 50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3200" h="50981">
                    <a:moveTo>
                      <a:pt x="0" y="47736"/>
                    </a:moveTo>
                    <a:cubicBezTo>
                      <a:pt x="5292" y="48794"/>
                      <a:pt x="10505" y="51448"/>
                      <a:pt x="15875" y="50911"/>
                    </a:cubicBezTo>
                    <a:cubicBezTo>
                      <a:pt x="21546" y="50344"/>
                      <a:pt x="26414" y="46562"/>
                      <a:pt x="31750" y="44561"/>
                    </a:cubicBezTo>
                    <a:cubicBezTo>
                      <a:pt x="34884" y="43386"/>
                      <a:pt x="38100" y="42444"/>
                      <a:pt x="41275" y="41386"/>
                    </a:cubicBezTo>
                    <a:cubicBezTo>
                      <a:pt x="43392" y="38211"/>
                      <a:pt x="43883" y="32609"/>
                      <a:pt x="47625" y="31861"/>
                    </a:cubicBezTo>
                    <a:cubicBezTo>
                      <a:pt x="53850" y="30616"/>
                      <a:pt x="61508" y="44748"/>
                      <a:pt x="63500" y="47736"/>
                    </a:cubicBezTo>
                    <a:cubicBezTo>
                      <a:pt x="69850" y="45619"/>
                      <a:pt x="76874" y="44934"/>
                      <a:pt x="82550" y="41386"/>
                    </a:cubicBezTo>
                    <a:cubicBezTo>
                      <a:pt x="85786" y="39364"/>
                      <a:pt x="86682" y="34966"/>
                      <a:pt x="88900" y="31861"/>
                    </a:cubicBezTo>
                    <a:cubicBezTo>
                      <a:pt x="102639" y="12627"/>
                      <a:pt x="94830" y="26352"/>
                      <a:pt x="104775" y="6461"/>
                    </a:cubicBezTo>
                    <a:cubicBezTo>
                      <a:pt x="105833" y="10694"/>
                      <a:pt x="104399" y="16625"/>
                      <a:pt x="107950" y="19161"/>
                    </a:cubicBezTo>
                    <a:cubicBezTo>
                      <a:pt x="120497" y="28123"/>
                      <a:pt x="131757" y="20433"/>
                      <a:pt x="142875" y="15986"/>
                    </a:cubicBezTo>
                    <a:cubicBezTo>
                      <a:pt x="148478" y="10383"/>
                      <a:pt x="156045" y="808"/>
                      <a:pt x="165100" y="111"/>
                    </a:cubicBezTo>
                    <a:cubicBezTo>
                      <a:pt x="174655" y="-624"/>
                      <a:pt x="184124" y="2490"/>
                      <a:pt x="193675" y="3286"/>
                    </a:cubicBezTo>
                    <a:cubicBezTo>
                      <a:pt x="196839" y="3550"/>
                      <a:pt x="200025" y="3286"/>
                      <a:pt x="203200" y="3286"/>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29" name="Freeform: Shape 528">
                <a:extLst>
                  <a:ext uri="{FF2B5EF4-FFF2-40B4-BE49-F238E27FC236}">
                    <a16:creationId xmlns:a16="http://schemas.microsoft.com/office/drawing/2014/main" id="{1F1B5841-4448-48E5-A79C-ABD18F9E7573}"/>
                  </a:ext>
                </a:extLst>
              </p:cNvPr>
              <p:cNvSpPr/>
              <p:nvPr/>
            </p:nvSpPr>
            <p:spPr bwMode="gray">
              <a:xfrm>
                <a:off x="3536950" y="4514850"/>
                <a:ext cx="28575" cy="63500"/>
              </a:xfrm>
              <a:custGeom>
                <a:avLst/>
                <a:gdLst>
                  <a:gd name="connsiteX0" fmla="*/ 0 w 28575"/>
                  <a:gd name="connsiteY0" fmla="*/ 0 h 63500"/>
                  <a:gd name="connsiteX1" fmla="*/ 9525 w 28575"/>
                  <a:gd name="connsiteY1" fmla="*/ 15875 h 63500"/>
                  <a:gd name="connsiteX2" fmla="*/ 19050 w 28575"/>
                  <a:gd name="connsiteY2" fmla="*/ 34925 h 63500"/>
                  <a:gd name="connsiteX3" fmla="*/ 22225 w 28575"/>
                  <a:gd name="connsiteY3" fmla="*/ 47625 h 63500"/>
                  <a:gd name="connsiteX4" fmla="*/ 28575 w 28575"/>
                  <a:gd name="connsiteY4" fmla="*/ 63500 h 6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63500">
                    <a:moveTo>
                      <a:pt x="0" y="0"/>
                    </a:moveTo>
                    <a:cubicBezTo>
                      <a:pt x="3175" y="5292"/>
                      <a:pt x="6765" y="10355"/>
                      <a:pt x="9525" y="15875"/>
                    </a:cubicBezTo>
                    <a:cubicBezTo>
                      <a:pt x="22670" y="42165"/>
                      <a:pt x="852" y="7628"/>
                      <a:pt x="19050" y="34925"/>
                    </a:cubicBezTo>
                    <a:cubicBezTo>
                      <a:pt x="20108" y="39158"/>
                      <a:pt x="20845" y="43485"/>
                      <a:pt x="22225" y="47625"/>
                    </a:cubicBezTo>
                    <a:cubicBezTo>
                      <a:pt x="24027" y="53032"/>
                      <a:pt x="28575" y="63500"/>
                      <a:pt x="28575" y="63500"/>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30" name="Freeform: Shape 529">
                <a:extLst>
                  <a:ext uri="{FF2B5EF4-FFF2-40B4-BE49-F238E27FC236}">
                    <a16:creationId xmlns:a16="http://schemas.microsoft.com/office/drawing/2014/main" id="{8938EEDF-6CF3-446B-A3BC-AFAB96752B84}"/>
                  </a:ext>
                </a:extLst>
              </p:cNvPr>
              <p:cNvSpPr/>
              <p:nvPr/>
            </p:nvSpPr>
            <p:spPr bwMode="gray">
              <a:xfrm>
                <a:off x="3685943" y="4339758"/>
                <a:ext cx="9809" cy="35725"/>
              </a:xfrm>
              <a:custGeom>
                <a:avLst/>
                <a:gdLst>
                  <a:gd name="connsiteX0" fmla="*/ 232 w 9809"/>
                  <a:gd name="connsiteY0" fmla="*/ 467 h 35725"/>
                  <a:gd name="connsiteX1" fmla="*/ 3407 w 9809"/>
                  <a:gd name="connsiteY1" fmla="*/ 16342 h 35725"/>
                  <a:gd name="connsiteX2" fmla="*/ 9757 w 9809"/>
                  <a:gd name="connsiteY2" fmla="*/ 35392 h 35725"/>
                  <a:gd name="connsiteX3" fmla="*/ 232 w 9809"/>
                  <a:gd name="connsiteY3" fmla="*/ 467 h 35725"/>
                </a:gdLst>
                <a:ahLst/>
                <a:cxnLst>
                  <a:cxn ang="0">
                    <a:pos x="connsiteX0" y="connsiteY0"/>
                  </a:cxn>
                  <a:cxn ang="0">
                    <a:pos x="connsiteX1" y="connsiteY1"/>
                  </a:cxn>
                  <a:cxn ang="0">
                    <a:pos x="connsiteX2" y="connsiteY2"/>
                  </a:cxn>
                  <a:cxn ang="0">
                    <a:pos x="connsiteX3" y="connsiteY3"/>
                  </a:cxn>
                </a:cxnLst>
                <a:rect l="l" t="t" r="r" b="b"/>
                <a:pathLst>
                  <a:path w="9809" h="35725">
                    <a:moveTo>
                      <a:pt x="232" y="467"/>
                    </a:moveTo>
                    <a:cubicBezTo>
                      <a:pt x="-826" y="-2708"/>
                      <a:pt x="1987" y="11136"/>
                      <a:pt x="3407" y="16342"/>
                    </a:cubicBezTo>
                    <a:cubicBezTo>
                      <a:pt x="5168" y="22800"/>
                      <a:pt x="8444" y="28828"/>
                      <a:pt x="9757" y="35392"/>
                    </a:cubicBezTo>
                    <a:cubicBezTo>
                      <a:pt x="10587" y="39543"/>
                      <a:pt x="1290" y="3642"/>
                      <a:pt x="232" y="467"/>
                    </a:cubicBezTo>
                    <a:close/>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31" name="Freeform: Shape 530">
                <a:extLst>
                  <a:ext uri="{FF2B5EF4-FFF2-40B4-BE49-F238E27FC236}">
                    <a16:creationId xmlns:a16="http://schemas.microsoft.com/office/drawing/2014/main" id="{F033BCA1-DAAD-4FC2-A8A8-2F2CDF23384F}"/>
                  </a:ext>
                </a:extLst>
              </p:cNvPr>
              <p:cNvSpPr/>
              <p:nvPr/>
            </p:nvSpPr>
            <p:spPr bwMode="gray">
              <a:xfrm>
                <a:off x="3092450" y="4600145"/>
                <a:ext cx="19355" cy="16305"/>
              </a:xfrm>
              <a:custGeom>
                <a:avLst/>
                <a:gdLst>
                  <a:gd name="connsiteX0" fmla="*/ 0 w 19355"/>
                  <a:gd name="connsiteY0" fmla="*/ 16305 h 16305"/>
                  <a:gd name="connsiteX1" fmla="*/ 19050 w 19355"/>
                  <a:gd name="connsiteY1" fmla="*/ 430 h 16305"/>
                  <a:gd name="connsiteX2" fmla="*/ 0 w 19355"/>
                  <a:gd name="connsiteY2" fmla="*/ 16305 h 16305"/>
                </a:gdLst>
                <a:ahLst/>
                <a:cxnLst>
                  <a:cxn ang="0">
                    <a:pos x="connsiteX0" y="connsiteY0"/>
                  </a:cxn>
                  <a:cxn ang="0">
                    <a:pos x="connsiteX1" y="connsiteY1"/>
                  </a:cxn>
                  <a:cxn ang="0">
                    <a:pos x="connsiteX2" y="connsiteY2"/>
                  </a:cxn>
                </a:cxnLst>
                <a:rect l="l" t="t" r="r" b="b"/>
                <a:pathLst>
                  <a:path w="19355" h="16305">
                    <a:moveTo>
                      <a:pt x="0" y="16305"/>
                    </a:moveTo>
                    <a:cubicBezTo>
                      <a:pt x="0" y="16305"/>
                      <a:pt x="13558" y="6608"/>
                      <a:pt x="19050" y="430"/>
                    </a:cubicBezTo>
                    <a:cubicBezTo>
                      <a:pt x="22194" y="-3107"/>
                      <a:pt x="0" y="16305"/>
                      <a:pt x="0" y="16305"/>
                    </a:cubicBezTo>
                    <a:close/>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32" name="Freeform: Shape 531">
                <a:extLst>
                  <a:ext uri="{FF2B5EF4-FFF2-40B4-BE49-F238E27FC236}">
                    <a16:creationId xmlns:a16="http://schemas.microsoft.com/office/drawing/2014/main" id="{A0A071DB-6A60-44B5-8B74-72001805E0ED}"/>
                  </a:ext>
                </a:extLst>
              </p:cNvPr>
              <p:cNvSpPr/>
              <p:nvPr/>
            </p:nvSpPr>
            <p:spPr bwMode="gray">
              <a:xfrm>
                <a:off x="3981450" y="4175125"/>
                <a:ext cx="98425" cy="50800"/>
              </a:xfrm>
              <a:custGeom>
                <a:avLst/>
                <a:gdLst>
                  <a:gd name="connsiteX0" fmla="*/ 0 w 98425"/>
                  <a:gd name="connsiteY0" fmla="*/ 50800 h 50800"/>
                  <a:gd name="connsiteX1" fmla="*/ 47625 w 98425"/>
                  <a:gd name="connsiteY1" fmla="*/ 34925 h 50800"/>
                  <a:gd name="connsiteX2" fmla="*/ 66675 w 98425"/>
                  <a:gd name="connsiteY2" fmla="*/ 25400 h 50800"/>
                  <a:gd name="connsiteX3" fmla="*/ 76200 w 98425"/>
                  <a:gd name="connsiteY3" fmla="*/ 12700 h 50800"/>
                  <a:gd name="connsiteX4" fmla="*/ 85725 w 98425"/>
                  <a:gd name="connsiteY4" fmla="*/ 9525 h 50800"/>
                  <a:gd name="connsiteX5" fmla="*/ 98425 w 98425"/>
                  <a:gd name="connsiteY5" fmla="*/ 0 h 5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425" h="50800">
                    <a:moveTo>
                      <a:pt x="0" y="50800"/>
                    </a:moveTo>
                    <a:cubicBezTo>
                      <a:pt x="36760" y="36096"/>
                      <a:pt x="20573" y="40335"/>
                      <a:pt x="47625" y="34925"/>
                    </a:cubicBezTo>
                    <a:cubicBezTo>
                      <a:pt x="53975" y="31750"/>
                      <a:pt x="61071" y="29759"/>
                      <a:pt x="66675" y="25400"/>
                    </a:cubicBezTo>
                    <a:cubicBezTo>
                      <a:pt x="70852" y="22151"/>
                      <a:pt x="72135" y="16088"/>
                      <a:pt x="76200" y="12700"/>
                    </a:cubicBezTo>
                    <a:cubicBezTo>
                      <a:pt x="78771" y="10557"/>
                      <a:pt x="82732" y="11022"/>
                      <a:pt x="85725" y="9525"/>
                    </a:cubicBezTo>
                    <a:cubicBezTo>
                      <a:pt x="92905" y="5935"/>
                      <a:pt x="93960" y="4465"/>
                      <a:pt x="98425" y="0"/>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33" name="Freeform: Shape 532">
                <a:extLst>
                  <a:ext uri="{FF2B5EF4-FFF2-40B4-BE49-F238E27FC236}">
                    <a16:creationId xmlns:a16="http://schemas.microsoft.com/office/drawing/2014/main" id="{263110AB-23F2-44B0-99AA-7014432C1D77}"/>
                  </a:ext>
                </a:extLst>
              </p:cNvPr>
              <p:cNvSpPr/>
              <p:nvPr/>
            </p:nvSpPr>
            <p:spPr bwMode="gray">
              <a:xfrm>
                <a:off x="4032250" y="4127500"/>
                <a:ext cx="666750" cy="114300"/>
              </a:xfrm>
              <a:custGeom>
                <a:avLst/>
                <a:gdLst>
                  <a:gd name="connsiteX0" fmla="*/ 0 w 666750"/>
                  <a:gd name="connsiteY0" fmla="*/ 60325 h 114300"/>
                  <a:gd name="connsiteX1" fmla="*/ 66675 w 666750"/>
                  <a:gd name="connsiteY1" fmla="*/ 88900 h 114300"/>
                  <a:gd name="connsiteX2" fmla="*/ 114300 w 666750"/>
                  <a:gd name="connsiteY2" fmla="*/ 92075 h 114300"/>
                  <a:gd name="connsiteX3" fmla="*/ 130175 w 666750"/>
                  <a:gd name="connsiteY3" fmla="*/ 60325 h 114300"/>
                  <a:gd name="connsiteX4" fmla="*/ 130175 w 666750"/>
                  <a:gd name="connsiteY4" fmla="*/ 60325 h 114300"/>
                  <a:gd name="connsiteX5" fmla="*/ 209550 w 666750"/>
                  <a:gd name="connsiteY5" fmla="*/ 9525 h 114300"/>
                  <a:gd name="connsiteX6" fmla="*/ 279400 w 666750"/>
                  <a:gd name="connsiteY6" fmla="*/ 31750 h 114300"/>
                  <a:gd name="connsiteX7" fmla="*/ 387350 w 666750"/>
                  <a:gd name="connsiteY7" fmla="*/ 0 h 114300"/>
                  <a:gd name="connsiteX8" fmla="*/ 425450 w 666750"/>
                  <a:gd name="connsiteY8" fmla="*/ 0 h 114300"/>
                  <a:gd name="connsiteX9" fmla="*/ 479425 w 666750"/>
                  <a:gd name="connsiteY9" fmla="*/ 47625 h 114300"/>
                  <a:gd name="connsiteX10" fmla="*/ 539750 w 666750"/>
                  <a:gd name="connsiteY10" fmla="*/ 63500 h 114300"/>
                  <a:gd name="connsiteX11" fmla="*/ 558800 w 666750"/>
                  <a:gd name="connsiteY11" fmla="*/ 101600 h 114300"/>
                  <a:gd name="connsiteX12" fmla="*/ 612775 w 666750"/>
                  <a:gd name="connsiteY12" fmla="*/ 111125 h 114300"/>
                  <a:gd name="connsiteX13" fmla="*/ 650875 w 666750"/>
                  <a:gd name="connsiteY13" fmla="*/ 101600 h 114300"/>
                  <a:gd name="connsiteX14" fmla="*/ 666750 w 666750"/>
                  <a:gd name="connsiteY14" fmla="*/ 11430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6750" h="114300">
                    <a:moveTo>
                      <a:pt x="0" y="60325"/>
                    </a:moveTo>
                    <a:lnTo>
                      <a:pt x="66675" y="88900"/>
                    </a:lnTo>
                    <a:lnTo>
                      <a:pt x="114300" y="92075"/>
                    </a:lnTo>
                    <a:lnTo>
                      <a:pt x="130175" y="60325"/>
                    </a:lnTo>
                    <a:lnTo>
                      <a:pt x="130175" y="60325"/>
                    </a:lnTo>
                    <a:lnTo>
                      <a:pt x="209550" y="9525"/>
                    </a:lnTo>
                    <a:lnTo>
                      <a:pt x="279400" y="31750"/>
                    </a:lnTo>
                    <a:lnTo>
                      <a:pt x="387350" y="0"/>
                    </a:lnTo>
                    <a:lnTo>
                      <a:pt x="425450" y="0"/>
                    </a:lnTo>
                    <a:lnTo>
                      <a:pt x="479425" y="47625"/>
                    </a:lnTo>
                    <a:lnTo>
                      <a:pt x="539750" y="63500"/>
                    </a:lnTo>
                    <a:lnTo>
                      <a:pt x="558800" y="101600"/>
                    </a:lnTo>
                    <a:lnTo>
                      <a:pt x="612775" y="111125"/>
                    </a:lnTo>
                    <a:lnTo>
                      <a:pt x="650875" y="101600"/>
                    </a:lnTo>
                    <a:lnTo>
                      <a:pt x="666750" y="11430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34" name="Freeform: Shape 533">
                <a:extLst>
                  <a:ext uri="{FF2B5EF4-FFF2-40B4-BE49-F238E27FC236}">
                    <a16:creationId xmlns:a16="http://schemas.microsoft.com/office/drawing/2014/main" id="{BAD1BE3E-BA57-460C-99F0-18A639553316}"/>
                  </a:ext>
                </a:extLst>
              </p:cNvPr>
              <p:cNvSpPr/>
              <p:nvPr/>
            </p:nvSpPr>
            <p:spPr bwMode="gray">
              <a:xfrm>
                <a:off x="4111625" y="4219575"/>
                <a:ext cx="342900" cy="165100"/>
              </a:xfrm>
              <a:custGeom>
                <a:avLst/>
                <a:gdLst>
                  <a:gd name="connsiteX0" fmla="*/ 0 w 342900"/>
                  <a:gd name="connsiteY0" fmla="*/ 0 h 168275"/>
                  <a:gd name="connsiteX1" fmla="*/ 12700 w 342900"/>
                  <a:gd name="connsiteY1" fmla="*/ 25400 h 168275"/>
                  <a:gd name="connsiteX2" fmla="*/ 31750 w 342900"/>
                  <a:gd name="connsiteY2" fmla="*/ 41275 h 168275"/>
                  <a:gd name="connsiteX3" fmla="*/ 53975 w 342900"/>
                  <a:gd name="connsiteY3" fmla="*/ 66675 h 168275"/>
                  <a:gd name="connsiteX4" fmla="*/ 63500 w 342900"/>
                  <a:gd name="connsiteY4" fmla="*/ 69850 h 168275"/>
                  <a:gd name="connsiteX5" fmla="*/ 69850 w 342900"/>
                  <a:gd name="connsiteY5" fmla="*/ 79375 h 168275"/>
                  <a:gd name="connsiteX6" fmla="*/ 120650 w 342900"/>
                  <a:gd name="connsiteY6" fmla="*/ 60325 h 168275"/>
                  <a:gd name="connsiteX7" fmla="*/ 146050 w 342900"/>
                  <a:gd name="connsiteY7" fmla="*/ 50800 h 168275"/>
                  <a:gd name="connsiteX8" fmla="*/ 187325 w 342900"/>
                  <a:gd name="connsiteY8" fmla="*/ 50800 h 168275"/>
                  <a:gd name="connsiteX9" fmla="*/ 219075 w 342900"/>
                  <a:gd name="connsiteY9" fmla="*/ 19050 h 168275"/>
                  <a:gd name="connsiteX10" fmla="*/ 228600 w 342900"/>
                  <a:gd name="connsiteY10" fmla="*/ 15875 h 168275"/>
                  <a:gd name="connsiteX11" fmla="*/ 254000 w 342900"/>
                  <a:gd name="connsiteY11" fmla="*/ 22225 h 168275"/>
                  <a:gd name="connsiteX12" fmla="*/ 285750 w 342900"/>
                  <a:gd name="connsiteY12" fmla="*/ 47625 h 168275"/>
                  <a:gd name="connsiteX13" fmla="*/ 307975 w 342900"/>
                  <a:gd name="connsiteY13" fmla="*/ 66675 h 168275"/>
                  <a:gd name="connsiteX14" fmla="*/ 320675 w 342900"/>
                  <a:gd name="connsiteY14" fmla="*/ 85725 h 168275"/>
                  <a:gd name="connsiteX15" fmla="*/ 339725 w 342900"/>
                  <a:gd name="connsiteY15" fmla="*/ 101600 h 168275"/>
                  <a:gd name="connsiteX16" fmla="*/ 342900 w 342900"/>
                  <a:gd name="connsiteY16" fmla="*/ 114300 h 168275"/>
                  <a:gd name="connsiteX17" fmla="*/ 339725 w 342900"/>
                  <a:gd name="connsiteY17" fmla="*/ 168275 h 168275"/>
                  <a:gd name="connsiteX0" fmla="*/ 0 w 342900"/>
                  <a:gd name="connsiteY0" fmla="*/ 0 h 168275"/>
                  <a:gd name="connsiteX1" fmla="*/ 12700 w 342900"/>
                  <a:gd name="connsiteY1" fmla="*/ 25400 h 168275"/>
                  <a:gd name="connsiteX2" fmla="*/ 31750 w 342900"/>
                  <a:gd name="connsiteY2" fmla="*/ 41275 h 168275"/>
                  <a:gd name="connsiteX3" fmla="*/ 53975 w 342900"/>
                  <a:gd name="connsiteY3" fmla="*/ 66675 h 168275"/>
                  <a:gd name="connsiteX4" fmla="*/ 63500 w 342900"/>
                  <a:gd name="connsiteY4" fmla="*/ 69850 h 168275"/>
                  <a:gd name="connsiteX5" fmla="*/ 69850 w 342900"/>
                  <a:gd name="connsiteY5" fmla="*/ 79375 h 168275"/>
                  <a:gd name="connsiteX6" fmla="*/ 120650 w 342900"/>
                  <a:gd name="connsiteY6" fmla="*/ 60325 h 168275"/>
                  <a:gd name="connsiteX7" fmla="*/ 146050 w 342900"/>
                  <a:gd name="connsiteY7" fmla="*/ 50800 h 168275"/>
                  <a:gd name="connsiteX8" fmla="*/ 187325 w 342900"/>
                  <a:gd name="connsiteY8" fmla="*/ 50800 h 168275"/>
                  <a:gd name="connsiteX9" fmla="*/ 219075 w 342900"/>
                  <a:gd name="connsiteY9" fmla="*/ 19050 h 168275"/>
                  <a:gd name="connsiteX10" fmla="*/ 228600 w 342900"/>
                  <a:gd name="connsiteY10" fmla="*/ 15875 h 168275"/>
                  <a:gd name="connsiteX11" fmla="*/ 285750 w 342900"/>
                  <a:gd name="connsiteY11" fmla="*/ 47625 h 168275"/>
                  <a:gd name="connsiteX12" fmla="*/ 307975 w 342900"/>
                  <a:gd name="connsiteY12" fmla="*/ 66675 h 168275"/>
                  <a:gd name="connsiteX13" fmla="*/ 320675 w 342900"/>
                  <a:gd name="connsiteY13" fmla="*/ 85725 h 168275"/>
                  <a:gd name="connsiteX14" fmla="*/ 339725 w 342900"/>
                  <a:gd name="connsiteY14" fmla="*/ 101600 h 168275"/>
                  <a:gd name="connsiteX15" fmla="*/ 342900 w 342900"/>
                  <a:gd name="connsiteY15" fmla="*/ 114300 h 168275"/>
                  <a:gd name="connsiteX16" fmla="*/ 339725 w 342900"/>
                  <a:gd name="connsiteY16" fmla="*/ 168275 h 168275"/>
                  <a:gd name="connsiteX0" fmla="*/ 0 w 342900"/>
                  <a:gd name="connsiteY0" fmla="*/ 0 h 168275"/>
                  <a:gd name="connsiteX1" fmla="*/ 12700 w 342900"/>
                  <a:gd name="connsiteY1" fmla="*/ 25400 h 168275"/>
                  <a:gd name="connsiteX2" fmla="*/ 31750 w 342900"/>
                  <a:gd name="connsiteY2" fmla="*/ 41275 h 168275"/>
                  <a:gd name="connsiteX3" fmla="*/ 53975 w 342900"/>
                  <a:gd name="connsiteY3" fmla="*/ 66675 h 168275"/>
                  <a:gd name="connsiteX4" fmla="*/ 63500 w 342900"/>
                  <a:gd name="connsiteY4" fmla="*/ 69850 h 168275"/>
                  <a:gd name="connsiteX5" fmla="*/ 69850 w 342900"/>
                  <a:gd name="connsiteY5" fmla="*/ 79375 h 168275"/>
                  <a:gd name="connsiteX6" fmla="*/ 120650 w 342900"/>
                  <a:gd name="connsiteY6" fmla="*/ 60325 h 168275"/>
                  <a:gd name="connsiteX7" fmla="*/ 146050 w 342900"/>
                  <a:gd name="connsiteY7" fmla="*/ 50800 h 168275"/>
                  <a:gd name="connsiteX8" fmla="*/ 187325 w 342900"/>
                  <a:gd name="connsiteY8" fmla="*/ 50800 h 168275"/>
                  <a:gd name="connsiteX9" fmla="*/ 219075 w 342900"/>
                  <a:gd name="connsiteY9" fmla="*/ 19050 h 168275"/>
                  <a:gd name="connsiteX10" fmla="*/ 285750 w 342900"/>
                  <a:gd name="connsiteY10" fmla="*/ 47625 h 168275"/>
                  <a:gd name="connsiteX11" fmla="*/ 307975 w 342900"/>
                  <a:gd name="connsiteY11" fmla="*/ 66675 h 168275"/>
                  <a:gd name="connsiteX12" fmla="*/ 320675 w 342900"/>
                  <a:gd name="connsiteY12" fmla="*/ 85725 h 168275"/>
                  <a:gd name="connsiteX13" fmla="*/ 339725 w 342900"/>
                  <a:gd name="connsiteY13" fmla="*/ 101600 h 168275"/>
                  <a:gd name="connsiteX14" fmla="*/ 342900 w 342900"/>
                  <a:gd name="connsiteY14" fmla="*/ 114300 h 168275"/>
                  <a:gd name="connsiteX15" fmla="*/ 339725 w 342900"/>
                  <a:gd name="connsiteY15" fmla="*/ 168275 h 168275"/>
                  <a:gd name="connsiteX0" fmla="*/ 0 w 342900"/>
                  <a:gd name="connsiteY0" fmla="*/ 0 h 168275"/>
                  <a:gd name="connsiteX1" fmla="*/ 12700 w 342900"/>
                  <a:gd name="connsiteY1" fmla="*/ 25400 h 168275"/>
                  <a:gd name="connsiteX2" fmla="*/ 31750 w 342900"/>
                  <a:gd name="connsiteY2" fmla="*/ 41275 h 168275"/>
                  <a:gd name="connsiteX3" fmla="*/ 53975 w 342900"/>
                  <a:gd name="connsiteY3" fmla="*/ 66675 h 168275"/>
                  <a:gd name="connsiteX4" fmla="*/ 63500 w 342900"/>
                  <a:gd name="connsiteY4" fmla="*/ 69850 h 168275"/>
                  <a:gd name="connsiteX5" fmla="*/ 69850 w 342900"/>
                  <a:gd name="connsiteY5" fmla="*/ 79375 h 168275"/>
                  <a:gd name="connsiteX6" fmla="*/ 120650 w 342900"/>
                  <a:gd name="connsiteY6" fmla="*/ 60325 h 168275"/>
                  <a:gd name="connsiteX7" fmla="*/ 146050 w 342900"/>
                  <a:gd name="connsiteY7" fmla="*/ 50800 h 168275"/>
                  <a:gd name="connsiteX8" fmla="*/ 187325 w 342900"/>
                  <a:gd name="connsiteY8" fmla="*/ 50800 h 168275"/>
                  <a:gd name="connsiteX9" fmla="*/ 285750 w 342900"/>
                  <a:gd name="connsiteY9" fmla="*/ 47625 h 168275"/>
                  <a:gd name="connsiteX10" fmla="*/ 307975 w 342900"/>
                  <a:gd name="connsiteY10" fmla="*/ 66675 h 168275"/>
                  <a:gd name="connsiteX11" fmla="*/ 320675 w 342900"/>
                  <a:gd name="connsiteY11" fmla="*/ 85725 h 168275"/>
                  <a:gd name="connsiteX12" fmla="*/ 339725 w 342900"/>
                  <a:gd name="connsiteY12" fmla="*/ 101600 h 168275"/>
                  <a:gd name="connsiteX13" fmla="*/ 342900 w 342900"/>
                  <a:gd name="connsiteY13" fmla="*/ 114300 h 168275"/>
                  <a:gd name="connsiteX14" fmla="*/ 339725 w 342900"/>
                  <a:gd name="connsiteY14" fmla="*/ 168275 h 168275"/>
                  <a:gd name="connsiteX0" fmla="*/ 0 w 342900"/>
                  <a:gd name="connsiteY0" fmla="*/ 0 h 165100"/>
                  <a:gd name="connsiteX1" fmla="*/ 12700 w 342900"/>
                  <a:gd name="connsiteY1" fmla="*/ 25400 h 165100"/>
                  <a:gd name="connsiteX2" fmla="*/ 31750 w 342900"/>
                  <a:gd name="connsiteY2" fmla="*/ 41275 h 165100"/>
                  <a:gd name="connsiteX3" fmla="*/ 53975 w 342900"/>
                  <a:gd name="connsiteY3" fmla="*/ 66675 h 165100"/>
                  <a:gd name="connsiteX4" fmla="*/ 63500 w 342900"/>
                  <a:gd name="connsiteY4" fmla="*/ 69850 h 165100"/>
                  <a:gd name="connsiteX5" fmla="*/ 69850 w 342900"/>
                  <a:gd name="connsiteY5" fmla="*/ 79375 h 165100"/>
                  <a:gd name="connsiteX6" fmla="*/ 120650 w 342900"/>
                  <a:gd name="connsiteY6" fmla="*/ 60325 h 165100"/>
                  <a:gd name="connsiteX7" fmla="*/ 146050 w 342900"/>
                  <a:gd name="connsiteY7" fmla="*/ 50800 h 165100"/>
                  <a:gd name="connsiteX8" fmla="*/ 187325 w 342900"/>
                  <a:gd name="connsiteY8" fmla="*/ 50800 h 165100"/>
                  <a:gd name="connsiteX9" fmla="*/ 285750 w 342900"/>
                  <a:gd name="connsiteY9" fmla="*/ 47625 h 165100"/>
                  <a:gd name="connsiteX10" fmla="*/ 307975 w 342900"/>
                  <a:gd name="connsiteY10" fmla="*/ 66675 h 165100"/>
                  <a:gd name="connsiteX11" fmla="*/ 320675 w 342900"/>
                  <a:gd name="connsiteY11" fmla="*/ 85725 h 165100"/>
                  <a:gd name="connsiteX12" fmla="*/ 339725 w 342900"/>
                  <a:gd name="connsiteY12" fmla="*/ 101600 h 165100"/>
                  <a:gd name="connsiteX13" fmla="*/ 342900 w 342900"/>
                  <a:gd name="connsiteY13" fmla="*/ 114300 h 165100"/>
                  <a:gd name="connsiteX14" fmla="*/ 327025 w 342900"/>
                  <a:gd name="connsiteY14" fmla="*/ 165100 h 165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2900" h="165100">
                    <a:moveTo>
                      <a:pt x="0" y="0"/>
                    </a:moveTo>
                    <a:cubicBezTo>
                      <a:pt x="3032" y="7580"/>
                      <a:pt x="6359" y="19059"/>
                      <a:pt x="12700" y="25400"/>
                    </a:cubicBezTo>
                    <a:cubicBezTo>
                      <a:pt x="31044" y="43744"/>
                      <a:pt x="13545" y="17869"/>
                      <a:pt x="31750" y="41275"/>
                    </a:cubicBezTo>
                    <a:cubicBezTo>
                      <a:pt x="43873" y="56861"/>
                      <a:pt x="39447" y="59411"/>
                      <a:pt x="53975" y="66675"/>
                    </a:cubicBezTo>
                    <a:cubicBezTo>
                      <a:pt x="56968" y="68172"/>
                      <a:pt x="60325" y="68792"/>
                      <a:pt x="63500" y="69850"/>
                    </a:cubicBezTo>
                    <a:cubicBezTo>
                      <a:pt x="65617" y="73025"/>
                      <a:pt x="66045" y="79082"/>
                      <a:pt x="69850" y="79375"/>
                    </a:cubicBezTo>
                    <a:cubicBezTo>
                      <a:pt x="104833" y="82066"/>
                      <a:pt x="99321" y="74545"/>
                      <a:pt x="120650" y="60325"/>
                    </a:cubicBezTo>
                    <a:cubicBezTo>
                      <a:pt x="130612" y="53684"/>
                      <a:pt x="134881" y="53592"/>
                      <a:pt x="146050" y="50800"/>
                    </a:cubicBezTo>
                    <a:cubicBezTo>
                      <a:pt x="160042" y="55464"/>
                      <a:pt x="164042" y="51329"/>
                      <a:pt x="187325" y="50800"/>
                    </a:cubicBezTo>
                    <a:cubicBezTo>
                      <a:pt x="210608" y="50271"/>
                      <a:pt x="265642" y="44979"/>
                      <a:pt x="285750" y="47625"/>
                    </a:cubicBezTo>
                    <a:cubicBezTo>
                      <a:pt x="305858" y="50271"/>
                      <a:pt x="299730" y="56074"/>
                      <a:pt x="307975" y="66675"/>
                    </a:cubicBezTo>
                    <a:cubicBezTo>
                      <a:pt x="312660" y="72699"/>
                      <a:pt x="314325" y="81492"/>
                      <a:pt x="320675" y="85725"/>
                    </a:cubicBezTo>
                    <a:cubicBezTo>
                      <a:pt x="333936" y="94566"/>
                      <a:pt x="327502" y="89377"/>
                      <a:pt x="339725" y="101600"/>
                    </a:cubicBezTo>
                    <a:cubicBezTo>
                      <a:pt x="340783" y="105833"/>
                      <a:pt x="342900" y="109936"/>
                      <a:pt x="342900" y="114300"/>
                    </a:cubicBezTo>
                    <a:cubicBezTo>
                      <a:pt x="342900" y="132323"/>
                      <a:pt x="327025" y="165100"/>
                      <a:pt x="327025" y="165100"/>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35" name="Freeform: Shape 534">
                <a:extLst>
                  <a:ext uri="{FF2B5EF4-FFF2-40B4-BE49-F238E27FC236}">
                    <a16:creationId xmlns:a16="http://schemas.microsoft.com/office/drawing/2014/main" id="{752FC59C-AE8A-41B1-AAC0-29B0D88A5FBD}"/>
                  </a:ext>
                </a:extLst>
              </p:cNvPr>
              <p:cNvSpPr/>
              <p:nvPr/>
            </p:nvSpPr>
            <p:spPr bwMode="gray">
              <a:xfrm>
                <a:off x="4394200" y="4038600"/>
                <a:ext cx="152400" cy="234950"/>
              </a:xfrm>
              <a:custGeom>
                <a:avLst/>
                <a:gdLst>
                  <a:gd name="connsiteX0" fmla="*/ 15875 w 152400"/>
                  <a:gd name="connsiteY0" fmla="*/ 234950 h 234950"/>
                  <a:gd name="connsiteX1" fmla="*/ 0 w 152400"/>
                  <a:gd name="connsiteY1" fmla="*/ 168275 h 234950"/>
                  <a:gd name="connsiteX2" fmla="*/ 31750 w 152400"/>
                  <a:gd name="connsiteY2" fmla="*/ 127000 h 234950"/>
                  <a:gd name="connsiteX3" fmla="*/ 66675 w 152400"/>
                  <a:gd name="connsiteY3" fmla="*/ 79375 h 234950"/>
                  <a:gd name="connsiteX4" fmla="*/ 82550 w 152400"/>
                  <a:gd name="connsiteY4" fmla="*/ 47625 h 234950"/>
                  <a:gd name="connsiteX5" fmla="*/ 82550 w 152400"/>
                  <a:gd name="connsiteY5" fmla="*/ 47625 h 234950"/>
                  <a:gd name="connsiteX6" fmla="*/ 114300 w 152400"/>
                  <a:gd name="connsiteY6" fmla="*/ 9525 h 234950"/>
                  <a:gd name="connsiteX7" fmla="*/ 152400 w 152400"/>
                  <a:gd name="connsiteY7" fmla="*/ 0 h 23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400" h="234950">
                    <a:moveTo>
                      <a:pt x="15875" y="234950"/>
                    </a:moveTo>
                    <a:lnTo>
                      <a:pt x="0" y="168275"/>
                    </a:lnTo>
                    <a:lnTo>
                      <a:pt x="31750" y="127000"/>
                    </a:lnTo>
                    <a:lnTo>
                      <a:pt x="66675" y="79375"/>
                    </a:lnTo>
                    <a:lnTo>
                      <a:pt x="82550" y="47625"/>
                    </a:lnTo>
                    <a:lnTo>
                      <a:pt x="82550" y="47625"/>
                    </a:lnTo>
                    <a:lnTo>
                      <a:pt x="114300" y="9525"/>
                    </a:lnTo>
                    <a:lnTo>
                      <a:pt x="15240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36" name="Freeform: Shape 535">
                <a:extLst>
                  <a:ext uri="{FF2B5EF4-FFF2-40B4-BE49-F238E27FC236}">
                    <a16:creationId xmlns:a16="http://schemas.microsoft.com/office/drawing/2014/main" id="{282C210C-F79A-44F3-B8CD-3AF60B171BBF}"/>
                  </a:ext>
                </a:extLst>
              </p:cNvPr>
              <p:cNvSpPr/>
              <p:nvPr/>
            </p:nvSpPr>
            <p:spPr bwMode="gray">
              <a:xfrm>
                <a:off x="3271838" y="4538663"/>
                <a:ext cx="71437" cy="42862"/>
              </a:xfrm>
              <a:custGeom>
                <a:avLst/>
                <a:gdLst>
                  <a:gd name="connsiteX0" fmla="*/ 0 w 71437"/>
                  <a:gd name="connsiteY0" fmla="*/ 28575 h 42862"/>
                  <a:gd name="connsiteX1" fmla="*/ 11906 w 71437"/>
                  <a:gd name="connsiteY1" fmla="*/ 23812 h 42862"/>
                  <a:gd name="connsiteX2" fmla="*/ 21431 w 71437"/>
                  <a:gd name="connsiteY2" fmla="*/ 40481 h 42862"/>
                  <a:gd name="connsiteX3" fmla="*/ 28575 w 71437"/>
                  <a:gd name="connsiteY3" fmla="*/ 42862 h 42862"/>
                  <a:gd name="connsiteX4" fmla="*/ 64293 w 71437"/>
                  <a:gd name="connsiteY4" fmla="*/ 26193 h 42862"/>
                  <a:gd name="connsiteX5" fmla="*/ 66675 w 71437"/>
                  <a:gd name="connsiteY5" fmla="*/ 14287 h 42862"/>
                  <a:gd name="connsiteX6" fmla="*/ 71437 w 71437"/>
                  <a:gd name="connsiteY6" fmla="*/ 0 h 42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437" h="42862">
                    <a:moveTo>
                      <a:pt x="0" y="28575"/>
                    </a:moveTo>
                    <a:cubicBezTo>
                      <a:pt x="3969" y="26987"/>
                      <a:pt x="8169" y="21736"/>
                      <a:pt x="11906" y="23812"/>
                    </a:cubicBezTo>
                    <a:cubicBezTo>
                      <a:pt x="17500" y="26920"/>
                      <a:pt x="17217" y="35665"/>
                      <a:pt x="21431" y="40481"/>
                    </a:cubicBezTo>
                    <a:cubicBezTo>
                      <a:pt x="23084" y="42370"/>
                      <a:pt x="26194" y="42068"/>
                      <a:pt x="28575" y="42862"/>
                    </a:cubicBezTo>
                    <a:cubicBezTo>
                      <a:pt x="43594" y="39858"/>
                      <a:pt x="50650" y="39836"/>
                      <a:pt x="64293" y="26193"/>
                    </a:cubicBezTo>
                    <a:cubicBezTo>
                      <a:pt x="67155" y="23331"/>
                      <a:pt x="65797" y="18238"/>
                      <a:pt x="66675" y="14287"/>
                    </a:cubicBezTo>
                    <a:cubicBezTo>
                      <a:pt x="68925" y="4163"/>
                      <a:pt x="67897" y="7080"/>
                      <a:pt x="71437" y="0"/>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37" name="Freeform: Shape 536">
                <a:extLst>
                  <a:ext uri="{FF2B5EF4-FFF2-40B4-BE49-F238E27FC236}">
                    <a16:creationId xmlns:a16="http://schemas.microsoft.com/office/drawing/2014/main" id="{E6E23812-7244-464B-BB4F-B220ACC56CE1}"/>
                  </a:ext>
                </a:extLst>
              </p:cNvPr>
              <p:cNvSpPr/>
              <p:nvPr/>
            </p:nvSpPr>
            <p:spPr bwMode="gray">
              <a:xfrm>
                <a:off x="3619500" y="4195763"/>
                <a:ext cx="33338" cy="116681"/>
              </a:xfrm>
              <a:custGeom>
                <a:avLst/>
                <a:gdLst>
                  <a:gd name="connsiteX0" fmla="*/ 9525 w 33338"/>
                  <a:gd name="connsiteY0" fmla="*/ 0 h 116681"/>
                  <a:gd name="connsiteX1" fmla="*/ 4763 w 33338"/>
                  <a:gd name="connsiteY1" fmla="*/ 42862 h 116681"/>
                  <a:gd name="connsiteX2" fmla="*/ 0 w 33338"/>
                  <a:gd name="connsiteY2" fmla="*/ 83343 h 116681"/>
                  <a:gd name="connsiteX3" fmla="*/ 2381 w 33338"/>
                  <a:gd name="connsiteY3" fmla="*/ 92868 h 116681"/>
                  <a:gd name="connsiteX4" fmla="*/ 16669 w 33338"/>
                  <a:gd name="connsiteY4" fmla="*/ 102393 h 116681"/>
                  <a:gd name="connsiteX5" fmla="*/ 33338 w 33338"/>
                  <a:gd name="connsiteY5" fmla="*/ 116681 h 116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338" h="116681">
                    <a:moveTo>
                      <a:pt x="9525" y="0"/>
                    </a:moveTo>
                    <a:cubicBezTo>
                      <a:pt x="7938" y="14287"/>
                      <a:pt x="6476" y="28589"/>
                      <a:pt x="4763" y="42862"/>
                    </a:cubicBezTo>
                    <a:cubicBezTo>
                      <a:pt x="-1558" y="95531"/>
                      <a:pt x="6933" y="14005"/>
                      <a:pt x="0" y="83343"/>
                    </a:cubicBezTo>
                    <a:cubicBezTo>
                      <a:pt x="794" y="86518"/>
                      <a:pt x="226" y="90405"/>
                      <a:pt x="2381" y="92868"/>
                    </a:cubicBezTo>
                    <a:cubicBezTo>
                      <a:pt x="6150" y="97176"/>
                      <a:pt x="12040" y="99026"/>
                      <a:pt x="16669" y="102393"/>
                    </a:cubicBezTo>
                    <a:cubicBezTo>
                      <a:pt x="26685" y="109677"/>
                      <a:pt x="26591" y="109934"/>
                      <a:pt x="33338" y="116681"/>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38" name="Freeform: Shape 537">
                <a:extLst>
                  <a:ext uri="{FF2B5EF4-FFF2-40B4-BE49-F238E27FC236}">
                    <a16:creationId xmlns:a16="http://schemas.microsoft.com/office/drawing/2014/main" id="{2FDA2F9D-3858-4B99-A388-7CBF4615372A}"/>
                  </a:ext>
                </a:extLst>
              </p:cNvPr>
              <p:cNvSpPr/>
              <p:nvPr/>
            </p:nvSpPr>
            <p:spPr bwMode="gray">
              <a:xfrm>
                <a:off x="3805238" y="4224338"/>
                <a:ext cx="130968" cy="85725"/>
              </a:xfrm>
              <a:custGeom>
                <a:avLst/>
                <a:gdLst>
                  <a:gd name="connsiteX0" fmla="*/ 0 w 130968"/>
                  <a:gd name="connsiteY0" fmla="*/ 85725 h 85725"/>
                  <a:gd name="connsiteX1" fmla="*/ 7143 w 130968"/>
                  <a:gd name="connsiteY1" fmla="*/ 73818 h 85725"/>
                  <a:gd name="connsiteX2" fmla="*/ 21431 w 130968"/>
                  <a:gd name="connsiteY2" fmla="*/ 42862 h 85725"/>
                  <a:gd name="connsiteX3" fmla="*/ 28575 w 130968"/>
                  <a:gd name="connsiteY3" fmla="*/ 47625 h 85725"/>
                  <a:gd name="connsiteX4" fmla="*/ 61912 w 130968"/>
                  <a:gd name="connsiteY4" fmla="*/ 35718 h 85725"/>
                  <a:gd name="connsiteX5" fmla="*/ 80962 w 130968"/>
                  <a:gd name="connsiteY5" fmla="*/ 19050 h 85725"/>
                  <a:gd name="connsiteX6" fmla="*/ 90487 w 130968"/>
                  <a:gd name="connsiteY6" fmla="*/ 14287 h 85725"/>
                  <a:gd name="connsiteX7" fmla="*/ 97631 w 130968"/>
                  <a:gd name="connsiteY7" fmla="*/ 33337 h 85725"/>
                  <a:gd name="connsiteX8" fmla="*/ 116681 w 130968"/>
                  <a:gd name="connsiteY8" fmla="*/ 26193 h 85725"/>
                  <a:gd name="connsiteX9" fmla="*/ 121443 w 130968"/>
                  <a:gd name="connsiteY9" fmla="*/ 16668 h 85725"/>
                  <a:gd name="connsiteX10" fmla="*/ 130968 w 130968"/>
                  <a:gd name="connsiteY10" fmla="*/ 0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0968" h="85725">
                    <a:moveTo>
                      <a:pt x="0" y="85725"/>
                    </a:moveTo>
                    <a:cubicBezTo>
                      <a:pt x="2381" y="81756"/>
                      <a:pt x="5837" y="78258"/>
                      <a:pt x="7143" y="73818"/>
                    </a:cubicBezTo>
                    <a:cubicBezTo>
                      <a:pt x="16818" y="40921"/>
                      <a:pt x="1055" y="47955"/>
                      <a:pt x="21431" y="42862"/>
                    </a:cubicBezTo>
                    <a:cubicBezTo>
                      <a:pt x="23812" y="44450"/>
                      <a:pt x="25756" y="48122"/>
                      <a:pt x="28575" y="47625"/>
                    </a:cubicBezTo>
                    <a:cubicBezTo>
                      <a:pt x="40195" y="45574"/>
                      <a:pt x="51553" y="41368"/>
                      <a:pt x="61912" y="35718"/>
                    </a:cubicBezTo>
                    <a:cubicBezTo>
                      <a:pt x="69319" y="31678"/>
                      <a:pt x="74212" y="24112"/>
                      <a:pt x="80962" y="19050"/>
                    </a:cubicBezTo>
                    <a:cubicBezTo>
                      <a:pt x="83802" y="16920"/>
                      <a:pt x="87312" y="15875"/>
                      <a:pt x="90487" y="14287"/>
                    </a:cubicBezTo>
                    <a:cubicBezTo>
                      <a:pt x="90933" y="16070"/>
                      <a:pt x="94437" y="33018"/>
                      <a:pt x="97631" y="33337"/>
                    </a:cubicBezTo>
                    <a:cubicBezTo>
                      <a:pt x="104379" y="34012"/>
                      <a:pt x="110331" y="28574"/>
                      <a:pt x="116681" y="26193"/>
                    </a:cubicBezTo>
                    <a:cubicBezTo>
                      <a:pt x="118268" y="23018"/>
                      <a:pt x="119719" y="19771"/>
                      <a:pt x="121443" y="16668"/>
                    </a:cubicBezTo>
                    <a:cubicBezTo>
                      <a:pt x="134876" y="-7512"/>
                      <a:pt x="124456" y="13025"/>
                      <a:pt x="130968" y="0"/>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grpSp>
        <p:grpSp>
          <p:nvGrpSpPr>
            <p:cNvPr id="304" name="Group 303">
              <a:extLst>
                <a:ext uri="{FF2B5EF4-FFF2-40B4-BE49-F238E27FC236}">
                  <a16:creationId xmlns:a16="http://schemas.microsoft.com/office/drawing/2014/main" id="{808B5B32-3592-4BC8-BA20-22C171F2FD6E}"/>
                </a:ext>
              </a:extLst>
            </p:cNvPr>
            <p:cNvGrpSpPr/>
            <p:nvPr/>
          </p:nvGrpSpPr>
          <p:grpSpPr bwMode="gray">
            <a:xfrm>
              <a:off x="1088231" y="4092575"/>
              <a:ext cx="280194" cy="657225"/>
              <a:chOff x="1088231" y="4092575"/>
              <a:chExt cx="280194" cy="657225"/>
            </a:xfrm>
          </p:grpSpPr>
          <p:sp>
            <p:nvSpPr>
              <p:cNvPr id="508" name="Freeform: Shape 507">
                <a:extLst>
                  <a:ext uri="{FF2B5EF4-FFF2-40B4-BE49-F238E27FC236}">
                    <a16:creationId xmlns:a16="http://schemas.microsoft.com/office/drawing/2014/main" id="{F0B4E5E5-2589-46D0-8295-6C3162EA5CD9}"/>
                  </a:ext>
                </a:extLst>
              </p:cNvPr>
              <p:cNvSpPr/>
              <p:nvPr/>
            </p:nvSpPr>
            <p:spPr bwMode="gray">
              <a:xfrm>
                <a:off x="1212850" y="4244975"/>
                <a:ext cx="20380" cy="3175"/>
              </a:xfrm>
              <a:custGeom>
                <a:avLst/>
                <a:gdLst>
                  <a:gd name="connsiteX0" fmla="*/ 0 w 20380"/>
                  <a:gd name="connsiteY0" fmla="*/ 3175 h 3175"/>
                  <a:gd name="connsiteX1" fmla="*/ 19050 w 20380"/>
                  <a:gd name="connsiteY1" fmla="*/ 0 h 3175"/>
                  <a:gd name="connsiteX2" fmla="*/ 0 w 20380"/>
                  <a:gd name="connsiteY2" fmla="*/ 3175 h 3175"/>
                </a:gdLst>
                <a:ahLst/>
                <a:cxnLst>
                  <a:cxn ang="0">
                    <a:pos x="connsiteX0" y="connsiteY0"/>
                  </a:cxn>
                  <a:cxn ang="0">
                    <a:pos x="connsiteX1" y="connsiteY1"/>
                  </a:cxn>
                  <a:cxn ang="0">
                    <a:pos x="connsiteX2" y="connsiteY2"/>
                  </a:cxn>
                </a:cxnLst>
                <a:rect l="l" t="t" r="r" b="b"/>
                <a:pathLst>
                  <a:path w="20380" h="3175">
                    <a:moveTo>
                      <a:pt x="0" y="3175"/>
                    </a:moveTo>
                    <a:cubicBezTo>
                      <a:pt x="0" y="3175"/>
                      <a:pt x="12612" y="0"/>
                      <a:pt x="19050" y="0"/>
                    </a:cubicBezTo>
                    <a:cubicBezTo>
                      <a:pt x="26534" y="0"/>
                      <a:pt x="0" y="3175"/>
                      <a:pt x="0" y="3175"/>
                    </a:cubicBezTo>
                    <a:close/>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09" name="Freeform: Shape 508">
                <a:extLst>
                  <a:ext uri="{FF2B5EF4-FFF2-40B4-BE49-F238E27FC236}">
                    <a16:creationId xmlns:a16="http://schemas.microsoft.com/office/drawing/2014/main" id="{69CA2477-4FB8-4E23-932F-8B2677597D49}"/>
                  </a:ext>
                </a:extLst>
              </p:cNvPr>
              <p:cNvSpPr/>
              <p:nvPr/>
            </p:nvSpPr>
            <p:spPr bwMode="gray">
              <a:xfrm>
                <a:off x="1246222" y="4092575"/>
                <a:ext cx="74578" cy="165100"/>
              </a:xfrm>
              <a:custGeom>
                <a:avLst/>
                <a:gdLst>
                  <a:gd name="connsiteX0" fmla="*/ 1553 w 74578"/>
                  <a:gd name="connsiteY0" fmla="*/ 165100 h 165100"/>
                  <a:gd name="connsiteX1" fmla="*/ 26953 w 74578"/>
                  <a:gd name="connsiteY1" fmla="*/ 82550 h 165100"/>
                  <a:gd name="connsiteX2" fmla="*/ 39653 w 74578"/>
                  <a:gd name="connsiteY2" fmla="*/ 79375 h 165100"/>
                  <a:gd name="connsiteX3" fmla="*/ 42828 w 74578"/>
                  <a:gd name="connsiteY3" fmla="*/ 66675 h 165100"/>
                  <a:gd name="connsiteX4" fmla="*/ 49178 w 74578"/>
                  <a:gd name="connsiteY4" fmla="*/ 53975 h 165100"/>
                  <a:gd name="connsiteX5" fmla="*/ 55528 w 74578"/>
                  <a:gd name="connsiteY5" fmla="*/ 38100 h 165100"/>
                  <a:gd name="connsiteX6" fmla="*/ 58703 w 74578"/>
                  <a:gd name="connsiteY6" fmla="*/ 28575 h 165100"/>
                  <a:gd name="connsiteX7" fmla="*/ 68228 w 74578"/>
                  <a:gd name="connsiteY7" fmla="*/ 22225 h 165100"/>
                  <a:gd name="connsiteX8" fmla="*/ 74578 w 74578"/>
                  <a:gd name="connsiteY8" fmla="*/ 0 h 165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578" h="165100">
                    <a:moveTo>
                      <a:pt x="1553" y="165100"/>
                    </a:moveTo>
                    <a:cubicBezTo>
                      <a:pt x="8922" y="72990"/>
                      <a:pt x="-18401" y="91621"/>
                      <a:pt x="26953" y="82550"/>
                    </a:cubicBezTo>
                    <a:cubicBezTo>
                      <a:pt x="31232" y="81694"/>
                      <a:pt x="35420" y="80433"/>
                      <a:pt x="39653" y="79375"/>
                    </a:cubicBezTo>
                    <a:cubicBezTo>
                      <a:pt x="40711" y="75142"/>
                      <a:pt x="41296" y="70761"/>
                      <a:pt x="42828" y="66675"/>
                    </a:cubicBezTo>
                    <a:cubicBezTo>
                      <a:pt x="44490" y="62243"/>
                      <a:pt x="47256" y="58300"/>
                      <a:pt x="49178" y="53975"/>
                    </a:cubicBezTo>
                    <a:cubicBezTo>
                      <a:pt x="51493" y="48767"/>
                      <a:pt x="53527" y="43436"/>
                      <a:pt x="55528" y="38100"/>
                    </a:cubicBezTo>
                    <a:cubicBezTo>
                      <a:pt x="56703" y="34966"/>
                      <a:pt x="56612" y="31188"/>
                      <a:pt x="58703" y="28575"/>
                    </a:cubicBezTo>
                    <a:cubicBezTo>
                      <a:pt x="61087" y="25595"/>
                      <a:pt x="65053" y="24342"/>
                      <a:pt x="68228" y="22225"/>
                    </a:cubicBezTo>
                    <a:cubicBezTo>
                      <a:pt x="71867" y="4029"/>
                      <a:pt x="68990" y="11177"/>
                      <a:pt x="74578" y="0"/>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10" name="Freeform: Shape 509">
                <a:extLst>
                  <a:ext uri="{FF2B5EF4-FFF2-40B4-BE49-F238E27FC236}">
                    <a16:creationId xmlns:a16="http://schemas.microsoft.com/office/drawing/2014/main" id="{B66807FF-4F0E-40DE-A591-BB02A3F48D57}"/>
                  </a:ext>
                </a:extLst>
              </p:cNvPr>
              <p:cNvSpPr/>
              <p:nvPr/>
            </p:nvSpPr>
            <p:spPr bwMode="gray">
              <a:xfrm>
                <a:off x="1320800" y="4114800"/>
                <a:ext cx="23239" cy="66675"/>
              </a:xfrm>
              <a:custGeom>
                <a:avLst/>
                <a:gdLst>
                  <a:gd name="connsiteX0" fmla="*/ 9525 w 9525"/>
                  <a:gd name="connsiteY0" fmla="*/ 66675 h 66675"/>
                  <a:gd name="connsiteX1" fmla="*/ 0 w 9525"/>
                  <a:gd name="connsiteY1" fmla="*/ 0 h 66675"/>
                  <a:gd name="connsiteX0" fmla="*/ 10000 w 10000"/>
                  <a:gd name="connsiteY0" fmla="*/ 10000 h 10000"/>
                  <a:gd name="connsiteX1" fmla="*/ 0 w 10000"/>
                  <a:gd name="connsiteY1" fmla="*/ 4286 h 10000"/>
                  <a:gd name="connsiteX2" fmla="*/ 0 w 10000"/>
                  <a:gd name="connsiteY2" fmla="*/ 0 h 10000"/>
                  <a:gd name="connsiteX0" fmla="*/ 10000 w 24398"/>
                  <a:gd name="connsiteY0" fmla="*/ 10000 h 10000"/>
                  <a:gd name="connsiteX1" fmla="*/ 23333 w 24398"/>
                  <a:gd name="connsiteY1" fmla="*/ 5238 h 10000"/>
                  <a:gd name="connsiteX2" fmla="*/ 0 w 24398"/>
                  <a:gd name="connsiteY2" fmla="*/ 0 h 10000"/>
                </a:gdLst>
                <a:ahLst/>
                <a:cxnLst>
                  <a:cxn ang="0">
                    <a:pos x="connsiteX0" y="connsiteY0"/>
                  </a:cxn>
                  <a:cxn ang="0">
                    <a:pos x="connsiteX1" y="connsiteY1"/>
                  </a:cxn>
                  <a:cxn ang="0">
                    <a:pos x="connsiteX2" y="connsiteY2"/>
                  </a:cxn>
                </a:cxnLst>
                <a:rect l="l" t="t" r="r" b="b"/>
                <a:pathLst>
                  <a:path w="24398" h="10000">
                    <a:moveTo>
                      <a:pt x="10000" y="10000"/>
                    </a:moveTo>
                    <a:lnTo>
                      <a:pt x="23333" y="5238"/>
                    </a:lnTo>
                    <a:cubicBezTo>
                      <a:pt x="30000" y="7619"/>
                      <a:pt x="3333" y="3333"/>
                      <a:pt x="0" y="0"/>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11" name="Freeform: Shape 510">
                <a:extLst>
                  <a:ext uri="{FF2B5EF4-FFF2-40B4-BE49-F238E27FC236}">
                    <a16:creationId xmlns:a16="http://schemas.microsoft.com/office/drawing/2014/main" id="{C87D49CF-FB58-4B16-A335-EBCA9F32DBB8}"/>
                  </a:ext>
                </a:extLst>
              </p:cNvPr>
              <p:cNvSpPr/>
              <p:nvPr/>
            </p:nvSpPr>
            <p:spPr bwMode="gray">
              <a:xfrm>
                <a:off x="1219200" y="4283075"/>
                <a:ext cx="107950" cy="38100"/>
              </a:xfrm>
              <a:custGeom>
                <a:avLst/>
                <a:gdLst>
                  <a:gd name="connsiteX0" fmla="*/ 0 w 107950"/>
                  <a:gd name="connsiteY0" fmla="*/ 0 h 38100"/>
                  <a:gd name="connsiteX1" fmla="*/ 22225 w 107950"/>
                  <a:gd name="connsiteY1" fmla="*/ 3175 h 38100"/>
                  <a:gd name="connsiteX2" fmla="*/ 63500 w 107950"/>
                  <a:gd name="connsiteY2" fmla="*/ 19050 h 38100"/>
                  <a:gd name="connsiteX3" fmla="*/ 76200 w 107950"/>
                  <a:gd name="connsiteY3" fmla="*/ 22225 h 38100"/>
                  <a:gd name="connsiteX4" fmla="*/ 95250 w 107950"/>
                  <a:gd name="connsiteY4" fmla="*/ 28575 h 38100"/>
                  <a:gd name="connsiteX5" fmla="*/ 107950 w 107950"/>
                  <a:gd name="connsiteY5" fmla="*/ 3810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950" h="38100">
                    <a:moveTo>
                      <a:pt x="0" y="0"/>
                    </a:moveTo>
                    <a:cubicBezTo>
                      <a:pt x="7408" y="1058"/>
                      <a:pt x="14933" y="1492"/>
                      <a:pt x="22225" y="3175"/>
                    </a:cubicBezTo>
                    <a:cubicBezTo>
                      <a:pt x="39831" y="7238"/>
                      <a:pt x="46069" y="12712"/>
                      <a:pt x="63500" y="19050"/>
                    </a:cubicBezTo>
                    <a:cubicBezTo>
                      <a:pt x="67601" y="20541"/>
                      <a:pt x="72020" y="20971"/>
                      <a:pt x="76200" y="22225"/>
                    </a:cubicBezTo>
                    <a:cubicBezTo>
                      <a:pt x="82611" y="24148"/>
                      <a:pt x="88900" y="26458"/>
                      <a:pt x="95250" y="28575"/>
                    </a:cubicBezTo>
                    <a:lnTo>
                      <a:pt x="107950" y="3810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12" name="Freeform: Shape 511">
                <a:extLst>
                  <a:ext uri="{FF2B5EF4-FFF2-40B4-BE49-F238E27FC236}">
                    <a16:creationId xmlns:a16="http://schemas.microsoft.com/office/drawing/2014/main" id="{2F8146C1-7567-47F5-8B9E-B771FE7927C9}"/>
                  </a:ext>
                </a:extLst>
              </p:cNvPr>
              <p:cNvSpPr/>
              <p:nvPr/>
            </p:nvSpPr>
            <p:spPr bwMode="gray">
              <a:xfrm>
                <a:off x="1174750" y="4254500"/>
                <a:ext cx="193675" cy="495300"/>
              </a:xfrm>
              <a:custGeom>
                <a:avLst/>
                <a:gdLst>
                  <a:gd name="connsiteX0" fmla="*/ 82550 w 193675"/>
                  <a:gd name="connsiteY0" fmla="*/ 0 h 495300"/>
                  <a:gd name="connsiteX1" fmla="*/ 79375 w 193675"/>
                  <a:gd name="connsiteY1" fmla="*/ 79375 h 495300"/>
                  <a:gd name="connsiteX2" fmla="*/ 73025 w 193675"/>
                  <a:gd name="connsiteY2" fmla="*/ 98425 h 495300"/>
                  <a:gd name="connsiteX3" fmla="*/ 69850 w 193675"/>
                  <a:gd name="connsiteY3" fmla="*/ 117475 h 495300"/>
                  <a:gd name="connsiteX4" fmla="*/ 60325 w 193675"/>
                  <a:gd name="connsiteY4" fmla="*/ 123825 h 495300"/>
                  <a:gd name="connsiteX5" fmla="*/ 34925 w 193675"/>
                  <a:gd name="connsiteY5" fmla="*/ 149225 h 495300"/>
                  <a:gd name="connsiteX6" fmla="*/ 31750 w 193675"/>
                  <a:gd name="connsiteY6" fmla="*/ 158750 h 495300"/>
                  <a:gd name="connsiteX7" fmla="*/ 25400 w 193675"/>
                  <a:gd name="connsiteY7" fmla="*/ 190500 h 495300"/>
                  <a:gd name="connsiteX8" fmla="*/ 9525 w 193675"/>
                  <a:gd name="connsiteY8" fmla="*/ 222250 h 495300"/>
                  <a:gd name="connsiteX9" fmla="*/ 6350 w 193675"/>
                  <a:gd name="connsiteY9" fmla="*/ 254000 h 495300"/>
                  <a:gd name="connsiteX10" fmla="*/ 0 w 193675"/>
                  <a:gd name="connsiteY10" fmla="*/ 273050 h 495300"/>
                  <a:gd name="connsiteX11" fmla="*/ 3175 w 193675"/>
                  <a:gd name="connsiteY11" fmla="*/ 301625 h 495300"/>
                  <a:gd name="connsiteX12" fmla="*/ 6350 w 193675"/>
                  <a:gd name="connsiteY12" fmla="*/ 311150 h 495300"/>
                  <a:gd name="connsiteX13" fmla="*/ 15875 w 193675"/>
                  <a:gd name="connsiteY13" fmla="*/ 317500 h 495300"/>
                  <a:gd name="connsiteX14" fmla="*/ 31750 w 193675"/>
                  <a:gd name="connsiteY14" fmla="*/ 352425 h 495300"/>
                  <a:gd name="connsiteX15" fmla="*/ 41275 w 193675"/>
                  <a:gd name="connsiteY15" fmla="*/ 374650 h 495300"/>
                  <a:gd name="connsiteX16" fmla="*/ 41275 w 193675"/>
                  <a:gd name="connsiteY16" fmla="*/ 415925 h 495300"/>
                  <a:gd name="connsiteX17" fmla="*/ 47625 w 193675"/>
                  <a:gd name="connsiteY17" fmla="*/ 425450 h 495300"/>
                  <a:gd name="connsiteX18" fmla="*/ 57150 w 193675"/>
                  <a:gd name="connsiteY18" fmla="*/ 428625 h 495300"/>
                  <a:gd name="connsiteX19" fmla="*/ 69850 w 193675"/>
                  <a:gd name="connsiteY19" fmla="*/ 438150 h 495300"/>
                  <a:gd name="connsiteX20" fmla="*/ 82550 w 193675"/>
                  <a:gd name="connsiteY20" fmla="*/ 441325 h 495300"/>
                  <a:gd name="connsiteX21" fmla="*/ 92075 w 193675"/>
                  <a:gd name="connsiteY21" fmla="*/ 447675 h 495300"/>
                  <a:gd name="connsiteX22" fmla="*/ 101600 w 193675"/>
                  <a:gd name="connsiteY22" fmla="*/ 450850 h 495300"/>
                  <a:gd name="connsiteX23" fmla="*/ 117475 w 193675"/>
                  <a:gd name="connsiteY23" fmla="*/ 460375 h 495300"/>
                  <a:gd name="connsiteX24" fmla="*/ 127000 w 193675"/>
                  <a:gd name="connsiteY24" fmla="*/ 469900 h 495300"/>
                  <a:gd name="connsiteX25" fmla="*/ 146050 w 193675"/>
                  <a:gd name="connsiteY25" fmla="*/ 476250 h 495300"/>
                  <a:gd name="connsiteX26" fmla="*/ 174625 w 193675"/>
                  <a:gd name="connsiteY26" fmla="*/ 482600 h 495300"/>
                  <a:gd name="connsiteX27" fmla="*/ 193675 w 193675"/>
                  <a:gd name="connsiteY27" fmla="*/ 49530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3675" h="495300">
                    <a:moveTo>
                      <a:pt x="82550" y="0"/>
                    </a:moveTo>
                    <a:cubicBezTo>
                      <a:pt x="89365" y="34075"/>
                      <a:pt x="88358" y="20985"/>
                      <a:pt x="79375" y="79375"/>
                    </a:cubicBezTo>
                    <a:cubicBezTo>
                      <a:pt x="78357" y="85991"/>
                      <a:pt x="74125" y="91823"/>
                      <a:pt x="73025" y="98425"/>
                    </a:cubicBezTo>
                    <a:cubicBezTo>
                      <a:pt x="71967" y="104775"/>
                      <a:pt x="72729" y="111717"/>
                      <a:pt x="69850" y="117475"/>
                    </a:cubicBezTo>
                    <a:cubicBezTo>
                      <a:pt x="68143" y="120888"/>
                      <a:pt x="63149" y="121258"/>
                      <a:pt x="60325" y="123825"/>
                    </a:cubicBezTo>
                    <a:cubicBezTo>
                      <a:pt x="51465" y="131879"/>
                      <a:pt x="34925" y="149225"/>
                      <a:pt x="34925" y="149225"/>
                    </a:cubicBezTo>
                    <a:cubicBezTo>
                      <a:pt x="33867" y="152400"/>
                      <a:pt x="32503" y="155489"/>
                      <a:pt x="31750" y="158750"/>
                    </a:cubicBezTo>
                    <a:cubicBezTo>
                      <a:pt x="29323" y="169267"/>
                      <a:pt x="30227" y="180847"/>
                      <a:pt x="25400" y="190500"/>
                    </a:cubicBezTo>
                    <a:lnTo>
                      <a:pt x="9525" y="222250"/>
                    </a:lnTo>
                    <a:cubicBezTo>
                      <a:pt x="8467" y="232833"/>
                      <a:pt x="8310" y="243546"/>
                      <a:pt x="6350" y="254000"/>
                    </a:cubicBezTo>
                    <a:cubicBezTo>
                      <a:pt x="5116" y="260579"/>
                      <a:pt x="0" y="273050"/>
                      <a:pt x="0" y="273050"/>
                    </a:cubicBezTo>
                    <a:cubicBezTo>
                      <a:pt x="1058" y="282575"/>
                      <a:pt x="1599" y="292172"/>
                      <a:pt x="3175" y="301625"/>
                    </a:cubicBezTo>
                    <a:cubicBezTo>
                      <a:pt x="3725" y="304926"/>
                      <a:pt x="4259" y="308537"/>
                      <a:pt x="6350" y="311150"/>
                    </a:cubicBezTo>
                    <a:cubicBezTo>
                      <a:pt x="8734" y="314130"/>
                      <a:pt x="12700" y="315383"/>
                      <a:pt x="15875" y="317500"/>
                    </a:cubicBezTo>
                    <a:cubicBezTo>
                      <a:pt x="23600" y="332950"/>
                      <a:pt x="24157" y="333443"/>
                      <a:pt x="31750" y="352425"/>
                    </a:cubicBezTo>
                    <a:cubicBezTo>
                      <a:pt x="41093" y="375784"/>
                      <a:pt x="26821" y="345743"/>
                      <a:pt x="41275" y="374650"/>
                    </a:cubicBezTo>
                    <a:cubicBezTo>
                      <a:pt x="38250" y="392798"/>
                      <a:pt x="35585" y="396957"/>
                      <a:pt x="41275" y="415925"/>
                    </a:cubicBezTo>
                    <a:cubicBezTo>
                      <a:pt x="42371" y="419580"/>
                      <a:pt x="44645" y="423066"/>
                      <a:pt x="47625" y="425450"/>
                    </a:cubicBezTo>
                    <a:cubicBezTo>
                      <a:pt x="50238" y="427541"/>
                      <a:pt x="53975" y="427567"/>
                      <a:pt x="57150" y="428625"/>
                    </a:cubicBezTo>
                    <a:cubicBezTo>
                      <a:pt x="61383" y="431800"/>
                      <a:pt x="65117" y="435783"/>
                      <a:pt x="69850" y="438150"/>
                    </a:cubicBezTo>
                    <a:cubicBezTo>
                      <a:pt x="73753" y="440101"/>
                      <a:pt x="78539" y="439606"/>
                      <a:pt x="82550" y="441325"/>
                    </a:cubicBezTo>
                    <a:cubicBezTo>
                      <a:pt x="86057" y="442828"/>
                      <a:pt x="88662" y="445968"/>
                      <a:pt x="92075" y="447675"/>
                    </a:cubicBezTo>
                    <a:cubicBezTo>
                      <a:pt x="95068" y="449172"/>
                      <a:pt x="98607" y="449353"/>
                      <a:pt x="101600" y="450850"/>
                    </a:cubicBezTo>
                    <a:cubicBezTo>
                      <a:pt x="107120" y="453610"/>
                      <a:pt x="112538" y="456672"/>
                      <a:pt x="117475" y="460375"/>
                    </a:cubicBezTo>
                    <a:cubicBezTo>
                      <a:pt x="121067" y="463069"/>
                      <a:pt x="123075" y="467719"/>
                      <a:pt x="127000" y="469900"/>
                    </a:cubicBezTo>
                    <a:cubicBezTo>
                      <a:pt x="132851" y="473151"/>
                      <a:pt x="139700" y="474133"/>
                      <a:pt x="146050" y="476250"/>
                    </a:cubicBezTo>
                    <a:cubicBezTo>
                      <a:pt x="161682" y="481461"/>
                      <a:pt x="152274" y="478875"/>
                      <a:pt x="174625" y="482600"/>
                    </a:cubicBezTo>
                    <a:cubicBezTo>
                      <a:pt x="191783" y="492895"/>
                      <a:pt x="186136" y="487761"/>
                      <a:pt x="193675" y="495300"/>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13" name="Freeform: Shape 512">
                <a:extLst>
                  <a:ext uri="{FF2B5EF4-FFF2-40B4-BE49-F238E27FC236}">
                    <a16:creationId xmlns:a16="http://schemas.microsoft.com/office/drawing/2014/main" id="{6AFC496F-C854-45D3-A2B1-BEF4A04B21F2}"/>
                  </a:ext>
                </a:extLst>
              </p:cNvPr>
              <p:cNvSpPr/>
              <p:nvPr/>
            </p:nvSpPr>
            <p:spPr bwMode="gray">
              <a:xfrm>
                <a:off x="1088231" y="4545615"/>
                <a:ext cx="85725" cy="45435"/>
              </a:xfrm>
              <a:custGeom>
                <a:avLst/>
                <a:gdLst>
                  <a:gd name="connsiteX0" fmla="*/ 0 w 85725"/>
                  <a:gd name="connsiteY0" fmla="*/ 26385 h 45435"/>
                  <a:gd name="connsiteX1" fmla="*/ 0 w 85725"/>
                  <a:gd name="connsiteY1" fmla="*/ 26385 h 45435"/>
                  <a:gd name="connsiteX2" fmla="*/ 33338 w 85725"/>
                  <a:gd name="connsiteY2" fmla="*/ 26385 h 45435"/>
                  <a:gd name="connsiteX3" fmla="*/ 42863 w 85725"/>
                  <a:gd name="connsiteY3" fmla="*/ 45435 h 45435"/>
                  <a:gd name="connsiteX4" fmla="*/ 45244 w 85725"/>
                  <a:gd name="connsiteY4" fmla="*/ 38291 h 45435"/>
                  <a:gd name="connsiteX5" fmla="*/ 50007 w 85725"/>
                  <a:gd name="connsiteY5" fmla="*/ 16860 h 45435"/>
                  <a:gd name="connsiteX6" fmla="*/ 59532 w 85725"/>
                  <a:gd name="connsiteY6" fmla="*/ 2573 h 45435"/>
                  <a:gd name="connsiteX7" fmla="*/ 71438 w 85725"/>
                  <a:gd name="connsiteY7" fmla="*/ 191 h 45435"/>
                  <a:gd name="connsiteX8" fmla="*/ 85725 w 85725"/>
                  <a:gd name="connsiteY8" fmla="*/ 191 h 45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725" h="45435">
                    <a:moveTo>
                      <a:pt x="0" y="26385"/>
                    </a:moveTo>
                    <a:lnTo>
                      <a:pt x="0" y="26385"/>
                    </a:lnTo>
                    <a:cubicBezTo>
                      <a:pt x="8527" y="24490"/>
                      <a:pt x="24612" y="16689"/>
                      <a:pt x="33338" y="26385"/>
                    </a:cubicBezTo>
                    <a:cubicBezTo>
                      <a:pt x="38087" y="31662"/>
                      <a:pt x="39688" y="39085"/>
                      <a:pt x="42863" y="45435"/>
                    </a:cubicBezTo>
                    <a:cubicBezTo>
                      <a:pt x="43657" y="43054"/>
                      <a:pt x="44635" y="40726"/>
                      <a:pt x="45244" y="38291"/>
                    </a:cubicBezTo>
                    <a:cubicBezTo>
                      <a:pt x="47019" y="31192"/>
                      <a:pt x="47289" y="23655"/>
                      <a:pt x="50007" y="16860"/>
                    </a:cubicBezTo>
                    <a:cubicBezTo>
                      <a:pt x="52133" y="11546"/>
                      <a:pt x="53920" y="3696"/>
                      <a:pt x="59532" y="2573"/>
                    </a:cubicBezTo>
                    <a:cubicBezTo>
                      <a:pt x="63501" y="1779"/>
                      <a:pt x="67407" y="558"/>
                      <a:pt x="71438" y="191"/>
                    </a:cubicBezTo>
                    <a:cubicBezTo>
                      <a:pt x="76181" y="-240"/>
                      <a:pt x="80963" y="191"/>
                      <a:pt x="85725" y="191"/>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grpSp>
        <p:grpSp>
          <p:nvGrpSpPr>
            <p:cNvPr id="309" name="Group 308">
              <a:extLst>
                <a:ext uri="{FF2B5EF4-FFF2-40B4-BE49-F238E27FC236}">
                  <a16:creationId xmlns:a16="http://schemas.microsoft.com/office/drawing/2014/main" id="{C15F0FD1-4E61-4564-8D1B-8E011649047F}"/>
                </a:ext>
              </a:extLst>
            </p:cNvPr>
            <p:cNvGrpSpPr/>
            <p:nvPr/>
          </p:nvGrpSpPr>
          <p:grpSpPr bwMode="gray">
            <a:xfrm>
              <a:off x="8646319" y="3281363"/>
              <a:ext cx="1247775" cy="1878012"/>
              <a:chOff x="8646319" y="3281363"/>
              <a:chExt cx="1247775" cy="1878012"/>
            </a:xfrm>
          </p:grpSpPr>
          <p:sp>
            <p:nvSpPr>
              <p:cNvPr id="480" name="Freeform: Shape 479">
                <a:extLst>
                  <a:ext uri="{FF2B5EF4-FFF2-40B4-BE49-F238E27FC236}">
                    <a16:creationId xmlns:a16="http://schemas.microsoft.com/office/drawing/2014/main" id="{CC5A00C1-8704-4E79-9626-D922BAEE1A20}"/>
                  </a:ext>
                </a:extLst>
              </p:cNvPr>
              <p:cNvSpPr/>
              <p:nvPr/>
            </p:nvSpPr>
            <p:spPr bwMode="gray">
              <a:xfrm>
                <a:off x="9113044" y="3531394"/>
                <a:ext cx="142875" cy="211931"/>
              </a:xfrm>
              <a:custGeom>
                <a:avLst/>
                <a:gdLst>
                  <a:gd name="connsiteX0" fmla="*/ 0 w 176213"/>
                  <a:gd name="connsiteY0" fmla="*/ 0 h 288131"/>
                  <a:gd name="connsiteX1" fmla="*/ 33338 w 176213"/>
                  <a:gd name="connsiteY1" fmla="*/ 57150 h 288131"/>
                  <a:gd name="connsiteX2" fmla="*/ 33338 w 176213"/>
                  <a:gd name="connsiteY2" fmla="*/ 76200 h 288131"/>
                  <a:gd name="connsiteX3" fmla="*/ 80963 w 176213"/>
                  <a:gd name="connsiteY3" fmla="*/ 159544 h 288131"/>
                  <a:gd name="connsiteX4" fmla="*/ 150019 w 176213"/>
                  <a:gd name="connsiteY4" fmla="*/ 221456 h 288131"/>
                  <a:gd name="connsiteX5" fmla="*/ 159544 w 176213"/>
                  <a:gd name="connsiteY5" fmla="*/ 271462 h 288131"/>
                  <a:gd name="connsiteX6" fmla="*/ 176213 w 176213"/>
                  <a:gd name="connsiteY6" fmla="*/ 288131 h 288131"/>
                  <a:gd name="connsiteX0" fmla="*/ 0 w 142875"/>
                  <a:gd name="connsiteY0" fmla="*/ 0 h 230981"/>
                  <a:gd name="connsiteX1" fmla="*/ 0 w 142875"/>
                  <a:gd name="connsiteY1" fmla="*/ 19050 h 230981"/>
                  <a:gd name="connsiteX2" fmla="*/ 47625 w 142875"/>
                  <a:gd name="connsiteY2" fmla="*/ 102394 h 230981"/>
                  <a:gd name="connsiteX3" fmla="*/ 116681 w 142875"/>
                  <a:gd name="connsiteY3" fmla="*/ 164306 h 230981"/>
                  <a:gd name="connsiteX4" fmla="*/ 126206 w 142875"/>
                  <a:gd name="connsiteY4" fmla="*/ 214312 h 230981"/>
                  <a:gd name="connsiteX5" fmla="*/ 142875 w 142875"/>
                  <a:gd name="connsiteY5" fmla="*/ 230981 h 230981"/>
                  <a:gd name="connsiteX0" fmla="*/ 0 w 142875"/>
                  <a:gd name="connsiteY0" fmla="*/ 0 h 211931"/>
                  <a:gd name="connsiteX1" fmla="*/ 47625 w 142875"/>
                  <a:gd name="connsiteY1" fmla="*/ 83344 h 211931"/>
                  <a:gd name="connsiteX2" fmla="*/ 116681 w 142875"/>
                  <a:gd name="connsiteY2" fmla="*/ 145256 h 211931"/>
                  <a:gd name="connsiteX3" fmla="*/ 126206 w 142875"/>
                  <a:gd name="connsiteY3" fmla="*/ 195262 h 211931"/>
                  <a:gd name="connsiteX4" fmla="*/ 142875 w 142875"/>
                  <a:gd name="connsiteY4" fmla="*/ 211931 h 211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75" h="211931">
                    <a:moveTo>
                      <a:pt x="0" y="0"/>
                    </a:moveTo>
                    <a:lnTo>
                      <a:pt x="47625" y="83344"/>
                    </a:lnTo>
                    <a:lnTo>
                      <a:pt x="116681" y="145256"/>
                    </a:lnTo>
                    <a:lnTo>
                      <a:pt x="126206" y="195262"/>
                    </a:lnTo>
                    <a:lnTo>
                      <a:pt x="142875" y="211931"/>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81" name="Freeform: Shape 480">
                <a:extLst>
                  <a:ext uri="{FF2B5EF4-FFF2-40B4-BE49-F238E27FC236}">
                    <a16:creationId xmlns:a16="http://schemas.microsoft.com/office/drawing/2014/main" id="{BF55C060-33C8-4F93-8B78-D623F1CF402D}"/>
                  </a:ext>
                </a:extLst>
              </p:cNvPr>
              <p:cNvSpPr/>
              <p:nvPr/>
            </p:nvSpPr>
            <p:spPr bwMode="gray">
              <a:xfrm>
                <a:off x="9082088" y="3490913"/>
                <a:ext cx="50006" cy="100012"/>
              </a:xfrm>
              <a:custGeom>
                <a:avLst/>
                <a:gdLst>
                  <a:gd name="connsiteX0" fmla="*/ 0 w 50006"/>
                  <a:gd name="connsiteY0" fmla="*/ 100012 h 100012"/>
                  <a:gd name="connsiteX1" fmla="*/ 4762 w 50006"/>
                  <a:gd name="connsiteY1" fmla="*/ 71437 h 100012"/>
                  <a:gd name="connsiteX2" fmla="*/ 33337 w 50006"/>
                  <a:gd name="connsiteY2" fmla="*/ 50006 h 100012"/>
                  <a:gd name="connsiteX3" fmla="*/ 50006 w 50006"/>
                  <a:gd name="connsiteY3" fmla="*/ 0 h 100012"/>
                </a:gdLst>
                <a:ahLst/>
                <a:cxnLst>
                  <a:cxn ang="0">
                    <a:pos x="connsiteX0" y="connsiteY0"/>
                  </a:cxn>
                  <a:cxn ang="0">
                    <a:pos x="connsiteX1" y="connsiteY1"/>
                  </a:cxn>
                  <a:cxn ang="0">
                    <a:pos x="connsiteX2" y="connsiteY2"/>
                  </a:cxn>
                  <a:cxn ang="0">
                    <a:pos x="connsiteX3" y="connsiteY3"/>
                  </a:cxn>
                </a:cxnLst>
                <a:rect l="l" t="t" r="r" b="b"/>
                <a:pathLst>
                  <a:path w="50006" h="100012">
                    <a:moveTo>
                      <a:pt x="0" y="100012"/>
                    </a:moveTo>
                    <a:lnTo>
                      <a:pt x="4762" y="71437"/>
                    </a:lnTo>
                    <a:lnTo>
                      <a:pt x="33337" y="50006"/>
                    </a:lnTo>
                    <a:lnTo>
                      <a:pt x="50006"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82" name="Freeform: Shape 481">
                <a:extLst>
                  <a:ext uri="{FF2B5EF4-FFF2-40B4-BE49-F238E27FC236}">
                    <a16:creationId xmlns:a16="http://schemas.microsoft.com/office/drawing/2014/main" id="{4728284D-414F-4906-91C1-30DC32BBC0C0}"/>
                  </a:ext>
                </a:extLst>
              </p:cNvPr>
              <p:cNvSpPr/>
              <p:nvPr/>
            </p:nvSpPr>
            <p:spPr bwMode="gray">
              <a:xfrm>
                <a:off x="9062857" y="3550444"/>
                <a:ext cx="22550" cy="6129"/>
              </a:xfrm>
              <a:custGeom>
                <a:avLst/>
                <a:gdLst>
                  <a:gd name="connsiteX0" fmla="*/ 181 w 22550"/>
                  <a:gd name="connsiteY0" fmla="*/ 4762 h 6129"/>
                  <a:gd name="connsiteX1" fmla="*/ 12087 w 22550"/>
                  <a:gd name="connsiteY1" fmla="*/ 0 h 6129"/>
                  <a:gd name="connsiteX2" fmla="*/ 21612 w 22550"/>
                  <a:gd name="connsiteY2" fmla="*/ 4762 h 6129"/>
                  <a:gd name="connsiteX3" fmla="*/ 181 w 22550"/>
                  <a:gd name="connsiteY3" fmla="*/ 4762 h 6129"/>
                </a:gdLst>
                <a:ahLst/>
                <a:cxnLst>
                  <a:cxn ang="0">
                    <a:pos x="connsiteX0" y="connsiteY0"/>
                  </a:cxn>
                  <a:cxn ang="0">
                    <a:pos x="connsiteX1" y="connsiteY1"/>
                  </a:cxn>
                  <a:cxn ang="0">
                    <a:pos x="connsiteX2" y="connsiteY2"/>
                  </a:cxn>
                  <a:cxn ang="0">
                    <a:pos x="connsiteX3" y="connsiteY3"/>
                  </a:cxn>
                </a:cxnLst>
                <a:rect l="l" t="t" r="r" b="b"/>
                <a:pathLst>
                  <a:path w="22550" h="6129">
                    <a:moveTo>
                      <a:pt x="181" y="4762"/>
                    </a:moveTo>
                    <a:cubicBezTo>
                      <a:pt x="-1407" y="3968"/>
                      <a:pt x="7813" y="0"/>
                      <a:pt x="12087" y="0"/>
                    </a:cubicBezTo>
                    <a:cubicBezTo>
                      <a:pt x="15637" y="0"/>
                      <a:pt x="18349" y="3364"/>
                      <a:pt x="21612" y="4762"/>
                    </a:cubicBezTo>
                    <a:cubicBezTo>
                      <a:pt x="27756" y="7395"/>
                      <a:pt x="1769" y="5556"/>
                      <a:pt x="181" y="4762"/>
                    </a:cubicBezTo>
                    <a:close/>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83" name="Freeform: Shape 482">
                <a:extLst>
                  <a:ext uri="{FF2B5EF4-FFF2-40B4-BE49-F238E27FC236}">
                    <a16:creationId xmlns:a16="http://schemas.microsoft.com/office/drawing/2014/main" id="{17C644D7-561A-4695-A263-EB4E49F0CDE0}"/>
                  </a:ext>
                </a:extLst>
              </p:cNvPr>
              <p:cNvSpPr/>
              <p:nvPr/>
            </p:nvSpPr>
            <p:spPr bwMode="gray">
              <a:xfrm>
                <a:off x="9122569" y="3512344"/>
                <a:ext cx="17181" cy="11347"/>
              </a:xfrm>
              <a:custGeom>
                <a:avLst/>
                <a:gdLst>
                  <a:gd name="connsiteX0" fmla="*/ 0 w 17181"/>
                  <a:gd name="connsiteY0" fmla="*/ 0 h 11347"/>
                  <a:gd name="connsiteX1" fmla="*/ 11906 w 17181"/>
                  <a:gd name="connsiteY1" fmla="*/ 7144 h 11347"/>
                  <a:gd name="connsiteX2" fmla="*/ 0 w 17181"/>
                  <a:gd name="connsiteY2" fmla="*/ 0 h 11347"/>
                </a:gdLst>
                <a:ahLst/>
                <a:cxnLst>
                  <a:cxn ang="0">
                    <a:pos x="connsiteX0" y="connsiteY0"/>
                  </a:cxn>
                  <a:cxn ang="0">
                    <a:pos x="connsiteX1" y="connsiteY1"/>
                  </a:cxn>
                  <a:cxn ang="0">
                    <a:pos x="connsiteX2" y="connsiteY2"/>
                  </a:cxn>
                </a:cxnLst>
                <a:rect l="l" t="t" r="r" b="b"/>
                <a:pathLst>
                  <a:path w="17181" h="11347">
                    <a:moveTo>
                      <a:pt x="0" y="0"/>
                    </a:moveTo>
                    <a:cubicBezTo>
                      <a:pt x="0" y="0"/>
                      <a:pt x="8203" y="4367"/>
                      <a:pt x="11906" y="7144"/>
                    </a:cubicBezTo>
                    <a:cubicBezTo>
                      <a:pt x="28708" y="19745"/>
                      <a:pt x="0" y="0"/>
                      <a:pt x="0" y="0"/>
                    </a:cubicBezTo>
                    <a:close/>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84" name="Freeform: Shape 483">
                <a:extLst>
                  <a:ext uri="{FF2B5EF4-FFF2-40B4-BE49-F238E27FC236}">
                    <a16:creationId xmlns:a16="http://schemas.microsoft.com/office/drawing/2014/main" id="{B77ED4EA-93BF-4182-BB27-666F468E6B74}"/>
                  </a:ext>
                </a:extLst>
              </p:cNvPr>
              <p:cNvSpPr/>
              <p:nvPr/>
            </p:nvSpPr>
            <p:spPr bwMode="gray">
              <a:xfrm>
                <a:off x="8979694" y="3600450"/>
                <a:ext cx="176212" cy="80963"/>
              </a:xfrm>
              <a:custGeom>
                <a:avLst/>
                <a:gdLst>
                  <a:gd name="connsiteX0" fmla="*/ 0 w 176212"/>
                  <a:gd name="connsiteY0" fmla="*/ 30956 h 80963"/>
                  <a:gd name="connsiteX1" fmla="*/ 21431 w 176212"/>
                  <a:gd name="connsiteY1" fmla="*/ 30956 h 80963"/>
                  <a:gd name="connsiteX2" fmla="*/ 23812 w 176212"/>
                  <a:gd name="connsiteY2" fmla="*/ 40481 h 80963"/>
                  <a:gd name="connsiteX3" fmla="*/ 28575 w 176212"/>
                  <a:gd name="connsiteY3" fmla="*/ 50006 h 80963"/>
                  <a:gd name="connsiteX4" fmla="*/ 35719 w 176212"/>
                  <a:gd name="connsiteY4" fmla="*/ 66675 h 80963"/>
                  <a:gd name="connsiteX5" fmla="*/ 50006 w 176212"/>
                  <a:gd name="connsiteY5" fmla="*/ 76200 h 80963"/>
                  <a:gd name="connsiteX6" fmla="*/ 57150 w 176212"/>
                  <a:gd name="connsiteY6" fmla="*/ 80963 h 80963"/>
                  <a:gd name="connsiteX7" fmla="*/ 85725 w 176212"/>
                  <a:gd name="connsiteY7" fmla="*/ 71438 h 80963"/>
                  <a:gd name="connsiteX8" fmla="*/ 111919 w 176212"/>
                  <a:gd name="connsiteY8" fmla="*/ 50006 h 80963"/>
                  <a:gd name="connsiteX9" fmla="*/ 135731 w 176212"/>
                  <a:gd name="connsiteY9" fmla="*/ 33338 h 80963"/>
                  <a:gd name="connsiteX10" fmla="*/ 157162 w 176212"/>
                  <a:gd name="connsiteY10" fmla="*/ 19050 h 80963"/>
                  <a:gd name="connsiteX11" fmla="*/ 159544 w 176212"/>
                  <a:gd name="connsiteY11" fmla="*/ 11906 h 80963"/>
                  <a:gd name="connsiteX12" fmla="*/ 171450 w 176212"/>
                  <a:gd name="connsiteY12" fmla="*/ 4763 h 80963"/>
                  <a:gd name="connsiteX13" fmla="*/ 176212 w 176212"/>
                  <a:gd name="connsiteY13" fmla="*/ 0 h 80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6212" h="80963">
                    <a:moveTo>
                      <a:pt x="0" y="30956"/>
                    </a:moveTo>
                    <a:cubicBezTo>
                      <a:pt x="4718" y="30013"/>
                      <a:pt x="16387" y="25912"/>
                      <a:pt x="21431" y="30956"/>
                    </a:cubicBezTo>
                    <a:cubicBezTo>
                      <a:pt x="23745" y="33270"/>
                      <a:pt x="22663" y="37417"/>
                      <a:pt x="23812" y="40481"/>
                    </a:cubicBezTo>
                    <a:cubicBezTo>
                      <a:pt x="25058" y="43805"/>
                      <a:pt x="27177" y="46743"/>
                      <a:pt x="28575" y="50006"/>
                    </a:cubicBezTo>
                    <a:cubicBezTo>
                      <a:pt x="30711" y="54989"/>
                      <a:pt x="31768" y="62724"/>
                      <a:pt x="35719" y="66675"/>
                    </a:cubicBezTo>
                    <a:cubicBezTo>
                      <a:pt x="39766" y="70722"/>
                      <a:pt x="45244" y="73025"/>
                      <a:pt x="50006" y="76200"/>
                    </a:cubicBezTo>
                    <a:lnTo>
                      <a:pt x="57150" y="80963"/>
                    </a:lnTo>
                    <a:cubicBezTo>
                      <a:pt x="66675" y="77788"/>
                      <a:pt x="76651" y="75736"/>
                      <a:pt x="85725" y="71438"/>
                    </a:cubicBezTo>
                    <a:cubicBezTo>
                      <a:pt x="100663" y="64362"/>
                      <a:pt x="101107" y="59466"/>
                      <a:pt x="111919" y="50006"/>
                    </a:cubicBezTo>
                    <a:cubicBezTo>
                      <a:pt x="120042" y="42899"/>
                      <a:pt x="126768" y="40061"/>
                      <a:pt x="135731" y="33338"/>
                    </a:cubicBezTo>
                    <a:cubicBezTo>
                      <a:pt x="148959" y="23417"/>
                      <a:pt x="141853" y="28236"/>
                      <a:pt x="157162" y="19050"/>
                    </a:cubicBezTo>
                    <a:cubicBezTo>
                      <a:pt x="157956" y="16669"/>
                      <a:pt x="157769" y="13681"/>
                      <a:pt x="159544" y="11906"/>
                    </a:cubicBezTo>
                    <a:cubicBezTo>
                      <a:pt x="162817" y="8634"/>
                      <a:pt x="167684" y="7453"/>
                      <a:pt x="171450" y="4763"/>
                    </a:cubicBezTo>
                    <a:cubicBezTo>
                      <a:pt x="173277" y="3458"/>
                      <a:pt x="174625" y="1588"/>
                      <a:pt x="176212" y="0"/>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85" name="Freeform: Shape 484">
                <a:extLst>
                  <a:ext uri="{FF2B5EF4-FFF2-40B4-BE49-F238E27FC236}">
                    <a16:creationId xmlns:a16="http://schemas.microsoft.com/office/drawing/2014/main" id="{F9D14D48-2916-41B1-A8F3-13F1D964880E}"/>
                  </a:ext>
                </a:extLst>
              </p:cNvPr>
              <p:cNvSpPr/>
              <p:nvPr/>
            </p:nvSpPr>
            <p:spPr bwMode="gray">
              <a:xfrm>
                <a:off x="8958263" y="3674269"/>
                <a:ext cx="123825" cy="30956"/>
              </a:xfrm>
              <a:custGeom>
                <a:avLst/>
                <a:gdLst>
                  <a:gd name="connsiteX0" fmla="*/ 0 w 123825"/>
                  <a:gd name="connsiteY0" fmla="*/ 9525 h 30956"/>
                  <a:gd name="connsiteX1" fmla="*/ 52387 w 123825"/>
                  <a:gd name="connsiteY1" fmla="*/ 30956 h 30956"/>
                  <a:gd name="connsiteX2" fmla="*/ 76200 w 123825"/>
                  <a:gd name="connsiteY2" fmla="*/ 7144 h 30956"/>
                  <a:gd name="connsiteX3" fmla="*/ 111918 w 123825"/>
                  <a:gd name="connsiteY3" fmla="*/ 0 h 30956"/>
                  <a:gd name="connsiteX4" fmla="*/ 123825 w 123825"/>
                  <a:gd name="connsiteY4" fmla="*/ 23812 h 30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25" h="30956">
                    <a:moveTo>
                      <a:pt x="0" y="9525"/>
                    </a:moveTo>
                    <a:lnTo>
                      <a:pt x="52387" y="30956"/>
                    </a:lnTo>
                    <a:lnTo>
                      <a:pt x="76200" y="7144"/>
                    </a:lnTo>
                    <a:lnTo>
                      <a:pt x="111918" y="0"/>
                    </a:lnTo>
                    <a:lnTo>
                      <a:pt x="123825" y="23812"/>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86" name="Freeform: Shape 485">
                <a:extLst>
                  <a:ext uri="{FF2B5EF4-FFF2-40B4-BE49-F238E27FC236}">
                    <a16:creationId xmlns:a16="http://schemas.microsoft.com/office/drawing/2014/main" id="{C6EA48DF-78FA-4C24-9892-B861E8D591BD}"/>
                  </a:ext>
                </a:extLst>
              </p:cNvPr>
              <p:cNvSpPr/>
              <p:nvPr/>
            </p:nvSpPr>
            <p:spPr bwMode="gray">
              <a:xfrm>
                <a:off x="9039225" y="3679031"/>
                <a:ext cx="69056" cy="78582"/>
              </a:xfrm>
              <a:custGeom>
                <a:avLst/>
                <a:gdLst>
                  <a:gd name="connsiteX0" fmla="*/ 0 w 69056"/>
                  <a:gd name="connsiteY0" fmla="*/ 0 h 78582"/>
                  <a:gd name="connsiteX1" fmla="*/ 0 w 69056"/>
                  <a:gd name="connsiteY1" fmla="*/ 0 h 78582"/>
                  <a:gd name="connsiteX2" fmla="*/ 38100 w 69056"/>
                  <a:gd name="connsiteY2" fmla="*/ 47625 h 78582"/>
                  <a:gd name="connsiteX3" fmla="*/ 69056 w 69056"/>
                  <a:gd name="connsiteY3" fmla="*/ 78582 h 78582"/>
                </a:gdLst>
                <a:ahLst/>
                <a:cxnLst>
                  <a:cxn ang="0">
                    <a:pos x="connsiteX0" y="connsiteY0"/>
                  </a:cxn>
                  <a:cxn ang="0">
                    <a:pos x="connsiteX1" y="connsiteY1"/>
                  </a:cxn>
                  <a:cxn ang="0">
                    <a:pos x="connsiteX2" y="connsiteY2"/>
                  </a:cxn>
                  <a:cxn ang="0">
                    <a:pos x="connsiteX3" y="connsiteY3"/>
                  </a:cxn>
                </a:cxnLst>
                <a:rect l="l" t="t" r="r" b="b"/>
                <a:pathLst>
                  <a:path w="69056" h="78582">
                    <a:moveTo>
                      <a:pt x="0" y="0"/>
                    </a:moveTo>
                    <a:lnTo>
                      <a:pt x="0" y="0"/>
                    </a:lnTo>
                    <a:lnTo>
                      <a:pt x="38100" y="47625"/>
                    </a:lnTo>
                    <a:lnTo>
                      <a:pt x="69056" y="78582"/>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87" name="Freeform: Shape 486">
                <a:extLst>
                  <a:ext uri="{FF2B5EF4-FFF2-40B4-BE49-F238E27FC236}">
                    <a16:creationId xmlns:a16="http://schemas.microsoft.com/office/drawing/2014/main" id="{6DD05FF6-0DEB-4DCB-9BA3-9C4D3F071E8D}"/>
                  </a:ext>
                </a:extLst>
              </p:cNvPr>
              <p:cNvSpPr/>
              <p:nvPr/>
            </p:nvSpPr>
            <p:spPr bwMode="gray">
              <a:xfrm>
                <a:off x="9027319" y="3788569"/>
                <a:ext cx="169069" cy="40481"/>
              </a:xfrm>
              <a:custGeom>
                <a:avLst/>
                <a:gdLst>
                  <a:gd name="connsiteX0" fmla="*/ 0 w 169069"/>
                  <a:gd name="connsiteY0" fmla="*/ 7144 h 40481"/>
                  <a:gd name="connsiteX1" fmla="*/ 66675 w 169069"/>
                  <a:gd name="connsiteY1" fmla="*/ 21431 h 40481"/>
                  <a:gd name="connsiteX2" fmla="*/ 88106 w 169069"/>
                  <a:gd name="connsiteY2" fmla="*/ 21431 h 40481"/>
                  <a:gd name="connsiteX3" fmla="*/ 111919 w 169069"/>
                  <a:gd name="connsiteY3" fmla="*/ 40481 h 40481"/>
                  <a:gd name="connsiteX4" fmla="*/ 166687 w 169069"/>
                  <a:gd name="connsiteY4" fmla="*/ 33337 h 40481"/>
                  <a:gd name="connsiteX5" fmla="*/ 169069 w 169069"/>
                  <a:gd name="connsiteY5" fmla="*/ 0 h 4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069" h="40481">
                    <a:moveTo>
                      <a:pt x="0" y="7144"/>
                    </a:moveTo>
                    <a:lnTo>
                      <a:pt x="66675" y="21431"/>
                    </a:lnTo>
                    <a:lnTo>
                      <a:pt x="88106" y="21431"/>
                    </a:lnTo>
                    <a:lnTo>
                      <a:pt x="111919" y="40481"/>
                    </a:lnTo>
                    <a:lnTo>
                      <a:pt x="166687" y="33337"/>
                    </a:lnTo>
                    <a:lnTo>
                      <a:pt x="169069"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88" name="Freeform: Shape 487">
                <a:extLst>
                  <a:ext uri="{FF2B5EF4-FFF2-40B4-BE49-F238E27FC236}">
                    <a16:creationId xmlns:a16="http://schemas.microsoft.com/office/drawing/2014/main" id="{0FA4FD86-B228-40CE-B2BE-3F54CB92425A}"/>
                  </a:ext>
                </a:extLst>
              </p:cNvPr>
              <p:cNvSpPr/>
              <p:nvPr/>
            </p:nvSpPr>
            <p:spPr bwMode="gray">
              <a:xfrm>
                <a:off x="9053513" y="4110038"/>
                <a:ext cx="195262" cy="235743"/>
              </a:xfrm>
              <a:custGeom>
                <a:avLst/>
                <a:gdLst>
                  <a:gd name="connsiteX0" fmla="*/ 9525 w 195262"/>
                  <a:gd name="connsiteY0" fmla="*/ 235743 h 235743"/>
                  <a:gd name="connsiteX1" fmla="*/ 45243 w 195262"/>
                  <a:gd name="connsiteY1" fmla="*/ 228600 h 235743"/>
                  <a:gd name="connsiteX2" fmla="*/ 92868 w 195262"/>
                  <a:gd name="connsiteY2" fmla="*/ 230981 h 235743"/>
                  <a:gd name="connsiteX3" fmla="*/ 164306 w 195262"/>
                  <a:gd name="connsiteY3" fmla="*/ 235743 h 235743"/>
                  <a:gd name="connsiteX4" fmla="*/ 195262 w 195262"/>
                  <a:gd name="connsiteY4" fmla="*/ 195262 h 235743"/>
                  <a:gd name="connsiteX5" fmla="*/ 185737 w 195262"/>
                  <a:gd name="connsiteY5" fmla="*/ 159543 h 235743"/>
                  <a:gd name="connsiteX6" fmla="*/ 164306 w 195262"/>
                  <a:gd name="connsiteY6" fmla="*/ 123825 h 235743"/>
                  <a:gd name="connsiteX7" fmla="*/ 185737 w 195262"/>
                  <a:gd name="connsiteY7" fmla="*/ 111918 h 235743"/>
                  <a:gd name="connsiteX8" fmla="*/ 164306 w 195262"/>
                  <a:gd name="connsiteY8" fmla="*/ 80962 h 235743"/>
                  <a:gd name="connsiteX9" fmla="*/ 164306 w 195262"/>
                  <a:gd name="connsiteY9" fmla="*/ 40481 h 235743"/>
                  <a:gd name="connsiteX10" fmla="*/ 107156 w 195262"/>
                  <a:gd name="connsiteY10" fmla="*/ 0 h 235743"/>
                  <a:gd name="connsiteX11" fmla="*/ 95250 w 195262"/>
                  <a:gd name="connsiteY11" fmla="*/ 0 h 235743"/>
                  <a:gd name="connsiteX12" fmla="*/ 66675 w 195262"/>
                  <a:gd name="connsiteY12" fmla="*/ 19050 h 235743"/>
                  <a:gd name="connsiteX13" fmla="*/ 38100 w 195262"/>
                  <a:gd name="connsiteY13" fmla="*/ 19050 h 235743"/>
                  <a:gd name="connsiteX14" fmla="*/ 0 w 195262"/>
                  <a:gd name="connsiteY14" fmla="*/ 57150 h 235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5262" h="235743">
                    <a:moveTo>
                      <a:pt x="9525" y="235743"/>
                    </a:moveTo>
                    <a:lnTo>
                      <a:pt x="45243" y="228600"/>
                    </a:lnTo>
                    <a:lnTo>
                      <a:pt x="92868" y="230981"/>
                    </a:lnTo>
                    <a:lnTo>
                      <a:pt x="164306" y="235743"/>
                    </a:lnTo>
                    <a:lnTo>
                      <a:pt x="195262" y="195262"/>
                    </a:lnTo>
                    <a:lnTo>
                      <a:pt x="185737" y="159543"/>
                    </a:lnTo>
                    <a:lnTo>
                      <a:pt x="164306" y="123825"/>
                    </a:lnTo>
                    <a:lnTo>
                      <a:pt x="185737" y="111918"/>
                    </a:lnTo>
                    <a:lnTo>
                      <a:pt x="164306" y="80962"/>
                    </a:lnTo>
                    <a:lnTo>
                      <a:pt x="164306" y="40481"/>
                    </a:lnTo>
                    <a:lnTo>
                      <a:pt x="107156" y="0"/>
                    </a:lnTo>
                    <a:lnTo>
                      <a:pt x="95250" y="0"/>
                    </a:lnTo>
                    <a:lnTo>
                      <a:pt x="66675" y="19050"/>
                    </a:lnTo>
                    <a:lnTo>
                      <a:pt x="38100" y="19050"/>
                    </a:lnTo>
                    <a:lnTo>
                      <a:pt x="0" y="5715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89" name="Freeform: Shape 488">
                <a:extLst>
                  <a:ext uri="{FF2B5EF4-FFF2-40B4-BE49-F238E27FC236}">
                    <a16:creationId xmlns:a16="http://schemas.microsoft.com/office/drawing/2014/main" id="{1E18F1A5-BF1D-4E0A-8454-0BA80B0E87B6}"/>
                  </a:ext>
                </a:extLst>
              </p:cNvPr>
              <p:cNvSpPr/>
              <p:nvPr/>
            </p:nvSpPr>
            <p:spPr bwMode="gray">
              <a:xfrm>
                <a:off x="9084469" y="3602831"/>
                <a:ext cx="240506" cy="514350"/>
              </a:xfrm>
              <a:custGeom>
                <a:avLst/>
                <a:gdLst>
                  <a:gd name="connsiteX0" fmla="*/ 59531 w 240506"/>
                  <a:gd name="connsiteY0" fmla="*/ 514350 h 514350"/>
                  <a:gd name="connsiteX1" fmla="*/ 26194 w 240506"/>
                  <a:gd name="connsiteY1" fmla="*/ 473869 h 514350"/>
                  <a:gd name="connsiteX2" fmla="*/ 21431 w 240506"/>
                  <a:gd name="connsiteY2" fmla="*/ 442913 h 514350"/>
                  <a:gd name="connsiteX3" fmla="*/ 28575 w 240506"/>
                  <a:gd name="connsiteY3" fmla="*/ 419100 h 514350"/>
                  <a:gd name="connsiteX4" fmla="*/ 11906 w 240506"/>
                  <a:gd name="connsiteY4" fmla="*/ 373857 h 514350"/>
                  <a:gd name="connsiteX5" fmla="*/ 14287 w 240506"/>
                  <a:gd name="connsiteY5" fmla="*/ 342900 h 514350"/>
                  <a:gd name="connsiteX6" fmla="*/ 16669 w 240506"/>
                  <a:gd name="connsiteY6" fmla="*/ 311944 h 514350"/>
                  <a:gd name="connsiteX7" fmla="*/ 0 w 240506"/>
                  <a:gd name="connsiteY7" fmla="*/ 285750 h 514350"/>
                  <a:gd name="connsiteX8" fmla="*/ 9525 w 240506"/>
                  <a:gd name="connsiteY8" fmla="*/ 214313 h 514350"/>
                  <a:gd name="connsiteX9" fmla="*/ 19050 w 240506"/>
                  <a:gd name="connsiteY9" fmla="*/ 209550 h 514350"/>
                  <a:gd name="connsiteX10" fmla="*/ 30956 w 240506"/>
                  <a:gd name="connsiteY10" fmla="*/ 161925 h 514350"/>
                  <a:gd name="connsiteX11" fmla="*/ 164306 w 240506"/>
                  <a:gd name="connsiteY11" fmla="*/ 0 h 514350"/>
                  <a:gd name="connsiteX12" fmla="*/ 180975 w 240506"/>
                  <a:gd name="connsiteY12" fmla="*/ 23813 h 514350"/>
                  <a:gd name="connsiteX13" fmla="*/ 214312 w 240506"/>
                  <a:gd name="connsiteY13" fmla="*/ 9525 h 514350"/>
                  <a:gd name="connsiteX14" fmla="*/ 240506 w 240506"/>
                  <a:gd name="connsiteY14" fmla="*/ 42863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0506" h="514350">
                    <a:moveTo>
                      <a:pt x="59531" y="514350"/>
                    </a:moveTo>
                    <a:lnTo>
                      <a:pt x="26194" y="473869"/>
                    </a:lnTo>
                    <a:lnTo>
                      <a:pt x="21431" y="442913"/>
                    </a:lnTo>
                    <a:lnTo>
                      <a:pt x="28575" y="419100"/>
                    </a:lnTo>
                    <a:lnTo>
                      <a:pt x="11906" y="373857"/>
                    </a:lnTo>
                    <a:lnTo>
                      <a:pt x="14287" y="342900"/>
                    </a:lnTo>
                    <a:lnTo>
                      <a:pt x="16669" y="311944"/>
                    </a:lnTo>
                    <a:lnTo>
                      <a:pt x="0" y="285750"/>
                    </a:lnTo>
                    <a:lnTo>
                      <a:pt x="9525" y="214313"/>
                    </a:lnTo>
                    <a:lnTo>
                      <a:pt x="19050" y="209550"/>
                    </a:lnTo>
                    <a:lnTo>
                      <a:pt x="30956" y="161925"/>
                    </a:lnTo>
                    <a:lnTo>
                      <a:pt x="164306" y="0"/>
                    </a:lnTo>
                    <a:lnTo>
                      <a:pt x="180975" y="23813"/>
                    </a:lnTo>
                    <a:lnTo>
                      <a:pt x="214312" y="9525"/>
                    </a:lnTo>
                    <a:lnTo>
                      <a:pt x="240506" y="42863"/>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90" name="Freeform: Shape 489">
                <a:extLst>
                  <a:ext uri="{FF2B5EF4-FFF2-40B4-BE49-F238E27FC236}">
                    <a16:creationId xmlns:a16="http://schemas.microsoft.com/office/drawing/2014/main" id="{709E8008-B60A-4E76-A8AA-8994D14D2686}"/>
                  </a:ext>
                </a:extLst>
              </p:cNvPr>
              <p:cNvSpPr/>
              <p:nvPr/>
            </p:nvSpPr>
            <p:spPr bwMode="gray">
              <a:xfrm>
                <a:off x="9224963" y="3336131"/>
                <a:ext cx="376237" cy="328613"/>
              </a:xfrm>
              <a:custGeom>
                <a:avLst/>
                <a:gdLst>
                  <a:gd name="connsiteX0" fmla="*/ 0 w 376237"/>
                  <a:gd name="connsiteY0" fmla="*/ 328613 h 328613"/>
                  <a:gd name="connsiteX1" fmla="*/ 45243 w 376237"/>
                  <a:gd name="connsiteY1" fmla="*/ 290513 h 328613"/>
                  <a:gd name="connsiteX2" fmla="*/ 109537 w 376237"/>
                  <a:gd name="connsiteY2" fmla="*/ 269082 h 328613"/>
                  <a:gd name="connsiteX3" fmla="*/ 142875 w 376237"/>
                  <a:gd name="connsiteY3" fmla="*/ 230982 h 328613"/>
                  <a:gd name="connsiteX4" fmla="*/ 171450 w 376237"/>
                  <a:gd name="connsiteY4" fmla="*/ 169069 h 328613"/>
                  <a:gd name="connsiteX5" fmla="*/ 204787 w 376237"/>
                  <a:gd name="connsiteY5" fmla="*/ 152400 h 328613"/>
                  <a:gd name="connsiteX6" fmla="*/ 252412 w 376237"/>
                  <a:gd name="connsiteY6" fmla="*/ 102394 h 328613"/>
                  <a:gd name="connsiteX7" fmla="*/ 345281 w 376237"/>
                  <a:gd name="connsiteY7" fmla="*/ 59532 h 328613"/>
                  <a:gd name="connsiteX8" fmla="*/ 357187 w 376237"/>
                  <a:gd name="connsiteY8" fmla="*/ 30957 h 328613"/>
                  <a:gd name="connsiteX9" fmla="*/ 376237 w 376237"/>
                  <a:gd name="connsiteY9" fmla="*/ 0 h 32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6237" h="328613">
                    <a:moveTo>
                      <a:pt x="0" y="328613"/>
                    </a:moveTo>
                    <a:lnTo>
                      <a:pt x="45243" y="290513"/>
                    </a:lnTo>
                    <a:lnTo>
                      <a:pt x="109537" y="269082"/>
                    </a:lnTo>
                    <a:lnTo>
                      <a:pt x="142875" y="230982"/>
                    </a:lnTo>
                    <a:lnTo>
                      <a:pt x="171450" y="169069"/>
                    </a:lnTo>
                    <a:lnTo>
                      <a:pt x="204787" y="152400"/>
                    </a:lnTo>
                    <a:lnTo>
                      <a:pt x="252412" y="102394"/>
                    </a:lnTo>
                    <a:lnTo>
                      <a:pt x="345281" y="59532"/>
                    </a:lnTo>
                    <a:lnTo>
                      <a:pt x="357187" y="30957"/>
                    </a:lnTo>
                    <a:lnTo>
                      <a:pt x="376237"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91" name="Freeform: Shape 490">
                <a:extLst>
                  <a:ext uri="{FF2B5EF4-FFF2-40B4-BE49-F238E27FC236}">
                    <a16:creationId xmlns:a16="http://schemas.microsoft.com/office/drawing/2014/main" id="{905A7614-310F-4533-8C7A-E64EEF98F193}"/>
                  </a:ext>
                </a:extLst>
              </p:cNvPr>
              <p:cNvSpPr/>
              <p:nvPr/>
            </p:nvSpPr>
            <p:spPr bwMode="gray">
              <a:xfrm>
                <a:off x="9463088" y="3281363"/>
                <a:ext cx="431006" cy="176212"/>
              </a:xfrm>
              <a:custGeom>
                <a:avLst/>
                <a:gdLst>
                  <a:gd name="connsiteX0" fmla="*/ 0 w 431006"/>
                  <a:gd name="connsiteY0" fmla="*/ 0 h 176212"/>
                  <a:gd name="connsiteX1" fmla="*/ 80962 w 431006"/>
                  <a:gd name="connsiteY1" fmla="*/ 9525 h 176212"/>
                  <a:gd name="connsiteX2" fmla="*/ 142875 w 431006"/>
                  <a:gd name="connsiteY2" fmla="*/ 50006 h 176212"/>
                  <a:gd name="connsiteX3" fmla="*/ 197643 w 431006"/>
                  <a:gd name="connsiteY3" fmla="*/ 78581 h 176212"/>
                  <a:gd name="connsiteX4" fmla="*/ 238125 w 431006"/>
                  <a:gd name="connsiteY4" fmla="*/ 104775 h 176212"/>
                  <a:gd name="connsiteX5" fmla="*/ 280987 w 431006"/>
                  <a:gd name="connsiteY5" fmla="*/ 121443 h 176212"/>
                  <a:gd name="connsiteX6" fmla="*/ 330993 w 431006"/>
                  <a:gd name="connsiteY6" fmla="*/ 138112 h 176212"/>
                  <a:gd name="connsiteX7" fmla="*/ 361950 w 431006"/>
                  <a:gd name="connsiteY7" fmla="*/ 164306 h 176212"/>
                  <a:gd name="connsiteX8" fmla="*/ 383381 w 431006"/>
                  <a:gd name="connsiteY8" fmla="*/ 150018 h 176212"/>
                  <a:gd name="connsiteX9" fmla="*/ 400050 w 431006"/>
                  <a:gd name="connsiteY9" fmla="*/ 166687 h 176212"/>
                  <a:gd name="connsiteX10" fmla="*/ 421481 w 431006"/>
                  <a:gd name="connsiteY10" fmla="*/ 159543 h 176212"/>
                  <a:gd name="connsiteX11" fmla="*/ 431006 w 431006"/>
                  <a:gd name="connsiteY11" fmla="*/ 176212 h 17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1006" h="176212">
                    <a:moveTo>
                      <a:pt x="0" y="0"/>
                    </a:moveTo>
                    <a:lnTo>
                      <a:pt x="80962" y="9525"/>
                    </a:lnTo>
                    <a:lnTo>
                      <a:pt x="142875" y="50006"/>
                    </a:lnTo>
                    <a:lnTo>
                      <a:pt x="197643" y="78581"/>
                    </a:lnTo>
                    <a:lnTo>
                      <a:pt x="238125" y="104775"/>
                    </a:lnTo>
                    <a:lnTo>
                      <a:pt x="280987" y="121443"/>
                    </a:lnTo>
                    <a:lnTo>
                      <a:pt x="330993" y="138112"/>
                    </a:lnTo>
                    <a:lnTo>
                      <a:pt x="361950" y="164306"/>
                    </a:lnTo>
                    <a:lnTo>
                      <a:pt x="383381" y="150018"/>
                    </a:lnTo>
                    <a:lnTo>
                      <a:pt x="400050" y="166687"/>
                    </a:lnTo>
                    <a:lnTo>
                      <a:pt x="421481" y="159543"/>
                    </a:lnTo>
                    <a:lnTo>
                      <a:pt x="431006" y="176212"/>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92" name="Freeform: Shape 491">
                <a:extLst>
                  <a:ext uri="{FF2B5EF4-FFF2-40B4-BE49-F238E27FC236}">
                    <a16:creationId xmlns:a16="http://schemas.microsoft.com/office/drawing/2014/main" id="{61E79D47-97C1-4072-BD64-14880ACB68D2}"/>
                  </a:ext>
                </a:extLst>
              </p:cNvPr>
              <p:cNvSpPr/>
              <p:nvPr/>
            </p:nvSpPr>
            <p:spPr bwMode="gray">
              <a:xfrm>
                <a:off x="9641681" y="3293269"/>
                <a:ext cx="138113" cy="185737"/>
              </a:xfrm>
              <a:custGeom>
                <a:avLst/>
                <a:gdLst>
                  <a:gd name="connsiteX0" fmla="*/ 85725 w 138113"/>
                  <a:gd name="connsiteY0" fmla="*/ 0 h 185737"/>
                  <a:gd name="connsiteX1" fmla="*/ 130969 w 138113"/>
                  <a:gd name="connsiteY1" fmla="*/ 23812 h 185737"/>
                  <a:gd name="connsiteX2" fmla="*/ 138113 w 138113"/>
                  <a:gd name="connsiteY2" fmla="*/ 45244 h 185737"/>
                  <a:gd name="connsiteX3" fmla="*/ 111919 w 138113"/>
                  <a:gd name="connsiteY3" fmla="*/ 61912 h 185737"/>
                  <a:gd name="connsiteX4" fmla="*/ 109538 w 138113"/>
                  <a:gd name="connsiteY4" fmla="*/ 76200 h 185737"/>
                  <a:gd name="connsiteX5" fmla="*/ 85725 w 138113"/>
                  <a:gd name="connsiteY5" fmla="*/ 100012 h 185737"/>
                  <a:gd name="connsiteX6" fmla="*/ 57150 w 138113"/>
                  <a:gd name="connsiteY6" fmla="*/ 92869 h 185737"/>
                  <a:gd name="connsiteX7" fmla="*/ 30957 w 138113"/>
                  <a:gd name="connsiteY7" fmla="*/ 147637 h 185737"/>
                  <a:gd name="connsiteX8" fmla="*/ 14288 w 138113"/>
                  <a:gd name="connsiteY8" fmla="*/ 178594 h 185737"/>
                  <a:gd name="connsiteX9" fmla="*/ 0 w 138113"/>
                  <a:gd name="connsiteY9" fmla="*/ 185737 h 18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113" h="185737">
                    <a:moveTo>
                      <a:pt x="85725" y="0"/>
                    </a:moveTo>
                    <a:lnTo>
                      <a:pt x="130969" y="23812"/>
                    </a:lnTo>
                    <a:lnTo>
                      <a:pt x="138113" y="45244"/>
                    </a:lnTo>
                    <a:lnTo>
                      <a:pt x="111919" y="61912"/>
                    </a:lnTo>
                    <a:lnTo>
                      <a:pt x="109538" y="76200"/>
                    </a:lnTo>
                    <a:lnTo>
                      <a:pt x="85725" y="100012"/>
                    </a:lnTo>
                    <a:lnTo>
                      <a:pt x="57150" y="92869"/>
                    </a:lnTo>
                    <a:lnTo>
                      <a:pt x="30957" y="147637"/>
                    </a:lnTo>
                    <a:lnTo>
                      <a:pt x="14288" y="178594"/>
                    </a:lnTo>
                    <a:lnTo>
                      <a:pt x="0" y="185737"/>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93" name="Freeform: Shape 492">
                <a:extLst>
                  <a:ext uri="{FF2B5EF4-FFF2-40B4-BE49-F238E27FC236}">
                    <a16:creationId xmlns:a16="http://schemas.microsoft.com/office/drawing/2014/main" id="{B12A7E41-3695-4E33-98E7-B5A33A55C980}"/>
                  </a:ext>
                </a:extLst>
              </p:cNvPr>
              <p:cNvSpPr/>
              <p:nvPr/>
            </p:nvSpPr>
            <p:spPr bwMode="gray">
              <a:xfrm>
                <a:off x="9567863" y="3398044"/>
                <a:ext cx="97631" cy="173831"/>
              </a:xfrm>
              <a:custGeom>
                <a:avLst/>
                <a:gdLst>
                  <a:gd name="connsiteX0" fmla="*/ 0 w 97631"/>
                  <a:gd name="connsiteY0" fmla="*/ 0 h 173831"/>
                  <a:gd name="connsiteX1" fmla="*/ 42862 w 97631"/>
                  <a:gd name="connsiteY1" fmla="*/ 42862 h 173831"/>
                  <a:gd name="connsiteX2" fmla="*/ 71437 w 97631"/>
                  <a:gd name="connsiteY2" fmla="*/ 76200 h 173831"/>
                  <a:gd name="connsiteX3" fmla="*/ 97631 w 97631"/>
                  <a:gd name="connsiteY3" fmla="*/ 116681 h 173831"/>
                  <a:gd name="connsiteX4" fmla="*/ 97631 w 97631"/>
                  <a:gd name="connsiteY4" fmla="*/ 150019 h 173831"/>
                  <a:gd name="connsiteX5" fmla="*/ 69056 w 97631"/>
                  <a:gd name="connsiteY5" fmla="*/ 173831 h 173831"/>
                  <a:gd name="connsiteX6" fmla="*/ 30956 w 97631"/>
                  <a:gd name="connsiteY6" fmla="*/ 164306 h 173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631" h="173831">
                    <a:moveTo>
                      <a:pt x="0" y="0"/>
                    </a:moveTo>
                    <a:lnTo>
                      <a:pt x="42862" y="42862"/>
                    </a:lnTo>
                    <a:lnTo>
                      <a:pt x="71437" y="76200"/>
                    </a:lnTo>
                    <a:lnTo>
                      <a:pt x="97631" y="116681"/>
                    </a:lnTo>
                    <a:lnTo>
                      <a:pt x="97631" y="150019"/>
                    </a:lnTo>
                    <a:lnTo>
                      <a:pt x="69056" y="173831"/>
                    </a:lnTo>
                    <a:lnTo>
                      <a:pt x="30956" y="164306"/>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94" name="Freeform: Shape 493">
                <a:extLst>
                  <a:ext uri="{FF2B5EF4-FFF2-40B4-BE49-F238E27FC236}">
                    <a16:creationId xmlns:a16="http://schemas.microsoft.com/office/drawing/2014/main" id="{A3C6FE61-1441-431C-8724-186AC4270042}"/>
                  </a:ext>
                </a:extLst>
              </p:cNvPr>
              <p:cNvSpPr/>
              <p:nvPr/>
            </p:nvSpPr>
            <p:spPr bwMode="gray">
              <a:xfrm>
                <a:off x="9565481" y="3569494"/>
                <a:ext cx="64294" cy="197644"/>
              </a:xfrm>
              <a:custGeom>
                <a:avLst/>
                <a:gdLst>
                  <a:gd name="connsiteX0" fmla="*/ 64294 w 64294"/>
                  <a:gd name="connsiteY0" fmla="*/ 0 h 197644"/>
                  <a:gd name="connsiteX1" fmla="*/ 59532 w 64294"/>
                  <a:gd name="connsiteY1" fmla="*/ 40481 h 197644"/>
                  <a:gd name="connsiteX2" fmla="*/ 26194 w 64294"/>
                  <a:gd name="connsiteY2" fmla="*/ 71437 h 197644"/>
                  <a:gd name="connsiteX3" fmla="*/ 11907 w 64294"/>
                  <a:gd name="connsiteY3" fmla="*/ 133350 h 197644"/>
                  <a:gd name="connsiteX4" fmla="*/ 0 w 64294"/>
                  <a:gd name="connsiteY4" fmla="*/ 152400 h 197644"/>
                  <a:gd name="connsiteX5" fmla="*/ 21432 w 64294"/>
                  <a:gd name="connsiteY5" fmla="*/ 169069 h 197644"/>
                  <a:gd name="connsiteX6" fmla="*/ 23813 w 64294"/>
                  <a:gd name="connsiteY6" fmla="*/ 197644 h 19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294" h="197644">
                    <a:moveTo>
                      <a:pt x="64294" y="0"/>
                    </a:moveTo>
                    <a:lnTo>
                      <a:pt x="59532" y="40481"/>
                    </a:lnTo>
                    <a:lnTo>
                      <a:pt x="26194" y="71437"/>
                    </a:lnTo>
                    <a:lnTo>
                      <a:pt x="11907" y="133350"/>
                    </a:lnTo>
                    <a:lnTo>
                      <a:pt x="0" y="152400"/>
                    </a:lnTo>
                    <a:lnTo>
                      <a:pt x="21432" y="169069"/>
                    </a:lnTo>
                    <a:lnTo>
                      <a:pt x="23813" y="197644"/>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95" name="Freeform: Shape 494">
                <a:extLst>
                  <a:ext uri="{FF2B5EF4-FFF2-40B4-BE49-F238E27FC236}">
                    <a16:creationId xmlns:a16="http://schemas.microsoft.com/office/drawing/2014/main" id="{C13A4968-A8D9-400D-9498-E6B4B73C6904}"/>
                  </a:ext>
                </a:extLst>
              </p:cNvPr>
              <p:cNvSpPr/>
              <p:nvPr/>
            </p:nvSpPr>
            <p:spPr bwMode="gray">
              <a:xfrm>
                <a:off x="9667875" y="3524250"/>
                <a:ext cx="76200" cy="21431"/>
              </a:xfrm>
              <a:custGeom>
                <a:avLst/>
                <a:gdLst>
                  <a:gd name="connsiteX0" fmla="*/ 0 w 76200"/>
                  <a:gd name="connsiteY0" fmla="*/ 0 h 21431"/>
                  <a:gd name="connsiteX1" fmla="*/ 69056 w 76200"/>
                  <a:gd name="connsiteY1" fmla="*/ 21431 h 21431"/>
                  <a:gd name="connsiteX2" fmla="*/ 76200 w 76200"/>
                  <a:gd name="connsiteY2" fmla="*/ 19050 h 21431"/>
                </a:gdLst>
                <a:ahLst/>
                <a:cxnLst>
                  <a:cxn ang="0">
                    <a:pos x="connsiteX0" y="connsiteY0"/>
                  </a:cxn>
                  <a:cxn ang="0">
                    <a:pos x="connsiteX1" y="connsiteY1"/>
                  </a:cxn>
                  <a:cxn ang="0">
                    <a:pos x="connsiteX2" y="connsiteY2"/>
                  </a:cxn>
                </a:cxnLst>
                <a:rect l="l" t="t" r="r" b="b"/>
                <a:pathLst>
                  <a:path w="76200" h="21431">
                    <a:moveTo>
                      <a:pt x="0" y="0"/>
                    </a:moveTo>
                    <a:lnTo>
                      <a:pt x="69056" y="21431"/>
                    </a:lnTo>
                    <a:lnTo>
                      <a:pt x="76200" y="1905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96" name="Freeform: Shape 495">
                <a:extLst>
                  <a:ext uri="{FF2B5EF4-FFF2-40B4-BE49-F238E27FC236}">
                    <a16:creationId xmlns:a16="http://schemas.microsoft.com/office/drawing/2014/main" id="{1F3ADBCC-9C8D-4447-8B99-2D2CB02B52E2}"/>
                  </a:ext>
                </a:extLst>
              </p:cNvPr>
              <p:cNvSpPr/>
              <p:nvPr/>
            </p:nvSpPr>
            <p:spPr bwMode="gray">
              <a:xfrm>
                <a:off x="9705975" y="3536156"/>
                <a:ext cx="97631" cy="180975"/>
              </a:xfrm>
              <a:custGeom>
                <a:avLst/>
                <a:gdLst>
                  <a:gd name="connsiteX0" fmla="*/ 0 w 97631"/>
                  <a:gd name="connsiteY0" fmla="*/ 0 h 180975"/>
                  <a:gd name="connsiteX1" fmla="*/ 23813 w 97631"/>
                  <a:gd name="connsiteY1" fmla="*/ 69057 h 180975"/>
                  <a:gd name="connsiteX2" fmla="*/ 23813 w 97631"/>
                  <a:gd name="connsiteY2" fmla="*/ 109538 h 180975"/>
                  <a:gd name="connsiteX3" fmla="*/ 66675 w 97631"/>
                  <a:gd name="connsiteY3" fmla="*/ 173832 h 180975"/>
                  <a:gd name="connsiteX4" fmla="*/ 97631 w 97631"/>
                  <a:gd name="connsiteY4" fmla="*/ 180975 h 180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31" h="180975">
                    <a:moveTo>
                      <a:pt x="0" y="0"/>
                    </a:moveTo>
                    <a:lnTo>
                      <a:pt x="23813" y="69057"/>
                    </a:lnTo>
                    <a:lnTo>
                      <a:pt x="23813" y="109538"/>
                    </a:lnTo>
                    <a:lnTo>
                      <a:pt x="66675" y="173832"/>
                    </a:lnTo>
                    <a:lnTo>
                      <a:pt x="97631" y="180975"/>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97" name="Freeform: Shape 496">
                <a:extLst>
                  <a:ext uri="{FF2B5EF4-FFF2-40B4-BE49-F238E27FC236}">
                    <a16:creationId xmlns:a16="http://schemas.microsoft.com/office/drawing/2014/main" id="{5420D3FE-ED77-4B03-AE15-73CDF6B43445}"/>
                  </a:ext>
                </a:extLst>
              </p:cNvPr>
              <p:cNvSpPr/>
              <p:nvPr/>
            </p:nvSpPr>
            <p:spPr bwMode="gray">
              <a:xfrm>
                <a:off x="9677400" y="3681413"/>
                <a:ext cx="71438" cy="159543"/>
              </a:xfrm>
              <a:custGeom>
                <a:avLst/>
                <a:gdLst>
                  <a:gd name="connsiteX0" fmla="*/ 0 w 71438"/>
                  <a:gd name="connsiteY0" fmla="*/ 159543 h 159543"/>
                  <a:gd name="connsiteX1" fmla="*/ 23813 w 71438"/>
                  <a:gd name="connsiteY1" fmla="*/ 100012 h 159543"/>
                  <a:gd name="connsiteX2" fmla="*/ 52388 w 71438"/>
                  <a:gd name="connsiteY2" fmla="*/ 69056 h 159543"/>
                  <a:gd name="connsiteX3" fmla="*/ 71438 w 71438"/>
                  <a:gd name="connsiteY3" fmla="*/ 0 h 159543"/>
                </a:gdLst>
                <a:ahLst/>
                <a:cxnLst>
                  <a:cxn ang="0">
                    <a:pos x="connsiteX0" y="connsiteY0"/>
                  </a:cxn>
                  <a:cxn ang="0">
                    <a:pos x="connsiteX1" y="connsiteY1"/>
                  </a:cxn>
                  <a:cxn ang="0">
                    <a:pos x="connsiteX2" y="connsiteY2"/>
                  </a:cxn>
                  <a:cxn ang="0">
                    <a:pos x="connsiteX3" y="connsiteY3"/>
                  </a:cxn>
                </a:cxnLst>
                <a:rect l="l" t="t" r="r" b="b"/>
                <a:pathLst>
                  <a:path w="71438" h="159543">
                    <a:moveTo>
                      <a:pt x="0" y="159543"/>
                    </a:moveTo>
                    <a:lnTo>
                      <a:pt x="23813" y="100012"/>
                    </a:lnTo>
                    <a:lnTo>
                      <a:pt x="52388" y="69056"/>
                    </a:lnTo>
                    <a:lnTo>
                      <a:pt x="71438"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98" name="Freeform: Shape 497">
                <a:extLst>
                  <a:ext uri="{FF2B5EF4-FFF2-40B4-BE49-F238E27FC236}">
                    <a16:creationId xmlns:a16="http://schemas.microsoft.com/office/drawing/2014/main" id="{B41B6CC4-E58E-4B6C-B53F-F3148CCBB7EF}"/>
                  </a:ext>
                </a:extLst>
              </p:cNvPr>
              <p:cNvSpPr/>
              <p:nvPr/>
            </p:nvSpPr>
            <p:spPr bwMode="gray">
              <a:xfrm>
                <a:off x="9177338" y="3955256"/>
                <a:ext cx="214312" cy="352425"/>
              </a:xfrm>
              <a:custGeom>
                <a:avLst/>
                <a:gdLst>
                  <a:gd name="connsiteX0" fmla="*/ 0 w 214312"/>
                  <a:gd name="connsiteY0" fmla="*/ 0 h 352425"/>
                  <a:gd name="connsiteX1" fmla="*/ 35718 w 214312"/>
                  <a:gd name="connsiteY1" fmla="*/ 76200 h 352425"/>
                  <a:gd name="connsiteX2" fmla="*/ 47625 w 214312"/>
                  <a:gd name="connsiteY2" fmla="*/ 109538 h 352425"/>
                  <a:gd name="connsiteX3" fmla="*/ 71437 w 214312"/>
                  <a:gd name="connsiteY3" fmla="*/ 150019 h 352425"/>
                  <a:gd name="connsiteX4" fmla="*/ 102393 w 214312"/>
                  <a:gd name="connsiteY4" fmla="*/ 188119 h 352425"/>
                  <a:gd name="connsiteX5" fmla="*/ 119062 w 214312"/>
                  <a:gd name="connsiteY5" fmla="*/ 223838 h 352425"/>
                  <a:gd name="connsiteX6" fmla="*/ 140493 w 214312"/>
                  <a:gd name="connsiteY6" fmla="*/ 250032 h 352425"/>
                  <a:gd name="connsiteX7" fmla="*/ 157162 w 214312"/>
                  <a:gd name="connsiteY7" fmla="*/ 254794 h 352425"/>
                  <a:gd name="connsiteX8" fmla="*/ 180975 w 214312"/>
                  <a:gd name="connsiteY8" fmla="*/ 285750 h 352425"/>
                  <a:gd name="connsiteX9" fmla="*/ 207168 w 214312"/>
                  <a:gd name="connsiteY9" fmla="*/ 280988 h 352425"/>
                  <a:gd name="connsiteX10" fmla="*/ 214312 w 214312"/>
                  <a:gd name="connsiteY10" fmla="*/ 292894 h 352425"/>
                  <a:gd name="connsiteX11" fmla="*/ 192881 w 214312"/>
                  <a:gd name="connsiteY11" fmla="*/ 297657 h 352425"/>
                  <a:gd name="connsiteX12" fmla="*/ 152400 w 214312"/>
                  <a:gd name="connsiteY12" fmla="*/ 323850 h 352425"/>
                  <a:gd name="connsiteX13" fmla="*/ 128587 w 214312"/>
                  <a:gd name="connsiteY13" fmla="*/ 304800 h 352425"/>
                  <a:gd name="connsiteX14" fmla="*/ 145256 w 214312"/>
                  <a:gd name="connsiteY14" fmla="*/ 328613 h 352425"/>
                  <a:gd name="connsiteX15" fmla="*/ 164306 w 214312"/>
                  <a:gd name="connsiteY15" fmla="*/ 319088 h 352425"/>
                  <a:gd name="connsiteX16" fmla="*/ 114300 w 214312"/>
                  <a:gd name="connsiteY16" fmla="*/ 340519 h 352425"/>
                  <a:gd name="connsiteX17" fmla="*/ 71437 w 214312"/>
                  <a:gd name="connsiteY17" fmla="*/ 352425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4312" h="352425">
                    <a:moveTo>
                      <a:pt x="0" y="0"/>
                    </a:moveTo>
                    <a:lnTo>
                      <a:pt x="35718" y="76200"/>
                    </a:lnTo>
                    <a:lnTo>
                      <a:pt x="47625" y="109538"/>
                    </a:lnTo>
                    <a:lnTo>
                      <a:pt x="71437" y="150019"/>
                    </a:lnTo>
                    <a:lnTo>
                      <a:pt x="102393" y="188119"/>
                    </a:lnTo>
                    <a:lnTo>
                      <a:pt x="119062" y="223838"/>
                    </a:lnTo>
                    <a:lnTo>
                      <a:pt x="140493" y="250032"/>
                    </a:lnTo>
                    <a:lnTo>
                      <a:pt x="157162" y="254794"/>
                    </a:lnTo>
                    <a:lnTo>
                      <a:pt x="180975" y="285750"/>
                    </a:lnTo>
                    <a:lnTo>
                      <a:pt x="207168" y="280988"/>
                    </a:lnTo>
                    <a:lnTo>
                      <a:pt x="214312" y="292894"/>
                    </a:lnTo>
                    <a:lnTo>
                      <a:pt x="192881" y="297657"/>
                    </a:lnTo>
                    <a:lnTo>
                      <a:pt x="152400" y="323850"/>
                    </a:lnTo>
                    <a:lnTo>
                      <a:pt x="128587" y="304800"/>
                    </a:lnTo>
                    <a:lnTo>
                      <a:pt x="145256" y="328613"/>
                    </a:lnTo>
                    <a:lnTo>
                      <a:pt x="164306" y="319088"/>
                    </a:lnTo>
                    <a:lnTo>
                      <a:pt x="114300" y="340519"/>
                    </a:lnTo>
                    <a:lnTo>
                      <a:pt x="71437" y="352425"/>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99" name="Freeform: Shape 498">
                <a:extLst>
                  <a:ext uri="{FF2B5EF4-FFF2-40B4-BE49-F238E27FC236}">
                    <a16:creationId xmlns:a16="http://schemas.microsoft.com/office/drawing/2014/main" id="{B2D12ABC-6997-4E53-AC52-65462320472C}"/>
                  </a:ext>
                </a:extLst>
              </p:cNvPr>
              <p:cNvSpPr/>
              <p:nvPr/>
            </p:nvSpPr>
            <p:spPr bwMode="gray">
              <a:xfrm>
                <a:off x="9072563" y="4007644"/>
                <a:ext cx="276225" cy="80962"/>
              </a:xfrm>
              <a:custGeom>
                <a:avLst/>
                <a:gdLst>
                  <a:gd name="connsiteX0" fmla="*/ 0 w 276225"/>
                  <a:gd name="connsiteY0" fmla="*/ 4762 h 80962"/>
                  <a:gd name="connsiteX1" fmla="*/ 35718 w 276225"/>
                  <a:gd name="connsiteY1" fmla="*/ 45244 h 80962"/>
                  <a:gd name="connsiteX2" fmla="*/ 47625 w 276225"/>
                  <a:gd name="connsiteY2" fmla="*/ 66675 h 80962"/>
                  <a:gd name="connsiteX3" fmla="*/ 11906 w 276225"/>
                  <a:gd name="connsiteY3" fmla="*/ 80962 h 80962"/>
                  <a:gd name="connsiteX4" fmla="*/ 47625 w 276225"/>
                  <a:gd name="connsiteY4" fmla="*/ 76200 h 80962"/>
                  <a:gd name="connsiteX5" fmla="*/ 95250 w 276225"/>
                  <a:gd name="connsiteY5" fmla="*/ 42862 h 80962"/>
                  <a:gd name="connsiteX6" fmla="*/ 147637 w 276225"/>
                  <a:gd name="connsiteY6" fmla="*/ 54769 h 80962"/>
                  <a:gd name="connsiteX7" fmla="*/ 173831 w 276225"/>
                  <a:gd name="connsiteY7" fmla="*/ 26194 h 80962"/>
                  <a:gd name="connsiteX8" fmla="*/ 228600 w 276225"/>
                  <a:gd name="connsiteY8" fmla="*/ 23812 h 80962"/>
                  <a:gd name="connsiteX9" fmla="*/ 276225 w 276225"/>
                  <a:gd name="connsiteY9" fmla="*/ 0 h 8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6225" h="80962">
                    <a:moveTo>
                      <a:pt x="0" y="4762"/>
                    </a:moveTo>
                    <a:lnTo>
                      <a:pt x="35718" y="45244"/>
                    </a:lnTo>
                    <a:lnTo>
                      <a:pt x="47625" y="66675"/>
                    </a:lnTo>
                    <a:lnTo>
                      <a:pt x="11906" y="80962"/>
                    </a:lnTo>
                    <a:lnTo>
                      <a:pt x="47625" y="76200"/>
                    </a:lnTo>
                    <a:lnTo>
                      <a:pt x="95250" y="42862"/>
                    </a:lnTo>
                    <a:lnTo>
                      <a:pt x="147637" y="54769"/>
                    </a:lnTo>
                    <a:lnTo>
                      <a:pt x="173831" y="26194"/>
                    </a:lnTo>
                    <a:lnTo>
                      <a:pt x="228600" y="23812"/>
                    </a:lnTo>
                    <a:lnTo>
                      <a:pt x="276225"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00" name="Freeform: Shape 499">
                <a:extLst>
                  <a:ext uri="{FF2B5EF4-FFF2-40B4-BE49-F238E27FC236}">
                    <a16:creationId xmlns:a16="http://schemas.microsoft.com/office/drawing/2014/main" id="{6A44774A-859D-4418-8344-4EC5652675BB}"/>
                  </a:ext>
                </a:extLst>
              </p:cNvPr>
              <p:cNvSpPr/>
              <p:nvPr/>
            </p:nvSpPr>
            <p:spPr bwMode="gray">
              <a:xfrm>
                <a:off x="9377363" y="3545681"/>
                <a:ext cx="33337" cy="192882"/>
              </a:xfrm>
              <a:custGeom>
                <a:avLst/>
                <a:gdLst>
                  <a:gd name="connsiteX0" fmla="*/ 28575 w 33337"/>
                  <a:gd name="connsiteY0" fmla="*/ 192882 h 192882"/>
                  <a:gd name="connsiteX1" fmla="*/ 26193 w 33337"/>
                  <a:gd name="connsiteY1" fmla="*/ 147638 h 192882"/>
                  <a:gd name="connsiteX2" fmla="*/ 33337 w 33337"/>
                  <a:gd name="connsiteY2" fmla="*/ 130969 h 192882"/>
                  <a:gd name="connsiteX3" fmla="*/ 26193 w 33337"/>
                  <a:gd name="connsiteY3" fmla="*/ 83344 h 192882"/>
                  <a:gd name="connsiteX4" fmla="*/ 28575 w 33337"/>
                  <a:gd name="connsiteY4" fmla="*/ 40482 h 192882"/>
                  <a:gd name="connsiteX5" fmla="*/ 21431 w 33337"/>
                  <a:gd name="connsiteY5" fmla="*/ 14288 h 192882"/>
                  <a:gd name="connsiteX6" fmla="*/ 0 w 33337"/>
                  <a:gd name="connsiteY6" fmla="*/ 0 h 19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37" h="192882">
                    <a:moveTo>
                      <a:pt x="28575" y="192882"/>
                    </a:moveTo>
                    <a:lnTo>
                      <a:pt x="26193" y="147638"/>
                    </a:lnTo>
                    <a:lnTo>
                      <a:pt x="33337" y="130969"/>
                    </a:lnTo>
                    <a:lnTo>
                      <a:pt x="26193" y="83344"/>
                    </a:lnTo>
                    <a:lnTo>
                      <a:pt x="28575" y="40482"/>
                    </a:lnTo>
                    <a:lnTo>
                      <a:pt x="21431" y="14288"/>
                    </a:lnTo>
                    <a:lnTo>
                      <a:pt x="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01" name="Freeform: Shape 500">
                <a:extLst>
                  <a:ext uri="{FF2B5EF4-FFF2-40B4-BE49-F238E27FC236}">
                    <a16:creationId xmlns:a16="http://schemas.microsoft.com/office/drawing/2014/main" id="{7B62DFBA-F8BB-4A05-95CC-81E90CA4804F}"/>
                  </a:ext>
                </a:extLst>
              </p:cNvPr>
              <p:cNvSpPr/>
              <p:nvPr/>
            </p:nvSpPr>
            <p:spPr bwMode="gray">
              <a:xfrm>
                <a:off x="8691563" y="4407694"/>
                <a:ext cx="295275" cy="228600"/>
              </a:xfrm>
              <a:custGeom>
                <a:avLst/>
                <a:gdLst>
                  <a:gd name="connsiteX0" fmla="*/ 0 w 295275"/>
                  <a:gd name="connsiteY0" fmla="*/ 0 h 228600"/>
                  <a:gd name="connsiteX1" fmla="*/ 0 w 295275"/>
                  <a:gd name="connsiteY1" fmla="*/ 0 h 228600"/>
                  <a:gd name="connsiteX2" fmla="*/ 4762 w 295275"/>
                  <a:gd name="connsiteY2" fmla="*/ 21431 h 228600"/>
                  <a:gd name="connsiteX3" fmla="*/ 11906 w 295275"/>
                  <a:gd name="connsiteY3" fmla="*/ 28575 h 228600"/>
                  <a:gd name="connsiteX4" fmla="*/ 16668 w 295275"/>
                  <a:gd name="connsiteY4" fmla="*/ 40481 h 228600"/>
                  <a:gd name="connsiteX5" fmla="*/ 21431 w 295275"/>
                  <a:gd name="connsiteY5" fmla="*/ 47625 h 228600"/>
                  <a:gd name="connsiteX6" fmla="*/ 50006 w 295275"/>
                  <a:gd name="connsiteY6" fmla="*/ 21431 h 228600"/>
                  <a:gd name="connsiteX7" fmla="*/ 57150 w 295275"/>
                  <a:gd name="connsiteY7" fmla="*/ 19050 h 228600"/>
                  <a:gd name="connsiteX8" fmla="*/ 52387 w 295275"/>
                  <a:gd name="connsiteY8" fmla="*/ 2381 h 228600"/>
                  <a:gd name="connsiteX9" fmla="*/ 61912 w 295275"/>
                  <a:gd name="connsiteY9" fmla="*/ 11906 h 228600"/>
                  <a:gd name="connsiteX10" fmla="*/ 80962 w 295275"/>
                  <a:gd name="connsiteY10" fmla="*/ 21431 h 228600"/>
                  <a:gd name="connsiteX11" fmla="*/ 92868 w 295275"/>
                  <a:gd name="connsiteY11" fmla="*/ 45244 h 228600"/>
                  <a:gd name="connsiteX12" fmla="*/ 102393 w 295275"/>
                  <a:gd name="connsiteY12" fmla="*/ 64294 h 228600"/>
                  <a:gd name="connsiteX13" fmla="*/ 114300 w 295275"/>
                  <a:gd name="connsiteY13" fmla="*/ 71437 h 228600"/>
                  <a:gd name="connsiteX14" fmla="*/ 135731 w 295275"/>
                  <a:gd name="connsiteY14" fmla="*/ 92869 h 228600"/>
                  <a:gd name="connsiteX15" fmla="*/ 140493 w 295275"/>
                  <a:gd name="connsiteY15" fmla="*/ 102394 h 228600"/>
                  <a:gd name="connsiteX16" fmla="*/ 147637 w 295275"/>
                  <a:gd name="connsiteY16" fmla="*/ 104775 h 228600"/>
                  <a:gd name="connsiteX17" fmla="*/ 154781 w 295275"/>
                  <a:gd name="connsiteY17" fmla="*/ 121444 h 228600"/>
                  <a:gd name="connsiteX18" fmla="*/ 159543 w 295275"/>
                  <a:gd name="connsiteY18" fmla="*/ 130969 h 228600"/>
                  <a:gd name="connsiteX19" fmla="*/ 166687 w 295275"/>
                  <a:gd name="connsiteY19" fmla="*/ 133350 h 228600"/>
                  <a:gd name="connsiteX20" fmla="*/ 183356 w 295275"/>
                  <a:gd name="connsiteY20" fmla="*/ 150019 h 228600"/>
                  <a:gd name="connsiteX21" fmla="*/ 190500 w 295275"/>
                  <a:gd name="connsiteY21" fmla="*/ 152400 h 228600"/>
                  <a:gd name="connsiteX22" fmla="*/ 195262 w 295275"/>
                  <a:gd name="connsiteY22" fmla="*/ 166687 h 228600"/>
                  <a:gd name="connsiteX23" fmla="*/ 202406 w 295275"/>
                  <a:gd name="connsiteY23" fmla="*/ 169069 h 228600"/>
                  <a:gd name="connsiteX24" fmla="*/ 211931 w 295275"/>
                  <a:gd name="connsiteY24" fmla="*/ 171450 h 228600"/>
                  <a:gd name="connsiteX25" fmla="*/ 233362 w 295275"/>
                  <a:gd name="connsiteY25" fmla="*/ 180975 h 228600"/>
                  <a:gd name="connsiteX26" fmla="*/ 257175 w 295275"/>
                  <a:gd name="connsiteY26" fmla="*/ 200025 h 228600"/>
                  <a:gd name="connsiteX27" fmla="*/ 261937 w 295275"/>
                  <a:gd name="connsiteY27" fmla="*/ 207169 h 228600"/>
                  <a:gd name="connsiteX28" fmla="*/ 280987 w 295275"/>
                  <a:gd name="connsiteY28" fmla="*/ 209550 h 228600"/>
                  <a:gd name="connsiteX29" fmla="*/ 295275 w 295275"/>
                  <a:gd name="connsiteY29" fmla="*/ 2286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5275" h="228600">
                    <a:moveTo>
                      <a:pt x="0" y="0"/>
                    </a:moveTo>
                    <a:lnTo>
                      <a:pt x="0" y="0"/>
                    </a:lnTo>
                    <a:cubicBezTo>
                      <a:pt x="1587" y="7144"/>
                      <a:pt x="1947" y="14676"/>
                      <a:pt x="4762" y="21431"/>
                    </a:cubicBezTo>
                    <a:cubicBezTo>
                      <a:pt x="6057" y="24540"/>
                      <a:pt x="10121" y="25719"/>
                      <a:pt x="11906" y="28575"/>
                    </a:cubicBezTo>
                    <a:cubicBezTo>
                      <a:pt x="14171" y="32200"/>
                      <a:pt x="14756" y="36658"/>
                      <a:pt x="16668" y="40481"/>
                    </a:cubicBezTo>
                    <a:cubicBezTo>
                      <a:pt x="17948" y="43041"/>
                      <a:pt x="19843" y="45244"/>
                      <a:pt x="21431" y="47625"/>
                    </a:cubicBezTo>
                    <a:cubicBezTo>
                      <a:pt x="30956" y="38894"/>
                      <a:pt x="39916" y="29503"/>
                      <a:pt x="50006" y="21431"/>
                    </a:cubicBezTo>
                    <a:cubicBezTo>
                      <a:pt x="51966" y="19863"/>
                      <a:pt x="56839" y="21541"/>
                      <a:pt x="57150" y="19050"/>
                    </a:cubicBezTo>
                    <a:cubicBezTo>
                      <a:pt x="57867" y="13316"/>
                      <a:pt x="49182" y="7189"/>
                      <a:pt x="52387" y="2381"/>
                    </a:cubicBezTo>
                    <a:cubicBezTo>
                      <a:pt x="54877" y="-1355"/>
                      <a:pt x="58503" y="8984"/>
                      <a:pt x="61912" y="11906"/>
                    </a:cubicBezTo>
                    <a:cubicBezTo>
                      <a:pt x="68155" y="17257"/>
                      <a:pt x="73055" y="18269"/>
                      <a:pt x="80962" y="21431"/>
                    </a:cubicBezTo>
                    <a:cubicBezTo>
                      <a:pt x="88427" y="32628"/>
                      <a:pt x="85973" y="28007"/>
                      <a:pt x="92868" y="45244"/>
                    </a:cubicBezTo>
                    <a:cubicBezTo>
                      <a:pt x="95960" y="52973"/>
                      <a:pt x="95350" y="57251"/>
                      <a:pt x="102393" y="64294"/>
                    </a:cubicBezTo>
                    <a:cubicBezTo>
                      <a:pt x="105666" y="67567"/>
                      <a:pt x="110786" y="68425"/>
                      <a:pt x="114300" y="71437"/>
                    </a:cubicBezTo>
                    <a:cubicBezTo>
                      <a:pt x="121971" y="78012"/>
                      <a:pt x="135731" y="92869"/>
                      <a:pt x="135731" y="92869"/>
                    </a:cubicBezTo>
                    <a:cubicBezTo>
                      <a:pt x="137318" y="96044"/>
                      <a:pt x="137983" y="99884"/>
                      <a:pt x="140493" y="102394"/>
                    </a:cubicBezTo>
                    <a:cubicBezTo>
                      <a:pt x="142268" y="104169"/>
                      <a:pt x="146131" y="102767"/>
                      <a:pt x="147637" y="104775"/>
                    </a:cubicBezTo>
                    <a:cubicBezTo>
                      <a:pt x="151264" y="109611"/>
                      <a:pt x="152280" y="115941"/>
                      <a:pt x="154781" y="121444"/>
                    </a:cubicBezTo>
                    <a:cubicBezTo>
                      <a:pt x="156250" y="124676"/>
                      <a:pt x="157033" y="128459"/>
                      <a:pt x="159543" y="130969"/>
                    </a:cubicBezTo>
                    <a:cubicBezTo>
                      <a:pt x="161318" y="132744"/>
                      <a:pt x="164306" y="132556"/>
                      <a:pt x="166687" y="133350"/>
                    </a:cubicBezTo>
                    <a:cubicBezTo>
                      <a:pt x="173109" y="152614"/>
                      <a:pt x="166222" y="145735"/>
                      <a:pt x="183356" y="150019"/>
                    </a:cubicBezTo>
                    <a:cubicBezTo>
                      <a:pt x="185791" y="150628"/>
                      <a:pt x="188119" y="151606"/>
                      <a:pt x="190500" y="152400"/>
                    </a:cubicBezTo>
                    <a:cubicBezTo>
                      <a:pt x="192087" y="157162"/>
                      <a:pt x="192344" y="162602"/>
                      <a:pt x="195262" y="166687"/>
                    </a:cubicBezTo>
                    <a:cubicBezTo>
                      <a:pt x="196721" y="168730"/>
                      <a:pt x="199992" y="168379"/>
                      <a:pt x="202406" y="169069"/>
                    </a:cubicBezTo>
                    <a:cubicBezTo>
                      <a:pt x="205553" y="169968"/>
                      <a:pt x="208784" y="170551"/>
                      <a:pt x="211931" y="171450"/>
                    </a:cubicBezTo>
                    <a:cubicBezTo>
                      <a:pt x="219800" y="173698"/>
                      <a:pt x="226007" y="176562"/>
                      <a:pt x="233362" y="180975"/>
                    </a:cubicBezTo>
                    <a:cubicBezTo>
                      <a:pt x="237788" y="183631"/>
                      <a:pt x="255549" y="198399"/>
                      <a:pt x="257175" y="200025"/>
                    </a:cubicBezTo>
                    <a:cubicBezTo>
                      <a:pt x="259199" y="202049"/>
                      <a:pt x="259280" y="206106"/>
                      <a:pt x="261937" y="207169"/>
                    </a:cubicBezTo>
                    <a:cubicBezTo>
                      <a:pt x="267879" y="209546"/>
                      <a:pt x="274637" y="208756"/>
                      <a:pt x="280987" y="209550"/>
                    </a:cubicBezTo>
                    <a:cubicBezTo>
                      <a:pt x="291404" y="219967"/>
                      <a:pt x="286398" y="213806"/>
                      <a:pt x="295275" y="228600"/>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02" name="Freeform: Shape 501">
                <a:extLst>
                  <a:ext uri="{FF2B5EF4-FFF2-40B4-BE49-F238E27FC236}">
                    <a16:creationId xmlns:a16="http://schemas.microsoft.com/office/drawing/2014/main" id="{F5951D81-A14A-4E17-9F2B-8C453AE69511}"/>
                  </a:ext>
                </a:extLst>
              </p:cNvPr>
              <p:cNvSpPr/>
              <p:nvPr/>
            </p:nvSpPr>
            <p:spPr bwMode="gray">
              <a:xfrm>
                <a:off x="8836819" y="4436269"/>
                <a:ext cx="64737" cy="61912"/>
              </a:xfrm>
              <a:custGeom>
                <a:avLst/>
                <a:gdLst>
                  <a:gd name="connsiteX0" fmla="*/ 0 w 64737"/>
                  <a:gd name="connsiteY0" fmla="*/ 61912 h 61912"/>
                  <a:gd name="connsiteX1" fmla="*/ 0 w 64737"/>
                  <a:gd name="connsiteY1" fmla="*/ 61912 h 61912"/>
                  <a:gd name="connsiteX2" fmla="*/ 21431 w 64737"/>
                  <a:gd name="connsiteY2" fmla="*/ 52387 h 61912"/>
                  <a:gd name="connsiteX3" fmla="*/ 52387 w 64737"/>
                  <a:gd name="connsiteY3" fmla="*/ 45244 h 61912"/>
                  <a:gd name="connsiteX4" fmla="*/ 64294 w 64737"/>
                  <a:gd name="connsiteY4" fmla="*/ 47625 h 61912"/>
                  <a:gd name="connsiteX5" fmla="*/ 59531 w 64737"/>
                  <a:gd name="connsiteY5" fmla="*/ 54769 h 61912"/>
                  <a:gd name="connsiteX6" fmla="*/ 33337 w 64737"/>
                  <a:gd name="connsiteY6" fmla="*/ 50006 h 61912"/>
                  <a:gd name="connsiteX7" fmla="*/ 26194 w 64737"/>
                  <a:gd name="connsiteY7" fmla="*/ 45244 h 61912"/>
                  <a:gd name="connsiteX8" fmla="*/ 23812 w 64737"/>
                  <a:gd name="connsiteY8" fmla="*/ 0 h 6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737" h="61912">
                    <a:moveTo>
                      <a:pt x="0" y="61912"/>
                    </a:moveTo>
                    <a:lnTo>
                      <a:pt x="0" y="61912"/>
                    </a:lnTo>
                    <a:cubicBezTo>
                      <a:pt x="7144" y="58737"/>
                      <a:pt x="14111" y="55132"/>
                      <a:pt x="21431" y="52387"/>
                    </a:cubicBezTo>
                    <a:cubicBezTo>
                      <a:pt x="33607" y="47821"/>
                      <a:pt x="40033" y="47303"/>
                      <a:pt x="52387" y="45244"/>
                    </a:cubicBezTo>
                    <a:cubicBezTo>
                      <a:pt x="56356" y="46038"/>
                      <a:pt x="61865" y="44387"/>
                      <a:pt x="64294" y="47625"/>
                    </a:cubicBezTo>
                    <a:cubicBezTo>
                      <a:pt x="66011" y="49915"/>
                      <a:pt x="62385" y="54550"/>
                      <a:pt x="59531" y="54769"/>
                    </a:cubicBezTo>
                    <a:cubicBezTo>
                      <a:pt x="50683" y="55450"/>
                      <a:pt x="42068" y="51594"/>
                      <a:pt x="33337" y="50006"/>
                    </a:cubicBezTo>
                    <a:cubicBezTo>
                      <a:pt x="30956" y="48419"/>
                      <a:pt x="26729" y="48055"/>
                      <a:pt x="26194" y="45244"/>
                    </a:cubicBezTo>
                    <a:cubicBezTo>
                      <a:pt x="23368" y="30409"/>
                      <a:pt x="23812" y="0"/>
                      <a:pt x="23812" y="0"/>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03" name="Freeform: Shape 502">
                <a:extLst>
                  <a:ext uri="{FF2B5EF4-FFF2-40B4-BE49-F238E27FC236}">
                    <a16:creationId xmlns:a16="http://schemas.microsoft.com/office/drawing/2014/main" id="{93B92EB6-DA99-46ED-8615-E5C7C434B8C3}"/>
                  </a:ext>
                </a:extLst>
              </p:cNvPr>
              <p:cNvSpPr/>
              <p:nvPr/>
            </p:nvSpPr>
            <p:spPr bwMode="gray">
              <a:xfrm>
                <a:off x="8908161" y="4505325"/>
                <a:ext cx="33433" cy="76200"/>
              </a:xfrm>
              <a:custGeom>
                <a:avLst/>
                <a:gdLst>
                  <a:gd name="connsiteX0" fmla="*/ 33433 w 33433"/>
                  <a:gd name="connsiteY0" fmla="*/ 0 h 76200"/>
                  <a:gd name="connsiteX1" fmla="*/ 33433 w 33433"/>
                  <a:gd name="connsiteY1" fmla="*/ 0 h 76200"/>
                  <a:gd name="connsiteX2" fmla="*/ 23908 w 33433"/>
                  <a:gd name="connsiteY2" fmla="*/ 19050 h 76200"/>
                  <a:gd name="connsiteX3" fmla="*/ 19145 w 33433"/>
                  <a:gd name="connsiteY3" fmla="*/ 26194 h 76200"/>
                  <a:gd name="connsiteX4" fmla="*/ 12002 w 33433"/>
                  <a:gd name="connsiteY4" fmla="*/ 28575 h 76200"/>
                  <a:gd name="connsiteX5" fmla="*/ 4858 w 33433"/>
                  <a:gd name="connsiteY5" fmla="*/ 54769 h 76200"/>
                  <a:gd name="connsiteX6" fmla="*/ 95 w 33433"/>
                  <a:gd name="connsiteY6" fmla="*/ 76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433" h="76200">
                    <a:moveTo>
                      <a:pt x="33433" y="0"/>
                    </a:moveTo>
                    <a:lnTo>
                      <a:pt x="33433" y="0"/>
                    </a:lnTo>
                    <a:cubicBezTo>
                      <a:pt x="30258" y="6350"/>
                      <a:pt x="27308" y="12817"/>
                      <a:pt x="23908" y="19050"/>
                    </a:cubicBezTo>
                    <a:cubicBezTo>
                      <a:pt x="22537" y="21563"/>
                      <a:pt x="21380" y="24406"/>
                      <a:pt x="19145" y="26194"/>
                    </a:cubicBezTo>
                    <a:cubicBezTo>
                      <a:pt x="17185" y="27762"/>
                      <a:pt x="14383" y="27781"/>
                      <a:pt x="12002" y="28575"/>
                    </a:cubicBezTo>
                    <a:cubicBezTo>
                      <a:pt x="2105" y="43419"/>
                      <a:pt x="11136" y="27567"/>
                      <a:pt x="4858" y="54769"/>
                    </a:cubicBezTo>
                    <a:cubicBezTo>
                      <a:pt x="-1084" y="80518"/>
                      <a:pt x="95" y="54308"/>
                      <a:pt x="95" y="76200"/>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04" name="Freeform: Shape 503">
                <a:extLst>
                  <a:ext uri="{FF2B5EF4-FFF2-40B4-BE49-F238E27FC236}">
                    <a16:creationId xmlns:a16="http://schemas.microsoft.com/office/drawing/2014/main" id="{9ED2176E-9AC8-498B-889E-BF48D7DDC00F}"/>
                  </a:ext>
                </a:extLst>
              </p:cNvPr>
              <p:cNvSpPr/>
              <p:nvPr/>
            </p:nvSpPr>
            <p:spPr bwMode="gray">
              <a:xfrm>
                <a:off x="8646319" y="4443413"/>
                <a:ext cx="207169" cy="392906"/>
              </a:xfrm>
              <a:custGeom>
                <a:avLst/>
                <a:gdLst>
                  <a:gd name="connsiteX0" fmla="*/ 0 w 208991"/>
                  <a:gd name="connsiteY0" fmla="*/ 0 h 392906"/>
                  <a:gd name="connsiteX1" fmla="*/ 71437 w 208991"/>
                  <a:gd name="connsiteY1" fmla="*/ 7143 h 392906"/>
                  <a:gd name="connsiteX2" fmla="*/ 54769 w 208991"/>
                  <a:gd name="connsiteY2" fmla="*/ 14287 h 392906"/>
                  <a:gd name="connsiteX3" fmla="*/ 50006 w 208991"/>
                  <a:gd name="connsiteY3" fmla="*/ 45243 h 392906"/>
                  <a:gd name="connsiteX4" fmla="*/ 57150 w 208991"/>
                  <a:gd name="connsiteY4" fmla="*/ 50006 h 392906"/>
                  <a:gd name="connsiteX5" fmla="*/ 66675 w 208991"/>
                  <a:gd name="connsiteY5" fmla="*/ 102393 h 392906"/>
                  <a:gd name="connsiteX6" fmla="*/ 76200 w 208991"/>
                  <a:gd name="connsiteY6" fmla="*/ 116681 h 392906"/>
                  <a:gd name="connsiteX7" fmla="*/ 78581 w 208991"/>
                  <a:gd name="connsiteY7" fmla="*/ 123825 h 392906"/>
                  <a:gd name="connsiteX8" fmla="*/ 83344 w 208991"/>
                  <a:gd name="connsiteY8" fmla="*/ 130968 h 392906"/>
                  <a:gd name="connsiteX9" fmla="*/ 88106 w 208991"/>
                  <a:gd name="connsiteY9" fmla="*/ 178593 h 392906"/>
                  <a:gd name="connsiteX10" fmla="*/ 90487 w 208991"/>
                  <a:gd name="connsiteY10" fmla="*/ 188118 h 392906"/>
                  <a:gd name="connsiteX11" fmla="*/ 92869 w 208991"/>
                  <a:gd name="connsiteY11" fmla="*/ 238125 h 392906"/>
                  <a:gd name="connsiteX12" fmla="*/ 97631 w 208991"/>
                  <a:gd name="connsiteY12" fmla="*/ 245268 h 392906"/>
                  <a:gd name="connsiteX13" fmla="*/ 114300 w 208991"/>
                  <a:gd name="connsiteY13" fmla="*/ 250031 h 392906"/>
                  <a:gd name="connsiteX14" fmla="*/ 123825 w 208991"/>
                  <a:gd name="connsiteY14" fmla="*/ 257175 h 392906"/>
                  <a:gd name="connsiteX15" fmla="*/ 145256 w 208991"/>
                  <a:gd name="connsiteY15" fmla="*/ 266700 h 392906"/>
                  <a:gd name="connsiteX16" fmla="*/ 154781 w 208991"/>
                  <a:gd name="connsiteY16" fmla="*/ 273843 h 392906"/>
                  <a:gd name="connsiteX17" fmla="*/ 161925 w 208991"/>
                  <a:gd name="connsiteY17" fmla="*/ 276225 h 392906"/>
                  <a:gd name="connsiteX18" fmla="*/ 169069 w 208991"/>
                  <a:gd name="connsiteY18" fmla="*/ 280987 h 392906"/>
                  <a:gd name="connsiteX19" fmla="*/ 173831 w 208991"/>
                  <a:gd name="connsiteY19" fmla="*/ 290512 h 392906"/>
                  <a:gd name="connsiteX20" fmla="*/ 176212 w 208991"/>
                  <a:gd name="connsiteY20" fmla="*/ 319087 h 392906"/>
                  <a:gd name="connsiteX21" fmla="*/ 188119 w 208991"/>
                  <a:gd name="connsiteY21" fmla="*/ 328612 h 392906"/>
                  <a:gd name="connsiteX22" fmla="*/ 202406 w 208991"/>
                  <a:gd name="connsiteY22" fmla="*/ 340518 h 392906"/>
                  <a:gd name="connsiteX23" fmla="*/ 207169 w 208991"/>
                  <a:gd name="connsiteY23" fmla="*/ 392906 h 392906"/>
                  <a:gd name="connsiteX0" fmla="*/ 0 w 207169"/>
                  <a:gd name="connsiteY0" fmla="*/ 0 h 392906"/>
                  <a:gd name="connsiteX1" fmla="*/ 71437 w 207169"/>
                  <a:gd name="connsiteY1" fmla="*/ 7143 h 392906"/>
                  <a:gd name="connsiteX2" fmla="*/ 54769 w 207169"/>
                  <a:gd name="connsiteY2" fmla="*/ 14287 h 392906"/>
                  <a:gd name="connsiteX3" fmla="*/ 50006 w 207169"/>
                  <a:gd name="connsiteY3" fmla="*/ 45243 h 392906"/>
                  <a:gd name="connsiteX4" fmla="*/ 57150 w 207169"/>
                  <a:gd name="connsiteY4" fmla="*/ 50006 h 392906"/>
                  <a:gd name="connsiteX5" fmla="*/ 66675 w 207169"/>
                  <a:gd name="connsiteY5" fmla="*/ 102393 h 392906"/>
                  <a:gd name="connsiteX6" fmla="*/ 76200 w 207169"/>
                  <a:gd name="connsiteY6" fmla="*/ 116681 h 392906"/>
                  <a:gd name="connsiteX7" fmla="*/ 78581 w 207169"/>
                  <a:gd name="connsiteY7" fmla="*/ 123825 h 392906"/>
                  <a:gd name="connsiteX8" fmla="*/ 83344 w 207169"/>
                  <a:gd name="connsiteY8" fmla="*/ 130968 h 392906"/>
                  <a:gd name="connsiteX9" fmla="*/ 88106 w 207169"/>
                  <a:gd name="connsiteY9" fmla="*/ 178593 h 392906"/>
                  <a:gd name="connsiteX10" fmla="*/ 90487 w 207169"/>
                  <a:gd name="connsiteY10" fmla="*/ 188118 h 392906"/>
                  <a:gd name="connsiteX11" fmla="*/ 92869 w 207169"/>
                  <a:gd name="connsiteY11" fmla="*/ 238125 h 392906"/>
                  <a:gd name="connsiteX12" fmla="*/ 97631 w 207169"/>
                  <a:gd name="connsiteY12" fmla="*/ 245268 h 392906"/>
                  <a:gd name="connsiteX13" fmla="*/ 114300 w 207169"/>
                  <a:gd name="connsiteY13" fmla="*/ 250031 h 392906"/>
                  <a:gd name="connsiteX14" fmla="*/ 123825 w 207169"/>
                  <a:gd name="connsiteY14" fmla="*/ 257175 h 392906"/>
                  <a:gd name="connsiteX15" fmla="*/ 145256 w 207169"/>
                  <a:gd name="connsiteY15" fmla="*/ 266700 h 392906"/>
                  <a:gd name="connsiteX16" fmla="*/ 154781 w 207169"/>
                  <a:gd name="connsiteY16" fmla="*/ 273843 h 392906"/>
                  <a:gd name="connsiteX17" fmla="*/ 161925 w 207169"/>
                  <a:gd name="connsiteY17" fmla="*/ 276225 h 392906"/>
                  <a:gd name="connsiteX18" fmla="*/ 169069 w 207169"/>
                  <a:gd name="connsiteY18" fmla="*/ 280987 h 392906"/>
                  <a:gd name="connsiteX19" fmla="*/ 173831 w 207169"/>
                  <a:gd name="connsiteY19" fmla="*/ 290512 h 392906"/>
                  <a:gd name="connsiteX20" fmla="*/ 176212 w 207169"/>
                  <a:gd name="connsiteY20" fmla="*/ 319087 h 392906"/>
                  <a:gd name="connsiteX21" fmla="*/ 188119 w 207169"/>
                  <a:gd name="connsiteY21" fmla="*/ 328612 h 392906"/>
                  <a:gd name="connsiteX22" fmla="*/ 202406 w 207169"/>
                  <a:gd name="connsiteY22" fmla="*/ 340518 h 392906"/>
                  <a:gd name="connsiteX23" fmla="*/ 207169 w 207169"/>
                  <a:gd name="connsiteY23" fmla="*/ 392906 h 392906"/>
                  <a:gd name="connsiteX0" fmla="*/ 0 w 207169"/>
                  <a:gd name="connsiteY0" fmla="*/ 0 h 392906"/>
                  <a:gd name="connsiteX1" fmla="*/ 71437 w 207169"/>
                  <a:gd name="connsiteY1" fmla="*/ 7143 h 392906"/>
                  <a:gd name="connsiteX2" fmla="*/ 54769 w 207169"/>
                  <a:gd name="connsiteY2" fmla="*/ 14287 h 392906"/>
                  <a:gd name="connsiteX3" fmla="*/ 50006 w 207169"/>
                  <a:gd name="connsiteY3" fmla="*/ 45243 h 392906"/>
                  <a:gd name="connsiteX4" fmla="*/ 57150 w 207169"/>
                  <a:gd name="connsiteY4" fmla="*/ 50006 h 392906"/>
                  <a:gd name="connsiteX5" fmla="*/ 66675 w 207169"/>
                  <a:gd name="connsiteY5" fmla="*/ 102393 h 392906"/>
                  <a:gd name="connsiteX6" fmla="*/ 76200 w 207169"/>
                  <a:gd name="connsiteY6" fmla="*/ 116681 h 392906"/>
                  <a:gd name="connsiteX7" fmla="*/ 78581 w 207169"/>
                  <a:gd name="connsiteY7" fmla="*/ 123825 h 392906"/>
                  <a:gd name="connsiteX8" fmla="*/ 83344 w 207169"/>
                  <a:gd name="connsiteY8" fmla="*/ 130968 h 392906"/>
                  <a:gd name="connsiteX9" fmla="*/ 88106 w 207169"/>
                  <a:gd name="connsiteY9" fmla="*/ 178593 h 392906"/>
                  <a:gd name="connsiteX10" fmla="*/ 90487 w 207169"/>
                  <a:gd name="connsiteY10" fmla="*/ 188118 h 392906"/>
                  <a:gd name="connsiteX11" fmla="*/ 92869 w 207169"/>
                  <a:gd name="connsiteY11" fmla="*/ 238125 h 392906"/>
                  <a:gd name="connsiteX12" fmla="*/ 97631 w 207169"/>
                  <a:gd name="connsiteY12" fmla="*/ 245268 h 392906"/>
                  <a:gd name="connsiteX13" fmla="*/ 114300 w 207169"/>
                  <a:gd name="connsiteY13" fmla="*/ 250031 h 392906"/>
                  <a:gd name="connsiteX14" fmla="*/ 123825 w 207169"/>
                  <a:gd name="connsiteY14" fmla="*/ 257175 h 392906"/>
                  <a:gd name="connsiteX15" fmla="*/ 145256 w 207169"/>
                  <a:gd name="connsiteY15" fmla="*/ 266700 h 392906"/>
                  <a:gd name="connsiteX16" fmla="*/ 154781 w 207169"/>
                  <a:gd name="connsiteY16" fmla="*/ 273843 h 392906"/>
                  <a:gd name="connsiteX17" fmla="*/ 161925 w 207169"/>
                  <a:gd name="connsiteY17" fmla="*/ 276225 h 392906"/>
                  <a:gd name="connsiteX18" fmla="*/ 169069 w 207169"/>
                  <a:gd name="connsiteY18" fmla="*/ 280987 h 392906"/>
                  <a:gd name="connsiteX19" fmla="*/ 173831 w 207169"/>
                  <a:gd name="connsiteY19" fmla="*/ 290512 h 392906"/>
                  <a:gd name="connsiteX20" fmla="*/ 176212 w 207169"/>
                  <a:gd name="connsiteY20" fmla="*/ 319087 h 392906"/>
                  <a:gd name="connsiteX21" fmla="*/ 188119 w 207169"/>
                  <a:gd name="connsiteY21" fmla="*/ 328612 h 392906"/>
                  <a:gd name="connsiteX22" fmla="*/ 195262 w 207169"/>
                  <a:gd name="connsiteY22" fmla="*/ 342900 h 392906"/>
                  <a:gd name="connsiteX23" fmla="*/ 207169 w 207169"/>
                  <a:gd name="connsiteY23" fmla="*/ 392906 h 392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7169" h="392906">
                    <a:moveTo>
                      <a:pt x="0" y="0"/>
                    </a:moveTo>
                    <a:lnTo>
                      <a:pt x="71437" y="7143"/>
                    </a:lnTo>
                    <a:lnTo>
                      <a:pt x="54769" y="14287"/>
                    </a:lnTo>
                    <a:cubicBezTo>
                      <a:pt x="39797" y="36743"/>
                      <a:pt x="33465" y="31065"/>
                      <a:pt x="50006" y="45243"/>
                    </a:cubicBezTo>
                    <a:cubicBezTo>
                      <a:pt x="52179" y="47106"/>
                      <a:pt x="54769" y="48418"/>
                      <a:pt x="57150" y="50006"/>
                    </a:cubicBezTo>
                    <a:cubicBezTo>
                      <a:pt x="75089" y="79902"/>
                      <a:pt x="52808" y="38602"/>
                      <a:pt x="66675" y="102393"/>
                    </a:cubicBezTo>
                    <a:cubicBezTo>
                      <a:pt x="67891" y="107986"/>
                      <a:pt x="73025" y="111918"/>
                      <a:pt x="76200" y="116681"/>
                    </a:cubicBezTo>
                    <a:cubicBezTo>
                      <a:pt x="76994" y="119062"/>
                      <a:pt x="77458" y="121580"/>
                      <a:pt x="78581" y="123825"/>
                    </a:cubicBezTo>
                    <a:cubicBezTo>
                      <a:pt x="79861" y="126385"/>
                      <a:pt x="82854" y="128149"/>
                      <a:pt x="83344" y="130968"/>
                    </a:cubicBezTo>
                    <a:cubicBezTo>
                      <a:pt x="86078" y="146686"/>
                      <a:pt x="86127" y="162762"/>
                      <a:pt x="88106" y="178593"/>
                    </a:cubicBezTo>
                    <a:cubicBezTo>
                      <a:pt x="88512" y="181840"/>
                      <a:pt x="89693" y="184943"/>
                      <a:pt x="90487" y="188118"/>
                    </a:cubicBezTo>
                    <a:cubicBezTo>
                      <a:pt x="91281" y="204787"/>
                      <a:pt x="90799" y="221566"/>
                      <a:pt x="92869" y="238125"/>
                    </a:cubicBezTo>
                    <a:cubicBezTo>
                      <a:pt x="93224" y="240965"/>
                      <a:pt x="95130" y="243878"/>
                      <a:pt x="97631" y="245268"/>
                    </a:cubicBezTo>
                    <a:cubicBezTo>
                      <a:pt x="102683" y="248074"/>
                      <a:pt x="108744" y="248443"/>
                      <a:pt x="114300" y="250031"/>
                    </a:cubicBezTo>
                    <a:cubicBezTo>
                      <a:pt x="117475" y="252412"/>
                      <a:pt x="120422" y="255133"/>
                      <a:pt x="123825" y="257175"/>
                    </a:cubicBezTo>
                    <a:cubicBezTo>
                      <a:pt x="134154" y="263372"/>
                      <a:pt x="135986" y="263609"/>
                      <a:pt x="145256" y="266700"/>
                    </a:cubicBezTo>
                    <a:cubicBezTo>
                      <a:pt x="148431" y="269081"/>
                      <a:pt x="151335" y="271874"/>
                      <a:pt x="154781" y="273843"/>
                    </a:cubicBezTo>
                    <a:cubicBezTo>
                      <a:pt x="156960" y="275088"/>
                      <a:pt x="159680" y="275102"/>
                      <a:pt x="161925" y="276225"/>
                    </a:cubicBezTo>
                    <a:cubicBezTo>
                      <a:pt x="164485" y="277505"/>
                      <a:pt x="166688" y="279400"/>
                      <a:pt x="169069" y="280987"/>
                    </a:cubicBezTo>
                    <a:cubicBezTo>
                      <a:pt x="170656" y="284162"/>
                      <a:pt x="173177" y="287023"/>
                      <a:pt x="173831" y="290512"/>
                    </a:cubicBezTo>
                    <a:cubicBezTo>
                      <a:pt x="175592" y="299906"/>
                      <a:pt x="172856" y="310138"/>
                      <a:pt x="176212" y="319087"/>
                    </a:cubicBezTo>
                    <a:cubicBezTo>
                      <a:pt x="177997" y="323846"/>
                      <a:pt x="184944" y="324643"/>
                      <a:pt x="188119" y="328612"/>
                    </a:cubicBezTo>
                    <a:cubicBezTo>
                      <a:pt x="191294" y="332581"/>
                      <a:pt x="182196" y="329836"/>
                      <a:pt x="195262" y="342900"/>
                    </a:cubicBezTo>
                    <a:cubicBezTo>
                      <a:pt x="206415" y="365204"/>
                      <a:pt x="190501" y="346493"/>
                      <a:pt x="207169" y="392906"/>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05" name="Freeform: Shape 504">
                <a:extLst>
                  <a:ext uri="{FF2B5EF4-FFF2-40B4-BE49-F238E27FC236}">
                    <a16:creationId xmlns:a16="http://schemas.microsoft.com/office/drawing/2014/main" id="{788A819E-AD22-4B34-82C4-A3FD3B372A28}"/>
                  </a:ext>
                </a:extLst>
              </p:cNvPr>
              <p:cNvSpPr/>
              <p:nvPr/>
            </p:nvSpPr>
            <p:spPr bwMode="gray">
              <a:xfrm>
                <a:off x="8808244" y="4572000"/>
                <a:ext cx="16669" cy="154781"/>
              </a:xfrm>
              <a:custGeom>
                <a:avLst/>
                <a:gdLst>
                  <a:gd name="connsiteX0" fmla="*/ 4762 w 16669"/>
                  <a:gd name="connsiteY0" fmla="*/ 0 h 154781"/>
                  <a:gd name="connsiteX1" fmla="*/ 0 w 16669"/>
                  <a:gd name="connsiteY1" fmla="*/ 45244 h 154781"/>
                  <a:gd name="connsiteX2" fmla="*/ 7144 w 16669"/>
                  <a:gd name="connsiteY2" fmla="*/ 80963 h 154781"/>
                  <a:gd name="connsiteX3" fmla="*/ 16669 w 16669"/>
                  <a:gd name="connsiteY3" fmla="*/ 116681 h 154781"/>
                  <a:gd name="connsiteX4" fmla="*/ 9525 w 16669"/>
                  <a:gd name="connsiteY4" fmla="*/ 154781 h 154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69" h="154781">
                    <a:moveTo>
                      <a:pt x="4762" y="0"/>
                    </a:moveTo>
                    <a:lnTo>
                      <a:pt x="0" y="45244"/>
                    </a:lnTo>
                    <a:lnTo>
                      <a:pt x="7144" y="80963"/>
                    </a:lnTo>
                    <a:lnTo>
                      <a:pt x="16669" y="116681"/>
                    </a:lnTo>
                    <a:lnTo>
                      <a:pt x="9525" y="154781"/>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06" name="Freeform: Shape 505">
                <a:extLst>
                  <a:ext uri="{FF2B5EF4-FFF2-40B4-BE49-F238E27FC236}">
                    <a16:creationId xmlns:a16="http://schemas.microsoft.com/office/drawing/2014/main" id="{805BDB0B-FD0D-4911-8967-0918EB46C51A}"/>
                  </a:ext>
                </a:extLst>
              </p:cNvPr>
              <p:cNvSpPr/>
              <p:nvPr/>
            </p:nvSpPr>
            <p:spPr bwMode="gray">
              <a:xfrm>
                <a:off x="8765381" y="4914900"/>
                <a:ext cx="173832" cy="202406"/>
              </a:xfrm>
              <a:custGeom>
                <a:avLst/>
                <a:gdLst>
                  <a:gd name="connsiteX0" fmla="*/ 2382 w 173832"/>
                  <a:gd name="connsiteY0" fmla="*/ 0 h 202406"/>
                  <a:gd name="connsiteX1" fmla="*/ 0 w 173832"/>
                  <a:gd name="connsiteY1" fmla="*/ 21431 h 202406"/>
                  <a:gd name="connsiteX2" fmla="*/ 30957 w 173832"/>
                  <a:gd name="connsiteY2" fmla="*/ 83344 h 202406"/>
                  <a:gd name="connsiteX3" fmla="*/ 30957 w 173832"/>
                  <a:gd name="connsiteY3" fmla="*/ 83344 h 202406"/>
                  <a:gd name="connsiteX4" fmla="*/ 4763 w 173832"/>
                  <a:gd name="connsiteY4" fmla="*/ 69056 h 202406"/>
                  <a:gd name="connsiteX5" fmla="*/ 35719 w 173832"/>
                  <a:gd name="connsiteY5" fmla="*/ 116681 h 202406"/>
                  <a:gd name="connsiteX6" fmla="*/ 64294 w 173832"/>
                  <a:gd name="connsiteY6" fmla="*/ 138113 h 202406"/>
                  <a:gd name="connsiteX7" fmla="*/ 116682 w 173832"/>
                  <a:gd name="connsiteY7" fmla="*/ 152400 h 202406"/>
                  <a:gd name="connsiteX8" fmla="*/ 173832 w 173832"/>
                  <a:gd name="connsiteY8" fmla="*/ 202406 h 202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32" h="202406">
                    <a:moveTo>
                      <a:pt x="2382" y="0"/>
                    </a:moveTo>
                    <a:lnTo>
                      <a:pt x="0" y="21431"/>
                    </a:lnTo>
                    <a:lnTo>
                      <a:pt x="30957" y="83344"/>
                    </a:lnTo>
                    <a:lnTo>
                      <a:pt x="30957" y="83344"/>
                    </a:lnTo>
                    <a:lnTo>
                      <a:pt x="4763" y="69056"/>
                    </a:lnTo>
                    <a:lnTo>
                      <a:pt x="35719" y="116681"/>
                    </a:lnTo>
                    <a:lnTo>
                      <a:pt x="64294" y="138113"/>
                    </a:lnTo>
                    <a:lnTo>
                      <a:pt x="116682" y="152400"/>
                    </a:lnTo>
                    <a:lnTo>
                      <a:pt x="173832" y="202406"/>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07" name="Freeform: Shape 506">
                <a:extLst>
                  <a:ext uri="{FF2B5EF4-FFF2-40B4-BE49-F238E27FC236}">
                    <a16:creationId xmlns:a16="http://schemas.microsoft.com/office/drawing/2014/main" id="{27C1A74E-74DF-43D5-B15F-0A43943659A3}"/>
                  </a:ext>
                </a:extLst>
              </p:cNvPr>
              <p:cNvSpPr/>
              <p:nvPr/>
            </p:nvSpPr>
            <p:spPr bwMode="gray">
              <a:xfrm>
                <a:off x="8772525" y="5064125"/>
                <a:ext cx="165100" cy="95250"/>
              </a:xfrm>
              <a:custGeom>
                <a:avLst/>
                <a:gdLst>
                  <a:gd name="connsiteX0" fmla="*/ 0 w 165100"/>
                  <a:gd name="connsiteY0" fmla="*/ 95250 h 95250"/>
                  <a:gd name="connsiteX1" fmla="*/ 41275 w 165100"/>
                  <a:gd name="connsiteY1" fmla="*/ 95250 h 95250"/>
                  <a:gd name="connsiteX2" fmla="*/ 136525 w 165100"/>
                  <a:gd name="connsiteY2" fmla="*/ 88900 h 95250"/>
                  <a:gd name="connsiteX3" fmla="*/ 165100 w 165100"/>
                  <a:gd name="connsiteY3" fmla="*/ 38100 h 95250"/>
                  <a:gd name="connsiteX4" fmla="*/ 155575 w 165100"/>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00" h="95250">
                    <a:moveTo>
                      <a:pt x="0" y="95250"/>
                    </a:moveTo>
                    <a:lnTo>
                      <a:pt x="41275" y="95250"/>
                    </a:lnTo>
                    <a:lnTo>
                      <a:pt x="136525" y="88900"/>
                    </a:lnTo>
                    <a:lnTo>
                      <a:pt x="165100" y="38100"/>
                    </a:lnTo>
                    <a:lnTo>
                      <a:pt x="155575"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grpSp>
        <p:grpSp>
          <p:nvGrpSpPr>
            <p:cNvPr id="310" name="Group 309">
              <a:extLst>
                <a:ext uri="{FF2B5EF4-FFF2-40B4-BE49-F238E27FC236}">
                  <a16:creationId xmlns:a16="http://schemas.microsoft.com/office/drawing/2014/main" id="{BB760AB3-F754-436F-9C8C-47C98D516DC2}"/>
                </a:ext>
              </a:extLst>
            </p:cNvPr>
            <p:cNvGrpSpPr/>
            <p:nvPr/>
          </p:nvGrpSpPr>
          <p:grpSpPr bwMode="gray">
            <a:xfrm>
              <a:off x="8967788" y="1978025"/>
              <a:ext cx="696912" cy="1331913"/>
              <a:chOff x="8967788" y="1978025"/>
              <a:chExt cx="696912" cy="1331913"/>
            </a:xfrm>
          </p:grpSpPr>
          <p:sp>
            <p:nvSpPr>
              <p:cNvPr id="470" name="Freeform: Shape 469">
                <a:extLst>
                  <a:ext uri="{FF2B5EF4-FFF2-40B4-BE49-F238E27FC236}">
                    <a16:creationId xmlns:a16="http://schemas.microsoft.com/office/drawing/2014/main" id="{B2FA7DF3-FB45-43C8-80C6-B9A94B782545}"/>
                  </a:ext>
                </a:extLst>
              </p:cNvPr>
              <p:cNvSpPr/>
              <p:nvPr/>
            </p:nvSpPr>
            <p:spPr bwMode="gray">
              <a:xfrm>
                <a:off x="9105900" y="2714625"/>
                <a:ext cx="247650" cy="133350"/>
              </a:xfrm>
              <a:custGeom>
                <a:avLst/>
                <a:gdLst>
                  <a:gd name="connsiteX0" fmla="*/ 12700 w 247650"/>
                  <a:gd name="connsiteY0" fmla="*/ 123825 h 133350"/>
                  <a:gd name="connsiteX1" fmla="*/ 0 w 247650"/>
                  <a:gd name="connsiteY1" fmla="*/ 95250 h 133350"/>
                  <a:gd name="connsiteX2" fmla="*/ 41275 w 247650"/>
                  <a:gd name="connsiteY2" fmla="*/ 69850 h 133350"/>
                  <a:gd name="connsiteX3" fmla="*/ 57150 w 247650"/>
                  <a:gd name="connsiteY3" fmla="*/ 60325 h 133350"/>
                  <a:gd name="connsiteX4" fmla="*/ 82550 w 247650"/>
                  <a:gd name="connsiteY4" fmla="*/ 82550 h 133350"/>
                  <a:gd name="connsiteX5" fmla="*/ 127000 w 247650"/>
                  <a:gd name="connsiteY5" fmla="*/ 114300 h 133350"/>
                  <a:gd name="connsiteX6" fmla="*/ 155575 w 247650"/>
                  <a:gd name="connsiteY6" fmla="*/ 133350 h 133350"/>
                  <a:gd name="connsiteX7" fmla="*/ 193675 w 247650"/>
                  <a:gd name="connsiteY7" fmla="*/ 82550 h 133350"/>
                  <a:gd name="connsiteX8" fmla="*/ 225425 w 247650"/>
                  <a:gd name="connsiteY8" fmla="*/ 47625 h 133350"/>
                  <a:gd name="connsiteX9" fmla="*/ 225425 w 247650"/>
                  <a:gd name="connsiteY9" fmla="*/ 15875 h 133350"/>
                  <a:gd name="connsiteX10" fmla="*/ 247650 w 247650"/>
                  <a:gd name="connsiteY10" fmla="*/ 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7650" h="133350">
                    <a:moveTo>
                      <a:pt x="12700" y="123825"/>
                    </a:moveTo>
                    <a:lnTo>
                      <a:pt x="0" y="95250"/>
                    </a:lnTo>
                    <a:lnTo>
                      <a:pt x="41275" y="69850"/>
                    </a:lnTo>
                    <a:lnTo>
                      <a:pt x="57150" y="60325"/>
                    </a:lnTo>
                    <a:lnTo>
                      <a:pt x="82550" y="82550"/>
                    </a:lnTo>
                    <a:lnTo>
                      <a:pt x="127000" y="114300"/>
                    </a:lnTo>
                    <a:lnTo>
                      <a:pt x="155575" y="133350"/>
                    </a:lnTo>
                    <a:lnTo>
                      <a:pt x="193675" y="82550"/>
                    </a:lnTo>
                    <a:lnTo>
                      <a:pt x="225425" y="47625"/>
                    </a:lnTo>
                    <a:lnTo>
                      <a:pt x="225425" y="15875"/>
                    </a:lnTo>
                    <a:lnTo>
                      <a:pt x="24765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71" name="Freeform: Shape 470">
                <a:extLst>
                  <a:ext uri="{FF2B5EF4-FFF2-40B4-BE49-F238E27FC236}">
                    <a16:creationId xmlns:a16="http://schemas.microsoft.com/office/drawing/2014/main" id="{96BD6404-8243-4B19-958F-A4B475E73B68}"/>
                  </a:ext>
                </a:extLst>
              </p:cNvPr>
              <p:cNvSpPr/>
              <p:nvPr/>
            </p:nvSpPr>
            <p:spPr bwMode="gray">
              <a:xfrm>
                <a:off x="9058275" y="1978025"/>
                <a:ext cx="577850" cy="781050"/>
              </a:xfrm>
              <a:custGeom>
                <a:avLst/>
                <a:gdLst>
                  <a:gd name="connsiteX0" fmla="*/ 146050 w 577850"/>
                  <a:gd name="connsiteY0" fmla="*/ 0 h 781050"/>
                  <a:gd name="connsiteX1" fmla="*/ 57150 w 577850"/>
                  <a:gd name="connsiteY1" fmla="*/ 79375 h 781050"/>
                  <a:gd name="connsiteX2" fmla="*/ 0 w 577850"/>
                  <a:gd name="connsiteY2" fmla="*/ 76200 h 781050"/>
                  <a:gd name="connsiteX3" fmla="*/ 6350 w 577850"/>
                  <a:gd name="connsiteY3" fmla="*/ 263525 h 781050"/>
                  <a:gd name="connsiteX4" fmla="*/ 57150 w 577850"/>
                  <a:gd name="connsiteY4" fmla="*/ 269875 h 781050"/>
                  <a:gd name="connsiteX5" fmla="*/ 104775 w 577850"/>
                  <a:gd name="connsiteY5" fmla="*/ 320675 h 781050"/>
                  <a:gd name="connsiteX6" fmla="*/ 120650 w 577850"/>
                  <a:gd name="connsiteY6" fmla="*/ 371475 h 781050"/>
                  <a:gd name="connsiteX7" fmla="*/ 155575 w 577850"/>
                  <a:gd name="connsiteY7" fmla="*/ 457200 h 781050"/>
                  <a:gd name="connsiteX8" fmla="*/ 212725 w 577850"/>
                  <a:gd name="connsiteY8" fmla="*/ 485775 h 781050"/>
                  <a:gd name="connsiteX9" fmla="*/ 263525 w 577850"/>
                  <a:gd name="connsiteY9" fmla="*/ 571500 h 781050"/>
                  <a:gd name="connsiteX10" fmla="*/ 285750 w 577850"/>
                  <a:gd name="connsiteY10" fmla="*/ 609600 h 781050"/>
                  <a:gd name="connsiteX11" fmla="*/ 295275 w 577850"/>
                  <a:gd name="connsiteY11" fmla="*/ 657225 h 781050"/>
                  <a:gd name="connsiteX12" fmla="*/ 292100 w 577850"/>
                  <a:gd name="connsiteY12" fmla="*/ 676275 h 781050"/>
                  <a:gd name="connsiteX13" fmla="*/ 377825 w 577850"/>
                  <a:gd name="connsiteY13" fmla="*/ 711200 h 781050"/>
                  <a:gd name="connsiteX14" fmla="*/ 473075 w 577850"/>
                  <a:gd name="connsiteY14" fmla="*/ 714375 h 781050"/>
                  <a:gd name="connsiteX15" fmla="*/ 577850 w 577850"/>
                  <a:gd name="connsiteY15" fmla="*/ 781050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7850" h="781050">
                    <a:moveTo>
                      <a:pt x="146050" y="0"/>
                    </a:moveTo>
                    <a:lnTo>
                      <a:pt x="57150" y="79375"/>
                    </a:lnTo>
                    <a:lnTo>
                      <a:pt x="0" y="76200"/>
                    </a:lnTo>
                    <a:lnTo>
                      <a:pt x="6350" y="263525"/>
                    </a:lnTo>
                    <a:lnTo>
                      <a:pt x="57150" y="269875"/>
                    </a:lnTo>
                    <a:lnTo>
                      <a:pt x="104775" y="320675"/>
                    </a:lnTo>
                    <a:lnTo>
                      <a:pt x="120650" y="371475"/>
                    </a:lnTo>
                    <a:lnTo>
                      <a:pt x="155575" y="457200"/>
                    </a:lnTo>
                    <a:lnTo>
                      <a:pt x="212725" y="485775"/>
                    </a:lnTo>
                    <a:lnTo>
                      <a:pt x="263525" y="571500"/>
                    </a:lnTo>
                    <a:lnTo>
                      <a:pt x="285750" y="609600"/>
                    </a:lnTo>
                    <a:lnTo>
                      <a:pt x="295275" y="657225"/>
                    </a:lnTo>
                    <a:lnTo>
                      <a:pt x="292100" y="676275"/>
                    </a:lnTo>
                    <a:lnTo>
                      <a:pt x="377825" y="711200"/>
                    </a:lnTo>
                    <a:lnTo>
                      <a:pt x="473075" y="714375"/>
                    </a:lnTo>
                    <a:lnTo>
                      <a:pt x="577850" y="78105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72" name="Freeform: Shape 471">
                <a:extLst>
                  <a:ext uri="{FF2B5EF4-FFF2-40B4-BE49-F238E27FC236}">
                    <a16:creationId xmlns:a16="http://schemas.microsoft.com/office/drawing/2014/main" id="{978F2E1E-1BC9-4884-B8AD-79595D2004B9}"/>
                  </a:ext>
                </a:extLst>
              </p:cNvPr>
              <p:cNvSpPr/>
              <p:nvPr/>
            </p:nvSpPr>
            <p:spPr bwMode="gray">
              <a:xfrm>
                <a:off x="9540875" y="2101850"/>
                <a:ext cx="123825" cy="170188"/>
              </a:xfrm>
              <a:custGeom>
                <a:avLst/>
                <a:gdLst>
                  <a:gd name="connsiteX0" fmla="*/ 123825 w 123825"/>
                  <a:gd name="connsiteY0" fmla="*/ 60325 h 170188"/>
                  <a:gd name="connsiteX1" fmla="*/ 123825 w 123825"/>
                  <a:gd name="connsiteY1" fmla="*/ 60325 h 170188"/>
                  <a:gd name="connsiteX2" fmla="*/ 92075 w 123825"/>
                  <a:gd name="connsiteY2" fmla="*/ 57150 h 170188"/>
                  <a:gd name="connsiteX3" fmla="*/ 60325 w 123825"/>
                  <a:gd name="connsiteY3" fmla="*/ 41275 h 170188"/>
                  <a:gd name="connsiteX4" fmla="*/ 47625 w 123825"/>
                  <a:gd name="connsiteY4" fmla="*/ 34925 h 170188"/>
                  <a:gd name="connsiteX5" fmla="*/ 28575 w 123825"/>
                  <a:gd name="connsiteY5" fmla="*/ 28575 h 170188"/>
                  <a:gd name="connsiteX6" fmla="*/ 60325 w 123825"/>
                  <a:gd name="connsiteY6" fmla="*/ 22225 h 170188"/>
                  <a:gd name="connsiteX7" fmla="*/ 73025 w 123825"/>
                  <a:gd name="connsiteY7" fmla="*/ 19050 h 170188"/>
                  <a:gd name="connsiteX8" fmla="*/ 50800 w 123825"/>
                  <a:gd name="connsiteY8" fmla="*/ 9525 h 170188"/>
                  <a:gd name="connsiteX9" fmla="*/ 44450 w 123825"/>
                  <a:gd name="connsiteY9" fmla="*/ 0 h 170188"/>
                  <a:gd name="connsiteX10" fmla="*/ 19050 w 123825"/>
                  <a:gd name="connsiteY10" fmla="*/ 25400 h 170188"/>
                  <a:gd name="connsiteX11" fmla="*/ 15875 w 123825"/>
                  <a:gd name="connsiteY11" fmla="*/ 34925 h 170188"/>
                  <a:gd name="connsiteX12" fmla="*/ 9525 w 123825"/>
                  <a:gd name="connsiteY12" fmla="*/ 50800 h 170188"/>
                  <a:gd name="connsiteX13" fmla="*/ 0 w 123825"/>
                  <a:gd name="connsiteY13" fmla="*/ 79375 h 170188"/>
                  <a:gd name="connsiteX14" fmla="*/ 6350 w 123825"/>
                  <a:gd name="connsiteY14" fmla="*/ 142875 h 170188"/>
                  <a:gd name="connsiteX15" fmla="*/ 9525 w 123825"/>
                  <a:gd name="connsiteY15" fmla="*/ 152400 h 170188"/>
                  <a:gd name="connsiteX16" fmla="*/ 31750 w 123825"/>
                  <a:gd name="connsiteY16" fmla="*/ 165100 h 170188"/>
                  <a:gd name="connsiteX17" fmla="*/ 120650 w 123825"/>
                  <a:gd name="connsiteY17" fmla="*/ 158750 h 17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3825" h="170188">
                    <a:moveTo>
                      <a:pt x="123825" y="60325"/>
                    </a:moveTo>
                    <a:lnTo>
                      <a:pt x="123825" y="60325"/>
                    </a:lnTo>
                    <a:cubicBezTo>
                      <a:pt x="113242" y="59267"/>
                      <a:pt x="102505" y="59236"/>
                      <a:pt x="92075" y="57150"/>
                    </a:cubicBezTo>
                    <a:cubicBezTo>
                      <a:pt x="80226" y="54780"/>
                      <a:pt x="70524" y="46941"/>
                      <a:pt x="60325" y="41275"/>
                    </a:cubicBezTo>
                    <a:cubicBezTo>
                      <a:pt x="56188" y="38976"/>
                      <a:pt x="52019" y="36683"/>
                      <a:pt x="47625" y="34925"/>
                    </a:cubicBezTo>
                    <a:cubicBezTo>
                      <a:pt x="41410" y="32439"/>
                      <a:pt x="28575" y="28575"/>
                      <a:pt x="28575" y="28575"/>
                    </a:cubicBezTo>
                    <a:lnTo>
                      <a:pt x="60325" y="22225"/>
                    </a:lnTo>
                    <a:cubicBezTo>
                      <a:pt x="64592" y="21311"/>
                      <a:pt x="73025" y="19050"/>
                      <a:pt x="73025" y="19050"/>
                    </a:cubicBezTo>
                    <a:cubicBezTo>
                      <a:pt x="63309" y="16621"/>
                      <a:pt x="58109" y="16834"/>
                      <a:pt x="50800" y="9525"/>
                    </a:cubicBezTo>
                    <a:cubicBezTo>
                      <a:pt x="48102" y="6827"/>
                      <a:pt x="46567" y="3175"/>
                      <a:pt x="44450" y="0"/>
                    </a:cubicBezTo>
                    <a:cubicBezTo>
                      <a:pt x="31475" y="9731"/>
                      <a:pt x="28465" y="10336"/>
                      <a:pt x="19050" y="25400"/>
                    </a:cubicBezTo>
                    <a:cubicBezTo>
                      <a:pt x="17276" y="28238"/>
                      <a:pt x="17050" y="31791"/>
                      <a:pt x="15875" y="34925"/>
                    </a:cubicBezTo>
                    <a:cubicBezTo>
                      <a:pt x="13874" y="40261"/>
                      <a:pt x="11442" y="45433"/>
                      <a:pt x="9525" y="50800"/>
                    </a:cubicBezTo>
                    <a:cubicBezTo>
                      <a:pt x="6148" y="60255"/>
                      <a:pt x="0" y="79375"/>
                      <a:pt x="0" y="79375"/>
                    </a:cubicBezTo>
                    <a:cubicBezTo>
                      <a:pt x="1386" y="97390"/>
                      <a:pt x="2505" y="123651"/>
                      <a:pt x="6350" y="142875"/>
                    </a:cubicBezTo>
                    <a:cubicBezTo>
                      <a:pt x="7006" y="146157"/>
                      <a:pt x="7434" y="149787"/>
                      <a:pt x="9525" y="152400"/>
                    </a:cubicBezTo>
                    <a:cubicBezTo>
                      <a:pt x="12517" y="156140"/>
                      <a:pt x="28625" y="163538"/>
                      <a:pt x="31750" y="165100"/>
                    </a:cubicBezTo>
                    <a:cubicBezTo>
                      <a:pt x="118971" y="161870"/>
                      <a:pt x="97256" y="182144"/>
                      <a:pt x="120650" y="158750"/>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73" name="Freeform: Shape 472">
                <a:extLst>
                  <a:ext uri="{FF2B5EF4-FFF2-40B4-BE49-F238E27FC236}">
                    <a16:creationId xmlns:a16="http://schemas.microsoft.com/office/drawing/2014/main" id="{0930EA7A-0846-496F-8067-243AE331AAB8}"/>
                  </a:ext>
                </a:extLst>
              </p:cNvPr>
              <p:cNvSpPr/>
              <p:nvPr/>
            </p:nvSpPr>
            <p:spPr bwMode="gray">
              <a:xfrm>
                <a:off x="9045575" y="2200275"/>
                <a:ext cx="495329" cy="206375"/>
              </a:xfrm>
              <a:custGeom>
                <a:avLst/>
                <a:gdLst>
                  <a:gd name="connsiteX0" fmla="*/ 0 w 495329"/>
                  <a:gd name="connsiteY0" fmla="*/ 206375 h 206375"/>
                  <a:gd name="connsiteX1" fmla="*/ 0 w 495329"/>
                  <a:gd name="connsiteY1" fmla="*/ 206375 h 206375"/>
                  <a:gd name="connsiteX2" fmla="*/ 38100 w 495329"/>
                  <a:gd name="connsiteY2" fmla="*/ 193675 h 206375"/>
                  <a:gd name="connsiteX3" fmla="*/ 155575 w 495329"/>
                  <a:gd name="connsiteY3" fmla="*/ 200025 h 206375"/>
                  <a:gd name="connsiteX4" fmla="*/ 174625 w 495329"/>
                  <a:gd name="connsiteY4" fmla="*/ 187325 h 206375"/>
                  <a:gd name="connsiteX5" fmla="*/ 190500 w 495329"/>
                  <a:gd name="connsiteY5" fmla="*/ 180975 h 206375"/>
                  <a:gd name="connsiteX6" fmla="*/ 215900 w 495329"/>
                  <a:gd name="connsiteY6" fmla="*/ 155575 h 206375"/>
                  <a:gd name="connsiteX7" fmla="*/ 228600 w 495329"/>
                  <a:gd name="connsiteY7" fmla="*/ 142875 h 206375"/>
                  <a:gd name="connsiteX8" fmla="*/ 241300 w 495329"/>
                  <a:gd name="connsiteY8" fmla="*/ 139700 h 206375"/>
                  <a:gd name="connsiteX9" fmla="*/ 301625 w 495329"/>
                  <a:gd name="connsiteY9" fmla="*/ 111125 h 206375"/>
                  <a:gd name="connsiteX10" fmla="*/ 311150 w 495329"/>
                  <a:gd name="connsiteY10" fmla="*/ 95250 h 206375"/>
                  <a:gd name="connsiteX11" fmla="*/ 323850 w 495329"/>
                  <a:gd name="connsiteY11" fmla="*/ 85725 h 206375"/>
                  <a:gd name="connsiteX12" fmla="*/ 342900 w 495329"/>
                  <a:gd name="connsiteY12" fmla="*/ 73025 h 206375"/>
                  <a:gd name="connsiteX13" fmla="*/ 342900 w 495329"/>
                  <a:gd name="connsiteY13" fmla="*/ 34925 h 206375"/>
                  <a:gd name="connsiteX14" fmla="*/ 361950 w 495329"/>
                  <a:gd name="connsiteY14" fmla="*/ 53975 h 206375"/>
                  <a:gd name="connsiteX15" fmla="*/ 425450 w 495329"/>
                  <a:gd name="connsiteY15" fmla="*/ 28575 h 206375"/>
                  <a:gd name="connsiteX16" fmla="*/ 431800 w 495329"/>
                  <a:gd name="connsiteY16" fmla="*/ 15875 h 206375"/>
                  <a:gd name="connsiteX17" fmla="*/ 434975 w 495329"/>
                  <a:gd name="connsiteY17" fmla="*/ 0 h 206375"/>
                  <a:gd name="connsiteX18" fmla="*/ 428625 w 495329"/>
                  <a:gd name="connsiteY18" fmla="*/ 15875 h 206375"/>
                  <a:gd name="connsiteX19" fmla="*/ 438150 w 495329"/>
                  <a:gd name="connsiteY19" fmla="*/ 57150 h 206375"/>
                  <a:gd name="connsiteX20" fmla="*/ 454025 w 495329"/>
                  <a:gd name="connsiteY20" fmla="*/ 47625 h 206375"/>
                  <a:gd name="connsiteX21" fmla="*/ 482600 w 495329"/>
                  <a:gd name="connsiteY21" fmla="*/ 38100 h 206375"/>
                  <a:gd name="connsiteX22" fmla="*/ 495300 w 495329"/>
                  <a:gd name="connsiteY22" fmla="*/ 41275 h 206375"/>
                  <a:gd name="connsiteX23" fmla="*/ 479425 w 495329"/>
                  <a:gd name="connsiteY23" fmla="*/ 60325 h 206375"/>
                  <a:gd name="connsiteX24" fmla="*/ 476250 w 495329"/>
                  <a:gd name="connsiteY24" fmla="*/ 95250 h 206375"/>
                  <a:gd name="connsiteX25" fmla="*/ 469900 w 495329"/>
                  <a:gd name="connsiteY25" fmla="*/ 127000 h 206375"/>
                  <a:gd name="connsiteX26" fmla="*/ 466725 w 495329"/>
                  <a:gd name="connsiteY26" fmla="*/ 165100 h 206375"/>
                  <a:gd name="connsiteX27" fmla="*/ 463550 w 495329"/>
                  <a:gd name="connsiteY27" fmla="*/ 174625 h 206375"/>
                  <a:gd name="connsiteX28" fmla="*/ 457200 w 495329"/>
                  <a:gd name="connsiteY28" fmla="*/ 174625 h 20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95329" h="206375">
                    <a:moveTo>
                      <a:pt x="0" y="206375"/>
                    </a:moveTo>
                    <a:lnTo>
                      <a:pt x="0" y="206375"/>
                    </a:lnTo>
                    <a:cubicBezTo>
                      <a:pt x="12700" y="202142"/>
                      <a:pt x="24752" y="194702"/>
                      <a:pt x="38100" y="193675"/>
                    </a:cubicBezTo>
                    <a:cubicBezTo>
                      <a:pt x="72390" y="191037"/>
                      <a:pt x="118458" y="196313"/>
                      <a:pt x="155575" y="200025"/>
                    </a:cubicBezTo>
                    <a:cubicBezTo>
                      <a:pt x="188950" y="191681"/>
                      <a:pt x="151012" y="204191"/>
                      <a:pt x="174625" y="187325"/>
                    </a:cubicBezTo>
                    <a:cubicBezTo>
                      <a:pt x="179263" y="184012"/>
                      <a:pt x="185208" y="183092"/>
                      <a:pt x="190500" y="180975"/>
                    </a:cubicBezTo>
                    <a:lnTo>
                      <a:pt x="215900" y="155575"/>
                    </a:lnTo>
                    <a:cubicBezTo>
                      <a:pt x="220133" y="151342"/>
                      <a:pt x="222792" y="144327"/>
                      <a:pt x="228600" y="142875"/>
                    </a:cubicBezTo>
                    <a:lnTo>
                      <a:pt x="241300" y="139700"/>
                    </a:lnTo>
                    <a:cubicBezTo>
                      <a:pt x="260622" y="110717"/>
                      <a:pt x="232109" y="149359"/>
                      <a:pt x="301625" y="111125"/>
                    </a:cubicBezTo>
                    <a:cubicBezTo>
                      <a:pt x="307032" y="108151"/>
                      <a:pt x="307086" y="99894"/>
                      <a:pt x="311150" y="95250"/>
                    </a:cubicBezTo>
                    <a:cubicBezTo>
                      <a:pt x="314635" y="91268"/>
                      <a:pt x="319832" y="89169"/>
                      <a:pt x="323850" y="85725"/>
                    </a:cubicBezTo>
                    <a:cubicBezTo>
                      <a:pt x="338985" y="72752"/>
                      <a:pt x="326698" y="78426"/>
                      <a:pt x="342900" y="73025"/>
                    </a:cubicBezTo>
                    <a:cubicBezTo>
                      <a:pt x="335782" y="37436"/>
                      <a:pt x="321016" y="9393"/>
                      <a:pt x="342900" y="34925"/>
                    </a:cubicBezTo>
                    <a:cubicBezTo>
                      <a:pt x="358653" y="53303"/>
                      <a:pt x="345182" y="42796"/>
                      <a:pt x="361950" y="53975"/>
                    </a:cubicBezTo>
                    <a:cubicBezTo>
                      <a:pt x="446632" y="40604"/>
                      <a:pt x="413239" y="65209"/>
                      <a:pt x="425450" y="28575"/>
                    </a:cubicBezTo>
                    <a:cubicBezTo>
                      <a:pt x="426947" y="24085"/>
                      <a:pt x="429683" y="20108"/>
                      <a:pt x="431800" y="15875"/>
                    </a:cubicBezTo>
                    <a:cubicBezTo>
                      <a:pt x="432858" y="10583"/>
                      <a:pt x="440371" y="0"/>
                      <a:pt x="434975" y="0"/>
                    </a:cubicBezTo>
                    <a:cubicBezTo>
                      <a:pt x="429276" y="0"/>
                      <a:pt x="429004" y="10188"/>
                      <a:pt x="428625" y="15875"/>
                    </a:cubicBezTo>
                    <a:cubicBezTo>
                      <a:pt x="426794" y="43343"/>
                      <a:pt x="427832" y="41674"/>
                      <a:pt x="438150" y="57150"/>
                    </a:cubicBezTo>
                    <a:cubicBezTo>
                      <a:pt x="443442" y="53975"/>
                      <a:pt x="448505" y="50385"/>
                      <a:pt x="454025" y="47625"/>
                    </a:cubicBezTo>
                    <a:cubicBezTo>
                      <a:pt x="465981" y="41647"/>
                      <a:pt x="470473" y="41132"/>
                      <a:pt x="482600" y="38100"/>
                    </a:cubicBezTo>
                    <a:cubicBezTo>
                      <a:pt x="486833" y="39158"/>
                      <a:pt x="495917" y="36955"/>
                      <a:pt x="495300" y="41275"/>
                    </a:cubicBezTo>
                    <a:cubicBezTo>
                      <a:pt x="494131" y="49458"/>
                      <a:pt x="482176" y="52530"/>
                      <a:pt x="479425" y="60325"/>
                    </a:cubicBezTo>
                    <a:cubicBezTo>
                      <a:pt x="475534" y="71348"/>
                      <a:pt x="477541" y="83632"/>
                      <a:pt x="476250" y="95250"/>
                    </a:cubicBezTo>
                    <a:cubicBezTo>
                      <a:pt x="473818" y="117140"/>
                      <a:pt x="474898" y="112007"/>
                      <a:pt x="469900" y="127000"/>
                    </a:cubicBezTo>
                    <a:cubicBezTo>
                      <a:pt x="468842" y="139700"/>
                      <a:pt x="468409" y="152468"/>
                      <a:pt x="466725" y="165100"/>
                    </a:cubicBezTo>
                    <a:cubicBezTo>
                      <a:pt x="466283" y="168417"/>
                      <a:pt x="465917" y="172258"/>
                      <a:pt x="463550" y="174625"/>
                    </a:cubicBezTo>
                    <a:cubicBezTo>
                      <a:pt x="462053" y="176122"/>
                      <a:pt x="459317" y="174625"/>
                      <a:pt x="457200" y="174625"/>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74" name="Freeform: Shape 473">
                <a:extLst>
                  <a:ext uri="{FF2B5EF4-FFF2-40B4-BE49-F238E27FC236}">
                    <a16:creationId xmlns:a16="http://schemas.microsoft.com/office/drawing/2014/main" id="{345A8BF7-F7D1-4826-B08D-0F66894A8EDB}"/>
                  </a:ext>
                </a:extLst>
              </p:cNvPr>
              <p:cNvSpPr/>
              <p:nvPr/>
            </p:nvSpPr>
            <p:spPr bwMode="gray">
              <a:xfrm>
                <a:off x="9172575" y="2781300"/>
                <a:ext cx="90488" cy="95250"/>
              </a:xfrm>
              <a:custGeom>
                <a:avLst/>
                <a:gdLst>
                  <a:gd name="connsiteX0" fmla="*/ 0 w 90488"/>
                  <a:gd name="connsiteY0" fmla="*/ 52388 h 95250"/>
                  <a:gd name="connsiteX1" fmla="*/ 14288 w 90488"/>
                  <a:gd name="connsiteY1" fmla="*/ 78581 h 95250"/>
                  <a:gd name="connsiteX2" fmla="*/ 73819 w 90488"/>
                  <a:gd name="connsiteY2" fmla="*/ 95250 h 95250"/>
                  <a:gd name="connsiteX3" fmla="*/ 90488 w 90488"/>
                  <a:gd name="connsiteY3" fmla="*/ 59531 h 95250"/>
                  <a:gd name="connsiteX4" fmla="*/ 90488 w 90488"/>
                  <a:gd name="connsiteY4" fmla="*/ 47625 h 95250"/>
                  <a:gd name="connsiteX5" fmla="*/ 83344 w 90488"/>
                  <a:gd name="connsiteY5" fmla="*/ 16669 h 95250"/>
                  <a:gd name="connsiteX6" fmla="*/ 23813 w 90488"/>
                  <a:gd name="connsiteY6" fmla="*/ 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88" h="95250">
                    <a:moveTo>
                      <a:pt x="0" y="52388"/>
                    </a:moveTo>
                    <a:lnTo>
                      <a:pt x="14288" y="78581"/>
                    </a:lnTo>
                    <a:lnTo>
                      <a:pt x="73819" y="95250"/>
                    </a:lnTo>
                    <a:lnTo>
                      <a:pt x="90488" y="59531"/>
                    </a:lnTo>
                    <a:lnTo>
                      <a:pt x="90488" y="47625"/>
                    </a:lnTo>
                    <a:lnTo>
                      <a:pt x="83344" y="16669"/>
                    </a:lnTo>
                    <a:lnTo>
                      <a:pt x="23813"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75" name="Freeform: Shape 474">
                <a:extLst>
                  <a:ext uri="{FF2B5EF4-FFF2-40B4-BE49-F238E27FC236}">
                    <a16:creationId xmlns:a16="http://schemas.microsoft.com/office/drawing/2014/main" id="{D33C5FAC-AFDA-4AC4-9433-6F6D24E8159B}"/>
                  </a:ext>
                </a:extLst>
              </p:cNvPr>
              <p:cNvSpPr/>
              <p:nvPr/>
            </p:nvSpPr>
            <p:spPr bwMode="gray">
              <a:xfrm>
                <a:off x="9267825" y="2833688"/>
                <a:ext cx="85725" cy="111918"/>
              </a:xfrm>
              <a:custGeom>
                <a:avLst/>
                <a:gdLst>
                  <a:gd name="connsiteX0" fmla="*/ 0 w 85725"/>
                  <a:gd name="connsiteY0" fmla="*/ 0 h 111918"/>
                  <a:gd name="connsiteX1" fmla="*/ 61913 w 85725"/>
                  <a:gd name="connsiteY1" fmla="*/ 73818 h 111918"/>
                  <a:gd name="connsiteX2" fmla="*/ 85725 w 85725"/>
                  <a:gd name="connsiteY2" fmla="*/ 111918 h 111918"/>
                </a:gdLst>
                <a:ahLst/>
                <a:cxnLst>
                  <a:cxn ang="0">
                    <a:pos x="connsiteX0" y="connsiteY0"/>
                  </a:cxn>
                  <a:cxn ang="0">
                    <a:pos x="connsiteX1" y="connsiteY1"/>
                  </a:cxn>
                  <a:cxn ang="0">
                    <a:pos x="connsiteX2" y="connsiteY2"/>
                  </a:cxn>
                </a:cxnLst>
                <a:rect l="l" t="t" r="r" b="b"/>
                <a:pathLst>
                  <a:path w="85725" h="111918">
                    <a:moveTo>
                      <a:pt x="0" y="0"/>
                    </a:moveTo>
                    <a:lnTo>
                      <a:pt x="61913" y="73818"/>
                    </a:lnTo>
                    <a:lnTo>
                      <a:pt x="85725" y="111918"/>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76" name="Freeform: Shape 475">
                <a:extLst>
                  <a:ext uri="{FF2B5EF4-FFF2-40B4-BE49-F238E27FC236}">
                    <a16:creationId xmlns:a16="http://schemas.microsoft.com/office/drawing/2014/main" id="{5A4DFFEB-9FDC-403C-A1EF-5A168E71275B}"/>
                  </a:ext>
                </a:extLst>
              </p:cNvPr>
              <p:cNvSpPr/>
              <p:nvPr/>
            </p:nvSpPr>
            <p:spPr bwMode="gray">
              <a:xfrm>
                <a:off x="9122569" y="2776538"/>
                <a:ext cx="500062" cy="333375"/>
              </a:xfrm>
              <a:custGeom>
                <a:avLst/>
                <a:gdLst>
                  <a:gd name="connsiteX0" fmla="*/ 0 w 500062"/>
                  <a:gd name="connsiteY0" fmla="*/ 319087 h 333375"/>
                  <a:gd name="connsiteX1" fmla="*/ 2381 w 500062"/>
                  <a:gd name="connsiteY1" fmla="*/ 330993 h 333375"/>
                  <a:gd name="connsiteX2" fmla="*/ 90487 w 500062"/>
                  <a:gd name="connsiteY2" fmla="*/ 333375 h 333375"/>
                  <a:gd name="connsiteX3" fmla="*/ 130969 w 500062"/>
                  <a:gd name="connsiteY3" fmla="*/ 309562 h 333375"/>
                  <a:gd name="connsiteX4" fmla="*/ 145256 w 500062"/>
                  <a:gd name="connsiteY4" fmla="*/ 271462 h 333375"/>
                  <a:gd name="connsiteX5" fmla="*/ 157162 w 500062"/>
                  <a:gd name="connsiteY5" fmla="*/ 233362 h 333375"/>
                  <a:gd name="connsiteX6" fmla="*/ 235744 w 500062"/>
                  <a:gd name="connsiteY6" fmla="*/ 161925 h 333375"/>
                  <a:gd name="connsiteX7" fmla="*/ 295275 w 500062"/>
                  <a:gd name="connsiteY7" fmla="*/ 107156 h 333375"/>
                  <a:gd name="connsiteX8" fmla="*/ 385762 w 500062"/>
                  <a:gd name="connsiteY8" fmla="*/ 42862 h 333375"/>
                  <a:gd name="connsiteX9" fmla="*/ 438150 w 500062"/>
                  <a:gd name="connsiteY9" fmla="*/ 23812 h 333375"/>
                  <a:gd name="connsiteX10" fmla="*/ 500062 w 500062"/>
                  <a:gd name="connsiteY10" fmla="*/ 0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0062" h="333375">
                    <a:moveTo>
                      <a:pt x="0" y="319087"/>
                    </a:moveTo>
                    <a:lnTo>
                      <a:pt x="2381" y="330993"/>
                    </a:lnTo>
                    <a:lnTo>
                      <a:pt x="90487" y="333375"/>
                    </a:lnTo>
                    <a:lnTo>
                      <a:pt x="130969" y="309562"/>
                    </a:lnTo>
                    <a:lnTo>
                      <a:pt x="145256" y="271462"/>
                    </a:lnTo>
                    <a:lnTo>
                      <a:pt x="157162" y="233362"/>
                    </a:lnTo>
                    <a:lnTo>
                      <a:pt x="235744" y="161925"/>
                    </a:lnTo>
                    <a:lnTo>
                      <a:pt x="295275" y="107156"/>
                    </a:lnTo>
                    <a:lnTo>
                      <a:pt x="385762" y="42862"/>
                    </a:lnTo>
                    <a:lnTo>
                      <a:pt x="438150" y="23812"/>
                    </a:lnTo>
                    <a:lnTo>
                      <a:pt x="500062"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77" name="Freeform: Shape 476">
                <a:extLst>
                  <a:ext uri="{FF2B5EF4-FFF2-40B4-BE49-F238E27FC236}">
                    <a16:creationId xmlns:a16="http://schemas.microsoft.com/office/drawing/2014/main" id="{3BDC5D84-E281-43AC-AF42-D8EE75FAD431}"/>
                  </a:ext>
                </a:extLst>
              </p:cNvPr>
              <p:cNvSpPr/>
              <p:nvPr/>
            </p:nvSpPr>
            <p:spPr bwMode="gray">
              <a:xfrm>
                <a:off x="9201150" y="3045619"/>
                <a:ext cx="64294" cy="57150"/>
              </a:xfrm>
              <a:custGeom>
                <a:avLst/>
                <a:gdLst>
                  <a:gd name="connsiteX0" fmla="*/ 0 w 64294"/>
                  <a:gd name="connsiteY0" fmla="*/ 57150 h 57150"/>
                  <a:gd name="connsiteX1" fmla="*/ 2381 w 64294"/>
                  <a:gd name="connsiteY1" fmla="*/ 21431 h 57150"/>
                  <a:gd name="connsiteX2" fmla="*/ 21431 w 64294"/>
                  <a:gd name="connsiteY2" fmla="*/ 0 h 57150"/>
                  <a:gd name="connsiteX3" fmla="*/ 64294 w 64294"/>
                  <a:gd name="connsiteY3" fmla="*/ 16669 h 57150"/>
                </a:gdLst>
                <a:ahLst/>
                <a:cxnLst>
                  <a:cxn ang="0">
                    <a:pos x="connsiteX0" y="connsiteY0"/>
                  </a:cxn>
                  <a:cxn ang="0">
                    <a:pos x="connsiteX1" y="connsiteY1"/>
                  </a:cxn>
                  <a:cxn ang="0">
                    <a:pos x="connsiteX2" y="connsiteY2"/>
                  </a:cxn>
                  <a:cxn ang="0">
                    <a:pos x="connsiteX3" y="connsiteY3"/>
                  </a:cxn>
                </a:cxnLst>
                <a:rect l="l" t="t" r="r" b="b"/>
                <a:pathLst>
                  <a:path w="64294" h="57150">
                    <a:moveTo>
                      <a:pt x="0" y="57150"/>
                    </a:moveTo>
                    <a:lnTo>
                      <a:pt x="2381" y="21431"/>
                    </a:lnTo>
                    <a:lnTo>
                      <a:pt x="21431" y="0"/>
                    </a:lnTo>
                    <a:lnTo>
                      <a:pt x="64294" y="16669"/>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78" name="Freeform: Shape 477">
                <a:extLst>
                  <a:ext uri="{FF2B5EF4-FFF2-40B4-BE49-F238E27FC236}">
                    <a16:creationId xmlns:a16="http://schemas.microsoft.com/office/drawing/2014/main" id="{3EDB1F0D-7555-4FE3-A83F-D036F9FB616E}"/>
                  </a:ext>
                </a:extLst>
              </p:cNvPr>
              <p:cNvSpPr/>
              <p:nvPr/>
            </p:nvSpPr>
            <p:spPr bwMode="gray">
              <a:xfrm>
                <a:off x="8967788" y="3293269"/>
                <a:ext cx="138112" cy="16669"/>
              </a:xfrm>
              <a:custGeom>
                <a:avLst/>
                <a:gdLst>
                  <a:gd name="connsiteX0" fmla="*/ 0 w 138112"/>
                  <a:gd name="connsiteY0" fmla="*/ 0 h 16669"/>
                  <a:gd name="connsiteX1" fmla="*/ 0 w 138112"/>
                  <a:gd name="connsiteY1" fmla="*/ 0 h 16669"/>
                  <a:gd name="connsiteX2" fmla="*/ 102393 w 138112"/>
                  <a:gd name="connsiteY2" fmla="*/ 9525 h 16669"/>
                  <a:gd name="connsiteX3" fmla="*/ 138112 w 138112"/>
                  <a:gd name="connsiteY3" fmla="*/ 16669 h 16669"/>
                </a:gdLst>
                <a:ahLst/>
                <a:cxnLst>
                  <a:cxn ang="0">
                    <a:pos x="connsiteX0" y="connsiteY0"/>
                  </a:cxn>
                  <a:cxn ang="0">
                    <a:pos x="connsiteX1" y="connsiteY1"/>
                  </a:cxn>
                  <a:cxn ang="0">
                    <a:pos x="connsiteX2" y="connsiteY2"/>
                  </a:cxn>
                  <a:cxn ang="0">
                    <a:pos x="connsiteX3" y="connsiteY3"/>
                  </a:cxn>
                </a:cxnLst>
                <a:rect l="l" t="t" r="r" b="b"/>
                <a:pathLst>
                  <a:path w="138112" h="16669">
                    <a:moveTo>
                      <a:pt x="0" y="0"/>
                    </a:moveTo>
                    <a:lnTo>
                      <a:pt x="0" y="0"/>
                    </a:lnTo>
                    <a:lnTo>
                      <a:pt x="102393" y="9525"/>
                    </a:lnTo>
                    <a:lnTo>
                      <a:pt x="138112" y="16669"/>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79" name="Freeform: Shape 478">
                <a:extLst>
                  <a:ext uri="{FF2B5EF4-FFF2-40B4-BE49-F238E27FC236}">
                    <a16:creationId xmlns:a16="http://schemas.microsoft.com/office/drawing/2014/main" id="{7510EFE3-1034-4381-A5BD-CFF619161C1C}"/>
                  </a:ext>
                </a:extLst>
              </p:cNvPr>
              <p:cNvSpPr/>
              <p:nvPr/>
            </p:nvSpPr>
            <p:spPr bwMode="gray">
              <a:xfrm>
                <a:off x="9189244" y="2695575"/>
                <a:ext cx="142875" cy="102394"/>
              </a:xfrm>
              <a:custGeom>
                <a:avLst/>
                <a:gdLst>
                  <a:gd name="connsiteX0" fmla="*/ 0 w 142875"/>
                  <a:gd name="connsiteY0" fmla="*/ 102394 h 102394"/>
                  <a:gd name="connsiteX1" fmla="*/ 50006 w 142875"/>
                  <a:gd name="connsiteY1" fmla="*/ 33338 h 102394"/>
                  <a:gd name="connsiteX2" fmla="*/ 142875 w 142875"/>
                  <a:gd name="connsiteY2" fmla="*/ 0 h 102394"/>
                </a:gdLst>
                <a:ahLst/>
                <a:cxnLst>
                  <a:cxn ang="0">
                    <a:pos x="connsiteX0" y="connsiteY0"/>
                  </a:cxn>
                  <a:cxn ang="0">
                    <a:pos x="connsiteX1" y="connsiteY1"/>
                  </a:cxn>
                  <a:cxn ang="0">
                    <a:pos x="connsiteX2" y="connsiteY2"/>
                  </a:cxn>
                </a:cxnLst>
                <a:rect l="l" t="t" r="r" b="b"/>
                <a:pathLst>
                  <a:path w="142875" h="102394">
                    <a:moveTo>
                      <a:pt x="0" y="102394"/>
                    </a:moveTo>
                    <a:lnTo>
                      <a:pt x="50006" y="33338"/>
                    </a:lnTo>
                    <a:lnTo>
                      <a:pt x="142875"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grpSp>
        <p:grpSp>
          <p:nvGrpSpPr>
            <p:cNvPr id="311" name="Group 310">
              <a:extLst>
                <a:ext uri="{FF2B5EF4-FFF2-40B4-BE49-F238E27FC236}">
                  <a16:creationId xmlns:a16="http://schemas.microsoft.com/office/drawing/2014/main" id="{49844652-1B1E-4715-B666-6B453F801A8A}"/>
                </a:ext>
              </a:extLst>
            </p:cNvPr>
            <p:cNvGrpSpPr/>
            <p:nvPr/>
          </p:nvGrpSpPr>
          <p:grpSpPr bwMode="gray">
            <a:xfrm>
              <a:off x="8953500" y="2828925"/>
              <a:ext cx="211931" cy="264319"/>
              <a:chOff x="10642149" y="2706290"/>
              <a:chExt cx="211931" cy="264319"/>
            </a:xfrm>
          </p:grpSpPr>
          <p:sp>
            <p:nvSpPr>
              <p:cNvPr id="467" name="Freeform: Shape 466">
                <a:extLst>
                  <a:ext uri="{FF2B5EF4-FFF2-40B4-BE49-F238E27FC236}">
                    <a16:creationId xmlns:a16="http://schemas.microsoft.com/office/drawing/2014/main" id="{3D58163D-3950-4E7B-8645-5B92F87170EC}"/>
                  </a:ext>
                </a:extLst>
              </p:cNvPr>
              <p:cNvSpPr/>
              <p:nvPr/>
            </p:nvSpPr>
            <p:spPr bwMode="gray">
              <a:xfrm>
                <a:off x="10737399" y="2942034"/>
                <a:ext cx="116681" cy="28575"/>
              </a:xfrm>
              <a:custGeom>
                <a:avLst/>
                <a:gdLst>
                  <a:gd name="connsiteX0" fmla="*/ 116681 w 116681"/>
                  <a:gd name="connsiteY0" fmla="*/ 16669 h 28575"/>
                  <a:gd name="connsiteX1" fmla="*/ 61913 w 116681"/>
                  <a:gd name="connsiteY1" fmla="*/ 28575 h 28575"/>
                  <a:gd name="connsiteX2" fmla="*/ 52388 w 116681"/>
                  <a:gd name="connsiteY2" fmla="*/ 9525 h 28575"/>
                  <a:gd name="connsiteX3" fmla="*/ 19050 w 116681"/>
                  <a:gd name="connsiteY3" fmla="*/ 0 h 28575"/>
                  <a:gd name="connsiteX4" fmla="*/ 0 w 116681"/>
                  <a:gd name="connsiteY4" fmla="*/ 2381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681" h="28575">
                    <a:moveTo>
                      <a:pt x="116681" y="16669"/>
                    </a:moveTo>
                    <a:lnTo>
                      <a:pt x="61913" y="28575"/>
                    </a:lnTo>
                    <a:lnTo>
                      <a:pt x="52388" y="9525"/>
                    </a:lnTo>
                    <a:lnTo>
                      <a:pt x="19050" y="0"/>
                    </a:lnTo>
                    <a:lnTo>
                      <a:pt x="0" y="2381"/>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68" name="Freeform: Shape 467">
                <a:extLst>
                  <a:ext uri="{FF2B5EF4-FFF2-40B4-BE49-F238E27FC236}">
                    <a16:creationId xmlns:a16="http://schemas.microsoft.com/office/drawing/2014/main" id="{E2F55004-4514-4471-A970-B4E9CF92F5B4}"/>
                  </a:ext>
                </a:extLst>
              </p:cNvPr>
              <p:cNvSpPr/>
              <p:nvPr/>
            </p:nvSpPr>
            <p:spPr bwMode="gray">
              <a:xfrm>
                <a:off x="10642149" y="2706290"/>
                <a:ext cx="211931" cy="238125"/>
              </a:xfrm>
              <a:custGeom>
                <a:avLst/>
                <a:gdLst>
                  <a:gd name="connsiteX0" fmla="*/ 97631 w 211931"/>
                  <a:gd name="connsiteY0" fmla="*/ 238125 h 238125"/>
                  <a:gd name="connsiteX1" fmla="*/ 97631 w 211931"/>
                  <a:gd name="connsiteY1" fmla="*/ 238125 h 238125"/>
                  <a:gd name="connsiteX2" fmla="*/ 73819 w 211931"/>
                  <a:gd name="connsiteY2" fmla="*/ 219075 h 238125"/>
                  <a:gd name="connsiteX3" fmla="*/ 57150 w 211931"/>
                  <a:gd name="connsiteY3" fmla="*/ 211931 h 238125"/>
                  <a:gd name="connsiteX4" fmla="*/ 54769 w 211931"/>
                  <a:gd name="connsiteY4" fmla="*/ 195263 h 238125"/>
                  <a:gd name="connsiteX5" fmla="*/ 47625 w 211931"/>
                  <a:gd name="connsiteY5" fmla="*/ 192881 h 238125"/>
                  <a:gd name="connsiteX6" fmla="*/ 28575 w 211931"/>
                  <a:gd name="connsiteY6" fmla="*/ 178594 h 238125"/>
                  <a:gd name="connsiteX7" fmla="*/ 16669 w 211931"/>
                  <a:gd name="connsiteY7" fmla="*/ 173831 h 238125"/>
                  <a:gd name="connsiteX8" fmla="*/ 0 w 211931"/>
                  <a:gd name="connsiteY8" fmla="*/ 164306 h 238125"/>
                  <a:gd name="connsiteX9" fmla="*/ 11906 w 211931"/>
                  <a:gd name="connsiteY9" fmla="*/ 152400 h 238125"/>
                  <a:gd name="connsiteX10" fmla="*/ 23813 w 211931"/>
                  <a:gd name="connsiteY10" fmla="*/ 135731 h 238125"/>
                  <a:gd name="connsiteX11" fmla="*/ 30956 w 211931"/>
                  <a:gd name="connsiteY11" fmla="*/ 114300 h 238125"/>
                  <a:gd name="connsiteX12" fmla="*/ 35719 w 211931"/>
                  <a:gd name="connsiteY12" fmla="*/ 104775 h 238125"/>
                  <a:gd name="connsiteX13" fmla="*/ 42863 w 211931"/>
                  <a:gd name="connsiteY13" fmla="*/ 100013 h 238125"/>
                  <a:gd name="connsiteX14" fmla="*/ 57150 w 211931"/>
                  <a:gd name="connsiteY14" fmla="*/ 88106 h 238125"/>
                  <a:gd name="connsiteX15" fmla="*/ 71438 w 211931"/>
                  <a:gd name="connsiteY15" fmla="*/ 73819 h 238125"/>
                  <a:gd name="connsiteX16" fmla="*/ 83344 w 211931"/>
                  <a:gd name="connsiteY16" fmla="*/ 71438 h 238125"/>
                  <a:gd name="connsiteX17" fmla="*/ 102394 w 211931"/>
                  <a:gd name="connsiteY17" fmla="*/ 57150 h 238125"/>
                  <a:gd name="connsiteX18" fmla="*/ 109538 w 211931"/>
                  <a:gd name="connsiteY18" fmla="*/ 54769 h 238125"/>
                  <a:gd name="connsiteX19" fmla="*/ 119063 w 211931"/>
                  <a:gd name="connsiteY19" fmla="*/ 57150 h 238125"/>
                  <a:gd name="connsiteX20" fmla="*/ 135731 w 211931"/>
                  <a:gd name="connsiteY20" fmla="*/ 42863 h 238125"/>
                  <a:gd name="connsiteX21" fmla="*/ 140494 w 211931"/>
                  <a:gd name="connsiteY21" fmla="*/ 33338 h 238125"/>
                  <a:gd name="connsiteX22" fmla="*/ 154781 w 211931"/>
                  <a:gd name="connsiteY22" fmla="*/ 28575 h 238125"/>
                  <a:gd name="connsiteX23" fmla="*/ 180975 w 211931"/>
                  <a:gd name="connsiteY23" fmla="*/ 9525 h 238125"/>
                  <a:gd name="connsiteX24" fmla="*/ 188119 w 211931"/>
                  <a:gd name="connsiteY24" fmla="*/ 7144 h 238125"/>
                  <a:gd name="connsiteX25" fmla="*/ 209550 w 211931"/>
                  <a:gd name="connsiteY25" fmla="*/ 0 h 238125"/>
                  <a:gd name="connsiteX26" fmla="*/ 211931 w 211931"/>
                  <a:gd name="connsiteY26" fmla="*/ 2381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1931" h="238125">
                    <a:moveTo>
                      <a:pt x="97631" y="238125"/>
                    </a:moveTo>
                    <a:lnTo>
                      <a:pt x="97631" y="238125"/>
                    </a:lnTo>
                    <a:cubicBezTo>
                      <a:pt x="93609" y="197906"/>
                      <a:pt x="103874" y="220954"/>
                      <a:pt x="73819" y="219075"/>
                    </a:cubicBezTo>
                    <a:cubicBezTo>
                      <a:pt x="67786" y="218698"/>
                      <a:pt x="62706" y="214312"/>
                      <a:pt x="57150" y="211931"/>
                    </a:cubicBezTo>
                    <a:cubicBezTo>
                      <a:pt x="56356" y="206375"/>
                      <a:pt x="57279" y="200283"/>
                      <a:pt x="54769" y="195263"/>
                    </a:cubicBezTo>
                    <a:cubicBezTo>
                      <a:pt x="53646" y="193018"/>
                      <a:pt x="49714" y="194273"/>
                      <a:pt x="47625" y="192881"/>
                    </a:cubicBezTo>
                    <a:cubicBezTo>
                      <a:pt x="22833" y="176354"/>
                      <a:pt x="63125" y="195870"/>
                      <a:pt x="28575" y="178594"/>
                    </a:cubicBezTo>
                    <a:cubicBezTo>
                      <a:pt x="24752" y="176682"/>
                      <a:pt x="20575" y="175567"/>
                      <a:pt x="16669" y="173831"/>
                    </a:cubicBezTo>
                    <a:cubicBezTo>
                      <a:pt x="7602" y="169801"/>
                      <a:pt x="7664" y="169416"/>
                      <a:pt x="0" y="164306"/>
                    </a:cubicBezTo>
                    <a:cubicBezTo>
                      <a:pt x="4284" y="151455"/>
                      <a:pt x="-967" y="161596"/>
                      <a:pt x="11906" y="152400"/>
                    </a:cubicBezTo>
                    <a:cubicBezTo>
                      <a:pt x="19415" y="147036"/>
                      <a:pt x="19805" y="143746"/>
                      <a:pt x="23813" y="135731"/>
                    </a:cubicBezTo>
                    <a:cubicBezTo>
                      <a:pt x="26576" y="124677"/>
                      <a:pt x="25833" y="125826"/>
                      <a:pt x="30956" y="114300"/>
                    </a:cubicBezTo>
                    <a:cubicBezTo>
                      <a:pt x="32398" y="111056"/>
                      <a:pt x="33446" y="107502"/>
                      <a:pt x="35719" y="104775"/>
                    </a:cubicBezTo>
                    <a:cubicBezTo>
                      <a:pt x="37551" y="102577"/>
                      <a:pt x="40664" y="101845"/>
                      <a:pt x="42863" y="100013"/>
                    </a:cubicBezTo>
                    <a:cubicBezTo>
                      <a:pt x="61205" y="84728"/>
                      <a:pt x="39406" y="99936"/>
                      <a:pt x="57150" y="88106"/>
                    </a:cubicBezTo>
                    <a:cubicBezTo>
                      <a:pt x="61648" y="81361"/>
                      <a:pt x="63045" y="77549"/>
                      <a:pt x="71438" y="73819"/>
                    </a:cubicBezTo>
                    <a:cubicBezTo>
                      <a:pt x="75136" y="72175"/>
                      <a:pt x="79375" y="72232"/>
                      <a:pt x="83344" y="71438"/>
                    </a:cubicBezTo>
                    <a:cubicBezTo>
                      <a:pt x="86263" y="69103"/>
                      <a:pt x="97341" y="59677"/>
                      <a:pt x="102394" y="57150"/>
                    </a:cubicBezTo>
                    <a:cubicBezTo>
                      <a:pt x="104639" y="56027"/>
                      <a:pt x="107157" y="55563"/>
                      <a:pt x="109538" y="54769"/>
                    </a:cubicBezTo>
                    <a:cubicBezTo>
                      <a:pt x="112713" y="55563"/>
                      <a:pt x="115816" y="57556"/>
                      <a:pt x="119063" y="57150"/>
                    </a:cubicBezTo>
                    <a:cubicBezTo>
                      <a:pt x="127315" y="56119"/>
                      <a:pt x="131850" y="49073"/>
                      <a:pt x="135731" y="42863"/>
                    </a:cubicBezTo>
                    <a:cubicBezTo>
                      <a:pt x="137612" y="39853"/>
                      <a:pt x="137654" y="35468"/>
                      <a:pt x="140494" y="33338"/>
                    </a:cubicBezTo>
                    <a:cubicBezTo>
                      <a:pt x="144510" y="30326"/>
                      <a:pt x="150223" y="30679"/>
                      <a:pt x="154781" y="28575"/>
                    </a:cubicBezTo>
                    <a:cubicBezTo>
                      <a:pt x="189050" y="12758"/>
                      <a:pt x="157312" y="26427"/>
                      <a:pt x="180975" y="9525"/>
                    </a:cubicBezTo>
                    <a:cubicBezTo>
                      <a:pt x="183018" y="8066"/>
                      <a:pt x="185812" y="8133"/>
                      <a:pt x="188119" y="7144"/>
                    </a:cubicBezTo>
                    <a:cubicBezTo>
                      <a:pt x="197159" y="3270"/>
                      <a:pt x="198844" y="0"/>
                      <a:pt x="209550" y="0"/>
                    </a:cubicBezTo>
                    <a:cubicBezTo>
                      <a:pt x="210672" y="0"/>
                      <a:pt x="211137" y="1587"/>
                      <a:pt x="211931" y="2381"/>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69" name="Freeform: Shape 468">
                <a:extLst>
                  <a:ext uri="{FF2B5EF4-FFF2-40B4-BE49-F238E27FC236}">
                    <a16:creationId xmlns:a16="http://schemas.microsoft.com/office/drawing/2014/main" id="{09A88D54-78D5-43E9-A4F0-161A67B0A814}"/>
                  </a:ext>
                </a:extLst>
              </p:cNvPr>
              <p:cNvSpPr/>
              <p:nvPr/>
            </p:nvSpPr>
            <p:spPr bwMode="gray">
              <a:xfrm>
                <a:off x="10789784" y="2720578"/>
                <a:ext cx="61915" cy="240506"/>
              </a:xfrm>
              <a:custGeom>
                <a:avLst/>
                <a:gdLst>
                  <a:gd name="connsiteX0" fmla="*/ 26196 w 61915"/>
                  <a:gd name="connsiteY0" fmla="*/ 0 h 240506"/>
                  <a:gd name="connsiteX1" fmla="*/ 26196 w 61915"/>
                  <a:gd name="connsiteY1" fmla="*/ 0 h 240506"/>
                  <a:gd name="connsiteX2" fmla="*/ 23815 w 61915"/>
                  <a:gd name="connsiteY2" fmla="*/ 23812 h 240506"/>
                  <a:gd name="connsiteX3" fmla="*/ 16671 w 61915"/>
                  <a:gd name="connsiteY3" fmla="*/ 30956 h 240506"/>
                  <a:gd name="connsiteX4" fmla="*/ 9528 w 61915"/>
                  <a:gd name="connsiteY4" fmla="*/ 42862 h 240506"/>
                  <a:gd name="connsiteX5" fmla="*/ 16671 w 61915"/>
                  <a:gd name="connsiteY5" fmla="*/ 59531 h 240506"/>
                  <a:gd name="connsiteX6" fmla="*/ 11909 w 61915"/>
                  <a:gd name="connsiteY6" fmla="*/ 71437 h 240506"/>
                  <a:gd name="connsiteX7" fmla="*/ 4765 w 61915"/>
                  <a:gd name="connsiteY7" fmla="*/ 73818 h 240506"/>
                  <a:gd name="connsiteX8" fmla="*/ 9528 w 61915"/>
                  <a:gd name="connsiteY8" fmla="*/ 90487 h 240506"/>
                  <a:gd name="connsiteX9" fmla="*/ 14290 w 61915"/>
                  <a:gd name="connsiteY9" fmla="*/ 104775 h 240506"/>
                  <a:gd name="connsiteX10" fmla="*/ 11909 w 61915"/>
                  <a:gd name="connsiteY10" fmla="*/ 128587 h 240506"/>
                  <a:gd name="connsiteX11" fmla="*/ 4765 w 61915"/>
                  <a:gd name="connsiteY11" fmla="*/ 138112 h 240506"/>
                  <a:gd name="connsiteX12" fmla="*/ 16671 w 61915"/>
                  <a:gd name="connsiteY12" fmla="*/ 157162 h 240506"/>
                  <a:gd name="connsiteX13" fmla="*/ 23815 w 61915"/>
                  <a:gd name="connsiteY13" fmla="*/ 159543 h 240506"/>
                  <a:gd name="connsiteX14" fmla="*/ 30959 w 61915"/>
                  <a:gd name="connsiteY14" fmla="*/ 164306 h 240506"/>
                  <a:gd name="connsiteX15" fmla="*/ 16671 w 61915"/>
                  <a:gd name="connsiteY15" fmla="*/ 180975 h 240506"/>
                  <a:gd name="connsiteX16" fmla="*/ 19053 w 61915"/>
                  <a:gd name="connsiteY16" fmla="*/ 216693 h 240506"/>
                  <a:gd name="connsiteX17" fmla="*/ 21434 w 61915"/>
                  <a:gd name="connsiteY17" fmla="*/ 226218 h 240506"/>
                  <a:gd name="connsiteX18" fmla="*/ 23815 w 61915"/>
                  <a:gd name="connsiteY18" fmla="*/ 240506 h 240506"/>
                  <a:gd name="connsiteX19" fmla="*/ 59534 w 61915"/>
                  <a:gd name="connsiteY19" fmla="*/ 228600 h 240506"/>
                  <a:gd name="connsiteX20" fmla="*/ 61915 w 61915"/>
                  <a:gd name="connsiteY20" fmla="*/ 228600 h 240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915" h="240506">
                    <a:moveTo>
                      <a:pt x="26196" y="0"/>
                    </a:moveTo>
                    <a:lnTo>
                      <a:pt x="26196" y="0"/>
                    </a:lnTo>
                    <a:cubicBezTo>
                      <a:pt x="25402" y="7937"/>
                      <a:pt x="26161" y="16188"/>
                      <a:pt x="23815" y="23812"/>
                    </a:cubicBezTo>
                    <a:cubicBezTo>
                      <a:pt x="22825" y="27031"/>
                      <a:pt x="18692" y="28262"/>
                      <a:pt x="16671" y="30956"/>
                    </a:cubicBezTo>
                    <a:cubicBezTo>
                      <a:pt x="13894" y="34659"/>
                      <a:pt x="11909" y="38893"/>
                      <a:pt x="9528" y="42862"/>
                    </a:cubicBezTo>
                    <a:cubicBezTo>
                      <a:pt x="9963" y="43731"/>
                      <a:pt x="17021" y="56728"/>
                      <a:pt x="16671" y="59531"/>
                    </a:cubicBezTo>
                    <a:cubicBezTo>
                      <a:pt x="16141" y="63772"/>
                      <a:pt x="14645" y="68153"/>
                      <a:pt x="11909" y="71437"/>
                    </a:cubicBezTo>
                    <a:cubicBezTo>
                      <a:pt x="10302" y="73365"/>
                      <a:pt x="7146" y="73024"/>
                      <a:pt x="4765" y="73818"/>
                    </a:cubicBezTo>
                    <a:cubicBezTo>
                      <a:pt x="-4037" y="87023"/>
                      <a:pt x="411" y="75291"/>
                      <a:pt x="9528" y="90487"/>
                    </a:cubicBezTo>
                    <a:cubicBezTo>
                      <a:pt x="12111" y="94792"/>
                      <a:pt x="14290" y="104775"/>
                      <a:pt x="14290" y="104775"/>
                    </a:cubicBezTo>
                    <a:cubicBezTo>
                      <a:pt x="13496" y="112712"/>
                      <a:pt x="14100" y="120917"/>
                      <a:pt x="11909" y="128587"/>
                    </a:cubicBezTo>
                    <a:cubicBezTo>
                      <a:pt x="10819" y="132403"/>
                      <a:pt x="5203" y="134167"/>
                      <a:pt x="4765" y="138112"/>
                    </a:cubicBezTo>
                    <a:cubicBezTo>
                      <a:pt x="4070" y="144369"/>
                      <a:pt x="11791" y="153909"/>
                      <a:pt x="16671" y="157162"/>
                    </a:cubicBezTo>
                    <a:cubicBezTo>
                      <a:pt x="18760" y="158554"/>
                      <a:pt x="21434" y="158749"/>
                      <a:pt x="23815" y="159543"/>
                    </a:cubicBezTo>
                    <a:cubicBezTo>
                      <a:pt x="26196" y="161131"/>
                      <a:pt x="30489" y="161483"/>
                      <a:pt x="30959" y="164306"/>
                    </a:cubicBezTo>
                    <a:cubicBezTo>
                      <a:pt x="32169" y="171569"/>
                      <a:pt x="20373" y="178198"/>
                      <a:pt x="16671" y="180975"/>
                    </a:cubicBezTo>
                    <a:cubicBezTo>
                      <a:pt x="17465" y="192881"/>
                      <a:pt x="17804" y="204826"/>
                      <a:pt x="19053" y="216693"/>
                    </a:cubicBezTo>
                    <a:cubicBezTo>
                      <a:pt x="19396" y="219948"/>
                      <a:pt x="20792" y="223009"/>
                      <a:pt x="21434" y="226218"/>
                    </a:cubicBezTo>
                    <a:cubicBezTo>
                      <a:pt x="22381" y="230953"/>
                      <a:pt x="23021" y="235743"/>
                      <a:pt x="23815" y="240506"/>
                    </a:cubicBezTo>
                    <a:cubicBezTo>
                      <a:pt x="37008" y="235708"/>
                      <a:pt x="46659" y="231175"/>
                      <a:pt x="59534" y="228600"/>
                    </a:cubicBezTo>
                    <a:cubicBezTo>
                      <a:pt x="60312" y="228444"/>
                      <a:pt x="61121" y="228600"/>
                      <a:pt x="61915" y="228600"/>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grpSp>
        <p:grpSp>
          <p:nvGrpSpPr>
            <p:cNvPr id="312" name="Group 311">
              <a:extLst>
                <a:ext uri="{FF2B5EF4-FFF2-40B4-BE49-F238E27FC236}">
                  <a16:creationId xmlns:a16="http://schemas.microsoft.com/office/drawing/2014/main" id="{E9169359-7302-42FB-BD51-DFD4B2528CC0}"/>
                </a:ext>
              </a:extLst>
            </p:cNvPr>
            <p:cNvGrpSpPr/>
            <p:nvPr/>
          </p:nvGrpSpPr>
          <p:grpSpPr bwMode="gray">
            <a:xfrm>
              <a:off x="6851200" y="1762125"/>
              <a:ext cx="3011938" cy="2347913"/>
              <a:chOff x="6851200" y="1762125"/>
              <a:chExt cx="3011938" cy="2347913"/>
            </a:xfrm>
          </p:grpSpPr>
          <p:sp>
            <p:nvSpPr>
              <p:cNvPr id="317" name="Freeform: Shape 316">
                <a:extLst>
                  <a:ext uri="{FF2B5EF4-FFF2-40B4-BE49-F238E27FC236}">
                    <a16:creationId xmlns:a16="http://schemas.microsoft.com/office/drawing/2014/main" id="{333F9D93-5C16-4DCD-B825-D27B2BEBD8B6}"/>
                  </a:ext>
                </a:extLst>
              </p:cNvPr>
              <p:cNvSpPr/>
              <p:nvPr/>
            </p:nvSpPr>
            <p:spPr bwMode="gray">
              <a:xfrm>
                <a:off x="7832725" y="2051050"/>
                <a:ext cx="114300" cy="44450"/>
              </a:xfrm>
              <a:custGeom>
                <a:avLst/>
                <a:gdLst>
                  <a:gd name="connsiteX0" fmla="*/ 0 w 114300"/>
                  <a:gd name="connsiteY0" fmla="*/ 44450 h 44450"/>
                  <a:gd name="connsiteX1" fmla="*/ 114300 w 114300"/>
                  <a:gd name="connsiteY1" fmla="*/ 0 h 44450"/>
                </a:gdLst>
                <a:ahLst/>
                <a:cxnLst>
                  <a:cxn ang="0">
                    <a:pos x="connsiteX0" y="connsiteY0"/>
                  </a:cxn>
                  <a:cxn ang="0">
                    <a:pos x="connsiteX1" y="connsiteY1"/>
                  </a:cxn>
                </a:cxnLst>
                <a:rect l="l" t="t" r="r" b="b"/>
                <a:pathLst>
                  <a:path w="114300" h="44450">
                    <a:moveTo>
                      <a:pt x="0" y="44450"/>
                    </a:moveTo>
                    <a:lnTo>
                      <a:pt x="11430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19" name="Freeform: Shape 318">
                <a:extLst>
                  <a:ext uri="{FF2B5EF4-FFF2-40B4-BE49-F238E27FC236}">
                    <a16:creationId xmlns:a16="http://schemas.microsoft.com/office/drawing/2014/main" id="{E1FCF06C-2561-4E19-BCB5-71F7C255A96E}"/>
                  </a:ext>
                </a:extLst>
              </p:cNvPr>
              <p:cNvSpPr/>
              <p:nvPr/>
            </p:nvSpPr>
            <p:spPr bwMode="gray">
              <a:xfrm>
                <a:off x="8575675" y="1990725"/>
                <a:ext cx="19050" cy="92075"/>
              </a:xfrm>
              <a:custGeom>
                <a:avLst/>
                <a:gdLst>
                  <a:gd name="connsiteX0" fmla="*/ 0 w 19050"/>
                  <a:gd name="connsiteY0" fmla="*/ 0 h 92075"/>
                  <a:gd name="connsiteX1" fmla="*/ 19050 w 19050"/>
                  <a:gd name="connsiteY1" fmla="*/ 92075 h 92075"/>
                </a:gdLst>
                <a:ahLst/>
                <a:cxnLst>
                  <a:cxn ang="0">
                    <a:pos x="connsiteX0" y="connsiteY0"/>
                  </a:cxn>
                  <a:cxn ang="0">
                    <a:pos x="connsiteX1" y="connsiteY1"/>
                  </a:cxn>
                </a:cxnLst>
                <a:rect l="l" t="t" r="r" b="b"/>
                <a:pathLst>
                  <a:path w="19050" h="92075">
                    <a:moveTo>
                      <a:pt x="0" y="0"/>
                    </a:moveTo>
                    <a:lnTo>
                      <a:pt x="19050" y="92075"/>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20" name="Freeform: Shape 319">
                <a:extLst>
                  <a:ext uri="{FF2B5EF4-FFF2-40B4-BE49-F238E27FC236}">
                    <a16:creationId xmlns:a16="http://schemas.microsoft.com/office/drawing/2014/main" id="{B849CF23-2095-4699-B818-2513EFF2C45D}"/>
                  </a:ext>
                </a:extLst>
              </p:cNvPr>
              <p:cNvSpPr/>
              <p:nvPr/>
            </p:nvSpPr>
            <p:spPr bwMode="gray">
              <a:xfrm>
                <a:off x="8413750" y="2101850"/>
                <a:ext cx="38100" cy="82550"/>
              </a:xfrm>
              <a:custGeom>
                <a:avLst/>
                <a:gdLst>
                  <a:gd name="connsiteX0" fmla="*/ 0 w 38100"/>
                  <a:gd name="connsiteY0" fmla="*/ 82550 h 82550"/>
                  <a:gd name="connsiteX1" fmla="*/ 38100 w 38100"/>
                  <a:gd name="connsiteY1" fmla="*/ 0 h 82550"/>
                </a:gdLst>
                <a:ahLst/>
                <a:cxnLst>
                  <a:cxn ang="0">
                    <a:pos x="connsiteX0" y="connsiteY0"/>
                  </a:cxn>
                  <a:cxn ang="0">
                    <a:pos x="connsiteX1" y="connsiteY1"/>
                  </a:cxn>
                </a:cxnLst>
                <a:rect l="l" t="t" r="r" b="b"/>
                <a:pathLst>
                  <a:path w="38100" h="82550">
                    <a:moveTo>
                      <a:pt x="0" y="82550"/>
                    </a:moveTo>
                    <a:lnTo>
                      <a:pt x="3810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21" name="Freeform: Shape 320">
                <a:extLst>
                  <a:ext uri="{FF2B5EF4-FFF2-40B4-BE49-F238E27FC236}">
                    <a16:creationId xmlns:a16="http://schemas.microsoft.com/office/drawing/2014/main" id="{2177F5DF-C330-4D64-9759-1B23D6D39DCC}"/>
                  </a:ext>
                </a:extLst>
              </p:cNvPr>
              <p:cNvSpPr/>
              <p:nvPr/>
            </p:nvSpPr>
            <p:spPr bwMode="gray">
              <a:xfrm>
                <a:off x="7985125" y="2892425"/>
                <a:ext cx="63500" cy="63500"/>
              </a:xfrm>
              <a:custGeom>
                <a:avLst/>
                <a:gdLst>
                  <a:gd name="connsiteX0" fmla="*/ 0 w 63500"/>
                  <a:gd name="connsiteY0" fmla="*/ 0 h 63500"/>
                  <a:gd name="connsiteX1" fmla="*/ 63500 w 63500"/>
                  <a:gd name="connsiteY1" fmla="*/ 63500 h 63500"/>
                </a:gdLst>
                <a:ahLst/>
                <a:cxnLst>
                  <a:cxn ang="0">
                    <a:pos x="connsiteX0" y="connsiteY0"/>
                  </a:cxn>
                  <a:cxn ang="0">
                    <a:pos x="connsiteX1" y="connsiteY1"/>
                  </a:cxn>
                </a:cxnLst>
                <a:rect l="l" t="t" r="r" b="b"/>
                <a:pathLst>
                  <a:path w="63500" h="63500">
                    <a:moveTo>
                      <a:pt x="0" y="0"/>
                    </a:moveTo>
                    <a:lnTo>
                      <a:pt x="63500" y="6350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22" name="Freeform: Shape 321">
                <a:extLst>
                  <a:ext uri="{FF2B5EF4-FFF2-40B4-BE49-F238E27FC236}">
                    <a16:creationId xmlns:a16="http://schemas.microsoft.com/office/drawing/2014/main" id="{0F1B4C19-F8DD-46DF-997C-85436E1198ED}"/>
                  </a:ext>
                </a:extLst>
              </p:cNvPr>
              <p:cNvSpPr/>
              <p:nvPr/>
            </p:nvSpPr>
            <p:spPr bwMode="gray">
              <a:xfrm>
                <a:off x="9165431" y="3076575"/>
                <a:ext cx="0" cy="57150"/>
              </a:xfrm>
              <a:custGeom>
                <a:avLst/>
                <a:gdLst>
                  <a:gd name="connsiteX0" fmla="*/ 0 w 0"/>
                  <a:gd name="connsiteY0" fmla="*/ 57150 h 57150"/>
                  <a:gd name="connsiteX1" fmla="*/ 0 w 0"/>
                  <a:gd name="connsiteY1" fmla="*/ 0 h 57150"/>
                </a:gdLst>
                <a:ahLst/>
                <a:cxnLst>
                  <a:cxn ang="0">
                    <a:pos x="connsiteX0" y="connsiteY0"/>
                  </a:cxn>
                  <a:cxn ang="0">
                    <a:pos x="connsiteX1" y="connsiteY1"/>
                  </a:cxn>
                </a:cxnLst>
                <a:rect l="l" t="t" r="r" b="b"/>
                <a:pathLst>
                  <a:path h="57150">
                    <a:moveTo>
                      <a:pt x="0" y="57150"/>
                    </a:moveTo>
                    <a:lnTo>
                      <a:pt x="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23" name="Freeform: Shape 322">
                <a:extLst>
                  <a:ext uri="{FF2B5EF4-FFF2-40B4-BE49-F238E27FC236}">
                    <a16:creationId xmlns:a16="http://schemas.microsoft.com/office/drawing/2014/main" id="{62D76AE8-F1BE-474B-9748-E53AE78950CB}"/>
                  </a:ext>
                </a:extLst>
              </p:cNvPr>
              <p:cNvSpPr/>
              <p:nvPr/>
            </p:nvSpPr>
            <p:spPr bwMode="gray">
              <a:xfrm>
                <a:off x="9153525" y="3171825"/>
                <a:ext cx="57150" cy="0"/>
              </a:xfrm>
              <a:custGeom>
                <a:avLst/>
                <a:gdLst>
                  <a:gd name="connsiteX0" fmla="*/ 0 w 57150"/>
                  <a:gd name="connsiteY0" fmla="*/ 0 h 0"/>
                  <a:gd name="connsiteX1" fmla="*/ 57150 w 57150"/>
                  <a:gd name="connsiteY1" fmla="*/ 0 h 0"/>
                </a:gdLst>
                <a:ahLst/>
                <a:cxnLst>
                  <a:cxn ang="0">
                    <a:pos x="connsiteX0" y="connsiteY0"/>
                  </a:cxn>
                  <a:cxn ang="0">
                    <a:pos x="connsiteX1" y="connsiteY1"/>
                  </a:cxn>
                </a:cxnLst>
                <a:rect l="l" t="t" r="r" b="b"/>
                <a:pathLst>
                  <a:path w="57150">
                    <a:moveTo>
                      <a:pt x="0" y="0"/>
                    </a:moveTo>
                    <a:lnTo>
                      <a:pt x="5715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24" name="Freeform: Shape 323">
                <a:extLst>
                  <a:ext uri="{FF2B5EF4-FFF2-40B4-BE49-F238E27FC236}">
                    <a16:creationId xmlns:a16="http://schemas.microsoft.com/office/drawing/2014/main" id="{B698A54C-380D-42FA-9974-DF73B5F65B8A}"/>
                  </a:ext>
                </a:extLst>
              </p:cNvPr>
              <p:cNvSpPr/>
              <p:nvPr/>
            </p:nvSpPr>
            <p:spPr bwMode="gray">
              <a:xfrm>
                <a:off x="9253538" y="3143250"/>
                <a:ext cx="35718" cy="35719"/>
              </a:xfrm>
              <a:custGeom>
                <a:avLst/>
                <a:gdLst>
                  <a:gd name="connsiteX0" fmla="*/ 0 w 35718"/>
                  <a:gd name="connsiteY0" fmla="*/ 35719 h 35719"/>
                  <a:gd name="connsiteX1" fmla="*/ 35718 w 35718"/>
                  <a:gd name="connsiteY1" fmla="*/ 0 h 35719"/>
                </a:gdLst>
                <a:ahLst/>
                <a:cxnLst>
                  <a:cxn ang="0">
                    <a:pos x="connsiteX0" y="connsiteY0"/>
                  </a:cxn>
                  <a:cxn ang="0">
                    <a:pos x="connsiteX1" y="connsiteY1"/>
                  </a:cxn>
                </a:cxnLst>
                <a:rect l="l" t="t" r="r" b="b"/>
                <a:pathLst>
                  <a:path w="35718" h="35719">
                    <a:moveTo>
                      <a:pt x="0" y="35719"/>
                    </a:moveTo>
                    <a:lnTo>
                      <a:pt x="35718"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25" name="Freeform: Shape 324">
                <a:extLst>
                  <a:ext uri="{FF2B5EF4-FFF2-40B4-BE49-F238E27FC236}">
                    <a16:creationId xmlns:a16="http://schemas.microsoft.com/office/drawing/2014/main" id="{48D95E1A-142E-4B35-941C-99EEC76966AB}"/>
                  </a:ext>
                </a:extLst>
              </p:cNvPr>
              <p:cNvSpPr/>
              <p:nvPr/>
            </p:nvSpPr>
            <p:spPr bwMode="gray">
              <a:xfrm>
                <a:off x="9315450" y="3109913"/>
                <a:ext cx="11906" cy="54768"/>
              </a:xfrm>
              <a:custGeom>
                <a:avLst/>
                <a:gdLst>
                  <a:gd name="connsiteX0" fmla="*/ 11906 w 11906"/>
                  <a:gd name="connsiteY0" fmla="*/ 0 h 54768"/>
                  <a:gd name="connsiteX1" fmla="*/ 0 w 11906"/>
                  <a:gd name="connsiteY1" fmla="*/ 54768 h 54768"/>
                </a:gdLst>
                <a:ahLst/>
                <a:cxnLst>
                  <a:cxn ang="0">
                    <a:pos x="connsiteX0" y="connsiteY0"/>
                  </a:cxn>
                  <a:cxn ang="0">
                    <a:pos x="connsiteX1" y="connsiteY1"/>
                  </a:cxn>
                </a:cxnLst>
                <a:rect l="l" t="t" r="r" b="b"/>
                <a:pathLst>
                  <a:path w="11906" h="54768">
                    <a:moveTo>
                      <a:pt x="11906" y="0"/>
                    </a:moveTo>
                    <a:lnTo>
                      <a:pt x="0" y="54768"/>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26" name="Freeform: Shape 325">
                <a:extLst>
                  <a:ext uri="{FF2B5EF4-FFF2-40B4-BE49-F238E27FC236}">
                    <a16:creationId xmlns:a16="http://schemas.microsoft.com/office/drawing/2014/main" id="{0ACED1D9-8DE7-4F08-907B-55438C8960D4}"/>
                  </a:ext>
                </a:extLst>
              </p:cNvPr>
              <p:cNvSpPr/>
              <p:nvPr/>
            </p:nvSpPr>
            <p:spPr bwMode="gray">
              <a:xfrm>
                <a:off x="8863012" y="3695700"/>
                <a:ext cx="57150" cy="2381"/>
              </a:xfrm>
              <a:custGeom>
                <a:avLst/>
                <a:gdLst>
                  <a:gd name="connsiteX0" fmla="*/ 0 w 57150"/>
                  <a:gd name="connsiteY0" fmla="*/ 2381 h 2381"/>
                  <a:gd name="connsiteX1" fmla="*/ 57150 w 57150"/>
                  <a:gd name="connsiteY1" fmla="*/ 0 h 2381"/>
                </a:gdLst>
                <a:ahLst/>
                <a:cxnLst>
                  <a:cxn ang="0">
                    <a:pos x="connsiteX0" y="connsiteY0"/>
                  </a:cxn>
                  <a:cxn ang="0">
                    <a:pos x="connsiteX1" y="connsiteY1"/>
                  </a:cxn>
                </a:cxnLst>
                <a:rect l="l" t="t" r="r" b="b"/>
                <a:pathLst>
                  <a:path w="57150" h="2381">
                    <a:moveTo>
                      <a:pt x="0" y="2381"/>
                    </a:moveTo>
                    <a:lnTo>
                      <a:pt x="5715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27" name="Freeform: Shape 326">
                <a:extLst>
                  <a:ext uri="{FF2B5EF4-FFF2-40B4-BE49-F238E27FC236}">
                    <a16:creationId xmlns:a16="http://schemas.microsoft.com/office/drawing/2014/main" id="{A343705C-DF08-42E0-84F8-001D058C64A8}"/>
                  </a:ext>
                </a:extLst>
              </p:cNvPr>
              <p:cNvSpPr/>
              <p:nvPr/>
            </p:nvSpPr>
            <p:spPr bwMode="gray">
              <a:xfrm>
                <a:off x="6851200" y="2724150"/>
                <a:ext cx="1457775" cy="394796"/>
              </a:xfrm>
              <a:custGeom>
                <a:avLst/>
                <a:gdLst>
                  <a:gd name="connsiteX0" fmla="*/ 35375 w 1457775"/>
                  <a:gd name="connsiteY0" fmla="*/ 196850 h 394796"/>
                  <a:gd name="connsiteX1" fmla="*/ 32200 w 1457775"/>
                  <a:gd name="connsiteY1" fmla="*/ 222250 h 394796"/>
                  <a:gd name="connsiteX2" fmla="*/ 29025 w 1457775"/>
                  <a:gd name="connsiteY2" fmla="*/ 241300 h 394796"/>
                  <a:gd name="connsiteX3" fmla="*/ 25850 w 1457775"/>
                  <a:gd name="connsiteY3" fmla="*/ 266700 h 394796"/>
                  <a:gd name="connsiteX4" fmla="*/ 13150 w 1457775"/>
                  <a:gd name="connsiteY4" fmla="*/ 304800 h 394796"/>
                  <a:gd name="connsiteX5" fmla="*/ 9975 w 1457775"/>
                  <a:gd name="connsiteY5" fmla="*/ 330200 h 394796"/>
                  <a:gd name="connsiteX6" fmla="*/ 450 w 1457775"/>
                  <a:gd name="connsiteY6" fmla="*/ 339725 h 394796"/>
                  <a:gd name="connsiteX7" fmla="*/ 32200 w 1457775"/>
                  <a:gd name="connsiteY7" fmla="*/ 358775 h 394796"/>
                  <a:gd name="connsiteX8" fmla="*/ 146500 w 1457775"/>
                  <a:gd name="connsiteY8" fmla="*/ 377825 h 394796"/>
                  <a:gd name="connsiteX9" fmla="*/ 273500 w 1457775"/>
                  <a:gd name="connsiteY9" fmla="*/ 390525 h 394796"/>
                  <a:gd name="connsiteX10" fmla="*/ 308425 w 1457775"/>
                  <a:gd name="connsiteY10" fmla="*/ 387350 h 394796"/>
                  <a:gd name="connsiteX11" fmla="*/ 330650 w 1457775"/>
                  <a:gd name="connsiteY11" fmla="*/ 381000 h 394796"/>
                  <a:gd name="connsiteX12" fmla="*/ 400500 w 1457775"/>
                  <a:gd name="connsiteY12" fmla="*/ 384175 h 394796"/>
                  <a:gd name="connsiteX13" fmla="*/ 448125 w 1457775"/>
                  <a:gd name="connsiteY13" fmla="*/ 381000 h 394796"/>
                  <a:gd name="connsiteX14" fmla="*/ 549725 w 1457775"/>
                  <a:gd name="connsiteY14" fmla="*/ 377825 h 394796"/>
                  <a:gd name="connsiteX15" fmla="*/ 565600 w 1457775"/>
                  <a:gd name="connsiteY15" fmla="*/ 368300 h 394796"/>
                  <a:gd name="connsiteX16" fmla="*/ 591000 w 1457775"/>
                  <a:gd name="connsiteY16" fmla="*/ 365125 h 394796"/>
                  <a:gd name="connsiteX17" fmla="*/ 613225 w 1457775"/>
                  <a:gd name="connsiteY17" fmla="*/ 361950 h 394796"/>
                  <a:gd name="connsiteX18" fmla="*/ 667200 w 1457775"/>
                  <a:gd name="connsiteY18" fmla="*/ 342900 h 394796"/>
                  <a:gd name="connsiteX19" fmla="*/ 689425 w 1457775"/>
                  <a:gd name="connsiteY19" fmla="*/ 336550 h 394796"/>
                  <a:gd name="connsiteX20" fmla="*/ 708475 w 1457775"/>
                  <a:gd name="connsiteY20" fmla="*/ 333375 h 394796"/>
                  <a:gd name="connsiteX21" fmla="*/ 727525 w 1457775"/>
                  <a:gd name="connsiteY21" fmla="*/ 327025 h 394796"/>
                  <a:gd name="connsiteX22" fmla="*/ 803725 w 1457775"/>
                  <a:gd name="connsiteY22" fmla="*/ 320675 h 394796"/>
                  <a:gd name="connsiteX23" fmla="*/ 819600 w 1457775"/>
                  <a:gd name="connsiteY23" fmla="*/ 311150 h 394796"/>
                  <a:gd name="connsiteX24" fmla="*/ 838650 w 1457775"/>
                  <a:gd name="connsiteY24" fmla="*/ 298450 h 394796"/>
                  <a:gd name="connsiteX25" fmla="*/ 864050 w 1457775"/>
                  <a:gd name="connsiteY25" fmla="*/ 285750 h 394796"/>
                  <a:gd name="connsiteX26" fmla="*/ 886275 w 1457775"/>
                  <a:gd name="connsiteY26" fmla="*/ 269875 h 394796"/>
                  <a:gd name="connsiteX27" fmla="*/ 898975 w 1457775"/>
                  <a:gd name="connsiteY27" fmla="*/ 260350 h 394796"/>
                  <a:gd name="connsiteX28" fmla="*/ 952950 w 1457775"/>
                  <a:gd name="connsiteY28" fmla="*/ 231775 h 394796"/>
                  <a:gd name="connsiteX29" fmla="*/ 968825 w 1457775"/>
                  <a:gd name="connsiteY29" fmla="*/ 219075 h 394796"/>
                  <a:gd name="connsiteX30" fmla="*/ 1000575 w 1457775"/>
                  <a:gd name="connsiteY30" fmla="*/ 203200 h 394796"/>
                  <a:gd name="connsiteX31" fmla="*/ 1019625 w 1457775"/>
                  <a:gd name="connsiteY31" fmla="*/ 193675 h 394796"/>
                  <a:gd name="connsiteX32" fmla="*/ 1035500 w 1457775"/>
                  <a:gd name="connsiteY32" fmla="*/ 190500 h 394796"/>
                  <a:gd name="connsiteX33" fmla="*/ 1111700 w 1457775"/>
                  <a:gd name="connsiteY33" fmla="*/ 184150 h 394796"/>
                  <a:gd name="connsiteX34" fmla="*/ 1130750 w 1457775"/>
                  <a:gd name="connsiteY34" fmla="*/ 177800 h 394796"/>
                  <a:gd name="connsiteX35" fmla="*/ 1159325 w 1457775"/>
                  <a:gd name="connsiteY35" fmla="*/ 161925 h 394796"/>
                  <a:gd name="connsiteX36" fmla="*/ 1172025 w 1457775"/>
                  <a:gd name="connsiteY36" fmla="*/ 152400 h 394796"/>
                  <a:gd name="connsiteX37" fmla="*/ 1187900 w 1457775"/>
                  <a:gd name="connsiteY37" fmla="*/ 142875 h 394796"/>
                  <a:gd name="connsiteX38" fmla="*/ 1203775 w 1457775"/>
                  <a:gd name="connsiteY38" fmla="*/ 127000 h 394796"/>
                  <a:gd name="connsiteX39" fmla="*/ 1267275 w 1457775"/>
                  <a:gd name="connsiteY39" fmla="*/ 98425 h 394796"/>
                  <a:gd name="connsiteX40" fmla="*/ 1289500 w 1457775"/>
                  <a:gd name="connsiteY40" fmla="*/ 82550 h 394796"/>
                  <a:gd name="connsiteX41" fmla="*/ 1308550 w 1457775"/>
                  <a:gd name="connsiteY41" fmla="*/ 76200 h 394796"/>
                  <a:gd name="connsiteX42" fmla="*/ 1346650 w 1457775"/>
                  <a:gd name="connsiteY42" fmla="*/ 57150 h 394796"/>
                  <a:gd name="connsiteX43" fmla="*/ 1365700 w 1457775"/>
                  <a:gd name="connsiteY43" fmla="*/ 50800 h 394796"/>
                  <a:gd name="connsiteX44" fmla="*/ 1394275 w 1457775"/>
                  <a:gd name="connsiteY44" fmla="*/ 41275 h 394796"/>
                  <a:gd name="connsiteX45" fmla="*/ 1422850 w 1457775"/>
                  <a:gd name="connsiteY45" fmla="*/ 22225 h 394796"/>
                  <a:gd name="connsiteX46" fmla="*/ 1435550 w 1457775"/>
                  <a:gd name="connsiteY46" fmla="*/ 15875 h 394796"/>
                  <a:gd name="connsiteX47" fmla="*/ 1448250 w 1457775"/>
                  <a:gd name="connsiteY47" fmla="*/ 6350 h 394796"/>
                  <a:gd name="connsiteX48" fmla="*/ 1457775 w 1457775"/>
                  <a:gd name="connsiteY48" fmla="*/ 0 h 39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57775" h="394796">
                    <a:moveTo>
                      <a:pt x="35375" y="196850"/>
                    </a:moveTo>
                    <a:cubicBezTo>
                      <a:pt x="34317" y="205317"/>
                      <a:pt x="33407" y="213803"/>
                      <a:pt x="32200" y="222250"/>
                    </a:cubicBezTo>
                    <a:cubicBezTo>
                      <a:pt x="31290" y="228623"/>
                      <a:pt x="29935" y="234927"/>
                      <a:pt x="29025" y="241300"/>
                    </a:cubicBezTo>
                    <a:cubicBezTo>
                      <a:pt x="27818" y="249747"/>
                      <a:pt x="27253" y="258284"/>
                      <a:pt x="25850" y="266700"/>
                    </a:cubicBezTo>
                    <a:cubicBezTo>
                      <a:pt x="23647" y="279921"/>
                      <a:pt x="18079" y="292477"/>
                      <a:pt x="13150" y="304800"/>
                    </a:cubicBezTo>
                    <a:cubicBezTo>
                      <a:pt x="12092" y="313267"/>
                      <a:pt x="12891" y="322181"/>
                      <a:pt x="9975" y="330200"/>
                    </a:cubicBezTo>
                    <a:cubicBezTo>
                      <a:pt x="8441" y="334420"/>
                      <a:pt x="-2307" y="336181"/>
                      <a:pt x="450" y="339725"/>
                    </a:cubicBezTo>
                    <a:cubicBezTo>
                      <a:pt x="8027" y="349467"/>
                      <a:pt x="21734" y="352234"/>
                      <a:pt x="32200" y="358775"/>
                    </a:cubicBezTo>
                    <a:cubicBezTo>
                      <a:pt x="81124" y="389352"/>
                      <a:pt x="29469" y="370023"/>
                      <a:pt x="146500" y="377825"/>
                    </a:cubicBezTo>
                    <a:cubicBezTo>
                      <a:pt x="219246" y="402074"/>
                      <a:pt x="177405" y="394369"/>
                      <a:pt x="273500" y="390525"/>
                    </a:cubicBezTo>
                    <a:cubicBezTo>
                      <a:pt x="285142" y="389467"/>
                      <a:pt x="296894" y="389272"/>
                      <a:pt x="308425" y="387350"/>
                    </a:cubicBezTo>
                    <a:cubicBezTo>
                      <a:pt x="316025" y="386083"/>
                      <a:pt x="322950" y="381266"/>
                      <a:pt x="330650" y="381000"/>
                    </a:cubicBezTo>
                    <a:cubicBezTo>
                      <a:pt x="353944" y="380197"/>
                      <a:pt x="377217" y="383117"/>
                      <a:pt x="400500" y="384175"/>
                    </a:cubicBezTo>
                    <a:cubicBezTo>
                      <a:pt x="416375" y="383117"/>
                      <a:pt x="432229" y="381676"/>
                      <a:pt x="448125" y="381000"/>
                    </a:cubicBezTo>
                    <a:cubicBezTo>
                      <a:pt x="481978" y="379559"/>
                      <a:pt x="516038" y="381467"/>
                      <a:pt x="549725" y="377825"/>
                    </a:cubicBezTo>
                    <a:cubicBezTo>
                      <a:pt x="555860" y="377162"/>
                      <a:pt x="559702" y="370115"/>
                      <a:pt x="565600" y="368300"/>
                    </a:cubicBezTo>
                    <a:cubicBezTo>
                      <a:pt x="573755" y="365791"/>
                      <a:pt x="582542" y="366253"/>
                      <a:pt x="591000" y="365125"/>
                    </a:cubicBezTo>
                    <a:lnTo>
                      <a:pt x="613225" y="361950"/>
                    </a:lnTo>
                    <a:cubicBezTo>
                      <a:pt x="646752" y="340996"/>
                      <a:pt x="628702" y="347178"/>
                      <a:pt x="667200" y="342900"/>
                    </a:cubicBezTo>
                    <a:cubicBezTo>
                      <a:pt x="676278" y="339874"/>
                      <a:pt x="679458" y="338543"/>
                      <a:pt x="689425" y="336550"/>
                    </a:cubicBezTo>
                    <a:cubicBezTo>
                      <a:pt x="695738" y="335287"/>
                      <a:pt x="702230" y="334936"/>
                      <a:pt x="708475" y="333375"/>
                    </a:cubicBezTo>
                    <a:cubicBezTo>
                      <a:pt x="714969" y="331752"/>
                      <a:pt x="720890" y="327910"/>
                      <a:pt x="727525" y="327025"/>
                    </a:cubicBezTo>
                    <a:cubicBezTo>
                      <a:pt x="752789" y="323656"/>
                      <a:pt x="778325" y="322792"/>
                      <a:pt x="803725" y="320675"/>
                    </a:cubicBezTo>
                    <a:cubicBezTo>
                      <a:pt x="809017" y="317500"/>
                      <a:pt x="814394" y="314463"/>
                      <a:pt x="819600" y="311150"/>
                    </a:cubicBezTo>
                    <a:cubicBezTo>
                      <a:pt x="826039" y="307053"/>
                      <a:pt x="831824" y="301863"/>
                      <a:pt x="838650" y="298450"/>
                    </a:cubicBezTo>
                    <a:cubicBezTo>
                      <a:pt x="847117" y="294217"/>
                      <a:pt x="856477" y="291430"/>
                      <a:pt x="864050" y="285750"/>
                    </a:cubicBezTo>
                    <a:cubicBezTo>
                      <a:pt x="905555" y="254621"/>
                      <a:pt x="853776" y="293088"/>
                      <a:pt x="886275" y="269875"/>
                    </a:cubicBezTo>
                    <a:cubicBezTo>
                      <a:pt x="890581" y="266799"/>
                      <a:pt x="894381" y="262975"/>
                      <a:pt x="898975" y="260350"/>
                    </a:cubicBezTo>
                    <a:cubicBezTo>
                      <a:pt x="916650" y="250250"/>
                      <a:pt x="935424" y="242131"/>
                      <a:pt x="952950" y="231775"/>
                    </a:cubicBezTo>
                    <a:cubicBezTo>
                      <a:pt x="958784" y="228328"/>
                      <a:pt x="963273" y="222961"/>
                      <a:pt x="968825" y="219075"/>
                    </a:cubicBezTo>
                    <a:cubicBezTo>
                      <a:pt x="986327" y="206824"/>
                      <a:pt x="981981" y="211652"/>
                      <a:pt x="1000575" y="203200"/>
                    </a:cubicBezTo>
                    <a:cubicBezTo>
                      <a:pt x="1007038" y="200262"/>
                      <a:pt x="1012953" y="196101"/>
                      <a:pt x="1019625" y="193675"/>
                    </a:cubicBezTo>
                    <a:cubicBezTo>
                      <a:pt x="1024697" y="191831"/>
                      <a:pt x="1030132" y="191055"/>
                      <a:pt x="1035500" y="190500"/>
                    </a:cubicBezTo>
                    <a:cubicBezTo>
                      <a:pt x="1060853" y="187877"/>
                      <a:pt x="1086300" y="186267"/>
                      <a:pt x="1111700" y="184150"/>
                    </a:cubicBezTo>
                    <a:cubicBezTo>
                      <a:pt x="1118050" y="182033"/>
                      <a:pt x="1124763" y="180793"/>
                      <a:pt x="1130750" y="177800"/>
                    </a:cubicBezTo>
                    <a:cubicBezTo>
                      <a:pt x="1174419" y="155965"/>
                      <a:pt x="1132985" y="170705"/>
                      <a:pt x="1159325" y="161925"/>
                    </a:cubicBezTo>
                    <a:cubicBezTo>
                      <a:pt x="1163558" y="158750"/>
                      <a:pt x="1167622" y="155335"/>
                      <a:pt x="1172025" y="152400"/>
                    </a:cubicBezTo>
                    <a:cubicBezTo>
                      <a:pt x="1177160" y="148977"/>
                      <a:pt x="1183081" y="146730"/>
                      <a:pt x="1187900" y="142875"/>
                    </a:cubicBezTo>
                    <a:cubicBezTo>
                      <a:pt x="1193744" y="138200"/>
                      <a:pt x="1197412" y="130939"/>
                      <a:pt x="1203775" y="127000"/>
                    </a:cubicBezTo>
                    <a:cubicBezTo>
                      <a:pt x="1240832" y="104060"/>
                      <a:pt x="1240275" y="105175"/>
                      <a:pt x="1267275" y="98425"/>
                    </a:cubicBezTo>
                    <a:cubicBezTo>
                      <a:pt x="1268981" y="97146"/>
                      <a:pt x="1285701" y="84238"/>
                      <a:pt x="1289500" y="82550"/>
                    </a:cubicBezTo>
                    <a:cubicBezTo>
                      <a:pt x="1295617" y="79832"/>
                      <a:pt x="1302473" y="79005"/>
                      <a:pt x="1308550" y="76200"/>
                    </a:cubicBezTo>
                    <a:cubicBezTo>
                      <a:pt x="1352991" y="55689"/>
                      <a:pt x="1311319" y="69998"/>
                      <a:pt x="1346650" y="57150"/>
                    </a:cubicBezTo>
                    <a:cubicBezTo>
                      <a:pt x="1352940" y="54863"/>
                      <a:pt x="1359289" y="52723"/>
                      <a:pt x="1365700" y="50800"/>
                    </a:cubicBezTo>
                    <a:cubicBezTo>
                      <a:pt x="1377651" y="47215"/>
                      <a:pt x="1382548" y="47976"/>
                      <a:pt x="1394275" y="41275"/>
                    </a:cubicBezTo>
                    <a:cubicBezTo>
                      <a:pt x="1404214" y="35595"/>
                      <a:pt x="1412611" y="27345"/>
                      <a:pt x="1422850" y="22225"/>
                    </a:cubicBezTo>
                    <a:cubicBezTo>
                      <a:pt x="1427083" y="20108"/>
                      <a:pt x="1431536" y="18383"/>
                      <a:pt x="1435550" y="15875"/>
                    </a:cubicBezTo>
                    <a:cubicBezTo>
                      <a:pt x="1440037" y="13070"/>
                      <a:pt x="1443944" y="9426"/>
                      <a:pt x="1448250" y="6350"/>
                    </a:cubicBezTo>
                    <a:cubicBezTo>
                      <a:pt x="1451355" y="4132"/>
                      <a:pt x="1454600" y="2117"/>
                      <a:pt x="1457775" y="0"/>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28" name="Freeform: Shape 327">
                <a:extLst>
                  <a:ext uri="{FF2B5EF4-FFF2-40B4-BE49-F238E27FC236}">
                    <a16:creationId xmlns:a16="http://schemas.microsoft.com/office/drawing/2014/main" id="{8E83B820-D1E2-4702-AFC1-39F4DA453466}"/>
                  </a:ext>
                </a:extLst>
              </p:cNvPr>
              <p:cNvSpPr/>
              <p:nvPr/>
            </p:nvSpPr>
            <p:spPr bwMode="gray">
              <a:xfrm>
                <a:off x="7340600" y="1949450"/>
                <a:ext cx="323932" cy="428625"/>
              </a:xfrm>
              <a:custGeom>
                <a:avLst/>
                <a:gdLst>
                  <a:gd name="connsiteX0" fmla="*/ 0 w 323932"/>
                  <a:gd name="connsiteY0" fmla="*/ 136525 h 428625"/>
                  <a:gd name="connsiteX1" fmla="*/ 38100 w 323932"/>
                  <a:gd name="connsiteY1" fmla="*/ 79375 h 428625"/>
                  <a:gd name="connsiteX2" fmla="*/ 88900 w 323932"/>
                  <a:gd name="connsiteY2" fmla="*/ 44450 h 428625"/>
                  <a:gd name="connsiteX3" fmla="*/ 142875 w 323932"/>
                  <a:gd name="connsiteY3" fmla="*/ 34925 h 428625"/>
                  <a:gd name="connsiteX4" fmla="*/ 165100 w 323932"/>
                  <a:gd name="connsiteY4" fmla="*/ 15875 h 428625"/>
                  <a:gd name="connsiteX5" fmla="*/ 187325 w 323932"/>
                  <a:gd name="connsiteY5" fmla="*/ 3175 h 428625"/>
                  <a:gd name="connsiteX6" fmla="*/ 203200 w 323932"/>
                  <a:gd name="connsiteY6" fmla="*/ 0 h 428625"/>
                  <a:gd name="connsiteX7" fmla="*/ 241300 w 323932"/>
                  <a:gd name="connsiteY7" fmla="*/ 6350 h 428625"/>
                  <a:gd name="connsiteX8" fmla="*/ 250825 w 323932"/>
                  <a:gd name="connsiteY8" fmla="*/ 9525 h 428625"/>
                  <a:gd name="connsiteX9" fmla="*/ 282575 w 323932"/>
                  <a:gd name="connsiteY9" fmla="*/ 28575 h 428625"/>
                  <a:gd name="connsiteX10" fmla="*/ 295275 w 323932"/>
                  <a:gd name="connsiteY10" fmla="*/ 34925 h 428625"/>
                  <a:gd name="connsiteX11" fmla="*/ 307975 w 323932"/>
                  <a:gd name="connsiteY11" fmla="*/ 92075 h 428625"/>
                  <a:gd name="connsiteX12" fmla="*/ 301625 w 323932"/>
                  <a:gd name="connsiteY12" fmla="*/ 165100 h 428625"/>
                  <a:gd name="connsiteX13" fmla="*/ 307975 w 323932"/>
                  <a:gd name="connsiteY13" fmla="*/ 177800 h 428625"/>
                  <a:gd name="connsiteX14" fmla="*/ 314325 w 323932"/>
                  <a:gd name="connsiteY14" fmla="*/ 187325 h 428625"/>
                  <a:gd name="connsiteX15" fmla="*/ 311150 w 323932"/>
                  <a:gd name="connsiteY15" fmla="*/ 225425 h 428625"/>
                  <a:gd name="connsiteX16" fmla="*/ 314325 w 323932"/>
                  <a:gd name="connsiteY16" fmla="*/ 247650 h 428625"/>
                  <a:gd name="connsiteX17" fmla="*/ 323850 w 323932"/>
                  <a:gd name="connsiteY17" fmla="*/ 260350 h 428625"/>
                  <a:gd name="connsiteX18" fmla="*/ 314325 w 323932"/>
                  <a:gd name="connsiteY18" fmla="*/ 327025 h 428625"/>
                  <a:gd name="connsiteX19" fmla="*/ 311150 w 323932"/>
                  <a:gd name="connsiteY19" fmla="*/ 336550 h 428625"/>
                  <a:gd name="connsiteX20" fmla="*/ 307975 w 323932"/>
                  <a:gd name="connsiteY20" fmla="*/ 428625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3932" h="428625">
                    <a:moveTo>
                      <a:pt x="0" y="136525"/>
                    </a:moveTo>
                    <a:lnTo>
                      <a:pt x="38100" y="79375"/>
                    </a:lnTo>
                    <a:lnTo>
                      <a:pt x="88900" y="44450"/>
                    </a:lnTo>
                    <a:cubicBezTo>
                      <a:pt x="109003" y="42216"/>
                      <a:pt x="123791" y="41864"/>
                      <a:pt x="142875" y="34925"/>
                    </a:cubicBezTo>
                    <a:cubicBezTo>
                      <a:pt x="151315" y="31856"/>
                      <a:pt x="159219" y="20915"/>
                      <a:pt x="165100" y="15875"/>
                    </a:cubicBezTo>
                    <a:cubicBezTo>
                      <a:pt x="169534" y="12074"/>
                      <a:pt x="182411" y="4813"/>
                      <a:pt x="187325" y="3175"/>
                    </a:cubicBezTo>
                    <a:cubicBezTo>
                      <a:pt x="192445" y="1468"/>
                      <a:pt x="197908" y="1058"/>
                      <a:pt x="203200" y="0"/>
                    </a:cubicBezTo>
                    <a:cubicBezTo>
                      <a:pt x="223814" y="2577"/>
                      <a:pt x="224984" y="1688"/>
                      <a:pt x="241300" y="6350"/>
                    </a:cubicBezTo>
                    <a:cubicBezTo>
                      <a:pt x="244518" y="7269"/>
                      <a:pt x="247749" y="8207"/>
                      <a:pt x="250825" y="9525"/>
                    </a:cubicBezTo>
                    <a:cubicBezTo>
                      <a:pt x="267759" y="16783"/>
                      <a:pt x="263766" y="17289"/>
                      <a:pt x="282575" y="28575"/>
                    </a:cubicBezTo>
                    <a:cubicBezTo>
                      <a:pt x="286634" y="31010"/>
                      <a:pt x="291042" y="32808"/>
                      <a:pt x="295275" y="34925"/>
                    </a:cubicBezTo>
                    <a:cubicBezTo>
                      <a:pt x="312447" y="57821"/>
                      <a:pt x="307975" y="47083"/>
                      <a:pt x="307975" y="92075"/>
                    </a:cubicBezTo>
                    <a:cubicBezTo>
                      <a:pt x="307975" y="143140"/>
                      <a:pt x="308946" y="135816"/>
                      <a:pt x="301625" y="165100"/>
                    </a:cubicBezTo>
                    <a:cubicBezTo>
                      <a:pt x="303742" y="169333"/>
                      <a:pt x="305627" y="173691"/>
                      <a:pt x="307975" y="177800"/>
                    </a:cubicBezTo>
                    <a:cubicBezTo>
                      <a:pt x="309868" y="181113"/>
                      <a:pt x="314071" y="183518"/>
                      <a:pt x="314325" y="187325"/>
                    </a:cubicBezTo>
                    <a:cubicBezTo>
                      <a:pt x="315173" y="200041"/>
                      <a:pt x="312208" y="212725"/>
                      <a:pt x="311150" y="225425"/>
                    </a:cubicBezTo>
                    <a:cubicBezTo>
                      <a:pt x="312208" y="232833"/>
                      <a:pt x="311768" y="240617"/>
                      <a:pt x="314325" y="247650"/>
                    </a:cubicBezTo>
                    <a:cubicBezTo>
                      <a:pt x="316133" y="252623"/>
                      <a:pt x="323598" y="255064"/>
                      <a:pt x="323850" y="260350"/>
                    </a:cubicBezTo>
                    <a:cubicBezTo>
                      <a:pt x="324609" y="276283"/>
                      <a:pt x="320059" y="306957"/>
                      <a:pt x="314325" y="327025"/>
                    </a:cubicBezTo>
                    <a:cubicBezTo>
                      <a:pt x="313406" y="330243"/>
                      <a:pt x="312208" y="333375"/>
                      <a:pt x="311150" y="336550"/>
                    </a:cubicBezTo>
                    <a:cubicBezTo>
                      <a:pt x="306481" y="392580"/>
                      <a:pt x="307975" y="361906"/>
                      <a:pt x="307975" y="428625"/>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29" name="Freeform: Shape 328">
                <a:extLst>
                  <a:ext uri="{FF2B5EF4-FFF2-40B4-BE49-F238E27FC236}">
                    <a16:creationId xmlns:a16="http://schemas.microsoft.com/office/drawing/2014/main" id="{7B58C29E-93B7-49FB-A69B-06F64D6CECA0}"/>
                  </a:ext>
                </a:extLst>
              </p:cNvPr>
              <p:cNvSpPr/>
              <p:nvPr/>
            </p:nvSpPr>
            <p:spPr bwMode="gray">
              <a:xfrm>
                <a:off x="7464425" y="1809750"/>
                <a:ext cx="114300" cy="130735"/>
              </a:xfrm>
              <a:custGeom>
                <a:avLst/>
                <a:gdLst>
                  <a:gd name="connsiteX0" fmla="*/ 0 w 114300"/>
                  <a:gd name="connsiteY0" fmla="*/ 44450 h 115228"/>
                  <a:gd name="connsiteX1" fmla="*/ 31750 w 114300"/>
                  <a:gd name="connsiteY1" fmla="*/ 79375 h 115228"/>
                  <a:gd name="connsiteX2" fmla="*/ 53975 w 114300"/>
                  <a:gd name="connsiteY2" fmla="*/ 101600 h 115228"/>
                  <a:gd name="connsiteX3" fmla="*/ 60325 w 114300"/>
                  <a:gd name="connsiteY3" fmla="*/ 114300 h 115228"/>
                  <a:gd name="connsiteX4" fmla="*/ 66675 w 114300"/>
                  <a:gd name="connsiteY4" fmla="*/ 53975 h 115228"/>
                  <a:gd name="connsiteX5" fmla="*/ 88900 w 114300"/>
                  <a:gd name="connsiteY5" fmla="*/ 25400 h 115228"/>
                  <a:gd name="connsiteX6" fmla="*/ 101600 w 114300"/>
                  <a:gd name="connsiteY6" fmla="*/ 15875 h 115228"/>
                  <a:gd name="connsiteX7" fmla="*/ 114300 w 114300"/>
                  <a:gd name="connsiteY7" fmla="*/ 0 h 115228"/>
                  <a:gd name="connsiteX0" fmla="*/ 0 w 114300"/>
                  <a:gd name="connsiteY0" fmla="*/ 44450 h 130735"/>
                  <a:gd name="connsiteX1" fmla="*/ 31750 w 114300"/>
                  <a:gd name="connsiteY1" fmla="*/ 79375 h 130735"/>
                  <a:gd name="connsiteX2" fmla="*/ 53975 w 114300"/>
                  <a:gd name="connsiteY2" fmla="*/ 101600 h 130735"/>
                  <a:gd name="connsiteX3" fmla="*/ 66675 w 114300"/>
                  <a:gd name="connsiteY3" fmla="*/ 130175 h 130735"/>
                  <a:gd name="connsiteX4" fmla="*/ 66675 w 114300"/>
                  <a:gd name="connsiteY4" fmla="*/ 53975 h 130735"/>
                  <a:gd name="connsiteX5" fmla="*/ 88900 w 114300"/>
                  <a:gd name="connsiteY5" fmla="*/ 25400 h 130735"/>
                  <a:gd name="connsiteX6" fmla="*/ 101600 w 114300"/>
                  <a:gd name="connsiteY6" fmla="*/ 15875 h 130735"/>
                  <a:gd name="connsiteX7" fmla="*/ 114300 w 114300"/>
                  <a:gd name="connsiteY7" fmla="*/ 0 h 130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300" h="130735">
                    <a:moveTo>
                      <a:pt x="0" y="44450"/>
                    </a:moveTo>
                    <a:lnTo>
                      <a:pt x="31750" y="79375"/>
                    </a:lnTo>
                    <a:cubicBezTo>
                      <a:pt x="39158" y="86783"/>
                      <a:pt x="48154" y="93133"/>
                      <a:pt x="53975" y="101600"/>
                    </a:cubicBezTo>
                    <a:cubicBezTo>
                      <a:pt x="59796" y="110067"/>
                      <a:pt x="65455" y="134748"/>
                      <a:pt x="66675" y="130175"/>
                    </a:cubicBezTo>
                    <a:cubicBezTo>
                      <a:pt x="71885" y="110638"/>
                      <a:pt x="62971" y="71437"/>
                      <a:pt x="66675" y="53975"/>
                    </a:cubicBezTo>
                    <a:cubicBezTo>
                      <a:pt x="70379" y="36513"/>
                      <a:pt x="80746" y="34295"/>
                      <a:pt x="88900" y="25400"/>
                    </a:cubicBezTo>
                    <a:cubicBezTo>
                      <a:pt x="92476" y="21499"/>
                      <a:pt x="97858" y="19617"/>
                      <a:pt x="101600" y="15875"/>
                    </a:cubicBezTo>
                    <a:cubicBezTo>
                      <a:pt x="106392" y="11083"/>
                      <a:pt x="110067" y="5292"/>
                      <a:pt x="114300" y="0"/>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30" name="Freeform: Shape 329">
                <a:extLst>
                  <a:ext uri="{FF2B5EF4-FFF2-40B4-BE49-F238E27FC236}">
                    <a16:creationId xmlns:a16="http://schemas.microsoft.com/office/drawing/2014/main" id="{A70B9C0A-570C-40ED-8C7C-DE2049417386}"/>
                  </a:ext>
                </a:extLst>
              </p:cNvPr>
              <p:cNvSpPr/>
              <p:nvPr/>
            </p:nvSpPr>
            <p:spPr bwMode="gray">
              <a:xfrm>
                <a:off x="7639050" y="1898650"/>
                <a:ext cx="142875" cy="88900"/>
              </a:xfrm>
              <a:custGeom>
                <a:avLst/>
                <a:gdLst>
                  <a:gd name="connsiteX0" fmla="*/ 0 w 142875"/>
                  <a:gd name="connsiteY0" fmla="*/ 88900 h 88900"/>
                  <a:gd name="connsiteX1" fmla="*/ 60325 w 142875"/>
                  <a:gd name="connsiteY1" fmla="*/ 73025 h 88900"/>
                  <a:gd name="connsiteX2" fmla="*/ 142875 w 142875"/>
                  <a:gd name="connsiteY2" fmla="*/ 0 h 88900"/>
                </a:gdLst>
                <a:ahLst/>
                <a:cxnLst>
                  <a:cxn ang="0">
                    <a:pos x="connsiteX0" y="connsiteY0"/>
                  </a:cxn>
                  <a:cxn ang="0">
                    <a:pos x="connsiteX1" y="connsiteY1"/>
                  </a:cxn>
                  <a:cxn ang="0">
                    <a:pos x="connsiteX2" y="connsiteY2"/>
                  </a:cxn>
                </a:cxnLst>
                <a:rect l="l" t="t" r="r" b="b"/>
                <a:pathLst>
                  <a:path w="142875" h="88900">
                    <a:moveTo>
                      <a:pt x="0" y="88900"/>
                    </a:moveTo>
                    <a:lnTo>
                      <a:pt x="60325" y="73025"/>
                    </a:lnTo>
                    <a:lnTo>
                      <a:pt x="142875"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31" name="Freeform: Shape 330">
                <a:extLst>
                  <a:ext uri="{FF2B5EF4-FFF2-40B4-BE49-F238E27FC236}">
                    <a16:creationId xmlns:a16="http://schemas.microsoft.com/office/drawing/2014/main" id="{FB8240F5-E6BA-4362-8AD8-83FAB9A8F349}"/>
                  </a:ext>
                </a:extLst>
              </p:cNvPr>
              <p:cNvSpPr/>
              <p:nvPr/>
            </p:nvSpPr>
            <p:spPr bwMode="gray">
              <a:xfrm>
                <a:off x="7743825" y="1825625"/>
                <a:ext cx="292100" cy="117475"/>
              </a:xfrm>
              <a:custGeom>
                <a:avLst/>
                <a:gdLst>
                  <a:gd name="connsiteX0" fmla="*/ 0 w 292100"/>
                  <a:gd name="connsiteY0" fmla="*/ 31750 h 117475"/>
                  <a:gd name="connsiteX1" fmla="*/ 41275 w 292100"/>
                  <a:gd name="connsiteY1" fmla="*/ 73025 h 117475"/>
                  <a:gd name="connsiteX2" fmla="*/ 104775 w 292100"/>
                  <a:gd name="connsiteY2" fmla="*/ 111125 h 117475"/>
                  <a:gd name="connsiteX3" fmla="*/ 152400 w 292100"/>
                  <a:gd name="connsiteY3" fmla="*/ 98425 h 117475"/>
                  <a:gd name="connsiteX4" fmla="*/ 190500 w 292100"/>
                  <a:gd name="connsiteY4" fmla="*/ 117475 h 117475"/>
                  <a:gd name="connsiteX5" fmla="*/ 292100 w 292100"/>
                  <a:gd name="connsiteY5" fmla="*/ 0 h 11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100" h="117475">
                    <a:moveTo>
                      <a:pt x="0" y="31750"/>
                    </a:moveTo>
                    <a:lnTo>
                      <a:pt x="41275" y="73025"/>
                    </a:lnTo>
                    <a:lnTo>
                      <a:pt x="104775" y="111125"/>
                    </a:lnTo>
                    <a:lnTo>
                      <a:pt x="152400" y="98425"/>
                    </a:lnTo>
                    <a:lnTo>
                      <a:pt x="190500" y="117475"/>
                    </a:lnTo>
                    <a:lnTo>
                      <a:pt x="29210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32" name="Freeform: Shape 331">
                <a:extLst>
                  <a:ext uri="{FF2B5EF4-FFF2-40B4-BE49-F238E27FC236}">
                    <a16:creationId xmlns:a16="http://schemas.microsoft.com/office/drawing/2014/main" id="{B1B2F1C1-3EC4-4E05-A71B-3E6EBB01B52C}"/>
                  </a:ext>
                </a:extLst>
              </p:cNvPr>
              <p:cNvSpPr/>
              <p:nvPr/>
            </p:nvSpPr>
            <p:spPr bwMode="gray">
              <a:xfrm>
                <a:off x="7931150" y="1762125"/>
                <a:ext cx="60325" cy="123825"/>
              </a:xfrm>
              <a:custGeom>
                <a:avLst/>
                <a:gdLst>
                  <a:gd name="connsiteX0" fmla="*/ 3175 w 60325"/>
                  <a:gd name="connsiteY0" fmla="*/ 0 h 123825"/>
                  <a:gd name="connsiteX1" fmla="*/ 0 w 60325"/>
                  <a:gd name="connsiteY1" fmla="*/ 31750 h 123825"/>
                  <a:gd name="connsiteX2" fmla="*/ 34925 w 60325"/>
                  <a:gd name="connsiteY2" fmla="*/ 57150 h 123825"/>
                  <a:gd name="connsiteX3" fmla="*/ 60325 w 60325"/>
                  <a:gd name="connsiteY3" fmla="*/ 123825 h 123825"/>
                </a:gdLst>
                <a:ahLst/>
                <a:cxnLst>
                  <a:cxn ang="0">
                    <a:pos x="connsiteX0" y="connsiteY0"/>
                  </a:cxn>
                  <a:cxn ang="0">
                    <a:pos x="connsiteX1" y="connsiteY1"/>
                  </a:cxn>
                  <a:cxn ang="0">
                    <a:pos x="connsiteX2" y="connsiteY2"/>
                  </a:cxn>
                  <a:cxn ang="0">
                    <a:pos x="connsiteX3" y="connsiteY3"/>
                  </a:cxn>
                </a:cxnLst>
                <a:rect l="l" t="t" r="r" b="b"/>
                <a:pathLst>
                  <a:path w="60325" h="123825">
                    <a:moveTo>
                      <a:pt x="3175" y="0"/>
                    </a:moveTo>
                    <a:lnTo>
                      <a:pt x="0" y="31750"/>
                    </a:lnTo>
                    <a:lnTo>
                      <a:pt x="34925" y="57150"/>
                    </a:lnTo>
                    <a:lnTo>
                      <a:pt x="60325" y="123825"/>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33" name="Freeform: Shape 332">
                <a:extLst>
                  <a:ext uri="{FF2B5EF4-FFF2-40B4-BE49-F238E27FC236}">
                    <a16:creationId xmlns:a16="http://schemas.microsoft.com/office/drawing/2014/main" id="{FEE510AF-BC62-48AF-8DA5-31C12BC44825}"/>
                  </a:ext>
                </a:extLst>
              </p:cNvPr>
              <p:cNvSpPr/>
              <p:nvPr/>
            </p:nvSpPr>
            <p:spPr bwMode="gray">
              <a:xfrm>
                <a:off x="7718425" y="1943100"/>
                <a:ext cx="63500" cy="76200"/>
              </a:xfrm>
              <a:custGeom>
                <a:avLst/>
                <a:gdLst>
                  <a:gd name="connsiteX0" fmla="*/ 0 w 63500"/>
                  <a:gd name="connsiteY0" fmla="*/ 0 h 76200"/>
                  <a:gd name="connsiteX1" fmla="*/ 44450 w 63500"/>
                  <a:gd name="connsiteY1" fmla="*/ 41275 h 76200"/>
                  <a:gd name="connsiteX2" fmla="*/ 44450 w 63500"/>
                  <a:gd name="connsiteY2" fmla="*/ 41275 h 76200"/>
                  <a:gd name="connsiteX3" fmla="*/ 63500 w 63500"/>
                  <a:gd name="connsiteY3" fmla="*/ 76200 h 76200"/>
                </a:gdLst>
                <a:ahLst/>
                <a:cxnLst>
                  <a:cxn ang="0">
                    <a:pos x="connsiteX0" y="connsiteY0"/>
                  </a:cxn>
                  <a:cxn ang="0">
                    <a:pos x="connsiteX1" y="connsiteY1"/>
                  </a:cxn>
                  <a:cxn ang="0">
                    <a:pos x="connsiteX2" y="connsiteY2"/>
                  </a:cxn>
                  <a:cxn ang="0">
                    <a:pos x="connsiteX3" y="connsiteY3"/>
                  </a:cxn>
                </a:cxnLst>
                <a:rect l="l" t="t" r="r" b="b"/>
                <a:pathLst>
                  <a:path w="63500" h="76200">
                    <a:moveTo>
                      <a:pt x="0" y="0"/>
                    </a:moveTo>
                    <a:lnTo>
                      <a:pt x="44450" y="41275"/>
                    </a:lnTo>
                    <a:lnTo>
                      <a:pt x="44450" y="41275"/>
                    </a:lnTo>
                    <a:lnTo>
                      <a:pt x="63500" y="7620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34" name="Freeform: Shape 333">
                <a:extLst>
                  <a:ext uri="{FF2B5EF4-FFF2-40B4-BE49-F238E27FC236}">
                    <a16:creationId xmlns:a16="http://schemas.microsoft.com/office/drawing/2014/main" id="{3410ED08-2F8C-4444-8EEB-7553D2B663A7}"/>
                  </a:ext>
                </a:extLst>
              </p:cNvPr>
              <p:cNvSpPr/>
              <p:nvPr/>
            </p:nvSpPr>
            <p:spPr bwMode="gray">
              <a:xfrm>
                <a:off x="7934325" y="1936750"/>
                <a:ext cx="314325" cy="339725"/>
              </a:xfrm>
              <a:custGeom>
                <a:avLst/>
                <a:gdLst>
                  <a:gd name="connsiteX0" fmla="*/ 0 w 314325"/>
                  <a:gd name="connsiteY0" fmla="*/ 0 h 339725"/>
                  <a:gd name="connsiteX1" fmla="*/ 6350 w 314325"/>
                  <a:gd name="connsiteY1" fmla="*/ 82550 h 339725"/>
                  <a:gd name="connsiteX2" fmla="*/ 28575 w 314325"/>
                  <a:gd name="connsiteY2" fmla="*/ 142875 h 339725"/>
                  <a:gd name="connsiteX3" fmla="*/ 107950 w 314325"/>
                  <a:gd name="connsiteY3" fmla="*/ 139700 h 339725"/>
                  <a:gd name="connsiteX4" fmla="*/ 149225 w 314325"/>
                  <a:gd name="connsiteY4" fmla="*/ 168275 h 339725"/>
                  <a:gd name="connsiteX5" fmla="*/ 196850 w 314325"/>
                  <a:gd name="connsiteY5" fmla="*/ 168275 h 339725"/>
                  <a:gd name="connsiteX6" fmla="*/ 228600 w 314325"/>
                  <a:gd name="connsiteY6" fmla="*/ 193675 h 339725"/>
                  <a:gd name="connsiteX7" fmla="*/ 279400 w 314325"/>
                  <a:gd name="connsiteY7" fmla="*/ 193675 h 339725"/>
                  <a:gd name="connsiteX8" fmla="*/ 314325 w 314325"/>
                  <a:gd name="connsiteY8" fmla="*/ 212725 h 339725"/>
                  <a:gd name="connsiteX9" fmla="*/ 298450 w 314325"/>
                  <a:gd name="connsiteY9" fmla="*/ 339725 h 339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325" h="339725">
                    <a:moveTo>
                      <a:pt x="0" y="0"/>
                    </a:moveTo>
                    <a:lnTo>
                      <a:pt x="6350" y="82550"/>
                    </a:lnTo>
                    <a:lnTo>
                      <a:pt x="28575" y="142875"/>
                    </a:lnTo>
                    <a:lnTo>
                      <a:pt x="107950" y="139700"/>
                    </a:lnTo>
                    <a:lnTo>
                      <a:pt x="149225" y="168275"/>
                    </a:lnTo>
                    <a:lnTo>
                      <a:pt x="196850" y="168275"/>
                    </a:lnTo>
                    <a:lnTo>
                      <a:pt x="228600" y="193675"/>
                    </a:lnTo>
                    <a:lnTo>
                      <a:pt x="279400" y="193675"/>
                    </a:lnTo>
                    <a:lnTo>
                      <a:pt x="314325" y="212725"/>
                    </a:lnTo>
                    <a:lnTo>
                      <a:pt x="298450" y="339725"/>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35" name="Freeform: Shape 334">
                <a:extLst>
                  <a:ext uri="{FF2B5EF4-FFF2-40B4-BE49-F238E27FC236}">
                    <a16:creationId xmlns:a16="http://schemas.microsoft.com/office/drawing/2014/main" id="{9C59F8A5-A492-4594-8FC7-CA18FC1AD242}"/>
                  </a:ext>
                </a:extLst>
              </p:cNvPr>
              <p:cNvSpPr/>
              <p:nvPr/>
            </p:nvSpPr>
            <p:spPr bwMode="gray">
              <a:xfrm>
                <a:off x="8245475" y="1949450"/>
                <a:ext cx="812800" cy="196850"/>
              </a:xfrm>
              <a:custGeom>
                <a:avLst/>
                <a:gdLst>
                  <a:gd name="connsiteX0" fmla="*/ 0 w 812800"/>
                  <a:gd name="connsiteY0" fmla="*/ 196850 h 196850"/>
                  <a:gd name="connsiteX1" fmla="*/ 79375 w 812800"/>
                  <a:gd name="connsiteY1" fmla="*/ 155575 h 196850"/>
                  <a:gd name="connsiteX2" fmla="*/ 133350 w 812800"/>
                  <a:gd name="connsiteY2" fmla="*/ 168275 h 196850"/>
                  <a:gd name="connsiteX3" fmla="*/ 165100 w 812800"/>
                  <a:gd name="connsiteY3" fmla="*/ 146050 h 196850"/>
                  <a:gd name="connsiteX4" fmla="*/ 279400 w 812800"/>
                  <a:gd name="connsiteY4" fmla="*/ 161925 h 196850"/>
                  <a:gd name="connsiteX5" fmla="*/ 358775 w 812800"/>
                  <a:gd name="connsiteY5" fmla="*/ 136525 h 196850"/>
                  <a:gd name="connsiteX6" fmla="*/ 504825 w 812800"/>
                  <a:gd name="connsiteY6" fmla="*/ 149225 h 196850"/>
                  <a:gd name="connsiteX7" fmla="*/ 596900 w 812800"/>
                  <a:gd name="connsiteY7" fmla="*/ 146050 h 196850"/>
                  <a:gd name="connsiteX8" fmla="*/ 628650 w 812800"/>
                  <a:gd name="connsiteY8" fmla="*/ 123825 h 196850"/>
                  <a:gd name="connsiteX9" fmla="*/ 695325 w 812800"/>
                  <a:gd name="connsiteY9" fmla="*/ 130175 h 196850"/>
                  <a:gd name="connsiteX10" fmla="*/ 708025 w 812800"/>
                  <a:gd name="connsiteY10" fmla="*/ 107950 h 196850"/>
                  <a:gd name="connsiteX11" fmla="*/ 812800 w 812800"/>
                  <a:gd name="connsiteY11" fmla="*/ 111125 h 196850"/>
                  <a:gd name="connsiteX12" fmla="*/ 803275 w 812800"/>
                  <a:gd name="connsiteY12" fmla="*/ 0 h 196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12800" h="196850">
                    <a:moveTo>
                      <a:pt x="0" y="196850"/>
                    </a:moveTo>
                    <a:lnTo>
                      <a:pt x="79375" y="155575"/>
                    </a:lnTo>
                    <a:lnTo>
                      <a:pt x="133350" y="168275"/>
                    </a:lnTo>
                    <a:lnTo>
                      <a:pt x="165100" y="146050"/>
                    </a:lnTo>
                    <a:lnTo>
                      <a:pt x="279400" y="161925"/>
                    </a:lnTo>
                    <a:lnTo>
                      <a:pt x="358775" y="136525"/>
                    </a:lnTo>
                    <a:lnTo>
                      <a:pt x="504825" y="149225"/>
                    </a:lnTo>
                    <a:lnTo>
                      <a:pt x="596900" y="146050"/>
                    </a:lnTo>
                    <a:lnTo>
                      <a:pt x="628650" y="123825"/>
                    </a:lnTo>
                    <a:lnTo>
                      <a:pt x="695325" y="130175"/>
                    </a:lnTo>
                    <a:lnTo>
                      <a:pt x="708025" y="107950"/>
                    </a:lnTo>
                    <a:lnTo>
                      <a:pt x="812800" y="111125"/>
                    </a:lnTo>
                    <a:lnTo>
                      <a:pt x="803275"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36" name="Freeform: Shape 335">
                <a:extLst>
                  <a:ext uri="{FF2B5EF4-FFF2-40B4-BE49-F238E27FC236}">
                    <a16:creationId xmlns:a16="http://schemas.microsoft.com/office/drawing/2014/main" id="{46256D29-EC3C-455E-8EC9-090EBBF1C834}"/>
                  </a:ext>
                </a:extLst>
              </p:cNvPr>
              <p:cNvSpPr/>
              <p:nvPr/>
            </p:nvSpPr>
            <p:spPr bwMode="gray">
              <a:xfrm>
                <a:off x="9139745" y="2047740"/>
                <a:ext cx="29786" cy="25551"/>
              </a:xfrm>
              <a:custGeom>
                <a:avLst/>
                <a:gdLst>
                  <a:gd name="connsiteX0" fmla="*/ 1080 w 29786"/>
                  <a:gd name="connsiteY0" fmla="*/ 135 h 25551"/>
                  <a:gd name="connsiteX1" fmla="*/ 7430 w 29786"/>
                  <a:gd name="connsiteY1" fmla="*/ 16010 h 25551"/>
                  <a:gd name="connsiteX2" fmla="*/ 29655 w 29786"/>
                  <a:gd name="connsiteY2" fmla="*/ 25535 h 25551"/>
                  <a:gd name="connsiteX3" fmla="*/ 1080 w 29786"/>
                  <a:gd name="connsiteY3" fmla="*/ 135 h 25551"/>
                </a:gdLst>
                <a:ahLst/>
                <a:cxnLst>
                  <a:cxn ang="0">
                    <a:pos x="connsiteX0" y="connsiteY0"/>
                  </a:cxn>
                  <a:cxn ang="0">
                    <a:pos x="connsiteX1" y="connsiteY1"/>
                  </a:cxn>
                  <a:cxn ang="0">
                    <a:pos x="connsiteX2" y="connsiteY2"/>
                  </a:cxn>
                  <a:cxn ang="0">
                    <a:pos x="connsiteX3" y="connsiteY3"/>
                  </a:cxn>
                </a:cxnLst>
                <a:rect l="l" t="t" r="r" b="b"/>
                <a:pathLst>
                  <a:path w="29786" h="25551">
                    <a:moveTo>
                      <a:pt x="1080" y="135"/>
                    </a:moveTo>
                    <a:cubicBezTo>
                      <a:pt x="-2624" y="-1452"/>
                      <a:pt x="4117" y="11372"/>
                      <a:pt x="7430" y="16010"/>
                    </a:cubicBezTo>
                    <a:cubicBezTo>
                      <a:pt x="12662" y="23334"/>
                      <a:pt x="22315" y="23088"/>
                      <a:pt x="29655" y="25535"/>
                    </a:cubicBezTo>
                    <a:cubicBezTo>
                      <a:pt x="31900" y="26283"/>
                      <a:pt x="4784" y="1722"/>
                      <a:pt x="1080" y="135"/>
                    </a:cubicBezTo>
                    <a:close/>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37" name="Freeform: Shape 336">
                <a:extLst>
                  <a:ext uri="{FF2B5EF4-FFF2-40B4-BE49-F238E27FC236}">
                    <a16:creationId xmlns:a16="http://schemas.microsoft.com/office/drawing/2014/main" id="{024961ED-7660-4738-94E0-ED48E281C576}"/>
                  </a:ext>
                </a:extLst>
              </p:cNvPr>
              <p:cNvSpPr/>
              <p:nvPr/>
            </p:nvSpPr>
            <p:spPr bwMode="gray">
              <a:xfrm>
                <a:off x="9080500" y="2035175"/>
                <a:ext cx="28575" cy="41275"/>
              </a:xfrm>
              <a:custGeom>
                <a:avLst/>
                <a:gdLst>
                  <a:gd name="connsiteX0" fmla="*/ 0 w 28575"/>
                  <a:gd name="connsiteY0" fmla="*/ 0 h 41275"/>
                  <a:gd name="connsiteX1" fmla="*/ 15875 w 28575"/>
                  <a:gd name="connsiteY1" fmla="*/ 9525 h 41275"/>
                  <a:gd name="connsiteX2" fmla="*/ 25400 w 28575"/>
                  <a:gd name="connsiteY2" fmla="*/ 34925 h 41275"/>
                  <a:gd name="connsiteX3" fmla="*/ 28575 w 28575"/>
                  <a:gd name="connsiteY3" fmla="*/ 41275 h 41275"/>
                </a:gdLst>
                <a:ahLst/>
                <a:cxnLst>
                  <a:cxn ang="0">
                    <a:pos x="connsiteX0" y="connsiteY0"/>
                  </a:cxn>
                  <a:cxn ang="0">
                    <a:pos x="connsiteX1" y="connsiteY1"/>
                  </a:cxn>
                  <a:cxn ang="0">
                    <a:pos x="connsiteX2" y="connsiteY2"/>
                  </a:cxn>
                  <a:cxn ang="0">
                    <a:pos x="connsiteX3" y="connsiteY3"/>
                  </a:cxn>
                </a:cxnLst>
                <a:rect l="l" t="t" r="r" b="b"/>
                <a:pathLst>
                  <a:path w="28575" h="41275">
                    <a:moveTo>
                      <a:pt x="0" y="0"/>
                    </a:moveTo>
                    <a:cubicBezTo>
                      <a:pt x="5292" y="3175"/>
                      <a:pt x="12245" y="4534"/>
                      <a:pt x="15875" y="9525"/>
                    </a:cubicBezTo>
                    <a:cubicBezTo>
                      <a:pt x="21193" y="16838"/>
                      <a:pt x="22042" y="26529"/>
                      <a:pt x="25400" y="34925"/>
                    </a:cubicBezTo>
                    <a:cubicBezTo>
                      <a:pt x="26279" y="37122"/>
                      <a:pt x="27517" y="39158"/>
                      <a:pt x="28575" y="41275"/>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38" name="Freeform: Shape 337">
                <a:extLst>
                  <a:ext uri="{FF2B5EF4-FFF2-40B4-BE49-F238E27FC236}">
                    <a16:creationId xmlns:a16="http://schemas.microsoft.com/office/drawing/2014/main" id="{079D0832-B010-4A7B-9517-55AE73EF72E1}"/>
                  </a:ext>
                </a:extLst>
              </p:cNvPr>
              <p:cNvSpPr/>
              <p:nvPr/>
            </p:nvSpPr>
            <p:spPr bwMode="gray">
              <a:xfrm>
                <a:off x="8702675" y="2089150"/>
                <a:ext cx="114636" cy="542925"/>
              </a:xfrm>
              <a:custGeom>
                <a:avLst/>
                <a:gdLst>
                  <a:gd name="connsiteX0" fmla="*/ 0 w 114636"/>
                  <a:gd name="connsiteY0" fmla="*/ 0 h 542925"/>
                  <a:gd name="connsiteX1" fmla="*/ 22225 w 114636"/>
                  <a:gd name="connsiteY1" fmla="*/ 82550 h 542925"/>
                  <a:gd name="connsiteX2" fmla="*/ 15875 w 114636"/>
                  <a:gd name="connsiteY2" fmla="*/ 174625 h 542925"/>
                  <a:gd name="connsiteX3" fmla="*/ 19050 w 114636"/>
                  <a:gd name="connsiteY3" fmla="*/ 193675 h 542925"/>
                  <a:gd name="connsiteX4" fmla="*/ 22225 w 114636"/>
                  <a:gd name="connsiteY4" fmla="*/ 244475 h 542925"/>
                  <a:gd name="connsiteX5" fmla="*/ 19050 w 114636"/>
                  <a:gd name="connsiteY5" fmla="*/ 273050 h 542925"/>
                  <a:gd name="connsiteX6" fmla="*/ 22225 w 114636"/>
                  <a:gd name="connsiteY6" fmla="*/ 304800 h 542925"/>
                  <a:gd name="connsiteX7" fmla="*/ 28575 w 114636"/>
                  <a:gd name="connsiteY7" fmla="*/ 314325 h 542925"/>
                  <a:gd name="connsiteX8" fmla="*/ 57150 w 114636"/>
                  <a:gd name="connsiteY8" fmla="*/ 330200 h 542925"/>
                  <a:gd name="connsiteX9" fmla="*/ 63500 w 114636"/>
                  <a:gd name="connsiteY9" fmla="*/ 361950 h 542925"/>
                  <a:gd name="connsiteX10" fmla="*/ 66675 w 114636"/>
                  <a:gd name="connsiteY10" fmla="*/ 374650 h 542925"/>
                  <a:gd name="connsiteX11" fmla="*/ 73025 w 114636"/>
                  <a:gd name="connsiteY11" fmla="*/ 384175 h 542925"/>
                  <a:gd name="connsiteX12" fmla="*/ 76200 w 114636"/>
                  <a:gd name="connsiteY12" fmla="*/ 403225 h 542925"/>
                  <a:gd name="connsiteX13" fmla="*/ 85725 w 114636"/>
                  <a:gd name="connsiteY13" fmla="*/ 425450 h 542925"/>
                  <a:gd name="connsiteX14" fmla="*/ 88900 w 114636"/>
                  <a:gd name="connsiteY14" fmla="*/ 450850 h 542925"/>
                  <a:gd name="connsiteX15" fmla="*/ 95250 w 114636"/>
                  <a:gd name="connsiteY15" fmla="*/ 463550 h 542925"/>
                  <a:gd name="connsiteX16" fmla="*/ 104775 w 114636"/>
                  <a:gd name="connsiteY16" fmla="*/ 488950 h 542925"/>
                  <a:gd name="connsiteX17" fmla="*/ 107950 w 114636"/>
                  <a:gd name="connsiteY17" fmla="*/ 508000 h 542925"/>
                  <a:gd name="connsiteX18" fmla="*/ 114300 w 114636"/>
                  <a:gd name="connsiteY18" fmla="*/ 530225 h 542925"/>
                  <a:gd name="connsiteX19" fmla="*/ 114300 w 114636"/>
                  <a:gd name="connsiteY19" fmla="*/ 542925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4636" h="542925">
                    <a:moveTo>
                      <a:pt x="0" y="0"/>
                    </a:moveTo>
                    <a:lnTo>
                      <a:pt x="22225" y="82550"/>
                    </a:lnTo>
                    <a:cubicBezTo>
                      <a:pt x="21031" y="98071"/>
                      <a:pt x="15875" y="162518"/>
                      <a:pt x="15875" y="174625"/>
                    </a:cubicBezTo>
                    <a:cubicBezTo>
                      <a:pt x="15875" y="181063"/>
                      <a:pt x="17992" y="187325"/>
                      <a:pt x="19050" y="193675"/>
                    </a:cubicBezTo>
                    <a:cubicBezTo>
                      <a:pt x="20108" y="210608"/>
                      <a:pt x="22225" y="227509"/>
                      <a:pt x="22225" y="244475"/>
                    </a:cubicBezTo>
                    <a:cubicBezTo>
                      <a:pt x="22225" y="254059"/>
                      <a:pt x="19050" y="263466"/>
                      <a:pt x="19050" y="273050"/>
                    </a:cubicBezTo>
                    <a:cubicBezTo>
                      <a:pt x="19050" y="283686"/>
                      <a:pt x="19833" y="294436"/>
                      <a:pt x="22225" y="304800"/>
                    </a:cubicBezTo>
                    <a:cubicBezTo>
                      <a:pt x="23083" y="308518"/>
                      <a:pt x="25703" y="311812"/>
                      <a:pt x="28575" y="314325"/>
                    </a:cubicBezTo>
                    <a:cubicBezTo>
                      <a:pt x="42012" y="326082"/>
                      <a:pt x="44068" y="325839"/>
                      <a:pt x="57150" y="330200"/>
                    </a:cubicBezTo>
                    <a:cubicBezTo>
                      <a:pt x="59267" y="340783"/>
                      <a:pt x="61239" y="351397"/>
                      <a:pt x="63500" y="361950"/>
                    </a:cubicBezTo>
                    <a:cubicBezTo>
                      <a:pt x="64414" y="366217"/>
                      <a:pt x="64956" y="370639"/>
                      <a:pt x="66675" y="374650"/>
                    </a:cubicBezTo>
                    <a:cubicBezTo>
                      <a:pt x="68178" y="378157"/>
                      <a:pt x="70908" y="381000"/>
                      <a:pt x="73025" y="384175"/>
                    </a:cubicBezTo>
                    <a:cubicBezTo>
                      <a:pt x="74083" y="390525"/>
                      <a:pt x="74307" y="397072"/>
                      <a:pt x="76200" y="403225"/>
                    </a:cubicBezTo>
                    <a:cubicBezTo>
                      <a:pt x="78570" y="410929"/>
                      <a:pt x="83648" y="417662"/>
                      <a:pt x="85725" y="425450"/>
                    </a:cubicBezTo>
                    <a:cubicBezTo>
                      <a:pt x="87924" y="433694"/>
                      <a:pt x="86831" y="442572"/>
                      <a:pt x="88900" y="450850"/>
                    </a:cubicBezTo>
                    <a:cubicBezTo>
                      <a:pt x="90048" y="455442"/>
                      <a:pt x="93588" y="459118"/>
                      <a:pt x="95250" y="463550"/>
                    </a:cubicBezTo>
                    <a:cubicBezTo>
                      <a:pt x="108219" y="498133"/>
                      <a:pt x="87096" y="453592"/>
                      <a:pt x="104775" y="488950"/>
                    </a:cubicBezTo>
                    <a:cubicBezTo>
                      <a:pt x="105833" y="495300"/>
                      <a:pt x="106502" y="501727"/>
                      <a:pt x="107950" y="508000"/>
                    </a:cubicBezTo>
                    <a:cubicBezTo>
                      <a:pt x="109682" y="515507"/>
                      <a:pt x="112922" y="522644"/>
                      <a:pt x="114300" y="530225"/>
                    </a:cubicBezTo>
                    <a:cubicBezTo>
                      <a:pt x="115057" y="534390"/>
                      <a:pt x="114300" y="538692"/>
                      <a:pt x="114300" y="542925"/>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39" name="Freeform: Shape 338">
                <a:extLst>
                  <a:ext uri="{FF2B5EF4-FFF2-40B4-BE49-F238E27FC236}">
                    <a16:creationId xmlns:a16="http://schemas.microsoft.com/office/drawing/2014/main" id="{BD6F6513-1612-4E1A-8BB5-BCBFBB3856AA}"/>
                  </a:ext>
                </a:extLst>
              </p:cNvPr>
              <p:cNvSpPr/>
              <p:nvPr/>
            </p:nvSpPr>
            <p:spPr bwMode="gray">
              <a:xfrm>
                <a:off x="8166100" y="2486025"/>
                <a:ext cx="755650" cy="260350"/>
              </a:xfrm>
              <a:custGeom>
                <a:avLst/>
                <a:gdLst>
                  <a:gd name="connsiteX0" fmla="*/ 107950 w 654050"/>
                  <a:gd name="connsiteY0" fmla="*/ 0 h 260350"/>
                  <a:gd name="connsiteX1" fmla="*/ 142875 w 654050"/>
                  <a:gd name="connsiteY1" fmla="*/ 98425 h 260350"/>
                  <a:gd name="connsiteX2" fmla="*/ 120650 w 654050"/>
                  <a:gd name="connsiteY2" fmla="*/ 130175 h 260350"/>
                  <a:gd name="connsiteX3" fmla="*/ 0 w 654050"/>
                  <a:gd name="connsiteY3" fmla="*/ 120650 h 260350"/>
                  <a:gd name="connsiteX4" fmla="*/ 63500 w 654050"/>
                  <a:gd name="connsiteY4" fmla="*/ 200025 h 260350"/>
                  <a:gd name="connsiteX5" fmla="*/ 152400 w 654050"/>
                  <a:gd name="connsiteY5" fmla="*/ 225425 h 260350"/>
                  <a:gd name="connsiteX6" fmla="*/ 387350 w 654050"/>
                  <a:gd name="connsiteY6" fmla="*/ 244475 h 260350"/>
                  <a:gd name="connsiteX7" fmla="*/ 482600 w 654050"/>
                  <a:gd name="connsiteY7" fmla="*/ 260350 h 260350"/>
                  <a:gd name="connsiteX8" fmla="*/ 612775 w 654050"/>
                  <a:gd name="connsiteY8" fmla="*/ 171450 h 260350"/>
                  <a:gd name="connsiteX9" fmla="*/ 654050 w 654050"/>
                  <a:gd name="connsiteY9" fmla="*/ 149225 h 260350"/>
                  <a:gd name="connsiteX10" fmla="*/ 654050 w 654050"/>
                  <a:gd name="connsiteY10" fmla="*/ 101600 h 260350"/>
                  <a:gd name="connsiteX0" fmla="*/ 107950 w 755650"/>
                  <a:gd name="connsiteY0" fmla="*/ 0 h 260350"/>
                  <a:gd name="connsiteX1" fmla="*/ 142875 w 755650"/>
                  <a:gd name="connsiteY1" fmla="*/ 98425 h 260350"/>
                  <a:gd name="connsiteX2" fmla="*/ 120650 w 755650"/>
                  <a:gd name="connsiteY2" fmla="*/ 130175 h 260350"/>
                  <a:gd name="connsiteX3" fmla="*/ 0 w 755650"/>
                  <a:gd name="connsiteY3" fmla="*/ 120650 h 260350"/>
                  <a:gd name="connsiteX4" fmla="*/ 63500 w 755650"/>
                  <a:gd name="connsiteY4" fmla="*/ 200025 h 260350"/>
                  <a:gd name="connsiteX5" fmla="*/ 152400 w 755650"/>
                  <a:gd name="connsiteY5" fmla="*/ 225425 h 260350"/>
                  <a:gd name="connsiteX6" fmla="*/ 387350 w 755650"/>
                  <a:gd name="connsiteY6" fmla="*/ 244475 h 260350"/>
                  <a:gd name="connsiteX7" fmla="*/ 482600 w 755650"/>
                  <a:gd name="connsiteY7" fmla="*/ 260350 h 260350"/>
                  <a:gd name="connsiteX8" fmla="*/ 612775 w 755650"/>
                  <a:gd name="connsiteY8" fmla="*/ 171450 h 260350"/>
                  <a:gd name="connsiteX9" fmla="*/ 654050 w 755650"/>
                  <a:gd name="connsiteY9" fmla="*/ 149225 h 260350"/>
                  <a:gd name="connsiteX10" fmla="*/ 755650 w 755650"/>
                  <a:gd name="connsiteY10" fmla="*/ 6350 h 260350"/>
                  <a:gd name="connsiteX0" fmla="*/ 107950 w 755650"/>
                  <a:gd name="connsiteY0" fmla="*/ 0 h 260350"/>
                  <a:gd name="connsiteX1" fmla="*/ 142875 w 755650"/>
                  <a:gd name="connsiteY1" fmla="*/ 98425 h 260350"/>
                  <a:gd name="connsiteX2" fmla="*/ 120650 w 755650"/>
                  <a:gd name="connsiteY2" fmla="*/ 130175 h 260350"/>
                  <a:gd name="connsiteX3" fmla="*/ 0 w 755650"/>
                  <a:gd name="connsiteY3" fmla="*/ 120650 h 260350"/>
                  <a:gd name="connsiteX4" fmla="*/ 63500 w 755650"/>
                  <a:gd name="connsiteY4" fmla="*/ 200025 h 260350"/>
                  <a:gd name="connsiteX5" fmla="*/ 152400 w 755650"/>
                  <a:gd name="connsiteY5" fmla="*/ 225425 h 260350"/>
                  <a:gd name="connsiteX6" fmla="*/ 387350 w 755650"/>
                  <a:gd name="connsiteY6" fmla="*/ 244475 h 260350"/>
                  <a:gd name="connsiteX7" fmla="*/ 482600 w 755650"/>
                  <a:gd name="connsiteY7" fmla="*/ 260350 h 260350"/>
                  <a:gd name="connsiteX8" fmla="*/ 612775 w 755650"/>
                  <a:gd name="connsiteY8" fmla="*/ 171450 h 260350"/>
                  <a:gd name="connsiteX9" fmla="*/ 654050 w 755650"/>
                  <a:gd name="connsiteY9" fmla="*/ 149225 h 260350"/>
                  <a:gd name="connsiteX10" fmla="*/ 717550 w 755650"/>
                  <a:gd name="connsiteY10" fmla="*/ 53975 h 260350"/>
                  <a:gd name="connsiteX11" fmla="*/ 755650 w 755650"/>
                  <a:gd name="connsiteY11" fmla="*/ 6350 h 260350"/>
                  <a:gd name="connsiteX0" fmla="*/ 107950 w 755650"/>
                  <a:gd name="connsiteY0" fmla="*/ 0 h 260350"/>
                  <a:gd name="connsiteX1" fmla="*/ 142875 w 755650"/>
                  <a:gd name="connsiteY1" fmla="*/ 98425 h 260350"/>
                  <a:gd name="connsiteX2" fmla="*/ 120650 w 755650"/>
                  <a:gd name="connsiteY2" fmla="*/ 130175 h 260350"/>
                  <a:gd name="connsiteX3" fmla="*/ 0 w 755650"/>
                  <a:gd name="connsiteY3" fmla="*/ 120650 h 260350"/>
                  <a:gd name="connsiteX4" fmla="*/ 63500 w 755650"/>
                  <a:gd name="connsiteY4" fmla="*/ 200025 h 260350"/>
                  <a:gd name="connsiteX5" fmla="*/ 152400 w 755650"/>
                  <a:gd name="connsiteY5" fmla="*/ 225425 h 260350"/>
                  <a:gd name="connsiteX6" fmla="*/ 387350 w 755650"/>
                  <a:gd name="connsiteY6" fmla="*/ 244475 h 260350"/>
                  <a:gd name="connsiteX7" fmla="*/ 482600 w 755650"/>
                  <a:gd name="connsiteY7" fmla="*/ 260350 h 260350"/>
                  <a:gd name="connsiteX8" fmla="*/ 612775 w 755650"/>
                  <a:gd name="connsiteY8" fmla="*/ 171450 h 260350"/>
                  <a:gd name="connsiteX9" fmla="*/ 654050 w 755650"/>
                  <a:gd name="connsiteY9" fmla="*/ 149225 h 260350"/>
                  <a:gd name="connsiteX10" fmla="*/ 657225 w 755650"/>
                  <a:gd name="connsiteY10" fmla="*/ 98425 h 260350"/>
                  <a:gd name="connsiteX11" fmla="*/ 717550 w 755650"/>
                  <a:gd name="connsiteY11" fmla="*/ 53975 h 260350"/>
                  <a:gd name="connsiteX12" fmla="*/ 755650 w 755650"/>
                  <a:gd name="connsiteY12" fmla="*/ 6350 h 260350"/>
                  <a:gd name="connsiteX0" fmla="*/ 107950 w 755650"/>
                  <a:gd name="connsiteY0" fmla="*/ 0 h 260350"/>
                  <a:gd name="connsiteX1" fmla="*/ 187325 w 755650"/>
                  <a:gd name="connsiteY1" fmla="*/ 95250 h 260350"/>
                  <a:gd name="connsiteX2" fmla="*/ 120650 w 755650"/>
                  <a:gd name="connsiteY2" fmla="*/ 130175 h 260350"/>
                  <a:gd name="connsiteX3" fmla="*/ 0 w 755650"/>
                  <a:gd name="connsiteY3" fmla="*/ 120650 h 260350"/>
                  <a:gd name="connsiteX4" fmla="*/ 63500 w 755650"/>
                  <a:gd name="connsiteY4" fmla="*/ 200025 h 260350"/>
                  <a:gd name="connsiteX5" fmla="*/ 152400 w 755650"/>
                  <a:gd name="connsiteY5" fmla="*/ 225425 h 260350"/>
                  <a:gd name="connsiteX6" fmla="*/ 387350 w 755650"/>
                  <a:gd name="connsiteY6" fmla="*/ 244475 h 260350"/>
                  <a:gd name="connsiteX7" fmla="*/ 482600 w 755650"/>
                  <a:gd name="connsiteY7" fmla="*/ 260350 h 260350"/>
                  <a:gd name="connsiteX8" fmla="*/ 612775 w 755650"/>
                  <a:gd name="connsiteY8" fmla="*/ 171450 h 260350"/>
                  <a:gd name="connsiteX9" fmla="*/ 654050 w 755650"/>
                  <a:gd name="connsiteY9" fmla="*/ 149225 h 260350"/>
                  <a:gd name="connsiteX10" fmla="*/ 657225 w 755650"/>
                  <a:gd name="connsiteY10" fmla="*/ 98425 h 260350"/>
                  <a:gd name="connsiteX11" fmla="*/ 717550 w 755650"/>
                  <a:gd name="connsiteY11" fmla="*/ 53975 h 260350"/>
                  <a:gd name="connsiteX12" fmla="*/ 755650 w 755650"/>
                  <a:gd name="connsiteY12" fmla="*/ 6350 h 260350"/>
                  <a:gd name="connsiteX0" fmla="*/ 107950 w 755650"/>
                  <a:gd name="connsiteY0" fmla="*/ 0 h 260350"/>
                  <a:gd name="connsiteX1" fmla="*/ 187325 w 755650"/>
                  <a:gd name="connsiteY1" fmla="*/ 95250 h 260350"/>
                  <a:gd name="connsiteX2" fmla="*/ 120650 w 755650"/>
                  <a:gd name="connsiteY2" fmla="*/ 130175 h 260350"/>
                  <a:gd name="connsiteX3" fmla="*/ 0 w 755650"/>
                  <a:gd name="connsiteY3" fmla="*/ 120650 h 260350"/>
                  <a:gd name="connsiteX4" fmla="*/ 63500 w 755650"/>
                  <a:gd name="connsiteY4" fmla="*/ 200025 h 260350"/>
                  <a:gd name="connsiteX5" fmla="*/ 152400 w 755650"/>
                  <a:gd name="connsiteY5" fmla="*/ 225425 h 260350"/>
                  <a:gd name="connsiteX6" fmla="*/ 387350 w 755650"/>
                  <a:gd name="connsiteY6" fmla="*/ 244475 h 260350"/>
                  <a:gd name="connsiteX7" fmla="*/ 482600 w 755650"/>
                  <a:gd name="connsiteY7" fmla="*/ 260350 h 260350"/>
                  <a:gd name="connsiteX8" fmla="*/ 612775 w 755650"/>
                  <a:gd name="connsiteY8" fmla="*/ 171450 h 260350"/>
                  <a:gd name="connsiteX9" fmla="*/ 654050 w 755650"/>
                  <a:gd name="connsiteY9" fmla="*/ 149225 h 260350"/>
                  <a:gd name="connsiteX10" fmla="*/ 657225 w 755650"/>
                  <a:gd name="connsiteY10" fmla="*/ 98425 h 260350"/>
                  <a:gd name="connsiteX11" fmla="*/ 717550 w 755650"/>
                  <a:gd name="connsiteY11" fmla="*/ 53975 h 260350"/>
                  <a:gd name="connsiteX12" fmla="*/ 755650 w 755650"/>
                  <a:gd name="connsiteY12" fmla="*/ 6350 h 260350"/>
                  <a:gd name="connsiteX0" fmla="*/ 107950 w 755650"/>
                  <a:gd name="connsiteY0" fmla="*/ 0 h 260350"/>
                  <a:gd name="connsiteX1" fmla="*/ 187325 w 755650"/>
                  <a:gd name="connsiteY1" fmla="*/ 95250 h 260350"/>
                  <a:gd name="connsiteX2" fmla="*/ 120650 w 755650"/>
                  <a:gd name="connsiteY2" fmla="*/ 107950 h 260350"/>
                  <a:gd name="connsiteX3" fmla="*/ 0 w 755650"/>
                  <a:gd name="connsiteY3" fmla="*/ 120650 h 260350"/>
                  <a:gd name="connsiteX4" fmla="*/ 63500 w 755650"/>
                  <a:gd name="connsiteY4" fmla="*/ 200025 h 260350"/>
                  <a:gd name="connsiteX5" fmla="*/ 152400 w 755650"/>
                  <a:gd name="connsiteY5" fmla="*/ 225425 h 260350"/>
                  <a:gd name="connsiteX6" fmla="*/ 387350 w 755650"/>
                  <a:gd name="connsiteY6" fmla="*/ 244475 h 260350"/>
                  <a:gd name="connsiteX7" fmla="*/ 482600 w 755650"/>
                  <a:gd name="connsiteY7" fmla="*/ 260350 h 260350"/>
                  <a:gd name="connsiteX8" fmla="*/ 612775 w 755650"/>
                  <a:gd name="connsiteY8" fmla="*/ 171450 h 260350"/>
                  <a:gd name="connsiteX9" fmla="*/ 654050 w 755650"/>
                  <a:gd name="connsiteY9" fmla="*/ 149225 h 260350"/>
                  <a:gd name="connsiteX10" fmla="*/ 657225 w 755650"/>
                  <a:gd name="connsiteY10" fmla="*/ 98425 h 260350"/>
                  <a:gd name="connsiteX11" fmla="*/ 717550 w 755650"/>
                  <a:gd name="connsiteY11" fmla="*/ 53975 h 260350"/>
                  <a:gd name="connsiteX12" fmla="*/ 755650 w 755650"/>
                  <a:gd name="connsiteY12" fmla="*/ 6350 h 260350"/>
                  <a:gd name="connsiteX0" fmla="*/ 107950 w 755650"/>
                  <a:gd name="connsiteY0" fmla="*/ 0 h 260350"/>
                  <a:gd name="connsiteX1" fmla="*/ 187325 w 755650"/>
                  <a:gd name="connsiteY1" fmla="*/ 95250 h 260350"/>
                  <a:gd name="connsiteX2" fmla="*/ 120650 w 755650"/>
                  <a:gd name="connsiteY2" fmla="*/ 107950 h 260350"/>
                  <a:gd name="connsiteX3" fmla="*/ 107950 w 755650"/>
                  <a:gd name="connsiteY3" fmla="*/ 133350 h 260350"/>
                  <a:gd name="connsiteX4" fmla="*/ 0 w 755650"/>
                  <a:gd name="connsiteY4" fmla="*/ 120650 h 260350"/>
                  <a:gd name="connsiteX5" fmla="*/ 63500 w 755650"/>
                  <a:gd name="connsiteY5" fmla="*/ 200025 h 260350"/>
                  <a:gd name="connsiteX6" fmla="*/ 152400 w 755650"/>
                  <a:gd name="connsiteY6" fmla="*/ 225425 h 260350"/>
                  <a:gd name="connsiteX7" fmla="*/ 387350 w 755650"/>
                  <a:gd name="connsiteY7" fmla="*/ 244475 h 260350"/>
                  <a:gd name="connsiteX8" fmla="*/ 482600 w 755650"/>
                  <a:gd name="connsiteY8" fmla="*/ 260350 h 260350"/>
                  <a:gd name="connsiteX9" fmla="*/ 612775 w 755650"/>
                  <a:gd name="connsiteY9" fmla="*/ 171450 h 260350"/>
                  <a:gd name="connsiteX10" fmla="*/ 654050 w 755650"/>
                  <a:gd name="connsiteY10" fmla="*/ 149225 h 260350"/>
                  <a:gd name="connsiteX11" fmla="*/ 657225 w 755650"/>
                  <a:gd name="connsiteY11" fmla="*/ 98425 h 260350"/>
                  <a:gd name="connsiteX12" fmla="*/ 717550 w 755650"/>
                  <a:gd name="connsiteY12" fmla="*/ 53975 h 260350"/>
                  <a:gd name="connsiteX13" fmla="*/ 755650 w 755650"/>
                  <a:gd name="connsiteY13" fmla="*/ 6350 h 260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5650" h="260350">
                    <a:moveTo>
                      <a:pt x="107950" y="0"/>
                    </a:moveTo>
                    <a:cubicBezTo>
                      <a:pt x="134408" y="31750"/>
                      <a:pt x="167217" y="111125"/>
                      <a:pt x="187325" y="95250"/>
                    </a:cubicBezTo>
                    <a:lnTo>
                      <a:pt x="120650" y="107950"/>
                    </a:lnTo>
                    <a:cubicBezTo>
                      <a:pt x="98425" y="107950"/>
                      <a:pt x="130175" y="133350"/>
                      <a:pt x="107950" y="133350"/>
                    </a:cubicBezTo>
                    <a:lnTo>
                      <a:pt x="0" y="120650"/>
                    </a:lnTo>
                    <a:lnTo>
                      <a:pt x="63500" y="200025"/>
                    </a:lnTo>
                    <a:lnTo>
                      <a:pt x="152400" y="225425"/>
                    </a:lnTo>
                    <a:lnTo>
                      <a:pt x="387350" y="244475"/>
                    </a:lnTo>
                    <a:lnTo>
                      <a:pt x="482600" y="260350"/>
                    </a:lnTo>
                    <a:lnTo>
                      <a:pt x="612775" y="171450"/>
                    </a:lnTo>
                    <a:lnTo>
                      <a:pt x="654050" y="149225"/>
                    </a:lnTo>
                    <a:cubicBezTo>
                      <a:pt x="666221" y="138642"/>
                      <a:pt x="646642" y="114300"/>
                      <a:pt x="657225" y="98425"/>
                    </a:cubicBezTo>
                    <a:cubicBezTo>
                      <a:pt x="667808" y="82550"/>
                      <a:pt x="705908" y="70908"/>
                      <a:pt x="717550" y="53975"/>
                    </a:cubicBezTo>
                    <a:cubicBezTo>
                      <a:pt x="734483" y="30163"/>
                      <a:pt x="747713" y="17463"/>
                      <a:pt x="755650" y="6350"/>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40" name="Freeform: Shape 339">
                <a:extLst>
                  <a:ext uri="{FF2B5EF4-FFF2-40B4-BE49-F238E27FC236}">
                    <a16:creationId xmlns:a16="http://schemas.microsoft.com/office/drawing/2014/main" id="{085BD208-B575-4FBC-BBC5-DC2BCEA8CD0B}"/>
                  </a:ext>
                </a:extLst>
              </p:cNvPr>
              <p:cNvSpPr/>
              <p:nvPr/>
            </p:nvSpPr>
            <p:spPr bwMode="gray">
              <a:xfrm>
                <a:off x="8362950" y="2581275"/>
                <a:ext cx="95250" cy="19050"/>
              </a:xfrm>
              <a:custGeom>
                <a:avLst/>
                <a:gdLst>
                  <a:gd name="connsiteX0" fmla="*/ 0 w 171450"/>
                  <a:gd name="connsiteY0" fmla="*/ 28575 h 28575"/>
                  <a:gd name="connsiteX1" fmla="*/ 88900 w 171450"/>
                  <a:gd name="connsiteY1" fmla="*/ 0 h 28575"/>
                  <a:gd name="connsiteX2" fmla="*/ 171450 w 171450"/>
                  <a:gd name="connsiteY2" fmla="*/ 15875 h 28575"/>
                  <a:gd name="connsiteX0" fmla="*/ 0 w 82550"/>
                  <a:gd name="connsiteY0" fmla="*/ 0 h 15875"/>
                  <a:gd name="connsiteX1" fmla="*/ 82550 w 82550"/>
                  <a:gd name="connsiteY1" fmla="*/ 15875 h 15875"/>
                  <a:gd name="connsiteX0" fmla="*/ 0 w 95250"/>
                  <a:gd name="connsiteY0" fmla="*/ 0 h 19050"/>
                  <a:gd name="connsiteX1" fmla="*/ 95250 w 95250"/>
                  <a:gd name="connsiteY1" fmla="*/ 19050 h 19050"/>
                </a:gdLst>
                <a:ahLst/>
                <a:cxnLst>
                  <a:cxn ang="0">
                    <a:pos x="connsiteX0" y="connsiteY0"/>
                  </a:cxn>
                  <a:cxn ang="0">
                    <a:pos x="connsiteX1" y="connsiteY1"/>
                  </a:cxn>
                </a:cxnLst>
                <a:rect l="l" t="t" r="r" b="b"/>
                <a:pathLst>
                  <a:path w="95250" h="19050">
                    <a:moveTo>
                      <a:pt x="0" y="0"/>
                    </a:moveTo>
                    <a:lnTo>
                      <a:pt x="95250" y="1905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65" name="Freeform: Shape 364">
                <a:extLst>
                  <a:ext uri="{FF2B5EF4-FFF2-40B4-BE49-F238E27FC236}">
                    <a16:creationId xmlns:a16="http://schemas.microsoft.com/office/drawing/2014/main" id="{F6A512FD-E7C6-4D28-8C4C-70D2502FFB45}"/>
                  </a:ext>
                </a:extLst>
              </p:cNvPr>
              <p:cNvSpPr/>
              <p:nvPr/>
            </p:nvSpPr>
            <p:spPr bwMode="gray">
              <a:xfrm>
                <a:off x="7156450" y="3095625"/>
                <a:ext cx="241300" cy="231775"/>
              </a:xfrm>
              <a:custGeom>
                <a:avLst/>
                <a:gdLst>
                  <a:gd name="connsiteX0" fmla="*/ 0 w 241300"/>
                  <a:gd name="connsiteY0" fmla="*/ 231775 h 231775"/>
                  <a:gd name="connsiteX1" fmla="*/ 0 w 241300"/>
                  <a:gd name="connsiteY1" fmla="*/ 231775 h 231775"/>
                  <a:gd name="connsiteX2" fmla="*/ 19050 w 241300"/>
                  <a:gd name="connsiteY2" fmla="*/ 161925 h 231775"/>
                  <a:gd name="connsiteX3" fmla="*/ 107950 w 241300"/>
                  <a:gd name="connsiteY3" fmla="*/ 63500 h 231775"/>
                  <a:gd name="connsiteX4" fmla="*/ 165100 w 241300"/>
                  <a:gd name="connsiteY4" fmla="*/ 25400 h 231775"/>
                  <a:gd name="connsiteX5" fmla="*/ 206375 w 241300"/>
                  <a:gd name="connsiteY5" fmla="*/ 25400 h 231775"/>
                  <a:gd name="connsiteX6" fmla="*/ 241300 w 241300"/>
                  <a:gd name="connsiteY6" fmla="*/ 0 h 23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300" h="231775">
                    <a:moveTo>
                      <a:pt x="0" y="231775"/>
                    </a:moveTo>
                    <a:lnTo>
                      <a:pt x="0" y="231775"/>
                    </a:lnTo>
                    <a:lnTo>
                      <a:pt x="19050" y="161925"/>
                    </a:lnTo>
                    <a:lnTo>
                      <a:pt x="107950" y="63500"/>
                    </a:lnTo>
                    <a:lnTo>
                      <a:pt x="165100" y="25400"/>
                    </a:lnTo>
                    <a:lnTo>
                      <a:pt x="206375" y="25400"/>
                    </a:lnTo>
                    <a:lnTo>
                      <a:pt x="24130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68" name="Freeform: Shape 367">
                <a:extLst>
                  <a:ext uri="{FF2B5EF4-FFF2-40B4-BE49-F238E27FC236}">
                    <a16:creationId xmlns:a16="http://schemas.microsoft.com/office/drawing/2014/main" id="{88332258-DFA0-42DB-AD8C-1ACF14B0A9D7}"/>
                  </a:ext>
                </a:extLst>
              </p:cNvPr>
              <p:cNvSpPr/>
              <p:nvPr/>
            </p:nvSpPr>
            <p:spPr bwMode="gray">
              <a:xfrm>
                <a:off x="7588250" y="3025775"/>
                <a:ext cx="47625" cy="279400"/>
              </a:xfrm>
              <a:custGeom>
                <a:avLst/>
                <a:gdLst>
                  <a:gd name="connsiteX0" fmla="*/ 47625 w 47625"/>
                  <a:gd name="connsiteY0" fmla="*/ 279400 h 279400"/>
                  <a:gd name="connsiteX1" fmla="*/ 15875 w 47625"/>
                  <a:gd name="connsiteY1" fmla="*/ 196850 h 279400"/>
                  <a:gd name="connsiteX2" fmla="*/ 25400 w 47625"/>
                  <a:gd name="connsiteY2" fmla="*/ 149225 h 279400"/>
                  <a:gd name="connsiteX3" fmla="*/ 41275 w 47625"/>
                  <a:gd name="connsiteY3" fmla="*/ 92075 h 279400"/>
                  <a:gd name="connsiteX4" fmla="*/ 25400 w 47625"/>
                  <a:gd name="connsiteY4" fmla="*/ 28575 h 279400"/>
                  <a:gd name="connsiteX5" fmla="*/ 0 w 47625"/>
                  <a:gd name="connsiteY5" fmla="*/ 0 h 27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25" h="279400">
                    <a:moveTo>
                      <a:pt x="47625" y="279400"/>
                    </a:moveTo>
                    <a:lnTo>
                      <a:pt x="15875" y="196850"/>
                    </a:lnTo>
                    <a:lnTo>
                      <a:pt x="25400" y="149225"/>
                    </a:lnTo>
                    <a:lnTo>
                      <a:pt x="41275" y="92075"/>
                    </a:lnTo>
                    <a:lnTo>
                      <a:pt x="25400" y="28575"/>
                    </a:lnTo>
                    <a:lnTo>
                      <a:pt x="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76" name="Freeform: Shape 375">
                <a:extLst>
                  <a:ext uri="{FF2B5EF4-FFF2-40B4-BE49-F238E27FC236}">
                    <a16:creationId xmlns:a16="http://schemas.microsoft.com/office/drawing/2014/main" id="{652E7CC9-6112-4B94-BA2D-8B1DA920D6BA}"/>
                  </a:ext>
                </a:extLst>
              </p:cNvPr>
              <p:cNvSpPr/>
              <p:nvPr/>
            </p:nvSpPr>
            <p:spPr bwMode="gray">
              <a:xfrm>
                <a:off x="7658100" y="2946400"/>
                <a:ext cx="73025" cy="41275"/>
              </a:xfrm>
              <a:custGeom>
                <a:avLst/>
                <a:gdLst>
                  <a:gd name="connsiteX0" fmla="*/ 0 w 73025"/>
                  <a:gd name="connsiteY0" fmla="*/ 0 h 41275"/>
                  <a:gd name="connsiteX1" fmla="*/ 57150 w 73025"/>
                  <a:gd name="connsiteY1" fmla="*/ 15875 h 41275"/>
                  <a:gd name="connsiteX2" fmla="*/ 73025 w 73025"/>
                  <a:gd name="connsiteY2" fmla="*/ 41275 h 41275"/>
                  <a:gd name="connsiteX0" fmla="*/ 0 w 73025"/>
                  <a:gd name="connsiteY0" fmla="*/ 0 h 41275"/>
                  <a:gd name="connsiteX1" fmla="*/ 50800 w 73025"/>
                  <a:gd name="connsiteY1" fmla="*/ 31750 h 41275"/>
                  <a:gd name="connsiteX2" fmla="*/ 73025 w 73025"/>
                  <a:gd name="connsiteY2" fmla="*/ 41275 h 41275"/>
                  <a:gd name="connsiteX0" fmla="*/ 0 w 73025"/>
                  <a:gd name="connsiteY0" fmla="*/ 0 h 41275"/>
                  <a:gd name="connsiteX1" fmla="*/ 41275 w 73025"/>
                  <a:gd name="connsiteY1" fmla="*/ 31750 h 41275"/>
                  <a:gd name="connsiteX2" fmla="*/ 73025 w 73025"/>
                  <a:gd name="connsiteY2" fmla="*/ 41275 h 41275"/>
                </a:gdLst>
                <a:ahLst/>
                <a:cxnLst>
                  <a:cxn ang="0">
                    <a:pos x="connsiteX0" y="connsiteY0"/>
                  </a:cxn>
                  <a:cxn ang="0">
                    <a:pos x="connsiteX1" y="connsiteY1"/>
                  </a:cxn>
                  <a:cxn ang="0">
                    <a:pos x="connsiteX2" y="connsiteY2"/>
                  </a:cxn>
                </a:cxnLst>
                <a:rect l="l" t="t" r="r" b="b"/>
                <a:pathLst>
                  <a:path w="73025" h="41275">
                    <a:moveTo>
                      <a:pt x="0" y="0"/>
                    </a:moveTo>
                    <a:lnTo>
                      <a:pt x="41275" y="31750"/>
                    </a:lnTo>
                    <a:cubicBezTo>
                      <a:pt x="46567" y="40217"/>
                      <a:pt x="67733" y="32808"/>
                      <a:pt x="73025" y="41275"/>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77" name="Freeform: Shape 376">
                <a:extLst>
                  <a:ext uri="{FF2B5EF4-FFF2-40B4-BE49-F238E27FC236}">
                    <a16:creationId xmlns:a16="http://schemas.microsoft.com/office/drawing/2014/main" id="{3100A585-A5E1-4F47-91BB-30441347C52E}"/>
                  </a:ext>
                </a:extLst>
              </p:cNvPr>
              <p:cNvSpPr/>
              <p:nvPr/>
            </p:nvSpPr>
            <p:spPr bwMode="gray">
              <a:xfrm>
                <a:off x="7880270" y="2917682"/>
                <a:ext cx="23153" cy="29094"/>
              </a:xfrm>
              <a:custGeom>
                <a:avLst/>
                <a:gdLst>
                  <a:gd name="connsiteX0" fmla="*/ 80 w 23153"/>
                  <a:gd name="connsiteY0" fmla="*/ 143 h 29094"/>
                  <a:gd name="connsiteX1" fmla="*/ 12780 w 23153"/>
                  <a:gd name="connsiteY1" fmla="*/ 16018 h 29094"/>
                  <a:gd name="connsiteX2" fmla="*/ 19130 w 23153"/>
                  <a:gd name="connsiteY2" fmla="*/ 25543 h 29094"/>
                  <a:gd name="connsiteX3" fmla="*/ 80 w 23153"/>
                  <a:gd name="connsiteY3" fmla="*/ 143 h 29094"/>
                </a:gdLst>
                <a:ahLst/>
                <a:cxnLst>
                  <a:cxn ang="0">
                    <a:pos x="connsiteX0" y="connsiteY0"/>
                  </a:cxn>
                  <a:cxn ang="0">
                    <a:pos x="connsiteX1" y="connsiteY1"/>
                  </a:cxn>
                  <a:cxn ang="0">
                    <a:pos x="connsiteX2" y="connsiteY2"/>
                  </a:cxn>
                  <a:cxn ang="0">
                    <a:pos x="connsiteX3" y="connsiteY3"/>
                  </a:cxn>
                </a:cxnLst>
                <a:rect l="l" t="t" r="r" b="b"/>
                <a:pathLst>
                  <a:path w="23153" h="29094">
                    <a:moveTo>
                      <a:pt x="80" y="143"/>
                    </a:moveTo>
                    <a:cubicBezTo>
                      <a:pt x="-978" y="-1445"/>
                      <a:pt x="8714" y="10597"/>
                      <a:pt x="12780" y="16018"/>
                    </a:cubicBezTo>
                    <a:cubicBezTo>
                      <a:pt x="15070" y="19071"/>
                      <a:pt x="16432" y="22845"/>
                      <a:pt x="19130" y="25543"/>
                    </a:cubicBezTo>
                    <a:cubicBezTo>
                      <a:pt x="34455" y="40868"/>
                      <a:pt x="1138" y="1731"/>
                      <a:pt x="80" y="143"/>
                    </a:cubicBezTo>
                    <a:close/>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78" name="Freeform: Shape 377">
                <a:extLst>
                  <a:ext uri="{FF2B5EF4-FFF2-40B4-BE49-F238E27FC236}">
                    <a16:creationId xmlns:a16="http://schemas.microsoft.com/office/drawing/2014/main" id="{BA2A32C6-32DA-4A2A-B329-13DD0798167C}"/>
                  </a:ext>
                </a:extLst>
              </p:cNvPr>
              <p:cNvSpPr/>
              <p:nvPr/>
            </p:nvSpPr>
            <p:spPr bwMode="gray">
              <a:xfrm>
                <a:off x="7223125" y="2733675"/>
                <a:ext cx="1349375" cy="428625"/>
              </a:xfrm>
              <a:custGeom>
                <a:avLst/>
                <a:gdLst>
                  <a:gd name="connsiteX0" fmla="*/ 0 w 1349375"/>
                  <a:gd name="connsiteY0" fmla="*/ 415925 h 428625"/>
                  <a:gd name="connsiteX1" fmla="*/ 82550 w 1349375"/>
                  <a:gd name="connsiteY1" fmla="*/ 355600 h 428625"/>
                  <a:gd name="connsiteX2" fmla="*/ 174625 w 1349375"/>
                  <a:gd name="connsiteY2" fmla="*/ 361950 h 428625"/>
                  <a:gd name="connsiteX3" fmla="*/ 111125 w 1349375"/>
                  <a:gd name="connsiteY3" fmla="*/ 400050 h 428625"/>
                  <a:gd name="connsiteX4" fmla="*/ 60325 w 1349375"/>
                  <a:gd name="connsiteY4" fmla="*/ 377825 h 428625"/>
                  <a:gd name="connsiteX5" fmla="*/ 133350 w 1349375"/>
                  <a:gd name="connsiteY5" fmla="*/ 415925 h 428625"/>
                  <a:gd name="connsiteX6" fmla="*/ 225425 w 1349375"/>
                  <a:gd name="connsiteY6" fmla="*/ 428625 h 428625"/>
                  <a:gd name="connsiteX7" fmla="*/ 412750 w 1349375"/>
                  <a:gd name="connsiteY7" fmla="*/ 314325 h 428625"/>
                  <a:gd name="connsiteX8" fmla="*/ 479425 w 1349375"/>
                  <a:gd name="connsiteY8" fmla="*/ 333375 h 428625"/>
                  <a:gd name="connsiteX9" fmla="*/ 539750 w 1349375"/>
                  <a:gd name="connsiteY9" fmla="*/ 323850 h 428625"/>
                  <a:gd name="connsiteX10" fmla="*/ 619125 w 1349375"/>
                  <a:gd name="connsiteY10" fmla="*/ 333375 h 428625"/>
                  <a:gd name="connsiteX11" fmla="*/ 828675 w 1349375"/>
                  <a:gd name="connsiteY11" fmla="*/ 225425 h 428625"/>
                  <a:gd name="connsiteX12" fmla="*/ 895350 w 1349375"/>
                  <a:gd name="connsiteY12" fmla="*/ 200025 h 428625"/>
                  <a:gd name="connsiteX13" fmla="*/ 942975 w 1349375"/>
                  <a:gd name="connsiteY13" fmla="*/ 158750 h 428625"/>
                  <a:gd name="connsiteX14" fmla="*/ 1079500 w 1349375"/>
                  <a:gd name="connsiteY14" fmla="*/ 101600 h 428625"/>
                  <a:gd name="connsiteX15" fmla="*/ 1152525 w 1349375"/>
                  <a:gd name="connsiteY15" fmla="*/ 101600 h 428625"/>
                  <a:gd name="connsiteX16" fmla="*/ 1263650 w 1349375"/>
                  <a:gd name="connsiteY16" fmla="*/ 60325 h 428625"/>
                  <a:gd name="connsiteX17" fmla="*/ 1343025 w 1349375"/>
                  <a:gd name="connsiteY17" fmla="*/ 12700 h 428625"/>
                  <a:gd name="connsiteX18" fmla="*/ 1349375 w 1349375"/>
                  <a:gd name="connsiteY18" fmla="*/ 0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9375" h="428625">
                    <a:moveTo>
                      <a:pt x="0" y="415925"/>
                    </a:moveTo>
                    <a:lnTo>
                      <a:pt x="82550" y="355600"/>
                    </a:lnTo>
                    <a:lnTo>
                      <a:pt x="174625" y="361950"/>
                    </a:lnTo>
                    <a:lnTo>
                      <a:pt x="111125" y="400050"/>
                    </a:lnTo>
                    <a:lnTo>
                      <a:pt x="60325" y="377825"/>
                    </a:lnTo>
                    <a:lnTo>
                      <a:pt x="133350" y="415925"/>
                    </a:lnTo>
                    <a:lnTo>
                      <a:pt x="225425" y="428625"/>
                    </a:lnTo>
                    <a:lnTo>
                      <a:pt x="412750" y="314325"/>
                    </a:lnTo>
                    <a:lnTo>
                      <a:pt x="479425" y="333375"/>
                    </a:lnTo>
                    <a:lnTo>
                      <a:pt x="539750" y="323850"/>
                    </a:lnTo>
                    <a:lnTo>
                      <a:pt x="619125" y="333375"/>
                    </a:lnTo>
                    <a:lnTo>
                      <a:pt x="828675" y="225425"/>
                    </a:lnTo>
                    <a:lnTo>
                      <a:pt x="895350" y="200025"/>
                    </a:lnTo>
                    <a:lnTo>
                      <a:pt x="942975" y="158750"/>
                    </a:lnTo>
                    <a:lnTo>
                      <a:pt x="1079500" y="101600"/>
                    </a:lnTo>
                    <a:lnTo>
                      <a:pt x="1152525" y="101600"/>
                    </a:lnTo>
                    <a:lnTo>
                      <a:pt x="1263650" y="60325"/>
                    </a:lnTo>
                    <a:lnTo>
                      <a:pt x="1343025" y="12700"/>
                    </a:lnTo>
                    <a:lnTo>
                      <a:pt x="1349375"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79" name="Freeform: Shape 378">
                <a:extLst>
                  <a:ext uri="{FF2B5EF4-FFF2-40B4-BE49-F238E27FC236}">
                    <a16:creationId xmlns:a16="http://schemas.microsoft.com/office/drawing/2014/main" id="{674C0982-B743-40BB-85DE-B9EC84929D4C}"/>
                  </a:ext>
                </a:extLst>
              </p:cNvPr>
              <p:cNvSpPr/>
              <p:nvPr/>
            </p:nvSpPr>
            <p:spPr bwMode="gray">
              <a:xfrm>
                <a:off x="8118475" y="2711450"/>
                <a:ext cx="184150" cy="850900"/>
              </a:xfrm>
              <a:custGeom>
                <a:avLst/>
                <a:gdLst>
                  <a:gd name="connsiteX0" fmla="*/ 6350 w 184150"/>
                  <a:gd name="connsiteY0" fmla="*/ 850900 h 850900"/>
                  <a:gd name="connsiteX1" fmla="*/ 57150 w 184150"/>
                  <a:gd name="connsiteY1" fmla="*/ 800100 h 850900"/>
                  <a:gd name="connsiteX2" fmla="*/ 60325 w 184150"/>
                  <a:gd name="connsiteY2" fmla="*/ 774700 h 850900"/>
                  <a:gd name="connsiteX3" fmla="*/ 0 w 184150"/>
                  <a:gd name="connsiteY3" fmla="*/ 644525 h 850900"/>
                  <a:gd name="connsiteX4" fmla="*/ 31750 w 184150"/>
                  <a:gd name="connsiteY4" fmla="*/ 590550 h 850900"/>
                  <a:gd name="connsiteX5" fmla="*/ 50800 w 184150"/>
                  <a:gd name="connsiteY5" fmla="*/ 517525 h 850900"/>
                  <a:gd name="connsiteX6" fmla="*/ 34925 w 184150"/>
                  <a:gd name="connsiteY6" fmla="*/ 473075 h 850900"/>
                  <a:gd name="connsiteX7" fmla="*/ 66675 w 184150"/>
                  <a:gd name="connsiteY7" fmla="*/ 368300 h 850900"/>
                  <a:gd name="connsiteX8" fmla="*/ 76200 w 184150"/>
                  <a:gd name="connsiteY8" fmla="*/ 231775 h 850900"/>
                  <a:gd name="connsiteX9" fmla="*/ 123825 w 184150"/>
                  <a:gd name="connsiteY9" fmla="*/ 174625 h 850900"/>
                  <a:gd name="connsiteX10" fmla="*/ 155575 w 184150"/>
                  <a:gd name="connsiteY10" fmla="*/ 114300 h 850900"/>
                  <a:gd name="connsiteX11" fmla="*/ 184150 w 184150"/>
                  <a:gd name="connsiteY11" fmla="*/ 0 h 850900"/>
                  <a:gd name="connsiteX0" fmla="*/ 6350 w 184150"/>
                  <a:gd name="connsiteY0" fmla="*/ 850900 h 850900"/>
                  <a:gd name="connsiteX1" fmla="*/ 57150 w 184150"/>
                  <a:gd name="connsiteY1" fmla="*/ 800100 h 850900"/>
                  <a:gd name="connsiteX2" fmla="*/ 60325 w 184150"/>
                  <a:gd name="connsiteY2" fmla="*/ 774700 h 850900"/>
                  <a:gd name="connsiteX3" fmla="*/ 0 w 184150"/>
                  <a:gd name="connsiteY3" fmla="*/ 644525 h 850900"/>
                  <a:gd name="connsiteX4" fmla="*/ 31750 w 184150"/>
                  <a:gd name="connsiteY4" fmla="*/ 590550 h 850900"/>
                  <a:gd name="connsiteX5" fmla="*/ 50800 w 184150"/>
                  <a:gd name="connsiteY5" fmla="*/ 517525 h 850900"/>
                  <a:gd name="connsiteX6" fmla="*/ 34925 w 184150"/>
                  <a:gd name="connsiteY6" fmla="*/ 473075 h 850900"/>
                  <a:gd name="connsiteX7" fmla="*/ 66675 w 184150"/>
                  <a:gd name="connsiteY7" fmla="*/ 368300 h 850900"/>
                  <a:gd name="connsiteX8" fmla="*/ 76200 w 184150"/>
                  <a:gd name="connsiteY8" fmla="*/ 231775 h 850900"/>
                  <a:gd name="connsiteX9" fmla="*/ 123825 w 184150"/>
                  <a:gd name="connsiteY9" fmla="*/ 174625 h 850900"/>
                  <a:gd name="connsiteX10" fmla="*/ 155575 w 184150"/>
                  <a:gd name="connsiteY10" fmla="*/ 114300 h 850900"/>
                  <a:gd name="connsiteX11" fmla="*/ 184150 w 184150"/>
                  <a:gd name="connsiteY11" fmla="*/ 0 h 850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4150" h="850900">
                    <a:moveTo>
                      <a:pt x="6350" y="850900"/>
                    </a:moveTo>
                    <a:lnTo>
                      <a:pt x="57150" y="800100"/>
                    </a:lnTo>
                    <a:lnTo>
                      <a:pt x="60325" y="774700"/>
                    </a:lnTo>
                    <a:lnTo>
                      <a:pt x="0" y="644525"/>
                    </a:lnTo>
                    <a:cubicBezTo>
                      <a:pt x="10583" y="626533"/>
                      <a:pt x="6880" y="584730"/>
                      <a:pt x="31750" y="590550"/>
                    </a:cubicBezTo>
                    <a:lnTo>
                      <a:pt x="50800" y="517525"/>
                    </a:lnTo>
                    <a:lnTo>
                      <a:pt x="34925" y="473075"/>
                    </a:lnTo>
                    <a:lnTo>
                      <a:pt x="66675" y="368300"/>
                    </a:lnTo>
                    <a:lnTo>
                      <a:pt x="76200" y="231775"/>
                    </a:lnTo>
                    <a:lnTo>
                      <a:pt x="123825" y="174625"/>
                    </a:lnTo>
                    <a:lnTo>
                      <a:pt x="155575" y="114300"/>
                    </a:lnTo>
                    <a:lnTo>
                      <a:pt x="18415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81" name="Freeform: Shape 380">
                <a:extLst>
                  <a:ext uri="{FF2B5EF4-FFF2-40B4-BE49-F238E27FC236}">
                    <a16:creationId xmlns:a16="http://schemas.microsoft.com/office/drawing/2014/main" id="{4FF338C7-AC20-4AB1-A140-CDC61F5135E5}"/>
                  </a:ext>
                </a:extLst>
              </p:cNvPr>
              <p:cNvSpPr/>
              <p:nvPr/>
            </p:nvSpPr>
            <p:spPr bwMode="gray">
              <a:xfrm>
                <a:off x="8086725" y="3052763"/>
                <a:ext cx="83344" cy="61912"/>
              </a:xfrm>
              <a:custGeom>
                <a:avLst/>
                <a:gdLst>
                  <a:gd name="connsiteX0" fmla="*/ 83344 w 83344"/>
                  <a:gd name="connsiteY0" fmla="*/ 52387 h 61912"/>
                  <a:gd name="connsiteX1" fmla="*/ 16669 w 83344"/>
                  <a:gd name="connsiteY1" fmla="*/ 61912 h 61912"/>
                  <a:gd name="connsiteX2" fmla="*/ 2381 w 83344"/>
                  <a:gd name="connsiteY2" fmla="*/ 35718 h 61912"/>
                  <a:gd name="connsiteX3" fmla="*/ 0 w 83344"/>
                  <a:gd name="connsiteY3" fmla="*/ 0 h 61912"/>
                </a:gdLst>
                <a:ahLst/>
                <a:cxnLst>
                  <a:cxn ang="0">
                    <a:pos x="connsiteX0" y="connsiteY0"/>
                  </a:cxn>
                  <a:cxn ang="0">
                    <a:pos x="connsiteX1" y="connsiteY1"/>
                  </a:cxn>
                  <a:cxn ang="0">
                    <a:pos x="connsiteX2" y="connsiteY2"/>
                  </a:cxn>
                  <a:cxn ang="0">
                    <a:pos x="connsiteX3" y="connsiteY3"/>
                  </a:cxn>
                </a:cxnLst>
                <a:rect l="l" t="t" r="r" b="b"/>
                <a:pathLst>
                  <a:path w="83344" h="61912">
                    <a:moveTo>
                      <a:pt x="83344" y="52387"/>
                    </a:moveTo>
                    <a:lnTo>
                      <a:pt x="16669" y="61912"/>
                    </a:lnTo>
                    <a:lnTo>
                      <a:pt x="2381" y="35718"/>
                    </a:lnTo>
                    <a:lnTo>
                      <a:pt x="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84" name="Freeform: Shape 383">
                <a:extLst>
                  <a:ext uri="{FF2B5EF4-FFF2-40B4-BE49-F238E27FC236}">
                    <a16:creationId xmlns:a16="http://schemas.microsoft.com/office/drawing/2014/main" id="{90A10F0F-05D0-490C-A7F1-2C81E63B3E7D}"/>
                  </a:ext>
                </a:extLst>
              </p:cNvPr>
              <p:cNvSpPr/>
              <p:nvPr/>
            </p:nvSpPr>
            <p:spPr bwMode="gray">
              <a:xfrm>
                <a:off x="8069606" y="3114474"/>
                <a:ext cx="29465" cy="19619"/>
              </a:xfrm>
              <a:custGeom>
                <a:avLst/>
                <a:gdLst>
                  <a:gd name="connsiteX0" fmla="*/ 450 w 29465"/>
                  <a:gd name="connsiteY0" fmla="*/ 19251 h 19619"/>
                  <a:gd name="connsiteX1" fmla="*/ 12357 w 29465"/>
                  <a:gd name="connsiteY1" fmla="*/ 12107 h 19619"/>
                  <a:gd name="connsiteX2" fmla="*/ 29025 w 29465"/>
                  <a:gd name="connsiteY2" fmla="*/ 201 h 19619"/>
                  <a:gd name="connsiteX3" fmla="*/ 450 w 29465"/>
                  <a:gd name="connsiteY3" fmla="*/ 19251 h 19619"/>
                </a:gdLst>
                <a:ahLst/>
                <a:cxnLst>
                  <a:cxn ang="0">
                    <a:pos x="connsiteX0" y="connsiteY0"/>
                  </a:cxn>
                  <a:cxn ang="0">
                    <a:pos x="connsiteX1" y="connsiteY1"/>
                  </a:cxn>
                  <a:cxn ang="0">
                    <a:pos x="connsiteX2" y="connsiteY2"/>
                  </a:cxn>
                  <a:cxn ang="0">
                    <a:pos x="connsiteX3" y="connsiteY3"/>
                  </a:cxn>
                </a:cxnLst>
                <a:rect l="l" t="t" r="r" b="b"/>
                <a:pathLst>
                  <a:path w="29465" h="19619">
                    <a:moveTo>
                      <a:pt x="450" y="19251"/>
                    </a:moveTo>
                    <a:cubicBezTo>
                      <a:pt x="-2328" y="21235"/>
                      <a:pt x="8506" y="14674"/>
                      <a:pt x="12357" y="12107"/>
                    </a:cubicBezTo>
                    <a:cubicBezTo>
                      <a:pt x="18038" y="8320"/>
                      <a:pt x="23013" y="3438"/>
                      <a:pt x="29025" y="201"/>
                    </a:cubicBezTo>
                    <a:cubicBezTo>
                      <a:pt x="33445" y="-2179"/>
                      <a:pt x="3228" y="17267"/>
                      <a:pt x="450" y="19251"/>
                    </a:cubicBezTo>
                    <a:close/>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85" name="Freeform: Shape 384">
                <a:extLst>
                  <a:ext uri="{FF2B5EF4-FFF2-40B4-BE49-F238E27FC236}">
                    <a16:creationId xmlns:a16="http://schemas.microsoft.com/office/drawing/2014/main" id="{A7E79727-154F-429A-B4C3-A26B70862C14}"/>
                  </a:ext>
                </a:extLst>
              </p:cNvPr>
              <p:cNvSpPr/>
              <p:nvPr/>
            </p:nvSpPr>
            <p:spPr bwMode="gray">
              <a:xfrm>
                <a:off x="8243888" y="2888456"/>
                <a:ext cx="47625" cy="40482"/>
              </a:xfrm>
              <a:custGeom>
                <a:avLst/>
                <a:gdLst>
                  <a:gd name="connsiteX0" fmla="*/ 0 w 47625"/>
                  <a:gd name="connsiteY0" fmla="*/ 0 h 40482"/>
                  <a:gd name="connsiteX1" fmla="*/ 26193 w 47625"/>
                  <a:gd name="connsiteY1" fmla="*/ 26194 h 40482"/>
                  <a:gd name="connsiteX2" fmla="*/ 47625 w 47625"/>
                  <a:gd name="connsiteY2" fmla="*/ 40482 h 40482"/>
                </a:gdLst>
                <a:ahLst/>
                <a:cxnLst>
                  <a:cxn ang="0">
                    <a:pos x="connsiteX0" y="connsiteY0"/>
                  </a:cxn>
                  <a:cxn ang="0">
                    <a:pos x="connsiteX1" y="connsiteY1"/>
                  </a:cxn>
                  <a:cxn ang="0">
                    <a:pos x="connsiteX2" y="connsiteY2"/>
                  </a:cxn>
                </a:cxnLst>
                <a:rect l="l" t="t" r="r" b="b"/>
                <a:pathLst>
                  <a:path w="47625" h="40482">
                    <a:moveTo>
                      <a:pt x="0" y="0"/>
                    </a:moveTo>
                    <a:lnTo>
                      <a:pt x="26193" y="26194"/>
                    </a:lnTo>
                    <a:lnTo>
                      <a:pt x="47625" y="40482"/>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89" name="Freeform: Shape 388">
                <a:extLst>
                  <a:ext uri="{FF2B5EF4-FFF2-40B4-BE49-F238E27FC236}">
                    <a16:creationId xmlns:a16="http://schemas.microsoft.com/office/drawing/2014/main" id="{F4950560-4436-490B-9653-43B397AC079D}"/>
                  </a:ext>
                </a:extLst>
              </p:cNvPr>
              <p:cNvSpPr/>
              <p:nvPr/>
            </p:nvSpPr>
            <p:spPr bwMode="gray">
              <a:xfrm>
                <a:off x="7939088" y="2912269"/>
                <a:ext cx="2684" cy="35719"/>
              </a:xfrm>
              <a:custGeom>
                <a:avLst/>
                <a:gdLst>
                  <a:gd name="connsiteX0" fmla="*/ 0 w 2684"/>
                  <a:gd name="connsiteY0" fmla="*/ 0 h 35719"/>
                  <a:gd name="connsiteX1" fmla="*/ 2381 w 2684"/>
                  <a:gd name="connsiteY1" fmla="*/ 35719 h 35719"/>
                </a:gdLst>
                <a:ahLst/>
                <a:cxnLst>
                  <a:cxn ang="0">
                    <a:pos x="connsiteX0" y="connsiteY0"/>
                  </a:cxn>
                  <a:cxn ang="0">
                    <a:pos x="connsiteX1" y="connsiteY1"/>
                  </a:cxn>
                </a:cxnLst>
                <a:rect l="l" t="t" r="r" b="b"/>
                <a:pathLst>
                  <a:path w="2684" h="35719">
                    <a:moveTo>
                      <a:pt x="0" y="0"/>
                    </a:moveTo>
                    <a:cubicBezTo>
                      <a:pt x="3938" y="19690"/>
                      <a:pt x="2381" y="7859"/>
                      <a:pt x="2381" y="35719"/>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91" name="Freeform: Shape 390">
                <a:extLst>
                  <a:ext uri="{FF2B5EF4-FFF2-40B4-BE49-F238E27FC236}">
                    <a16:creationId xmlns:a16="http://schemas.microsoft.com/office/drawing/2014/main" id="{0006E11F-DEC3-4E88-98CA-1B02715B24F7}"/>
                  </a:ext>
                </a:extLst>
              </p:cNvPr>
              <p:cNvSpPr/>
              <p:nvPr/>
            </p:nvSpPr>
            <p:spPr bwMode="gray">
              <a:xfrm>
                <a:off x="7715250" y="2950369"/>
                <a:ext cx="7144" cy="30956"/>
              </a:xfrm>
              <a:custGeom>
                <a:avLst/>
                <a:gdLst>
                  <a:gd name="connsiteX0" fmla="*/ 0 w 7144"/>
                  <a:gd name="connsiteY0" fmla="*/ 0 h 30956"/>
                  <a:gd name="connsiteX1" fmla="*/ 7144 w 7144"/>
                  <a:gd name="connsiteY1" fmla="*/ 30956 h 30956"/>
                </a:gdLst>
                <a:ahLst/>
                <a:cxnLst>
                  <a:cxn ang="0">
                    <a:pos x="connsiteX0" y="connsiteY0"/>
                  </a:cxn>
                  <a:cxn ang="0">
                    <a:pos x="connsiteX1" y="connsiteY1"/>
                  </a:cxn>
                </a:cxnLst>
                <a:rect l="l" t="t" r="r" b="b"/>
                <a:pathLst>
                  <a:path w="7144" h="30956">
                    <a:moveTo>
                      <a:pt x="0" y="0"/>
                    </a:moveTo>
                    <a:cubicBezTo>
                      <a:pt x="5745" y="22976"/>
                      <a:pt x="3479" y="12632"/>
                      <a:pt x="7144" y="30956"/>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92" name="Freeform: Shape 391">
                <a:extLst>
                  <a:ext uri="{FF2B5EF4-FFF2-40B4-BE49-F238E27FC236}">
                    <a16:creationId xmlns:a16="http://schemas.microsoft.com/office/drawing/2014/main" id="{AE9916A8-B49E-4F25-AFA7-393E37596D1A}"/>
                  </a:ext>
                </a:extLst>
              </p:cNvPr>
              <p:cNvSpPr/>
              <p:nvPr/>
            </p:nvSpPr>
            <p:spPr bwMode="gray">
              <a:xfrm>
                <a:off x="8196263" y="2755106"/>
                <a:ext cx="4124" cy="17828"/>
              </a:xfrm>
              <a:custGeom>
                <a:avLst/>
                <a:gdLst>
                  <a:gd name="connsiteX0" fmla="*/ 0 w 4124"/>
                  <a:gd name="connsiteY0" fmla="*/ 0 h 17828"/>
                  <a:gd name="connsiteX1" fmla="*/ 2381 w 4124"/>
                  <a:gd name="connsiteY1" fmla="*/ 11907 h 17828"/>
                  <a:gd name="connsiteX2" fmla="*/ 0 w 4124"/>
                  <a:gd name="connsiteY2" fmla="*/ 0 h 17828"/>
                </a:gdLst>
                <a:ahLst/>
                <a:cxnLst>
                  <a:cxn ang="0">
                    <a:pos x="connsiteX0" y="connsiteY0"/>
                  </a:cxn>
                  <a:cxn ang="0">
                    <a:pos x="connsiteX1" y="connsiteY1"/>
                  </a:cxn>
                  <a:cxn ang="0">
                    <a:pos x="connsiteX2" y="connsiteY2"/>
                  </a:cxn>
                </a:cxnLst>
                <a:rect l="l" t="t" r="r" b="b"/>
                <a:pathLst>
                  <a:path w="4124" h="17828">
                    <a:moveTo>
                      <a:pt x="0" y="0"/>
                    </a:moveTo>
                    <a:cubicBezTo>
                      <a:pt x="0" y="0"/>
                      <a:pt x="1316" y="8002"/>
                      <a:pt x="2381" y="11907"/>
                    </a:cubicBezTo>
                    <a:cubicBezTo>
                      <a:pt x="7394" y="30290"/>
                      <a:pt x="0" y="0"/>
                      <a:pt x="0" y="0"/>
                    </a:cubicBezTo>
                    <a:close/>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93" name="Freeform: Shape 392">
                <a:extLst>
                  <a:ext uri="{FF2B5EF4-FFF2-40B4-BE49-F238E27FC236}">
                    <a16:creationId xmlns:a16="http://schemas.microsoft.com/office/drawing/2014/main" id="{BEC1B06C-6824-4408-872B-5C302ED72901}"/>
                  </a:ext>
                </a:extLst>
              </p:cNvPr>
              <p:cNvSpPr/>
              <p:nvPr/>
            </p:nvSpPr>
            <p:spPr bwMode="gray">
              <a:xfrm>
                <a:off x="8170069" y="3217069"/>
                <a:ext cx="783431" cy="347662"/>
              </a:xfrm>
              <a:custGeom>
                <a:avLst/>
                <a:gdLst>
                  <a:gd name="connsiteX0" fmla="*/ 0 w 783431"/>
                  <a:gd name="connsiteY0" fmla="*/ 0 h 347662"/>
                  <a:gd name="connsiteX1" fmla="*/ 45244 w 783431"/>
                  <a:gd name="connsiteY1" fmla="*/ 23812 h 347662"/>
                  <a:gd name="connsiteX2" fmla="*/ 107156 w 783431"/>
                  <a:gd name="connsiteY2" fmla="*/ 28575 h 347662"/>
                  <a:gd name="connsiteX3" fmla="*/ 164306 w 783431"/>
                  <a:gd name="connsiteY3" fmla="*/ 35719 h 347662"/>
                  <a:gd name="connsiteX4" fmla="*/ 223837 w 783431"/>
                  <a:gd name="connsiteY4" fmla="*/ 54769 h 347662"/>
                  <a:gd name="connsiteX5" fmla="*/ 247650 w 783431"/>
                  <a:gd name="connsiteY5" fmla="*/ 54769 h 347662"/>
                  <a:gd name="connsiteX6" fmla="*/ 383381 w 783431"/>
                  <a:gd name="connsiteY6" fmla="*/ 54769 h 347662"/>
                  <a:gd name="connsiteX7" fmla="*/ 423862 w 783431"/>
                  <a:gd name="connsiteY7" fmla="*/ 92869 h 347662"/>
                  <a:gd name="connsiteX8" fmla="*/ 471487 w 783431"/>
                  <a:gd name="connsiteY8" fmla="*/ 85725 h 347662"/>
                  <a:gd name="connsiteX9" fmla="*/ 542925 w 783431"/>
                  <a:gd name="connsiteY9" fmla="*/ 150019 h 347662"/>
                  <a:gd name="connsiteX10" fmla="*/ 561975 w 783431"/>
                  <a:gd name="connsiteY10" fmla="*/ 178594 h 347662"/>
                  <a:gd name="connsiteX11" fmla="*/ 611981 w 783431"/>
                  <a:gd name="connsiteY11" fmla="*/ 207169 h 347662"/>
                  <a:gd name="connsiteX12" fmla="*/ 740569 w 783431"/>
                  <a:gd name="connsiteY12" fmla="*/ 245269 h 347662"/>
                  <a:gd name="connsiteX13" fmla="*/ 783431 w 783431"/>
                  <a:gd name="connsiteY13" fmla="*/ 278606 h 347662"/>
                  <a:gd name="connsiteX14" fmla="*/ 781050 w 783431"/>
                  <a:gd name="connsiteY14" fmla="*/ 338137 h 347662"/>
                  <a:gd name="connsiteX15" fmla="*/ 781050 w 783431"/>
                  <a:gd name="connsiteY15" fmla="*/ 347662 h 347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3431" h="347662">
                    <a:moveTo>
                      <a:pt x="0" y="0"/>
                    </a:moveTo>
                    <a:lnTo>
                      <a:pt x="45244" y="23812"/>
                    </a:lnTo>
                    <a:lnTo>
                      <a:pt x="107156" y="28575"/>
                    </a:lnTo>
                    <a:lnTo>
                      <a:pt x="164306" y="35719"/>
                    </a:lnTo>
                    <a:lnTo>
                      <a:pt x="223837" y="54769"/>
                    </a:lnTo>
                    <a:lnTo>
                      <a:pt x="247650" y="54769"/>
                    </a:lnTo>
                    <a:lnTo>
                      <a:pt x="383381" y="54769"/>
                    </a:lnTo>
                    <a:lnTo>
                      <a:pt x="423862" y="92869"/>
                    </a:lnTo>
                    <a:lnTo>
                      <a:pt x="471487" y="85725"/>
                    </a:lnTo>
                    <a:lnTo>
                      <a:pt x="542925" y="150019"/>
                    </a:lnTo>
                    <a:lnTo>
                      <a:pt x="561975" y="178594"/>
                    </a:lnTo>
                    <a:lnTo>
                      <a:pt x="611981" y="207169"/>
                    </a:lnTo>
                    <a:lnTo>
                      <a:pt x="740569" y="245269"/>
                    </a:lnTo>
                    <a:lnTo>
                      <a:pt x="783431" y="278606"/>
                    </a:lnTo>
                    <a:cubicBezTo>
                      <a:pt x="782637" y="298450"/>
                      <a:pt x="781844" y="318293"/>
                      <a:pt x="781050" y="338137"/>
                    </a:cubicBezTo>
                    <a:lnTo>
                      <a:pt x="781050" y="347662"/>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94" name="Freeform: Shape 393">
                <a:extLst>
                  <a:ext uri="{FF2B5EF4-FFF2-40B4-BE49-F238E27FC236}">
                    <a16:creationId xmlns:a16="http://schemas.microsoft.com/office/drawing/2014/main" id="{9D58B35C-958E-4232-B2EC-A66E18883CFC}"/>
                  </a:ext>
                </a:extLst>
              </p:cNvPr>
              <p:cNvSpPr/>
              <p:nvPr/>
            </p:nvSpPr>
            <p:spPr bwMode="gray">
              <a:xfrm>
                <a:off x="8579644" y="3498056"/>
                <a:ext cx="321469" cy="69057"/>
              </a:xfrm>
              <a:custGeom>
                <a:avLst/>
                <a:gdLst>
                  <a:gd name="connsiteX0" fmla="*/ 0 w 321469"/>
                  <a:gd name="connsiteY0" fmla="*/ 0 h 69057"/>
                  <a:gd name="connsiteX1" fmla="*/ 45244 w 321469"/>
                  <a:gd name="connsiteY1" fmla="*/ 38100 h 69057"/>
                  <a:gd name="connsiteX2" fmla="*/ 73819 w 321469"/>
                  <a:gd name="connsiteY2" fmla="*/ 30957 h 69057"/>
                  <a:gd name="connsiteX3" fmla="*/ 102394 w 321469"/>
                  <a:gd name="connsiteY3" fmla="*/ 54769 h 69057"/>
                  <a:gd name="connsiteX4" fmla="*/ 159544 w 321469"/>
                  <a:gd name="connsiteY4" fmla="*/ 42863 h 69057"/>
                  <a:gd name="connsiteX5" fmla="*/ 219075 w 321469"/>
                  <a:gd name="connsiteY5" fmla="*/ 57150 h 69057"/>
                  <a:gd name="connsiteX6" fmla="*/ 261937 w 321469"/>
                  <a:gd name="connsiteY6" fmla="*/ 69057 h 69057"/>
                  <a:gd name="connsiteX7" fmla="*/ 321469 w 321469"/>
                  <a:gd name="connsiteY7" fmla="*/ 42863 h 6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1469" h="69057">
                    <a:moveTo>
                      <a:pt x="0" y="0"/>
                    </a:moveTo>
                    <a:lnTo>
                      <a:pt x="45244" y="38100"/>
                    </a:lnTo>
                    <a:lnTo>
                      <a:pt x="73819" y="30957"/>
                    </a:lnTo>
                    <a:lnTo>
                      <a:pt x="102394" y="54769"/>
                    </a:lnTo>
                    <a:lnTo>
                      <a:pt x="159544" y="42863"/>
                    </a:lnTo>
                    <a:lnTo>
                      <a:pt x="219075" y="57150"/>
                    </a:lnTo>
                    <a:lnTo>
                      <a:pt x="261937" y="69057"/>
                    </a:lnTo>
                    <a:lnTo>
                      <a:pt x="321469" y="42863"/>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95" name="Freeform: Shape 394">
                <a:extLst>
                  <a:ext uri="{FF2B5EF4-FFF2-40B4-BE49-F238E27FC236}">
                    <a16:creationId xmlns:a16="http://schemas.microsoft.com/office/drawing/2014/main" id="{EB150EB2-8213-433C-8B81-3B7C856859B4}"/>
                  </a:ext>
                </a:extLst>
              </p:cNvPr>
              <p:cNvSpPr/>
              <p:nvPr/>
            </p:nvSpPr>
            <p:spPr bwMode="gray">
              <a:xfrm>
                <a:off x="8539163" y="3609975"/>
                <a:ext cx="323850" cy="85725"/>
              </a:xfrm>
              <a:custGeom>
                <a:avLst/>
                <a:gdLst>
                  <a:gd name="connsiteX0" fmla="*/ 0 w 323850"/>
                  <a:gd name="connsiteY0" fmla="*/ 61913 h 85725"/>
                  <a:gd name="connsiteX1" fmla="*/ 33337 w 323850"/>
                  <a:gd name="connsiteY1" fmla="*/ 57150 h 85725"/>
                  <a:gd name="connsiteX2" fmla="*/ 50006 w 323850"/>
                  <a:gd name="connsiteY2" fmla="*/ 80963 h 85725"/>
                  <a:gd name="connsiteX3" fmla="*/ 207168 w 323850"/>
                  <a:gd name="connsiteY3" fmla="*/ 85725 h 85725"/>
                  <a:gd name="connsiteX4" fmla="*/ 259556 w 323850"/>
                  <a:gd name="connsiteY4" fmla="*/ 26194 h 85725"/>
                  <a:gd name="connsiteX5" fmla="*/ 323850 w 323850"/>
                  <a:gd name="connsiteY5" fmla="*/ 0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3850" h="85725">
                    <a:moveTo>
                      <a:pt x="0" y="61913"/>
                    </a:moveTo>
                    <a:lnTo>
                      <a:pt x="33337" y="57150"/>
                    </a:lnTo>
                    <a:lnTo>
                      <a:pt x="50006" y="80963"/>
                    </a:lnTo>
                    <a:lnTo>
                      <a:pt x="207168" y="85725"/>
                    </a:lnTo>
                    <a:lnTo>
                      <a:pt x="259556" y="26194"/>
                    </a:lnTo>
                    <a:lnTo>
                      <a:pt x="32385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08" name="Freeform: Shape 407">
                <a:extLst>
                  <a:ext uri="{FF2B5EF4-FFF2-40B4-BE49-F238E27FC236}">
                    <a16:creationId xmlns:a16="http://schemas.microsoft.com/office/drawing/2014/main" id="{3E7EF6B7-AAF3-4473-A78D-1528160A8C38}"/>
                  </a:ext>
                </a:extLst>
              </p:cNvPr>
              <p:cNvSpPr/>
              <p:nvPr/>
            </p:nvSpPr>
            <p:spPr bwMode="gray">
              <a:xfrm>
                <a:off x="8412956" y="3831431"/>
                <a:ext cx="135731" cy="69056"/>
              </a:xfrm>
              <a:custGeom>
                <a:avLst/>
                <a:gdLst>
                  <a:gd name="connsiteX0" fmla="*/ 0 w 135731"/>
                  <a:gd name="connsiteY0" fmla="*/ 0 h 69056"/>
                  <a:gd name="connsiteX1" fmla="*/ 59531 w 135731"/>
                  <a:gd name="connsiteY1" fmla="*/ 21431 h 69056"/>
                  <a:gd name="connsiteX2" fmla="*/ 135731 w 135731"/>
                  <a:gd name="connsiteY2" fmla="*/ 69056 h 69056"/>
                </a:gdLst>
                <a:ahLst/>
                <a:cxnLst>
                  <a:cxn ang="0">
                    <a:pos x="connsiteX0" y="connsiteY0"/>
                  </a:cxn>
                  <a:cxn ang="0">
                    <a:pos x="connsiteX1" y="connsiteY1"/>
                  </a:cxn>
                  <a:cxn ang="0">
                    <a:pos x="connsiteX2" y="connsiteY2"/>
                  </a:cxn>
                </a:cxnLst>
                <a:rect l="l" t="t" r="r" b="b"/>
                <a:pathLst>
                  <a:path w="135731" h="69056">
                    <a:moveTo>
                      <a:pt x="0" y="0"/>
                    </a:moveTo>
                    <a:lnTo>
                      <a:pt x="59531" y="21431"/>
                    </a:lnTo>
                    <a:lnTo>
                      <a:pt x="135731" y="69056"/>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15" name="Freeform: Shape 414">
                <a:extLst>
                  <a:ext uri="{FF2B5EF4-FFF2-40B4-BE49-F238E27FC236}">
                    <a16:creationId xmlns:a16="http://schemas.microsoft.com/office/drawing/2014/main" id="{E118B06B-8ABA-4E2B-90B0-E1E8F27D9D96}"/>
                  </a:ext>
                </a:extLst>
              </p:cNvPr>
              <p:cNvSpPr/>
              <p:nvPr/>
            </p:nvSpPr>
            <p:spPr bwMode="gray">
              <a:xfrm>
                <a:off x="8716931" y="2595555"/>
                <a:ext cx="605663" cy="90495"/>
              </a:xfrm>
              <a:custGeom>
                <a:avLst/>
                <a:gdLst>
                  <a:gd name="connsiteX0" fmla="*/ 10350 w 605663"/>
                  <a:gd name="connsiteY0" fmla="*/ 30964 h 90495"/>
                  <a:gd name="connsiteX1" fmla="*/ 10350 w 605663"/>
                  <a:gd name="connsiteY1" fmla="*/ 30964 h 90495"/>
                  <a:gd name="connsiteX2" fmla="*/ 17494 w 605663"/>
                  <a:gd name="connsiteY2" fmla="*/ 64301 h 90495"/>
                  <a:gd name="connsiteX3" fmla="*/ 24638 w 605663"/>
                  <a:gd name="connsiteY3" fmla="*/ 69064 h 90495"/>
                  <a:gd name="connsiteX4" fmla="*/ 31782 w 605663"/>
                  <a:gd name="connsiteY4" fmla="*/ 83351 h 90495"/>
                  <a:gd name="connsiteX5" fmla="*/ 69882 w 605663"/>
                  <a:gd name="connsiteY5" fmla="*/ 45251 h 90495"/>
                  <a:gd name="connsiteX6" fmla="*/ 93694 w 605663"/>
                  <a:gd name="connsiteY6" fmla="*/ 28583 h 90495"/>
                  <a:gd name="connsiteX7" fmla="*/ 107982 w 605663"/>
                  <a:gd name="connsiteY7" fmla="*/ 19058 h 90495"/>
                  <a:gd name="connsiteX8" fmla="*/ 136557 w 605663"/>
                  <a:gd name="connsiteY8" fmla="*/ 4770 h 90495"/>
                  <a:gd name="connsiteX9" fmla="*/ 219900 w 605663"/>
                  <a:gd name="connsiteY9" fmla="*/ 11914 h 90495"/>
                  <a:gd name="connsiteX10" fmla="*/ 265144 w 605663"/>
                  <a:gd name="connsiteY10" fmla="*/ 16676 h 90495"/>
                  <a:gd name="connsiteX11" fmla="*/ 274669 w 605663"/>
                  <a:gd name="connsiteY11" fmla="*/ 26201 h 90495"/>
                  <a:gd name="connsiteX12" fmla="*/ 281813 w 605663"/>
                  <a:gd name="connsiteY12" fmla="*/ 28583 h 90495"/>
                  <a:gd name="connsiteX13" fmla="*/ 308007 w 605663"/>
                  <a:gd name="connsiteY13" fmla="*/ 19058 h 90495"/>
                  <a:gd name="connsiteX14" fmla="*/ 317532 w 605663"/>
                  <a:gd name="connsiteY14" fmla="*/ 16676 h 90495"/>
                  <a:gd name="connsiteX15" fmla="*/ 336582 w 605663"/>
                  <a:gd name="connsiteY15" fmla="*/ 8 h 90495"/>
                  <a:gd name="connsiteX16" fmla="*/ 455644 w 605663"/>
                  <a:gd name="connsiteY16" fmla="*/ 19058 h 90495"/>
                  <a:gd name="connsiteX17" fmla="*/ 493744 w 605663"/>
                  <a:gd name="connsiteY17" fmla="*/ 40489 h 90495"/>
                  <a:gd name="connsiteX18" fmla="*/ 529463 w 605663"/>
                  <a:gd name="connsiteY18" fmla="*/ 38108 h 90495"/>
                  <a:gd name="connsiteX19" fmla="*/ 605663 w 605663"/>
                  <a:gd name="connsiteY19" fmla="*/ 90495 h 9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5663" h="90495">
                    <a:moveTo>
                      <a:pt x="10350" y="30964"/>
                    </a:moveTo>
                    <a:lnTo>
                      <a:pt x="10350" y="30964"/>
                    </a:lnTo>
                    <a:cubicBezTo>
                      <a:pt x="-2093" y="65182"/>
                      <a:pt x="-7160" y="51974"/>
                      <a:pt x="17494" y="64301"/>
                    </a:cubicBezTo>
                    <a:cubicBezTo>
                      <a:pt x="20054" y="65581"/>
                      <a:pt x="22257" y="67476"/>
                      <a:pt x="24638" y="69064"/>
                    </a:cubicBezTo>
                    <a:cubicBezTo>
                      <a:pt x="27019" y="73826"/>
                      <a:pt x="27070" y="85831"/>
                      <a:pt x="31782" y="83351"/>
                    </a:cubicBezTo>
                    <a:cubicBezTo>
                      <a:pt x="47676" y="74986"/>
                      <a:pt x="54481" y="54491"/>
                      <a:pt x="69882" y="45251"/>
                    </a:cubicBezTo>
                    <a:cubicBezTo>
                      <a:pt x="94222" y="30648"/>
                      <a:pt x="69306" y="46320"/>
                      <a:pt x="93694" y="28583"/>
                    </a:cubicBezTo>
                    <a:cubicBezTo>
                      <a:pt x="98323" y="25216"/>
                      <a:pt x="102978" y="21838"/>
                      <a:pt x="107982" y="19058"/>
                    </a:cubicBezTo>
                    <a:cubicBezTo>
                      <a:pt x="117291" y="13886"/>
                      <a:pt x="136557" y="4770"/>
                      <a:pt x="136557" y="4770"/>
                    </a:cubicBezTo>
                    <a:lnTo>
                      <a:pt x="219900" y="11914"/>
                    </a:lnTo>
                    <a:cubicBezTo>
                      <a:pt x="235000" y="13312"/>
                      <a:pt x="250470" y="12848"/>
                      <a:pt x="265144" y="16676"/>
                    </a:cubicBezTo>
                    <a:cubicBezTo>
                      <a:pt x="269489" y="17809"/>
                      <a:pt x="271015" y="23591"/>
                      <a:pt x="274669" y="26201"/>
                    </a:cubicBezTo>
                    <a:cubicBezTo>
                      <a:pt x="276712" y="27660"/>
                      <a:pt x="279432" y="27789"/>
                      <a:pt x="281813" y="28583"/>
                    </a:cubicBezTo>
                    <a:cubicBezTo>
                      <a:pt x="290544" y="25408"/>
                      <a:pt x="299193" y="21996"/>
                      <a:pt x="308007" y="19058"/>
                    </a:cubicBezTo>
                    <a:cubicBezTo>
                      <a:pt x="311112" y="18023"/>
                      <a:pt x="314690" y="18300"/>
                      <a:pt x="317532" y="16676"/>
                    </a:cubicBezTo>
                    <a:cubicBezTo>
                      <a:pt x="348293" y="-902"/>
                      <a:pt x="350107" y="8"/>
                      <a:pt x="336582" y="8"/>
                    </a:cubicBezTo>
                    <a:lnTo>
                      <a:pt x="455644" y="19058"/>
                    </a:lnTo>
                    <a:lnTo>
                      <a:pt x="493744" y="40489"/>
                    </a:lnTo>
                    <a:lnTo>
                      <a:pt x="529463" y="38108"/>
                    </a:lnTo>
                    <a:lnTo>
                      <a:pt x="605663" y="90495"/>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16" name="Freeform: Shape 415">
                <a:extLst>
                  <a:ext uri="{FF2B5EF4-FFF2-40B4-BE49-F238E27FC236}">
                    <a16:creationId xmlns:a16="http://schemas.microsoft.com/office/drawing/2014/main" id="{A707C67B-7C41-4BF4-A5EB-8C734E9155F6}"/>
                  </a:ext>
                </a:extLst>
              </p:cNvPr>
              <p:cNvSpPr/>
              <p:nvPr/>
            </p:nvSpPr>
            <p:spPr bwMode="gray">
              <a:xfrm>
                <a:off x="8572500" y="2745581"/>
                <a:ext cx="123825" cy="142875"/>
              </a:xfrm>
              <a:custGeom>
                <a:avLst/>
                <a:gdLst>
                  <a:gd name="connsiteX0" fmla="*/ 0 w 123825"/>
                  <a:gd name="connsiteY0" fmla="*/ 0 h 142875"/>
                  <a:gd name="connsiteX1" fmla="*/ 97631 w 123825"/>
                  <a:gd name="connsiteY1" fmla="*/ 4763 h 142875"/>
                  <a:gd name="connsiteX2" fmla="*/ 123825 w 123825"/>
                  <a:gd name="connsiteY2" fmla="*/ 109538 h 142875"/>
                  <a:gd name="connsiteX3" fmla="*/ 61913 w 123825"/>
                  <a:gd name="connsiteY3" fmla="*/ 142875 h 142875"/>
                </a:gdLst>
                <a:ahLst/>
                <a:cxnLst>
                  <a:cxn ang="0">
                    <a:pos x="connsiteX0" y="connsiteY0"/>
                  </a:cxn>
                  <a:cxn ang="0">
                    <a:pos x="connsiteX1" y="connsiteY1"/>
                  </a:cxn>
                  <a:cxn ang="0">
                    <a:pos x="connsiteX2" y="connsiteY2"/>
                  </a:cxn>
                  <a:cxn ang="0">
                    <a:pos x="connsiteX3" y="connsiteY3"/>
                  </a:cxn>
                </a:cxnLst>
                <a:rect l="l" t="t" r="r" b="b"/>
                <a:pathLst>
                  <a:path w="123825" h="142875">
                    <a:moveTo>
                      <a:pt x="0" y="0"/>
                    </a:moveTo>
                    <a:lnTo>
                      <a:pt x="97631" y="4763"/>
                    </a:lnTo>
                    <a:lnTo>
                      <a:pt x="123825" y="109538"/>
                    </a:lnTo>
                    <a:lnTo>
                      <a:pt x="61913" y="142875"/>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17" name="Freeform: Shape 416">
                <a:extLst>
                  <a:ext uri="{FF2B5EF4-FFF2-40B4-BE49-F238E27FC236}">
                    <a16:creationId xmlns:a16="http://schemas.microsoft.com/office/drawing/2014/main" id="{D95B3369-A616-4CD2-8EDF-85981484C184}"/>
                  </a:ext>
                </a:extLst>
              </p:cNvPr>
              <p:cNvSpPr/>
              <p:nvPr/>
            </p:nvSpPr>
            <p:spPr bwMode="gray">
              <a:xfrm>
                <a:off x="8691563" y="2857500"/>
                <a:ext cx="128587" cy="192881"/>
              </a:xfrm>
              <a:custGeom>
                <a:avLst/>
                <a:gdLst>
                  <a:gd name="connsiteX0" fmla="*/ 128587 w 128587"/>
                  <a:gd name="connsiteY0" fmla="*/ 192881 h 192881"/>
                  <a:gd name="connsiteX1" fmla="*/ 100012 w 128587"/>
                  <a:gd name="connsiteY1" fmla="*/ 159544 h 192881"/>
                  <a:gd name="connsiteX2" fmla="*/ 100012 w 128587"/>
                  <a:gd name="connsiteY2" fmla="*/ 102394 h 192881"/>
                  <a:gd name="connsiteX3" fmla="*/ 114300 w 128587"/>
                  <a:gd name="connsiteY3" fmla="*/ 66675 h 192881"/>
                  <a:gd name="connsiteX4" fmla="*/ 80962 w 128587"/>
                  <a:gd name="connsiteY4" fmla="*/ 38100 h 192881"/>
                  <a:gd name="connsiteX5" fmla="*/ 47625 w 128587"/>
                  <a:gd name="connsiteY5" fmla="*/ 26194 h 192881"/>
                  <a:gd name="connsiteX6" fmla="*/ 30956 w 128587"/>
                  <a:gd name="connsiteY6" fmla="*/ 9525 h 192881"/>
                  <a:gd name="connsiteX7" fmla="*/ 0 w 128587"/>
                  <a:gd name="connsiteY7" fmla="*/ 0 h 192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587" h="192881">
                    <a:moveTo>
                      <a:pt x="128587" y="192881"/>
                    </a:moveTo>
                    <a:lnTo>
                      <a:pt x="100012" y="159544"/>
                    </a:lnTo>
                    <a:lnTo>
                      <a:pt x="100012" y="102394"/>
                    </a:lnTo>
                    <a:lnTo>
                      <a:pt x="114300" y="66675"/>
                    </a:lnTo>
                    <a:lnTo>
                      <a:pt x="80962" y="38100"/>
                    </a:lnTo>
                    <a:lnTo>
                      <a:pt x="47625" y="26194"/>
                    </a:lnTo>
                    <a:lnTo>
                      <a:pt x="30956" y="9525"/>
                    </a:lnTo>
                    <a:lnTo>
                      <a:pt x="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18" name="Freeform: Shape 417">
                <a:extLst>
                  <a:ext uri="{FF2B5EF4-FFF2-40B4-BE49-F238E27FC236}">
                    <a16:creationId xmlns:a16="http://schemas.microsoft.com/office/drawing/2014/main" id="{4073127D-AD25-4EA6-A533-3B49D85EF9F7}"/>
                  </a:ext>
                </a:extLst>
              </p:cNvPr>
              <p:cNvSpPr/>
              <p:nvPr/>
            </p:nvSpPr>
            <p:spPr bwMode="gray">
              <a:xfrm>
                <a:off x="8691563" y="2678906"/>
                <a:ext cx="481012" cy="121444"/>
              </a:xfrm>
              <a:custGeom>
                <a:avLst/>
                <a:gdLst>
                  <a:gd name="connsiteX0" fmla="*/ 73818 w 481012"/>
                  <a:gd name="connsiteY0" fmla="*/ 121444 h 121444"/>
                  <a:gd name="connsiteX1" fmla="*/ 42862 w 481012"/>
                  <a:gd name="connsiteY1" fmla="*/ 73819 h 121444"/>
                  <a:gd name="connsiteX2" fmla="*/ 9525 w 481012"/>
                  <a:gd name="connsiteY2" fmla="*/ 52388 h 121444"/>
                  <a:gd name="connsiteX3" fmla="*/ 0 w 481012"/>
                  <a:gd name="connsiteY3" fmla="*/ 40482 h 121444"/>
                  <a:gd name="connsiteX4" fmla="*/ 0 w 481012"/>
                  <a:gd name="connsiteY4" fmla="*/ 40482 h 121444"/>
                  <a:gd name="connsiteX5" fmla="*/ 16668 w 481012"/>
                  <a:gd name="connsiteY5" fmla="*/ 76200 h 121444"/>
                  <a:gd name="connsiteX6" fmla="*/ 88106 w 481012"/>
                  <a:gd name="connsiteY6" fmla="*/ 61913 h 121444"/>
                  <a:gd name="connsiteX7" fmla="*/ 157162 w 481012"/>
                  <a:gd name="connsiteY7" fmla="*/ 64294 h 121444"/>
                  <a:gd name="connsiteX8" fmla="*/ 178593 w 481012"/>
                  <a:gd name="connsiteY8" fmla="*/ 88107 h 121444"/>
                  <a:gd name="connsiteX9" fmla="*/ 233362 w 481012"/>
                  <a:gd name="connsiteY9" fmla="*/ 85725 h 121444"/>
                  <a:gd name="connsiteX10" fmla="*/ 252412 w 481012"/>
                  <a:gd name="connsiteY10" fmla="*/ 66675 h 121444"/>
                  <a:gd name="connsiteX11" fmla="*/ 302418 w 481012"/>
                  <a:gd name="connsiteY11" fmla="*/ 83344 h 121444"/>
                  <a:gd name="connsiteX12" fmla="*/ 302418 w 481012"/>
                  <a:gd name="connsiteY12" fmla="*/ 83344 h 121444"/>
                  <a:gd name="connsiteX13" fmla="*/ 273843 w 481012"/>
                  <a:gd name="connsiteY13" fmla="*/ 30957 h 121444"/>
                  <a:gd name="connsiteX14" fmla="*/ 259556 w 481012"/>
                  <a:gd name="connsiteY14" fmla="*/ 54769 h 121444"/>
                  <a:gd name="connsiteX15" fmla="*/ 280987 w 481012"/>
                  <a:gd name="connsiteY15" fmla="*/ 45244 h 121444"/>
                  <a:gd name="connsiteX16" fmla="*/ 304800 w 481012"/>
                  <a:gd name="connsiteY16" fmla="*/ 57150 h 121444"/>
                  <a:gd name="connsiteX17" fmla="*/ 328612 w 481012"/>
                  <a:gd name="connsiteY17" fmla="*/ 50007 h 121444"/>
                  <a:gd name="connsiteX18" fmla="*/ 347662 w 481012"/>
                  <a:gd name="connsiteY18" fmla="*/ 14288 h 121444"/>
                  <a:gd name="connsiteX19" fmla="*/ 314325 w 481012"/>
                  <a:gd name="connsiteY19" fmla="*/ 0 h 121444"/>
                  <a:gd name="connsiteX20" fmla="*/ 288131 w 481012"/>
                  <a:gd name="connsiteY20" fmla="*/ 0 h 121444"/>
                  <a:gd name="connsiteX21" fmla="*/ 333375 w 481012"/>
                  <a:gd name="connsiteY21" fmla="*/ 54769 h 121444"/>
                  <a:gd name="connsiteX22" fmla="*/ 395287 w 481012"/>
                  <a:gd name="connsiteY22" fmla="*/ 59532 h 121444"/>
                  <a:gd name="connsiteX23" fmla="*/ 481012 w 481012"/>
                  <a:gd name="connsiteY23" fmla="*/ 38100 h 121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81012" h="121444">
                    <a:moveTo>
                      <a:pt x="73818" y="121444"/>
                    </a:moveTo>
                    <a:lnTo>
                      <a:pt x="42862" y="73819"/>
                    </a:lnTo>
                    <a:lnTo>
                      <a:pt x="9525" y="52388"/>
                    </a:lnTo>
                    <a:lnTo>
                      <a:pt x="0" y="40482"/>
                    </a:lnTo>
                    <a:lnTo>
                      <a:pt x="0" y="40482"/>
                    </a:lnTo>
                    <a:lnTo>
                      <a:pt x="16668" y="76200"/>
                    </a:lnTo>
                    <a:lnTo>
                      <a:pt x="88106" y="61913"/>
                    </a:lnTo>
                    <a:lnTo>
                      <a:pt x="157162" y="64294"/>
                    </a:lnTo>
                    <a:lnTo>
                      <a:pt x="178593" y="88107"/>
                    </a:lnTo>
                    <a:lnTo>
                      <a:pt x="233362" y="85725"/>
                    </a:lnTo>
                    <a:lnTo>
                      <a:pt x="252412" y="66675"/>
                    </a:lnTo>
                    <a:lnTo>
                      <a:pt x="302418" y="83344"/>
                    </a:lnTo>
                    <a:lnTo>
                      <a:pt x="302418" y="83344"/>
                    </a:lnTo>
                    <a:lnTo>
                      <a:pt x="273843" y="30957"/>
                    </a:lnTo>
                    <a:lnTo>
                      <a:pt x="259556" y="54769"/>
                    </a:lnTo>
                    <a:lnTo>
                      <a:pt x="280987" y="45244"/>
                    </a:lnTo>
                    <a:lnTo>
                      <a:pt x="304800" y="57150"/>
                    </a:lnTo>
                    <a:lnTo>
                      <a:pt x="328612" y="50007"/>
                    </a:lnTo>
                    <a:lnTo>
                      <a:pt x="347662" y="14288"/>
                    </a:lnTo>
                    <a:lnTo>
                      <a:pt x="314325" y="0"/>
                    </a:lnTo>
                    <a:lnTo>
                      <a:pt x="288131" y="0"/>
                    </a:lnTo>
                    <a:lnTo>
                      <a:pt x="333375" y="54769"/>
                    </a:lnTo>
                    <a:lnTo>
                      <a:pt x="395287" y="59532"/>
                    </a:lnTo>
                    <a:lnTo>
                      <a:pt x="481012" y="3810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19" name="Freeform: Shape 418">
                <a:extLst>
                  <a:ext uri="{FF2B5EF4-FFF2-40B4-BE49-F238E27FC236}">
                    <a16:creationId xmlns:a16="http://schemas.microsoft.com/office/drawing/2014/main" id="{12399B56-F4C8-451D-8165-F89E0FB3AA01}"/>
                  </a:ext>
                </a:extLst>
              </p:cNvPr>
              <p:cNvSpPr/>
              <p:nvPr/>
            </p:nvSpPr>
            <p:spPr bwMode="gray">
              <a:xfrm>
                <a:off x="9329738" y="2688431"/>
                <a:ext cx="45243" cy="40482"/>
              </a:xfrm>
              <a:custGeom>
                <a:avLst/>
                <a:gdLst>
                  <a:gd name="connsiteX0" fmla="*/ 0 w 45243"/>
                  <a:gd name="connsiteY0" fmla="*/ 0 h 40482"/>
                  <a:gd name="connsiteX1" fmla="*/ 45243 w 45243"/>
                  <a:gd name="connsiteY1" fmla="*/ 40482 h 40482"/>
                  <a:gd name="connsiteX2" fmla="*/ 0 w 45243"/>
                  <a:gd name="connsiteY2" fmla="*/ 0 h 40482"/>
                </a:gdLst>
                <a:ahLst/>
                <a:cxnLst>
                  <a:cxn ang="0">
                    <a:pos x="connsiteX0" y="connsiteY0"/>
                  </a:cxn>
                  <a:cxn ang="0">
                    <a:pos x="connsiteX1" y="connsiteY1"/>
                  </a:cxn>
                  <a:cxn ang="0">
                    <a:pos x="connsiteX2" y="connsiteY2"/>
                  </a:cxn>
                </a:cxnLst>
                <a:rect l="l" t="t" r="r" b="b"/>
                <a:pathLst>
                  <a:path w="45243" h="40482">
                    <a:moveTo>
                      <a:pt x="0" y="0"/>
                    </a:moveTo>
                    <a:lnTo>
                      <a:pt x="45243" y="40482"/>
                    </a:lnTo>
                    <a:lnTo>
                      <a:pt x="0" y="0"/>
                    </a:lnTo>
                    <a:close/>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20" name="Freeform: Shape 419">
                <a:extLst>
                  <a:ext uri="{FF2B5EF4-FFF2-40B4-BE49-F238E27FC236}">
                    <a16:creationId xmlns:a16="http://schemas.microsoft.com/office/drawing/2014/main" id="{4308CB7A-DD1A-4988-AB84-83C1025C0CEF}"/>
                  </a:ext>
                </a:extLst>
              </p:cNvPr>
              <p:cNvSpPr/>
              <p:nvPr/>
            </p:nvSpPr>
            <p:spPr bwMode="gray">
              <a:xfrm>
                <a:off x="9374981" y="2750344"/>
                <a:ext cx="109538" cy="330994"/>
              </a:xfrm>
              <a:custGeom>
                <a:avLst/>
                <a:gdLst>
                  <a:gd name="connsiteX0" fmla="*/ 109538 w 109538"/>
                  <a:gd name="connsiteY0" fmla="*/ 0 h 330994"/>
                  <a:gd name="connsiteX1" fmla="*/ 88107 w 109538"/>
                  <a:gd name="connsiteY1" fmla="*/ 42862 h 330994"/>
                  <a:gd name="connsiteX2" fmla="*/ 42863 w 109538"/>
                  <a:gd name="connsiteY2" fmla="*/ 95250 h 330994"/>
                  <a:gd name="connsiteX3" fmla="*/ 35719 w 109538"/>
                  <a:gd name="connsiteY3" fmla="*/ 121444 h 330994"/>
                  <a:gd name="connsiteX4" fmla="*/ 4763 w 109538"/>
                  <a:gd name="connsiteY4" fmla="*/ 230981 h 330994"/>
                  <a:gd name="connsiteX5" fmla="*/ 0 w 109538"/>
                  <a:gd name="connsiteY5" fmla="*/ 314325 h 330994"/>
                  <a:gd name="connsiteX6" fmla="*/ 16669 w 109538"/>
                  <a:gd name="connsiteY6" fmla="*/ 330994 h 330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538" h="330994">
                    <a:moveTo>
                      <a:pt x="109538" y="0"/>
                    </a:moveTo>
                    <a:lnTo>
                      <a:pt x="88107" y="42862"/>
                    </a:lnTo>
                    <a:lnTo>
                      <a:pt x="42863" y="95250"/>
                    </a:lnTo>
                    <a:lnTo>
                      <a:pt x="35719" y="121444"/>
                    </a:lnTo>
                    <a:lnTo>
                      <a:pt x="4763" y="230981"/>
                    </a:lnTo>
                    <a:lnTo>
                      <a:pt x="0" y="314325"/>
                    </a:lnTo>
                    <a:lnTo>
                      <a:pt x="16669" y="330994"/>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23" name="Freeform: Shape 422">
                <a:extLst>
                  <a:ext uri="{FF2B5EF4-FFF2-40B4-BE49-F238E27FC236}">
                    <a16:creationId xmlns:a16="http://schemas.microsoft.com/office/drawing/2014/main" id="{B3C37896-E4F5-44E0-A25C-F9CF3F5852A8}"/>
                  </a:ext>
                </a:extLst>
              </p:cNvPr>
              <p:cNvSpPr/>
              <p:nvPr/>
            </p:nvSpPr>
            <p:spPr bwMode="gray">
              <a:xfrm>
                <a:off x="9360694" y="2862263"/>
                <a:ext cx="154781" cy="214312"/>
              </a:xfrm>
              <a:custGeom>
                <a:avLst/>
                <a:gdLst>
                  <a:gd name="connsiteX0" fmla="*/ 0 w 154781"/>
                  <a:gd name="connsiteY0" fmla="*/ 0 h 214312"/>
                  <a:gd name="connsiteX1" fmla="*/ 80962 w 154781"/>
                  <a:gd name="connsiteY1" fmla="*/ 45243 h 214312"/>
                  <a:gd name="connsiteX2" fmla="*/ 85725 w 154781"/>
                  <a:gd name="connsiteY2" fmla="*/ 202406 h 214312"/>
                  <a:gd name="connsiteX3" fmla="*/ 154781 w 154781"/>
                  <a:gd name="connsiteY3" fmla="*/ 214312 h 214312"/>
                  <a:gd name="connsiteX0" fmla="*/ 0 w 154781"/>
                  <a:gd name="connsiteY0" fmla="*/ 0 h 214312"/>
                  <a:gd name="connsiteX1" fmla="*/ 19050 w 154781"/>
                  <a:gd name="connsiteY1" fmla="*/ 26193 h 214312"/>
                  <a:gd name="connsiteX2" fmla="*/ 80962 w 154781"/>
                  <a:gd name="connsiteY2" fmla="*/ 45243 h 214312"/>
                  <a:gd name="connsiteX3" fmla="*/ 85725 w 154781"/>
                  <a:gd name="connsiteY3" fmla="*/ 202406 h 214312"/>
                  <a:gd name="connsiteX4" fmla="*/ 154781 w 154781"/>
                  <a:gd name="connsiteY4" fmla="*/ 214312 h 214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781" h="214312">
                    <a:moveTo>
                      <a:pt x="0" y="0"/>
                    </a:moveTo>
                    <a:cubicBezTo>
                      <a:pt x="11112" y="5556"/>
                      <a:pt x="7938" y="20637"/>
                      <a:pt x="19050" y="26193"/>
                    </a:cubicBezTo>
                    <a:lnTo>
                      <a:pt x="80962" y="45243"/>
                    </a:lnTo>
                    <a:lnTo>
                      <a:pt x="85725" y="202406"/>
                    </a:lnTo>
                    <a:lnTo>
                      <a:pt x="154781" y="214312"/>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26" name="Freeform: Shape 425">
                <a:extLst>
                  <a:ext uri="{FF2B5EF4-FFF2-40B4-BE49-F238E27FC236}">
                    <a16:creationId xmlns:a16="http://schemas.microsoft.com/office/drawing/2014/main" id="{33ED0AA4-7C92-4943-95D3-ACA2F71E8AA4}"/>
                  </a:ext>
                </a:extLst>
              </p:cNvPr>
              <p:cNvSpPr/>
              <p:nvPr/>
            </p:nvSpPr>
            <p:spPr bwMode="gray">
              <a:xfrm>
                <a:off x="9179719" y="2824163"/>
                <a:ext cx="19050" cy="69056"/>
              </a:xfrm>
              <a:custGeom>
                <a:avLst/>
                <a:gdLst>
                  <a:gd name="connsiteX0" fmla="*/ 19050 w 19050"/>
                  <a:gd name="connsiteY0" fmla="*/ 69056 h 69056"/>
                  <a:gd name="connsiteX1" fmla="*/ 19050 w 19050"/>
                  <a:gd name="connsiteY1" fmla="*/ 21431 h 69056"/>
                  <a:gd name="connsiteX2" fmla="*/ 14287 w 19050"/>
                  <a:gd name="connsiteY2" fmla="*/ 7143 h 69056"/>
                  <a:gd name="connsiteX3" fmla="*/ 0 w 19050"/>
                  <a:gd name="connsiteY3" fmla="*/ 0 h 69056"/>
                </a:gdLst>
                <a:ahLst/>
                <a:cxnLst>
                  <a:cxn ang="0">
                    <a:pos x="connsiteX0" y="connsiteY0"/>
                  </a:cxn>
                  <a:cxn ang="0">
                    <a:pos x="connsiteX1" y="connsiteY1"/>
                  </a:cxn>
                  <a:cxn ang="0">
                    <a:pos x="connsiteX2" y="connsiteY2"/>
                  </a:cxn>
                  <a:cxn ang="0">
                    <a:pos x="connsiteX3" y="connsiteY3"/>
                  </a:cxn>
                </a:cxnLst>
                <a:rect l="l" t="t" r="r" b="b"/>
                <a:pathLst>
                  <a:path w="19050" h="69056">
                    <a:moveTo>
                      <a:pt x="19050" y="69056"/>
                    </a:moveTo>
                    <a:lnTo>
                      <a:pt x="19050" y="21431"/>
                    </a:lnTo>
                    <a:lnTo>
                      <a:pt x="14287" y="7143"/>
                    </a:lnTo>
                    <a:lnTo>
                      <a:pt x="0"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28" name="Freeform: Shape 427">
                <a:extLst>
                  <a:ext uri="{FF2B5EF4-FFF2-40B4-BE49-F238E27FC236}">
                    <a16:creationId xmlns:a16="http://schemas.microsoft.com/office/drawing/2014/main" id="{AA614436-EF36-4752-A5DF-100D9D2C0BB7}"/>
                  </a:ext>
                </a:extLst>
              </p:cNvPr>
              <p:cNvSpPr/>
              <p:nvPr/>
            </p:nvSpPr>
            <p:spPr bwMode="gray">
              <a:xfrm>
                <a:off x="8303419" y="2831306"/>
                <a:ext cx="685800" cy="812338"/>
              </a:xfrm>
              <a:custGeom>
                <a:avLst/>
                <a:gdLst>
                  <a:gd name="connsiteX0" fmla="*/ 0 w 685800"/>
                  <a:gd name="connsiteY0" fmla="*/ 0 h 812338"/>
                  <a:gd name="connsiteX1" fmla="*/ 54769 w 685800"/>
                  <a:gd name="connsiteY1" fmla="*/ 83344 h 812338"/>
                  <a:gd name="connsiteX2" fmla="*/ 90487 w 685800"/>
                  <a:gd name="connsiteY2" fmla="*/ 195263 h 812338"/>
                  <a:gd name="connsiteX3" fmla="*/ 116681 w 685800"/>
                  <a:gd name="connsiteY3" fmla="*/ 223838 h 812338"/>
                  <a:gd name="connsiteX4" fmla="*/ 150019 w 685800"/>
                  <a:gd name="connsiteY4" fmla="*/ 264319 h 812338"/>
                  <a:gd name="connsiteX5" fmla="*/ 180975 w 685800"/>
                  <a:gd name="connsiteY5" fmla="*/ 264319 h 812338"/>
                  <a:gd name="connsiteX6" fmla="*/ 216694 w 685800"/>
                  <a:gd name="connsiteY6" fmla="*/ 295275 h 812338"/>
                  <a:gd name="connsiteX7" fmla="*/ 264319 w 685800"/>
                  <a:gd name="connsiteY7" fmla="*/ 309563 h 812338"/>
                  <a:gd name="connsiteX8" fmla="*/ 290512 w 685800"/>
                  <a:gd name="connsiteY8" fmla="*/ 345282 h 812338"/>
                  <a:gd name="connsiteX9" fmla="*/ 326231 w 685800"/>
                  <a:gd name="connsiteY9" fmla="*/ 347663 h 812338"/>
                  <a:gd name="connsiteX10" fmla="*/ 373856 w 685800"/>
                  <a:gd name="connsiteY10" fmla="*/ 352425 h 812338"/>
                  <a:gd name="connsiteX11" fmla="*/ 392906 w 685800"/>
                  <a:gd name="connsiteY11" fmla="*/ 402432 h 812338"/>
                  <a:gd name="connsiteX12" fmla="*/ 421481 w 685800"/>
                  <a:gd name="connsiteY12" fmla="*/ 431007 h 812338"/>
                  <a:gd name="connsiteX13" fmla="*/ 426244 w 685800"/>
                  <a:gd name="connsiteY13" fmla="*/ 471488 h 812338"/>
                  <a:gd name="connsiteX14" fmla="*/ 466725 w 685800"/>
                  <a:gd name="connsiteY14" fmla="*/ 540544 h 812338"/>
                  <a:gd name="connsiteX15" fmla="*/ 569119 w 685800"/>
                  <a:gd name="connsiteY15" fmla="*/ 588169 h 812338"/>
                  <a:gd name="connsiteX16" fmla="*/ 571500 w 685800"/>
                  <a:gd name="connsiteY16" fmla="*/ 666750 h 812338"/>
                  <a:gd name="connsiteX17" fmla="*/ 588169 w 685800"/>
                  <a:gd name="connsiteY17" fmla="*/ 750094 h 812338"/>
                  <a:gd name="connsiteX18" fmla="*/ 597694 w 685800"/>
                  <a:gd name="connsiteY18" fmla="*/ 773907 h 812338"/>
                  <a:gd name="connsiteX19" fmla="*/ 576262 w 685800"/>
                  <a:gd name="connsiteY19" fmla="*/ 812007 h 812338"/>
                  <a:gd name="connsiteX20" fmla="*/ 542925 w 685800"/>
                  <a:gd name="connsiteY20" fmla="*/ 792957 h 812338"/>
                  <a:gd name="connsiteX21" fmla="*/ 685800 w 685800"/>
                  <a:gd name="connsiteY21" fmla="*/ 802482 h 81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85800" h="812338">
                    <a:moveTo>
                      <a:pt x="0" y="0"/>
                    </a:moveTo>
                    <a:cubicBezTo>
                      <a:pt x="19844" y="25400"/>
                      <a:pt x="39688" y="50800"/>
                      <a:pt x="54769" y="83344"/>
                    </a:cubicBezTo>
                    <a:cubicBezTo>
                      <a:pt x="69850" y="115888"/>
                      <a:pt x="80168" y="171847"/>
                      <a:pt x="90487" y="195263"/>
                    </a:cubicBezTo>
                    <a:cubicBezTo>
                      <a:pt x="100806" y="218679"/>
                      <a:pt x="106759" y="212329"/>
                      <a:pt x="116681" y="223838"/>
                    </a:cubicBezTo>
                    <a:cubicBezTo>
                      <a:pt x="126603" y="235347"/>
                      <a:pt x="139303" y="257572"/>
                      <a:pt x="150019" y="264319"/>
                    </a:cubicBezTo>
                    <a:cubicBezTo>
                      <a:pt x="160735" y="271066"/>
                      <a:pt x="169863" y="259160"/>
                      <a:pt x="180975" y="264319"/>
                    </a:cubicBezTo>
                    <a:cubicBezTo>
                      <a:pt x="192087" y="269478"/>
                      <a:pt x="202803" y="287734"/>
                      <a:pt x="216694" y="295275"/>
                    </a:cubicBezTo>
                    <a:cubicBezTo>
                      <a:pt x="230585" y="302816"/>
                      <a:pt x="252016" y="301229"/>
                      <a:pt x="264319" y="309563"/>
                    </a:cubicBezTo>
                    <a:cubicBezTo>
                      <a:pt x="276622" y="317897"/>
                      <a:pt x="280193" y="338932"/>
                      <a:pt x="290512" y="345282"/>
                    </a:cubicBezTo>
                    <a:cubicBezTo>
                      <a:pt x="300831" y="351632"/>
                      <a:pt x="312340" y="346473"/>
                      <a:pt x="326231" y="347663"/>
                    </a:cubicBezTo>
                    <a:cubicBezTo>
                      <a:pt x="340122" y="348853"/>
                      <a:pt x="362744" y="343297"/>
                      <a:pt x="373856" y="352425"/>
                    </a:cubicBezTo>
                    <a:cubicBezTo>
                      <a:pt x="384969" y="361553"/>
                      <a:pt x="384969" y="389335"/>
                      <a:pt x="392906" y="402432"/>
                    </a:cubicBezTo>
                    <a:cubicBezTo>
                      <a:pt x="400843" y="415529"/>
                      <a:pt x="415925" y="419498"/>
                      <a:pt x="421481" y="431007"/>
                    </a:cubicBezTo>
                    <a:cubicBezTo>
                      <a:pt x="427037" y="442516"/>
                      <a:pt x="418703" y="453232"/>
                      <a:pt x="426244" y="471488"/>
                    </a:cubicBezTo>
                    <a:cubicBezTo>
                      <a:pt x="433785" y="489744"/>
                      <a:pt x="442912" y="521097"/>
                      <a:pt x="466725" y="540544"/>
                    </a:cubicBezTo>
                    <a:cubicBezTo>
                      <a:pt x="490538" y="559991"/>
                      <a:pt x="551657" y="567135"/>
                      <a:pt x="569119" y="588169"/>
                    </a:cubicBezTo>
                    <a:cubicBezTo>
                      <a:pt x="586581" y="609203"/>
                      <a:pt x="568325" y="639762"/>
                      <a:pt x="571500" y="666750"/>
                    </a:cubicBezTo>
                    <a:cubicBezTo>
                      <a:pt x="574675" y="693738"/>
                      <a:pt x="583803" y="732235"/>
                      <a:pt x="588169" y="750094"/>
                    </a:cubicBezTo>
                    <a:cubicBezTo>
                      <a:pt x="592535" y="767953"/>
                      <a:pt x="599678" y="763588"/>
                      <a:pt x="597694" y="773907"/>
                    </a:cubicBezTo>
                    <a:cubicBezTo>
                      <a:pt x="595710" y="784226"/>
                      <a:pt x="585390" y="808832"/>
                      <a:pt x="576262" y="812007"/>
                    </a:cubicBezTo>
                    <a:cubicBezTo>
                      <a:pt x="567134" y="815182"/>
                      <a:pt x="524669" y="794545"/>
                      <a:pt x="542925" y="792957"/>
                    </a:cubicBezTo>
                    <a:cubicBezTo>
                      <a:pt x="561181" y="791370"/>
                      <a:pt x="623490" y="796926"/>
                      <a:pt x="685800" y="802482"/>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29" name="Freeform: Shape 428">
                <a:extLst>
                  <a:ext uri="{FF2B5EF4-FFF2-40B4-BE49-F238E27FC236}">
                    <a16:creationId xmlns:a16="http://schemas.microsoft.com/office/drawing/2014/main" id="{89300DE2-85E9-45B3-96BE-CF9DBA107614}"/>
                  </a:ext>
                </a:extLst>
              </p:cNvPr>
              <p:cNvSpPr/>
              <p:nvPr/>
            </p:nvSpPr>
            <p:spPr bwMode="gray">
              <a:xfrm>
                <a:off x="8772525" y="3169444"/>
                <a:ext cx="126206" cy="61988"/>
              </a:xfrm>
              <a:custGeom>
                <a:avLst/>
                <a:gdLst>
                  <a:gd name="connsiteX0" fmla="*/ 0 w 126206"/>
                  <a:gd name="connsiteY0" fmla="*/ 0 h 61988"/>
                  <a:gd name="connsiteX1" fmla="*/ 0 w 126206"/>
                  <a:gd name="connsiteY1" fmla="*/ 35719 h 61988"/>
                  <a:gd name="connsiteX2" fmla="*/ 50006 w 126206"/>
                  <a:gd name="connsiteY2" fmla="*/ 50006 h 61988"/>
                  <a:gd name="connsiteX3" fmla="*/ 76200 w 126206"/>
                  <a:gd name="connsiteY3" fmla="*/ 59531 h 61988"/>
                  <a:gd name="connsiteX4" fmla="*/ 88106 w 126206"/>
                  <a:gd name="connsiteY4" fmla="*/ 61912 h 61988"/>
                  <a:gd name="connsiteX5" fmla="*/ 102394 w 126206"/>
                  <a:gd name="connsiteY5" fmla="*/ 59531 h 61988"/>
                  <a:gd name="connsiteX6" fmla="*/ 104775 w 126206"/>
                  <a:gd name="connsiteY6" fmla="*/ 33337 h 61988"/>
                  <a:gd name="connsiteX7" fmla="*/ 107156 w 126206"/>
                  <a:gd name="connsiteY7" fmla="*/ 23812 h 61988"/>
                  <a:gd name="connsiteX8" fmla="*/ 116681 w 126206"/>
                  <a:gd name="connsiteY8" fmla="*/ 19050 h 61988"/>
                  <a:gd name="connsiteX9" fmla="*/ 126206 w 126206"/>
                  <a:gd name="connsiteY9" fmla="*/ 16669 h 61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6206" h="61988">
                    <a:moveTo>
                      <a:pt x="0" y="0"/>
                    </a:moveTo>
                    <a:lnTo>
                      <a:pt x="0" y="35719"/>
                    </a:lnTo>
                    <a:cubicBezTo>
                      <a:pt x="32104" y="55784"/>
                      <a:pt x="5672" y="43356"/>
                      <a:pt x="50006" y="50006"/>
                    </a:cubicBezTo>
                    <a:cubicBezTo>
                      <a:pt x="76965" y="54050"/>
                      <a:pt x="57282" y="53226"/>
                      <a:pt x="76200" y="59531"/>
                    </a:cubicBezTo>
                    <a:cubicBezTo>
                      <a:pt x="80040" y="60811"/>
                      <a:pt x="84137" y="61118"/>
                      <a:pt x="88106" y="61912"/>
                    </a:cubicBezTo>
                    <a:cubicBezTo>
                      <a:pt x="92869" y="61118"/>
                      <a:pt x="99961" y="63702"/>
                      <a:pt x="102394" y="59531"/>
                    </a:cubicBezTo>
                    <a:cubicBezTo>
                      <a:pt x="106812" y="51958"/>
                      <a:pt x="103616" y="42027"/>
                      <a:pt x="104775" y="33337"/>
                    </a:cubicBezTo>
                    <a:cubicBezTo>
                      <a:pt x="105207" y="30093"/>
                      <a:pt x="105061" y="26326"/>
                      <a:pt x="107156" y="23812"/>
                    </a:cubicBezTo>
                    <a:cubicBezTo>
                      <a:pt x="109428" y="21085"/>
                      <a:pt x="113418" y="20448"/>
                      <a:pt x="116681" y="19050"/>
                    </a:cubicBezTo>
                    <a:cubicBezTo>
                      <a:pt x="122823" y="16418"/>
                      <a:pt x="121870" y="16669"/>
                      <a:pt x="126206" y="16669"/>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30" name="Freeform: Shape 429">
                <a:extLst>
                  <a:ext uri="{FF2B5EF4-FFF2-40B4-BE49-F238E27FC236}">
                    <a16:creationId xmlns:a16="http://schemas.microsoft.com/office/drawing/2014/main" id="{C98D0E5B-CC1D-407F-A0FC-B18565C6608E}"/>
                  </a:ext>
                </a:extLst>
              </p:cNvPr>
              <p:cNvSpPr/>
              <p:nvPr/>
            </p:nvSpPr>
            <p:spPr bwMode="gray">
              <a:xfrm>
                <a:off x="8953500" y="3095380"/>
                <a:ext cx="147638" cy="76241"/>
              </a:xfrm>
              <a:custGeom>
                <a:avLst/>
                <a:gdLst>
                  <a:gd name="connsiteX0" fmla="*/ 147638 w 147638"/>
                  <a:gd name="connsiteY0" fmla="*/ 43108 h 76241"/>
                  <a:gd name="connsiteX1" fmla="*/ 147638 w 147638"/>
                  <a:gd name="connsiteY1" fmla="*/ 43108 h 76241"/>
                  <a:gd name="connsiteX2" fmla="*/ 138113 w 147638"/>
                  <a:gd name="connsiteY2" fmla="*/ 16914 h 76241"/>
                  <a:gd name="connsiteX3" fmla="*/ 142875 w 147638"/>
                  <a:gd name="connsiteY3" fmla="*/ 2626 h 76241"/>
                  <a:gd name="connsiteX4" fmla="*/ 135731 w 147638"/>
                  <a:gd name="connsiteY4" fmla="*/ 245 h 76241"/>
                  <a:gd name="connsiteX5" fmla="*/ 119063 w 147638"/>
                  <a:gd name="connsiteY5" fmla="*/ 245 h 76241"/>
                  <a:gd name="connsiteX6" fmla="*/ 80963 w 147638"/>
                  <a:gd name="connsiteY6" fmla="*/ 19295 h 76241"/>
                  <a:gd name="connsiteX7" fmla="*/ 59531 w 147638"/>
                  <a:gd name="connsiteY7" fmla="*/ 7389 h 76241"/>
                  <a:gd name="connsiteX8" fmla="*/ 9525 w 147638"/>
                  <a:gd name="connsiteY8" fmla="*/ 14533 h 76241"/>
                  <a:gd name="connsiteX9" fmla="*/ 0 w 147638"/>
                  <a:gd name="connsiteY9" fmla="*/ 19295 h 76241"/>
                  <a:gd name="connsiteX10" fmla="*/ 26194 w 147638"/>
                  <a:gd name="connsiteY10" fmla="*/ 43108 h 76241"/>
                  <a:gd name="connsiteX11" fmla="*/ 28575 w 147638"/>
                  <a:gd name="connsiteY11" fmla="*/ 52633 h 76241"/>
                  <a:gd name="connsiteX12" fmla="*/ 40481 w 147638"/>
                  <a:gd name="connsiteY12" fmla="*/ 66920 h 76241"/>
                  <a:gd name="connsiteX13" fmla="*/ 47625 w 147638"/>
                  <a:gd name="connsiteY13" fmla="*/ 69301 h 76241"/>
                  <a:gd name="connsiteX14" fmla="*/ 76200 w 147638"/>
                  <a:gd name="connsiteY14" fmla="*/ 71683 h 76241"/>
                  <a:gd name="connsiteX15" fmla="*/ 78581 w 147638"/>
                  <a:gd name="connsiteY15" fmla="*/ 62158 h 76241"/>
                  <a:gd name="connsiteX16" fmla="*/ 83344 w 147638"/>
                  <a:gd name="connsiteY16" fmla="*/ 5008 h 76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7638" h="76241">
                    <a:moveTo>
                      <a:pt x="147638" y="43108"/>
                    </a:moveTo>
                    <a:lnTo>
                      <a:pt x="147638" y="43108"/>
                    </a:lnTo>
                    <a:cubicBezTo>
                      <a:pt x="144463" y="34377"/>
                      <a:pt x="139199" y="26141"/>
                      <a:pt x="138113" y="16914"/>
                    </a:cubicBezTo>
                    <a:cubicBezTo>
                      <a:pt x="137526" y="11928"/>
                      <a:pt x="143585" y="7596"/>
                      <a:pt x="142875" y="2626"/>
                    </a:cubicBezTo>
                    <a:cubicBezTo>
                      <a:pt x="142520" y="141"/>
                      <a:pt x="138229" y="495"/>
                      <a:pt x="135731" y="245"/>
                    </a:cubicBezTo>
                    <a:cubicBezTo>
                      <a:pt x="130203" y="-308"/>
                      <a:pt x="124619" y="245"/>
                      <a:pt x="119063" y="245"/>
                    </a:cubicBezTo>
                    <a:lnTo>
                      <a:pt x="80963" y="19295"/>
                    </a:lnTo>
                    <a:lnTo>
                      <a:pt x="59531" y="7389"/>
                    </a:lnTo>
                    <a:cubicBezTo>
                      <a:pt x="38964" y="9103"/>
                      <a:pt x="28572" y="8672"/>
                      <a:pt x="9525" y="14533"/>
                    </a:cubicBezTo>
                    <a:cubicBezTo>
                      <a:pt x="6132" y="15577"/>
                      <a:pt x="3175" y="17708"/>
                      <a:pt x="0" y="19295"/>
                    </a:cubicBezTo>
                    <a:cubicBezTo>
                      <a:pt x="23690" y="37721"/>
                      <a:pt x="16411" y="28434"/>
                      <a:pt x="26194" y="43108"/>
                    </a:cubicBezTo>
                    <a:cubicBezTo>
                      <a:pt x="26988" y="46283"/>
                      <a:pt x="27286" y="49625"/>
                      <a:pt x="28575" y="52633"/>
                    </a:cubicBezTo>
                    <a:cubicBezTo>
                      <a:pt x="30331" y="56730"/>
                      <a:pt x="37051" y="64633"/>
                      <a:pt x="40481" y="66920"/>
                    </a:cubicBezTo>
                    <a:cubicBezTo>
                      <a:pt x="42570" y="68312"/>
                      <a:pt x="45244" y="68507"/>
                      <a:pt x="47625" y="69301"/>
                    </a:cubicBezTo>
                    <a:cubicBezTo>
                      <a:pt x="57527" y="75903"/>
                      <a:pt x="60016" y="79775"/>
                      <a:pt x="76200" y="71683"/>
                    </a:cubicBezTo>
                    <a:cubicBezTo>
                      <a:pt x="79127" y="70219"/>
                      <a:pt x="77787" y="65333"/>
                      <a:pt x="78581" y="62158"/>
                    </a:cubicBezTo>
                    <a:cubicBezTo>
                      <a:pt x="83759" y="12967"/>
                      <a:pt x="83344" y="32079"/>
                      <a:pt x="83344" y="5008"/>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31" name="Freeform: Shape 430">
                <a:extLst>
                  <a:ext uri="{FF2B5EF4-FFF2-40B4-BE49-F238E27FC236}">
                    <a16:creationId xmlns:a16="http://schemas.microsoft.com/office/drawing/2014/main" id="{71B13402-1BD0-418A-900F-D77B7EA1A2CA}"/>
                  </a:ext>
                </a:extLst>
              </p:cNvPr>
              <p:cNvSpPr/>
              <p:nvPr/>
            </p:nvSpPr>
            <p:spPr bwMode="gray">
              <a:xfrm>
                <a:off x="8967788" y="3076575"/>
                <a:ext cx="759618" cy="195386"/>
              </a:xfrm>
              <a:custGeom>
                <a:avLst/>
                <a:gdLst>
                  <a:gd name="connsiteX0" fmla="*/ 14287 w 759618"/>
                  <a:gd name="connsiteY0" fmla="*/ 80963 h 195386"/>
                  <a:gd name="connsiteX1" fmla="*/ 0 w 759618"/>
                  <a:gd name="connsiteY1" fmla="*/ 95250 h 195386"/>
                  <a:gd name="connsiteX2" fmla="*/ 9525 w 759618"/>
                  <a:gd name="connsiteY2" fmla="*/ 114300 h 195386"/>
                  <a:gd name="connsiteX3" fmla="*/ 35718 w 759618"/>
                  <a:gd name="connsiteY3" fmla="*/ 116681 h 195386"/>
                  <a:gd name="connsiteX4" fmla="*/ 42862 w 759618"/>
                  <a:gd name="connsiteY4" fmla="*/ 121444 h 195386"/>
                  <a:gd name="connsiteX5" fmla="*/ 47625 w 759618"/>
                  <a:gd name="connsiteY5" fmla="*/ 128588 h 195386"/>
                  <a:gd name="connsiteX6" fmla="*/ 47625 w 759618"/>
                  <a:gd name="connsiteY6" fmla="*/ 161925 h 195386"/>
                  <a:gd name="connsiteX7" fmla="*/ 57150 w 759618"/>
                  <a:gd name="connsiteY7" fmla="*/ 166688 h 195386"/>
                  <a:gd name="connsiteX8" fmla="*/ 73818 w 759618"/>
                  <a:gd name="connsiteY8" fmla="*/ 173831 h 195386"/>
                  <a:gd name="connsiteX9" fmla="*/ 95250 w 759618"/>
                  <a:gd name="connsiteY9" fmla="*/ 176213 h 195386"/>
                  <a:gd name="connsiteX10" fmla="*/ 121443 w 759618"/>
                  <a:gd name="connsiteY10" fmla="*/ 180975 h 195386"/>
                  <a:gd name="connsiteX11" fmla="*/ 138112 w 759618"/>
                  <a:gd name="connsiteY11" fmla="*/ 185738 h 195386"/>
                  <a:gd name="connsiteX12" fmla="*/ 159543 w 759618"/>
                  <a:gd name="connsiteY12" fmla="*/ 195263 h 195386"/>
                  <a:gd name="connsiteX13" fmla="*/ 197643 w 759618"/>
                  <a:gd name="connsiteY13" fmla="*/ 188119 h 195386"/>
                  <a:gd name="connsiteX14" fmla="*/ 238125 w 759618"/>
                  <a:gd name="connsiteY14" fmla="*/ 166688 h 195386"/>
                  <a:gd name="connsiteX15" fmla="*/ 245268 w 759618"/>
                  <a:gd name="connsiteY15" fmla="*/ 161925 h 195386"/>
                  <a:gd name="connsiteX16" fmla="*/ 257175 w 759618"/>
                  <a:gd name="connsiteY16" fmla="*/ 154781 h 195386"/>
                  <a:gd name="connsiteX17" fmla="*/ 264318 w 759618"/>
                  <a:gd name="connsiteY17" fmla="*/ 147638 h 195386"/>
                  <a:gd name="connsiteX18" fmla="*/ 273843 w 759618"/>
                  <a:gd name="connsiteY18" fmla="*/ 145256 h 195386"/>
                  <a:gd name="connsiteX19" fmla="*/ 288131 w 759618"/>
                  <a:gd name="connsiteY19" fmla="*/ 138113 h 195386"/>
                  <a:gd name="connsiteX20" fmla="*/ 314325 w 759618"/>
                  <a:gd name="connsiteY20" fmla="*/ 119063 h 195386"/>
                  <a:gd name="connsiteX21" fmla="*/ 321468 w 759618"/>
                  <a:gd name="connsiteY21" fmla="*/ 109538 h 195386"/>
                  <a:gd name="connsiteX22" fmla="*/ 326231 w 759618"/>
                  <a:gd name="connsiteY22" fmla="*/ 102394 h 195386"/>
                  <a:gd name="connsiteX23" fmla="*/ 350043 w 759618"/>
                  <a:gd name="connsiteY23" fmla="*/ 90488 h 195386"/>
                  <a:gd name="connsiteX24" fmla="*/ 354806 w 759618"/>
                  <a:gd name="connsiteY24" fmla="*/ 69056 h 195386"/>
                  <a:gd name="connsiteX25" fmla="*/ 359568 w 759618"/>
                  <a:gd name="connsiteY25" fmla="*/ 61913 h 195386"/>
                  <a:gd name="connsiteX26" fmla="*/ 371475 w 759618"/>
                  <a:gd name="connsiteY26" fmla="*/ 78581 h 195386"/>
                  <a:gd name="connsiteX27" fmla="*/ 485775 w 759618"/>
                  <a:gd name="connsiteY27" fmla="*/ 61913 h 195386"/>
                  <a:gd name="connsiteX28" fmla="*/ 681037 w 759618"/>
                  <a:gd name="connsiteY28" fmla="*/ 57150 h 195386"/>
                  <a:gd name="connsiteX29" fmla="*/ 747712 w 759618"/>
                  <a:gd name="connsiteY29" fmla="*/ 42863 h 195386"/>
                  <a:gd name="connsiteX30" fmla="*/ 759618 w 759618"/>
                  <a:gd name="connsiteY30" fmla="*/ 0 h 19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59618" h="195386">
                    <a:moveTo>
                      <a:pt x="14287" y="80963"/>
                    </a:moveTo>
                    <a:lnTo>
                      <a:pt x="0" y="95250"/>
                    </a:lnTo>
                    <a:cubicBezTo>
                      <a:pt x="3175" y="101600"/>
                      <a:pt x="3437" y="110647"/>
                      <a:pt x="9525" y="114300"/>
                    </a:cubicBezTo>
                    <a:cubicBezTo>
                      <a:pt x="17043" y="118811"/>
                      <a:pt x="27146" y="114844"/>
                      <a:pt x="35718" y="116681"/>
                    </a:cubicBezTo>
                    <a:cubicBezTo>
                      <a:pt x="38517" y="117281"/>
                      <a:pt x="40481" y="119856"/>
                      <a:pt x="42862" y="121444"/>
                    </a:cubicBezTo>
                    <a:cubicBezTo>
                      <a:pt x="44450" y="123825"/>
                      <a:pt x="47340" y="125740"/>
                      <a:pt x="47625" y="128588"/>
                    </a:cubicBezTo>
                    <a:cubicBezTo>
                      <a:pt x="49019" y="142531"/>
                      <a:pt x="39879" y="147982"/>
                      <a:pt x="47625" y="161925"/>
                    </a:cubicBezTo>
                    <a:cubicBezTo>
                      <a:pt x="49349" y="165028"/>
                      <a:pt x="53918" y="165219"/>
                      <a:pt x="57150" y="166688"/>
                    </a:cubicBezTo>
                    <a:cubicBezTo>
                      <a:pt x="62653" y="169189"/>
                      <a:pt x="67954" y="172365"/>
                      <a:pt x="73818" y="173831"/>
                    </a:cubicBezTo>
                    <a:cubicBezTo>
                      <a:pt x="80791" y="175574"/>
                      <a:pt x="88125" y="175263"/>
                      <a:pt x="95250" y="176213"/>
                    </a:cubicBezTo>
                    <a:cubicBezTo>
                      <a:pt x="99798" y="176819"/>
                      <a:pt x="116313" y="179692"/>
                      <a:pt x="121443" y="180975"/>
                    </a:cubicBezTo>
                    <a:cubicBezTo>
                      <a:pt x="127049" y="182377"/>
                      <a:pt x="132556" y="184150"/>
                      <a:pt x="138112" y="185738"/>
                    </a:cubicBezTo>
                    <a:cubicBezTo>
                      <a:pt x="145463" y="191250"/>
                      <a:pt x="149265" y="196242"/>
                      <a:pt x="159543" y="195263"/>
                    </a:cubicBezTo>
                    <a:cubicBezTo>
                      <a:pt x="172406" y="194038"/>
                      <a:pt x="197643" y="188119"/>
                      <a:pt x="197643" y="188119"/>
                    </a:cubicBezTo>
                    <a:cubicBezTo>
                      <a:pt x="227136" y="167053"/>
                      <a:pt x="200626" y="183996"/>
                      <a:pt x="238125" y="166688"/>
                    </a:cubicBezTo>
                    <a:cubicBezTo>
                      <a:pt x="240723" y="165489"/>
                      <a:pt x="242841" y="163442"/>
                      <a:pt x="245268" y="161925"/>
                    </a:cubicBezTo>
                    <a:cubicBezTo>
                      <a:pt x="249193" y="159472"/>
                      <a:pt x="253472" y="157558"/>
                      <a:pt x="257175" y="154781"/>
                    </a:cubicBezTo>
                    <a:cubicBezTo>
                      <a:pt x="259869" y="152761"/>
                      <a:pt x="261394" y="149309"/>
                      <a:pt x="264318" y="147638"/>
                    </a:cubicBezTo>
                    <a:cubicBezTo>
                      <a:pt x="267160" y="146014"/>
                      <a:pt x="270668" y="146050"/>
                      <a:pt x="273843" y="145256"/>
                    </a:cubicBezTo>
                    <a:cubicBezTo>
                      <a:pt x="305579" y="124102"/>
                      <a:pt x="258534" y="154555"/>
                      <a:pt x="288131" y="138113"/>
                    </a:cubicBezTo>
                    <a:cubicBezTo>
                      <a:pt x="293716" y="135010"/>
                      <a:pt x="309431" y="123957"/>
                      <a:pt x="314325" y="119063"/>
                    </a:cubicBezTo>
                    <a:cubicBezTo>
                      <a:pt x="317131" y="116257"/>
                      <a:pt x="319161" y="112767"/>
                      <a:pt x="321468" y="109538"/>
                    </a:cubicBezTo>
                    <a:cubicBezTo>
                      <a:pt x="323132" y="107209"/>
                      <a:pt x="324207" y="104418"/>
                      <a:pt x="326231" y="102394"/>
                    </a:cubicBezTo>
                    <a:cubicBezTo>
                      <a:pt x="331305" y="97320"/>
                      <a:pt x="345739" y="92332"/>
                      <a:pt x="350043" y="90488"/>
                    </a:cubicBezTo>
                    <a:cubicBezTo>
                      <a:pt x="350466" y="88374"/>
                      <a:pt x="353546" y="71995"/>
                      <a:pt x="354806" y="69056"/>
                    </a:cubicBezTo>
                    <a:cubicBezTo>
                      <a:pt x="355933" y="66426"/>
                      <a:pt x="357981" y="64294"/>
                      <a:pt x="359568" y="61913"/>
                    </a:cubicBezTo>
                    <a:cubicBezTo>
                      <a:pt x="367337" y="80040"/>
                      <a:pt x="360667" y="78581"/>
                      <a:pt x="371475" y="78581"/>
                    </a:cubicBezTo>
                    <a:lnTo>
                      <a:pt x="485775" y="61913"/>
                    </a:lnTo>
                    <a:lnTo>
                      <a:pt x="681037" y="57150"/>
                    </a:lnTo>
                    <a:lnTo>
                      <a:pt x="747712" y="42863"/>
                    </a:lnTo>
                    <a:lnTo>
                      <a:pt x="759618"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34" name="Freeform: Shape 433">
                <a:extLst>
                  <a:ext uri="{FF2B5EF4-FFF2-40B4-BE49-F238E27FC236}">
                    <a16:creationId xmlns:a16="http://schemas.microsoft.com/office/drawing/2014/main" id="{8D0B196A-98B7-406A-AE4A-35068ECB4E65}"/>
                  </a:ext>
                </a:extLst>
              </p:cNvPr>
              <p:cNvSpPr/>
              <p:nvPr/>
            </p:nvSpPr>
            <p:spPr bwMode="gray">
              <a:xfrm>
                <a:off x="9115425" y="2867025"/>
                <a:ext cx="138113" cy="109538"/>
              </a:xfrm>
              <a:custGeom>
                <a:avLst/>
                <a:gdLst>
                  <a:gd name="connsiteX0" fmla="*/ 0 w 138113"/>
                  <a:gd name="connsiteY0" fmla="*/ 100013 h 109538"/>
                  <a:gd name="connsiteX1" fmla="*/ 21431 w 138113"/>
                  <a:gd name="connsiteY1" fmla="*/ 85725 h 109538"/>
                  <a:gd name="connsiteX2" fmla="*/ 47625 w 138113"/>
                  <a:gd name="connsiteY2" fmla="*/ 109538 h 109538"/>
                  <a:gd name="connsiteX3" fmla="*/ 76200 w 138113"/>
                  <a:gd name="connsiteY3" fmla="*/ 100013 h 109538"/>
                  <a:gd name="connsiteX4" fmla="*/ 102394 w 138113"/>
                  <a:gd name="connsiteY4" fmla="*/ 80963 h 109538"/>
                  <a:gd name="connsiteX5" fmla="*/ 130969 w 138113"/>
                  <a:gd name="connsiteY5" fmla="*/ 33338 h 109538"/>
                  <a:gd name="connsiteX6" fmla="*/ 138113 w 138113"/>
                  <a:gd name="connsiteY6" fmla="*/ 0 h 109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113" h="109538">
                    <a:moveTo>
                      <a:pt x="0" y="100013"/>
                    </a:moveTo>
                    <a:lnTo>
                      <a:pt x="21431" y="85725"/>
                    </a:lnTo>
                    <a:lnTo>
                      <a:pt x="47625" y="109538"/>
                    </a:lnTo>
                    <a:lnTo>
                      <a:pt x="76200" y="100013"/>
                    </a:lnTo>
                    <a:lnTo>
                      <a:pt x="102394" y="80963"/>
                    </a:lnTo>
                    <a:lnTo>
                      <a:pt x="130969" y="33338"/>
                    </a:lnTo>
                    <a:lnTo>
                      <a:pt x="138113"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35" name="Freeform: Shape 434">
                <a:extLst>
                  <a:ext uri="{FF2B5EF4-FFF2-40B4-BE49-F238E27FC236}">
                    <a16:creationId xmlns:a16="http://schemas.microsoft.com/office/drawing/2014/main" id="{15A1BAE1-AEB6-43FD-B086-CB922DA6A816}"/>
                  </a:ext>
                </a:extLst>
              </p:cNvPr>
              <p:cNvSpPr/>
              <p:nvPr/>
            </p:nvSpPr>
            <p:spPr bwMode="gray">
              <a:xfrm>
                <a:off x="9144000" y="3017044"/>
                <a:ext cx="78581" cy="80962"/>
              </a:xfrm>
              <a:custGeom>
                <a:avLst/>
                <a:gdLst>
                  <a:gd name="connsiteX0" fmla="*/ 0 w 78581"/>
                  <a:gd name="connsiteY0" fmla="*/ 0 h 80962"/>
                  <a:gd name="connsiteX1" fmla="*/ 64294 w 78581"/>
                  <a:gd name="connsiteY1" fmla="*/ 57150 h 80962"/>
                  <a:gd name="connsiteX2" fmla="*/ 78581 w 78581"/>
                  <a:gd name="connsiteY2" fmla="*/ 80962 h 80962"/>
                </a:gdLst>
                <a:ahLst/>
                <a:cxnLst>
                  <a:cxn ang="0">
                    <a:pos x="connsiteX0" y="connsiteY0"/>
                  </a:cxn>
                  <a:cxn ang="0">
                    <a:pos x="connsiteX1" y="connsiteY1"/>
                  </a:cxn>
                  <a:cxn ang="0">
                    <a:pos x="connsiteX2" y="connsiteY2"/>
                  </a:cxn>
                </a:cxnLst>
                <a:rect l="l" t="t" r="r" b="b"/>
                <a:pathLst>
                  <a:path w="78581" h="80962">
                    <a:moveTo>
                      <a:pt x="0" y="0"/>
                    </a:moveTo>
                    <a:lnTo>
                      <a:pt x="64294" y="57150"/>
                    </a:lnTo>
                    <a:lnTo>
                      <a:pt x="78581" y="80962"/>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36" name="Freeform: Shape 435">
                <a:extLst>
                  <a:ext uri="{FF2B5EF4-FFF2-40B4-BE49-F238E27FC236}">
                    <a16:creationId xmlns:a16="http://schemas.microsoft.com/office/drawing/2014/main" id="{6640F091-8793-4186-BACA-6C894C8CCDF2}"/>
                  </a:ext>
                </a:extLst>
              </p:cNvPr>
              <p:cNvSpPr/>
              <p:nvPr/>
            </p:nvSpPr>
            <p:spPr bwMode="gray">
              <a:xfrm>
                <a:off x="8874919" y="3143250"/>
                <a:ext cx="159544" cy="135731"/>
              </a:xfrm>
              <a:custGeom>
                <a:avLst/>
                <a:gdLst>
                  <a:gd name="connsiteX0" fmla="*/ 159544 w 159544"/>
                  <a:gd name="connsiteY0" fmla="*/ 0 h 135731"/>
                  <a:gd name="connsiteX1" fmla="*/ 147637 w 159544"/>
                  <a:gd name="connsiteY1" fmla="*/ 66675 h 135731"/>
                  <a:gd name="connsiteX2" fmla="*/ 114300 w 159544"/>
                  <a:gd name="connsiteY2" fmla="*/ 116681 h 135731"/>
                  <a:gd name="connsiteX3" fmla="*/ 73819 w 159544"/>
                  <a:gd name="connsiteY3" fmla="*/ 135731 h 135731"/>
                  <a:gd name="connsiteX4" fmla="*/ 38100 w 159544"/>
                  <a:gd name="connsiteY4" fmla="*/ 121444 h 135731"/>
                  <a:gd name="connsiteX5" fmla="*/ 0 w 159544"/>
                  <a:gd name="connsiteY5" fmla="*/ 90488 h 135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9544" h="135731">
                    <a:moveTo>
                      <a:pt x="159544" y="0"/>
                    </a:moveTo>
                    <a:lnTo>
                      <a:pt x="147637" y="66675"/>
                    </a:lnTo>
                    <a:lnTo>
                      <a:pt x="114300" y="116681"/>
                    </a:lnTo>
                    <a:lnTo>
                      <a:pt x="73819" y="135731"/>
                    </a:lnTo>
                    <a:lnTo>
                      <a:pt x="38100" y="121444"/>
                    </a:lnTo>
                    <a:lnTo>
                      <a:pt x="0" y="90488"/>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37" name="Freeform: Shape 436">
                <a:extLst>
                  <a:ext uri="{FF2B5EF4-FFF2-40B4-BE49-F238E27FC236}">
                    <a16:creationId xmlns:a16="http://schemas.microsoft.com/office/drawing/2014/main" id="{EC2F3499-E051-4067-AAE1-26CA4BCC19CB}"/>
                  </a:ext>
                </a:extLst>
              </p:cNvPr>
              <p:cNvSpPr/>
              <p:nvPr/>
            </p:nvSpPr>
            <p:spPr bwMode="gray">
              <a:xfrm>
                <a:off x="8853488" y="3236119"/>
                <a:ext cx="123825" cy="211931"/>
              </a:xfrm>
              <a:custGeom>
                <a:avLst/>
                <a:gdLst>
                  <a:gd name="connsiteX0" fmla="*/ 123825 w 123825"/>
                  <a:gd name="connsiteY0" fmla="*/ 0 h 211931"/>
                  <a:gd name="connsiteX1" fmla="*/ 90487 w 123825"/>
                  <a:gd name="connsiteY1" fmla="*/ 42862 h 211931"/>
                  <a:gd name="connsiteX2" fmla="*/ 78581 w 123825"/>
                  <a:gd name="connsiteY2" fmla="*/ 76200 h 211931"/>
                  <a:gd name="connsiteX3" fmla="*/ 42862 w 123825"/>
                  <a:gd name="connsiteY3" fmla="*/ 78581 h 211931"/>
                  <a:gd name="connsiteX4" fmla="*/ 21431 w 123825"/>
                  <a:gd name="connsiteY4" fmla="*/ 121444 h 211931"/>
                  <a:gd name="connsiteX5" fmla="*/ 35718 w 123825"/>
                  <a:gd name="connsiteY5" fmla="*/ 161925 h 211931"/>
                  <a:gd name="connsiteX6" fmla="*/ 0 w 123825"/>
                  <a:gd name="connsiteY6" fmla="*/ 211931 h 21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825" h="211931">
                    <a:moveTo>
                      <a:pt x="123825" y="0"/>
                    </a:moveTo>
                    <a:lnTo>
                      <a:pt x="90487" y="42862"/>
                    </a:lnTo>
                    <a:lnTo>
                      <a:pt x="78581" y="76200"/>
                    </a:lnTo>
                    <a:lnTo>
                      <a:pt x="42862" y="78581"/>
                    </a:lnTo>
                    <a:lnTo>
                      <a:pt x="21431" y="121444"/>
                    </a:lnTo>
                    <a:lnTo>
                      <a:pt x="35718" y="161925"/>
                    </a:lnTo>
                    <a:lnTo>
                      <a:pt x="0" y="211931"/>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38" name="Freeform: Shape 437">
                <a:extLst>
                  <a:ext uri="{FF2B5EF4-FFF2-40B4-BE49-F238E27FC236}">
                    <a16:creationId xmlns:a16="http://schemas.microsoft.com/office/drawing/2014/main" id="{6993C6BA-B39E-44B9-B909-372740C28484}"/>
                  </a:ext>
                </a:extLst>
              </p:cNvPr>
              <p:cNvSpPr/>
              <p:nvPr/>
            </p:nvSpPr>
            <p:spPr bwMode="gray">
              <a:xfrm>
                <a:off x="8886825" y="3390900"/>
                <a:ext cx="66675" cy="19050"/>
              </a:xfrm>
              <a:custGeom>
                <a:avLst/>
                <a:gdLst>
                  <a:gd name="connsiteX0" fmla="*/ 0 w 66675"/>
                  <a:gd name="connsiteY0" fmla="*/ 7144 h 19050"/>
                  <a:gd name="connsiteX1" fmla="*/ 14288 w 66675"/>
                  <a:gd name="connsiteY1" fmla="*/ 19050 h 19050"/>
                  <a:gd name="connsiteX2" fmla="*/ 66675 w 66675"/>
                  <a:gd name="connsiteY2" fmla="*/ 0 h 19050"/>
                  <a:gd name="connsiteX3" fmla="*/ 66675 w 66675"/>
                  <a:gd name="connsiteY3" fmla="*/ 0 h 19050"/>
                </a:gdLst>
                <a:ahLst/>
                <a:cxnLst>
                  <a:cxn ang="0">
                    <a:pos x="connsiteX0" y="connsiteY0"/>
                  </a:cxn>
                  <a:cxn ang="0">
                    <a:pos x="connsiteX1" y="connsiteY1"/>
                  </a:cxn>
                  <a:cxn ang="0">
                    <a:pos x="connsiteX2" y="connsiteY2"/>
                  </a:cxn>
                  <a:cxn ang="0">
                    <a:pos x="connsiteX3" y="connsiteY3"/>
                  </a:cxn>
                </a:cxnLst>
                <a:rect l="l" t="t" r="r" b="b"/>
                <a:pathLst>
                  <a:path w="66675" h="19050">
                    <a:moveTo>
                      <a:pt x="0" y="7144"/>
                    </a:moveTo>
                    <a:lnTo>
                      <a:pt x="14288" y="19050"/>
                    </a:lnTo>
                    <a:lnTo>
                      <a:pt x="66675" y="0"/>
                    </a:lnTo>
                    <a:lnTo>
                      <a:pt x="66675"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39" name="Freeform: Shape 438">
                <a:extLst>
                  <a:ext uri="{FF2B5EF4-FFF2-40B4-BE49-F238E27FC236}">
                    <a16:creationId xmlns:a16="http://schemas.microsoft.com/office/drawing/2014/main" id="{3A2DA8B4-C21B-4817-9362-E9F862A2B41C}"/>
                  </a:ext>
                </a:extLst>
              </p:cNvPr>
              <p:cNvSpPr/>
              <p:nvPr/>
            </p:nvSpPr>
            <p:spPr bwMode="gray">
              <a:xfrm>
                <a:off x="8905856" y="3405188"/>
                <a:ext cx="2400" cy="28575"/>
              </a:xfrm>
              <a:custGeom>
                <a:avLst/>
                <a:gdLst>
                  <a:gd name="connsiteX0" fmla="*/ 2400 w 2400"/>
                  <a:gd name="connsiteY0" fmla="*/ 28575 h 28575"/>
                  <a:gd name="connsiteX1" fmla="*/ 19 w 2400"/>
                  <a:gd name="connsiteY1" fmla="*/ 0 h 28575"/>
                </a:gdLst>
                <a:ahLst/>
                <a:cxnLst>
                  <a:cxn ang="0">
                    <a:pos x="connsiteX0" y="connsiteY0"/>
                  </a:cxn>
                  <a:cxn ang="0">
                    <a:pos x="connsiteX1" y="connsiteY1"/>
                  </a:cxn>
                </a:cxnLst>
                <a:rect l="l" t="t" r="r" b="b"/>
                <a:pathLst>
                  <a:path w="2400" h="28575">
                    <a:moveTo>
                      <a:pt x="2400" y="28575"/>
                    </a:moveTo>
                    <a:cubicBezTo>
                      <a:pt x="-375" y="6375"/>
                      <a:pt x="19" y="15924"/>
                      <a:pt x="19" y="0"/>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41" name="Freeform: Shape 440">
                <a:extLst>
                  <a:ext uri="{FF2B5EF4-FFF2-40B4-BE49-F238E27FC236}">
                    <a16:creationId xmlns:a16="http://schemas.microsoft.com/office/drawing/2014/main" id="{47CCFA45-A4E5-447B-AA89-6DC5CDD1D055}"/>
                  </a:ext>
                </a:extLst>
              </p:cNvPr>
              <p:cNvSpPr/>
              <p:nvPr/>
            </p:nvSpPr>
            <p:spPr bwMode="gray">
              <a:xfrm>
                <a:off x="8958004" y="3397662"/>
                <a:ext cx="12165" cy="9907"/>
              </a:xfrm>
              <a:custGeom>
                <a:avLst/>
                <a:gdLst>
                  <a:gd name="connsiteX0" fmla="*/ 12165 w 12165"/>
                  <a:gd name="connsiteY0" fmla="*/ 9907 h 9907"/>
                  <a:gd name="connsiteX1" fmla="*/ 259 w 12165"/>
                  <a:gd name="connsiteY1" fmla="*/ 382 h 9907"/>
                  <a:gd name="connsiteX2" fmla="*/ 12165 w 12165"/>
                  <a:gd name="connsiteY2" fmla="*/ 9907 h 9907"/>
                </a:gdLst>
                <a:ahLst/>
                <a:cxnLst>
                  <a:cxn ang="0">
                    <a:pos x="connsiteX0" y="connsiteY0"/>
                  </a:cxn>
                  <a:cxn ang="0">
                    <a:pos x="connsiteX1" y="connsiteY1"/>
                  </a:cxn>
                  <a:cxn ang="0">
                    <a:pos x="connsiteX2" y="connsiteY2"/>
                  </a:cxn>
                </a:cxnLst>
                <a:rect l="l" t="t" r="r" b="b"/>
                <a:pathLst>
                  <a:path w="12165" h="9907">
                    <a:moveTo>
                      <a:pt x="12165" y="9907"/>
                    </a:moveTo>
                    <a:cubicBezTo>
                      <a:pt x="12165" y="9907"/>
                      <a:pt x="3606" y="4207"/>
                      <a:pt x="259" y="382"/>
                    </a:cubicBezTo>
                    <a:cubicBezTo>
                      <a:pt x="-2079" y="-2290"/>
                      <a:pt x="12165" y="9907"/>
                      <a:pt x="12165" y="9907"/>
                    </a:cubicBezTo>
                    <a:close/>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42" name="Freeform: Shape 441">
                <a:extLst>
                  <a:ext uri="{FF2B5EF4-FFF2-40B4-BE49-F238E27FC236}">
                    <a16:creationId xmlns:a16="http://schemas.microsoft.com/office/drawing/2014/main" id="{796AA04D-74B3-4348-9518-07633C394100}"/>
                  </a:ext>
                </a:extLst>
              </p:cNvPr>
              <p:cNvSpPr/>
              <p:nvPr/>
            </p:nvSpPr>
            <p:spPr bwMode="gray">
              <a:xfrm>
                <a:off x="8884444" y="3274219"/>
                <a:ext cx="126248" cy="88106"/>
              </a:xfrm>
              <a:custGeom>
                <a:avLst/>
                <a:gdLst>
                  <a:gd name="connsiteX0" fmla="*/ 0 w 126248"/>
                  <a:gd name="connsiteY0" fmla="*/ 59531 h 88106"/>
                  <a:gd name="connsiteX1" fmla="*/ 11906 w 126248"/>
                  <a:gd name="connsiteY1" fmla="*/ 54769 h 88106"/>
                  <a:gd name="connsiteX2" fmla="*/ 73819 w 126248"/>
                  <a:gd name="connsiteY2" fmla="*/ 35719 h 88106"/>
                  <a:gd name="connsiteX3" fmla="*/ 80962 w 126248"/>
                  <a:gd name="connsiteY3" fmla="*/ 21431 h 88106"/>
                  <a:gd name="connsiteX4" fmla="*/ 88106 w 126248"/>
                  <a:gd name="connsiteY4" fmla="*/ 11906 h 88106"/>
                  <a:gd name="connsiteX5" fmla="*/ 95250 w 126248"/>
                  <a:gd name="connsiteY5" fmla="*/ 0 h 88106"/>
                  <a:gd name="connsiteX6" fmla="*/ 97631 w 126248"/>
                  <a:gd name="connsiteY6" fmla="*/ 33337 h 88106"/>
                  <a:gd name="connsiteX7" fmla="*/ 111919 w 126248"/>
                  <a:gd name="connsiteY7" fmla="*/ 42862 h 88106"/>
                  <a:gd name="connsiteX8" fmla="*/ 116681 w 126248"/>
                  <a:gd name="connsiteY8" fmla="*/ 50006 h 88106"/>
                  <a:gd name="connsiteX9" fmla="*/ 123825 w 126248"/>
                  <a:gd name="connsiteY9" fmla="*/ 59531 h 88106"/>
                  <a:gd name="connsiteX10" fmla="*/ 126206 w 126248"/>
                  <a:gd name="connsiteY10" fmla="*/ 88106 h 8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6248" h="88106">
                    <a:moveTo>
                      <a:pt x="0" y="59531"/>
                    </a:moveTo>
                    <a:cubicBezTo>
                      <a:pt x="3969" y="57944"/>
                      <a:pt x="7838" y="56081"/>
                      <a:pt x="11906" y="54769"/>
                    </a:cubicBezTo>
                    <a:cubicBezTo>
                      <a:pt x="32456" y="48140"/>
                      <a:pt x="54374" y="45106"/>
                      <a:pt x="73819" y="35719"/>
                    </a:cubicBezTo>
                    <a:cubicBezTo>
                      <a:pt x="78614" y="33404"/>
                      <a:pt x="78223" y="25997"/>
                      <a:pt x="80962" y="21431"/>
                    </a:cubicBezTo>
                    <a:cubicBezTo>
                      <a:pt x="83004" y="18028"/>
                      <a:pt x="85904" y="15208"/>
                      <a:pt x="88106" y="11906"/>
                    </a:cubicBezTo>
                    <a:cubicBezTo>
                      <a:pt x="90673" y="8055"/>
                      <a:pt x="92869" y="3969"/>
                      <a:pt x="95250" y="0"/>
                    </a:cubicBezTo>
                    <a:cubicBezTo>
                      <a:pt x="96044" y="11112"/>
                      <a:pt x="93593" y="22954"/>
                      <a:pt x="97631" y="33337"/>
                    </a:cubicBezTo>
                    <a:cubicBezTo>
                      <a:pt x="99706" y="38672"/>
                      <a:pt x="107611" y="39093"/>
                      <a:pt x="111919" y="42862"/>
                    </a:cubicBezTo>
                    <a:cubicBezTo>
                      <a:pt x="114073" y="44747"/>
                      <a:pt x="115018" y="47677"/>
                      <a:pt x="116681" y="50006"/>
                    </a:cubicBezTo>
                    <a:cubicBezTo>
                      <a:pt x="118988" y="53236"/>
                      <a:pt x="121444" y="56356"/>
                      <a:pt x="123825" y="59531"/>
                    </a:cubicBezTo>
                    <a:cubicBezTo>
                      <a:pt x="126767" y="80129"/>
                      <a:pt x="126206" y="70587"/>
                      <a:pt x="126206" y="88106"/>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43" name="Freeform: Shape 442">
                <a:extLst>
                  <a:ext uri="{FF2B5EF4-FFF2-40B4-BE49-F238E27FC236}">
                    <a16:creationId xmlns:a16="http://schemas.microsoft.com/office/drawing/2014/main" id="{272923F6-ABB6-4C86-BF8D-37299F87DB44}"/>
                  </a:ext>
                </a:extLst>
              </p:cNvPr>
              <p:cNvSpPr/>
              <p:nvPr/>
            </p:nvSpPr>
            <p:spPr bwMode="gray">
              <a:xfrm>
                <a:off x="8929050" y="3315163"/>
                <a:ext cx="33980" cy="30504"/>
              </a:xfrm>
              <a:custGeom>
                <a:avLst/>
                <a:gdLst>
                  <a:gd name="connsiteX0" fmla="*/ 638 w 33980"/>
                  <a:gd name="connsiteY0" fmla="*/ 1918 h 30504"/>
                  <a:gd name="connsiteX1" fmla="*/ 12544 w 33980"/>
                  <a:gd name="connsiteY1" fmla="*/ 4300 h 30504"/>
                  <a:gd name="connsiteX2" fmla="*/ 19688 w 33980"/>
                  <a:gd name="connsiteY2" fmla="*/ 18587 h 30504"/>
                  <a:gd name="connsiteX3" fmla="*/ 26831 w 33980"/>
                  <a:gd name="connsiteY3" fmla="*/ 23350 h 30504"/>
                  <a:gd name="connsiteX4" fmla="*/ 33975 w 33980"/>
                  <a:gd name="connsiteY4" fmla="*/ 30493 h 30504"/>
                  <a:gd name="connsiteX5" fmla="*/ 638 w 33980"/>
                  <a:gd name="connsiteY5" fmla="*/ 1918 h 30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980" h="30504">
                    <a:moveTo>
                      <a:pt x="638" y="1918"/>
                    </a:moveTo>
                    <a:cubicBezTo>
                      <a:pt x="-2934" y="-2447"/>
                      <a:pt x="9498" y="1635"/>
                      <a:pt x="12544" y="4300"/>
                    </a:cubicBezTo>
                    <a:cubicBezTo>
                      <a:pt x="16551" y="7806"/>
                      <a:pt x="16493" y="14327"/>
                      <a:pt x="19688" y="18587"/>
                    </a:cubicBezTo>
                    <a:cubicBezTo>
                      <a:pt x="21405" y="20876"/>
                      <a:pt x="24633" y="21518"/>
                      <a:pt x="26831" y="23350"/>
                    </a:cubicBezTo>
                    <a:cubicBezTo>
                      <a:pt x="29418" y="25506"/>
                      <a:pt x="31954" y="27799"/>
                      <a:pt x="33975" y="30493"/>
                    </a:cubicBezTo>
                    <a:cubicBezTo>
                      <a:pt x="34451" y="31128"/>
                      <a:pt x="4210" y="6283"/>
                      <a:pt x="638" y="1918"/>
                    </a:cubicBezTo>
                    <a:close/>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47" name="Freeform: Shape 446">
                <a:extLst>
                  <a:ext uri="{FF2B5EF4-FFF2-40B4-BE49-F238E27FC236}">
                    <a16:creationId xmlns:a16="http://schemas.microsoft.com/office/drawing/2014/main" id="{73EA20C1-1695-450F-A277-CED5DA6A09FA}"/>
                  </a:ext>
                </a:extLst>
              </p:cNvPr>
              <p:cNvSpPr/>
              <p:nvPr/>
            </p:nvSpPr>
            <p:spPr bwMode="gray">
              <a:xfrm>
                <a:off x="9083610" y="3105150"/>
                <a:ext cx="143734" cy="410369"/>
              </a:xfrm>
              <a:custGeom>
                <a:avLst/>
                <a:gdLst>
                  <a:gd name="connsiteX0" fmla="*/ 130969 w 130969"/>
                  <a:gd name="connsiteY0" fmla="*/ 0 h 350044"/>
                  <a:gd name="connsiteX1" fmla="*/ 130969 w 130969"/>
                  <a:gd name="connsiteY1" fmla="*/ 0 h 350044"/>
                  <a:gd name="connsiteX2" fmla="*/ 119063 w 130969"/>
                  <a:gd name="connsiteY2" fmla="*/ 38100 h 350044"/>
                  <a:gd name="connsiteX3" fmla="*/ 116681 w 130969"/>
                  <a:gd name="connsiteY3" fmla="*/ 45244 h 350044"/>
                  <a:gd name="connsiteX4" fmla="*/ 111919 w 130969"/>
                  <a:gd name="connsiteY4" fmla="*/ 69056 h 350044"/>
                  <a:gd name="connsiteX5" fmla="*/ 104775 w 130969"/>
                  <a:gd name="connsiteY5" fmla="*/ 100013 h 350044"/>
                  <a:gd name="connsiteX6" fmla="*/ 102394 w 130969"/>
                  <a:gd name="connsiteY6" fmla="*/ 119063 h 350044"/>
                  <a:gd name="connsiteX7" fmla="*/ 88106 w 130969"/>
                  <a:gd name="connsiteY7" fmla="*/ 176213 h 350044"/>
                  <a:gd name="connsiteX8" fmla="*/ 80963 w 130969"/>
                  <a:gd name="connsiteY8" fmla="*/ 221456 h 350044"/>
                  <a:gd name="connsiteX9" fmla="*/ 78581 w 130969"/>
                  <a:gd name="connsiteY9" fmla="*/ 228600 h 350044"/>
                  <a:gd name="connsiteX10" fmla="*/ 50006 w 130969"/>
                  <a:gd name="connsiteY10" fmla="*/ 259556 h 350044"/>
                  <a:gd name="connsiteX11" fmla="*/ 45244 w 130969"/>
                  <a:gd name="connsiteY11" fmla="*/ 266700 h 350044"/>
                  <a:gd name="connsiteX12" fmla="*/ 35719 w 130969"/>
                  <a:gd name="connsiteY12" fmla="*/ 288131 h 350044"/>
                  <a:gd name="connsiteX13" fmla="*/ 16669 w 130969"/>
                  <a:gd name="connsiteY13" fmla="*/ 314325 h 350044"/>
                  <a:gd name="connsiteX14" fmla="*/ 9525 w 130969"/>
                  <a:gd name="connsiteY14" fmla="*/ 328613 h 350044"/>
                  <a:gd name="connsiteX15" fmla="*/ 4763 w 130969"/>
                  <a:gd name="connsiteY15" fmla="*/ 340519 h 350044"/>
                  <a:gd name="connsiteX16" fmla="*/ 0 w 130969"/>
                  <a:gd name="connsiteY16" fmla="*/ 350044 h 350044"/>
                  <a:gd name="connsiteX0" fmla="*/ 126357 w 126357"/>
                  <a:gd name="connsiteY0" fmla="*/ 0 h 410369"/>
                  <a:gd name="connsiteX1" fmla="*/ 126357 w 126357"/>
                  <a:gd name="connsiteY1" fmla="*/ 0 h 410369"/>
                  <a:gd name="connsiteX2" fmla="*/ 114451 w 126357"/>
                  <a:gd name="connsiteY2" fmla="*/ 38100 h 410369"/>
                  <a:gd name="connsiteX3" fmla="*/ 112069 w 126357"/>
                  <a:gd name="connsiteY3" fmla="*/ 45244 h 410369"/>
                  <a:gd name="connsiteX4" fmla="*/ 107307 w 126357"/>
                  <a:gd name="connsiteY4" fmla="*/ 69056 h 410369"/>
                  <a:gd name="connsiteX5" fmla="*/ 100163 w 126357"/>
                  <a:gd name="connsiteY5" fmla="*/ 100013 h 410369"/>
                  <a:gd name="connsiteX6" fmla="*/ 97782 w 126357"/>
                  <a:gd name="connsiteY6" fmla="*/ 119063 h 410369"/>
                  <a:gd name="connsiteX7" fmla="*/ 83494 w 126357"/>
                  <a:gd name="connsiteY7" fmla="*/ 176213 h 410369"/>
                  <a:gd name="connsiteX8" fmla="*/ 76351 w 126357"/>
                  <a:gd name="connsiteY8" fmla="*/ 221456 h 410369"/>
                  <a:gd name="connsiteX9" fmla="*/ 73969 w 126357"/>
                  <a:gd name="connsiteY9" fmla="*/ 228600 h 410369"/>
                  <a:gd name="connsiteX10" fmla="*/ 45394 w 126357"/>
                  <a:gd name="connsiteY10" fmla="*/ 259556 h 410369"/>
                  <a:gd name="connsiteX11" fmla="*/ 40632 w 126357"/>
                  <a:gd name="connsiteY11" fmla="*/ 266700 h 410369"/>
                  <a:gd name="connsiteX12" fmla="*/ 31107 w 126357"/>
                  <a:gd name="connsiteY12" fmla="*/ 288131 h 410369"/>
                  <a:gd name="connsiteX13" fmla="*/ 12057 w 126357"/>
                  <a:gd name="connsiteY13" fmla="*/ 314325 h 410369"/>
                  <a:gd name="connsiteX14" fmla="*/ 4913 w 126357"/>
                  <a:gd name="connsiteY14" fmla="*/ 328613 h 410369"/>
                  <a:gd name="connsiteX15" fmla="*/ 151 w 126357"/>
                  <a:gd name="connsiteY15" fmla="*/ 340519 h 410369"/>
                  <a:gd name="connsiteX16" fmla="*/ 8088 w 126357"/>
                  <a:gd name="connsiteY16" fmla="*/ 410369 h 410369"/>
                  <a:gd name="connsiteX0" fmla="*/ 143734 w 143734"/>
                  <a:gd name="connsiteY0" fmla="*/ 0 h 410369"/>
                  <a:gd name="connsiteX1" fmla="*/ 143734 w 143734"/>
                  <a:gd name="connsiteY1" fmla="*/ 0 h 410369"/>
                  <a:gd name="connsiteX2" fmla="*/ 131828 w 143734"/>
                  <a:gd name="connsiteY2" fmla="*/ 38100 h 410369"/>
                  <a:gd name="connsiteX3" fmla="*/ 129446 w 143734"/>
                  <a:gd name="connsiteY3" fmla="*/ 45244 h 410369"/>
                  <a:gd name="connsiteX4" fmla="*/ 124684 w 143734"/>
                  <a:gd name="connsiteY4" fmla="*/ 69056 h 410369"/>
                  <a:gd name="connsiteX5" fmla="*/ 117540 w 143734"/>
                  <a:gd name="connsiteY5" fmla="*/ 100013 h 410369"/>
                  <a:gd name="connsiteX6" fmla="*/ 115159 w 143734"/>
                  <a:gd name="connsiteY6" fmla="*/ 119063 h 410369"/>
                  <a:gd name="connsiteX7" fmla="*/ 100871 w 143734"/>
                  <a:gd name="connsiteY7" fmla="*/ 176213 h 410369"/>
                  <a:gd name="connsiteX8" fmla="*/ 93728 w 143734"/>
                  <a:gd name="connsiteY8" fmla="*/ 221456 h 410369"/>
                  <a:gd name="connsiteX9" fmla="*/ 91346 w 143734"/>
                  <a:gd name="connsiteY9" fmla="*/ 228600 h 410369"/>
                  <a:gd name="connsiteX10" fmla="*/ 62771 w 143734"/>
                  <a:gd name="connsiteY10" fmla="*/ 259556 h 410369"/>
                  <a:gd name="connsiteX11" fmla="*/ 58009 w 143734"/>
                  <a:gd name="connsiteY11" fmla="*/ 266700 h 410369"/>
                  <a:gd name="connsiteX12" fmla="*/ 48484 w 143734"/>
                  <a:gd name="connsiteY12" fmla="*/ 288131 h 410369"/>
                  <a:gd name="connsiteX13" fmla="*/ 29434 w 143734"/>
                  <a:gd name="connsiteY13" fmla="*/ 314325 h 410369"/>
                  <a:gd name="connsiteX14" fmla="*/ 22290 w 143734"/>
                  <a:gd name="connsiteY14" fmla="*/ 328613 h 410369"/>
                  <a:gd name="connsiteX15" fmla="*/ 17528 w 143734"/>
                  <a:gd name="connsiteY15" fmla="*/ 340519 h 410369"/>
                  <a:gd name="connsiteX16" fmla="*/ 65 w 143734"/>
                  <a:gd name="connsiteY16" fmla="*/ 371475 h 410369"/>
                  <a:gd name="connsiteX17" fmla="*/ 25465 w 143734"/>
                  <a:gd name="connsiteY17" fmla="*/ 410369 h 410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3734" h="410369">
                    <a:moveTo>
                      <a:pt x="143734" y="0"/>
                    </a:moveTo>
                    <a:lnTo>
                      <a:pt x="143734" y="0"/>
                    </a:lnTo>
                    <a:cubicBezTo>
                      <a:pt x="139765" y="12700"/>
                      <a:pt x="135835" y="25412"/>
                      <a:pt x="131828" y="38100"/>
                    </a:cubicBezTo>
                    <a:cubicBezTo>
                      <a:pt x="131072" y="40494"/>
                      <a:pt x="129938" y="42783"/>
                      <a:pt x="129446" y="45244"/>
                    </a:cubicBezTo>
                    <a:cubicBezTo>
                      <a:pt x="127859" y="53181"/>
                      <a:pt x="126380" y="61141"/>
                      <a:pt x="124684" y="69056"/>
                    </a:cubicBezTo>
                    <a:cubicBezTo>
                      <a:pt x="120614" y="88052"/>
                      <a:pt x="122822" y="70083"/>
                      <a:pt x="117540" y="100013"/>
                    </a:cubicBezTo>
                    <a:cubicBezTo>
                      <a:pt x="116428" y="106315"/>
                      <a:pt x="116324" y="112771"/>
                      <a:pt x="115159" y="119063"/>
                    </a:cubicBezTo>
                    <a:cubicBezTo>
                      <a:pt x="107086" y="162658"/>
                      <a:pt x="110711" y="151614"/>
                      <a:pt x="100871" y="176213"/>
                    </a:cubicBezTo>
                    <a:cubicBezTo>
                      <a:pt x="98490" y="191294"/>
                      <a:pt x="96459" y="206434"/>
                      <a:pt x="93728" y="221456"/>
                    </a:cubicBezTo>
                    <a:cubicBezTo>
                      <a:pt x="93279" y="223926"/>
                      <a:pt x="92591" y="226421"/>
                      <a:pt x="91346" y="228600"/>
                    </a:cubicBezTo>
                    <a:cubicBezTo>
                      <a:pt x="81093" y="246543"/>
                      <a:pt x="79496" y="234464"/>
                      <a:pt x="62771" y="259556"/>
                    </a:cubicBezTo>
                    <a:cubicBezTo>
                      <a:pt x="61184" y="261937"/>
                      <a:pt x="59171" y="264085"/>
                      <a:pt x="58009" y="266700"/>
                    </a:cubicBezTo>
                    <a:cubicBezTo>
                      <a:pt x="48900" y="287197"/>
                      <a:pt x="57992" y="274819"/>
                      <a:pt x="48484" y="288131"/>
                    </a:cubicBezTo>
                    <a:cubicBezTo>
                      <a:pt x="42209" y="296916"/>
                      <a:pt x="29434" y="314325"/>
                      <a:pt x="29434" y="314325"/>
                    </a:cubicBezTo>
                    <a:cubicBezTo>
                      <a:pt x="23449" y="332281"/>
                      <a:pt x="31522" y="310148"/>
                      <a:pt x="22290" y="328613"/>
                    </a:cubicBezTo>
                    <a:cubicBezTo>
                      <a:pt x="20378" y="332436"/>
                      <a:pt x="19264" y="336613"/>
                      <a:pt x="17528" y="340519"/>
                    </a:cubicBezTo>
                    <a:cubicBezTo>
                      <a:pt x="18057" y="347663"/>
                      <a:pt x="-1258" y="359833"/>
                      <a:pt x="65" y="371475"/>
                    </a:cubicBezTo>
                    <a:cubicBezTo>
                      <a:pt x="1388" y="383117"/>
                      <a:pt x="25465" y="403887"/>
                      <a:pt x="25465" y="410369"/>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48" name="Freeform: Shape 447">
                <a:extLst>
                  <a:ext uri="{FF2B5EF4-FFF2-40B4-BE49-F238E27FC236}">
                    <a16:creationId xmlns:a16="http://schemas.microsoft.com/office/drawing/2014/main" id="{A4BFEE05-2F1F-45ED-96DA-32B1FEADE285}"/>
                  </a:ext>
                </a:extLst>
              </p:cNvPr>
              <p:cNvSpPr/>
              <p:nvPr/>
            </p:nvSpPr>
            <p:spPr bwMode="gray">
              <a:xfrm>
                <a:off x="8970169" y="3271838"/>
                <a:ext cx="180975" cy="238125"/>
              </a:xfrm>
              <a:custGeom>
                <a:avLst/>
                <a:gdLst>
                  <a:gd name="connsiteX0" fmla="*/ 180975 w 180975"/>
                  <a:gd name="connsiteY0" fmla="*/ 0 h 238125"/>
                  <a:gd name="connsiteX1" fmla="*/ 142875 w 180975"/>
                  <a:gd name="connsiteY1" fmla="*/ 35718 h 238125"/>
                  <a:gd name="connsiteX2" fmla="*/ 85725 w 180975"/>
                  <a:gd name="connsiteY2" fmla="*/ 88106 h 238125"/>
                  <a:gd name="connsiteX3" fmla="*/ 66675 w 180975"/>
                  <a:gd name="connsiteY3" fmla="*/ 152400 h 238125"/>
                  <a:gd name="connsiteX4" fmla="*/ 52387 w 180975"/>
                  <a:gd name="connsiteY4" fmla="*/ 219075 h 238125"/>
                  <a:gd name="connsiteX5" fmla="*/ 38100 w 180975"/>
                  <a:gd name="connsiteY5" fmla="*/ 238125 h 238125"/>
                  <a:gd name="connsiteX6" fmla="*/ 0 w 180975"/>
                  <a:gd name="connsiteY6" fmla="*/ 230981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975" h="238125">
                    <a:moveTo>
                      <a:pt x="180975" y="0"/>
                    </a:moveTo>
                    <a:lnTo>
                      <a:pt x="142875" y="35718"/>
                    </a:lnTo>
                    <a:lnTo>
                      <a:pt x="85725" y="88106"/>
                    </a:lnTo>
                    <a:lnTo>
                      <a:pt x="66675" y="152400"/>
                    </a:lnTo>
                    <a:lnTo>
                      <a:pt x="52387" y="219075"/>
                    </a:lnTo>
                    <a:lnTo>
                      <a:pt x="38100" y="238125"/>
                    </a:lnTo>
                    <a:lnTo>
                      <a:pt x="0" y="230981"/>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53" name="Freeform: Shape 452">
                <a:extLst>
                  <a:ext uri="{FF2B5EF4-FFF2-40B4-BE49-F238E27FC236}">
                    <a16:creationId xmlns:a16="http://schemas.microsoft.com/office/drawing/2014/main" id="{48D333E5-4B21-4FA6-B9FC-2014B353F0A7}"/>
                  </a:ext>
                </a:extLst>
              </p:cNvPr>
              <p:cNvSpPr/>
              <p:nvPr/>
            </p:nvSpPr>
            <p:spPr bwMode="gray">
              <a:xfrm>
                <a:off x="9163050" y="3107531"/>
                <a:ext cx="54769" cy="183357"/>
              </a:xfrm>
              <a:custGeom>
                <a:avLst/>
                <a:gdLst>
                  <a:gd name="connsiteX0" fmla="*/ 0 w 54769"/>
                  <a:gd name="connsiteY0" fmla="*/ 183357 h 183357"/>
                  <a:gd name="connsiteX1" fmla="*/ 30956 w 54769"/>
                  <a:gd name="connsiteY1" fmla="*/ 80963 h 183357"/>
                  <a:gd name="connsiteX2" fmla="*/ 54769 w 54769"/>
                  <a:gd name="connsiteY2" fmla="*/ 0 h 183357"/>
                </a:gdLst>
                <a:ahLst/>
                <a:cxnLst>
                  <a:cxn ang="0">
                    <a:pos x="connsiteX0" y="connsiteY0"/>
                  </a:cxn>
                  <a:cxn ang="0">
                    <a:pos x="connsiteX1" y="connsiteY1"/>
                  </a:cxn>
                  <a:cxn ang="0">
                    <a:pos x="connsiteX2" y="connsiteY2"/>
                  </a:cxn>
                </a:cxnLst>
                <a:rect l="l" t="t" r="r" b="b"/>
                <a:pathLst>
                  <a:path w="54769" h="183357">
                    <a:moveTo>
                      <a:pt x="0" y="183357"/>
                    </a:moveTo>
                    <a:lnTo>
                      <a:pt x="30956" y="80963"/>
                    </a:lnTo>
                    <a:lnTo>
                      <a:pt x="54769"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54" name="Freeform: Shape 453">
                <a:extLst>
                  <a:ext uri="{FF2B5EF4-FFF2-40B4-BE49-F238E27FC236}">
                    <a16:creationId xmlns:a16="http://schemas.microsoft.com/office/drawing/2014/main" id="{C9B8894F-C030-4727-8AE0-192DEFDAA9F1}"/>
                  </a:ext>
                </a:extLst>
              </p:cNvPr>
              <p:cNvSpPr/>
              <p:nvPr/>
            </p:nvSpPr>
            <p:spPr bwMode="gray">
              <a:xfrm>
                <a:off x="9222581" y="3114675"/>
                <a:ext cx="111919" cy="90488"/>
              </a:xfrm>
              <a:custGeom>
                <a:avLst/>
                <a:gdLst>
                  <a:gd name="connsiteX0" fmla="*/ 0 w 111919"/>
                  <a:gd name="connsiteY0" fmla="*/ 0 h 90488"/>
                  <a:gd name="connsiteX1" fmla="*/ 69057 w 111919"/>
                  <a:gd name="connsiteY1" fmla="*/ 26194 h 90488"/>
                  <a:gd name="connsiteX2" fmla="*/ 69057 w 111919"/>
                  <a:gd name="connsiteY2" fmla="*/ 45244 h 90488"/>
                  <a:gd name="connsiteX3" fmla="*/ 111919 w 111919"/>
                  <a:gd name="connsiteY3" fmla="*/ 90488 h 90488"/>
                </a:gdLst>
                <a:ahLst/>
                <a:cxnLst>
                  <a:cxn ang="0">
                    <a:pos x="connsiteX0" y="connsiteY0"/>
                  </a:cxn>
                  <a:cxn ang="0">
                    <a:pos x="connsiteX1" y="connsiteY1"/>
                  </a:cxn>
                  <a:cxn ang="0">
                    <a:pos x="connsiteX2" y="connsiteY2"/>
                  </a:cxn>
                  <a:cxn ang="0">
                    <a:pos x="connsiteX3" y="connsiteY3"/>
                  </a:cxn>
                </a:cxnLst>
                <a:rect l="l" t="t" r="r" b="b"/>
                <a:pathLst>
                  <a:path w="111919" h="90488">
                    <a:moveTo>
                      <a:pt x="0" y="0"/>
                    </a:moveTo>
                    <a:lnTo>
                      <a:pt x="69057" y="26194"/>
                    </a:lnTo>
                    <a:lnTo>
                      <a:pt x="69057" y="45244"/>
                    </a:lnTo>
                    <a:lnTo>
                      <a:pt x="111919" y="90488"/>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55" name="Freeform: Shape 454">
                <a:extLst>
                  <a:ext uri="{FF2B5EF4-FFF2-40B4-BE49-F238E27FC236}">
                    <a16:creationId xmlns:a16="http://schemas.microsoft.com/office/drawing/2014/main" id="{F2598143-61E8-446E-A77D-45102D960FA7}"/>
                  </a:ext>
                </a:extLst>
              </p:cNvPr>
              <p:cNvSpPr/>
              <p:nvPr/>
            </p:nvSpPr>
            <p:spPr bwMode="gray">
              <a:xfrm>
                <a:off x="9667875" y="3093244"/>
                <a:ext cx="157163" cy="133350"/>
              </a:xfrm>
              <a:custGeom>
                <a:avLst/>
                <a:gdLst>
                  <a:gd name="connsiteX0" fmla="*/ 0 w 157163"/>
                  <a:gd name="connsiteY0" fmla="*/ 0 h 133350"/>
                  <a:gd name="connsiteX1" fmla="*/ 64294 w 157163"/>
                  <a:gd name="connsiteY1" fmla="*/ 40481 h 133350"/>
                  <a:gd name="connsiteX2" fmla="*/ 104775 w 157163"/>
                  <a:gd name="connsiteY2" fmla="*/ 59531 h 133350"/>
                  <a:gd name="connsiteX3" fmla="*/ 111919 w 157163"/>
                  <a:gd name="connsiteY3" fmla="*/ 66675 h 133350"/>
                  <a:gd name="connsiteX4" fmla="*/ 157163 w 157163"/>
                  <a:gd name="connsiteY4" fmla="*/ 66675 h 133350"/>
                  <a:gd name="connsiteX5" fmla="*/ 138113 w 157163"/>
                  <a:gd name="connsiteY5" fmla="*/ 104775 h 133350"/>
                  <a:gd name="connsiteX6" fmla="*/ 150019 w 157163"/>
                  <a:gd name="connsiteY6" fmla="*/ 13335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163" h="133350">
                    <a:moveTo>
                      <a:pt x="0" y="0"/>
                    </a:moveTo>
                    <a:lnTo>
                      <a:pt x="64294" y="40481"/>
                    </a:lnTo>
                    <a:lnTo>
                      <a:pt x="104775" y="59531"/>
                    </a:lnTo>
                    <a:lnTo>
                      <a:pt x="111919" y="66675"/>
                    </a:lnTo>
                    <a:lnTo>
                      <a:pt x="157163" y="66675"/>
                    </a:lnTo>
                    <a:lnTo>
                      <a:pt x="138113" y="104775"/>
                    </a:lnTo>
                    <a:lnTo>
                      <a:pt x="150019" y="13335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56" name="Freeform: Shape 455">
                <a:extLst>
                  <a:ext uri="{FF2B5EF4-FFF2-40B4-BE49-F238E27FC236}">
                    <a16:creationId xmlns:a16="http://schemas.microsoft.com/office/drawing/2014/main" id="{A29D14CF-3EAF-4EA8-B065-256CDDC112A5}"/>
                  </a:ext>
                </a:extLst>
              </p:cNvPr>
              <p:cNvSpPr/>
              <p:nvPr/>
            </p:nvSpPr>
            <p:spPr bwMode="gray">
              <a:xfrm>
                <a:off x="9832181" y="3157538"/>
                <a:ext cx="30957" cy="2381"/>
              </a:xfrm>
              <a:custGeom>
                <a:avLst/>
                <a:gdLst>
                  <a:gd name="connsiteX0" fmla="*/ 30957 w 30957"/>
                  <a:gd name="connsiteY0" fmla="*/ 0 h 2381"/>
                  <a:gd name="connsiteX1" fmla="*/ 0 w 30957"/>
                  <a:gd name="connsiteY1" fmla="*/ 2381 h 2381"/>
                  <a:gd name="connsiteX2" fmla="*/ 30957 w 30957"/>
                  <a:gd name="connsiteY2" fmla="*/ 0 h 2381"/>
                </a:gdLst>
                <a:ahLst/>
                <a:cxnLst>
                  <a:cxn ang="0">
                    <a:pos x="connsiteX0" y="connsiteY0"/>
                  </a:cxn>
                  <a:cxn ang="0">
                    <a:pos x="connsiteX1" y="connsiteY1"/>
                  </a:cxn>
                  <a:cxn ang="0">
                    <a:pos x="connsiteX2" y="connsiteY2"/>
                  </a:cxn>
                </a:cxnLst>
                <a:rect l="l" t="t" r="r" b="b"/>
                <a:pathLst>
                  <a:path w="30957" h="2381">
                    <a:moveTo>
                      <a:pt x="30957" y="0"/>
                    </a:moveTo>
                    <a:lnTo>
                      <a:pt x="0" y="2381"/>
                    </a:lnTo>
                    <a:lnTo>
                      <a:pt x="30957" y="0"/>
                    </a:lnTo>
                    <a:close/>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57" name="Freeform: Shape 456">
                <a:extLst>
                  <a:ext uri="{FF2B5EF4-FFF2-40B4-BE49-F238E27FC236}">
                    <a16:creationId xmlns:a16="http://schemas.microsoft.com/office/drawing/2014/main" id="{4DC45DE1-BB93-48CC-A5F1-201E363CF86C}"/>
                  </a:ext>
                </a:extLst>
              </p:cNvPr>
              <p:cNvSpPr/>
              <p:nvPr/>
            </p:nvSpPr>
            <p:spPr bwMode="gray">
              <a:xfrm>
                <a:off x="9189244" y="3250406"/>
                <a:ext cx="357187" cy="102394"/>
              </a:xfrm>
              <a:custGeom>
                <a:avLst/>
                <a:gdLst>
                  <a:gd name="connsiteX0" fmla="*/ 0 w 357187"/>
                  <a:gd name="connsiteY0" fmla="*/ 57150 h 102394"/>
                  <a:gd name="connsiteX1" fmla="*/ 54769 w 357187"/>
                  <a:gd name="connsiteY1" fmla="*/ 90488 h 102394"/>
                  <a:gd name="connsiteX2" fmla="*/ 114300 w 357187"/>
                  <a:gd name="connsiteY2" fmla="*/ 102394 h 102394"/>
                  <a:gd name="connsiteX3" fmla="*/ 221456 w 357187"/>
                  <a:gd name="connsiteY3" fmla="*/ 47625 h 102394"/>
                  <a:gd name="connsiteX4" fmla="*/ 321469 w 357187"/>
                  <a:gd name="connsiteY4" fmla="*/ 9525 h 102394"/>
                  <a:gd name="connsiteX5" fmla="*/ 357187 w 357187"/>
                  <a:gd name="connsiteY5" fmla="*/ 0 h 102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187" h="102394">
                    <a:moveTo>
                      <a:pt x="0" y="57150"/>
                    </a:moveTo>
                    <a:lnTo>
                      <a:pt x="54769" y="90488"/>
                    </a:lnTo>
                    <a:lnTo>
                      <a:pt x="114300" y="102394"/>
                    </a:lnTo>
                    <a:lnTo>
                      <a:pt x="221456" y="47625"/>
                    </a:lnTo>
                    <a:lnTo>
                      <a:pt x="321469" y="9525"/>
                    </a:lnTo>
                    <a:lnTo>
                      <a:pt x="357187" y="0"/>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58" name="Freeform: Shape 457">
                <a:extLst>
                  <a:ext uri="{FF2B5EF4-FFF2-40B4-BE49-F238E27FC236}">
                    <a16:creationId xmlns:a16="http://schemas.microsoft.com/office/drawing/2014/main" id="{F840249E-2AC8-48A3-B544-CFD990EE02D1}"/>
                  </a:ext>
                </a:extLst>
              </p:cNvPr>
              <p:cNvSpPr/>
              <p:nvPr/>
            </p:nvSpPr>
            <p:spPr bwMode="gray">
              <a:xfrm>
                <a:off x="9313068" y="3313969"/>
                <a:ext cx="18729" cy="21740"/>
              </a:xfrm>
              <a:custGeom>
                <a:avLst/>
                <a:gdLst>
                  <a:gd name="connsiteX0" fmla="*/ 45 w 18729"/>
                  <a:gd name="connsiteY0" fmla="*/ 730 h 21740"/>
                  <a:gd name="connsiteX1" fmla="*/ 11951 w 18729"/>
                  <a:gd name="connsiteY1" fmla="*/ 5493 h 21740"/>
                  <a:gd name="connsiteX2" fmla="*/ 16714 w 18729"/>
                  <a:gd name="connsiteY2" fmla="*/ 19780 h 21740"/>
                  <a:gd name="connsiteX3" fmla="*/ 45 w 18729"/>
                  <a:gd name="connsiteY3" fmla="*/ 730 h 21740"/>
                </a:gdLst>
                <a:ahLst/>
                <a:cxnLst>
                  <a:cxn ang="0">
                    <a:pos x="connsiteX0" y="connsiteY0"/>
                  </a:cxn>
                  <a:cxn ang="0">
                    <a:pos x="connsiteX1" y="connsiteY1"/>
                  </a:cxn>
                  <a:cxn ang="0">
                    <a:pos x="connsiteX2" y="connsiteY2"/>
                  </a:cxn>
                  <a:cxn ang="0">
                    <a:pos x="connsiteX3" y="connsiteY3"/>
                  </a:cxn>
                </a:cxnLst>
                <a:rect l="l" t="t" r="r" b="b"/>
                <a:pathLst>
                  <a:path w="18729" h="21740">
                    <a:moveTo>
                      <a:pt x="45" y="730"/>
                    </a:moveTo>
                    <a:cubicBezTo>
                      <a:pt x="-749" y="-1651"/>
                      <a:pt x="9136" y="2276"/>
                      <a:pt x="11951" y="5493"/>
                    </a:cubicBezTo>
                    <a:cubicBezTo>
                      <a:pt x="15257" y="9271"/>
                      <a:pt x="13164" y="16230"/>
                      <a:pt x="16714" y="19780"/>
                    </a:cubicBezTo>
                    <a:cubicBezTo>
                      <a:pt x="25882" y="28948"/>
                      <a:pt x="839" y="3111"/>
                      <a:pt x="45" y="730"/>
                    </a:cubicBezTo>
                    <a:close/>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59" name="Freeform: Shape 458">
                <a:extLst>
                  <a:ext uri="{FF2B5EF4-FFF2-40B4-BE49-F238E27FC236}">
                    <a16:creationId xmlns:a16="http://schemas.microsoft.com/office/drawing/2014/main" id="{5A67375E-C81A-489A-8E3D-C0F3BFB38295}"/>
                  </a:ext>
                </a:extLst>
              </p:cNvPr>
              <p:cNvSpPr/>
              <p:nvPr/>
            </p:nvSpPr>
            <p:spPr bwMode="gray">
              <a:xfrm>
                <a:off x="9213045" y="3338244"/>
                <a:ext cx="14316" cy="27043"/>
              </a:xfrm>
              <a:custGeom>
                <a:avLst/>
                <a:gdLst>
                  <a:gd name="connsiteX0" fmla="*/ 11 w 14316"/>
                  <a:gd name="connsiteY0" fmla="*/ 26462 h 27043"/>
                  <a:gd name="connsiteX1" fmla="*/ 11918 w 14316"/>
                  <a:gd name="connsiteY1" fmla="*/ 16937 h 27043"/>
                  <a:gd name="connsiteX2" fmla="*/ 14299 w 14316"/>
                  <a:gd name="connsiteY2" fmla="*/ 269 h 27043"/>
                  <a:gd name="connsiteX3" fmla="*/ 11 w 14316"/>
                  <a:gd name="connsiteY3" fmla="*/ 26462 h 27043"/>
                </a:gdLst>
                <a:ahLst/>
                <a:cxnLst>
                  <a:cxn ang="0">
                    <a:pos x="connsiteX0" y="connsiteY0"/>
                  </a:cxn>
                  <a:cxn ang="0">
                    <a:pos x="connsiteX1" y="connsiteY1"/>
                  </a:cxn>
                  <a:cxn ang="0">
                    <a:pos x="connsiteX2" y="connsiteY2"/>
                  </a:cxn>
                  <a:cxn ang="0">
                    <a:pos x="connsiteX3" y="connsiteY3"/>
                  </a:cxn>
                </a:cxnLst>
                <a:rect l="l" t="t" r="r" b="b"/>
                <a:pathLst>
                  <a:path w="14316" h="27043">
                    <a:moveTo>
                      <a:pt x="11" y="26462"/>
                    </a:moveTo>
                    <a:cubicBezTo>
                      <a:pt x="-386" y="29240"/>
                      <a:pt x="9484" y="21399"/>
                      <a:pt x="11918" y="16937"/>
                    </a:cubicBezTo>
                    <a:cubicBezTo>
                      <a:pt x="14606" y="12010"/>
                      <a:pt x="13295" y="5791"/>
                      <a:pt x="14299" y="269"/>
                    </a:cubicBezTo>
                    <a:cubicBezTo>
                      <a:pt x="14884" y="-2951"/>
                      <a:pt x="408" y="23684"/>
                      <a:pt x="11" y="26462"/>
                    </a:cubicBezTo>
                    <a:close/>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60" name="Freeform: Shape 459">
                <a:extLst>
                  <a:ext uri="{FF2B5EF4-FFF2-40B4-BE49-F238E27FC236}">
                    <a16:creationId xmlns:a16="http://schemas.microsoft.com/office/drawing/2014/main" id="{FF398FD5-207C-45E4-87C3-497094F4890E}"/>
                  </a:ext>
                </a:extLst>
              </p:cNvPr>
              <p:cNvSpPr/>
              <p:nvPr/>
            </p:nvSpPr>
            <p:spPr bwMode="gray">
              <a:xfrm>
                <a:off x="8424863" y="3548063"/>
                <a:ext cx="550068" cy="409575"/>
              </a:xfrm>
              <a:custGeom>
                <a:avLst/>
                <a:gdLst>
                  <a:gd name="connsiteX0" fmla="*/ 550068 w 550068"/>
                  <a:gd name="connsiteY0" fmla="*/ 0 h 409575"/>
                  <a:gd name="connsiteX1" fmla="*/ 500062 w 550068"/>
                  <a:gd name="connsiteY1" fmla="*/ 33337 h 409575"/>
                  <a:gd name="connsiteX2" fmla="*/ 473868 w 550068"/>
                  <a:gd name="connsiteY2" fmla="*/ 45243 h 409575"/>
                  <a:gd name="connsiteX3" fmla="*/ 438150 w 550068"/>
                  <a:gd name="connsiteY3" fmla="*/ 104775 h 409575"/>
                  <a:gd name="connsiteX4" fmla="*/ 447675 w 550068"/>
                  <a:gd name="connsiteY4" fmla="*/ 135731 h 409575"/>
                  <a:gd name="connsiteX5" fmla="*/ 423862 w 550068"/>
                  <a:gd name="connsiteY5" fmla="*/ 192881 h 409575"/>
                  <a:gd name="connsiteX6" fmla="*/ 373856 w 550068"/>
                  <a:gd name="connsiteY6" fmla="*/ 250031 h 409575"/>
                  <a:gd name="connsiteX7" fmla="*/ 235743 w 550068"/>
                  <a:gd name="connsiteY7" fmla="*/ 304800 h 409575"/>
                  <a:gd name="connsiteX8" fmla="*/ 111918 w 550068"/>
                  <a:gd name="connsiteY8" fmla="*/ 352425 h 409575"/>
                  <a:gd name="connsiteX9" fmla="*/ 61912 w 550068"/>
                  <a:gd name="connsiteY9" fmla="*/ 373856 h 409575"/>
                  <a:gd name="connsiteX10" fmla="*/ 0 w 550068"/>
                  <a:gd name="connsiteY10" fmla="*/ 409575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0068" h="409575">
                    <a:moveTo>
                      <a:pt x="550068" y="0"/>
                    </a:moveTo>
                    <a:lnTo>
                      <a:pt x="500062" y="33337"/>
                    </a:lnTo>
                    <a:lnTo>
                      <a:pt x="473868" y="45243"/>
                    </a:lnTo>
                    <a:lnTo>
                      <a:pt x="438150" y="104775"/>
                    </a:lnTo>
                    <a:lnTo>
                      <a:pt x="447675" y="135731"/>
                    </a:lnTo>
                    <a:lnTo>
                      <a:pt x="423862" y="192881"/>
                    </a:lnTo>
                    <a:lnTo>
                      <a:pt x="373856" y="250031"/>
                    </a:lnTo>
                    <a:lnTo>
                      <a:pt x="235743" y="304800"/>
                    </a:lnTo>
                    <a:lnTo>
                      <a:pt x="111918" y="352425"/>
                    </a:lnTo>
                    <a:lnTo>
                      <a:pt x="61912" y="373856"/>
                    </a:lnTo>
                    <a:lnTo>
                      <a:pt x="0" y="409575"/>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61" name="Freeform: Shape 460">
                <a:extLst>
                  <a:ext uri="{FF2B5EF4-FFF2-40B4-BE49-F238E27FC236}">
                    <a16:creationId xmlns:a16="http://schemas.microsoft.com/office/drawing/2014/main" id="{64AFC3FA-C79F-45F9-9703-A602A4F85EA5}"/>
                  </a:ext>
                </a:extLst>
              </p:cNvPr>
              <p:cNvSpPr/>
              <p:nvPr/>
            </p:nvSpPr>
            <p:spPr bwMode="gray">
              <a:xfrm>
                <a:off x="8674894" y="3806514"/>
                <a:ext cx="97652" cy="303524"/>
              </a:xfrm>
              <a:custGeom>
                <a:avLst/>
                <a:gdLst>
                  <a:gd name="connsiteX0" fmla="*/ 57150 w 97652"/>
                  <a:gd name="connsiteY0" fmla="*/ 303524 h 303524"/>
                  <a:gd name="connsiteX1" fmla="*/ 59531 w 97652"/>
                  <a:gd name="connsiteY1" fmla="*/ 263042 h 303524"/>
                  <a:gd name="connsiteX2" fmla="*/ 66675 w 97652"/>
                  <a:gd name="connsiteY2" fmla="*/ 251136 h 303524"/>
                  <a:gd name="connsiteX3" fmla="*/ 69056 w 97652"/>
                  <a:gd name="connsiteY3" fmla="*/ 243992 h 303524"/>
                  <a:gd name="connsiteX4" fmla="*/ 73819 w 97652"/>
                  <a:gd name="connsiteY4" fmla="*/ 217799 h 303524"/>
                  <a:gd name="connsiteX5" fmla="*/ 76200 w 97652"/>
                  <a:gd name="connsiteY5" fmla="*/ 210655 h 303524"/>
                  <a:gd name="connsiteX6" fmla="*/ 88106 w 97652"/>
                  <a:gd name="connsiteY6" fmla="*/ 193986 h 303524"/>
                  <a:gd name="connsiteX7" fmla="*/ 92869 w 97652"/>
                  <a:gd name="connsiteY7" fmla="*/ 179699 h 303524"/>
                  <a:gd name="connsiteX8" fmla="*/ 95250 w 97652"/>
                  <a:gd name="connsiteY8" fmla="*/ 160649 h 303524"/>
                  <a:gd name="connsiteX9" fmla="*/ 97631 w 97652"/>
                  <a:gd name="connsiteY9" fmla="*/ 143980 h 303524"/>
                  <a:gd name="connsiteX10" fmla="*/ 92869 w 97652"/>
                  <a:gd name="connsiteY10" fmla="*/ 105880 h 303524"/>
                  <a:gd name="connsiteX11" fmla="*/ 83344 w 97652"/>
                  <a:gd name="connsiteY11" fmla="*/ 101117 h 303524"/>
                  <a:gd name="connsiteX12" fmla="*/ 76200 w 97652"/>
                  <a:gd name="connsiteY12" fmla="*/ 91592 h 303524"/>
                  <a:gd name="connsiteX13" fmla="*/ 73819 w 97652"/>
                  <a:gd name="connsiteY13" fmla="*/ 84449 h 303524"/>
                  <a:gd name="connsiteX14" fmla="*/ 71437 w 97652"/>
                  <a:gd name="connsiteY14" fmla="*/ 1105 h 303524"/>
                  <a:gd name="connsiteX15" fmla="*/ 35719 w 97652"/>
                  <a:gd name="connsiteY15" fmla="*/ 10630 h 303524"/>
                  <a:gd name="connsiteX16" fmla="*/ 33337 w 97652"/>
                  <a:gd name="connsiteY16" fmla="*/ 24917 h 303524"/>
                  <a:gd name="connsiteX17" fmla="*/ 26194 w 97652"/>
                  <a:gd name="connsiteY17" fmla="*/ 29680 h 303524"/>
                  <a:gd name="connsiteX18" fmla="*/ 7144 w 97652"/>
                  <a:gd name="connsiteY18" fmla="*/ 36824 h 303524"/>
                  <a:gd name="connsiteX19" fmla="*/ 0 w 97652"/>
                  <a:gd name="connsiteY19" fmla="*/ 39205 h 303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7652" h="303524">
                    <a:moveTo>
                      <a:pt x="57150" y="303524"/>
                    </a:moveTo>
                    <a:cubicBezTo>
                      <a:pt x="57944" y="290030"/>
                      <a:pt x="57113" y="276341"/>
                      <a:pt x="59531" y="263042"/>
                    </a:cubicBezTo>
                    <a:cubicBezTo>
                      <a:pt x="60359" y="258488"/>
                      <a:pt x="64605" y="255276"/>
                      <a:pt x="66675" y="251136"/>
                    </a:cubicBezTo>
                    <a:cubicBezTo>
                      <a:pt x="67798" y="248891"/>
                      <a:pt x="68512" y="246442"/>
                      <a:pt x="69056" y="243992"/>
                    </a:cubicBezTo>
                    <a:cubicBezTo>
                      <a:pt x="73307" y="224862"/>
                      <a:pt x="69480" y="235152"/>
                      <a:pt x="73819" y="217799"/>
                    </a:cubicBezTo>
                    <a:cubicBezTo>
                      <a:pt x="74428" y="215364"/>
                      <a:pt x="74955" y="212834"/>
                      <a:pt x="76200" y="210655"/>
                    </a:cubicBezTo>
                    <a:cubicBezTo>
                      <a:pt x="77966" y="207565"/>
                      <a:pt x="86259" y="198141"/>
                      <a:pt x="88106" y="193986"/>
                    </a:cubicBezTo>
                    <a:cubicBezTo>
                      <a:pt x="90145" y="189399"/>
                      <a:pt x="91281" y="184461"/>
                      <a:pt x="92869" y="179699"/>
                    </a:cubicBezTo>
                    <a:cubicBezTo>
                      <a:pt x="93663" y="173349"/>
                      <a:pt x="94404" y="166992"/>
                      <a:pt x="95250" y="160649"/>
                    </a:cubicBezTo>
                    <a:cubicBezTo>
                      <a:pt x="95992" y="155085"/>
                      <a:pt x="97875" y="149587"/>
                      <a:pt x="97631" y="143980"/>
                    </a:cubicBezTo>
                    <a:cubicBezTo>
                      <a:pt x="97075" y="131193"/>
                      <a:pt x="96916" y="118022"/>
                      <a:pt x="92869" y="105880"/>
                    </a:cubicBezTo>
                    <a:cubicBezTo>
                      <a:pt x="91746" y="102512"/>
                      <a:pt x="86519" y="102705"/>
                      <a:pt x="83344" y="101117"/>
                    </a:cubicBezTo>
                    <a:cubicBezTo>
                      <a:pt x="80963" y="97942"/>
                      <a:pt x="78169" y="95038"/>
                      <a:pt x="76200" y="91592"/>
                    </a:cubicBezTo>
                    <a:cubicBezTo>
                      <a:pt x="74955" y="89413"/>
                      <a:pt x="73951" y="86955"/>
                      <a:pt x="73819" y="84449"/>
                    </a:cubicBezTo>
                    <a:cubicBezTo>
                      <a:pt x="72358" y="56695"/>
                      <a:pt x="72231" y="28886"/>
                      <a:pt x="71437" y="1105"/>
                    </a:cubicBezTo>
                    <a:cubicBezTo>
                      <a:pt x="44466" y="3031"/>
                      <a:pt x="39624" y="-6940"/>
                      <a:pt x="35719" y="10630"/>
                    </a:cubicBezTo>
                    <a:cubicBezTo>
                      <a:pt x="34672" y="15343"/>
                      <a:pt x="35496" y="20599"/>
                      <a:pt x="33337" y="24917"/>
                    </a:cubicBezTo>
                    <a:cubicBezTo>
                      <a:pt x="32057" y="27477"/>
                      <a:pt x="28679" y="28260"/>
                      <a:pt x="26194" y="29680"/>
                    </a:cubicBezTo>
                    <a:cubicBezTo>
                      <a:pt x="15103" y="36018"/>
                      <a:pt x="18858" y="33477"/>
                      <a:pt x="7144" y="36824"/>
                    </a:cubicBezTo>
                    <a:cubicBezTo>
                      <a:pt x="4730" y="37514"/>
                      <a:pt x="0" y="39205"/>
                      <a:pt x="0" y="39205"/>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62" name="Freeform: Shape 461">
                <a:extLst>
                  <a:ext uri="{FF2B5EF4-FFF2-40B4-BE49-F238E27FC236}">
                    <a16:creationId xmlns:a16="http://schemas.microsoft.com/office/drawing/2014/main" id="{EE084A82-1220-456C-88EA-A00785C53A1E}"/>
                  </a:ext>
                </a:extLst>
              </p:cNvPr>
              <p:cNvSpPr/>
              <p:nvPr/>
            </p:nvSpPr>
            <p:spPr bwMode="gray">
              <a:xfrm>
                <a:off x="8465344" y="3821906"/>
                <a:ext cx="197644" cy="133350"/>
              </a:xfrm>
              <a:custGeom>
                <a:avLst/>
                <a:gdLst>
                  <a:gd name="connsiteX0" fmla="*/ 185737 w 197644"/>
                  <a:gd name="connsiteY0" fmla="*/ 0 h 133350"/>
                  <a:gd name="connsiteX1" fmla="*/ 197644 w 197644"/>
                  <a:gd name="connsiteY1" fmla="*/ 64294 h 133350"/>
                  <a:gd name="connsiteX2" fmla="*/ 142875 w 197644"/>
                  <a:gd name="connsiteY2" fmla="*/ 80963 h 133350"/>
                  <a:gd name="connsiteX3" fmla="*/ 109537 w 197644"/>
                  <a:gd name="connsiteY3" fmla="*/ 111919 h 133350"/>
                  <a:gd name="connsiteX4" fmla="*/ 61912 w 197644"/>
                  <a:gd name="connsiteY4" fmla="*/ 121444 h 133350"/>
                  <a:gd name="connsiteX5" fmla="*/ 23812 w 197644"/>
                  <a:gd name="connsiteY5" fmla="*/ 133350 h 133350"/>
                  <a:gd name="connsiteX6" fmla="*/ 0 w 197644"/>
                  <a:gd name="connsiteY6" fmla="*/ 107157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7644" h="133350">
                    <a:moveTo>
                      <a:pt x="185737" y="0"/>
                    </a:moveTo>
                    <a:lnTo>
                      <a:pt x="197644" y="64294"/>
                    </a:lnTo>
                    <a:lnTo>
                      <a:pt x="142875" y="80963"/>
                    </a:lnTo>
                    <a:lnTo>
                      <a:pt x="109537" y="111919"/>
                    </a:lnTo>
                    <a:lnTo>
                      <a:pt x="61912" y="121444"/>
                    </a:lnTo>
                    <a:lnTo>
                      <a:pt x="23812" y="133350"/>
                    </a:lnTo>
                    <a:lnTo>
                      <a:pt x="0" y="107157"/>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63" name="Freeform: Shape 462">
                <a:extLst>
                  <a:ext uri="{FF2B5EF4-FFF2-40B4-BE49-F238E27FC236}">
                    <a16:creationId xmlns:a16="http://schemas.microsoft.com/office/drawing/2014/main" id="{2267B4B3-7181-4528-8225-6FCE3BA07F67}"/>
                  </a:ext>
                </a:extLst>
              </p:cNvPr>
              <p:cNvSpPr/>
              <p:nvPr/>
            </p:nvSpPr>
            <p:spPr bwMode="gray">
              <a:xfrm>
                <a:off x="8796009" y="3796999"/>
                <a:ext cx="26537" cy="36816"/>
              </a:xfrm>
              <a:custGeom>
                <a:avLst/>
                <a:gdLst>
                  <a:gd name="connsiteX0" fmla="*/ 328 w 26537"/>
                  <a:gd name="connsiteY0" fmla="*/ 1095 h 36816"/>
                  <a:gd name="connsiteX1" fmla="*/ 12235 w 26537"/>
                  <a:gd name="connsiteY1" fmla="*/ 10620 h 36816"/>
                  <a:gd name="connsiteX2" fmla="*/ 14616 w 26537"/>
                  <a:gd name="connsiteY2" fmla="*/ 20145 h 36816"/>
                  <a:gd name="connsiteX3" fmla="*/ 26522 w 26537"/>
                  <a:gd name="connsiteY3" fmla="*/ 36814 h 36816"/>
                  <a:gd name="connsiteX4" fmla="*/ 328 w 26537"/>
                  <a:gd name="connsiteY4" fmla="*/ 1095 h 36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37" h="36816">
                    <a:moveTo>
                      <a:pt x="328" y="1095"/>
                    </a:moveTo>
                    <a:cubicBezTo>
                      <a:pt x="-2053" y="-3271"/>
                      <a:pt x="9185" y="6554"/>
                      <a:pt x="12235" y="10620"/>
                    </a:cubicBezTo>
                    <a:cubicBezTo>
                      <a:pt x="14199" y="13238"/>
                      <a:pt x="13581" y="17040"/>
                      <a:pt x="14616" y="20145"/>
                    </a:cubicBezTo>
                    <a:cubicBezTo>
                      <a:pt x="18211" y="30930"/>
                      <a:pt x="17315" y="32210"/>
                      <a:pt x="26522" y="36814"/>
                    </a:cubicBezTo>
                    <a:cubicBezTo>
                      <a:pt x="27232" y="37169"/>
                      <a:pt x="2709" y="5461"/>
                      <a:pt x="328" y="1095"/>
                    </a:cubicBezTo>
                    <a:close/>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64" name="Freeform: Shape 463">
                <a:extLst>
                  <a:ext uri="{FF2B5EF4-FFF2-40B4-BE49-F238E27FC236}">
                    <a16:creationId xmlns:a16="http://schemas.microsoft.com/office/drawing/2014/main" id="{C327EE33-93A1-4FCB-A7F5-90E2BA712833}"/>
                  </a:ext>
                </a:extLst>
              </p:cNvPr>
              <p:cNvSpPr/>
              <p:nvPr/>
            </p:nvSpPr>
            <p:spPr bwMode="gray">
              <a:xfrm>
                <a:off x="8727281" y="3987323"/>
                <a:ext cx="34074" cy="5439"/>
              </a:xfrm>
              <a:custGeom>
                <a:avLst/>
                <a:gdLst>
                  <a:gd name="connsiteX0" fmla="*/ 0 w 34074"/>
                  <a:gd name="connsiteY0" fmla="*/ 1271 h 5439"/>
                  <a:gd name="connsiteX1" fmla="*/ 30956 w 34074"/>
                  <a:gd name="connsiteY1" fmla="*/ 3652 h 5439"/>
                  <a:gd name="connsiteX2" fmla="*/ 0 w 34074"/>
                  <a:gd name="connsiteY2" fmla="*/ 1271 h 5439"/>
                </a:gdLst>
                <a:ahLst/>
                <a:cxnLst>
                  <a:cxn ang="0">
                    <a:pos x="connsiteX0" y="connsiteY0"/>
                  </a:cxn>
                  <a:cxn ang="0">
                    <a:pos x="connsiteX1" y="connsiteY1"/>
                  </a:cxn>
                  <a:cxn ang="0">
                    <a:pos x="connsiteX2" y="connsiteY2"/>
                  </a:cxn>
                </a:cxnLst>
                <a:rect l="l" t="t" r="r" b="b"/>
                <a:pathLst>
                  <a:path w="34074" h="5439">
                    <a:moveTo>
                      <a:pt x="0" y="1271"/>
                    </a:moveTo>
                    <a:cubicBezTo>
                      <a:pt x="0" y="1271"/>
                      <a:pt x="11568" y="-2811"/>
                      <a:pt x="30956" y="3652"/>
                    </a:cubicBezTo>
                    <a:cubicBezTo>
                      <a:pt x="46307" y="8769"/>
                      <a:pt x="0" y="1271"/>
                      <a:pt x="0" y="1271"/>
                    </a:cubicBezTo>
                    <a:close/>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65" name="Freeform: Shape 464">
                <a:extLst>
                  <a:ext uri="{FF2B5EF4-FFF2-40B4-BE49-F238E27FC236}">
                    <a16:creationId xmlns:a16="http://schemas.microsoft.com/office/drawing/2014/main" id="{93391F29-2645-45E4-B0EE-1C8D1C0DDC84}"/>
                  </a:ext>
                </a:extLst>
              </p:cNvPr>
              <p:cNvSpPr/>
              <p:nvPr/>
            </p:nvSpPr>
            <p:spPr bwMode="gray">
              <a:xfrm>
                <a:off x="8782050" y="2647950"/>
                <a:ext cx="547688" cy="54769"/>
              </a:xfrm>
              <a:custGeom>
                <a:avLst/>
                <a:gdLst>
                  <a:gd name="connsiteX0" fmla="*/ 0 w 547688"/>
                  <a:gd name="connsiteY0" fmla="*/ 11906 h 54769"/>
                  <a:gd name="connsiteX1" fmla="*/ 71438 w 547688"/>
                  <a:gd name="connsiteY1" fmla="*/ 9525 h 54769"/>
                  <a:gd name="connsiteX2" fmla="*/ 107156 w 547688"/>
                  <a:gd name="connsiteY2" fmla="*/ 0 h 54769"/>
                  <a:gd name="connsiteX3" fmla="*/ 161925 w 547688"/>
                  <a:gd name="connsiteY3" fmla="*/ 14288 h 54769"/>
                  <a:gd name="connsiteX4" fmla="*/ 292894 w 547688"/>
                  <a:gd name="connsiteY4" fmla="*/ 38100 h 54769"/>
                  <a:gd name="connsiteX5" fmla="*/ 314325 w 547688"/>
                  <a:gd name="connsiteY5" fmla="*/ 35719 h 54769"/>
                  <a:gd name="connsiteX6" fmla="*/ 433388 w 547688"/>
                  <a:gd name="connsiteY6" fmla="*/ 38100 h 54769"/>
                  <a:gd name="connsiteX7" fmla="*/ 497681 w 547688"/>
                  <a:gd name="connsiteY7" fmla="*/ 42863 h 54769"/>
                  <a:gd name="connsiteX8" fmla="*/ 521494 w 547688"/>
                  <a:gd name="connsiteY8" fmla="*/ 54769 h 54769"/>
                  <a:gd name="connsiteX9" fmla="*/ 547688 w 547688"/>
                  <a:gd name="connsiteY9" fmla="*/ 47625 h 5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688" h="54769">
                    <a:moveTo>
                      <a:pt x="0" y="11906"/>
                    </a:moveTo>
                    <a:lnTo>
                      <a:pt x="71438" y="9525"/>
                    </a:lnTo>
                    <a:lnTo>
                      <a:pt x="107156" y="0"/>
                    </a:lnTo>
                    <a:lnTo>
                      <a:pt x="161925" y="14288"/>
                    </a:lnTo>
                    <a:lnTo>
                      <a:pt x="292894" y="38100"/>
                    </a:lnTo>
                    <a:lnTo>
                      <a:pt x="314325" y="35719"/>
                    </a:lnTo>
                    <a:lnTo>
                      <a:pt x="433388" y="38100"/>
                    </a:lnTo>
                    <a:lnTo>
                      <a:pt x="497681" y="42863"/>
                    </a:lnTo>
                    <a:lnTo>
                      <a:pt x="521494" y="54769"/>
                    </a:lnTo>
                    <a:lnTo>
                      <a:pt x="547688" y="47625"/>
                    </a:ln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66" name="Freeform: Shape 465">
                <a:extLst>
                  <a:ext uri="{FF2B5EF4-FFF2-40B4-BE49-F238E27FC236}">
                    <a16:creationId xmlns:a16="http://schemas.microsoft.com/office/drawing/2014/main" id="{966BEA49-E87B-48AC-841B-0A842C7C94FE}"/>
                  </a:ext>
                </a:extLst>
              </p:cNvPr>
              <p:cNvSpPr/>
              <p:nvPr/>
            </p:nvSpPr>
            <p:spPr bwMode="gray">
              <a:xfrm>
                <a:off x="9293173" y="2616200"/>
                <a:ext cx="166345" cy="215900"/>
              </a:xfrm>
              <a:custGeom>
                <a:avLst/>
                <a:gdLst>
                  <a:gd name="connsiteX0" fmla="*/ 66727 w 166345"/>
                  <a:gd name="connsiteY0" fmla="*/ 44450 h 215900"/>
                  <a:gd name="connsiteX1" fmla="*/ 69902 w 166345"/>
                  <a:gd name="connsiteY1" fmla="*/ 28575 h 215900"/>
                  <a:gd name="connsiteX2" fmla="*/ 95302 w 166345"/>
                  <a:gd name="connsiteY2" fmla="*/ 3175 h 215900"/>
                  <a:gd name="connsiteX3" fmla="*/ 108002 w 166345"/>
                  <a:gd name="connsiteY3" fmla="*/ 0 h 215900"/>
                  <a:gd name="connsiteX4" fmla="*/ 123877 w 166345"/>
                  <a:gd name="connsiteY4" fmla="*/ 6350 h 215900"/>
                  <a:gd name="connsiteX5" fmla="*/ 139752 w 166345"/>
                  <a:gd name="connsiteY5" fmla="*/ 28575 h 215900"/>
                  <a:gd name="connsiteX6" fmla="*/ 149277 w 166345"/>
                  <a:gd name="connsiteY6" fmla="*/ 44450 h 215900"/>
                  <a:gd name="connsiteX7" fmla="*/ 165152 w 166345"/>
                  <a:gd name="connsiteY7" fmla="*/ 38100 h 215900"/>
                  <a:gd name="connsiteX8" fmla="*/ 152452 w 166345"/>
                  <a:gd name="connsiteY8" fmla="*/ 88900 h 215900"/>
                  <a:gd name="connsiteX9" fmla="*/ 139752 w 166345"/>
                  <a:gd name="connsiteY9" fmla="*/ 111125 h 215900"/>
                  <a:gd name="connsiteX10" fmla="*/ 127052 w 166345"/>
                  <a:gd name="connsiteY10" fmla="*/ 123825 h 215900"/>
                  <a:gd name="connsiteX11" fmla="*/ 104827 w 166345"/>
                  <a:gd name="connsiteY11" fmla="*/ 146050 h 215900"/>
                  <a:gd name="connsiteX12" fmla="*/ 76252 w 166345"/>
                  <a:gd name="connsiteY12" fmla="*/ 149225 h 215900"/>
                  <a:gd name="connsiteX13" fmla="*/ 54027 w 166345"/>
                  <a:gd name="connsiteY13" fmla="*/ 152400 h 215900"/>
                  <a:gd name="connsiteX14" fmla="*/ 38152 w 166345"/>
                  <a:gd name="connsiteY14" fmla="*/ 158750 h 215900"/>
                  <a:gd name="connsiteX15" fmla="*/ 9577 w 166345"/>
                  <a:gd name="connsiteY15" fmla="*/ 168275 h 215900"/>
                  <a:gd name="connsiteX16" fmla="*/ 52 w 166345"/>
                  <a:gd name="connsiteY16" fmla="*/ 187325 h 215900"/>
                  <a:gd name="connsiteX17" fmla="*/ 6402 w 166345"/>
                  <a:gd name="connsiteY17" fmla="*/ 200025 h 215900"/>
                  <a:gd name="connsiteX18" fmla="*/ 25452 w 166345"/>
                  <a:gd name="connsiteY18" fmla="*/ 209550 h 215900"/>
                  <a:gd name="connsiteX19" fmla="*/ 34977 w 166345"/>
                  <a:gd name="connsiteY19" fmla="*/ 215900 h 21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6345" h="215900">
                    <a:moveTo>
                      <a:pt x="66727" y="44450"/>
                    </a:moveTo>
                    <a:cubicBezTo>
                      <a:pt x="67785" y="39158"/>
                      <a:pt x="67669" y="33488"/>
                      <a:pt x="69902" y="28575"/>
                    </a:cubicBezTo>
                    <a:cubicBezTo>
                      <a:pt x="77193" y="12536"/>
                      <a:pt x="80759" y="8629"/>
                      <a:pt x="95302" y="3175"/>
                    </a:cubicBezTo>
                    <a:cubicBezTo>
                      <a:pt x="99388" y="1643"/>
                      <a:pt x="103769" y="1058"/>
                      <a:pt x="108002" y="0"/>
                    </a:cubicBezTo>
                    <a:cubicBezTo>
                      <a:pt x="113294" y="2117"/>
                      <a:pt x="119135" y="3189"/>
                      <a:pt x="123877" y="6350"/>
                    </a:cubicBezTo>
                    <a:cubicBezTo>
                      <a:pt x="141977" y="18416"/>
                      <a:pt x="132988" y="15048"/>
                      <a:pt x="139752" y="28575"/>
                    </a:cubicBezTo>
                    <a:cubicBezTo>
                      <a:pt x="142512" y="34095"/>
                      <a:pt x="146102" y="39158"/>
                      <a:pt x="149277" y="44450"/>
                    </a:cubicBezTo>
                    <a:cubicBezTo>
                      <a:pt x="154569" y="42333"/>
                      <a:pt x="170851" y="38100"/>
                      <a:pt x="165152" y="38100"/>
                    </a:cubicBezTo>
                    <a:cubicBezTo>
                      <a:pt x="130320" y="38100"/>
                      <a:pt x="148696" y="62606"/>
                      <a:pt x="152452" y="88900"/>
                    </a:cubicBezTo>
                    <a:cubicBezTo>
                      <a:pt x="148849" y="96107"/>
                      <a:pt x="145137" y="104842"/>
                      <a:pt x="139752" y="111125"/>
                    </a:cubicBezTo>
                    <a:cubicBezTo>
                      <a:pt x="135856" y="115671"/>
                      <a:pt x="130994" y="119319"/>
                      <a:pt x="127052" y="123825"/>
                    </a:cubicBezTo>
                    <a:cubicBezTo>
                      <a:pt x="120423" y="131400"/>
                      <a:pt x="115689" y="142708"/>
                      <a:pt x="104827" y="146050"/>
                    </a:cubicBezTo>
                    <a:cubicBezTo>
                      <a:pt x="95667" y="148868"/>
                      <a:pt x="85762" y="148036"/>
                      <a:pt x="76252" y="149225"/>
                    </a:cubicBezTo>
                    <a:cubicBezTo>
                      <a:pt x="68826" y="150153"/>
                      <a:pt x="61435" y="151342"/>
                      <a:pt x="54027" y="152400"/>
                    </a:cubicBezTo>
                    <a:cubicBezTo>
                      <a:pt x="48735" y="154517"/>
                      <a:pt x="43519" y="156833"/>
                      <a:pt x="38152" y="158750"/>
                    </a:cubicBezTo>
                    <a:cubicBezTo>
                      <a:pt x="28697" y="162127"/>
                      <a:pt x="9577" y="168275"/>
                      <a:pt x="9577" y="168275"/>
                    </a:cubicBezTo>
                    <a:cubicBezTo>
                      <a:pt x="7248" y="171768"/>
                      <a:pt x="-721" y="181912"/>
                      <a:pt x="52" y="187325"/>
                    </a:cubicBezTo>
                    <a:cubicBezTo>
                      <a:pt x="721" y="192010"/>
                      <a:pt x="3372" y="196389"/>
                      <a:pt x="6402" y="200025"/>
                    </a:cubicBezTo>
                    <a:cubicBezTo>
                      <a:pt x="12901" y="207824"/>
                      <a:pt x="17403" y="205525"/>
                      <a:pt x="25452" y="209550"/>
                    </a:cubicBezTo>
                    <a:cubicBezTo>
                      <a:pt x="28865" y="211257"/>
                      <a:pt x="34977" y="215900"/>
                      <a:pt x="34977" y="215900"/>
                    </a:cubicBezTo>
                  </a:path>
                </a:pathLst>
              </a:custGeom>
              <a:noFill/>
              <a:ln w="9525" cap="rnd">
                <a:solidFill>
                  <a:schemeClr val="bg1">
                    <a:lumMod val="6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grpSp>
      </p:grpSp>
      <p:grpSp>
        <p:nvGrpSpPr>
          <p:cNvPr id="124" name="Group 123">
            <a:extLst>
              <a:ext uri="{FF2B5EF4-FFF2-40B4-BE49-F238E27FC236}">
                <a16:creationId xmlns:a16="http://schemas.microsoft.com/office/drawing/2014/main" id="{C0AFA774-3FF5-4902-9FAB-BCCF3CCB105A}"/>
              </a:ext>
            </a:extLst>
          </p:cNvPr>
          <p:cNvGrpSpPr/>
          <p:nvPr/>
        </p:nvGrpSpPr>
        <p:grpSpPr bwMode="gray">
          <a:xfrm>
            <a:off x="1962680" y="2578800"/>
            <a:ext cx="8055837" cy="2363563"/>
            <a:chOff x="1841501" y="2347479"/>
            <a:chExt cx="8018462" cy="2227697"/>
          </a:xfrm>
        </p:grpSpPr>
        <p:sp>
          <p:nvSpPr>
            <p:cNvPr id="159" name="Freeform 29">
              <a:extLst>
                <a:ext uri="{FF2B5EF4-FFF2-40B4-BE49-F238E27FC236}">
                  <a16:creationId xmlns:a16="http://schemas.microsoft.com/office/drawing/2014/main" id="{CF9BDE7B-6EBC-4873-937C-B1FE11435C3B}"/>
                </a:ext>
              </a:extLst>
            </p:cNvPr>
            <p:cNvSpPr>
              <a:spLocks/>
            </p:cNvSpPr>
            <p:nvPr/>
          </p:nvSpPr>
          <p:spPr bwMode="gray">
            <a:xfrm>
              <a:off x="7167140" y="2347479"/>
              <a:ext cx="92075" cy="87313"/>
            </a:xfrm>
            <a:custGeom>
              <a:avLst/>
              <a:gdLst>
                <a:gd name="T0" fmla="*/ 0 w 58"/>
                <a:gd name="T1" fmla="*/ 0 h 55"/>
                <a:gd name="T2" fmla="*/ 58 w 58"/>
                <a:gd name="T3" fmla="*/ 0 h 55"/>
                <a:gd name="T4" fmla="*/ 58 w 58"/>
                <a:gd name="T5" fmla="*/ 55 h 55"/>
                <a:gd name="T6" fmla="*/ 0 w 58"/>
                <a:gd name="T7" fmla="*/ 55 h 55"/>
                <a:gd name="T8" fmla="*/ 0 w 58"/>
                <a:gd name="T9" fmla="*/ 0 h 55"/>
                <a:gd name="T10" fmla="*/ 0 w 58"/>
                <a:gd name="T11" fmla="*/ 0 h 55"/>
                <a:gd name="T12" fmla="*/ 0 w 58"/>
                <a:gd name="T13" fmla="*/ 0 h 55"/>
              </a:gdLst>
              <a:ahLst/>
              <a:cxnLst>
                <a:cxn ang="0">
                  <a:pos x="T0" y="T1"/>
                </a:cxn>
                <a:cxn ang="0">
                  <a:pos x="T2" y="T3"/>
                </a:cxn>
                <a:cxn ang="0">
                  <a:pos x="T4" y="T5"/>
                </a:cxn>
                <a:cxn ang="0">
                  <a:pos x="T6" y="T7"/>
                </a:cxn>
                <a:cxn ang="0">
                  <a:pos x="T8" y="T9"/>
                </a:cxn>
                <a:cxn ang="0">
                  <a:pos x="T10" y="T11"/>
                </a:cxn>
                <a:cxn ang="0">
                  <a:pos x="T12" y="T13"/>
                </a:cxn>
              </a:cxnLst>
              <a:rect l="0" t="0" r="r" b="b"/>
              <a:pathLst>
                <a:path w="58" h="55">
                  <a:moveTo>
                    <a:pt x="0" y="0"/>
                  </a:moveTo>
                  <a:lnTo>
                    <a:pt x="58" y="0"/>
                  </a:lnTo>
                  <a:lnTo>
                    <a:pt x="58" y="55"/>
                  </a:lnTo>
                  <a:lnTo>
                    <a:pt x="0" y="55"/>
                  </a:lnTo>
                  <a:lnTo>
                    <a:pt x="0" y="0"/>
                  </a:lnTo>
                  <a:lnTo>
                    <a:pt x="0" y="0"/>
                  </a:lnTo>
                  <a:lnTo>
                    <a:pt x="0" y="0"/>
                  </a:lnTo>
                  <a:close/>
                </a:path>
              </a:pathLst>
            </a:custGeom>
            <a:solidFill>
              <a:srgbClr val="000850"/>
            </a:solidFill>
            <a:ln w="1588"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160" name="Freeform 30">
              <a:extLst>
                <a:ext uri="{FF2B5EF4-FFF2-40B4-BE49-F238E27FC236}">
                  <a16:creationId xmlns:a16="http://schemas.microsoft.com/office/drawing/2014/main" id="{261388EE-6F55-48BB-8C73-4953953EED71}"/>
                </a:ext>
              </a:extLst>
            </p:cNvPr>
            <p:cNvSpPr>
              <a:spLocks/>
            </p:cNvSpPr>
            <p:nvPr/>
          </p:nvSpPr>
          <p:spPr bwMode="gray">
            <a:xfrm>
              <a:off x="5711826" y="3219450"/>
              <a:ext cx="90488" cy="87313"/>
            </a:xfrm>
            <a:custGeom>
              <a:avLst/>
              <a:gdLst>
                <a:gd name="T0" fmla="*/ 0 w 57"/>
                <a:gd name="T1" fmla="*/ 0 h 55"/>
                <a:gd name="T2" fmla="*/ 57 w 57"/>
                <a:gd name="T3" fmla="*/ 0 h 55"/>
                <a:gd name="T4" fmla="*/ 57 w 57"/>
                <a:gd name="T5" fmla="*/ 55 h 55"/>
                <a:gd name="T6" fmla="*/ 0 w 57"/>
                <a:gd name="T7" fmla="*/ 55 h 55"/>
                <a:gd name="T8" fmla="*/ 0 w 57"/>
                <a:gd name="T9" fmla="*/ 0 h 55"/>
                <a:gd name="T10" fmla="*/ 0 w 57"/>
                <a:gd name="T11" fmla="*/ 0 h 55"/>
                <a:gd name="T12" fmla="*/ 0 w 57"/>
                <a:gd name="T13" fmla="*/ 0 h 55"/>
              </a:gdLst>
              <a:ahLst/>
              <a:cxnLst>
                <a:cxn ang="0">
                  <a:pos x="T0" y="T1"/>
                </a:cxn>
                <a:cxn ang="0">
                  <a:pos x="T2" y="T3"/>
                </a:cxn>
                <a:cxn ang="0">
                  <a:pos x="T4" y="T5"/>
                </a:cxn>
                <a:cxn ang="0">
                  <a:pos x="T6" y="T7"/>
                </a:cxn>
                <a:cxn ang="0">
                  <a:pos x="T8" y="T9"/>
                </a:cxn>
                <a:cxn ang="0">
                  <a:pos x="T10" y="T11"/>
                </a:cxn>
                <a:cxn ang="0">
                  <a:pos x="T12" y="T13"/>
                </a:cxn>
              </a:cxnLst>
              <a:rect l="0" t="0" r="r" b="b"/>
              <a:pathLst>
                <a:path w="57" h="55">
                  <a:moveTo>
                    <a:pt x="0" y="0"/>
                  </a:moveTo>
                  <a:lnTo>
                    <a:pt x="57" y="0"/>
                  </a:lnTo>
                  <a:lnTo>
                    <a:pt x="57" y="55"/>
                  </a:lnTo>
                  <a:lnTo>
                    <a:pt x="0" y="55"/>
                  </a:lnTo>
                  <a:lnTo>
                    <a:pt x="0" y="0"/>
                  </a:lnTo>
                  <a:lnTo>
                    <a:pt x="0" y="0"/>
                  </a:lnTo>
                  <a:lnTo>
                    <a:pt x="0" y="0"/>
                  </a:lnTo>
                  <a:close/>
                </a:path>
              </a:pathLst>
            </a:custGeom>
            <a:solidFill>
              <a:srgbClr val="000850"/>
            </a:solidFill>
            <a:ln w="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161" name="Freeform 31">
              <a:extLst>
                <a:ext uri="{FF2B5EF4-FFF2-40B4-BE49-F238E27FC236}">
                  <a16:creationId xmlns:a16="http://schemas.microsoft.com/office/drawing/2014/main" id="{14F10719-9710-458C-8F4D-54BFBF709BF9}"/>
                </a:ext>
              </a:extLst>
            </p:cNvPr>
            <p:cNvSpPr>
              <a:spLocks/>
            </p:cNvSpPr>
            <p:nvPr/>
          </p:nvSpPr>
          <p:spPr bwMode="gray">
            <a:xfrm>
              <a:off x="9569451" y="2536825"/>
              <a:ext cx="92075" cy="87313"/>
            </a:xfrm>
            <a:custGeom>
              <a:avLst/>
              <a:gdLst>
                <a:gd name="T0" fmla="*/ 0 w 58"/>
                <a:gd name="T1" fmla="*/ 0 h 55"/>
                <a:gd name="T2" fmla="*/ 58 w 58"/>
                <a:gd name="T3" fmla="*/ 0 h 55"/>
                <a:gd name="T4" fmla="*/ 58 w 58"/>
                <a:gd name="T5" fmla="*/ 55 h 55"/>
                <a:gd name="T6" fmla="*/ 0 w 58"/>
                <a:gd name="T7" fmla="*/ 55 h 55"/>
                <a:gd name="T8" fmla="*/ 0 w 58"/>
                <a:gd name="T9" fmla="*/ 0 h 55"/>
                <a:gd name="T10" fmla="*/ 0 w 58"/>
                <a:gd name="T11" fmla="*/ 0 h 55"/>
                <a:gd name="T12" fmla="*/ 0 w 58"/>
                <a:gd name="T13" fmla="*/ 0 h 55"/>
              </a:gdLst>
              <a:ahLst/>
              <a:cxnLst>
                <a:cxn ang="0">
                  <a:pos x="T0" y="T1"/>
                </a:cxn>
                <a:cxn ang="0">
                  <a:pos x="T2" y="T3"/>
                </a:cxn>
                <a:cxn ang="0">
                  <a:pos x="T4" y="T5"/>
                </a:cxn>
                <a:cxn ang="0">
                  <a:pos x="T6" y="T7"/>
                </a:cxn>
                <a:cxn ang="0">
                  <a:pos x="T8" y="T9"/>
                </a:cxn>
                <a:cxn ang="0">
                  <a:pos x="T10" y="T11"/>
                </a:cxn>
                <a:cxn ang="0">
                  <a:pos x="T12" y="T13"/>
                </a:cxn>
              </a:cxnLst>
              <a:rect l="0" t="0" r="r" b="b"/>
              <a:pathLst>
                <a:path w="58" h="55">
                  <a:moveTo>
                    <a:pt x="0" y="0"/>
                  </a:moveTo>
                  <a:lnTo>
                    <a:pt x="58" y="0"/>
                  </a:lnTo>
                  <a:lnTo>
                    <a:pt x="58" y="55"/>
                  </a:lnTo>
                  <a:lnTo>
                    <a:pt x="0" y="55"/>
                  </a:lnTo>
                  <a:lnTo>
                    <a:pt x="0" y="0"/>
                  </a:lnTo>
                  <a:lnTo>
                    <a:pt x="0" y="0"/>
                  </a:lnTo>
                  <a:lnTo>
                    <a:pt x="0" y="0"/>
                  </a:lnTo>
                  <a:close/>
                </a:path>
              </a:pathLst>
            </a:custGeom>
            <a:solidFill>
              <a:srgbClr val="000850"/>
            </a:solidFill>
            <a:ln w="1588"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162" name="Freeform 32">
              <a:extLst>
                <a:ext uri="{FF2B5EF4-FFF2-40B4-BE49-F238E27FC236}">
                  <a16:creationId xmlns:a16="http://schemas.microsoft.com/office/drawing/2014/main" id="{1B56680D-407F-4350-B453-8034A8845895}"/>
                </a:ext>
              </a:extLst>
            </p:cNvPr>
            <p:cNvSpPr>
              <a:spLocks/>
            </p:cNvSpPr>
            <p:nvPr/>
          </p:nvSpPr>
          <p:spPr bwMode="gray">
            <a:xfrm>
              <a:off x="9767888" y="3165475"/>
              <a:ext cx="92075" cy="87313"/>
            </a:xfrm>
            <a:custGeom>
              <a:avLst/>
              <a:gdLst>
                <a:gd name="T0" fmla="*/ 0 w 58"/>
                <a:gd name="T1" fmla="*/ 0 h 55"/>
                <a:gd name="T2" fmla="*/ 58 w 58"/>
                <a:gd name="T3" fmla="*/ 0 h 55"/>
                <a:gd name="T4" fmla="*/ 58 w 58"/>
                <a:gd name="T5" fmla="*/ 55 h 55"/>
                <a:gd name="T6" fmla="*/ 0 w 58"/>
                <a:gd name="T7" fmla="*/ 55 h 55"/>
                <a:gd name="T8" fmla="*/ 0 w 58"/>
                <a:gd name="T9" fmla="*/ 0 h 55"/>
                <a:gd name="T10" fmla="*/ 0 w 58"/>
                <a:gd name="T11" fmla="*/ 0 h 55"/>
                <a:gd name="T12" fmla="*/ 0 w 58"/>
                <a:gd name="T13" fmla="*/ 0 h 55"/>
              </a:gdLst>
              <a:ahLst/>
              <a:cxnLst>
                <a:cxn ang="0">
                  <a:pos x="T0" y="T1"/>
                </a:cxn>
                <a:cxn ang="0">
                  <a:pos x="T2" y="T3"/>
                </a:cxn>
                <a:cxn ang="0">
                  <a:pos x="T4" y="T5"/>
                </a:cxn>
                <a:cxn ang="0">
                  <a:pos x="T6" y="T7"/>
                </a:cxn>
                <a:cxn ang="0">
                  <a:pos x="T8" y="T9"/>
                </a:cxn>
                <a:cxn ang="0">
                  <a:pos x="T10" y="T11"/>
                </a:cxn>
                <a:cxn ang="0">
                  <a:pos x="T12" y="T13"/>
                </a:cxn>
              </a:cxnLst>
              <a:rect l="0" t="0" r="r" b="b"/>
              <a:pathLst>
                <a:path w="58" h="55">
                  <a:moveTo>
                    <a:pt x="0" y="0"/>
                  </a:moveTo>
                  <a:lnTo>
                    <a:pt x="58" y="0"/>
                  </a:lnTo>
                  <a:lnTo>
                    <a:pt x="58" y="55"/>
                  </a:lnTo>
                  <a:lnTo>
                    <a:pt x="0" y="55"/>
                  </a:lnTo>
                  <a:lnTo>
                    <a:pt x="0" y="0"/>
                  </a:lnTo>
                  <a:lnTo>
                    <a:pt x="0" y="0"/>
                  </a:lnTo>
                  <a:lnTo>
                    <a:pt x="0" y="0"/>
                  </a:lnTo>
                  <a:close/>
                </a:path>
              </a:pathLst>
            </a:custGeom>
            <a:solidFill>
              <a:srgbClr val="000850"/>
            </a:solidFill>
            <a:ln w="1588"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163" name="Freeform 33">
              <a:extLst>
                <a:ext uri="{FF2B5EF4-FFF2-40B4-BE49-F238E27FC236}">
                  <a16:creationId xmlns:a16="http://schemas.microsoft.com/office/drawing/2014/main" id="{C314E3E0-31EA-4441-BD8B-A9480BD92495}"/>
                </a:ext>
              </a:extLst>
            </p:cNvPr>
            <p:cNvSpPr>
              <a:spLocks/>
            </p:cNvSpPr>
            <p:nvPr/>
          </p:nvSpPr>
          <p:spPr bwMode="gray">
            <a:xfrm>
              <a:off x="8434388" y="4487863"/>
              <a:ext cx="92075" cy="87313"/>
            </a:xfrm>
            <a:custGeom>
              <a:avLst/>
              <a:gdLst>
                <a:gd name="T0" fmla="*/ 0 w 58"/>
                <a:gd name="T1" fmla="*/ 0 h 55"/>
                <a:gd name="T2" fmla="*/ 58 w 58"/>
                <a:gd name="T3" fmla="*/ 0 h 55"/>
                <a:gd name="T4" fmla="*/ 58 w 58"/>
                <a:gd name="T5" fmla="*/ 55 h 55"/>
                <a:gd name="T6" fmla="*/ 0 w 58"/>
                <a:gd name="T7" fmla="*/ 55 h 55"/>
                <a:gd name="T8" fmla="*/ 0 w 58"/>
                <a:gd name="T9" fmla="*/ 0 h 55"/>
                <a:gd name="T10" fmla="*/ 0 w 58"/>
                <a:gd name="T11" fmla="*/ 0 h 55"/>
                <a:gd name="T12" fmla="*/ 0 w 58"/>
                <a:gd name="T13" fmla="*/ 0 h 55"/>
              </a:gdLst>
              <a:ahLst/>
              <a:cxnLst>
                <a:cxn ang="0">
                  <a:pos x="T0" y="T1"/>
                </a:cxn>
                <a:cxn ang="0">
                  <a:pos x="T2" y="T3"/>
                </a:cxn>
                <a:cxn ang="0">
                  <a:pos x="T4" y="T5"/>
                </a:cxn>
                <a:cxn ang="0">
                  <a:pos x="T6" y="T7"/>
                </a:cxn>
                <a:cxn ang="0">
                  <a:pos x="T8" y="T9"/>
                </a:cxn>
                <a:cxn ang="0">
                  <a:pos x="T10" y="T11"/>
                </a:cxn>
                <a:cxn ang="0">
                  <a:pos x="T12" y="T13"/>
                </a:cxn>
              </a:cxnLst>
              <a:rect l="0" t="0" r="r" b="b"/>
              <a:pathLst>
                <a:path w="58" h="55">
                  <a:moveTo>
                    <a:pt x="0" y="0"/>
                  </a:moveTo>
                  <a:lnTo>
                    <a:pt x="58" y="0"/>
                  </a:lnTo>
                  <a:lnTo>
                    <a:pt x="58" y="55"/>
                  </a:lnTo>
                  <a:lnTo>
                    <a:pt x="0" y="55"/>
                  </a:lnTo>
                  <a:lnTo>
                    <a:pt x="0" y="0"/>
                  </a:lnTo>
                  <a:lnTo>
                    <a:pt x="0" y="0"/>
                  </a:lnTo>
                  <a:lnTo>
                    <a:pt x="0" y="0"/>
                  </a:lnTo>
                  <a:close/>
                </a:path>
              </a:pathLst>
            </a:custGeom>
            <a:solidFill>
              <a:srgbClr val="000850"/>
            </a:solidFill>
            <a:ln w="1588"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164" name="Freeform 34">
              <a:extLst>
                <a:ext uri="{FF2B5EF4-FFF2-40B4-BE49-F238E27FC236}">
                  <a16:creationId xmlns:a16="http://schemas.microsoft.com/office/drawing/2014/main" id="{D249FA6A-F2C8-467D-816A-8821BD251889}"/>
                </a:ext>
              </a:extLst>
            </p:cNvPr>
            <p:cNvSpPr>
              <a:spLocks/>
            </p:cNvSpPr>
            <p:nvPr/>
          </p:nvSpPr>
          <p:spPr bwMode="gray">
            <a:xfrm>
              <a:off x="3754438" y="4151313"/>
              <a:ext cx="92075" cy="87313"/>
            </a:xfrm>
            <a:custGeom>
              <a:avLst/>
              <a:gdLst>
                <a:gd name="T0" fmla="*/ 0 w 58"/>
                <a:gd name="T1" fmla="*/ 0 h 55"/>
                <a:gd name="T2" fmla="*/ 58 w 58"/>
                <a:gd name="T3" fmla="*/ 0 h 55"/>
                <a:gd name="T4" fmla="*/ 58 w 58"/>
                <a:gd name="T5" fmla="*/ 55 h 55"/>
                <a:gd name="T6" fmla="*/ 0 w 58"/>
                <a:gd name="T7" fmla="*/ 55 h 55"/>
                <a:gd name="T8" fmla="*/ 0 w 58"/>
                <a:gd name="T9" fmla="*/ 0 h 55"/>
                <a:gd name="T10" fmla="*/ 0 w 58"/>
                <a:gd name="T11" fmla="*/ 0 h 55"/>
                <a:gd name="T12" fmla="*/ 0 w 58"/>
                <a:gd name="T13" fmla="*/ 0 h 55"/>
              </a:gdLst>
              <a:ahLst/>
              <a:cxnLst>
                <a:cxn ang="0">
                  <a:pos x="T0" y="T1"/>
                </a:cxn>
                <a:cxn ang="0">
                  <a:pos x="T2" y="T3"/>
                </a:cxn>
                <a:cxn ang="0">
                  <a:pos x="T4" y="T5"/>
                </a:cxn>
                <a:cxn ang="0">
                  <a:pos x="T6" y="T7"/>
                </a:cxn>
                <a:cxn ang="0">
                  <a:pos x="T8" y="T9"/>
                </a:cxn>
                <a:cxn ang="0">
                  <a:pos x="T10" y="T11"/>
                </a:cxn>
                <a:cxn ang="0">
                  <a:pos x="T12" y="T13"/>
                </a:cxn>
              </a:cxnLst>
              <a:rect l="0" t="0" r="r" b="b"/>
              <a:pathLst>
                <a:path w="58" h="55">
                  <a:moveTo>
                    <a:pt x="0" y="0"/>
                  </a:moveTo>
                  <a:lnTo>
                    <a:pt x="58" y="0"/>
                  </a:lnTo>
                  <a:lnTo>
                    <a:pt x="58" y="55"/>
                  </a:lnTo>
                  <a:lnTo>
                    <a:pt x="0" y="55"/>
                  </a:lnTo>
                  <a:lnTo>
                    <a:pt x="0" y="0"/>
                  </a:lnTo>
                  <a:lnTo>
                    <a:pt x="0" y="0"/>
                  </a:lnTo>
                  <a:lnTo>
                    <a:pt x="0" y="0"/>
                  </a:lnTo>
                  <a:close/>
                </a:path>
              </a:pathLst>
            </a:custGeom>
            <a:solidFill>
              <a:srgbClr val="000850"/>
            </a:solidFill>
            <a:ln w="1588"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165" name="Freeform 35">
              <a:extLst>
                <a:ext uri="{FF2B5EF4-FFF2-40B4-BE49-F238E27FC236}">
                  <a16:creationId xmlns:a16="http://schemas.microsoft.com/office/drawing/2014/main" id="{87030B1D-C614-48F1-82BB-48C514C981F0}"/>
                </a:ext>
              </a:extLst>
            </p:cNvPr>
            <p:cNvSpPr>
              <a:spLocks/>
            </p:cNvSpPr>
            <p:nvPr/>
          </p:nvSpPr>
          <p:spPr bwMode="gray">
            <a:xfrm>
              <a:off x="1841501" y="3754438"/>
              <a:ext cx="92075" cy="87313"/>
            </a:xfrm>
            <a:custGeom>
              <a:avLst/>
              <a:gdLst>
                <a:gd name="T0" fmla="*/ 0 w 58"/>
                <a:gd name="T1" fmla="*/ 0 h 55"/>
                <a:gd name="T2" fmla="*/ 58 w 58"/>
                <a:gd name="T3" fmla="*/ 0 h 55"/>
                <a:gd name="T4" fmla="*/ 58 w 58"/>
                <a:gd name="T5" fmla="*/ 55 h 55"/>
                <a:gd name="T6" fmla="*/ 0 w 58"/>
                <a:gd name="T7" fmla="*/ 55 h 55"/>
                <a:gd name="T8" fmla="*/ 0 w 58"/>
                <a:gd name="T9" fmla="*/ 0 h 55"/>
                <a:gd name="T10" fmla="*/ 0 w 58"/>
                <a:gd name="T11" fmla="*/ 0 h 55"/>
                <a:gd name="T12" fmla="*/ 0 w 58"/>
                <a:gd name="T13" fmla="*/ 0 h 55"/>
              </a:gdLst>
              <a:ahLst/>
              <a:cxnLst>
                <a:cxn ang="0">
                  <a:pos x="T0" y="T1"/>
                </a:cxn>
                <a:cxn ang="0">
                  <a:pos x="T2" y="T3"/>
                </a:cxn>
                <a:cxn ang="0">
                  <a:pos x="T4" y="T5"/>
                </a:cxn>
                <a:cxn ang="0">
                  <a:pos x="T6" y="T7"/>
                </a:cxn>
                <a:cxn ang="0">
                  <a:pos x="T8" y="T9"/>
                </a:cxn>
                <a:cxn ang="0">
                  <a:pos x="T10" y="T11"/>
                </a:cxn>
                <a:cxn ang="0">
                  <a:pos x="T12" y="T13"/>
                </a:cxn>
              </a:cxnLst>
              <a:rect l="0" t="0" r="r" b="b"/>
              <a:pathLst>
                <a:path w="58" h="55">
                  <a:moveTo>
                    <a:pt x="0" y="0"/>
                  </a:moveTo>
                  <a:lnTo>
                    <a:pt x="58" y="0"/>
                  </a:lnTo>
                  <a:lnTo>
                    <a:pt x="58" y="55"/>
                  </a:lnTo>
                  <a:lnTo>
                    <a:pt x="0" y="55"/>
                  </a:lnTo>
                  <a:lnTo>
                    <a:pt x="0" y="0"/>
                  </a:lnTo>
                  <a:lnTo>
                    <a:pt x="0" y="0"/>
                  </a:lnTo>
                  <a:lnTo>
                    <a:pt x="0" y="0"/>
                  </a:lnTo>
                  <a:close/>
                </a:path>
              </a:pathLst>
            </a:custGeom>
            <a:solidFill>
              <a:srgbClr val="000850"/>
            </a:solidFill>
            <a:ln w="1588"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grpSp>
      <p:grpSp>
        <p:nvGrpSpPr>
          <p:cNvPr id="103" name="Group 102">
            <a:extLst>
              <a:ext uri="{FF2B5EF4-FFF2-40B4-BE49-F238E27FC236}">
                <a16:creationId xmlns:a16="http://schemas.microsoft.com/office/drawing/2014/main" id="{CB934EC1-95BB-44C8-BDB8-582B2AE68DD9}"/>
              </a:ext>
            </a:extLst>
          </p:cNvPr>
          <p:cNvGrpSpPr/>
          <p:nvPr/>
        </p:nvGrpSpPr>
        <p:grpSpPr bwMode="gray">
          <a:xfrm>
            <a:off x="1911642" y="2008654"/>
            <a:ext cx="8105180" cy="3434414"/>
            <a:chOff x="1790701" y="1810108"/>
            <a:chExt cx="8067577" cy="3236991"/>
          </a:xfrm>
        </p:grpSpPr>
        <p:sp>
          <p:nvSpPr>
            <p:cNvPr id="104" name="Rectangle 44">
              <a:extLst>
                <a:ext uri="{FF2B5EF4-FFF2-40B4-BE49-F238E27FC236}">
                  <a16:creationId xmlns:a16="http://schemas.microsoft.com/office/drawing/2014/main" id="{59971183-F9FE-48E2-8CF7-96F8143829BC}"/>
                </a:ext>
              </a:extLst>
            </p:cNvPr>
            <p:cNvSpPr>
              <a:spLocks noChangeArrowheads="1"/>
            </p:cNvSpPr>
            <p:nvPr/>
          </p:nvSpPr>
          <p:spPr bwMode="gray">
            <a:xfrm>
              <a:off x="9483467" y="2613883"/>
              <a:ext cx="374811" cy="148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1" u="none" strike="noStrike" kern="1200" cap="none" spc="0" normalizeH="0" baseline="0" noProof="0" dirty="0">
                  <a:ln>
                    <a:noFill/>
                  </a:ln>
                  <a:solidFill>
                    <a:srgbClr val="FFFFFF">
                      <a:lumMod val="50000"/>
                    </a:srgbClr>
                  </a:solidFill>
                  <a:effectLst/>
                  <a:uLnTx/>
                  <a:uFillTx/>
                  <a:latin typeface="Bahnschrift" panose="020B0502040204020203" pitchFamily="34" charset="0"/>
                  <a:ea typeface="+mn-ea"/>
                  <a:cs typeface="+mn-cs"/>
                  <a:sym typeface="Bahnschrift" panose="020B0502040204020203" pitchFamily="34" charset="0"/>
                </a:rPr>
                <a:t>Vienna</a:t>
              </a:r>
            </a:p>
          </p:txBody>
        </p:sp>
        <p:sp>
          <p:nvSpPr>
            <p:cNvPr id="105" name="Rectangle 45">
              <a:extLst>
                <a:ext uri="{FF2B5EF4-FFF2-40B4-BE49-F238E27FC236}">
                  <a16:creationId xmlns:a16="http://schemas.microsoft.com/office/drawing/2014/main" id="{23AB40A3-2184-4F61-B526-7E9CBCFB0718}"/>
                </a:ext>
              </a:extLst>
            </p:cNvPr>
            <p:cNvSpPr>
              <a:spLocks noChangeArrowheads="1"/>
            </p:cNvSpPr>
            <p:nvPr/>
          </p:nvSpPr>
          <p:spPr bwMode="gray">
            <a:xfrm>
              <a:off x="8621379" y="1810108"/>
              <a:ext cx="786640" cy="148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1" u="none" strike="noStrike" kern="1200" cap="none" spc="0" normalizeH="0" baseline="0" noProof="0" dirty="0">
                  <a:ln>
                    <a:noFill/>
                  </a:ln>
                  <a:solidFill>
                    <a:srgbClr val="FFFFFF">
                      <a:lumMod val="50000"/>
                    </a:srgbClr>
                  </a:solidFill>
                  <a:effectLst/>
                  <a:uLnTx/>
                  <a:uFillTx/>
                  <a:latin typeface="Bahnschrift" panose="020B0502040204020203" pitchFamily="34" charset="0"/>
                  <a:ea typeface="+mn-ea"/>
                  <a:cs typeface="+mn-cs"/>
                  <a:sym typeface="Bahnschrift" panose="020B0502040204020203" pitchFamily="34" charset="0"/>
                </a:rPr>
                <a:t>Lower Austria</a:t>
              </a:r>
            </a:p>
          </p:txBody>
        </p:sp>
        <p:sp>
          <p:nvSpPr>
            <p:cNvPr id="106" name="Rectangle 46">
              <a:extLst>
                <a:ext uri="{FF2B5EF4-FFF2-40B4-BE49-F238E27FC236}">
                  <a16:creationId xmlns:a16="http://schemas.microsoft.com/office/drawing/2014/main" id="{16DEDE2A-EF12-4811-BAED-D26F97F357F0}"/>
                </a:ext>
              </a:extLst>
            </p:cNvPr>
            <p:cNvSpPr>
              <a:spLocks noChangeArrowheads="1"/>
            </p:cNvSpPr>
            <p:nvPr/>
          </p:nvSpPr>
          <p:spPr bwMode="gray">
            <a:xfrm>
              <a:off x="1790701" y="4217988"/>
              <a:ext cx="600007" cy="148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1" u="none" strike="noStrike" kern="1200" cap="none" spc="0" normalizeH="0" baseline="0" noProof="0" dirty="0">
                  <a:ln>
                    <a:noFill/>
                  </a:ln>
                  <a:solidFill>
                    <a:srgbClr val="FFFFFF">
                      <a:lumMod val="50000"/>
                    </a:srgbClr>
                  </a:solidFill>
                  <a:effectLst/>
                  <a:uLnTx/>
                  <a:uFillTx/>
                  <a:latin typeface="Bahnschrift" panose="020B0502040204020203" pitchFamily="34" charset="0"/>
                  <a:ea typeface="+mn-ea"/>
                  <a:cs typeface="+mn-cs"/>
                  <a:sym typeface="Bahnschrift" panose="020B0502040204020203" pitchFamily="34" charset="0"/>
                </a:rPr>
                <a:t>Vorarlberg</a:t>
              </a:r>
            </a:p>
          </p:txBody>
        </p:sp>
        <p:sp>
          <p:nvSpPr>
            <p:cNvPr id="107" name="Rectangle 47">
              <a:extLst>
                <a:ext uri="{FF2B5EF4-FFF2-40B4-BE49-F238E27FC236}">
                  <a16:creationId xmlns:a16="http://schemas.microsoft.com/office/drawing/2014/main" id="{AA1E5219-45B1-4370-9779-8CA04A3E914B}"/>
                </a:ext>
              </a:extLst>
            </p:cNvPr>
            <p:cNvSpPr>
              <a:spLocks noChangeArrowheads="1"/>
            </p:cNvSpPr>
            <p:nvPr/>
          </p:nvSpPr>
          <p:spPr bwMode="gray">
            <a:xfrm>
              <a:off x="6741468" y="2822431"/>
              <a:ext cx="768131" cy="148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1" u="none" strike="noStrike" kern="1200" cap="none" spc="0" normalizeH="0" baseline="0" noProof="0" dirty="0">
                  <a:ln>
                    <a:noFill/>
                  </a:ln>
                  <a:solidFill>
                    <a:srgbClr val="FFFFFF">
                      <a:lumMod val="50000"/>
                    </a:srgbClr>
                  </a:solidFill>
                  <a:effectLst/>
                  <a:uLnTx/>
                  <a:uFillTx/>
                  <a:latin typeface="Bahnschrift" panose="020B0502040204020203" pitchFamily="34" charset="0"/>
                  <a:ea typeface="+mn-ea"/>
                  <a:cs typeface="+mn-cs"/>
                  <a:sym typeface="Bahnschrift" panose="020B0502040204020203" pitchFamily="34" charset="0"/>
                </a:rPr>
                <a:t>Upper Austria</a:t>
              </a:r>
            </a:p>
          </p:txBody>
        </p:sp>
        <p:sp>
          <p:nvSpPr>
            <p:cNvPr id="108" name="Rectangle 48">
              <a:extLst>
                <a:ext uri="{FF2B5EF4-FFF2-40B4-BE49-F238E27FC236}">
                  <a16:creationId xmlns:a16="http://schemas.microsoft.com/office/drawing/2014/main" id="{F68B5141-1760-4839-BC57-27ED63489D10}"/>
                </a:ext>
              </a:extLst>
            </p:cNvPr>
            <p:cNvSpPr>
              <a:spLocks noChangeArrowheads="1"/>
            </p:cNvSpPr>
            <p:nvPr/>
          </p:nvSpPr>
          <p:spPr bwMode="gray">
            <a:xfrm>
              <a:off x="9098962" y="4413287"/>
              <a:ext cx="640110" cy="148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000" b="0" i="1" u="none" strike="noStrike" kern="1200" cap="none" spc="0" normalizeH="0" baseline="0" noProof="0" dirty="0">
                  <a:ln>
                    <a:noFill/>
                  </a:ln>
                  <a:solidFill>
                    <a:srgbClr val="FFFFFF">
                      <a:lumMod val="50000"/>
                    </a:srgbClr>
                  </a:solidFill>
                  <a:effectLst/>
                  <a:uLnTx/>
                  <a:uFillTx/>
                  <a:latin typeface="Bahnschrift" panose="020B0502040204020203" pitchFamily="34" charset="0"/>
                  <a:ea typeface="+mn-ea"/>
                  <a:cs typeface="+mn-cs"/>
                  <a:sym typeface="Bahnschrift" panose="020B0502040204020203" pitchFamily="34" charset="0"/>
                </a:rPr>
                <a:t>Burgenland</a:t>
              </a:r>
            </a:p>
          </p:txBody>
        </p:sp>
        <p:sp>
          <p:nvSpPr>
            <p:cNvPr id="109" name="Rectangle 49">
              <a:extLst>
                <a:ext uri="{FF2B5EF4-FFF2-40B4-BE49-F238E27FC236}">
                  <a16:creationId xmlns:a16="http://schemas.microsoft.com/office/drawing/2014/main" id="{2242ED53-5E0C-4F72-B28C-9B7ED7A05180}"/>
                </a:ext>
              </a:extLst>
            </p:cNvPr>
            <p:cNvSpPr>
              <a:spLocks noChangeArrowheads="1"/>
            </p:cNvSpPr>
            <p:nvPr/>
          </p:nvSpPr>
          <p:spPr bwMode="gray">
            <a:xfrm>
              <a:off x="7464510" y="4027588"/>
              <a:ext cx="325454" cy="148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1" u="none" strike="noStrike" kern="1200" cap="none" spc="0" normalizeH="0" baseline="0" noProof="0" dirty="0">
                  <a:ln>
                    <a:noFill/>
                  </a:ln>
                  <a:solidFill>
                    <a:srgbClr val="FFFFFF">
                      <a:lumMod val="50000"/>
                    </a:srgbClr>
                  </a:solidFill>
                  <a:effectLst/>
                  <a:uLnTx/>
                  <a:uFillTx/>
                  <a:latin typeface="Bahnschrift" panose="020B0502040204020203" pitchFamily="34" charset="0"/>
                  <a:ea typeface="+mn-ea"/>
                  <a:cs typeface="+mn-cs"/>
                  <a:sym typeface="Bahnschrift" panose="020B0502040204020203" pitchFamily="34" charset="0"/>
                </a:rPr>
                <a:t>Styria</a:t>
              </a:r>
            </a:p>
          </p:txBody>
        </p:sp>
        <p:sp>
          <p:nvSpPr>
            <p:cNvPr id="110" name="Rectangle 50">
              <a:extLst>
                <a:ext uri="{FF2B5EF4-FFF2-40B4-BE49-F238E27FC236}">
                  <a16:creationId xmlns:a16="http://schemas.microsoft.com/office/drawing/2014/main" id="{DB42B83F-7970-4C07-9F8B-4CAFCE63138B}"/>
                </a:ext>
              </a:extLst>
            </p:cNvPr>
            <p:cNvSpPr>
              <a:spLocks noChangeArrowheads="1"/>
            </p:cNvSpPr>
            <p:nvPr/>
          </p:nvSpPr>
          <p:spPr bwMode="gray">
            <a:xfrm>
              <a:off x="5605463" y="4124325"/>
              <a:ext cx="493578" cy="148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1" u="none" strike="noStrike" kern="1200" cap="none" spc="0" normalizeH="0" baseline="0" noProof="0" dirty="0">
                  <a:ln>
                    <a:noFill/>
                  </a:ln>
                  <a:solidFill>
                    <a:srgbClr val="FFFFFF">
                      <a:lumMod val="50000"/>
                    </a:srgbClr>
                  </a:solidFill>
                  <a:effectLst/>
                  <a:uLnTx/>
                  <a:uFillTx/>
                  <a:latin typeface="Bahnschrift" panose="020B0502040204020203" pitchFamily="34" charset="0"/>
                  <a:ea typeface="+mn-ea"/>
                  <a:cs typeface="+mn-cs"/>
                  <a:sym typeface="Bahnschrift" panose="020B0502040204020203" pitchFamily="34" charset="0"/>
                </a:rPr>
                <a:t>Salzburg</a:t>
              </a:r>
            </a:p>
          </p:txBody>
        </p:sp>
        <p:sp>
          <p:nvSpPr>
            <p:cNvPr id="111" name="Rectangle 51">
              <a:extLst>
                <a:ext uri="{FF2B5EF4-FFF2-40B4-BE49-F238E27FC236}">
                  <a16:creationId xmlns:a16="http://schemas.microsoft.com/office/drawing/2014/main" id="{47AA0959-5689-450F-8F08-73994A49BA8F}"/>
                </a:ext>
              </a:extLst>
            </p:cNvPr>
            <p:cNvSpPr>
              <a:spLocks noChangeArrowheads="1"/>
            </p:cNvSpPr>
            <p:nvPr/>
          </p:nvSpPr>
          <p:spPr bwMode="gray">
            <a:xfrm>
              <a:off x="3077435" y="4429533"/>
              <a:ext cx="276096" cy="148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1" u="none" strike="noStrike" kern="1200" cap="none" spc="0" normalizeH="0" baseline="0" noProof="0" dirty="0">
                  <a:ln>
                    <a:noFill/>
                  </a:ln>
                  <a:solidFill>
                    <a:srgbClr val="FFFFFF">
                      <a:lumMod val="50000"/>
                    </a:srgbClr>
                  </a:solidFill>
                  <a:effectLst/>
                  <a:uLnTx/>
                  <a:uFillTx/>
                  <a:latin typeface="Bahnschrift" panose="020B0502040204020203" pitchFamily="34" charset="0"/>
                  <a:ea typeface="+mn-ea"/>
                  <a:cs typeface="+mn-cs"/>
                  <a:sym typeface="Bahnschrift" panose="020B0502040204020203" pitchFamily="34" charset="0"/>
                </a:rPr>
                <a:t>Tyrol</a:t>
              </a:r>
            </a:p>
          </p:txBody>
        </p:sp>
        <p:sp>
          <p:nvSpPr>
            <p:cNvPr id="112" name="Rectangle 52">
              <a:extLst>
                <a:ext uri="{FF2B5EF4-FFF2-40B4-BE49-F238E27FC236}">
                  <a16:creationId xmlns:a16="http://schemas.microsoft.com/office/drawing/2014/main" id="{AC7C088C-4F77-4AD5-913A-F201364C6741}"/>
                </a:ext>
              </a:extLst>
            </p:cNvPr>
            <p:cNvSpPr>
              <a:spLocks noChangeArrowheads="1"/>
            </p:cNvSpPr>
            <p:nvPr/>
          </p:nvSpPr>
          <p:spPr bwMode="gray">
            <a:xfrm>
              <a:off x="6932744" y="4899026"/>
              <a:ext cx="442678" cy="148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1" u="none" strike="noStrike" kern="1200" cap="none" spc="0" normalizeH="0" baseline="0" noProof="0" dirty="0">
                  <a:ln>
                    <a:noFill/>
                  </a:ln>
                  <a:solidFill>
                    <a:srgbClr val="FFFFFF">
                      <a:lumMod val="50000"/>
                    </a:srgbClr>
                  </a:solidFill>
                  <a:effectLst/>
                  <a:uLnTx/>
                  <a:uFillTx/>
                  <a:latin typeface="Bahnschrift" panose="020B0502040204020203" pitchFamily="34" charset="0"/>
                  <a:ea typeface="+mn-ea"/>
                  <a:cs typeface="+mn-cs"/>
                  <a:sym typeface="Bahnschrift" panose="020B0502040204020203" pitchFamily="34" charset="0"/>
                </a:rPr>
                <a:t>Kärnten</a:t>
              </a:r>
            </a:p>
          </p:txBody>
        </p:sp>
      </p:grpSp>
      <p:sp>
        <p:nvSpPr>
          <p:cNvPr id="241" name="Freeform: Shape 240">
            <a:extLst>
              <a:ext uri="{FF2B5EF4-FFF2-40B4-BE49-F238E27FC236}">
                <a16:creationId xmlns:a16="http://schemas.microsoft.com/office/drawing/2014/main" id="{D3EA476C-78A4-470D-8447-4B0DA1889232}"/>
              </a:ext>
            </a:extLst>
          </p:cNvPr>
          <p:cNvSpPr/>
          <p:nvPr/>
        </p:nvSpPr>
        <p:spPr bwMode="gray">
          <a:xfrm>
            <a:off x="10560292" y="3034135"/>
            <a:ext cx="47847" cy="21896"/>
          </a:xfrm>
          <a:custGeom>
            <a:avLst/>
            <a:gdLst>
              <a:gd name="connsiteX0" fmla="*/ 0 w 357188"/>
              <a:gd name="connsiteY0" fmla="*/ 0 h 619125"/>
              <a:gd name="connsiteX1" fmla="*/ 14288 w 357188"/>
              <a:gd name="connsiteY1" fmla="*/ 85725 h 619125"/>
              <a:gd name="connsiteX2" fmla="*/ 42863 w 357188"/>
              <a:gd name="connsiteY2" fmla="*/ 133350 h 619125"/>
              <a:gd name="connsiteX3" fmla="*/ 52388 w 357188"/>
              <a:gd name="connsiteY3" fmla="*/ 195262 h 619125"/>
              <a:gd name="connsiteX4" fmla="*/ 157163 w 357188"/>
              <a:gd name="connsiteY4" fmla="*/ 304800 h 619125"/>
              <a:gd name="connsiteX5" fmla="*/ 195263 w 357188"/>
              <a:gd name="connsiteY5" fmla="*/ 357187 h 619125"/>
              <a:gd name="connsiteX6" fmla="*/ 214313 w 357188"/>
              <a:gd name="connsiteY6" fmla="*/ 381000 h 619125"/>
              <a:gd name="connsiteX7" fmla="*/ 195263 w 357188"/>
              <a:gd name="connsiteY7" fmla="*/ 442912 h 619125"/>
              <a:gd name="connsiteX8" fmla="*/ 238125 w 357188"/>
              <a:gd name="connsiteY8" fmla="*/ 509587 h 619125"/>
              <a:gd name="connsiteX9" fmla="*/ 300038 w 357188"/>
              <a:gd name="connsiteY9" fmla="*/ 576262 h 619125"/>
              <a:gd name="connsiteX10" fmla="*/ 357188 w 357188"/>
              <a:gd name="connsiteY10" fmla="*/ 619125 h 619125"/>
              <a:gd name="connsiteX0" fmla="*/ 0 w 300038"/>
              <a:gd name="connsiteY0" fmla="*/ 0 h 576262"/>
              <a:gd name="connsiteX1" fmla="*/ 14288 w 300038"/>
              <a:gd name="connsiteY1" fmla="*/ 85725 h 576262"/>
              <a:gd name="connsiteX2" fmla="*/ 42863 w 300038"/>
              <a:gd name="connsiteY2" fmla="*/ 133350 h 576262"/>
              <a:gd name="connsiteX3" fmla="*/ 52388 w 300038"/>
              <a:gd name="connsiteY3" fmla="*/ 195262 h 576262"/>
              <a:gd name="connsiteX4" fmla="*/ 157163 w 300038"/>
              <a:gd name="connsiteY4" fmla="*/ 304800 h 576262"/>
              <a:gd name="connsiteX5" fmla="*/ 195263 w 300038"/>
              <a:gd name="connsiteY5" fmla="*/ 357187 h 576262"/>
              <a:gd name="connsiteX6" fmla="*/ 214313 w 300038"/>
              <a:gd name="connsiteY6" fmla="*/ 381000 h 576262"/>
              <a:gd name="connsiteX7" fmla="*/ 195263 w 300038"/>
              <a:gd name="connsiteY7" fmla="*/ 442912 h 576262"/>
              <a:gd name="connsiteX8" fmla="*/ 238125 w 300038"/>
              <a:gd name="connsiteY8" fmla="*/ 509587 h 576262"/>
              <a:gd name="connsiteX9" fmla="*/ 300038 w 300038"/>
              <a:gd name="connsiteY9" fmla="*/ 576262 h 576262"/>
              <a:gd name="connsiteX0" fmla="*/ 0 w 238125"/>
              <a:gd name="connsiteY0" fmla="*/ 0 h 509587"/>
              <a:gd name="connsiteX1" fmla="*/ 14288 w 238125"/>
              <a:gd name="connsiteY1" fmla="*/ 85725 h 509587"/>
              <a:gd name="connsiteX2" fmla="*/ 42863 w 238125"/>
              <a:gd name="connsiteY2" fmla="*/ 133350 h 509587"/>
              <a:gd name="connsiteX3" fmla="*/ 52388 w 238125"/>
              <a:gd name="connsiteY3" fmla="*/ 195262 h 509587"/>
              <a:gd name="connsiteX4" fmla="*/ 157163 w 238125"/>
              <a:gd name="connsiteY4" fmla="*/ 304800 h 509587"/>
              <a:gd name="connsiteX5" fmla="*/ 195263 w 238125"/>
              <a:gd name="connsiteY5" fmla="*/ 357187 h 509587"/>
              <a:gd name="connsiteX6" fmla="*/ 214313 w 238125"/>
              <a:gd name="connsiteY6" fmla="*/ 381000 h 509587"/>
              <a:gd name="connsiteX7" fmla="*/ 195263 w 238125"/>
              <a:gd name="connsiteY7" fmla="*/ 442912 h 509587"/>
              <a:gd name="connsiteX8" fmla="*/ 238125 w 238125"/>
              <a:gd name="connsiteY8" fmla="*/ 509587 h 509587"/>
              <a:gd name="connsiteX0" fmla="*/ 0 w 214313"/>
              <a:gd name="connsiteY0" fmla="*/ 0 h 442912"/>
              <a:gd name="connsiteX1" fmla="*/ 14288 w 214313"/>
              <a:gd name="connsiteY1" fmla="*/ 85725 h 442912"/>
              <a:gd name="connsiteX2" fmla="*/ 42863 w 214313"/>
              <a:gd name="connsiteY2" fmla="*/ 133350 h 442912"/>
              <a:gd name="connsiteX3" fmla="*/ 52388 w 214313"/>
              <a:gd name="connsiteY3" fmla="*/ 195262 h 442912"/>
              <a:gd name="connsiteX4" fmla="*/ 157163 w 214313"/>
              <a:gd name="connsiteY4" fmla="*/ 304800 h 442912"/>
              <a:gd name="connsiteX5" fmla="*/ 195263 w 214313"/>
              <a:gd name="connsiteY5" fmla="*/ 357187 h 442912"/>
              <a:gd name="connsiteX6" fmla="*/ 214313 w 214313"/>
              <a:gd name="connsiteY6" fmla="*/ 381000 h 442912"/>
              <a:gd name="connsiteX7" fmla="*/ 195263 w 214313"/>
              <a:gd name="connsiteY7" fmla="*/ 442912 h 442912"/>
              <a:gd name="connsiteX0" fmla="*/ 0 w 246063"/>
              <a:gd name="connsiteY0" fmla="*/ 0 h 430212"/>
              <a:gd name="connsiteX1" fmla="*/ 14288 w 246063"/>
              <a:gd name="connsiteY1" fmla="*/ 85725 h 430212"/>
              <a:gd name="connsiteX2" fmla="*/ 42863 w 246063"/>
              <a:gd name="connsiteY2" fmla="*/ 133350 h 430212"/>
              <a:gd name="connsiteX3" fmla="*/ 52388 w 246063"/>
              <a:gd name="connsiteY3" fmla="*/ 195262 h 430212"/>
              <a:gd name="connsiteX4" fmla="*/ 157163 w 246063"/>
              <a:gd name="connsiteY4" fmla="*/ 304800 h 430212"/>
              <a:gd name="connsiteX5" fmla="*/ 195263 w 246063"/>
              <a:gd name="connsiteY5" fmla="*/ 357187 h 430212"/>
              <a:gd name="connsiteX6" fmla="*/ 214313 w 246063"/>
              <a:gd name="connsiteY6" fmla="*/ 381000 h 430212"/>
              <a:gd name="connsiteX7" fmla="*/ 246063 w 246063"/>
              <a:gd name="connsiteY7" fmla="*/ 430212 h 430212"/>
              <a:gd name="connsiteX0" fmla="*/ 0 w 246063"/>
              <a:gd name="connsiteY0" fmla="*/ 0 h 430212"/>
              <a:gd name="connsiteX1" fmla="*/ 14288 w 246063"/>
              <a:gd name="connsiteY1" fmla="*/ 85725 h 430212"/>
              <a:gd name="connsiteX2" fmla="*/ 42863 w 246063"/>
              <a:gd name="connsiteY2" fmla="*/ 133350 h 430212"/>
              <a:gd name="connsiteX3" fmla="*/ 52388 w 246063"/>
              <a:gd name="connsiteY3" fmla="*/ 195262 h 430212"/>
              <a:gd name="connsiteX4" fmla="*/ 157163 w 246063"/>
              <a:gd name="connsiteY4" fmla="*/ 304800 h 430212"/>
              <a:gd name="connsiteX5" fmla="*/ 195263 w 246063"/>
              <a:gd name="connsiteY5" fmla="*/ 357187 h 430212"/>
              <a:gd name="connsiteX6" fmla="*/ 198438 w 246063"/>
              <a:gd name="connsiteY6" fmla="*/ 428625 h 430212"/>
              <a:gd name="connsiteX7" fmla="*/ 246063 w 246063"/>
              <a:gd name="connsiteY7" fmla="*/ 430212 h 430212"/>
              <a:gd name="connsiteX0" fmla="*/ 0 w 246063"/>
              <a:gd name="connsiteY0" fmla="*/ 0 h 430212"/>
              <a:gd name="connsiteX1" fmla="*/ 26988 w 246063"/>
              <a:gd name="connsiteY1" fmla="*/ 79375 h 430212"/>
              <a:gd name="connsiteX2" fmla="*/ 42863 w 246063"/>
              <a:gd name="connsiteY2" fmla="*/ 133350 h 430212"/>
              <a:gd name="connsiteX3" fmla="*/ 52388 w 246063"/>
              <a:gd name="connsiteY3" fmla="*/ 195262 h 430212"/>
              <a:gd name="connsiteX4" fmla="*/ 157163 w 246063"/>
              <a:gd name="connsiteY4" fmla="*/ 304800 h 430212"/>
              <a:gd name="connsiteX5" fmla="*/ 195263 w 246063"/>
              <a:gd name="connsiteY5" fmla="*/ 357187 h 430212"/>
              <a:gd name="connsiteX6" fmla="*/ 198438 w 246063"/>
              <a:gd name="connsiteY6" fmla="*/ 428625 h 430212"/>
              <a:gd name="connsiteX7" fmla="*/ 246063 w 246063"/>
              <a:gd name="connsiteY7" fmla="*/ 430212 h 430212"/>
              <a:gd name="connsiteX0" fmla="*/ 0 w 246063"/>
              <a:gd name="connsiteY0" fmla="*/ 0 h 430212"/>
              <a:gd name="connsiteX1" fmla="*/ 26988 w 246063"/>
              <a:gd name="connsiteY1" fmla="*/ 79375 h 430212"/>
              <a:gd name="connsiteX2" fmla="*/ 52388 w 246063"/>
              <a:gd name="connsiteY2" fmla="*/ 195262 h 430212"/>
              <a:gd name="connsiteX3" fmla="*/ 157163 w 246063"/>
              <a:gd name="connsiteY3" fmla="*/ 304800 h 430212"/>
              <a:gd name="connsiteX4" fmla="*/ 195263 w 246063"/>
              <a:gd name="connsiteY4" fmla="*/ 357187 h 430212"/>
              <a:gd name="connsiteX5" fmla="*/ 198438 w 246063"/>
              <a:gd name="connsiteY5" fmla="*/ 428625 h 430212"/>
              <a:gd name="connsiteX6" fmla="*/ 246063 w 246063"/>
              <a:gd name="connsiteY6" fmla="*/ 430212 h 430212"/>
              <a:gd name="connsiteX0" fmla="*/ 0 w 246063"/>
              <a:gd name="connsiteY0" fmla="*/ 0 h 430212"/>
              <a:gd name="connsiteX1" fmla="*/ 26988 w 246063"/>
              <a:gd name="connsiteY1" fmla="*/ 79375 h 430212"/>
              <a:gd name="connsiteX2" fmla="*/ 74613 w 246063"/>
              <a:gd name="connsiteY2" fmla="*/ 192087 h 430212"/>
              <a:gd name="connsiteX3" fmla="*/ 157163 w 246063"/>
              <a:gd name="connsiteY3" fmla="*/ 304800 h 430212"/>
              <a:gd name="connsiteX4" fmla="*/ 195263 w 246063"/>
              <a:gd name="connsiteY4" fmla="*/ 357187 h 430212"/>
              <a:gd name="connsiteX5" fmla="*/ 198438 w 246063"/>
              <a:gd name="connsiteY5" fmla="*/ 428625 h 430212"/>
              <a:gd name="connsiteX6" fmla="*/ 246063 w 246063"/>
              <a:gd name="connsiteY6" fmla="*/ 430212 h 430212"/>
              <a:gd name="connsiteX0" fmla="*/ 0 w 246063"/>
              <a:gd name="connsiteY0" fmla="*/ 0 h 430212"/>
              <a:gd name="connsiteX1" fmla="*/ 26988 w 246063"/>
              <a:gd name="connsiteY1" fmla="*/ 79375 h 430212"/>
              <a:gd name="connsiteX2" fmla="*/ 74613 w 246063"/>
              <a:gd name="connsiteY2" fmla="*/ 192087 h 430212"/>
              <a:gd name="connsiteX3" fmla="*/ 166688 w 246063"/>
              <a:gd name="connsiteY3" fmla="*/ 304800 h 430212"/>
              <a:gd name="connsiteX4" fmla="*/ 195263 w 246063"/>
              <a:gd name="connsiteY4" fmla="*/ 357187 h 430212"/>
              <a:gd name="connsiteX5" fmla="*/ 198438 w 246063"/>
              <a:gd name="connsiteY5" fmla="*/ 428625 h 430212"/>
              <a:gd name="connsiteX6" fmla="*/ 246063 w 246063"/>
              <a:gd name="connsiteY6" fmla="*/ 430212 h 430212"/>
              <a:gd name="connsiteX0" fmla="*/ 0 w 246063"/>
              <a:gd name="connsiteY0" fmla="*/ 0 h 430212"/>
              <a:gd name="connsiteX1" fmla="*/ 26988 w 246063"/>
              <a:gd name="connsiteY1" fmla="*/ 79375 h 430212"/>
              <a:gd name="connsiteX2" fmla="*/ 74613 w 246063"/>
              <a:gd name="connsiteY2" fmla="*/ 192087 h 430212"/>
              <a:gd name="connsiteX3" fmla="*/ 166688 w 246063"/>
              <a:gd name="connsiteY3" fmla="*/ 304800 h 430212"/>
              <a:gd name="connsiteX4" fmla="*/ 207963 w 246063"/>
              <a:gd name="connsiteY4" fmla="*/ 354012 h 430212"/>
              <a:gd name="connsiteX5" fmla="*/ 198438 w 246063"/>
              <a:gd name="connsiteY5" fmla="*/ 428625 h 430212"/>
              <a:gd name="connsiteX6" fmla="*/ 246063 w 246063"/>
              <a:gd name="connsiteY6" fmla="*/ 430212 h 430212"/>
              <a:gd name="connsiteX0" fmla="*/ 0 w 246063"/>
              <a:gd name="connsiteY0" fmla="*/ 0 h 430212"/>
              <a:gd name="connsiteX1" fmla="*/ 26988 w 246063"/>
              <a:gd name="connsiteY1" fmla="*/ 79375 h 430212"/>
              <a:gd name="connsiteX2" fmla="*/ 74613 w 246063"/>
              <a:gd name="connsiteY2" fmla="*/ 192087 h 430212"/>
              <a:gd name="connsiteX3" fmla="*/ 166688 w 246063"/>
              <a:gd name="connsiteY3" fmla="*/ 304800 h 430212"/>
              <a:gd name="connsiteX4" fmla="*/ 207963 w 246063"/>
              <a:gd name="connsiteY4" fmla="*/ 354012 h 430212"/>
              <a:gd name="connsiteX5" fmla="*/ 198438 w 246063"/>
              <a:gd name="connsiteY5" fmla="*/ 428625 h 430212"/>
              <a:gd name="connsiteX6" fmla="*/ 246063 w 246063"/>
              <a:gd name="connsiteY6" fmla="*/ 430212 h 430212"/>
              <a:gd name="connsiteX0" fmla="*/ 0 w 246063"/>
              <a:gd name="connsiteY0" fmla="*/ 0 h 430212"/>
              <a:gd name="connsiteX1" fmla="*/ 26988 w 246063"/>
              <a:gd name="connsiteY1" fmla="*/ 79375 h 430212"/>
              <a:gd name="connsiteX2" fmla="*/ 74613 w 246063"/>
              <a:gd name="connsiteY2" fmla="*/ 192087 h 430212"/>
              <a:gd name="connsiteX3" fmla="*/ 166688 w 246063"/>
              <a:gd name="connsiteY3" fmla="*/ 304800 h 430212"/>
              <a:gd name="connsiteX4" fmla="*/ 207963 w 246063"/>
              <a:gd name="connsiteY4" fmla="*/ 354012 h 430212"/>
              <a:gd name="connsiteX5" fmla="*/ 217488 w 246063"/>
              <a:gd name="connsiteY5" fmla="*/ 425450 h 430212"/>
              <a:gd name="connsiteX6" fmla="*/ 246063 w 246063"/>
              <a:gd name="connsiteY6" fmla="*/ 430212 h 430212"/>
              <a:gd name="connsiteX0" fmla="*/ 0 w 246063"/>
              <a:gd name="connsiteY0" fmla="*/ 0 h 430212"/>
              <a:gd name="connsiteX1" fmla="*/ 26988 w 246063"/>
              <a:gd name="connsiteY1" fmla="*/ 79375 h 430212"/>
              <a:gd name="connsiteX2" fmla="*/ 74613 w 246063"/>
              <a:gd name="connsiteY2" fmla="*/ 192087 h 430212"/>
              <a:gd name="connsiteX3" fmla="*/ 166688 w 246063"/>
              <a:gd name="connsiteY3" fmla="*/ 304800 h 430212"/>
              <a:gd name="connsiteX4" fmla="*/ 185738 w 246063"/>
              <a:gd name="connsiteY4" fmla="*/ 360362 h 430212"/>
              <a:gd name="connsiteX5" fmla="*/ 217488 w 246063"/>
              <a:gd name="connsiteY5" fmla="*/ 425450 h 430212"/>
              <a:gd name="connsiteX6" fmla="*/ 246063 w 246063"/>
              <a:gd name="connsiteY6" fmla="*/ 430212 h 430212"/>
              <a:gd name="connsiteX0" fmla="*/ 0 w 246063"/>
              <a:gd name="connsiteY0" fmla="*/ 0 h 430212"/>
              <a:gd name="connsiteX1" fmla="*/ 26988 w 246063"/>
              <a:gd name="connsiteY1" fmla="*/ 79375 h 430212"/>
              <a:gd name="connsiteX2" fmla="*/ 74613 w 246063"/>
              <a:gd name="connsiteY2" fmla="*/ 192087 h 430212"/>
              <a:gd name="connsiteX3" fmla="*/ 157163 w 246063"/>
              <a:gd name="connsiteY3" fmla="*/ 304800 h 430212"/>
              <a:gd name="connsiteX4" fmla="*/ 185738 w 246063"/>
              <a:gd name="connsiteY4" fmla="*/ 360362 h 430212"/>
              <a:gd name="connsiteX5" fmla="*/ 217488 w 246063"/>
              <a:gd name="connsiteY5" fmla="*/ 425450 h 430212"/>
              <a:gd name="connsiteX6" fmla="*/ 246063 w 246063"/>
              <a:gd name="connsiteY6" fmla="*/ 430212 h 430212"/>
              <a:gd name="connsiteX0" fmla="*/ 0 w 246063"/>
              <a:gd name="connsiteY0" fmla="*/ 0 h 430212"/>
              <a:gd name="connsiteX1" fmla="*/ 26988 w 246063"/>
              <a:gd name="connsiteY1" fmla="*/ 79375 h 430212"/>
              <a:gd name="connsiteX2" fmla="*/ 61913 w 246063"/>
              <a:gd name="connsiteY2" fmla="*/ 188912 h 430212"/>
              <a:gd name="connsiteX3" fmla="*/ 157163 w 246063"/>
              <a:gd name="connsiteY3" fmla="*/ 304800 h 430212"/>
              <a:gd name="connsiteX4" fmla="*/ 185738 w 246063"/>
              <a:gd name="connsiteY4" fmla="*/ 360362 h 430212"/>
              <a:gd name="connsiteX5" fmla="*/ 217488 w 246063"/>
              <a:gd name="connsiteY5" fmla="*/ 425450 h 430212"/>
              <a:gd name="connsiteX6" fmla="*/ 246063 w 246063"/>
              <a:gd name="connsiteY6" fmla="*/ 430212 h 430212"/>
              <a:gd name="connsiteX0" fmla="*/ 0 w 246063"/>
              <a:gd name="connsiteY0" fmla="*/ 0 h 430212"/>
              <a:gd name="connsiteX1" fmla="*/ 26988 w 246063"/>
              <a:gd name="connsiteY1" fmla="*/ 79375 h 430212"/>
              <a:gd name="connsiteX2" fmla="*/ 61913 w 246063"/>
              <a:gd name="connsiteY2" fmla="*/ 188912 h 430212"/>
              <a:gd name="connsiteX3" fmla="*/ 157163 w 246063"/>
              <a:gd name="connsiteY3" fmla="*/ 304800 h 430212"/>
              <a:gd name="connsiteX4" fmla="*/ 185738 w 246063"/>
              <a:gd name="connsiteY4" fmla="*/ 360362 h 430212"/>
              <a:gd name="connsiteX5" fmla="*/ 192088 w 246063"/>
              <a:gd name="connsiteY5" fmla="*/ 425450 h 430212"/>
              <a:gd name="connsiteX6" fmla="*/ 246063 w 246063"/>
              <a:gd name="connsiteY6" fmla="*/ 430212 h 430212"/>
              <a:gd name="connsiteX0" fmla="*/ 0 w 239713"/>
              <a:gd name="connsiteY0" fmla="*/ 0 h 425450"/>
              <a:gd name="connsiteX1" fmla="*/ 26988 w 239713"/>
              <a:gd name="connsiteY1" fmla="*/ 79375 h 425450"/>
              <a:gd name="connsiteX2" fmla="*/ 61913 w 239713"/>
              <a:gd name="connsiteY2" fmla="*/ 188912 h 425450"/>
              <a:gd name="connsiteX3" fmla="*/ 157163 w 239713"/>
              <a:gd name="connsiteY3" fmla="*/ 304800 h 425450"/>
              <a:gd name="connsiteX4" fmla="*/ 185738 w 239713"/>
              <a:gd name="connsiteY4" fmla="*/ 360362 h 425450"/>
              <a:gd name="connsiteX5" fmla="*/ 192088 w 239713"/>
              <a:gd name="connsiteY5" fmla="*/ 425450 h 425450"/>
              <a:gd name="connsiteX6" fmla="*/ 239713 w 239713"/>
              <a:gd name="connsiteY6" fmla="*/ 404812 h 425450"/>
              <a:gd name="connsiteX0" fmla="*/ 0 w 212725"/>
              <a:gd name="connsiteY0" fmla="*/ 1 h 346076"/>
              <a:gd name="connsiteX1" fmla="*/ 34925 w 212725"/>
              <a:gd name="connsiteY1" fmla="*/ 109538 h 346076"/>
              <a:gd name="connsiteX2" fmla="*/ 130175 w 212725"/>
              <a:gd name="connsiteY2" fmla="*/ 225426 h 346076"/>
              <a:gd name="connsiteX3" fmla="*/ 158750 w 212725"/>
              <a:gd name="connsiteY3" fmla="*/ 280988 h 346076"/>
              <a:gd name="connsiteX4" fmla="*/ 165100 w 212725"/>
              <a:gd name="connsiteY4" fmla="*/ 346076 h 346076"/>
              <a:gd name="connsiteX5" fmla="*/ 212725 w 212725"/>
              <a:gd name="connsiteY5" fmla="*/ 325438 h 346076"/>
              <a:gd name="connsiteX0" fmla="*/ 0 w 177800"/>
              <a:gd name="connsiteY0" fmla="*/ 0 h 236538"/>
              <a:gd name="connsiteX1" fmla="*/ 95250 w 177800"/>
              <a:gd name="connsiteY1" fmla="*/ 115888 h 236538"/>
              <a:gd name="connsiteX2" fmla="*/ 123825 w 177800"/>
              <a:gd name="connsiteY2" fmla="*/ 171450 h 236538"/>
              <a:gd name="connsiteX3" fmla="*/ 130175 w 177800"/>
              <a:gd name="connsiteY3" fmla="*/ 236538 h 236538"/>
              <a:gd name="connsiteX4" fmla="*/ 177800 w 177800"/>
              <a:gd name="connsiteY4" fmla="*/ 215900 h 236538"/>
              <a:gd name="connsiteX0" fmla="*/ 0 w 82550"/>
              <a:gd name="connsiteY0" fmla="*/ 0 h 120650"/>
              <a:gd name="connsiteX1" fmla="*/ 28575 w 82550"/>
              <a:gd name="connsiteY1" fmla="*/ 55562 h 120650"/>
              <a:gd name="connsiteX2" fmla="*/ 34925 w 82550"/>
              <a:gd name="connsiteY2" fmla="*/ 120650 h 120650"/>
              <a:gd name="connsiteX3" fmla="*/ 82550 w 82550"/>
              <a:gd name="connsiteY3" fmla="*/ 100012 h 120650"/>
              <a:gd name="connsiteX0" fmla="*/ 0 w 53975"/>
              <a:gd name="connsiteY0" fmla="*/ 0 h 65088"/>
              <a:gd name="connsiteX1" fmla="*/ 6350 w 53975"/>
              <a:gd name="connsiteY1" fmla="*/ 65088 h 65088"/>
              <a:gd name="connsiteX2" fmla="*/ 53975 w 53975"/>
              <a:gd name="connsiteY2" fmla="*/ 44450 h 65088"/>
              <a:gd name="connsiteX0" fmla="*/ 0 w 47625"/>
              <a:gd name="connsiteY0" fmla="*/ 20638 h 20638"/>
              <a:gd name="connsiteX1" fmla="*/ 47625 w 47625"/>
              <a:gd name="connsiteY1" fmla="*/ 0 h 20638"/>
            </a:gdLst>
            <a:ahLst/>
            <a:cxnLst>
              <a:cxn ang="0">
                <a:pos x="connsiteX0" y="connsiteY0"/>
              </a:cxn>
              <a:cxn ang="0">
                <a:pos x="connsiteX1" y="connsiteY1"/>
              </a:cxn>
            </a:cxnLst>
            <a:rect l="l" t="t" r="r" b="b"/>
            <a:pathLst>
              <a:path w="47625" h="20638">
                <a:moveTo>
                  <a:pt x="0" y="20638"/>
                </a:moveTo>
                <a:lnTo>
                  <a:pt x="47625" y="0"/>
                </a:lnTo>
              </a:path>
            </a:pathLst>
          </a:custGeom>
          <a:noFill/>
          <a:ln w="28575" cap="sq">
            <a:solidFill>
              <a:srgbClr val="FAA08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235" name="Freeform: Shape 234">
            <a:extLst>
              <a:ext uri="{FF2B5EF4-FFF2-40B4-BE49-F238E27FC236}">
                <a16:creationId xmlns:a16="http://schemas.microsoft.com/office/drawing/2014/main" id="{54ADBCE6-9AB9-4815-BCEB-C5FBE0597843}"/>
              </a:ext>
            </a:extLst>
          </p:cNvPr>
          <p:cNvSpPr/>
          <p:nvPr/>
        </p:nvSpPr>
        <p:spPr bwMode="gray">
          <a:xfrm>
            <a:off x="5606532" y="2185236"/>
            <a:ext cx="1138758" cy="707415"/>
          </a:xfrm>
          <a:custGeom>
            <a:avLst/>
            <a:gdLst>
              <a:gd name="connsiteX0" fmla="*/ 0 w 1133475"/>
              <a:gd name="connsiteY0" fmla="*/ 590550 h 666750"/>
              <a:gd name="connsiteX1" fmla="*/ 57150 w 1133475"/>
              <a:gd name="connsiteY1" fmla="*/ 609600 h 666750"/>
              <a:gd name="connsiteX2" fmla="*/ 152400 w 1133475"/>
              <a:gd name="connsiteY2" fmla="*/ 642938 h 666750"/>
              <a:gd name="connsiteX3" fmla="*/ 242887 w 1133475"/>
              <a:gd name="connsiteY3" fmla="*/ 666750 h 666750"/>
              <a:gd name="connsiteX4" fmla="*/ 319087 w 1133475"/>
              <a:gd name="connsiteY4" fmla="*/ 666750 h 666750"/>
              <a:gd name="connsiteX5" fmla="*/ 381000 w 1133475"/>
              <a:gd name="connsiteY5" fmla="*/ 642938 h 666750"/>
              <a:gd name="connsiteX6" fmla="*/ 514350 w 1133475"/>
              <a:gd name="connsiteY6" fmla="*/ 600075 h 666750"/>
              <a:gd name="connsiteX7" fmla="*/ 533400 w 1133475"/>
              <a:gd name="connsiteY7" fmla="*/ 604838 h 666750"/>
              <a:gd name="connsiteX8" fmla="*/ 647700 w 1133475"/>
              <a:gd name="connsiteY8" fmla="*/ 552450 h 666750"/>
              <a:gd name="connsiteX9" fmla="*/ 742950 w 1133475"/>
              <a:gd name="connsiteY9" fmla="*/ 509588 h 666750"/>
              <a:gd name="connsiteX10" fmla="*/ 814387 w 1133475"/>
              <a:gd name="connsiteY10" fmla="*/ 438150 h 666750"/>
              <a:gd name="connsiteX11" fmla="*/ 866775 w 1133475"/>
              <a:gd name="connsiteY11" fmla="*/ 352425 h 666750"/>
              <a:gd name="connsiteX12" fmla="*/ 909637 w 1133475"/>
              <a:gd name="connsiteY12" fmla="*/ 319088 h 666750"/>
              <a:gd name="connsiteX13" fmla="*/ 947737 w 1133475"/>
              <a:gd name="connsiteY13" fmla="*/ 257175 h 666750"/>
              <a:gd name="connsiteX14" fmla="*/ 1000125 w 1133475"/>
              <a:gd name="connsiteY14" fmla="*/ 252413 h 666750"/>
              <a:gd name="connsiteX15" fmla="*/ 1057275 w 1133475"/>
              <a:gd name="connsiteY15" fmla="*/ 171450 h 666750"/>
              <a:gd name="connsiteX16" fmla="*/ 1104900 w 1133475"/>
              <a:gd name="connsiteY16" fmla="*/ 119063 h 666750"/>
              <a:gd name="connsiteX17" fmla="*/ 1119187 w 1133475"/>
              <a:gd name="connsiteY17" fmla="*/ 38100 h 666750"/>
              <a:gd name="connsiteX18" fmla="*/ 1123950 w 1133475"/>
              <a:gd name="connsiteY18" fmla="*/ 4763 h 666750"/>
              <a:gd name="connsiteX19" fmla="*/ 1133475 w 1133475"/>
              <a:gd name="connsiteY19" fmla="*/ 0 h 666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33475" h="666750">
                <a:moveTo>
                  <a:pt x="0" y="590550"/>
                </a:moveTo>
                <a:lnTo>
                  <a:pt x="57150" y="609600"/>
                </a:lnTo>
                <a:lnTo>
                  <a:pt x="152400" y="642938"/>
                </a:lnTo>
                <a:lnTo>
                  <a:pt x="242887" y="666750"/>
                </a:lnTo>
                <a:lnTo>
                  <a:pt x="319087" y="666750"/>
                </a:lnTo>
                <a:lnTo>
                  <a:pt x="381000" y="642938"/>
                </a:lnTo>
                <a:lnTo>
                  <a:pt x="514350" y="600075"/>
                </a:lnTo>
                <a:lnTo>
                  <a:pt x="533400" y="604838"/>
                </a:lnTo>
                <a:lnTo>
                  <a:pt x="647700" y="552450"/>
                </a:lnTo>
                <a:lnTo>
                  <a:pt x="742950" y="509588"/>
                </a:lnTo>
                <a:lnTo>
                  <a:pt x="814387" y="438150"/>
                </a:lnTo>
                <a:lnTo>
                  <a:pt x="866775" y="352425"/>
                </a:lnTo>
                <a:lnTo>
                  <a:pt x="909637" y="319088"/>
                </a:lnTo>
                <a:lnTo>
                  <a:pt x="947737" y="257175"/>
                </a:lnTo>
                <a:lnTo>
                  <a:pt x="1000125" y="252413"/>
                </a:lnTo>
                <a:lnTo>
                  <a:pt x="1057275" y="171450"/>
                </a:lnTo>
                <a:lnTo>
                  <a:pt x="1104900" y="119063"/>
                </a:lnTo>
                <a:lnTo>
                  <a:pt x="1119187" y="38100"/>
                </a:lnTo>
                <a:lnTo>
                  <a:pt x="1123950" y="4763"/>
                </a:lnTo>
                <a:lnTo>
                  <a:pt x="1133475" y="0"/>
                </a:lnTo>
              </a:path>
            </a:pathLst>
          </a:custGeom>
          <a:noFill/>
          <a:ln w="28575"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236" name="Freeform: Shape 235">
            <a:extLst>
              <a:ext uri="{FF2B5EF4-FFF2-40B4-BE49-F238E27FC236}">
                <a16:creationId xmlns:a16="http://schemas.microsoft.com/office/drawing/2014/main" id="{6EA0B366-549B-4406-8053-ADFC3F0695E8}"/>
              </a:ext>
            </a:extLst>
          </p:cNvPr>
          <p:cNvSpPr/>
          <p:nvPr/>
        </p:nvSpPr>
        <p:spPr bwMode="gray">
          <a:xfrm>
            <a:off x="10367306" y="2604632"/>
            <a:ext cx="301436" cy="611407"/>
          </a:xfrm>
          <a:custGeom>
            <a:avLst/>
            <a:gdLst>
              <a:gd name="connsiteX0" fmla="*/ 0 w 357188"/>
              <a:gd name="connsiteY0" fmla="*/ 0 h 619125"/>
              <a:gd name="connsiteX1" fmla="*/ 14288 w 357188"/>
              <a:gd name="connsiteY1" fmla="*/ 85725 h 619125"/>
              <a:gd name="connsiteX2" fmla="*/ 42863 w 357188"/>
              <a:gd name="connsiteY2" fmla="*/ 133350 h 619125"/>
              <a:gd name="connsiteX3" fmla="*/ 52388 w 357188"/>
              <a:gd name="connsiteY3" fmla="*/ 195262 h 619125"/>
              <a:gd name="connsiteX4" fmla="*/ 157163 w 357188"/>
              <a:gd name="connsiteY4" fmla="*/ 304800 h 619125"/>
              <a:gd name="connsiteX5" fmla="*/ 195263 w 357188"/>
              <a:gd name="connsiteY5" fmla="*/ 357187 h 619125"/>
              <a:gd name="connsiteX6" fmla="*/ 214313 w 357188"/>
              <a:gd name="connsiteY6" fmla="*/ 381000 h 619125"/>
              <a:gd name="connsiteX7" fmla="*/ 195263 w 357188"/>
              <a:gd name="connsiteY7" fmla="*/ 442912 h 619125"/>
              <a:gd name="connsiteX8" fmla="*/ 238125 w 357188"/>
              <a:gd name="connsiteY8" fmla="*/ 509587 h 619125"/>
              <a:gd name="connsiteX9" fmla="*/ 300038 w 357188"/>
              <a:gd name="connsiteY9" fmla="*/ 576262 h 619125"/>
              <a:gd name="connsiteX10" fmla="*/ 357188 w 357188"/>
              <a:gd name="connsiteY10" fmla="*/ 619125 h 619125"/>
              <a:gd name="connsiteX0" fmla="*/ 0 w 300038"/>
              <a:gd name="connsiteY0" fmla="*/ 0 h 576262"/>
              <a:gd name="connsiteX1" fmla="*/ 14288 w 300038"/>
              <a:gd name="connsiteY1" fmla="*/ 85725 h 576262"/>
              <a:gd name="connsiteX2" fmla="*/ 42863 w 300038"/>
              <a:gd name="connsiteY2" fmla="*/ 133350 h 576262"/>
              <a:gd name="connsiteX3" fmla="*/ 52388 w 300038"/>
              <a:gd name="connsiteY3" fmla="*/ 195262 h 576262"/>
              <a:gd name="connsiteX4" fmla="*/ 157163 w 300038"/>
              <a:gd name="connsiteY4" fmla="*/ 304800 h 576262"/>
              <a:gd name="connsiteX5" fmla="*/ 195263 w 300038"/>
              <a:gd name="connsiteY5" fmla="*/ 357187 h 576262"/>
              <a:gd name="connsiteX6" fmla="*/ 214313 w 300038"/>
              <a:gd name="connsiteY6" fmla="*/ 381000 h 576262"/>
              <a:gd name="connsiteX7" fmla="*/ 195263 w 300038"/>
              <a:gd name="connsiteY7" fmla="*/ 442912 h 576262"/>
              <a:gd name="connsiteX8" fmla="*/ 238125 w 300038"/>
              <a:gd name="connsiteY8" fmla="*/ 509587 h 576262"/>
              <a:gd name="connsiteX9" fmla="*/ 300038 w 300038"/>
              <a:gd name="connsiteY9" fmla="*/ 576262 h 576262"/>
              <a:gd name="connsiteX0" fmla="*/ 0 w 300038"/>
              <a:gd name="connsiteY0" fmla="*/ 0 h 576262"/>
              <a:gd name="connsiteX1" fmla="*/ 14288 w 300038"/>
              <a:gd name="connsiteY1" fmla="*/ 85725 h 576262"/>
              <a:gd name="connsiteX2" fmla="*/ 42863 w 300038"/>
              <a:gd name="connsiteY2" fmla="*/ 133350 h 576262"/>
              <a:gd name="connsiteX3" fmla="*/ 52388 w 300038"/>
              <a:gd name="connsiteY3" fmla="*/ 195262 h 576262"/>
              <a:gd name="connsiteX4" fmla="*/ 195263 w 300038"/>
              <a:gd name="connsiteY4" fmla="*/ 357187 h 576262"/>
              <a:gd name="connsiteX5" fmla="*/ 214313 w 300038"/>
              <a:gd name="connsiteY5" fmla="*/ 381000 h 576262"/>
              <a:gd name="connsiteX6" fmla="*/ 195263 w 300038"/>
              <a:gd name="connsiteY6" fmla="*/ 442912 h 576262"/>
              <a:gd name="connsiteX7" fmla="*/ 238125 w 300038"/>
              <a:gd name="connsiteY7" fmla="*/ 509587 h 576262"/>
              <a:gd name="connsiteX8" fmla="*/ 300038 w 300038"/>
              <a:gd name="connsiteY8" fmla="*/ 576262 h 576262"/>
              <a:gd name="connsiteX0" fmla="*/ 0 w 300038"/>
              <a:gd name="connsiteY0" fmla="*/ 0 h 576262"/>
              <a:gd name="connsiteX1" fmla="*/ 14288 w 300038"/>
              <a:gd name="connsiteY1" fmla="*/ 85725 h 576262"/>
              <a:gd name="connsiteX2" fmla="*/ 42863 w 300038"/>
              <a:gd name="connsiteY2" fmla="*/ 133350 h 576262"/>
              <a:gd name="connsiteX3" fmla="*/ 52388 w 300038"/>
              <a:gd name="connsiteY3" fmla="*/ 195262 h 576262"/>
              <a:gd name="connsiteX4" fmla="*/ 195263 w 300038"/>
              <a:gd name="connsiteY4" fmla="*/ 357187 h 576262"/>
              <a:gd name="connsiteX5" fmla="*/ 192088 w 300038"/>
              <a:gd name="connsiteY5" fmla="*/ 365125 h 576262"/>
              <a:gd name="connsiteX6" fmla="*/ 195263 w 300038"/>
              <a:gd name="connsiteY6" fmla="*/ 442912 h 576262"/>
              <a:gd name="connsiteX7" fmla="*/ 238125 w 300038"/>
              <a:gd name="connsiteY7" fmla="*/ 509587 h 576262"/>
              <a:gd name="connsiteX8" fmla="*/ 300038 w 300038"/>
              <a:gd name="connsiteY8" fmla="*/ 576262 h 576262"/>
              <a:gd name="connsiteX0" fmla="*/ 0 w 300038"/>
              <a:gd name="connsiteY0" fmla="*/ 0 h 576262"/>
              <a:gd name="connsiteX1" fmla="*/ 14288 w 300038"/>
              <a:gd name="connsiteY1" fmla="*/ 85725 h 576262"/>
              <a:gd name="connsiteX2" fmla="*/ 42863 w 300038"/>
              <a:gd name="connsiteY2" fmla="*/ 133350 h 576262"/>
              <a:gd name="connsiteX3" fmla="*/ 52388 w 300038"/>
              <a:gd name="connsiteY3" fmla="*/ 195262 h 576262"/>
              <a:gd name="connsiteX4" fmla="*/ 195263 w 300038"/>
              <a:gd name="connsiteY4" fmla="*/ 357187 h 576262"/>
              <a:gd name="connsiteX5" fmla="*/ 192088 w 300038"/>
              <a:gd name="connsiteY5" fmla="*/ 365125 h 576262"/>
              <a:gd name="connsiteX6" fmla="*/ 185738 w 300038"/>
              <a:gd name="connsiteY6" fmla="*/ 442912 h 576262"/>
              <a:gd name="connsiteX7" fmla="*/ 238125 w 300038"/>
              <a:gd name="connsiteY7" fmla="*/ 509587 h 576262"/>
              <a:gd name="connsiteX8" fmla="*/ 300038 w 300038"/>
              <a:gd name="connsiteY8" fmla="*/ 576262 h 576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038" h="576262">
                <a:moveTo>
                  <a:pt x="0" y="0"/>
                </a:moveTo>
                <a:lnTo>
                  <a:pt x="14288" y="85725"/>
                </a:lnTo>
                <a:lnTo>
                  <a:pt x="42863" y="133350"/>
                </a:lnTo>
                <a:lnTo>
                  <a:pt x="52388" y="195262"/>
                </a:lnTo>
                <a:lnTo>
                  <a:pt x="195263" y="357187"/>
                </a:lnTo>
                <a:lnTo>
                  <a:pt x="192088" y="365125"/>
                </a:lnTo>
                <a:lnTo>
                  <a:pt x="185738" y="442912"/>
                </a:lnTo>
                <a:lnTo>
                  <a:pt x="238125" y="509587"/>
                </a:lnTo>
                <a:lnTo>
                  <a:pt x="300038" y="576262"/>
                </a:lnTo>
              </a:path>
            </a:pathLst>
          </a:custGeom>
          <a:noFill/>
          <a:ln w="28575" cap="sq">
            <a:solidFill>
              <a:srgbClr val="FFC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237" name="Freeform: Shape 236">
            <a:extLst>
              <a:ext uri="{FF2B5EF4-FFF2-40B4-BE49-F238E27FC236}">
                <a16:creationId xmlns:a16="http://schemas.microsoft.com/office/drawing/2014/main" id="{4A8FD1EF-2BB6-43E2-AAA2-57E94C699145}"/>
              </a:ext>
            </a:extLst>
          </p:cNvPr>
          <p:cNvSpPr/>
          <p:nvPr/>
        </p:nvSpPr>
        <p:spPr bwMode="gray">
          <a:xfrm>
            <a:off x="10332215" y="2445061"/>
            <a:ext cx="105264" cy="126325"/>
          </a:xfrm>
          <a:custGeom>
            <a:avLst/>
            <a:gdLst>
              <a:gd name="connsiteX0" fmla="*/ 104775 w 104775"/>
              <a:gd name="connsiteY0" fmla="*/ 0 h 119063"/>
              <a:gd name="connsiteX1" fmla="*/ 0 w 104775"/>
              <a:gd name="connsiteY1" fmla="*/ 119063 h 119063"/>
            </a:gdLst>
            <a:ahLst/>
            <a:cxnLst>
              <a:cxn ang="0">
                <a:pos x="connsiteX0" y="connsiteY0"/>
              </a:cxn>
              <a:cxn ang="0">
                <a:pos x="connsiteX1" y="connsiteY1"/>
              </a:cxn>
            </a:cxnLst>
            <a:rect l="l" t="t" r="r" b="b"/>
            <a:pathLst>
              <a:path w="104775" h="119063">
                <a:moveTo>
                  <a:pt x="104775" y="0"/>
                </a:moveTo>
                <a:lnTo>
                  <a:pt x="0" y="119063"/>
                </a:lnTo>
              </a:path>
            </a:pathLst>
          </a:custGeom>
          <a:noFill/>
          <a:ln w="28575" cap="sq">
            <a:solidFill>
              <a:srgbClr val="7030A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grpSp>
        <p:nvGrpSpPr>
          <p:cNvPr id="239" name="Group 238">
            <a:extLst>
              <a:ext uri="{FF2B5EF4-FFF2-40B4-BE49-F238E27FC236}">
                <a16:creationId xmlns:a16="http://schemas.microsoft.com/office/drawing/2014/main" id="{1908194E-1837-4C36-A727-C837129FD709}"/>
              </a:ext>
            </a:extLst>
          </p:cNvPr>
          <p:cNvGrpSpPr/>
          <p:nvPr/>
        </p:nvGrpSpPr>
        <p:grpSpPr bwMode="gray">
          <a:xfrm>
            <a:off x="6497070" y="2531027"/>
            <a:ext cx="3870237" cy="3378241"/>
            <a:chOff x="5787019" y="2688115"/>
            <a:chExt cx="3852281" cy="3184048"/>
          </a:xfrm>
        </p:grpSpPr>
        <p:grpSp>
          <p:nvGrpSpPr>
            <p:cNvPr id="245" name="Group 244">
              <a:extLst>
                <a:ext uri="{FF2B5EF4-FFF2-40B4-BE49-F238E27FC236}">
                  <a16:creationId xmlns:a16="http://schemas.microsoft.com/office/drawing/2014/main" id="{C6F4F3C2-48DB-43CC-9AE3-7143BBA6515F}"/>
                </a:ext>
              </a:extLst>
            </p:cNvPr>
            <p:cNvGrpSpPr/>
            <p:nvPr/>
          </p:nvGrpSpPr>
          <p:grpSpPr bwMode="gray">
            <a:xfrm>
              <a:off x="5810250" y="2762250"/>
              <a:ext cx="3829050" cy="3109913"/>
              <a:chOff x="5810250" y="2762250"/>
              <a:chExt cx="3829050" cy="3109913"/>
            </a:xfrm>
          </p:grpSpPr>
          <p:sp>
            <p:nvSpPr>
              <p:cNvPr id="254" name="Freeform: Shape 253">
                <a:extLst>
                  <a:ext uri="{FF2B5EF4-FFF2-40B4-BE49-F238E27FC236}">
                    <a16:creationId xmlns:a16="http://schemas.microsoft.com/office/drawing/2014/main" id="{D58F56D6-3441-47A8-AB3C-6E74FD96EA48}"/>
                  </a:ext>
                </a:extLst>
              </p:cNvPr>
              <p:cNvSpPr/>
              <p:nvPr/>
            </p:nvSpPr>
            <p:spPr bwMode="gray">
              <a:xfrm>
                <a:off x="5810250" y="2762250"/>
                <a:ext cx="3829050" cy="3109913"/>
              </a:xfrm>
              <a:custGeom>
                <a:avLst/>
                <a:gdLst>
                  <a:gd name="connsiteX0" fmla="*/ 0 w 3829050"/>
                  <a:gd name="connsiteY0" fmla="*/ 3109913 h 3109913"/>
                  <a:gd name="connsiteX1" fmla="*/ 100013 w 3829050"/>
                  <a:gd name="connsiteY1" fmla="*/ 3052763 h 3109913"/>
                  <a:gd name="connsiteX2" fmla="*/ 204788 w 3829050"/>
                  <a:gd name="connsiteY2" fmla="*/ 3052763 h 3109913"/>
                  <a:gd name="connsiteX3" fmla="*/ 271463 w 3829050"/>
                  <a:gd name="connsiteY3" fmla="*/ 3033713 h 3109913"/>
                  <a:gd name="connsiteX4" fmla="*/ 357188 w 3829050"/>
                  <a:gd name="connsiteY4" fmla="*/ 3057525 h 3109913"/>
                  <a:gd name="connsiteX5" fmla="*/ 428625 w 3829050"/>
                  <a:gd name="connsiteY5" fmla="*/ 3028950 h 3109913"/>
                  <a:gd name="connsiteX6" fmla="*/ 471488 w 3829050"/>
                  <a:gd name="connsiteY6" fmla="*/ 3052763 h 3109913"/>
                  <a:gd name="connsiteX7" fmla="*/ 538163 w 3829050"/>
                  <a:gd name="connsiteY7" fmla="*/ 3028950 h 3109913"/>
                  <a:gd name="connsiteX8" fmla="*/ 666750 w 3829050"/>
                  <a:gd name="connsiteY8" fmla="*/ 3062288 h 3109913"/>
                  <a:gd name="connsiteX9" fmla="*/ 700088 w 3829050"/>
                  <a:gd name="connsiteY9" fmla="*/ 3052763 h 3109913"/>
                  <a:gd name="connsiteX10" fmla="*/ 733425 w 3829050"/>
                  <a:gd name="connsiteY10" fmla="*/ 3043238 h 3109913"/>
                  <a:gd name="connsiteX11" fmla="*/ 785813 w 3829050"/>
                  <a:gd name="connsiteY11" fmla="*/ 3009900 h 3109913"/>
                  <a:gd name="connsiteX12" fmla="*/ 862013 w 3829050"/>
                  <a:gd name="connsiteY12" fmla="*/ 2962275 h 3109913"/>
                  <a:gd name="connsiteX13" fmla="*/ 914400 w 3829050"/>
                  <a:gd name="connsiteY13" fmla="*/ 2943225 h 3109913"/>
                  <a:gd name="connsiteX14" fmla="*/ 952500 w 3829050"/>
                  <a:gd name="connsiteY14" fmla="*/ 2919413 h 3109913"/>
                  <a:gd name="connsiteX15" fmla="*/ 1104900 w 3829050"/>
                  <a:gd name="connsiteY15" fmla="*/ 2890838 h 3109913"/>
                  <a:gd name="connsiteX16" fmla="*/ 1147763 w 3829050"/>
                  <a:gd name="connsiteY16" fmla="*/ 2876550 h 3109913"/>
                  <a:gd name="connsiteX17" fmla="*/ 1195388 w 3829050"/>
                  <a:gd name="connsiteY17" fmla="*/ 2824163 h 3109913"/>
                  <a:gd name="connsiteX18" fmla="*/ 1285875 w 3829050"/>
                  <a:gd name="connsiteY18" fmla="*/ 2824163 h 3109913"/>
                  <a:gd name="connsiteX19" fmla="*/ 1395413 w 3829050"/>
                  <a:gd name="connsiteY19" fmla="*/ 2828925 h 3109913"/>
                  <a:gd name="connsiteX20" fmla="*/ 1433513 w 3829050"/>
                  <a:gd name="connsiteY20" fmla="*/ 2805113 h 3109913"/>
                  <a:gd name="connsiteX21" fmla="*/ 1462088 w 3829050"/>
                  <a:gd name="connsiteY21" fmla="*/ 2781300 h 3109913"/>
                  <a:gd name="connsiteX22" fmla="*/ 1495425 w 3829050"/>
                  <a:gd name="connsiteY22" fmla="*/ 2757488 h 3109913"/>
                  <a:gd name="connsiteX23" fmla="*/ 1538288 w 3829050"/>
                  <a:gd name="connsiteY23" fmla="*/ 2757488 h 3109913"/>
                  <a:gd name="connsiteX24" fmla="*/ 1585913 w 3829050"/>
                  <a:gd name="connsiteY24" fmla="*/ 2738438 h 3109913"/>
                  <a:gd name="connsiteX25" fmla="*/ 1628775 w 3829050"/>
                  <a:gd name="connsiteY25" fmla="*/ 2738438 h 3109913"/>
                  <a:gd name="connsiteX26" fmla="*/ 1685925 w 3829050"/>
                  <a:gd name="connsiteY26" fmla="*/ 2738438 h 3109913"/>
                  <a:gd name="connsiteX27" fmla="*/ 1733550 w 3829050"/>
                  <a:gd name="connsiteY27" fmla="*/ 2738438 h 3109913"/>
                  <a:gd name="connsiteX28" fmla="*/ 1781175 w 3829050"/>
                  <a:gd name="connsiteY28" fmla="*/ 2686050 h 3109913"/>
                  <a:gd name="connsiteX29" fmla="*/ 1852613 w 3829050"/>
                  <a:gd name="connsiteY29" fmla="*/ 2671763 h 3109913"/>
                  <a:gd name="connsiteX30" fmla="*/ 1933575 w 3829050"/>
                  <a:gd name="connsiteY30" fmla="*/ 2652713 h 3109913"/>
                  <a:gd name="connsiteX31" fmla="*/ 1966913 w 3829050"/>
                  <a:gd name="connsiteY31" fmla="*/ 2619375 h 3109913"/>
                  <a:gd name="connsiteX32" fmla="*/ 2024063 w 3829050"/>
                  <a:gd name="connsiteY32" fmla="*/ 2619375 h 3109913"/>
                  <a:gd name="connsiteX33" fmla="*/ 2076450 w 3829050"/>
                  <a:gd name="connsiteY33" fmla="*/ 2619375 h 3109913"/>
                  <a:gd name="connsiteX34" fmla="*/ 2109788 w 3829050"/>
                  <a:gd name="connsiteY34" fmla="*/ 2586038 h 3109913"/>
                  <a:gd name="connsiteX35" fmla="*/ 2162175 w 3829050"/>
                  <a:gd name="connsiteY35" fmla="*/ 2547938 h 3109913"/>
                  <a:gd name="connsiteX36" fmla="*/ 2200275 w 3829050"/>
                  <a:gd name="connsiteY36" fmla="*/ 2509838 h 3109913"/>
                  <a:gd name="connsiteX37" fmla="*/ 2219325 w 3829050"/>
                  <a:gd name="connsiteY37" fmla="*/ 2466975 h 3109913"/>
                  <a:gd name="connsiteX38" fmla="*/ 2266950 w 3829050"/>
                  <a:gd name="connsiteY38" fmla="*/ 2409825 h 3109913"/>
                  <a:gd name="connsiteX39" fmla="*/ 2300288 w 3829050"/>
                  <a:gd name="connsiteY39" fmla="*/ 2352675 h 3109913"/>
                  <a:gd name="connsiteX40" fmla="*/ 2343150 w 3829050"/>
                  <a:gd name="connsiteY40" fmla="*/ 2314575 h 3109913"/>
                  <a:gd name="connsiteX41" fmla="*/ 2395538 w 3829050"/>
                  <a:gd name="connsiteY41" fmla="*/ 2290763 h 3109913"/>
                  <a:gd name="connsiteX42" fmla="*/ 2443163 w 3829050"/>
                  <a:gd name="connsiteY42" fmla="*/ 2271713 h 3109913"/>
                  <a:gd name="connsiteX43" fmla="*/ 2476500 w 3829050"/>
                  <a:gd name="connsiteY43" fmla="*/ 2233613 h 3109913"/>
                  <a:gd name="connsiteX44" fmla="*/ 2533650 w 3829050"/>
                  <a:gd name="connsiteY44" fmla="*/ 2205038 h 3109913"/>
                  <a:gd name="connsiteX45" fmla="*/ 2547938 w 3829050"/>
                  <a:gd name="connsiteY45" fmla="*/ 2190750 h 3109913"/>
                  <a:gd name="connsiteX46" fmla="*/ 2562225 w 3829050"/>
                  <a:gd name="connsiteY46" fmla="*/ 2133600 h 3109913"/>
                  <a:gd name="connsiteX47" fmla="*/ 2624138 w 3829050"/>
                  <a:gd name="connsiteY47" fmla="*/ 2081213 h 3109913"/>
                  <a:gd name="connsiteX48" fmla="*/ 2643188 w 3829050"/>
                  <a:gd name="connsiteY48" fmla="*/ 2047875 h 3109913"/>
                  <a:gd name="connsiteX49" fmla="*/ 2676525 w 3829050"/>
                  <a:gd name="connsiteY49" fmla="*/ 1985963 h 3109913"/>
                  <a:gd name="connsiteX50" fmla="*/ 2724150 w 3829050"/>
                  <a:gd name="connsiteY50" fmla="*/ 1957388 h 3109913"/>
                  <a:gd name="connsiteX51" fmla="*/ 2795588 w 3829050"/>
                  <a:gd name="connsiteY51" fmla="*/ 1828800 h 3109913"/>
                  <a:gd name="connsiteX52" fmla="*/ 2814638 w 3829050"/>
                  <a:gd name="connsiteY52" fmla="*/ 1814513 h 3109913"/>
                  <a:gd name="connsiteX53" fmla="*/ 2824163 w 3829050"/>
                  <a:gd name="connsiteY53" fmla="*/ 1738313 h 3109913"/>
                  <a:gd name="connsiteX54" fmla="*/ 2847975 w 3829050"/>
                  <a:gd name="connsiteY54" fmla="*/ 1685925 h 3109913"/>
                  <a:gd name="connsiteX55" fmla="*/ 2881313 w 3829050"/>
                  <a:gd name="connsiteY55" fmla="*/ 1609725 h 3109913"/>
                  <a:gd name="connsiteX56" fmla="*/ 2886075 w 3829050"/>
                  <a:gd name="connsiteY56" fmla="*/ 1585913 h 3109913"/>
                  <a:gd name="connsiteX57" fmla="*/ 2914650 w 3829050"/>
                  <a:gd name="connsiteY57" fmla="*/ 1547813 h 3109913"/>
                  <a:gd name="connsiteX58" fmla="*/ 2900363 w 3829050"/>
                  <a:gd name="connsiteY58" fmla="*/ 1500188 h 3109913"/>
                  <a:gd name="connsiteX59" fmla="*/ 2947988 w 3829050"/>
                  <a:gd name="connsiteY59" fmla="*/ 1447800 h 3109913"/>
                  <a:gd name="connsiteX60" fmla="*/ 2967038 w 3829050"/>
                  <a:gd name="connsiteY60" fmla="*/ 1352550 h 3109913"/>
                  <a:gd name="connsiteX61" fmla="*/ 3024188 w 3829050"/>
                  <a:gd name="connsiteY61" fmla="*/ 1309688 h 3109913"/>
                  <a:gd name="connsiteX62" fmla="*/ 3019425 w 3829050"/>
                  <a:gd name="connsiteY62" fmla="*/ 1276350 h 3109913"/>
                  <a:gd name="connsiteX63" fmla="*/ 3028950 w 3829050"/>
                  <a:gd name="connsiteY63" fmla="*/ 1266825 h 3109913"/>
                  <a:gd name="connsiteX64" fmla="*/ 3033713 w 3829050"/>
                  <a:gd name="connsiteY64" fmla="*/ 1214438 h 3109913"/>
                  <a:gd name="connsiteX65" fmla="*/ 3062288 w 3829050"/>
                  <a:gd name="connsiteY65" fmla="*/ 1171575 h 3109913"/>
                  <a:gd name="connsiteX66" fmla="*/ 3081338 w 3829050"/>
                  <a:gd name="connsiteY66" fmla="*/ 1133475 h 3109913"/>
                  <a:gd name="connsiteX67" fmla="*/ 3081338 w 3829050"/>
                  <a:gd name="connsiteY67" fmla="*/ 1066800 h 3109913"/>
                  <a:gd name="connsiteX68" fmla="*/ 3086100 w 3829050"/>
                  <a:gd name="connsiteY68" fmla="*/ 1004888 h 3109913"/>
                  <a:gd name="connsiteX69" fmla="*/ 3124200 w 3829050"/>
                  <a:gd name="connsiteY69" fmla="*/ 895350 h 3109913"/>
                  <a:gd name="connsiteX70" fmla="*/ 3138488 w 3829050"/>
                  <a:gd name="connsiteY70" fmla="*/ 847725 h 3109913"/>
                  <a:gd name="connsiteX71" fmla="*/ 3214688 w 3829050"/>
                  <a:gd name="connsiteY71" fmla="*/ 781050 h 3109913"/>
                  <a:gd name="connsiteX72" fmla="*/ 3248025 w 3829050"/>
                  <a:gd name="connsiteY72" fmla="*/ 709613 h 3109913"/>
                  <a:gd name="connsiteX73" fmla="*/ 3338513 w 3829050"/>
                  <a:gd name="connsiteY73" fmla="*/ 647700 h 3109913"/>
                  <a:gd name="connsiteX74" fmla="*/ 3357563 w 3829050"/>
                  <a:gd name="connsiteY74" fmla="*/ 614363 h 3109913"/>
                  <a:gd name="connsiteX75" fmla="*/ 3433763 w 3829050"/>
                  <a:gd name="connsiteY75" fmla="*/ 519113 h 3109913"/>
                  <a:gd name="connsiteX76" fmla="*/ 3486150 w 3829050"/>
                  <a:gd name="connsiteY76" fmla="*/ 466725 h 3109913"/>
                  <a:gd name="connsiteX77" fmla="*/ 3548063 w 3829050"/>
                  <a:gd name="connsiteY77" fmla="*/ 442913 h 3109913"/>
                  <a:gd name="connsiteX78" fmla="*/ 3567113 w 3829050"/>
                  <a:gd name="connsiteY78" fmla="*/ 390525 h 3109913"/>
                  <a:gd name="connsiteX79" fmla="*/ 3581400 w 3829050"/>
                  <a:gd name="connsiteY79" fmla="*/ 352425 h 3109913"/>
                  <a:gd name="connsiteX80" fmla="*/ 3590925 w 3829050"/>
                  <a:gd name="connsiteY80" fmla="*/ 304800 h 3109913"/>
                  <a:gd name="connsiteX81" fmla="*/ 3724275 w 3829050"/>
                  <a:gd name="connsiteY81" fmla="*/ 104775 h 3109913"/>
                  <a:gd name="connsiteX82" fmla="*/ 3790950 w 3829050"/>
                  <a:gd name="connsiteY82" fmla="*/ 28575 h 3109913"/>
                  <a:gd name="connsiteX83" fmla="*/ 3829050 w 3829050"/>
                  <a:gd name="connsiteY83" fmla="*/ 0 h 310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829050" h="3109913">
                    <a:moveTo>
                      <a:pt x="0" y="3109913"/>
                    </a:moveTo>
                    <a:lnTo>
                      <a:pt x="100013" y="3052763"/>
                    </a:lnTo>
                    <a:lnTo>
                      <a:pt x="204788" y="3052763"/>
                    </a:lnTo>
                    <a:lnTo>
                      <a:pt x="271463" y="3033713"/>
                    </a:lnTo>
                    <a:lnTo>
                      <a:pt x="357188" y="3057525"/>
                    </a:lnTo>
                    <a:lnTo>
                      <a:pt x="428625" y="3028950"/>
                    </a:lnTo>
                    <a:lnTo>
                      <a:pt x="471488" y="3052763"/>
                    </a:lnTo>
                    <a:lnTo>
                      <a:pt x="538163" y="3028950"/>
                    </a:lnTo>
                    <a:lnTo>
                      <a:pt x="666750" y="3062288"/>
                    </a:lnTo>
                    <a:lnTo>
                      <a:pt x="700088" y="3052763"/>
                    </a:lnTo>
                    <a:lnTo>
                      <a:pt x="733425" y="3043238"/>
                    </a:lnTo>
                    <a:lnTo>
                      <a:pt x="785813" y="3009900"/>
                    </a:lnTo>
                    <a:lnTo>
                      <a:pt x="862013" y="2962275"/>
                    </a:lnTo>
                    <a:lnTo>
                      <a:pt x="914400" y="2943225"/>
                    </a:lnTo>
                    <a:lnTo>
                      <a:pt x="952500" y="2919413"/>
                    </a:lnTo>
                    <a:lnTo>
                      <a:pt x="1104900" y="2890838"/>
                    </a:lnTo>
                    <a:lnTo>
                      <a:pt x="1147763" y="2876550"/>
                    </a:lnTo>
                    <a:lnTo>
                      <a:pt x="1195388" y="2824163"/>
                    </a:lnTo>
                    <a:lnTo>
                      <a:pt x="1285875" y="2824163"/>
                    </a:lnTo>
                    <a:lnTo>
                      <a:pt x="1395413" y="2828925"/>
                    </a:lnTo>
                    <a:lnTo>
                      <a:pt x="1433513" y="2805113"/>
                    </a:lnTo>
                    <a:lnTo>
                      <a:pt x="1462088" y="2781300"/>
                    </a:lnTo>
                    <a:lnTo>
                      <a:pt x="1495425" y="2757488"/>
                    </a:lnTo>
                    <a:lnTo>
                      <a:pt x="1538288" y="2757488"/>
                    </a:lnTo>
                    <a:lnTo>
                      <a:pt x="1585913" y="2738438"/>
                    </a:lnTo>
                    <a:lnTo>
                      <a:pt x="1628775" y="2738438"/>
                    </a:lnTo>
                    <a:lnTo>
                      <a:pt x="1685925" y="2738438"/>
                    </a:lnTo>
                    <a:lnTo>
                      <a:pt x="1733550" y="2738438"/>
                    </a:lnTo>
                    <a:lnTo>
                      <a:pt x="1781175" y="2686050"/>
                    </a:lnTo>
                    <a:lnTo>
                      <a:pt x="1852613" y="2671763"/>
                    </a:lnTo>
                    <a:lnTo>
                      <a:pt x="1933575" y="2652713"/>
                    </a:lnTo>
                    <a:lnTo>
                      <a:pt x="1966913" y="2619375"/>
                    </a:lnTo>
                    <a:lnTo>
                      <a:pt x="2024063" y="2619375"/>
                    </a:lnTo>
                    <a:lnTo>
                      <a:pt x="2076450" y="2619375"/>
                    </a:lnTo>
                    <a:lnTo>
                      <a:pt x="2109788" y="2586038"/>
                    </a:lnTo>
                    <a:lnTo>
                      <a:pt x="2162175" y="2547938"/>
                    </a:lnTo>
                    <a:lnTo>
                      <a:pt x="2200275" y="2509838"/>
                    </a:lnTo>
                    <a:lnTo>
                      <a:pt x="2219325" y="2466975"/>
                    </a:lnTo>
                    <a:lnTo>
                      <a:pt x="2266950" y="2409825"/>
                    </a:lnTo>
                    <a:lnTo>
                      <a:pt x="2300288" y="2352675"/>
                    </a:lnTo>
                    <a:lnTo>
                      <a:pt x="2343150" y="2314575"/>
                    </a:lnTo>
                    <a:lnTo>
                      <a:pt x="2395538" y="2290763"/>
                    </a:lnTo>
                    <a:lnTo>
                      <a:pt x="2443163" y="2271713"/>
                    </a:lnTo>
                    <a:lnTo>
                      <a:pt x="2476500" y="2233613"/>
                    </a:lnTo>
                    <a:lnTo>
                      <a:pt x="2533650" y="2205038"/>
                    </a:lnTo>
                    <a:lnTo>
                      <a:pt x="2547938" y="2190750"/>
                    </a:lnTo>
                    <a:lnTo>
                      <a:pt x="2562225" y="2133600"/>
                    </a:lnTo>
                    <a:lnTo>
                      <a:pt x="2624138" y="2081213"/>
                    </a:lnTo>
                    <a:lnTo>
                      <a:pt x="2643188" y="2047875"/>
                    </a:lnTo>
                    <a:lnTo>
                      <a:pt x="2676525" y="1985963"/>
                    </a:lnTo>
                    <a:lnTo>
                      <a:pt x="2724150" y="1957388"/>
                    </a:lnTo>
                    <a:lnTo>
                      <a:pt x="2795588" y="1828800"/>
                    </a:lnTo>
                    <a:lnTo>
                      <a:pt x="2814638" y="1814513"/>
                    </a:lnTo>
                    <a:lnTo>
                      <a:pt x="2824163" y="1738313"/>
                    </a:lnTo>
                    <a:lnTo>
                      <a:pt x="2847975" y="1685925"/>
                    </a:lnTo>
                    <a:lnTo>
                      <a:pt x="2881313" y="1609725"/>
                    </a:lnTo>
                    <a:lnTo>
                      <a:pt x="2886075" y="1585913"/>
                    </a:lnTo>
                    <a:lnTo>
                      <a:pt x="2914650" y="1547813"/>
                    </a:lnTo>
                    <a:lnTo>
                      <a:pt x="2900363" y="1500188"/>
                    </a:lnTo>
                    <a:lnTo>
                      <a:pt x="2947988" y="1447800"/>
                    </a:lnTo>
                    <a:lnTo>
                      <a:pt x="2967038" y="1352550"/>
                    </a:lnTo>
                    <a:lnTo>
                      <a:pt x="3024188" y="1309688"/>
                    </a:lnTo>
                    <a:lnTo>
                      <a:pt x="3019425" y="1276350"/>
                    </a:lnTo>
                    <a:lnTo>
                      <a:pt x="3028950" y="1266825"/>
                    </a:lnTo>
                    <a:lnTo>
                      <a:pt x="3033713" y="1214438"/>
                    </a:lnTo>
                    <a:lnTo>
                      <a:pt x="3062288" y="1171575"/>
                    </a:lnTo>
                    <a:lnTo>
                      <a:pt x="3081338" y="1133475"/>
                    </a:lnTo>
                    <a:lnTo>
                      <a:pt x="3081338" y="1066800"/>
                    </a:lnTo>
                    <a:lnTo>
                      <a:pt x="3086100" y="1004888"/>
                    </a:lnTo>
                    <a:lnTo>
                      <a:pt x="3124200" y="895350"/>
                    </a:lnTo>
                    <a:lnTo>
                      <a:pt x="3138488" y="847725"/>
                    </a:lnTo>
                    <a:lnTo>
                      <a:pt x="3214688" y="781050"/>
                    </a:lnTo>
                    <a:lnTo>
                      <a:pt x="3248025" y="709613"/>
                    </a:lnTo>
                    <a:lnTo>
                      <a:pt x="3338513" y="647700"/>
                    </a:lnTo>
                    <a:lnTo>
                      <a:pt x="3357563" y="614363"/>
                    </a:lnTo>
                    <a:lnTo>
                      <a:pt x="3433763" y="519113"/>
                    </a:lnTo>
                    <a:lnTo>
                      <a:pt x="3486150" y="466725"/>
                    </a:lnTo>
                    <a:lnTo>
                      <a:pt x="3548063" y="442913"/>
                    </a:lnTo>
                    <a:lnTo>
                      <a:pt x="3567113" y="390525"/>
                    </a:lnTo>
                    <a:lnTo>
                      <a:pt x="3581400" y="352425"/>
                    </a:lnTo>
                    <a:lnTo>
                      <a:pt x="3590925" y="304800"/>
                    </a:lnTo>
                    <a:lnTo>
                      <a:pt x="3724275" y="104775"/>
                    </a:lnTo>
                    <a:lnTo>
                      <a:pt x="3790950" y="28575"/>
                    </a:lnTo>
                    <a:lnTo>
                      <a:pt x="3829050" y="0"/>
                    </a:lnTo>
                  </a:path>
                </a:pathLst>
              </a:custGeom>
              <a:no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255" name="Freeform: Shape 254">
                <a:extLst>
                  <a:ext uri="{FF2B5EF4-FFF2-40B4-BE49-F238E27FC236}">
                    <a16:creationId xmlns:a16="http://schemas.microsoft.com/office/drawing/2014/main" id="{861618B6-6D8F-4A9C-8659-D613FD1C4364}"/>
                  </a:ext>
                </a:extLst>
              </p:cNvPr>
              <p:cNvSpPr/>
              <p:nvPr/>
            </p:nvSpPr>
            <p:spPr bwMode="gray">
              <a:xfrm>
                <a:off x="7239000" y="5369719"/>
                <a:ext cx="661988" cy="228600"/>
              </a:xfrm>
              <a:custGeom>
                <a:avLst/>
                <a:gdLst>
                  <a:gd name="connsiteX0" fmla="*/ 0 w 661988"/>
                  <a:gd name="connsiteY0" fmla="*/ 204787 h 228600"/>
                  <a:gd name="connsiteX1" fmla="*/ 35719 w 661988"/>
                  <a:gd name="connsiteY1" fmla="*/ 195262 h 228600"/>
                  <a:gd name="connsiteX2" fmla="*/ 83344 w 661988"/>
                  <a:gd name="connsiteY2" fmla="*/ 202406 h 228600"/>
                  <a:gd name="connsiteX3" fmla="*/ 121444 w 661988"/>
                  <a:gd name="connsiteY3" fmla="*/ 219075 h 228600"/>
                  <a:gd name="connsiteX4" fmla="*/ 142875 w 661988"/>
                  <a:gd name="connsiteY4" fmla="*/ 228600 h 228600"/>
                  <a:gd name="connsiteX5" fmla="*/ 242888 w 661988"/>
                  <a:gd name="connsiteY5" fmla="*/ 192881 h 228600"/>
                  <a:gd name="connsiteX6" fmla="*/ 273844 w 661988"/>
                  <a:gd name="connsiteY6" fmla="*/ 171450 h 228600"/>
                  <a:gd name="connsiteX7" fmla="*/ 300038 w 661988"/>
                  <a:gd name="connsiteY7" fmla="*/ 176212 h 228600"/>
                  <a:gd name="connsiteX8" fmla="*/ 304800 w 661988"/>
                  <a:gd name="connsiteY8" fmla="*/ 180975 h 228600"/>
                  <a:gd name="connsiteX9" fmla="*/ 330994 w 661988"/>
                  <a:gd name="connsiteY9" fmla="*/ 154781 h 228600"/>
                  <a:gd name="connsiteX10" fmla="*/ 381000 w 661988"/>
                  <a:gd name="connsiteY10" fmla="*/ 142875 h 228600"/>
                  <a:gd name="connsiteX11" fmla="*/ 416719 w 661988"/>
                  <a:gd name="connsiteY11" fmla="*/ 133350 h 228600"/>
                  <a:gd name="connsiteX12" fmla="*/ 457200 w 661988"/>
                  <a:gd name="connsiteY12" fmla="*/ 142875 h 228600"/>
                  <a:gd name="connsiteX13" fmla="*/ 490538 w 661988"/>
                  <a:gd name="connsiteY13" fmla="*/ 161925 h 228600"/>
                  <a:gd name="connsiteX14" fmla="*/ 523875 w 661988"/>
                  <a:gd name="connsiteY14" fmla="*/ 169069 h 228600"/>
                  <a:gd name="connsiteX15" fmla="*/ 583406 w 661988"/>
                  <a:gd name="connsiteY15" fmla="*/ 133350 h 228600"/>
                  <a:gd name="connsiteX16" fmla="*/ 638175 w 661988"/>
                  <a:gd name="connsiteY16" fmla="*/ 104775 h 228600"/>
                  <a:gd name="connsiteX17" fmla="*/ 659606 w 661988"/>
                  <a:gd name="connsiteY17" fmla="*/ 66675 h 228600"/>
                  <a:gd name="connsiteX18" fmla="*/ 661988 w 661988"/>
                  <a:gd name="connsiteY18" fmla="*/ 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1988" h="228600">
                    <a:moveTo>
                      <a:pt x="0" y="204787"/>
                    </a:moveTo>
                    <a:lnTo>
                      <a:pt x="35719" y="195262"/>
                    </a:lnTo>
                    <a:lnTo>
                      <a:pt x="83344" y="202406"/>
                    </a:lnTo>
                    <a:lnTo>
                      <a:pt x="121444" y="219075"/>
                    </a:lnTo>
                    <a:lnTo>
                      <a:pt x="142875" y="228600"/>
                    </a:lnTo>
                    <a:lnTo>
                      <a:pt x="242888" y="192881"/>
                    </a:lnTo>
                    <a:lnTo>
                      <a:pt x="273844" y="171450"/>
                    </a:lnTo>
                    <a:lnTo>
                      <a:pt x="300038" y="176212"/>
                    </a:lnTo>
                    <a:lnTo>
                      <a:pt x="304800" y="180975"/>
                    </a:lnTo>
                    <a:lnTo>
                      <a:pt x="330994" y="154781"/>
                    </a:lnTo>
                    <a:lnTo>
                      <a:pt x="381000" y="142875"/>
                    </a:lnTo>
                    <a:lnTo>
                      <a:pt x="416719" y="133350"/>
                    </a:lnTo>
                    <a:lnTo>
                      <a:pt x="457200" y="142875"/>
                    </a:lnTo>
                    <a:lnTo>
                      <a:pt x="490538" y="161925"/>
                    </a:lnTo>
                    <a:lnTo>
                      <a:pt x="523875" y="169069"/>
                    </a:lnTo>
                    <a:lnTo>
                      <a:pt x="583406" y="133350"/>
                    </a:lnTo>
                    <a:lnTo>
                      <a:pt x="638175" y="104775"/>
                    </a:lnTo>
                    <a:lnTo>
                      <a:pt x="659606" y="66675"/>
                    </a:lnTo>
                    <a:lnTo>
                      <a:pt x="661988" y="0"/>
                    </a:lnTo>
                  </a:path>
                </a:pathLst>
              </a:custGeom>
              <a:no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256" name="Freeform: Shape 255">
                <a:extLst>
                  <a:ext uri="{FF2B5EF4-FFF2-40B4-BE49-F238E27FC236}">
                    <a16:creationId xmlns:a16="http://schemas.microsoft.com/office/drawing/2014/main" id="{D5866434-A266-463B-9ABC-A0D137D81A01}"/>
                  </a:ext>
                </a:extLst>
              </p:cNvPr>
              <p:cNvSpPr/>
              <p:nvPr/>
            </p:nvSpPr>
            <p:spPr bwMode="gray">
              <a:xfrm>
                <a:off x="8162925" y="4988719"/>
                <a:ext cx="138113" cy="83344"/>
              </a:xfrm>
              <a:custGeom>
                <a:avLst/>
                <a:gdLst>
                  <a:gd name="connsiteX0" fmla="*/ 0 w 138113"/>
                  <a:gd name="connsiteY0" fmla="*/ 83344 h 83344"/>
                  <a:gd name="connsiteX1" fmla="*/ 47625 w 138113"/>
                  <a:gd name="connsiteY1" fmla="*/ 30956 h 83344"/>
                  <a:gd name="connsiteX2" fmla="*/ 88106 w 138113"/>
                  <a:gd name="connsiteY2" fmla="*/ 2381 h 83344"/>
                  <a:gd name="connsiteX3" fmla="*/ 138113 w 138113"/>
                  <a:gd name="connsiteY3" fmla="*/ 0 h 83344"/>
                </a:gdLst>
                <a:ahLst/>
                <a:cxnLst>
                  <a:cxn ang="0">
                    <a:pos x="connsiteX0" y="connsiteY0"/>
                  </a:cxn>
                  <a:cxn ang="0">
                    <a:pos x="connsiteX1" y="connsiteY1"/>
                  </a:cxn>
                  <a:cxn ang="0">
                    <a:pos x="connsiteX2" y="connsiteY2"/>
                  </a:cxn>
                  <a:cxn ang="0">
                    <a:pos x="connsiteX3" y="connsiteY3"/>
                  </a:cxn>
                </a:cxnLst>
                <a:rect l="l" t="t" r="r" b="b"/>
                <a:pathLst>
                  <a:path w="138113" h="83344">
                    <a:moveTo>
                      <a:pt x="0" y="83344"/>
                    </a:moveTo>
                    <a:lnTo>
                      <a:pt x="47625" y="30956"/>
                    </a:lnTo>
                    <a:lnTo>
                      <a:pt x="88106" y="2381"/>
                    </a:lnTo>
                    <a:lnTo>
                      <a:pt x="138113" y="0"/>
                    </a:lnTo>
                  </a:path>
                </a:pathLst>
              </a:custGeom>
              <a:no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grpSp>
        <p:grpSp>
          <p:nvGrpSpPr>
            <p:cNvPr id="246" name="Group 245">
              <a:extLst>
                <a:ext uri="{FF2B5EF4-FFF2-40B4-BE49-F238E27FC236}">
                  <a16:creationId xmlns:a16="http://schemas.microsoft.com/office/drawing/2014/main" id="{5232857E-9BE9-4240-8DE5-FB9DA388C31A}"/>
                </a:ext>
              </a:extLst>
            </p:cNvPr>
            <p:cNvGrpSpPr/>
            <p:nvPr/>
          </p:nvGrpSpPr>
          <p:grpSpPr bwMode="gray">
            <a:xfrm>
              <a:off x="5795063" y="2725182"/>
              <a:ext cx="3819525" cy="3124201"/>
              <a:chOff x="5819775" y="2762250"/>
              <a:chExt cx="3819525" cy="3124201"/>
            </a:xfrm>
          </p:grpSpPr>
          <p:sp>
            <p:nvSpPr>
              <p:cNvPr id="251" name="Freeform: Shape 250">
                <a:extLst>
                  <a:ext uri="{FF2B5EF4-FFF2-40B4-BE49-F238E27FC236}">
                    <a16:creationId xmlns:a16="http://schemas.microsoft.com/office/drawing/2014/main" id="{10C03771-999C-4193-8343-330B7F4679D7}"/>
                  </a:ext>
                </a:extLst>
              </p:cNvPr>
              <p:cNvSpPr/>
              <p:nvPr/>
            </p:nvSpPr>
            <p:spPr bwMode="gray">
              <a:xfrm>
                <a:off x="5819775" y="2762250"/>
                <a:ext cx="3819525" cy="3124201"/>
              </a:xfrm>
              <a:custGeom>
                <a:avLst/>
                <a:gdLst>
                  <a:gd name="connsiteX0" fmla="*/ 0 w 3829050"/>
                  <a:gd name="connsiteY0" fmla="*/ 3109913 h 3109913"/>
                  <a:gd name="connsiteX1" fmla="*/ 100013 w 3829050"/>
                  <a:gd name="connsiteY1" fmla="*/ 3052763 h 3109913"/>
                  <a:gd name="connsiteX2" fmla="*/ 204788 w 3829050"/>
                  <a:gd name="connsiteY2" fmla="*/ 3052763 h 3109913"/>
                  <a:gd name="connsiteX3" fmla="*/ 271463 w 3829050"/>
                  <a:gd name="connsiteY3" fmla="*/ 3033713 h 3109913"/>
                  <a:gd name="connsiteX4" fmla="*/ 357188 w 3829050"/>
                  <a:gd name="connsiteY4" fmla="*/ 3057525 h 3109913"/>
                  <a:gd name="connsiteX5" fmla="*/ 428625 w 3829050"/>
                  <a:gd name="connsiteY5" fmla="*/ 3028950 h 3109913"/>
                  <a:gd name="connsiteX6" fmla="*/ 471488 w 3829050"/>
                  <a:gd name="connsiteY6" fmla="*/ 3052763 h 3109913"/>
                  <a:gd name="connsiteX7" fmla="*/ 538163 w 3829050"/>
                  <a:gd name="connsiteY7" fmla="*/ 3028950 h 3109913"/>
                  <a:gd name="connsiteX8" fmla="*/ 666750 w 3829050"/>
                  <a:gd name="connsiteY8" fmla="*/ 3062288 h 3109913"/>
                  <a:gd name="connsiteX9" fmla="*/ 700088 w 3829050"/>
                  <a:gd name="connsiteY9" fmla="*/ 3052763 h 3109913"/>
                  <a:gd name="connsiteX10" fmla="*/ 733425 w 3829050"/>
                  <a:gd name="connsiteY10" fmla="*/ 3043238 h 3109913"/>
                  <a:gd name="connsiteX11" fmla="*/ 785813 w 3829050"/>
                  <a:gd name="connsiteY11" fmla="*/ 3009900 h 3109913"/>
                  <a:gd name="connsiteX12" fmla="*/ 862013 w 3829050"/>
                  <a:gd name="connsiteY12" fmla="*/ 2962275 h 3109913"/>
                  <a:gd name="connsiteX13" fmla="*/ 914400 w 3829050"/>
                  <a:gd name="connsiteY13" fmla="*/ 2943225 h 3109913"/>
                  <a:gd name="connsiteX14" fmla="*/ 952500 w 3829050"/>
                  <a:gd name="connsiteY14" fmla="*/ 2919413 h 3109913"/>
                  <a:gd name="connsiteX15" fmla="*/ 1104900 w 3829050"/>
                  <a:gd name="connsiteY15" fmla="*/ 2890838 h 3109913"/>
                  <a:gd name="connsiteX16" fmla="*/ 1147763 w 3829050"/>
                  <a:gd name="connsiteY16" fmla="*/ 2876550 h 3109913"/>
                  <a:gd name="connsiteX17" fmla="*/ 1195388 w 3829050"/>
                  <a:gd name="connsiteY17" fmla="*/ 2824163 h 3109913"/>
                  <a:gd name="connsiteX18" fmla="*/ 1285875 w 3829050"/>
                  <a:gd name="connsiteY18" fmla="*/ 2824163 h 3109913"/>
                  <a:gd name="connsiteX19" fmla="*/ 1395413 w 3829050"/>
                  <a:gd name="connsiteY19" fmla="*/ 2828925 h 3109913"/>
                  <a:gd name="connsiteX20" fmla="*/ 1433513 w 3829050"/>
                  <a:gd name="connsiteY20" fmla="*/ 2805113 h 3109913"/>
                  <a:gd name="connsiteX21" fmla="*/ 1462088 w 3829050"/>
                  <a:gd name="connsiteY21" fmla="*/ 2781300 h 3109913"/>
                  <a:gd name="connsiteX22" fmla="*/ 1495425 w 3829050"/>
                  <a:gd name="connsiteY22" fmla="*/ 2757488 h 3109913"/>
                  <a:gd name="connsiteX23" fmla="*/ 1538288 w 3829050"/>
                  <a:gd name="connsiteY23" fmla="*/ 2757488 h 3109913"/>
                  <a:gd name="connsiteX24" fmla="*/ 1585913 w 3829050"/>
                  <a:gd name="connsiteY24" fmla="*/ 2738438 h 3109913"/>
                  <a:gd name="connsiteX25" fmla="*/ 1628775 w 3829050"/>
                  <a:gd name="connsiteY25" fmla="*/ 2738438 h 3109913"/>
                  <a:gd name="connsiteX26" fmla="*/ 1685925 w 3829050"/>
                  <a:gd name="connsiteY26" fmla="*/ 2738438 h 3109913"/>
                  <a:gd name="connsiteX27" fmla="*/ 1733550 w 3829050"/>
                  <a:gd name="connsiteY27" fmla="*/ 2738438 h 3109913"/>
                  <a:gd name="connsiteX28" fmla="*/ 1781175 w 3829050"/>
                  <a:gd name="connsiteY28" fmla="*/ 2686050 h 3109913"/>
                  <a:gd name="connsiteX29" fmla="*/ 1852613 w 3829050"/>
                  <a:gd name="connsiteY29" fmla="*/ 2671763 h 3109913"/>
                  <a:gd name="connsiteX30" fmla="*/ 1933575 w 3829050"/>
                  <a:gd name="connsiteY30" fmla="*/ 2652713 h 3109913"/>
                  <a:gd name="connsiteX31" fmla="*/ 1966913 w 3829050"/>
                  <a:gd name="connsiteY31" fmla="*/ 2619375 h 3109913"/>
                  <a:gd name="connsiteX32" fmla="*/ 2024063 w 3829050"/>
                  <a:gd name="connsiteY32" fmla="*/ 2619375 h 3109913"/>
                  <a:gd name="connsiteX33" fmla="*/ 2076450 w 3829050"/>
                  <a:gd name="connsiteY33" fmla="*/ 2619375 h 3109913"/>
                  <a:gd name="connsiteX34" fmla="*/ 2109788 w 3829050"/>
                  <a:gd name="connsiteY34" fmla="*/ 2586038 h 3109913"/>
                  <a:gd name="connsiteX35" fmla="*/ 2162175 w 3829050"/>
                  <a:gd name="connsiteY35" fmla="*/ 2547938 h 3109913"/>
                  <a:gd name="connsiteX36" fmla="*/ 2200275 w 3829050"/>
                  <a:gd name="connsiteY36" fmla="*/ 2509838 h 3109913"/>
                  <a:gd name="connsiteX37" fmla="*/ 2219325 w 3829050"/>
                  <a:gd name="connsiteY37" fmla="*/ 2466975 h 3109913"/>
                  <a:gd name="connsiteX38" fmla="*/ 2266950 w 3829050"/>
                  <a:gd name="connsiteY38" fmla="*/ 2409825 h 3109913"/>
                  <a:gd name="connsiteX39" fmla="*/ 2300288 w 3829050"/>
                  <a:gd name="connsiteY39" fmla="*/ 2352675 h 3109913"/>
                  <a:gd name="connsiteX40" fmla="*/ 2343150 w 3829050"/>
                  <a:gd name="connsiteY40" fmla="*/ 2314575 h 3109913"/>
                  <a:gd name="connsiteX41" fmla="*/ 2395538 w 3829050"/>
                  <a:gd name="connsiteY41" fmla="*/ 2290763 h 3109913"/>
                  <a:gd name="connsiteX42" fmla="*/ 2443163 w 3829050"/>
                  <a:gd name="connsiteY42" fmla="*/ 2271713 h 3109913"/>
                  <a:gd name="connsiteX43" fmla="*/ 2476500 w 3829050"/>
                  <a:gd name="connsiteY43" fmla="*/ 2233613 h 3109913"/>
                  <a:gd name="connsiteX44" fmla="*/ 2533650 w 3829050"/>
                  <a:gd name="connsiteY44" fmla="*/ 2205038 h 3109913"/>
                  <a:gd name="connsiteX45" fmla="*/ 2547938 w 3829050"/>
                  <a:gd name="connsiteY45" fmla="*/ 2190750 h 3109913"/>
                  <a:gd name="connsiteX46" fmla="*/ 2562225 w 3829050"/>
                  <a:gd name="connsiteY46" fmla="*/ 2133600 h 3109913"/>
                  <a:gd name="connsiteX47" fmla="*/ 2624138 w 3829050"/>
                  <a:gd name="connsiteY47" fmla="*/ 2081213 h 3109913"/>
                  <a:gd name="connsiteX48" fmla="*/ 2643188 w 3829050"/>
                  <a:gd name="connsiteY48" fmla="*/ 2047875 h 3109913"/>
                  <a:gd name="connsiteX49" fmla="*/ 2676525 w 3829050"/>
                  <a:gd name="connsiteY49" fmla="*/ 1985963 h 3109913"/>
                  <a:gd name="connsiteX50" fmla="*/ 2724150 w 3829050"/>
                  <a:gd name="connsiteY50" fmla="*/ 1957388 h 3109913"/>
                  <a:gd name="connsiteX51" fmla="*/ 2795588 w 3829050"/>
                  <a:gd name="connsiteY51" fmla="*/ 1828800 h 3109913"/>
                  <a:gd name="connsiteX52" fmla="*/ 2814638 w 3829050"/>
                  <a:gd name="connsiteY52" fmla="*/ 1814513 h 3109913"/>
                  <a:gd name="connsiteX53" fmla="*/ 2824163 w 3829050"/>
                  <a:gd name="connsiteY53" fmla="*/ 1738313 h 3109913"/>
                  <a:gd name="connsiteX54" fmla="*/ 2847975 w 3829050"/>
                  <a:gd name="connsiteY54" fmla="*/ 1685925 h 3109913"/>
                  <a:gd name="connsiteX55" fmla="*/ 2881313 w 3829050"/>
                  <a:gd name="connsiteY55" fmla="*/ 1609725 h 3109913"/>
                  <a:gd name="connsiteX56" fmla="*/ 2886075 w 3829050"/>
                  <a:gd name="connsiteY56" fmla="*/ 1585913 h 3109913"/>
                  <a:gd name="connsiteX57" fmla="*/ 2914650 w 3829050"/>
                  <a:gd name="connsiteY57" fmla="*/ 1547813 h 3109913"/>
                  <a:gd name="connsiteX58" fmla="*/ 2900363 w 3829050"/>
                  <a:gd name="connsiteY58" fmla="*/ 1500188 h 3109913"/>
                  <a:gd name="connsiteX59" fmla="*/ 2947988 w 3829050"/>
                  <a:gd name="connsiteY59" fmla="*/ 1447800 h 3109913"/>
                  <a:gd name="connsiteX60" fmla="*/ 2967038 w 3829050"/>
                  <a:gd name="connsiteY60" fmla="*/ 1352550 h 3109913"/>
                  <a:gd name="connsiteX61" fmla="*/ 3024188 w 3829050"/>
                  <a:gd name="connsiteY61" fmla="*/ 1309688 h 3109913"/>
                  <a:gd name="connsiteX62" fmla="*/ 3019425 w 3829050"/>
                  <a:gd name="connsiteY62" fmla="*/ 1276350 h 3109913"/>
                  <a:gd name="connsiteX63" fmla="*/ 3028950 w 3829050"/>
                  <a:gd name="connsiteY63" fmla="*/ 1266825 h 3109913"/>
                  <a:gd name="connsiteX64" fmla="*/ 3033713 w 3829050"/>
                  <a:gd name="connsiteY64" fmla="*/ 1214438 h 3109913"/>
                  <a:gd name="connsiteX65" fmla="*/ 3062288 w 3829050"/>
                  <a:gd name="connsiteY65" fmla="*/ 1171575 h 3109913"/>
                  <a:gd name="connsiteX66" fmla="*/ 3081338 w 3829050"/>
                  <a:gd name="connsiteY66" fmla="*/ 1133475 h 3109913"/>
                  <a:gd name="connsiteX67" fmla="*/ 3081338 w 3829050"/>
                  <a:gd name="connsiteY67" fmla="*/ 1066800 h 3109913"/>
                  <a:gd name="connsiteX68" fmla="*/ 3086100 w 3829050"/>
                  <a:gd name="connsiteY68" fmla="*/ 1004888 h 3109913"/>
                  <a:gd name="connsiteX69" fmla="*/ 3124200 w 3829050"/>
                  <a:gd name="connsiteY69" fmla="*/ 895350 h 3109913"/>
                  <a:gd name="connsiteX70" fmla="*/ 3138488 w 3829050"/>
                  <a:gd name="connsiteY70" fmla="*/ 847725 h 3109913"/>
                  <a:gd name="connsiteX71" fmla="*/ 3214688 w 3829050"/>
                  <a:gd name="connsiteY71" fmla="*/ 781050 h 3109913"/>
                  <a:gd name="connsiteX72" fmla="*/ 3248025 w 3829050"/>
                  <a:gd name="connsiteY72" fmla="*/ 709613 h 3109913"/>
                  <a:gd name="connsiteX73" fmla="*/ 3338513 w 3829050"/>
                  <a:gd name="connsiteY73" fmla="*/ 647700 h 3109913"/>
                  <a:gd name="connsiteX74" fmla="*/ 3357563 w 3829050"/>
                  <a:gd name="connsiteY74" fmla="*/ 614363 h 3109913"/>
                  <a:gd name="connsiteX75" fmla="*/ 3433763 w 3829050"/>
                  <a:gd name="connsiteY75" fmla="*/ 519113 h 3109913"/>
                  <a:gd name="connsiteX76" fmla="*/ 3486150 w 3829050"/>
                  <a:gd name="connsiteY76" fmla="*/ 466725 h 3109913"/>
                  <a:gd name="connsiteX77" fmla="*/ 3548063 w 3829050"/>
                  <a:gd name="connsiteY77" fmla="*/ 442913 h 3109913"/>
                  <a:gd name="connsiteX78" fmla="*/ 3567113 w 3829050"/>
                  <a:gd name="connsiteY78" fmla="*/ 390525 h 3109913"/>
                  <a:gd name="connsiteX79" fmla="*/ 3581400 w 3829050"/>
                  <a:gd name="connsiteY79" fmla="*/ 352425 h 3109913"/>
                  <a:gd name="connsiteX80" fmla="*/ 3590925 w 3829050"/>
                  <a:gd name="connsiteY80" fmla="*/ 304800 h 3109913"/>
                  <a:gd name="connsiteX81" fmla="*/ 3724275 w 3829050"/>
                  <a:gd name="connsiteY81" fmla="*/ 104775 h 3109913"/>
                  <a:gd name="connsiteX82" fmla="*/ 3790950 w 3829050"/>
                  <a:gd name="connsiteY82" fmla="*/ 28575 h 3109913"/>
                  <a:gd name="connsiteX83" fmla="*/ 3829050 w 3829050"/>
                  <a:gd name="connsiteY83" fmla="*/ 0 h 3109913"/>
                  <a:gd name="connsiteX0" fmla="*/ 0 w 3819525"/>
                  <a:gd name="connsiteY0" fmla="*/ 3124201 h 3124201"/>
                  <a:gd name="connsiteX1" fmla="*/ 90488 w 3819525"/>
                  <a:gd name="connsiteY1" fmla="*/ 3052763 h 3124201"/>
                  <a:gd name="connsiteX2" fmla="*/ 195263 w 3819525"/>
                  <a:gd name="connsiteY2" fmla="*/ 3052763 h 3124201"/>
                  <a:gd name="connsiteX3" fmla="*/ 261938 w 3819525"/>
                  <a:gd name="connsiteY3" fmla="*/ 3033713 h 3124201"/>
                  <a:gd name="connsiteX4" fmla="*/ 347663 w 3819525"/>
                  <a:gd name="connsiteY4" fmla="*/ 3057525 h 3124201"/>
                  <a:gd name="connsiteX5" fmla="*/ 419100 w 3819525"/>
                  <a:gd name="connsiteY5" fmla="*/ 3028950 h 3124201"/>
                  <a:gd name="connsiteX6" fmla="*/ 461963 w 3819525"/>
                  <a:gd name="connsiteY6" fmla="*/ 3052763 h 3124201"/>
                  <a:gd name="connsiteX7" fmla="*/ 528638 w 3819525"/>
                  <a:gd name="connsiteY7" fmla="*/ 3028950 h 3124201"/>
                  <a:gd name="connsiteX8" fmla="*/ 657225 w 3819525"/>
                  <a:gd name="connsiteY8" fmla="*/ 3062288 h 3124201"/>
                  <a:gd name="connsiteX9" fmla="*/ 690563 w 3819525"/>
                  <a:gd name="connsiteY9" fmla="*/ 3052763 h 3124201"/>
                  <a:gd name="connsiteX10" fmla="*/ 723900 w 3819525"/>
                  <a:gd name="connsiteY10" fmla="*/ 3043238 h 3124201"/>
                  <a:gd name="connsiteX11" fmla="*/ 776288 w 3819525"/>
                  <a:gd name="connsiteY11" fmla="*/ 3009900 h 3124201"/>
                  <a:gd name="connsiteX12" fmla="*/ 852488 w 3819525"/>
                  <a:gd name="connsiteY12" fmla="*/ 2962275 h 3124201"/>
                  <a:gd name="connsiteX13" fmla="*/ 904875 w 3819525"/>
                  <a:gd name="connsiteY13" fmla="*/ 2943225 h 3124201"/>
                  <a:gd name="connsiteX14" fmla="*/ 942975 w 3819525"/>
                  <a:gd name="connsiteY14" fmla="*/ 2919413 h 3124201"/>
                  <a:gd name="connsiteX15" fmla="*/ 1095375 w 3819525"/>
                  <a:gd name="connsiteY15" fmla="*/ 2890838 h 3124201"/>
                  <a:gd name="connsiteX16" fmla="*/ 1138238 w 3819525"/>
                  <a:gd name="connsiteY16" fmla="*/ 2876550 h 3124201"/>
                  <a:gd name="connsiteX17" fmla="*/ 1185863 w 3819525"/>
                  <a:gd name="connsiteY17" fmla="*/ 2824163 h 3124201"/>
                  <a:gd name="connsiteX18" fmla="*/ 1276350 w 3819525"/>
                  <a:gd name="connsiteY18" fmla="*/ 2824163 h 3124201"/>
                  <a:gd name="connsiteX19" fmla="*/ 1385888 w 3819525"/>
                  <a:gd name="connsiteY19" fmla="*/ 2828925 h 3124201"/>
                  <a:gd name="connsiteX20" fmla="*/ 1423988 w 3819525"/>
                  <a:gd name="connsiteY20" fmla="*/ 2805113 h 3124201"/>
                  <a:gd name="connsiteX21" fmla="*/ 1452563 w 3819525"/>
                  <a:gd name="connsiteY21" fmla="*/ 2781300 h 3124201"/>
                  <a:gd name="connsiteX22" fmla="*/ 1485900 w 3819525"/>
                  <a:gd name="connsiteY22" fmla="*/ 2757488 h 3124201"/>
                  <a:gd name="connsiteX23" fmla="*/ 1528763 w 3819525"/>
                  <a:gd name="connsiteY23" fmla="*/ 2757488 h 3124201"/>
                  <a:gd name="connsiteX24" fmla="*/ 1576388 w 3819525"/>
                  <a:gd name="connsiteY24" fmla="*/ 2738438 h 3124201"/>
                  <a:gd name="connsiteX25" fmla="*/ 1619250 w 3819525"/>
                  <a:gd name="connsiteY25" fmla="*/ 2738438 h 3124201"/>
                  <a:gd name="connsiteX26" fmla="*/ 1676400 w 3819525"/>
                  <a:gd name="connsiteY26" fmla="*/ 2738438 h 3124201"/>
                  <a:gd name="connsiteX27" fmla="*/ 1724025 w 3819525"/>
                  <a:gd name="connsiteY27" fmla="*/ 2738438 h 3124201"/>
                  <a:gd name="connsiteX28" fmla="*/ 1771650 w 3819525"/>
                  <a:gd name="connsiteY28" fmla="*/ 2686050 h 3124201"/>
                  <a:gd name="connsiteX29" fmla="*/ 1843088 w 3819525"/>
                  <a:gd name="connsiteY29" fmla="*/ 2671763 h 3124201"/>
                  <a:gd name="connsiteX30" fmla="*/ 1924050 w 3819525"/>
                  <a:gd name="connsiteY30" fmla="*/ 2652713 h 3124201"/>
                  <a:gd name="connsiteX31" fmla="*/ 1957388 w 3819525"/>
                  <a:gd name="connsiteY31" fmla="*/ 2619375 h 3124201"/>
                  <a:gd name="connsiteX32" fmla="*/ 2014538 w 3819525"/>
                  <a:gd name="connsiteY32" fmla="*/ 2619375 h 3124201"/>
                  <a:gd name="connsiteX33" fmla="*/ 2066925 w 3819525"/>
                  <a:gd name="connsiteY33" fmla="*/ 2619375 h 3124201"/>
                  <a:gd name="connsiteX34" fmla="*/ 2100263 w 3819525"/>
                  <a:gd name="connsiteY34" fmla="*/ 2586038 h 3124201"/>
                  <a:gd name="connsiteX35" fmla="*/ 2152650 w 3819525"/>
                  <a:gd name="connsiteY35" fmla="*/ 2547938 h 3124201"/>
                  <a:gd name="connsiteX36" fmla="*/ 2190750 w 3819525"/>
                  <a:gd name="connsiteY36" fmla="*/ 2509838 h 3124201"/>
                  <a:gd name="connsiteX37" fmla="*/ 2209800 w 3819525"/>
                  <a:gd name="connsiteY37" fmla="*/ 2466975 h 3124201"/>
                  <a:gd name="connsiteX38" fmla="*/ 2257425 w 3819525"/>
                  <a:gd name="connsiteY38" fmla="*/ 2409825 h 3124201"/>
                  <a:gd name="connsiteX39" fmla="*/ 2290763 w 3819525"/>
                  <a:gd name="connsiteY39" fmla="*/ 2352675 h 3124201"/>
                  <a:gd name="connsiteX40" fmla="*/ 2333625 w 3819525"/>
                  <a:gd name="connsiteY40" fmla="*/ 2314575 h 3124201"/>
                  <a:gd name="connsiteX41" fmla="*/ 2386013 w 3819525"/>
                  <a:gd name="connsiteY41" fmla="*/ 2290763 h 3124201"/>
                  <a:gd name="connsiteX42" fmla="*/ 2433638 w 3819525"/>
                  <a:gd name="connsiteY42" fmla="*/ 2271713 h 3124201"/>
                  <a:gd name="connsiteX43" fmla="*/ 2466975 w 3819525"/>
                  <a:gd name="connsiteY43" fmla="*/ 2233613 h 3124201"/>
                  <a:gd name="connsiteX44" fmla="*/ 2524125 w 3819525"/>
                  <a:gd name="connsiteY44" fmla="*/ 2205038 h 3124201"/>
                  <a:gd name="connsiteX45" fmla="*/ 2538413 w 3819525"/>
                  <a:gd name="connsiteY45" fmla="*/ 2190750 h 3124201"/>
                  <a:gd name="connsiteX46" fmla="*/ 2552700 w 3819525"/>
                  <a:gd name="connsiteY46" fmla="*/ 2133600 h 3124201"/>
                  <a:gd name="connsiteX47" fmla="*/ 2614613 w 3819525"/>
                  <a:gd name="connsiteY47" fmla="*/ 2081213 h 3124201"/>
                  <a:gd name="connsiteX48" fmla="*/ 2633663 w 3819525"/>
                  <a:gd name="connsiteY48" fmla="*/ 2047875 h 3124201"/>
                  <a:gd name="connsiteX49" fmla="*/ 2667000 w 3819525"/>
                  <a:gd name="connsiteY49" fmla="*/ 1985963 h 3124201"/>
                  <a:gd name="connsiteX50" fmla="*/ 2714625 w 3819525"/>
                  <a:gd name="connsiteY50" fmla="*/ 1957388 h 3124201"/>
                  <a:gd name="connsiteX51" fmla="*/ 2786063 w 3819525"/>
                  <a:gd name="connsiteY51" fmla="*/ 1828800 h 3124201"/>
                  <a:gd name="connsiteX52" fmla="*/ 2805113 w 3819525"/>
                  <a:gd name="connsiteY52" fmla="*/ 1814513 h 3124201"/>
                  <a:gd name="connsiteX53" fmla="*/ 2814638 w 3819525"/>
                  <a:gd name="connsiteY53" fmla="*/ 1738313 h 3124201"/>
                  <a:gd name="connsiteX54" fmla="*/ 2838450 w 3819525"/>
                  <a:gd name="connsiteY54" fmla="*/ 1685925 h 3124201"/>
                  <a:gd name="connsiteX55" fmla="*/ 2871788 w 3819525"/>
                  <a:gd name="connsiteY55" fmla="*/ 1609725 h 3124201"/>
                  <a:gd name="connsiteX56" fmla="*/ 2876550 w 3819525"/>
                  <a:gd name="connsiteY56" fmla="*/ 1585913 h 3124201"/>
                  <a:gd name="connsiteX57" fmla="*/ 2905125 w 3819525"/>
                  <a:gd name="connsiteY57" fmla="*/ 1547813 h 3124201"/>
                  <a:gd name="connsiteX58" fmla="*/ 2890838 w 3819525"/>
                  <a:gd name="connsiteY58" fmla="*/ 1500188 h 3124201"/>
                  <a:gd name="connsiteX59" fmla="*/ 2938463 w 3819525"/>
                  <a:gd name="connsiteY59" fmla="*/ 1447800 h 3124201"/>
                  <a:gd name="connsiteX60" fmla="*/ 2957513 w 3819525"/>
                  <a:gd name="connsiteY60" fmla="*/ 1352550 h 3124201"/>
                  <a:gd name="connsiteX61" fmla="*/ 3014663 w 3819525"/>
                  <a:gd name="connsiteY61" fmla="*/ 1309688 h 3124201"/>
                  <a:gd name="connsiteX62" fmla="*/ 3009900 w 3819525"/>
                  <a:gd name="connsiteY62" fmla="*/ 1276350 h 3124201"/>
                  <a:gd name="connsiteX63" fmla="*/ 3019425 w 3819525"/>
                  <a:gd name="connsiteY63" fmla="*/ 1266825 h 3124201"/>
                  <a:gd name="connsiteX64" fmla="*/ 3024188 w 3819525"/>
                  <a:gd name="connsiteY64" fmla="*/ 1214438 h 3124201"/>
                  <a:gd name="connsiteX65" fmla="*/ 3052763 w 3819525"/>
                  <a:gd name="connsiteY65" fmla="*/ 1171575 h 3124201"/>
                  <a:gd name="connsiteX66" fmla="*/ 3071813 w 3819525"/>
                  <a:gd name="connsiteY66" fmla="*/ 1133475 h 3124201"/>
                  <a:gd name="connsiteX67" fmla="*/ 3071813 w 3819525"/>
                  <a:gd name="connsiteY67" fmla="*/ 1066800 h 3124201"/>
                  <a:gd name="connsiteX68" fmla="*/ 3076575 w 3819525"/>
                  <a:gd name="connsiteY68" fmla="*/ 1004888 h 3124201"/>
                  <a:gd name="connsiteX69" fmla="*/ 3114675 w 3819525"/>
                  <a:gd name="connsiteY69" fmla="*/ 895350 h 3124201"/>
                  <a:gd name="connsiteX70" fmla="*/ 3128963 w 3819525"/>
                  <a:gd name="connsiteY70" fmla="*/ 847725 h 3124201"/>
                  <a:gd name="connsiteX71" fmla="*/ 3205163 w 3819525"/>
                  <a:gd name="connsiteY71" fmla="*/ 781050 h 3124201"/>
                  <a:gd name="connsiteX72" fmla="*/ 3238500 w 3819525"/>
                  <a:gd name="connsiteY72" fmla="*/ 709613 h 3124201"/>
                  <a:gd name="connsiteX73" fmla="*/ 3328988 w 3819525"/>
                  <a:gd name="connsiteY73" fmla="*/ 647700 h 3124201"/>
                  <a:gd name="connsiteX74" fmla="*/ 3348038 w 3819525"/>
                  <a:gd name="connsiteY74" fmla="*/ 614363 h 3124201"/>
                  <a:gd name="connsiteX75" fmla="*/ 3424238 w 3819525"/>
                  <a:gd name="connsiteY75" fmla="*/ 519113 h 3124201"/>
                  <a:gd name="connsiteX76" fmla="*/ 3476625 w 3819525"/>
                  <a:gd name="connsiteY76" fmla="*/ 466725 h 3124201"/>
                  <a:gd name="connsiteX77" fmla="*/ 3538538 w 3819525"/>
                  <a:gd name="connsiteY77" fmla="*/ 442913 h 3124201"/>
                  <a:gd name="connsiteX78" fmla="*/ 3557588 w 3819525"/>
                  <a:gd name="connsiteY78" fmla="*/ 390525 h 3124201"/>
                  <a:gd name="connsiteX79" fmla="*/ 3571875 w 3819525"/>
                  <a:gd name="connsiteY79" fmla="*/ 352425 h 3124201"/>
                  <a:gd name="connsiteX80" fmla="*/ 3581400 w 3819525"/>
                  <a:gd name="connsiteY80" fmla="*/ 304800 h 3124201"/>
                  <a:gd name="connsiteX81" fmla="*/ 3714750 w 3819525"/>
                  <a:gd name="connsiteY81" fmla="*/ 104775 h 3124201"/>
                  <a:gd name="connsiteX82" fmla="*/ 3781425 w 3819525"/>
                  <a:gd name="connsiteY82" fmla="*/ 28575 h 3124201"/>
                  <a:gd name="connsiteX83" fmla="*/ 3819525 w 3819525"/>
                  <a:gd name="connsiteY83" fmla="*/ 0 h 3124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819525" h="3124201">
                    <a:moveTo>
                      <a:pt x="0" y="3124201"/>
                    </a:moveTo>
                    <a:lnTo>
                      <a:pt x="90488" y="3052763"/>
                    </a:lnTo>
                    <a:lnTo>
                      <a:pt x="195263" y="3052763"/>
                    </a:lnTo>
                    <a:lnTo>
                      <a:pt x="261938" y="3033713"/>
                    </a:lnTo>
                    <a:lnTo>
                      <a:pt x="347663" y="3057525"/>
                    </a:lnTo>
                    <a:lnTo>
                      <a:pt x="419100" y="3028950"/>
                    </a:lnTo>
                    <a:lnTo>
                      <a:pt x="461963" y="3052763"/>
                    </a:lnTo>
                    <a:lnTo>
                      <a:pt x="528638" y="3028950"/>
                    </a:lnTo>
                    <a:lnTo>
                      <a:pt x="657225" y="3062288"/>
                    </a:lnTo>
                    <a:lnTo>
                      <a:pt x="690563" y="3052763"/>
                    </a:lnTo>
                    <a:lnTo>
                      <a:pt x="723900" y="3043238"/>
                    </a:lnTo>
                    <a:lnTo>
                      <a:pt x="776288" y="3009900"/>
                    </a:lnTo>
                    <a:lnTo>
                      <a:pt x="852488" y="2962275"/>
                    </a:lnTo>
                    <a:lnTo>
                      <a:pt x="904875" y="2943225"/>
                    </a:lnTo>
                    <a:lnTo>
                      <a:pt x="942975" y="2919413"/>
                    </a:lnTo>
                    <a:lnTo>
                      <a:pt x="1095375" y="2890838"/>
                    </a:lnTo>
                    <a:lnTo>
                      <a:pt x="1138238" y="2876550"/>
                    </a:lnTo>
                    <a:lnTo>
                      <a:pt x="1185863" y="2824163"/>
                    </a:lnTo>
                    <a:lnTo>
                      <a:pt x="1276350" y="2824163"/>
                    </a:lnTo>
                    <a:lnTo>
                      <a:pt x="1385888" y="2828925"/>
                    </a:lnTo>
                    <a:lnTo>
                      <a:pt x="1423988" y="2805113"/>
                    </a:lnTo>
                    <a:lnTo>
                      <a:pt x="1452563" y="2781300"/>
                    </a:lnTo>
                    <a:lnTo>
                      <a:pt x="1485900" y="2757488"/>
                    </a:lnTo>
                    <a:lnTo>
                      <a:pt x="1528763" y="2757488"/>
                    </a:lnTo>
                    <a:lnTo>
                      <a:pt x="1576388" y="2738438"/>
                    </a:lnTo>
                    <a:lnTo>
                      <a:pt x="1619250" y="2738438"/>
                    </a:lnTo>
                    <a:lnTo>
                      <a:pt x="1676400" y="2738438"/>
                    </a:lnTo>
                    <a:lnTo>
                      <a:pt x="1724025" y="2738438"/>
                    </a:lnTo>
                    <a:lnTo>
                      <a:pt x="1771650" y="2686050"/>
                    </a:lnTo>
                    <a:lnTo>
                      <a:pt x="1843088" y="2671763"/>
                    </a:lnTo>
                    <a:lnTo>
                      <a:pt x="1924050" y="2652713"/>
                    </a:lnTo>
                    <a:lnTo>
                      <a:pt x="1957388" y="2619375"/>
                    </a:lnTo>
                    <a:lnTo>
                      <a:pt x="2014538" y="2619375"/>
                    </a:lnTo>
                    <a:lnTo>
                      <a:pt x="2066925" y="2619375"/>
                    </a:lnTo>
                    <a:lnTo>
                      <a:pt x="2100263" y="2586038"/>
                    </a:lnTo>
                    <a:lnTo>
                      <a:pt x="2152650" y="2547938"/>
                    </a:lnTo>
                    <a:lnTo>
                      <a:pt x="2190750" y="2509838"/>
                    </a:lnTo>
                    <a:lnTo>
                      <a:pt x="2209800" y="2466975"/>
                    </a:lnTo>
                    <a:lnTo>
                      <a:pt x="2257425" y="2409825"/>
                    </a:lnTo>
                    <a:lnTo>
                      <a:pt x="2290763" y="2352675"/>
                    </a:lnTo>
                    <a:lnTo>
                      <a:pt x="2333625" y="2314575"/>
                    </a:lnTo>
                    <a:lnTo>
                      <a:pt x="2386013" y="2290763"/>
                    </a:lnTo>
                    <a:lnTo>
                      <a:pt x="2433638" y="2271713"/>
                    </a:lnTo>
                    <a:lnTo>
                      <a:pt x="2466975" y="2233613"/>
                    </a:lnTo>
                    <a:lnTo>
                      <a:pt x="2524125" y="2205038"/>
                    </a:lnTo>
                    <a:lnTo>
                      <a:pt x="2538413" y="2190750"/>
                    </a:lnTo>
                    <a:lnTo>
                      <a:pt x="2552700" y="2133600"/>
                    </a:lnTo>
                    <a:lnTo>
                      <a:pt x="2614613" y="2081213"/>
                    </a:lnTo>
                    <a:lnTo>
                      <a:pt x="2633663" y="2047875"/>
                    </a:lnTo>
                    <a:lnTo>
                      <a:pt x="2667000" y="1985963"/>
                    </a:lnTo>
                    <a:lnTo>
                      <a:pt x="2714625" y="1957388"/>
                    </a:lnTo>
                    <a:lnTo>
                      <a:pt x="2786063" y="1828800"/>
                    </a:lnTo>
                    <a:lnTo>
                      <a:pt x="2805113" y="1814513"/>
                    </a:lnTo>
                    <a:lnTo>
                      <a:pt x="2814638" y="1738313"/>
                    </a:lnTo>
                    <a:lnTo>
                      <a:pt x="2838450" y="1685925"/>
                    </a:lnTo>
                    <a:lnTo>
                      <a:pt x="2871788" y="1609725"/>
                    </a:lnTo>
                    <a:lnTo>
                      <a:pt x="2876550" y="1585913"/>
                    </a:lnTo>
                    <a:lnTo>
                      <a:pt x="2905125" y="1547813"/>
                    </a:lnTo>
                    <a:lnTo>
                      <a:pt x="2890838" y="1500188"/>
                    </a:lnTo>
                    <a:lnTo>
                      <a:pt x="2938463" y="1447800"/>
                    </a:lnTo>
                    <a:lnTo>
                      <a:pt x="2957513" y="1352550"/>
                    </a:lnTo>
                    <a:lnTo>
                      <a:pt x="3014663" y="1309688"/>
                    </a:lnTo>
                    <a:lnTo>
                      <a:pt x="3009900" y="1276350"/>
                    </a:lnTo>
                    <a:lnTo>
                      <a:pt x="3019425" y="1266825"/>
                    </a:lnTo>
                    <a:lnTo>
                      <a:pt x="3024188" y="1214438"/>
                    </a:lnTo>
                    <a:lnTo>
                      <a:pt x="3052763" y="1171575"/>
                    </a:lnTo>
                    <a:lnTo>
                      <a:pt x="3071813" y="1133475"/>
                    </a:lnTo>
                    <a:lnTo>
                      <a:pt x="3071813" y="1066800"/>
                    </a:lnTo>
                    <a:lnTo>
                      <a:pt x="3076575" y="1004888"/>
                    </a:lnTo>
                    <a:lnTo>
                      <a:pt x="3114675" y="895350"/>
                    </a:lnTo>
                    <a:lnTo>
                      <a:pt x="3128963" y="847725"/>
                    </a:lnTo>
                    <a:lnTo>
                      <a:pt x="3205163" y="781050"/>
                    </a:lnTo>
                    <a:lnTo>
                      <a:pt x="3238500" y="709613"/>
                    </a:lnTo>
                    <a:lnTo>
                      <a:pt x="3328988" y="647700"/>
                    </a:lnTo>
                    <a:lnTo>
                      <a:pt x="3348038" y="614363"/>
                    </a:lnTo>
                    <a:lnTo>
                      <a:pt x="3424238" y="519113"/>
                    </a:lnTo>
                    <a:lnTo>
                      <a:pt x="3476625" y="466725"/>
                    </a:lnTo>
                    <a:lnTo>
                      <a:pt x="3538538" y="442913"/>
                    </a:lnTo>
                    <a:lnTo>
                      <a:pt x="3557588" y="390525"/>
                    </a:lnTo>
                    <a:lnTo>
                      <a:pt x="3571875" y="352425"/>
                    </a:lnTo>
                    <a:lnTo>
                      <a:pt x="3581400" y="304800"/>
                    </a:lnTo>
                    <a:lnTo>
                      <a:pt x="3714750" y="104775"/>
                    </a:lnTo>
                    <a:lnTo>
                      <a:pt x="3781425" y="28575"/>
                    </a:lnTo>
                    <a:lnTo>
                      <a:pt x="3819525" y="0"/>
                    </a:lnTo>
                  </a:path>
                </a:pathLst>
              </a:custGeom>
              <a:no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252" name="Freeform: Shape 251">
                <a:extLst>
                  <a:ext uri="{FF2B5EF4-FFF2-40B4-BE49-F238E27FC236}">
                    <a16:creationId xmlns:a16="http://schemas.microsoft.com/office/drawing/2014/main" id="{8B8BBDC7-9AD3-47C1-B8FA-138BA00E1384}"/>
                  </a:ext>
                </a:extLst>
              </p:cNvPr>
              <p:cNvSpPr/>
              <p:nvPr/>
            </p:nvSpPr>
            <p:spPr bwMode="gray">
              <a:xfrm>
                <a:off x="7239000" y="5369719"/>
                <a:ext cx="661988" cy="228600"/>
              </a:xfrm>
              <a:custGeom>
                <a:avLst/>
                <a:gdLst>
                  <a:gd name="connsiteX0" fmla="*/ 0 w 661988"/>
                  <a:gd name="connsiteY0" fmla="*/ 204787 h 228600"/>
                  <a:gd name="connsiteX1" fmla="*/ 35719 w 661988"/>
                  <a:gd name="connsiteY1" fmla="*/ 195262 h 228600"/>
                  <a:gd name="connsiteX2" fmla="*/ 83344 w 661988"/>
                  <a:gd name="connsiteY2" fmla="*/ 202406 h 228600"/>
                  <a:gd name="connsiteX3" fmla="*/ 121444 w 661988"/>
                  <a:gd name="connsiteY3" fmla="*/ 219075 h 228600"/>
                  <a:gd name="connsiteX4" fmla="*/ 142875 w 661988"/>
                  <a:gd name="connsiteY4" fmla="*/ 228600 h 228600"/>
                  <a:gd name="connsiteX5" fmla="*/ 242888 w 661988"/>
                  <a:gd name="connsiteY5" fmla="*/ 192881 h 228600"/>
                  <a:gd name="connsiteX6" fmla="*/ 273844 w 661988"/>
                  <a:gd name="connsiteY6" fmla="*/ 171450 h 228600"/>
                  <a:gd name="connsiteX7" fmla="*/ 300038 w 661988"/>
                  <a:gd name="connsiteY7" fmla="*/ 176212 h 228600"/>
                  <a:gd name="connsiteX8" fmla="*/ 304800 w 661988"/>
                  <a:gd name="connsiteY8" fmla="*/ 180975 h 228600"/>
                  <a:gd name="connsiteX9" fmla="*/ 330994 w 661988"/>
                  <a:gd name="connsiteY9" fmla="*/ 154781 h 228600"/>
                  <a:gd name="connsiteX10" fmla="*/ 381000 w 661988"/>
                  <a:gd name="connsiteY10" fmla="*/ 142875 h 228600"/>
                  <a:gd name="connsiteX11" fmla="*/ 416719 w 661988"/>
                  <a:gd name="connsiteY11" fmla="*/ 133350 h 228600"/>
                  <a:gd name="connsiteX12" fmla="*/ 457200 w 661988"/>
                  <a:gd name="connsiteY12" fmla="*/ 142875 h 228600"/>
                  <a:gd name="connsiteX13" fmla="*/ 490538 w 661988"/>
                  <a:gd name="connsiteY13" fmla="*/ 161925 h 228600"/>
                  <a:gd name="connsiteX14" fmla="*/ 523875 w 661988"/>
                  <a:gd name="connsiteY14" fmla="*/ 169069 h 228600"/>
                  <a:gd name="connsiteX15" fmla="*/ 583406 w 661988"/>
                  <a:gd name="connsiteY15" fmla="*/ 133350 h 228600"/>
                  <a:gd name="connsiteX16" fmla="*/ 638175 w 661988"/>
                  <a:gd name="connsiteY16" fmla="*/ 104775 h 228600"/>
                  <a:gd name="connsiteX17" fmla="*/ 659606 w 661988"/>
                  <a:gd name="connsiteY17" fmla="*/ 66675 h 228600"/>
                  <a:gd name="connsiteX18" fmla="*/ 661988 w 661988"/>
                  <a:gd name="connsiteY18" fmla="*/ 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1988" h="228600">
                    <a:moveTo>
                      <a:pt x="0" y="204787"/>
                    </a:moveTo>
                    <a:lnTo>
                      <a:pt x="35719" y="195262"/>
                    </a:lnTo>
                    <a:lnTo>
                      <a:pt x="83344" y="202406"/>
                    </a:lnTo>
                    <a:lnTo>
                      <a:pt x="121444" y="219075"/>
                    </a:lnTo>
                    <a:lnTo>
                      <a:pt x="142875" y="228600"/>
                    </a:lnTo>
                    <a:lnTo>
                      <a:pt x="242888" y="192881"/>
                    </a:lnTo>
                    <a:lnTo>
                      <a:pt x="273844" y="171450"/>
                    </a:lnTo>
                    <a:lnTo>
                      <a:pt x="300038" y="176212"/>
                    </a:lnTo>
                    <a:lnTo>
                      <a:pt x="304800" y="180975"/>
                    </a:lnTo>
                    <a:lnTo>
                      <a:pt x="330994" y="154781"/>
                    </a:lnTo>
                    <a:lnTo>
                      <a:pt x="381000" y="142875"/>
                    </a:lnTo>
                    <a:lnTo>
                      <a:pt x="416719" y="133350"/>
                    </a:lnTo>
                    <a:lnTo>
                      <a:pt x="457200" y="142875"/>
                    </a:lnTo>
                    <a:lnTo>
                      <a:pt x="490538" y="161925"/>
                    </a:lnTo>
                    <a:lnTo>
                      <a:pt x="523875" y="169069"/>
                    </a:lnTo>
                    <a:lnTo>
                      <a:pt x="583406" y="133350"/>
                    </a:lnTo>
                    <a:lnTo>
                      <a:pt x="638175" y="104775"/>
                    </a:lnTo>
                    <a:lnTo>
                      <a:pt x="659606" y="66675"/>
                    </a:lnTo>
                    <a:lnTo>
                      <a:pt x="661988" y="0"/>
                    </a:lnTo>
                  </a:path>
                </a:pathLst>
              </a:custGeom>
              <a:no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253" name="Freeform: Shape 252">
                <a:extLst>
                  <a:ext uri="{FF2B5EF4-FFF2-40B4-BE49-F238E27FC236}">
                    <a16:creationId xmlns:a16="http://schemas.microsoft.com/office/drawing/2014/main" id="{3CF7F475-3A23-427C-A225-110A74B77C88}"/>
                  </a:ext>
                </a:extLst>
              </p:cNvPr>
              <p:cNvSpPr/>
              <p:nvPr/>
            </p:nvSpPr>
            <p:spPr bwMode="gray">
              <a:xfrm>
                <a:off x="8162925" y="4988719"/>
                <a:ext cx="138113" cy="83344"/>
              </a:xfrm>
              <a:custGeom>
                <a:avLst/>
                <a:gdLst>
                  <a:gd name="connsiteX0" fmla="*/ 0 w 138113"/>
                  <a:gd name="connsiteY0" fmla="*/ 83344 h 83344"/>
                  <a:gd name="connsiteX1" fmla="*/ 47625 w 138113"/>
                  <a:gd name="connsiteY1" fmla="*/ 30956 h 83344"/>
                  <a:gd name="connsiteX2" fmla="*/ 88106 w 138113"/>
                  <a:gd name="connsiteY2" fmla="*/ 2381 h 83344"/>
                  <a:gd name="connsiteX3" fmla="*/ 138113 w 138113"/>
                  <a:gd name="connsiteY3" fmla="*/ 0 h 83344"/>
                </a:gdLst>
                <a:ahLst/>
                <a:cxnLst>
                  <a:cxn ang="0">
                    <a:pos x="connsiteX0" y="connsiteY0"/>
                  </a:cxn>
                  <a:cxn ang="0">
                    <a:pos x="connsiteX1" y="connsiteY1"/>
                  </a:cxn>
                  <a:cxn ang="0">
                    <a:pos x="connsiteX2" y="connsiteY2"/>
                  </a:cxn>
                  <a:cxn ang="0">
                    <a:pos x="connsiteX3" y="connsiteY3"/>
                  </a:cxn>
                </a:cxnLst>
                <a:rect l="l" t="t" r="r" b="b"/>
                <a:pathLst>
                  <a:path w="138113" h="83344">
                    <a:moveTo>
                      <a:pt x="0" y="83344"/>
                    </a:moveTo>
                    <a:lnTo>
                      <a:pt x="47625" y="30956"/>
                    </a:lnTo>
                    <a:lnTo>
                      <a:pt x="88106" y="2381"/>
                    </a:lnTo>
                    <a:lnTo>
                      <a:pt x="138113" y="0"/>
                    </a:lnTo>
                  </a:path>
                </a:pathLst>
              </a:custGeom>
              <a:no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grpSp>
        <p:grpSp>
          <p:nvGrpSpPr>
            <p:cNvPr id="247" name="Group 246">
              <a:extLst>
                <a:ext uri="{FF2B5EF4-FFF2-40B4-BE49-F238E27FC236}">
                  <a16:creationId xmlns:a16="http://schemas.microsoft.com/office/drawing/2014/main" id="{9FA34FD0-CA1F-4369-BC38-06A9F4BC0925}"/>
                </a:ext>
              </a:extLst>
            </p:cNvPr>
            <p:cNvGrpSpPr/>
            <p:nvPr/>
          </p:nvGrpSpPr>
          <p:grpSpPr bwMode="gray">
            <a:xfrm>
              <a:off x="5787019" y="2688115"/>
              <a:ext cx="3802857" cy="3136106"/>
              <a:chOff x="5836443" y="2762251"/>
              <a:chExt cx="3802857" cy="3136106"/>
            </a:xfrm>
          </p:grpSpPr>
          <p:sp>
            <p:nvSpPr>
              <p:cNvPr id="248" name="Freeform: Shape 247">
                <a:extLst>
                  <a:ext uri="{FF2B5EF4-FFF2-40B4-BE49-F238E27FC236}">
                    <a16:creationId xmlns:a16="http://schemas.microsoft.com/office/drawing/2014/main" id="{C8B88E35-F8F2-4D4A-BBDA-7EEB868499B2}"/>
                  </a:ext>
                </a:extLst>
              </p:cNvPr>
              <p:cNvSpPr/>
              <p:nvPr/>
            </p:nvSpPr>
            <p:spPr bwMode="gray">
              <a:xfrm>
                <a:off x="5836443" y="2762251"/>
                <a:ext cx="3802857" cy="3136106"/>
              </a:xfrm>
              <a:custGeom>
                <a:avLst/>
                <a:gdLst>
                  <a:gd name="connsiteX0" fmla="*/ 0 w 3829050"/>
                  <a:gd name="connsiteY0" fmla="*/ 3109913 h 3109913"/>
                  <a:gd name="connsiteX1" fmla="*/ 100013 w 3829050"/>
                  <a:gd name="connsiteY1" fmla="*/ 3052763 h 3109913"/>
                  <a:gd name="connsiteX2" fmla="*/ 204788 w 3829050"/>
                  <a:gd name="connsiteY2" fmla="*/ 3052763 h 3109913"/>
                  <a:gd name="connsiteX3" fmla="*/ 271463 w 3829050"/>
                  <a:gd name="connsiteY3" fmla="*/ 3033713 h 3109913"/>
                  <a:gd name="connsiteX4" fmla="*/ 357188 w 3829050"/>
                  <a:gd name="connsiteY4" fmla="*/ 3057525 h 3109913"/>
                  <a:gd name="connsiteX5" fmla="*/ 428625 w 3829050"/>
                  <a:gd name="connsiteY5" fmla="*/ 3028950 h 3109913"/>
                  <a:gd name="connsiteX6" fmla="*/ 471488 w 3829050"/>
                  <a:gd name="connsiteY6" fmla="*/ 3052763 h 3109913"/>
                  <a:gd name="connsiteX7" fmla="*/ 538163 w 3829050"/>
                  <a:gd name="connsiteY7" fmla="*/ 3028950 h 3109913"/>
                  <a:gd name="connsiteX8" fmla="*/ 666750 w 3829050"/>
                  <a:gd name="connsiteY8" fmla="*/ 3062288 h 3109913"/>
                  <a:gd name="connsiteX9" fmla="*/ 700088 w 3829050"/>
                  <a:gd name="connsiteY9" fmla="*/ 3052763 h 3109913"/>
                  <a:gd name="connsiteX10" fmla="*/ 733425 w 3829050"/>
                  <a:gd name="connsiteY10" fmla="*/ 3043238 h 3109913"/>
                  <a:gd name="connsiteX11" fmla="*/ 785813 w 3829050"/>
                  <a:gd name="connsiteY11" fmla="*/ 3009900 h 3109913"/>
                  <a:gd name="connsiteX12" fmla="*/ 862013 w 3829050"/>
                  <a:gd name="connsiteY12" fmla="*/ 2962275 h 3109913"/>
                  <a:gd name="connsiteX13" fmla="*/ 914400 w 3829050"/>
                  <a:gd name="connsiteY13" fmla="*/ 2943225 h 3109913"/>
                  <a:gd name="connsiteX14" fmla="*/ 952500 w 3829050"/>
                  <a:gd name="connsiteY14" fmla="*/ 2919413 h 3109913"/>
                  <a:gd name="connsiteX15" fmla="*/ 1104900 w 3829050"/>
                  <a:gd name="connsiteY15" fmla="*/ 2890838 h 3109913"/>
                  <a:gd name="connsiteX16" fmla="*/ 1147763 w 3829050"/>
                  <a:gd name="connsiteY16" fmla="*/ 2876550 h 3109913"/>
                  <a:gd name="connsiteX17" fmla="*/ 1195388 w 3829050"/>
                  <a:gd name="connsiteY17" fmla="*/ 2824163 h 3109913"/>
                  <a:gd name="connsiteX18" fmla="*/ 1285875 w 3829050"/>
                  <a:gd name="connsiteY18" fmla="*/ 2824163 h 3109913"/>
                  <a:gd name="connsiteX19" fmla="*/ 1395413 w 3829050"/>
                  <a:gd name="connsiteY19" fmla="*/ 2828925 h 3109913"/>
                  <a:gd name="connsiteX20" fmla="*/ 1433513 w 3829050"/>
                  <a:gd name="connsiteY20" fmla="*/ 2805113 h 3109913"/>
                  <a:gd name="connsiteX21" fmla="*/ 1462088 w 3829050"/>
                  <a:gd name="connsiteY21" fmla="*/ 2781300 h 3109913"/>
                  <a:gd name="connsiteX22" fmla="*/ 1495425 w 3829050"/>
                  <a:gd name="connsiteY22" fmla="*/ 2757488 h 3109913"/>
                  <a:gd name="connsiteX23" fmla="*/ 1538288 w 3829050"/>
                  <a:gd name="connsiteY23" fmla="*/ 2757488 h 3109913"/>
                  <a:gd name="connsiteX24" fmla="*/ 1585913 w 3829050"/>
                  <a:gd name="connsiteY24" fmla="*/ 2738438 h 3109913"/>
                  <a:gd name="connsiteX25" fmla="*/ 1628775 w 3829050"/>
                  <a:gd name="connsiteY25" fmla="*/ 2738438 h 3109913"/>
                  <a:gd name="connsiteX26" fmla="*/ 1685925 w 3829050"/>
                  <a:gd name="connsiteY26" fmla="*/ 2738438 h 3109913"/>
                  <a:gd name="connsiteX27" fmla="*/ 1733550 w 3829050"/>
                  <a:gd name="connsiteY27" fmla="*/ 2738438 h 3109913"/>
                  <a:gd name="connsiteX28" fmla="*/ 1781175 w 3829050"/>
                  <a:gd name="connsiteY28" fmla="*/ 2686050 h 3109913"/>
                  <a:gd name="connsiteX29" fmla="*/ 1852613 w 3829050"/>
                  <a:gd name="connsiteY29" fmla="*/ 2671763 h 3109913"/>
                  <a:gd name="connsiteX30" fmla="*/ 1933575 w 3829050"/>
                  <a:gd name="connsiteY30" fmla="*/ 2652713 h 3109913"/>
                  <a:gd name="connsiteX31" fmla="*/ 1966913 w 3829050"/>
                  <a:gd name="connsiteY31" fmla="*/ 2619375 h 3109913"/>
                  <a:gd name="connsiteX32" fmla="*/ 2024063 w 3829050"/>
                  <a:gd name="connsiteY32" fmla="*/ 2619375 h 3109913"/>
                  <a:gd name="connsiteX33" fmla="*/ 2076450 w 3829050"/>
                  <a:gd name="connsiteY33" fmla="*/ 2619375 h 3109913"/>
                  <a:gd name="connsiteX34" fmla="*/ 2109788 w 3829050"/>
                  <a:gd name="connsiteY34" fmla="*/ 2586038 h 3109913"/>
                  <a:gd name="connsiteX35" fmla="*/ 2162175 w 3829050"/>
                  <a:gd name="connsiteY35" fmla="*/ 2547938 h 3109913"/>
                  <a:gd name="connsiteX36" fmla="*/ 2200275 w 3829050"/>
                  <a:gd name="connsiteY36" fmla="*/ 2509838 h 3109913"/>
                  <a:gd name="connsiteX37" fmla="*/ 2219325 w 3829050"/>
                  <a:gd name="connsiteY37" fmla="*/ 2466975 h 3109913"/>
                  <a:gd name="connsiteX38" fmla="*/ 2266950 w 3829050"/>
                  <a:gd name="connsiteY38" fmla="*/ 2409825 h 3109913"/>
                  <a:gd name="connsiteX39" fmla="*/ 2300288 w 3829050"/>
                  <a:gd name="connsiteY39" fmla="*/ 2352675 h 3109913"/>
                  <a:gd name="connsiteX40" fmla="*/ 2343150 w 3829050"/>
                  <a:gd name="connsiteY40" fmla="*/ 2314575 h 3109913"/>
                  <a:gd name="connsiteX41" fmla="*/ 2395538 w 3829050"/>
                  <a:gd name="connsiteY41" fmla="*/ 2290763 h 3109913"/>
                  <a:gd name="connsiteX42" fmla="*/ 2443163 w 3829050"/>
                  <a:gd name="connsiteY42" fmla="*/ 2271713 h 3109913"/>
                  <a:gd name="connsiteX43" fmla="*/ 2476500 w 3829050"/>
                  <a:gd name="connsiteY43" fmla="*/ 2233613 h 3109913"/>
                  <a:gd name="connsiteX44" fmla="*/ 2533650 w 3829050"/>
                  <a:gd name="connsiteY44" fmla="*/ 2205038 h 3109913"/>
                  <a:gd name="connsiteX45" fmla="*/ 2547938 w 3829050"/>
                  <a:gd name="connsiteY45" fmla="*/ 2190750 h 3109913"/>
                  <a:gd name="connsiteX46" fmla="*/ 2562225 w 3829050"/>
                  <a:gd name="connsiteY46" fmla="*/ 2133600 h 3109913"/>
                  <a:gd name="connsiteX47" fmla="*/ 2624138 w 3829050"/>
                  <a:gd name="connsiteY47" fmla="*/ 2081213 h 3109913"/>
                  <a:gd name="connsiteX48" fmla="*/ 2643188 w 3829050"/>
                  <a:gd name="connsiteY48" fmla="*/ 2047875 h 3109913"/>
                  <a:gd name="connsiteX49" fmla="*/ 2676525 w 3829050"/>
                  <a:gd name="connsiteY49" fmla="*/ 1985963 h 3109913"/>
                  <a:gd name="connsiteX50" fmla="*/ 2724150 w 3829050"/>
                  <a:gd name="connsiteY50" fmla="*/ 1957388 h 3109913"/>
                  <a:gd name="connsiteX51" fmla="*/ 2795588 w 3829050"/>
                  <a:gd name="connsiteY51" fmla="*/ 1828800 h 3109913"/>
                  <a:gd name="connsiteX52" fmla="*/ 2814638 w 3829050"/>
                  <a:gd name="connsiteY52" fmla="*/ 1814513 h 3109913"/>
                  <a:gd name="connsiteX53" fmla="*/ 2824163 w 3829050"/>
                  <a:gd name="connsiteY53" fmla="*/ 1738313 h 3109913"/>
                  <a:gd name="connsiteX54" fmla="*/ 2847975 w 3829050"/>
                  <a:gd name="connsiteY54" fmla="*/ 1685925 h 3109913"/>
                  <a:gd name="connsiteX55" fmla="*/ 2881313 w 3829050"/>
                  <a:gd name="connsiteY55" fmla="*/ 1609725 h 3109913"/>
                  <a:gd name="connsiteX56" fmla="*/ 2886075 w 3829050"/>
                  <a:gd name="connsiteY56" fmla="*/ 1585913 h 3109913"/>
                  <a:gd name="connsiteX57" fmla="*/ 2914650 w 3829050"/>
                  <a:gd name="connsiteY57" fmla="*/ 1547813 h 3109913"/>
                  <a:gd name="connsiteX58" fmla="*/ 2900363 w 3829050"/>
                  <a:gd name="connsiteY58" fmla="*/ 1500188 h 3109913"/>
                  <a:gd name="connsiteX59" fmla="*/ 2947988 w 3829050"/>
                  <a:gd name="connsiteY59" fmla="*/ 1447800 h 3109913"/>
                  <a:gd name="connsiteX60" fmla="*/ 2967038 w 3829050"/>
                  <a:gd name="connsiteY60" fmla="*/ 1352550 h 3109913"/>
                  <a:gd name="connsiteX61" fmla="*/ 3024188 w 3829050"/>
                  <a:gd name="connsiteY61" fmla="*/ 1309688 h 3109913"/>
                  <a:gd name="connsiteX62" fmla="*/ 3019425 w 3829050"/>
                  <a:gd name="connsiteY62" fmla="*/ 1276350 h 3109913"/>
                  <a:gd name="connsiteX63" fmla="*/ 3028950 w 3829050"/>
                  <a:gd name="connsiteY63" fmla="*/ 1266825 h 3109913"/>
                  <a:gd name="connsiteX64" fmla="*/ 3033713 w 3829050"/>
                  <a:gd name="connsiteY64" fmla="*/ 1214438 h 3109913"/>
                  <a:gd name="connsiteX65" fmla="*/ 3062288 w 3829050"/>
                  <a:gd name="connsiteY65" fmla="*/ 1171575 h 3109913"/>
                  <a:gd name="connsiteX66" fmla="*/ 3081338 w 3829050"/>
                  <a:gd name="connsiteY66" fmla="*/ 1133475 h 3109913"/>
                  <a:gd name="connsiteX67" fmla="*/ 3081338 w 3829050"/>
                  <a:gd name="connsiteY67" fmla="*/ 1066800 h 3109913"/>
                  <a:gd name="connsiteX68" fmla="*/ 3086100 w 3829050"/>
                  <a:gd name="connsiteY68" fmla="*/ 1004888 h 3109913"/>
                  <a:gd name="connsiteX69" fmla="*/ 3124200 w 3829050"/>
                  <a:gd name="connsiteY69" fmla="*/ 895350 h 3109913"/>
                  <a:gd name="connsiteX70" fmla="*/ 3138488 w 3829050"/>
                  <a:gd name="connsiteY70" fmla="*/ 847725 h 3109913"/>
                  <a:gd name="connsiteX71" fmla="*/ 3214688 w 3829050"/>
                  <a:gd name="connsiteY71" fmla="*/ 781050 h 3109913"/>
                  <a:gd name="connsiteX72" fmla="*/ 3248025 w 3829050"/>
                  <a:gd name="connsiteY72" fmla="*/ 709613 h 3109913"/>
                  <a:gd name="connsiteX73" fmla="*/ 3338513 w 3829050"/>
                  <a:gd name="connsiteY73" fmla="*/ 647700 h 3109913"/>
                  <a:gd name="connsiteX74" fmla="*/ 3357563 w 3829050"/>
                  <a:gd name="connsiteY74" fmla="*/ 614363 h 3109913"/>
                  <a:gd name="connsiteX75" fmla="*/ 3433763 w 3829050"/>
                  <a:gd name="connsiteY75" fmla="*/ 519113 h 3109913"/>
                  <a:gd name="connsiteX76" fmla="*/ 3486150 w 3829050"/>
                  <a:gd name="connsiteY76" fmla="*/ 466725 h 3109913"/>
                  <a:gd name="connsiteX77" fmla="*/ 3548063 w 3829050"/>
                  <a:gd name="connsiteY77" fmla="*/ 442913 h 3109913"/>
                  <a:gd name="connsiteX78" fmla="*/ 3567113 w 3829050"/>
                  <a:gd name="connsiteY78" fmla="*/ 390525 h 3109913"/>
                  <a:gd name="connsiteX79" fmla="*/ 3581400 w 3829050"/>
                  <a:gd name="connsiteY79" fmla="*/ 352425 h 3109913"/>
                  <a:gd name="connsiteX80" fmla="*/ 3590925 w 3829050"/>
                  <a:gd name="connsiteY80" fmla="*/ 304800 h 3109913"/>
                  <a:gd name="connsiteX81" fmla="*/ 3724275 w 3829050"/>
                  <a:gd name="connsiteY81" fmla="*/ 104775 h 3109913"/>
                  <a:gd name="connsiteX82" fmla="*/ 3790950 w 3829050"/>
                  <a:gd name="connsiteY82" fmla="*/ 28575 h 3109913"/>
                  <a:gd name="connsiteX83" fmla="*/ 3829050 w 3829050"/>
                  <a:gd name="connsiteY83" fmla="*/ 0 h 3109913"/>
                  <a:gd name="connsiteX0" fmla="*/ 0 w 3802857"/>
                  <a:gd name="connsiteY0" fmla="*/ 3136106 h 3136106"/>
                  <a:gd name="connsiteX1" fmla="*/ 73820 w 3802857"/>
                  <a:gd name="connsiteY1" fmla="*/ 3052763 h 3136106"/>
                  <a:gd name="connsiteX2" fmla="*/ 178595 w 3802857"/>
                  <a:gd name="connsiteY2" fmla="*/ 3052763 h 3136106"/>
                  <a:gd name="connsiteX3" fmla="*/ 245270 w 3802857"/>
                  <a:gd name="connsiteY3" fmla="*/ 3033713 h 3136106"/>
                  <a:gd name="connsiteX4" fmla="*/ 330995 w 3802857"/>
                  <a:gd name="connsiteY4" fmla="*/ 3057525 h 3136106"/>
                  <a:gd name="connsiteX5" fmla="*/ 402432 w 3802857"/>
                  <a:gd name="connsiteY5" fmla="*/ 3028950 h 3136106"/>
                  <a:gd name="connsiteX6" fmla="*/ 445295 w 3802857"/>
                  <a:gd name="connsiteY6" fmla="*/ 3052763 h 3136106"/>
                  <a:gd name="connsiteX7" fmla="*/ 511970 w 3802857"/>
                  <a:gd name="connsiteY7" fmla="*/ 3028950 h 3136106"/>
                  <a:gd name="connsiteX8" fmla="*/ 640557 w 3802857"/>
                  <a:gd name="connsiteY8" fmla="*/ 3062288 h 3136106"/>
                  <a:gd name="connsiteX9" fmla="*/ 673895 w 3802857"/>
                  <a:gd name="connsiteY9" fmla="*/ 3052763 h 3136106"/>
                  <a:gd name="connsiteX10" fmla="*/ 707232 w 3802857"/>
                  <a:gd name="connsiteY10" fmla="*/ 3043238 h 3136106"/>
                  <a:gd name="connsiteX11" fmla="*/ 759620 w 3802857"/>
                  <a:gd name="connsiteY11" fmla="*/ 3009900 h 3136106"/>
                  <a:gd name="connsiteX12" fmla="*/ 835820 w 3802857"/>
                  <a:gd name="connsiteY12" fmla="*/ 2962275 h 3136106"/>
                  <a:gd name="connsiteX13" fmla="*/ 888207 w 3802857"/>
                  <a:gd name="connsiteY13" fmla="*/ 2943225 h 3136106"/>
                  <a:gd name="connsiteX14" fmla="*/ 926307 w 3802857"/>
                  <a:gd name="connsiteY14" fmla="*/ 2919413 h 3136106"/>
                  <a:gd name="connsiteX15" fmla="*/ 1078707 w 3802857"/>
                  <a:gd name="connsiteY15" fmla="*/ 2890838 h 3136106"/>
                  <a:gd name="connsiteX16" fmla="*/ 1121570 w 3802857"/>
                  <a:gd name="connsiteY16" fmla="*/ 2876550 h 3136106"/>
                  <a:gd name="connsiteX17" fmla="*/ 1169195 w 3802857"/>
                  <a:gd name="connsiteY17" fmla="*/ 2824163 h 3136106"/>
                  <a:gd name="connsiteX18" fmla="*/ 1259682 w 3802857"/>
                  <a:gd name="connsiteY18" fmla="*/ 2824163 h 3136106"/>
                  <a:gd name="connsiteX19" fmla="*/ 1369220 w 3802857"/>
                  <a:gd name="connsiteY19" fmla="*/ 2828925 h 3136106"/>
                  <a:gd name="connsiteX20" fmla="*/ 1407320 w 3802857"/>
                  <a:gd name="connsiteY20" fmla="*/ 2805113 h 3136106"/>
                  <a:gd name="connsiteX21" fmla="*/ 1435895 w 3802857"/>
                  <a:gd name="connsiteY21" fmla="*/ 2781300 h 3136106"/>
                  <a:gd name="connsiteX22" fmla="*/ 1469232 w 3802857"/>
                  <a:gd name="connsiteY22" fmla="*/ 2757488 h 3136106"/>
                  <a:gd name="connsiteX23" fmla="*/ 1512095 w 3802857"/>
                  <a:gd name="connsiteY23" fmla="*/ 2757488 h 3136106"/>
                  <a:gd name="connsiteX24" fmla="*/ 1559720 w 3802857"/>
                  <a:gd name="connsiteY24" fmla="*/ 2738438 h 3136106"/>
                  <a:gd name="connsiteX25" fmla="*/ 1602582 w 3802857"/>
                  <a:gd name="connsiteY25" fmla="*/ 2738438 h 3136106"/>
                  <a:gd name="connsiteX26" fmla="*/ 1659732 w 3802857"/>
                  <a:gd name="connsiteY26" fmla="*/ 2738438 h 3136106"/>
                  <a:gd name="connsiteX27" fmla="*/ 1707357 w 3802857"/>
                  <a:gd name="connsiteY27" fmla="*/ 2738438 h 3136106"/>
                  <a:gd name="connsiteX28" fmla="*/ 1754982 w 3802857"/>
                  <a:gd name="connsiteY28" fmla="*/ 2686050 h 3136106"/>
                  <a:gd name="connsiteX29" fmla="*/ 1826420 w 3802857"/>
                  <a:gd name="connsiteY29" fmla="*/ 2671763 h 3136106"/>
                  <a:gd name="connsiteX30" fmla="*/ 1907382 w 3802857"/>
                  <a:gd name="connsiteY30" fmla="*/ 2652713 h 3136106"/>
                  <a:gd name="connsiteX31" fmla="*/ 1940720 w 3802857"/>
                  <a:gd name="connsiteY31" fmla="*/ 2619375 h 3136106"/>
                  <a:gd name="connsiteX32" fmla="*/ 1997870 w 3802857"/>
                  <a:gd name="connsiteY32" fmla="*/ 2619375 h 3136106"/>
                  <a:gd name="connsiteX33" fmla="*/ 2050257 w 3802857"/>
                  <a:gd name="connsiteY33" fmla="*/ 2619375 h 3136106"/>
                  <a:gd name="connsiteX34" fmla="*/ 2083595 w 3802857"/>
                  <a:gd name="connsiteY34" fmla="*/ 2586038 h 3136106"/>
                  <a:gd name="connsiteX35" fmla="*/ 2135982 w 3802857"/>
                  <a:gd name="connsiteY35" fmla="*/ 2547938 h 3136106"/>
                  <a:gd name="connsiteX36" fmla="*/ 2174082 w 3802857"/>
                  <a:gd name="connsiteY36" fmla="*/ 2509838 h 3136106"/>
                  <a:gd name="connsiteX37" fmla="*/ 2193132 w 3802857"/>
                  <a:gd name="connsiteY37" fmla="*/ 2466975 h 3136106"/>
                  <a:gd name="connsiteX38" fmla="*/ 2240757 w 3802857"/>
                  <a:gd name="connsiteY38" fmla="*/ 2409825 h 3136106"/>
                  <a:gd name="connsiteX39" fmla="*/ 2274095 w 3802857"/>
                  <a:gd name="connsiteY39" fmla="*/ 2352675 h 3136106"/>
                  <a:gd name="connsiteX40" fmla="*/ 2316957 w 3802857"/>
                  <a:gd name="connsiteY40" fmla="*/ 2314575 h 3136106"/>
                  <a:gd name="connsiteX41" fmla="*/ 2369345 w 3802857"/>
                  <a:gd name="connsiteY41" fmla="*/ 2290763 h 3136106"/>
                  <a:gd name="connsiteX42" fmla="*/ 2416970 w 3802857"/>
                  <a:gd name="connsiteY42" fmla="*/ 2271713 h 3136106"/>
                  <a:gd name="connsiteX43" fmla="*/ 2450307 w 3802857"/>
                  <a:gd name="connsiteY43" fmla="*/ 2233613 h 3136106"/>
                  <a:gd name="connsiteX44" fmla="*/ 2507457 w 3802857"/>
                  <a:gd name="connsiteY44" fmla="*/ 2205038 h 3136106"/>
                  <a:gd name="connsiteX45" fmla="*/ 2521745 w 3802857"/>
                  <a:gd name="connsiteY45" fmla="*/ 2190750 h 3136106"/>
                  <a:gd name="connsiteX46" fmla="*/ 2536032 w 3802857"/>
                  <a:gd name="connsiteY46" fmla="*/ 2133600 h 3136106"/>
                  <a:gd name="connsiteX47" fmla="*/ 2597945 w 3802857"/>
                  <a:gd name="connsiteY47" fmla="*/ 2081213 h 3136106"/>
                  <a:gd name="connsiteX48" fmla="*/ 2616995 w 3802857"/>
                  <a:gd name="connsiteY48" fmla="*/ 2047875 h 3136106"/>
                  <a:gd name="connsiteX49" fmla="*/ 2650332 w 3802857"/>
                  <a:gd name="connsiteY49" fmla="*/ 1985963 h 3136106"/>
                  <a:gd name="connsiteX50" fmla="*/ 2697957 w 3802857"/>
                  <a:gd name="connsiteY50" fmla="*/ 1957388 h 3136106"/>
                  <a:gd name="connsiteX51" fmla="*/ 2769395 w 3802857"/>
                  <a:gd name="connsiteY51" fmla="*/ 1828800 h 3136106"/>
                  <a:gd name="connsiteX52" fmla="*/ 2788445 w 3802857"/>
                  <a:gd name="connsiteY52" fmla="*/ 1814513 h 3136106"/>
                  <a:gd name="connsiteX53" fmla="*/ 2797970 w 3802857"/>
                  <a:gd name="connsiteY53" fmla="*/ 1738313 h 3136106"/>
                  <a:gd name="connsiteX54" fmla="*/ 2821782 w 3802857"/>
                  <a:gd name="connsiteY54" fmla="*/ 1685925 h 3136106"/>
                  <a:gd name="connsiteX55" fmla="*/ 2855120 w 3802857"/>
                  <a:gd name="connsiteY55" fmla="*/ 1609725 h 3136106"/>
                  <a:gd name="connsiteX56" fmla="*/ 2859882 w 3802857"/>
                  <a:gd name="connsiteY56" fmla="*/ 1585913 h 3136106"/>
                  <a:gd name="connsiteX57" fmla="*/ 2888457 w 3802857"/>
                  <a:gd name="connsiteY57" fmla="*/ 1547813 h 3136106"/>
                  <a:gd name="connsiteX58" fmla="*/ 2874170 w 3802857"/>
                  <a:gd name="connsiteY58" fmla="*/ 1500188 h 3136106"/>
                  <a:gd name="connsiteX59" fmla="*/ 2921795 w 3802857"/>
                  <a:gd name="connsiteY59" fmla="*/ 1447800 h 3136106"/>
                  <a:gd name="connsiteX60" fmla="*/ 2940845 w 3802857"/>
                  <a:gd name="connsiteY60" fmla="*/ 1352550 h 3136106"/>
                  <a:gd name="connsiteX61" fmla="*/ 2997995 w 3802857"/>
                  <a:gd name="connsiteY61" fmla="*/ 1309688 h 3136106"/>
                  <a:gd name="connsiteX62" fmla="*/ 2993232 w 3802857"/>
                  <a:gd name="connsiteY62" fmla="*/ 1276350 h 3136106"/>
                  <a:gd name="connsiteX63" fmla="*/ 3002757 w 3802857"/>
                  <a:gd name="connsiteY63" fmla="*/ 1266825 h 3136106"/>
                  <a:gd name="connsiteX64" fmla="*/ 3007520 w 3802857"/>
                  <a:gd name="connsiteY64" fmla="*/ 1214438 h 3136106"/>
                  <a:gd name="connsiteX65" fmla="*/ 3036095 w 3802857"/>
                  <a:gd name="connsiteY65" fmla="*/ 1171575 h 3136106"/>
                  <a:gd name="connsiteX66" fmla="*/ 3055145 w 3802857"/>
                  <a:gd name="connsiteY66" fmla="*/ 1133475 h 3136106"/>
                  <a:gd name="connsiteX67" fmla="*/ 3055145 w 3802857"/>
                  <a:gd name="connsiteY67" fmla="*/ 1066800 h 3136106"/>
                  <a:gd name="connsiteX68" fmla="*/ 3059907 w 3802857"/>
                  <a:gd name="connsiteY68" fmla="*/ 1004888 h 3136106"/>
                  <a:gd name="connsiteX69" fmla="*/ 3098007 w 3802857"/>
                  <a:gd name="connsiteY69" fmla="*/ 895350 h 3136106"/>
                  <a:gd name="connsiteX70" fmla="*/ 3112295 w 3802857"/>
                  <a:gd name="connsiteY70" fmla="*/ 847725 h 3136106"/>
                  <a:gd name="connsiteX71" fmla="*/ 3188495 w 3802857"/>
                  <a:gd name="connsiteY71" fmla="*/ 781050 h 3136106"/>
                  <a:gd name="connsiteX72" fmla="*/ 3221832 w 3802857"/>
                  <a:gd name="connsiteY72" fmla="*/ 709613 h 3136106"/>
                  <a:gd name="connsiteX73" fmla="*/ 3312320 w 3802857"/>
                  <a:gd name="connsiteY73" fmla="*/ 647700 h 3136106"/>
                  <a:gd name="connsiteX74" fmla="*/ 3331370 w 3802857"/>
                  <a:gd name="connsiteY74" fmla="*/ 614363 h 3136106"/>
                  <a:gd name="connsiteX75" fmla="*/ 3407570 w 3802857"/>
                  <a:gd name="connsiteY75" fmla="*/ 519113 h 3136106"/>
                  <a:gd name="connsiteX76" fmla="*/ 3459957 w 3802857"/>
                  <a:gd name="connsiteY76" fmla="*/ 466725 h 3136106"/>
                  <a:gd name="connsiteX77" fmla="*/ 3521870 w 3802857"/>
                  <a:gd name="connsiteY77" fmla="*/ 442913 h 3136106"/>
                  <a:gd name="connsiteX78" fmla="*/ 3540920 w 3802857"/>
                  <a:gd name="connsiteY78" fmla="*/ 390525 h 3136106"/>
                  <a:gd name="connsiteX79" fmla="*/ 3555207 w 3802857"/>
                  <a:gd name="connsiteY79" fmla="*/ 352425 h 3136106"/>
                  <a:gd name="connsiteX80" fmla="*/ 3564732 w 3802857"/>
                  <a:gd name="connsiteY80" fmla="*/ 304800 h 3136106"/>
                  <a:gd name="connsiteX81" fmla="*/ 3698082 w 3802857"/>
                  <a:gd name="connsiteY81" fmla="*/ 104775 h 3136106"/>
                  <a:gd name="connsiteX82" fmla="*/ 3764757 w 3802857"/>
                  <a:gd name="connsiteY82" fmla="*/ 28575 h 3136106"/>
                  <a:gd name="connsiteX83" fmla="*/ 3802857 w 3802857"/>
                  <a:gd name="connsiteY83" fmla="*/ 0 h 313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802857" h="3136106">
                    <a:moveTo>
                      <a:pt x="0" y="3136106"/>
                    </a:moveTo>
                    <a:lnTo>
                      <a:pt x="73820" y="3052763"/>
                    </a:lnTo>
                    <a:lnTo>
                      <a:pt x="178595" y="3052763"/>
                    </a:lnTo>
                    <a:lnTo>
                      <a:pt x="245270" y="3033713"/>
                    </a:lnTo>
                    <a:lnTo>
                      <a:pt x="330995" y="3057525"/>
                    </a:lnTo>
                    <a:lnTo>
                      <a:pt x="402432" y="3028950"/>
                    </a:lnTo>
                    <a:lnTo>
                      <a:pt x="445295" y="3052763"/>
                    </a:lnTo>
                    <a:lnTo>
                      <a:pt x="511970" y="3028950"/>
                    </a:lnTo>
                    <a:lnTo>
                      <a:pt x="640557" y="3062288"/>
                    </a:lnTo>
                    <a:lnTo>
                      <a:pt x="673895" y="3052763"/>
                    </a:lnTo>
                    <a:lnTo>
                      <a:pt x="707232" y="3043238"/>
                    </a:lnTo>
                    <a:lnTo>
                      <a:pt x="759620" y="3009900"/>
                    </a:lnTo>
                    <a:lnTo>
                      <a:pt x="835820" y="2962275"/>
                    </a:lnTo>
                    <a:lnTo>
                      <a:pt x="888207" y="2943225"/>
                    </a:lnTo>
                    <a:lnTo>
                      <a:pt x="926307" y="2919413"/>
                    </a:lnTo>
                    <a:lnTo>
                      <a:pt x="1078707" y="2890838"/>
                    </a:lnTo>
                    <a:lnTo>
                      <a:pt x="1121570" y="2876550"/>
                    </a:lnTo>
                    <a:lnTo>
                      <a:pt x="1169195" y="2824163"/>
                    </a:lnTo>
                    <a:lnTo>
                      <a:pt x="1259682" y="2824163"/>
                    </a:lnTo>
                    <a:lnTo>
                      <a:pt x="1369220" y="2828925"/>
                    </a:lnTo>
                    <a:lnTo>
                      <a:pt x="1407320" y="2805113"/>
                    </a:lnTo>
                    <a:lnTo>
                      <a:pt x="1435895" y="2781300"/>
                    </a:lnTo>
                    <a:lnTo>
                      <a:pt x="1469232" y="2757488"/>
                    </a:lnTo>
                    <a:lnTo>
                      <a:pt x="1512095" y="2757488"/>
                    </a:lnTo>
                    <a:lnTo>
                      <a:pt x="1559720" y="2738438"/>
                    </a:lnTo>
                    <a:lnTo>
                      <a:pt x="1602582" y="2738438"/>
                    </a:lnTo>
                    <a:lnTo>
                      <a:pt x="1659732" y="2738438"/>
                    </a:lnTo>
                    <a:lnTo>
                      <a:pt x="1707357" y="2738438"/>
                    </a:lnTo>
                    <a:lnTo>
                      <a:pt x="1754982" y="2686050"/>
                    </a:lnTo>
                    <a:lnTo>
                      <a:pt x="1826420" y="2671763"/>
                    </a:lnTo>
                    <a:lnTo>
                      <a:pt x="1907382" y="2652713"/>
                    </a:lnTo>
                    <a:lnTo>
                      <a:pt x="1940720" y="2619375"/>
                    </a:lnTo>
                    <a:lnTo>
                      <a:pt x="1997870" y="2619375"/>
                    </a:lnTo>
                    <a:lnTo>
                      <a:pt x="2050257" y="2619375"/>
                    </a:lnTo>
                    <a:lnTo>
                      <a:pt x="2083595" y="2586038"/>
                    </a:lnTo>
                    <a:lnTo>
                      <a:pt x="2135982" y="2547938"/>
                    </a:lnTo>
                    <a:lnTo>
                      <a:pt x="2174082" y="2509838"/>
                    </a:lnTo>
                    <a:lnTo>
                      <a:pt x="2193132" y="2466975"/>
                    </a:lnTo>
                    <a:lnTo>
                      <a:pt x="2240757" y="2409825"/>
                    </a:lnTo>
                    <a:lnTo>
                      <a:pt x="2274095" y="2352675"/>
                    </a:lnTo>
                    <a:lnTo>
                      <a:pt x="2316957" y="2314575"/>
                    </a:lnTo>
                    <a:lnTo>
                      <a:pt x="2369345" y="2290763"/>
                    </a:lnTo>
                    <a:lnTo>
                      <a:pt x="2416970" y="2271713"/>
                    </a:lnTo>
                    <a:lnTo>
                      <a:pt x="2450307" y="2233613"/>
                    </a:lnTo>
                    <a:lnTo>
                      <a:pt x="2507457" y="2205038"/>
                    </a:lnTo>
                    <a:lnTo>
                      <a:pt x="2521745" y="2190750"/>
                    </a:lnTo>
                    <a:lnTo>
                      <a:pt x="2536032" y="2133600"/>
                    </a:lnTo>
                    <a:lnTo>
                      <a:pt x="2597945" y="2081213"/>
                    </a:lnTo>
                    <a:lnTo>
                      <a:pt x="2616995" y="2047875"/>
                    </a:lnTo>
                    <a:lnTo>
                      <a:pt x="2650332" y="1985963"/>
                    </a:lnTo>
                    <a:lnTo>
                      <a:pt x="2697957" y="1957388"/>
                    </a:lnTo>
                    <a:lnTo>
                      <a:pt x="2769395" y="1828800"/>
                    </a:lnTo>
                    <a:lnTo>
                      <a:pt x="2788445" y="1814513"/>
                    </a:lnTo>
                    <a:lnTo>
                      <a:pt x="2797970" y="1738313"/>
                    </a:lnTo>
                    <a:lnTo>
                      <a:pt x="2821782" y="1685925"/>
                    </a:lnTo>
                    <a:lnTo>
                      <a:pt x="2855120" y="1609725"/>
                    </a:lnTo>
                    <a:lnTo>
                      <a:pt x="2859882" y="1585913"/>
                    </a:lnTo>
                    <a:lnTo>
                      <a:pt x="2888457" y="1547813"/>
                    </a:lnTo>
                    <a:lnTo>
                      <a:pt x="2874170" y="1500188"/>
                    </a:lnTo>
                    <a:lnTo>
                      <a:pt x="2921795" y="1447800"/>
                    </a:lnTo>
                    <a:lnTo>
                      <a:pt x="2940845" y="1352550"/>
                    </a:lnTo>
                    <a:lnTo>
                      <a:pt x="2997995" y="1309688"/>
                    </a:lnTo>
                    <a:lnTo>
                      <a:pt x="2993232" y="1276350"/>
                    </a:lnTo>
                    <a:lnTo>
                      <a:pt x="3002757" y="1266825"/>
                    </a:lnTo>
                    <a:lnTo>
                      <a:pt x="3007520" y="1214438"/>
                    </a:lnTo>
                    <a:lnTo>
                      <a:pt x="3036095" y="1171575"/>
                    </a:lnTo>
                    <a:lnTo>
                      <a:pt x="3055145" y="1133475"/>
                    </a:lnTo>
                    <a:lnTo>
                      <a:pt x="3055145" y="1066800"/>
                    </a:lnTo>
                    <a:lnTo>
                      <a:pt x="3059907" y="1004888"/>
                    </a:lnTo>
                    <a:lnTo>
                      <a:pt x="3098007" y="895350"/>
                    </a:lnTo>
                    <a:lnTo>
                      <a:pt x="3112295" y="847725"/>
                    </a:lnTo>
                    <a:lnTo>
                      <a:pt x="3188495" y="781050"/>
                    </a:lnTo>
                    <a:lnTo>
                      <a:pt x="3221832" y="709613"/>
                    </a:lnTo>
                    <a:lnTo>
                      <a:pt x="3312320" y="647700"/>
                    </a:lnTo>
                    <a:lnTo>
                      <a:pt x="3331370" y="614363"/>
                    </a:lnTo>
                    <a:lnTo>
                      <a:pt x="3407570" y="519113"/>
                    </a:lnTo>
                    <a:lnTo>
                      <a:pt x="3459957" y="466725"/>
                    </a:lnTo>
                    <a:lnTo>
                      <a:pt x="3521870" y="442913"/>
                    </a:lnTo>
                    <a:lnTo>
                      <a:pt x="3540920" y="390525"/>
                    </a:lnTo>
                    <a:lnTo>
                      <a:pt x="3555207" y="352425"/>
                    </a:lnTo>
                    <a:lnTo>
                      <a:pt x="3564732" y="304800"/>
                    </a:lnTo>
                    <a:lnTo>
                      <a:pt x="3698082" y="104775"/>
                    </a:lnTo>
                    <a:lnTo>
                      <a:pt x="3764757" y="28575"/>
                    </a:lnTo>
                    <a:lnTo>
                      <a:pt x="3802857" y="0"/>
                    </a:lnTo>
                  </a:path>
                </a:pathLst>
              </a:custGeom>
              <a:no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249" name="Freeform: Shape 248">
                <a:extLst>
                  <a:ext uri="{FF2B5EF4-FFF2-40B4-BE49-F238E27FC236}">
                    <a16:creationId xmlns:a16="http://schemas.microsoft.com/office/drawing/2014/main" id="{F83C518D-AC56-4B57-9372-D92424E806A4}"/>
                  </a:ext>
                </a:extLst>
              </p:cNvPr>
              <p:cNvSpPr/>
              <p:nvPr/>
            </p:nvSpPr>
            <p:spPr bwMode="gray">
              <a:xfrm>
                <a:off x="7239000" y="5369719"/>
                <a:ext cx="661988" cy="228600"/>
              </a:xfrm>
              <a:custGeom>
                <a:avLst/>
                <a:gdLst>
                  <a:gd name="connsiteX0" fmla="*/ 0 w 661988"/>
                  <a:gd name="connsiteY0" fmla="*/ 204787 h 228600"/>
                  <a:gd name="connsiteX1" fmla="*/ 35719 w 661988"/>
                  <a:gd name="connsiteY1" fmla="*/ 195262 h 228600"/>
                  <a:gd name="connsiteX2" fmla="*/ 83344 w 661988"/>
                  <a:gd name="connsiteY2" fmla="*/ 202406 h 228600"/>
                  <a:gd name="connsiteX3" fmla="*/ 121444 w 661988"/>
                  <a:gd name="connsiteY3" fmla="*/ 219075 h 228600"/>
                  <a:gd name="connsiteX4" fmla="*/ 142875 w 661988"/>
                  <a:gd name="connsiteY4" fmla="*/ 228600 h 228600"/>
                  <a:gd name="connsiteX5" fmla="*/ 242888 w 661988"/>
                  <a:gd name="connsiteY5" fmla="*/ 192881 h 228600"/>
                  <a:gd name="connsiteX6" fmla="*/ 273844 w 661988"/>
                  <a:gd name="connsiteY6" fmla="*/ 171450 h 228600"/>
                  <a:gd name="connsiteX7" fmla="*/ 300038 w 661988"/>
                  <a:gd name="connsiteY7" fmla="*/ 176212 h 228600"/>
                  <a:gd name="connsiteX8" fmla="*/ 304800 w 661988"/>
                  <a:gd name="connsiteY8" fmla="*/ 180975 h 228600"/>
                  <a:gd name="connsiteX9" fmla="*/ 330994 w 661988"/>
                  <a:gd name="connsiteY9" fmla="*/ 154781 h 228600"/>
                  <a:gd name="connsiteX10" fmla="*/ 381000 w 661988"/>
                  <a:gd name="connsiteY10" fmla="*/ 142875 h 228600"/>
                  <a:gd name="connsiteX11" fmla="*/ 416719 w 661988"/>
                  <a:gd name="connsiteY11" fmla="*/ 133350 h 228600"/>
                  <a:gd name="connsiteX12" fmla="*/ 457200 w 661988"/>
                  <a:gd name="connsiteY12" fmla="*/ 142875 h 228600"/>
                  <a:gd name="connsiteX13" fmla="*/ 490538 w 661988"/>
                  <a:gd name="connsiteY13" fmla="*/ 161925 h 228600"/>
                  <a:gd name="connsiteX14" fmla="*/ 523875 w 661988"/>
                  <a:gd name="connsiteY14" fmla="*/ 169069 h 228600"/>
                  <a:gd name="connsiteX15" fmla="*/ 583406 w 661988"/>
                  <a:gd name="connsiteY15" fmla="*/ 133350 h 228600"/>
                  <a:gd name="connsiteX16" fmla="*/ 638175 w 661988"/>
                  <a:gd name="connsiteY16" fmla="*/ 104775 h 228600"/>
                  <a:gd name="connsiteX17" fmla="*/ 659606 w 661988"/>
                  <a:gd name="connsiteY17" fmla="*/ 66675 h 228600"/>
                  <a:gd name="connsiteX18" fmla="*/ 661988 w 661988"/>
                  <a:gd name="connsiteY18" fmla="*/ 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1988" h="228600">
                    <a:moveTo>
                      <a:pt x="0" y="204787"/>
                    </a:moveTo>
                    <a:lnTo>
                      <a:pt x="35719" y="195262"/>
                    </a:lnTo>
                    <a:lnTo>
                      <a:pt x="83344" y="202406"/>
                    </a:lnTo>
                    <a:lnTo>
                      <a:pt x="121444" y="219075"/>
                    </a:lnTo>
                    <a:lnTo>
                      <a:pt x="142875" y="228600"/>
                    </a:lnTo>
                    <a:lnTo>
                      <a:pt x="242888" y="192881"/>
                    </a:lnTo>
                    <a:lnTo>
                      <a:pt x="273844" y="171450"/>
                    </a:lnTo>
                    <a:lnTo>
                      <a:pt x="300038" y="176212"/>
                    </a:lnTo>
                    <a:lnTo>
                      <a:pt x="304800" y="180975"/>
                    </a:lnTo>
                    <a:lnTo>
                      <a:pt x="330994" y="154781"/>
                    </a:lnTo>
                    <a:lnTo>
                      <a:pt x="381000" y="142875"/>
                    </a:lnTo>
                    <a:lnTo>
                      <a:pt x="416719" y="133350"/>
                    </a:lnTo>
                    <a:lnTo>
                      <a:pt x="457200" y="142875"/>
                    </a:lnTo>
                    <a:lnTo>
                      <a:pt x="490538" y="161925"/>
                    </a:lnTo>
                    <a:lnTo>
                      <a:pt x="523875" y="169069"/>
                    </a:lnTo>
                    <a:lnTo>
                      <a:pt x="583406" y="133350"/>
                    </a:lnTo>
                    <a:lnTo>
                      <a:pt x="638175" y="104775"/>
                    </a:lnTo>
                    <a:lnTo>
                      <a:pt x="659606" y="66675"/>
                    </a:lnTo>
                    <a:lnTo>
                      <a:pt x="661988" y="0"/>
                    </a:lnTo>
                  </a:path>
                </a:pathLst>
              </a:custGeom>
              <a:no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250" name="Freeform: Shape 249">
                <a:extLst>
                  <a:ext uri="{FF2B5EF4-FFF2-40B4-BE49-F238E27FC236}">
                    <a16:creationId xmlns:a16="http://schemas.microsoft.com/office/drawing/2014/main" id="{B1E845DE-8213-4856-AA65-64CFF2323463}"/>
                  </a:ext>
                </a:extLst>
              </p:cNvPr>
              <p:cNvSpPr/>
              <p:nvPr/>
            </p:nvSpPr>
            <p:spPr bwMode="gray">
              <a:xfrm>
                <a:off x="8159589" y="4979511"/>
                <a:ext cx="138113" cy="83344"/>
              </a:xfrm>
              <a:custGeom>
                <a:avLst/>
                <a:gdLst>
                  <a:gd name="connsiteX0" fmla="*/ 0 w 138113"/>
                  <a:gd name="connsiteY0" fmla="*/ 83344 h 83344"/>
                  <a:gd name="connsiteX1" fmla="*/ 47625 w 138113"/>
                  <a:gd name="connsiteY1" fmla="*/ 30956 h 83344"/>
                  <a:gd name="connsiteX2" fmla="*/ 88106 w 138113"/>
                  <a:gd name="connsiteY2" fmla="*/ 2381 h 83344"/>
                  <a:gd name="connsiteX3" fmla="*/ 138113 w 138113"/>
                  <a:gd name="connsiteY3" fmla="*/ 0 h 83344"/>
                </a:gdLst>
                <a:ahLst/>
                <a:cxnLst>
                  <a:cxn ang="0">
                    <a:pos x="connsiteX0" y="connsiteY0"/>
                  </a:cxn>
                  <a:cxn ang="0">
                    <a:pos x="connsiteX1" y="connsiteY1"/>
                  </a:cxn>
                  <a:cxn ang="0">
                    <a:pos x="connsiteX2" y="connsiteY2"/>
                  </a:cxn>
                  <a:cxn ang="0">
                    <a:pos x="connsiteX3" y="connsiteY3"/>
                  </a:cxn>
                </a:cxnLst>
                <a:rect l="l" t="t" r="r" b="b"/>
                <a:pathLst>
                  <a:path w="138113" h="83344">
                    <a:moveTo>
                      <a:pt x="0" y="83344"/>
                    </a:moveTo>
                    <a:lnTo>
                      <a:pt x="47625" y="30956"/>
                    </a:lnTo>
                    <a:lnTo>
                      <a:pt x="88106" y="2381"/>
                    </a:lnTo>
                    <a:lnTo>
                      <a:pt x="138113" y="0"/>
                    </a:lnTo>
                  </a:path>
                </a:pathLst>
              </a:custGeom>
              <a:noFill/>
              <a:ln w="28575"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grpSp>
      </p:grpSp>
      <p:sp>
        <p:nvSpPr>
          <p:cNvPr id="243" name="Freeform: Shape 242">
            <a:extLst>
              <a:ext uri="{FF2B5EF4-FFF2-40B4-BE49-F238E27FC236}">
                <a16:creationId xmlns:a16="http://schemas.microsoft.com/office/drawing/2014/main" id="{33007C01-796B-4BD8-8049-846D0A72A9F9}"/>
              </a:ext>
            </a:extLst>
          </p:cNvPr>
          <p:cNvSpPr/>
          <p:nvPr/>
        </p:nvSpPr>
        <p:spPr bwMode="gray">
          <a:xfrm>
            <a:off x="6745290" y="2180184"/>
            <a:ext cx="3631585" cy="419395"/>
          </a:xfrm>
          <a:custGeom>
            <a:avLst/>
            <a:gdLst>
              <a:gd name="connsiteX0" fmla="*/ 0 w 3733800"/>
              <a:gd name="connsiteY0" fmla="*/ 0 h 471487"/>
              <a:gd name="connsiteX1" fmla="*/ 47625 w 3733800"/>
              <a:gd name="connsiteY1" fmla="*/ 42862 h 471487"/>
              <a:gd name="connsiteX2" fmla="*/ 119063 w 3733800"/>
              <a:gd name="connsiteY2" fmla="*/ 76200 h 471487"/>
              <a:gd name="connsiteX3" fmla="*/ 195263 w 3733800"/>
              <a:gd name="connsiteY3" fmla="*/ 109537 h 471487"/>
              <a:gd name="connsiteX4" fmla="*/ 266700 w 3733800"/>
              <a:gd name="connsiteY4" fmla="*/ 104775 h 471487"/>
              <a:gd name="connsiteX5" fmla="*/ 395288 w 3733800"/>
              <a:gd name="connsiteY5" fmla="*/ 104775 h 471487"/>
              <a:gd name="connsiteX6" fmla="*/ 533400 w 3733800"/>
              <a:gd name="connsiteY6" fmla="*/ 128587 h 471487"/>
              <a:gd name="connsiteX7" fmla="*/ 695325 w 3733800"/>
              <a:gd name="connsiteY7" fmla="*/ 114300 h 471487"/>
              <a:gd name="connsiteX8" fmla="*/ 857250 w 3733800"/>
              <a:gd name="connsiteY8" fmla="*/ 90487 h 471487"/>
              <a:gd name="connsiteX9" fmla="*/ 981075 w 3733800"/>
              <a:gd name="connsiteY9" fmla="*/ 85725 h 471487"/>
              <a:gd name="connsiteX10" fmla="*/ 1071563 w 3733800"/>
              <a:gd name="connsiteY10" fmla="*/ 76200 h 471487"/>
              <a:gd name="connsiteX11" fmla="*/ 1152525 w 3733800"/>
              <a:gd name="connsiteY11" fmla="*/ 95250 h 471487"/>
              <a:gd name="connsiteX12" fmla="*/ 1214438 w 3733800"/>
              <a:gd name="connsiteY12" fmla="*/ 95250 h 471487"/>
              <a:gd name="connsiteX13" fmla="*/ 1266825 w 3733800"/>
              <a:gd name="connsiteY13" fmla="*/ 100012 h 471487"/>
              <a:gd name="connsiteX14" fmla="*/ 1266825 w 3733800"/>
              <a:gd name="connsiteY14" fmla="*/ 90487 h 471487"/>
              <a:gd name="connsiteX15" fmla="*/ 1276350 w 3733800"/>
              <a:gd name="connsiteY15" fmla="*/ 100012 h 471487"/>
              <a:gd name="connsiteX16" fmla="*/ 1290638 w 3733800"/>
              <a:gd name="connsiteY16" fmla="*/ 85725 h 471487"/>
              <a:gd name="connsiteX17" fmla="*/ 1328738 w 3733800"/>
              <a:gd name="connsiteY17" fmla="*/ 100012 h 471487"/>
              <a:gd name="connsiteX18" fmla="*/ 1362075 w 3733800"/>
              <a:gd name="connsiteY18" fmla="*/ 85725 h 471487"/>
              <a:gd name="connsiteX19" fmla="*/ 1395413 w 3733800"/>
              <a:gd name="connsiteY19" fmla="*/ 100012 h 471487"/>
              <a:gd name="connsiteX20" fmla="*/ 1457325 w 3733800"/>
              <a:gd name="connsiteY20" fmla="*/ 80962 h 471487"/>
              <a:gd name="connsiteX21" fmla="*/ 1595438 w 3733800"/>
              <a:gd name="connsiteY21" fmla="*/ 85725 h 471487"/>
              <a:gd name="connsiteX22" fmla="*/ 1647825 w 3733800"/>
              <a:gd name="connsiteY22" fmla="*/ 100012 h 471487"/>
              <a:gd name="connsiteX23" fmla="*/ 1747838 w 3733800"/>
              <a:gd name="connsiteY23" fmla="*/ 100012 h 471487"/>
              <a:gd name="connsiteX24" fmla="*/ 1924050 w 3733800"/>
              <a:gd name="connsiteY24" fmla="*/ 119062 h 471487"/>
              <a:gd name="connsiteX25" fmla="*/ 2033588 w 3733800"/>
              <a:gd name="connsiteY25" fmla="*/ 109537 h 471487"/>
              <a:gd name="connsiteX26" fmla="*/ 2081213 w 3733800"/>
              <a:gd name="connsiteY26" fmla="*/ 123825 h 471487"/>
              <a:gd name="connsiteX27" fmla="*/ 2119313 w 3733800"/>
              <a:gd name="connsiteY27" fmla="*/ 133350 h 471487"/>
              <a:gd name="connsiteX28" fmla="*/ 2176463 w 3733800"/>
              <a:gd name="connsiteY28" fmla="*/ 171450 h 471487"/>
              <a:gd name="connsiteX29" fmla="*/ 2233613 w 3733800"/>
              <a:gd name="connsiteY29" fmla="*/ 242887 h 471487"/>
              <a:gd name="connsiteX30" fmla="*/ 2328863 w 3733800"/>
              <a:gd name="connsiteY30" fmla="*/ 228600 h 471487"/>
              <a:gd name="connsiteX31" fmla="*/ 2352675 w 3733800"/>
              <a:gd name="connsiteY31" fmla="*/ 228600 h 471487"/>
              <a:gd name="connsiteX32" fmla="*/ 2505075 w 3733800"/>
              <a:gd name="connsiteY32" fmla="*/ 300037 h 471487"/>
              <a:gd name="connsiteX33" fmla="*/ 2614613 w 3733800"/>
              <a:gd name="connsiteY33" fmla="*/ 309562 h 471487"/>
              <a:gd name="connsiteX34" fmla="*/ 2700338 w 3733800"/>
              <a:gd name="connsiteY34" fmla="*/ 314325 h 471487"/>
              <a:gd name="connsiteX35" fmla="*/ 2809875 w 3733800"/>
              <a:gd name="connsiteY35" fmla="*/ 300037 h 471487"/>
              <a:gd name="connsiteX36" fmla="*/ 2900363 w 3733800"/>
              <a:gd name="connsiteY36" fmla="*/ 328612 h 471487"/>
              <a:gd name="connsiteX37" fmla="*/ 3090863 w 3733800"/>
              <a:gd name="connsiteY37" fmla="*/ 366712 h 471487"/>
              <a:gd name="connsiteX38" fmla="*/ 3171825 w 3733800"/>
              <a:gd name="connsiteY38" fmla="*/ 385762 h 471487"/>
              <a:gd name="connsiteX39" fmla="*/ 3200400 w 3733800"/>
              <a:gd name="connsiteY39" fmla="*/ 395287 h 471487"/>
              <a:gd name="connsiteX40" fmla="*/ 3324225 w 3733800"/>
              <a:gd name="connsiteY40" fmla="*/ 404812 h 471487"/>
              <a:gd name="connsiteX41" fmla="*/ 3405188 w 3733800"/>
              <a:gd name="connsiteY41" fmla="*/ 428625 h 471487"/>
              <a:gd name="connsiteX42" fmla="*/ 3452813 w 3733800"/>
              <a:gd name="connsiteY42" fmla="*/ 414337 h 471487"/>
              <a:gd name="connsiteX43" fmla="*/ 3538538 w 3733800"/>
              <a:gd name="connsiteY43" fmla="*/ 395287 h 471487"/>
              <a:gd name="connsiteX44" fmla="*/ 3638550 w 3733800"/>
              <a:gd name="connsiteY44" fmla="*/ 414337 h 471487"/>
              <a:gd name="connsiteX45" fmla="*/ 3733800 w 3733800"/>
              <a:gd name="connsiteY45" fmla="*/ 471487 h 471487"/>
              <a:gd name="connsiteX0" fmla="*/ 0 w 3686175"/>
              <a:gd name="connsiteY0" fmla="*/ 0 h 428625"/>
              <a:gd name="connsiteX1" fmla="*/ 71438 w 3686175"/>
              <a:gd name="connsiteY1" fmla="*/ 33338 h 428625"/>
              <a:gd name="connsiteX2" fmla="*/ 147638 w 3686175"/>
              <a:gd name="connsiteY2" fmla="*/ 66675 h 428625"/>
              <a:gd name="connsiteX3" fmla="*/ 219075 w 3686175"/>
              <a:gd name="connsiteY3" fmla="*/ 61913 h 428625"/>
              <a:gd name="connsiteX4" fmla="*/ 347663 w 3686175"/>
              <a:gd name="connsiteY4" fmla="*/ 61913 h 428625"/>
              <a:gd name="connsiteX5" fmla="*/ 485775 w 3686175"/>
              <a:gd name="connsiteY5" fmla="*/ 85725 h 428625"/>
              <a:gd name="connsiteX6" fmla="*/ 647700 w 3686175"/>
              <a:gd name="connsiteY6" fmla="*/ 71438 h 428625"/>
              <a:gd name="connsiteX7" fmla="*/ 809625 w 3686175"/>
              <a:gd name="connsiteY7" fmla="*/ 47625 h 428625"/>
              <a:gd name="connsiteX8" fmla="*/ 933450 w 3686175"/>
              <a:gd name="connsiteY8" fmla="*/ 42863 h 428625"/>
              <a:gd name="connsiteX9" fmla="*/ 1023938 w 3686175"/>
              <a:gd name="connsiteY9" fmla="*/ 33338 h 428625"/>
              <a:gd name="connsiteX10" fmla="*/ 1104900 w 3686175"/>
              <a:gd name="connsiteY10" fmla="*/ 52388 h 428625"/>
              <a:gd name="connsiteX11" fmla="*/ 1166813 w 3686175"/>
              <a:gd name="connsiteY11" fmla="*/ 52388 h 428625"/>
              <a:gd name="connsiteX12" fmla="*/ 1219200 w 3686175"/>
              <a:gd name="connsiteY12" fmla="*/ 57150 h 428625"/>
              <a:gd name="connsiteX13" fmla="*/ 1219200 w 3686175"/>
              <a:gd name="connsiteY13" fmla="*/ 47625 h 428625"/>
              <a:gd name="connsiteX14" fmla="*/ 1228725 w 3686175"/>
              <a:gd name="connsiteY14" fmla="*/ 57150 h 428625"/>
              <a:gd name="connsiteX15" fmla="*/ 1243013 w 3686175"/>
              <a:gd name="connsiteY15" fmla="*/ 42863 h 428625"/>
              <a:gd name="connsiteX16" fmla="*/ 1281113 w 3686175"/>
              <a:gd name="connsiteY16" fmla="*/ 57150 h 428625"/>
              <a:gd name="connsiteX17" fmla="*/ 1314450 w 3686175"/>
              <a:gd name="connsiteY17" fmla="*/ 42863 h 428625"/>
              <a:gd name="connsiteX18" fmla="*/ 1347788 w 3686175"/>
              <a:gd name="connsiteY18" fmla="*/ 57150 h 428625"/>
              <a:gd name="connsiteX19" fmla="*/ 1409700 w 3686175"/>
              <a:gd name="connsiteY19" fmla="*/ 38100 h 428625"/>
              <a:gd name="connsiteX20" fmla="*/ 1547813 w 3686175"/>
              <a:gd name="connsiteY20" fmla="*/ 42863 h 428625"/>
              <a:gd name="connsiteX21" fmla="*/ 1600200 w 3686175"/>
              <a:gd name="connsiteY21" fmla="*/ 57150 h 428625"/>
              <a:gd name="connsiteX22" fmla="*/ 1700213 w 3686175"/>
              <a:gd name="connsiteY22" fmla="*/ 57150 h 428625"/>
              <a:gd name="connsiteX23" fmla="*/ 1876425 w 3686175"/>
              <a:gd name="connsiteY23" fmla="*/ 76200 h 428625"/>
              <a:gd name="connsiteX24" fmla="*/ 1985963 w 3686175"/>
              <a:gd name="connsiteY24" fmla="*/ 66675 h 428625"/>
              <a:gd name="connsiteX25" fmla="*/ 2033588 w 3686175"/>
              <a:gd name="connsiteY25" fmla="*/ 80963 h 428625"/>
              <a:gd name="connsiteX26" fmla="*/ 2071688 w 3686175"/>
              <a:gd name="connsiteY26" fmla="*/ 90488 h 428625"/>
              <a:gd name="connsiteX27" fmla="*/ 2128838 w 3686175"/>
              <a:gd name="connsiteY27" fmla="*/ 128588 h 428625"/>
              <a:gd name="connsiteX28" fmla="*/ 2185988 w 3686175"/>
              <a:gd name="connsiteY28" fmla="*/ 200025 h 428625"/>
              <a:gd name="connsiteX29" fmla="*/ 2281238 w 3686175"/>
              <a:gd name="connsiteY29" fmla="*/ 185738 h 428625"/>
              <a:gd name="connsiteX30" fmla="*/ 2305050 w 3686175"/>
              <a:gd name="connsiteY30" fmla="*/ 185738 h 428625"/>
              <a:gd name="connsiteX31" fmla="*/ 2457450 w 3686175"/>
              <a:gd name="connsiteY31" fmla="*/ 257175 h 428625"/>
              <a:gd name="connsiteX32" fmla="*/ 2566988 w 3686175"/>
              <a:gd name="connsiteY32" fmla="*/ 266700 h 428625"/>
              <a:gd name="connsiteX33" fmla="*/ 2652713 w 3686175"/>
              <a:gd name="connsiteY33" fmla="*/ 271463 h 428625"/>
              <a:gd name="connsiteX34" fmla="*/ 2762250 w 3686175"/>
              <a:gd name="connsiteY34" fmla="*/ 257175 h 428625"/>
              <a:gd name="connsiteX35" fmla="*/ 2852738 w 3686175"/>
              <a:gd name="connsiteY35" fmla="*/ 285750 h 428625"/>
              <a:gd name="connsiteX36" fmla="*/ 3043238 w 3686175"/>
              <a:gd name="connsiteY36" fmla="*/ 323850 h 428625"/>
              <a:gd name="connsiteX37" fmla="*/ 3124200 w 3686175"/>
              <a:gd name="connsiteY37" fmla="*/ 342900 h 428625"/>
              <a:gd name="connsiteX38" fmla="*/ 3152775 w 3686175"/>
              <a:gd name="connsiteY38" fmla="*/ 352425 h 428625"/>
              <a:gd name="connsiteX39" fmla="*/ 3276600 w 3686175"/>
              <a:gd name="connsiteY39" fmla="*/ 361950 h 428625"/>
              <a:gd name="connsiteX40" fmla="*/ 3357563 w 3686175"/>
              <a:gd name="connsiteY40" fmla="*/ 385763 h 428625"/>
              <a:gd name="connsiteX41" fmla="*/ 3405188 w 3686175"/>
              <a:gd name="connsiteY41" fmla="*/ 371475 h 428625"/>
              <a:gd name="connsiteX42" fmla="*/ 3490913 w 3686175"/>
              <a:gd name="connsiteY42" fmla="*/ 352425 h 428625"/>
              <a:gd name="connsiteX43" fmla="*/ 3590925 w 3686175"/>
              <a:gd name="connsiteY43" fmla="*/ 371475 h 428625"/>
              <a:gd name="connsiteX44" fmla="*/ 3686175 w 3686175"/>
              <a:gd name="connsiteY44" fmla="*/ 428625 h 428625"/>
              <a:gd name="connsiteX0" fmla="*/ 0 w 3614737"/>
              <a:gd name="connsiteY0" fmla="*/ 0 h 395287"/>
              <a:gd name="connsiteX1" fmla="*/ 76200 w 3614737"/>
              <a:gd name="connsiteY1" fmla="*/ 33337 h 395287"/>
              <a:gd name="connsiteX2" fmla="*/ 147637 w 3614737"/>
              <a:gd name="connsiteY2" fmla="*/ 28575 h 395287"/>
              <a:gd name="connsiteX3" fmla="*/ 276225 w 3614737"/>
              <a:gd name="connsiteY3" fmla="*/ 28575 h 395287"/>
              <a:gd name="connsiteX4" fmla="*/ 414337 w 3614737"/>
              <a:gd name="connsiteY4" fmla="*/ 52387 h 395287"/>
              <a:gd name="connsiteX5" fmla="*/ 576262 w 3614737"/>
              <a:gd name="connsiteY5" fmla="*/ 38100 h 395287"/>
              <a:gd name="connsiteX6" fmla="*/ 738187 w 3614737"/>
              <a:gd name="connsiteY6" fmla="*/ 14287 h 395287"/>
              <a:gd name="connsiteX7" fmla="*/ 862012 w 3614737"/>
              <a:gd name="connsiteY7" fmla="*/ 9525 h 395287"/>
              <a:gd name="connsiteX8" fmla="*/ 952500 w 3614737"/>
              <a:gd name="connsiteY8" fmla="*/ 0 h 395287"/>
              <a:gd name="connsiteX9" fmla="*/ 1033462 w 3614737"/>
              <a:gd name="connsiteY9" fmla="*/ 19050 h 395287"/>
              <a:gd name="connsiteX10" fmla="*/ 1095375 w 3614737"/>
              <a:gd name="connsiteY10" fmla="*/ 19050 h 395287"/>
              <a:gd name="connsiteX11" fmla="*/ 1147762 w 3614737"/>
              <a:gd name="connsiteY11" fmla="*/ 23812 h 395287"/>
              <a:gd name="connsiteX12" fmla="*/ 1147762 w 3614737"/>
              <a:gd name="connsiteY12" fmla="*/ 14287 h 395287"/>
              <a:gd name="connsiteX13" fmla="*/ 1157287 w 3614737"/>
              <a:gd name="connsiteY13" fmla="*/ 23812 h 395287"/>
              <a:gd name="connsiteX14" fmla="*/ 1171575 w 3614737"/>
              <a:gd name="connsiteY14" fmla="*/ 9525 h 395287"/>
              <a:gd name="connsiteX15" fmla="*/ 1209675 w 3614737"/>
              <a:gd name="connsiteY15" fmla="*/ 23812 h 395287"/>
              <a:gd name="connsiteX16" fmla="*/ 1243012 w 3614737"/>
              <a:gd name="connsiteY16" fmla="*/ 9525 h 395287"/>
              <a:gd name="connsiteX17" fmla="*/ 1276350 w 3614737"/>
              <a:gd name="connsiteY17" fmla="*/ 23812 h 395287"/>
              <a:gd name="connsiteX18" fmla="*/ 1338262 w 3614737"/>
              <a:gd name="connsiteY18" fmla="*/ 4762 h 395287"/>
              <a:gd name="connsiteX19" fmla="*/ 1476375 w 3614737"/>
              <a:gd name="connsiteY19" fmla="*/ 9525 h 395287"/>
              <a:gd name="connsiteX20" fmla="*/ 1528762 w 3614737"/>
              <a:gd name="connsiteY20" fmla="*/ 23812 h 395287"/>
              <a:gd name="connsiteX21" fmla="*/ 1628775 w 3614737"/>
              <a:gd name="connsiteY21" fmla="*/ 23812 h 395287"/>
              <a:gd name="connsiteX22" fmla="*/ 1804987 w 3614737"/>
              <a:gd name="connsiteY22" fmla="*/ 42862 h 395287"/>
              <a:gd name="connsiteX23" fmla="*/ 1914525 w 3614737"/>
              <a:gd name="connsiteY23" fmla="*/ 33337 h 395287"/>
              <a:gd name="connsiteX24" fmla="*/ 1962150 w 3614737"/>
              <a:gd name="connsiteY24" fmla="*/ 47625 h 395287"/>
              <a:gd name="connsiteX25" fmla="*/ 2000250 w 3614737"/>
              <a:gd name="connsiteY25" fmla="*/ 57150 h 395287"/>
              <a:gd name="connsiteX26" fmla="*/ 2057400 w 3614737"/>
              <a:gd name="connsiteY26" fmla="*/ 95250 h 395287"/>
              <a:gd name="connsiteX27" fmla="*/ 2114550 w 3614737"/>
              <a:gd name="connsiteY27" fmla="*/ 166687 h 395287"/>
              <a:gd name="connsiteX28" fmla="*/ 2209800 w 3614737"/>
              <a:gd name="connsiteY28" fmla="*/ 152400 h 395287"/>
              <a:gd name="connsiteX29" fmla="*/ 2233612 w 3614737"/>
              <a:gd name="connsiteY29" fmla="*/ 152400 h 395287"/>
              <a:gd name="connsiteX30" fmla="*/ 2386012 w 3614737"/>
              <a:gd name="connsiteY30" fmla="*/ 223837 h 395287"/>
              <a:gd name="connsiteX31" fmla="*/ 2495550 w 3614737"/>
              <a:gd name="connsiteY31" fmla="*/ 233362 h 395287"/>
              <a:gd name="connsiteX32" fmla="*/ 2581275 w 3614737"/>
              <a:gd name="connsiteY32" fmla="*/ 238125 h 395287"/>
              <a:gd name="connsiteX33" fmla="*/ 2690812 w 3614737"/>
              <a:gd name="connsiteY33" fmla="*/ 223837 h 395287"/>
              <a:gd name="connsiteX34" fmla="*/ 2781300 w 3614737"/>
              <a:gd name="connsiteY34" fmla="*/ 252412 h 395287"/>
              <a:gd name="connsiteX35" fmla="*/ 2971800 w 3614737"/>
              <a:gd name="connsiteY35" fmla="*/ 290512 h 395287"/>
              <a:gd name="connsiteX36" fmla="*/ 3052762 w 3614737"/>
              <a:gd name="connsiteY36" fmla="*/ 309562 h 395287"/>
              <a:gd name="connsiteX37" fmla="*/ 3081337 w 3614737"/>
              <a:gd name="connsiteY37" fmla="*/ 319087 h 395287"/>
              <a:gd name="connsiteX38" fmla="*/ 3205162 w 3614737"/>
              <a:gd name="connsiteY38" fmla="*/ 328612 h 395287"/>
              <a:gd name="connsiteX39" fmla="*/ 3286125 w 3614737"/>
              <a:gd name="connsiteY39" fmla="*/ 352425 h 395287"/>
              <a:gd name="connsiteX40" fmla="*/ 3333750 w 3614737"/>
              <a:gd name="connsiteY40" fmla="*/ 338137 h 395287"/>
              <a:gd name="connsiteX41" fmla="*/ 3419475 w 3614737"/>
              <a:gd name="connsiteY41" fmla="*/ 319087 h 395287"/>
              <a:gd name="connsiteX42" fmla="*/ 3519487 w 3614737"/>
              <a:gd name="connsiteY42" fmla="*/ 338137 h 395287"/>
              <a:gd name="connsiteX43" fmla="*/ 3614737 w 3614737"/>
              <a:gd name="connsiteY43" fmla="*/ 395287 h 395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614737" h="395287">
                <a:moveTo>
                  <a:pt x="0" y="0"/>
                </a:moveTo>
                <a:lnTo>
                  <a:pt x="76200" y="33337"/>
                </a:lnTo>
                <a:lnTo>
                  <a:pt x="147637" y="28575"/>
                </a:lnTo>
                <a:lnTo>
                  <a:pt x="276225" y="28575"/>
                </a:lnTo>
                <a:lnTo>
                  <a:pt x="414337" y="52387"/>
                </a:lnTo>
                <a:lnTo>
                  <a:pt x="576262" y="38100"/>
                </a:lnTo>
                <a:lnTo>
                  <a:pt x="738187" y="14287"/>
                </a:lnTo>
                <a:lnTo>
                  <a:pt x="862012" y="9525"/>
                </a:lnTo>
                <a:lnTo>
                  <a:pt x="952500" y="0"/>
                </a:lnTo>
                <a:lnTo>
                  <a:pt x="1033462" y="19050"/>
                </a:lnTo>
                <a:lnTo>
                  <a:pt x="1095375" y="19050"/>
                </a:lnTo>
                <a:lnTo>
                  <a:pt x="1147762" y="23812"/>
                </a:lnTo>
                <a:lnTo>
                  <a:pt x="1147762" y="14287"/>
                </a:lnTo>
                <a:lnTo>
                  <a:pt x="1157287" y="23812"/>
                </a:lnTo>
                <a:lnTo>
                  <a:pt x="1171575" y="9525"/>
                </a:lnTo>
                <a:lnTo>
                  <a:pt x="1209675" y="23812"/>
                </a:lnTo>
                <a:lnTo>
                  <a:pt x="1243012" y="9525"/>
                </a:lnTo>
                <a:lnTo>
                  <a:pt x="1276350" y="23812"/>
                </a:lnTo>
                <a:lnTo>
                  <a:pt x="1338262" y="4762"/>
                </a:lnTo>
                <a:lnTo>
                  <a:pt x="1476375" y="9525"/>
                </a:lnTo>
                <a:lnTo>
                  <a:pt x="1528762" y="23812"/>
                </a:lnTo>
                <a:lnTo>
                  <a:pt x="1628775" y="23812"/>
                </a:lnTo>
                <a:lnTo>
                  <a:pt x="1804987" y="42862"/>
                </a:lnTo>
                <a:lnTo>
                  <a:pt x="1914525" y="33337"/>
                </a:lnTo>
                <a:lnTo>
                  <a:pt x="1962150" y="47625"/>
                </a:lnTo>
                <a:lnTo>
                  <a:pt x="2000250" y="57150"/>
                </a:lnTo>
                <a:lnTo>
                  <a:pt x="2057400" y="95250"/>
                </a:lnTo>
                <a:lnTo>
                  <a:pt x="2114550" y="166687"/>
                </a:lnTo>
                <a:lnTo>
                  <a:pt x="2209800" y="152400"/>
                </a:lnTo>
                <a:lnTo>
                  <a:pt x="2233612" y="152400"/>
                </a:lnTo>
                <a:lnTo>
                  <a:pt x="2386012" y="223837"/>
                </a:lnTo>
                <a:lnTo>
                  <a:pt x="2495550" y="233362"/>
                </a:lnTo>
                <a:lnTo>
                  <a:pt x="2581275" y="238125"/>
                </a:lnTo>
                <a:lnTo>
                  <a:pt x="2690812" y="223837"/>
                </a:lnTo>
                <a:lnTo>
                  <a:pt x="2781300" y="252412"/>
                </a:lnTo>
                <a:lnTo>
                  <a:pt x="2971800" y="290512"/>
                </a:lnTo>
                <a:lnTo>
                  <a:pt x="3052762" y="309562"/>
                </a:lnTo>
                <a:lnTo>
                  <a:pt x="3081337" y="319087"/>
                </a:lnTo>
                <a:lnTo>
                  <a:pt x="3205162" y="328612"/>
                </a:lnTo>
                <a:lnTo>
                  <a:pt x="3286125" y="352425"/>
                </a:lnTo>
                <a:lnTo>
                  <a:pt x="3333750" y="338137"/>
                </a:lnTo>
                <a:lnTo>
                  <a:pt x="3419475" y="319087"/>
                </a:lnTo>
                <a:lnTo>
                  <a:pt x="3519487" y="338137"/>
                </a:lnTo>
                <a:lnTo>
                  <a:pt x="3614737" y="395287"/>
                </a:lnTo>
              </a:path>
            </a:pathLst>
          </a:custGeom>
          <a:noFill/>
          <a:ln w="28575"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242" name="Freeform: Shape 241">
            <a:extLst>
              <a:ext uri="{FF2B5EF4-FFF2-40B4-BE49-F238E27FC236}">
                <a16:creationId xmlns:a16="http://schemas.microsoft.com/office/drawing/2014/main" id="{AFB02B23-A120-45B3-A4F5-21000C9130C8}"/>
              </a:ext>
            </a:extLst>
          </p:cNvPr>
          <p:cNvSpPr/>
          <p:nvPr/>
        </p:nvSpPr>
        <p:spPr bwMode="gray">
          <a:xfrm>
            <a:off x="8701368" y="5205477"/>
            <a:ext cx="271784" cy="413247"/>
          </a:xfrm>
          <a:custGeom>
            <a:avLst/>
            <a:gdLst>
              <a:gd name="connsiteX0" fmla="*/ 0 w 242888"/>
              <a:gd name="connsiteY0" fmla="*/ 0 h 409575"/>
              <a:gd name="connsiteX1" fmla="*/ 38100 w 242888"/>
              <a:gd name="connsiteY1" fmla="*/ 38100 h 409575"/>
              <a:gd name="connsiteX2" fmla="*/ 104775 w 242888"/>
              <a:gd name="connsiteY2" fmla="*/ 128588 h 409575"/>
              <a:gd name="connsiteX3" fmla="*/ 114300 w 242888"/>
              <a:gd name="connsiteY3" fmla="*/ 200025 h 409575"/>
              <a:gd name="connsiteX4" fmla="*/ 204788 w 242888"/>
              <a:gd name="connsiteY4" fmla="*/ 242888 h 409575"/>
              <a:gd name="connsiteX5" fmla="*/ 228600 w 242888"/>
              <a:gd name="connsiteY5" fmla="*/ 285750 h 409575"/>
              <a:gd name="connsiteX6" fmla="*/ 242888 w 242888"/>
              <a:gd name="connsiteY6" fmla="*/ 366713 h 409575"/>
              <a:gd name="connsiteX7" fmla="*/ 242888 w 242888"/>
              <a:gd name="connsiteY7" fmla="*/ 409575 h 409575"/>
              <a:gd name="connsiteX0" fmla="*/ 0 w 233124"/>
              <a:gd name="connsiteY0" fmla="*/ 0 h 375911"/>
              <a:gd name="connsiteX1" fmla="*/ 28336 w 233124"/>
              <a:gd name="connsiteY1" fmla="*/ 4436 h 375911"/>
              <a:gd name="connsiteX2" fmla="*/ 95011 w 233124"/>
              <a:gd name="connsiteY2" fmla="*/ 94924 h 375911"/>
              <a:gd name="connsiteX3" fmla="*/ 104536 w 233124"/>
              <a:gd name="connsiteY3" fmla="*/ 166361 h 375911"/>
              <a:gd name="connsiteX4" fmla="*/ 195024 w 233124"/>
              <a:gd name="connsiteY4" fmla="*/ 209224 h 375911"/>
              <a:gd name="connsiteX5" fmla="*/ 218836 w 233124"/>
              <a:gd name="connsiteY5" fmla="*/ 252086 h 375911"/>
              <a:gd name="connsiteX6" fmla="*/ 233124 w 233124"/>
              <a:gd name="connsiteY6" fmla="*/ 333049 h 375911"/>
              <a:gd name="connsiteX7" fmla="*/ 233124 w 233124"/>
              <a:gd name="connsiteY7" fmla="*/ 375911 h 375911"/>
              <a:gd name="connsiteX0" fmla="*/ 0 w 233124"/>
              <a:gd name="connsiteY0" fmla="*/ 0 h 375911"/>
              <a:gd name="connsiteX1" fmla="*/ 28336 w 233124"/>
              <a:gd name="connsiteY1" fmla="*/ 4436 h 375911"/>
              <a:gd name="connsiteX2" fmla="*/ 95011 w 233124"/>
              <a:gd name="connsiteY2" fmla="*/ 94924 h 375911"/>
              <a:gd name="connsiteX3" fmla="*/ 104536 w 233124"/>
              <a:gd name="connsiteY3" fmla="*/ 166361 h 375911"/>
              <a:gd name="connsiteX4" fmla="*/ 195024 w 233124"/>
              <a:gd name="connsiteY4" fmla="*/ 209224 h 375911"/>
              <a:gd name="connsiteX5" fmla="*/ 222941 w 233124"/>
              <a:gd name="connsiteY5" fmla="*/ 300348 h 375911"/>
              <a:gd name="connsiteX6" fmla="*/ 233124 w 233124"/>
              <a:gd name="connsiteY6" fmla="*/ 333049 h 375911"/>
              <a:gd name="connsiteX7" fmla="*/ 233124 w 233124"/>
              <a:gd name="connsiteY7" fmla="*/ 375911 h 375911"/>
              <a:gd name="connsiteX0" fmla="*/ 0 w 233124"/>
              <a:gd name="connsiteY0" fmla="*/ 0 h 375911"/>
              <a:gd name="connsiteX1" fmla="*/ 28336 w 233124"/>
              <a:gd name="connsiteY1" fmla="*/ 4436 h 375911"/>
              <a:gd name="connsiteX2" fmla="*/ 95011 w 233124"/>
              <a:gd name="connsiteY2" fmla="*/ 94924 h 375911"/>
              <a:gd name="connsiteX3" fmla="*/ 104536 w 233124"/>
              <a:gd name="connsiteY3" fmla="*/ 166361 h 375911"/>
              <a:gd name="connsiteX4" fmla="*/ 149880 w 233124"/>
              <a:gd name="connsiteY4" fmla="*/ 218417 h 375911"/>
              <a:gd name="connsiteX5" fmla="*/ 222941 w 233124"/>
              <a:gd name="connsiteY5" fmla="*/ 300348 h 375911"/>
              <a:gd name="connsiteX6" fmla="*/ 233124 w 233124"/>
              <a:gd name="connsiteY6" fmla="*/ 333049 h 375911"/>
              <a:gd name="connsiteX7" fmla="*/ 233124 w 233124"/>
              <a:gd name="connsiteY7" fmla="*/ 375911 h 375911"/>
              <a:gd name="connsiteX0" fmla="*/ 0 w 233124"/>
              <a:gd name="connsiteY0" fmla="*/ 0 h 375911"/>
              <a:gd name="connsiteX1" fmla="*/ 28336 w 233124"/>
              <a:gd name="connsiteY1" fmla="*/ 4436 h 375911"/>
              <a:gd name="connsiteX2" fmla="*/ 95011 w 233124"/>
              <a:gd name="connsiteY2" fmla="*/ 94924 h 375911"/>
              <a:gd name="connsiteX3" fmla="*/ 118900 w 233124"/>
              <a:gd name="connsiteY3" fmla="*/ 168659 h 375911"/>
              <a:gd name="connsiteX4" fmla="*/ 149880 w 233124"/>
              <a:gd name="connsiteY4" fmla="*/ 218417 h 375911"/>
              <a:gd name="connsiteX5" fmla="*/ 222941 w 233124"/>
              <a:gd name="connsiteY5" fmla="*/ 300348 h 375911"/>
              <a:gd name="connsiteX6" fmla="*/ 233124 w 233124"/>
              <a:gd name="connsiteY6" fmla="*/ 333049 h 375911"/>
              <a:gd name="connsiteX7" fmla="*/ 233124 w 233124"/>
              <a:gd name="connsiteY7" fmla="*/ 375911 h 375911"/>
              <a:gd name="connsiteX0" fmla="*/ 0 w 233124"/>
              <a:gd name="connsiteY0" fmla="*/ 0 h 375911"/>
              <a:gd name="connsiteX1" fmla="*/ 28336 w 233124"/>
              <a:gd name="connsiteY1" fmla="*/ 4436 h 375911"/>
              <a:gd name="connsiteX2" fmla="*/ 95011 w 233124"/>
              <a:gd name="connsiteY2" fmla="*/ 94924 h 375911"/>
              <a:gd name="connsiteX3" fmla="*/ 118900 w 233124"/>
              <a:gd name="connsiteY3" fmla="*/ 168659 h 375911"/>
              <a:gd name="connsiteX4" fmla="*/ 149880 w 233124"/>
              <a:gd name="connsiteY4" fmla="*/ 218417 h 375911"/>
              <a:gd name="connsiteX5" fmla="*/ 222941 w 233124"/>
              <a:gd name="connsiteY5" fmla="*/ 300348 h 375911"/>
              <a:gd name="connsiteX6" fmla="*/ 233124 w 233124"/>
              <a:gd name="connsiteY6" fmla="*/ 333049 h 375911"/>
              <a:gd name="connsiteX7" fmla="*/ 233124 w 233124"/>
              <a:gd name="connsiteY7" fmla="*/ 375911 h 375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124" h="375911">
                <a:moveTo>
                  <a:pt x="0" y="0"/>
                </a:moveTo>
                <a:lnTo>
                  <a:pt x="28336" y="4436"/>
                </a:lnTo>
                <a:lnTo>
                  <a:pt x="95011" y="94924"/>
                </a:lnTo>
                <a:lnTo>
                  <a:pt x="118900" y="168659"/>
                </a:lnTo>
                <a:lnTo>
                  <a:pt x="149880" y="218417"/>
                </a:lnTo>
                <a:lnTo>
                  <a:pt x="222941" y="300348"/>
                </a:lnTo>
                <a:lnTo>
                  <a:pt x="233124" y="333049"/>
                </a:lnTo>
                <a:lnTo>
                  <a:pt x="233124" y="375911"/>
                </a:lnTo>
              </a:path>
            </a:pathLst>
          </a:custGeom>
          <a:noFill/>
          <a:ln w="28575" cap="sq">
            <a:solidFill>
              <a:srgbClr val="FF99F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grpSp>
        <p:nvGrpSpPr>
          <p:cNvPr id="280" name="Group 279">
            <a:extLst>
              <a:ext uri="{FF2B5EF4-FFF2-40B4-BE49-F238E27FC236}">
                <a16:creationId xmlns:a16="http://schemas.microsoft.com/office/drawing/2014/main" id="{89DC2D44-0248-447B-9F97-1B2DC3F49E6A}"/>
              </a:ext>
            </a:extLst>
          </p:cNvPr>
          <p:cNvGrpSpPr/>
          <p:nvPr/>
        </p:nvGrpSpPr>
        <p:grpSpPr bwMode="gray">
          <a:xfrm>
            <a:off x="6112119" y="3097702"/>
            <a:ext cx="503191" cy="232814"/>
            <a:chOff x="5403855" y="3196143"/>
            <a:chExt cx="500855" cy="219431"/>
          </a:xfrm>
        </p:grpSpPr>
        <p:sp>
          <p:nvSpPr>
            <p:cNvPr id="278" name="Oval 25">
              <a:extLst>
                <a:ext uri="{FF2B5EF4-FFF2-40B4-BE49-F238E27FC236}">
                  <a16:creationId xmlns:a16="http://schemas.microsoft.com/office/drawing/2014/main" id="{75C0B97F-711A-4DFD-AD8C-BB0798CDCA7F}"/>
                </a:ext>
              </a:extLst>
            </p:cNvPr>
            <p:cNvSpPr>
              <a:spLocks noChangeArrowheads="1"/>
            </p:cNvSpPr>
            <p:nvPr/>
          </p:nvSpPr>
          <p:spPr bwMode="gray">
            <a:xfrm>
              <a:off x="5727962" y="3268710"/>
              <a:ext cx="122461" cy="127534"/>
            </a:xfrm>
            <a:prstGeom prst="triangle">
              <a:avLst/>
            </a:prstGeom>
            <a:solidFill>
              <a:srgbClr val="6BBA20"/>
            </a:solid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279" name="Oval 25">
              <a:extLst>
                <a:ext uri="{FF2B5EF4-FFF2-40B4-BE49-F238E27FC236}">
                  <a16:creationId xmlns:a16="http://schemas.microsoft.com/office/drawing/2014/main" id="{D2A17A25-28F8-4140-AA5D-E9CA86EB5B1C}"/>
                </a:ext>
              </a:extLst>
            </p:cNvPr>
            <p:cNvSpPr>
              <a:spLocks noChangeArrowheads="1"/>
            </p:cNvSpPr>
            <p:nvPr/>
          </p:nvSpPr>
          <p:spPr bwMode="gray">
            <a:xfrm>
              <a:off x="5403855" y="3288040"/>
              <a:ext cx="122461" cy="127534"/>
            </a:xfrm>
            <a:prstGeom prst="triangle">
              <a:avLst/>
            </a:prstGeom>
            <a:solidFill>
              <a:srgbClr val="6BBA20"/>
            </a:solid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281" name="Oval 25">
              <a:extLst>
                <a:ext uri="{FF2B5EF4-FFF2-40B4-BE49-F238E27FC236}">
                  <a16:creationId xmlns:a16="http://schemas.microsoft.com/office/drawing/2014/main" id="{67C6B84F-3288-4339-94BA-4D683B26D1D9}"/>
                </a:ext>
              </a:extLst>
            </p:cNvPr>
            <p:cNvSpPr>
              <a:spLocks noChangeArrowheads="1"/>
            </p:cNvSpPr>
            <p:nvPr/>
          </p:nvSpPr>
          <p:spPr bwMode="gray">
            <a:xfrm>
              <a:off x="5427263" y="3196143"/>
              <a:ext cx="122461" cy="127534"/>
            </a:xfrm>
            <a:prstGeom prst="triangle">
              <a:avLst/>
            </a:prstGeom>
            <a:solidFill>
              <a:srgbClr val="6BBA20"/>
            </a:solid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282" name="Oval 25">
              <a:extLst>
                <a:ext uri="{FF2B5EF4-FFF2-40B4-BE49-F238E27FC236}">
                  <a16:creationId xmlns:a16="http://schemas.microsoft.com/office/drawing/2014/main" id="{3BF659BD-3E17-45A2-A416-A453E9C3BB44}"/>
                </a:ext>
              </a:extLst>
            </p:cNvPr>
            <p:cNvSpPr>
              <a:spLocks noChangeArrowheads="1"/>
            </p:cNvSpPr>
            <p:nvPr/>
          </p:nvSpPr>
          <p:spPr bwMode="gray">
            <a:xfrm>
              <a:off x="5782249" y="3212791"/>
              <a:ext cx="122461" cy="127534"/>
            </a:xfrm>
            <a:prstGeom prst="triangle">
              <a:avLst/>
            </a:prstGeom>
            <a:solidFill>
              <a:srgbClr val="6BBA20"/>
            </a:solid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grpSp>
      <p:grpSp>
        <p:nvGrpSpPr>
          <p:cNvPr id="41" name="Group 40">
            <a:extLst>
              <a:ext uri="{FF2B5EF4-FFF2-40B4-BE49-F238E27FC236}">
                <a16:creationId xmlns:a16="http://schemas.microsoft.com/office/drawing/2014/main" id="{F27F469F-21F2-475C-81B8-27B34A4619B0}"/>
              </a:ext>
            </a:extLst>
          </p:cNvPr>
          <p:cNvGrpSpPr/>
          <p:nvPr/>
        </p:nvGrpSpPr>
        <p:grpSpPr bwMode="gray">
          <a:xfrm>
            <a:off x="5603879" y="2057638"/>
            <a:ext cx="5081078" cy="3843040"/>
            <a:chOff x="4897973" y="2241937"/>
            <a:chExt cx="5057504" cy="3622129"/>
          </a:xfrm>
        </p:grpSpPr>
        <p:grpSp>
          <p:nvGrpSpPr>
            <p:cNvPr id="341" name="Group 340">
              <a:extLst>
                <a:ext uri="{FF2B5EF4-FFF2-40B4-BE49-F238E27FC236}">
                  <a16:creationId xmlns:a16="http://schemas.microsoft.com/office/drawing/2014/main" id="{79F9EABB-477B-462F-94C5-B692897AAD48}"/>
                </a:ext>
              </a:extLst>
            </p:cNvPr>
            <p:cNvGrpSpPr/>
            <p:nvPr/>
          </p:nvGrpSpPr>
          <p:grpSpPr bwMode="gray">
            <a:xfrm>
              <a:off x="5806474" y="5695850"/>
              <a:ext cx="167822" cy="168216"/>
              <a:chOff x="-3166629" y="2914650"/>
              <a:chExt cx="3788929" cy="3797839"/>
            </a:xfrm>
            <a:solidFill>
              <a:schemeClr val="tx1">
                <a:lumMod val="65000"/>
                <a:lumOff val="35000"/>
              </a:schemeClr>
            </a:solidFill>
          </p:grpSpPr>
          <p:sp>
            <p:nvSpPr>
              <p:cNvPr id="362" name="Oval 68">
                <a:extLst>
                  <a:ext uri="{FF2B5EF4-FFF2-40B4-BE49-F238E27FC236}">
                    <a16:creationId xmlns:a16="http://schemas.microsoft.com/office/drawing/2014/main" id="{F30D2C17-6595-443B-8977-EA5745BAE0B2}"/>
                  </a:ext>
                </a:extLst>
              </p:cNvPr>
              <p:cNvSpPr/>
              <p:nvPr/>
            </p:nvSpPr>
            <p:spPr bwMode="gray">
              <a:xfrm>
                <a:off x="-2676410" y="3416300"/>
                <a:ext cx="2805970" cy="2805970"/>
              </a:xfrm>
              <a:custGeom>
                <a:avLst/>
                <a:gdLst/>
                <a:ahLst/>
                <a:cxnLst/>
                <a:rect l="l" t="t" r="r" b="b"/>
                <a:pathLst>
                  <a:path w="2805970" h="2805970">
                    <a:moveTo>
                      <a:pt x="1402985" y="0"/>
                    </a:moveTo>
                    <a:cubicBezTo>
                      <a:pt x="1729064" y="0"/>
                      <a:pt x="2029161" y="111242"/>
                      <a:pt x="2266617" y="298840"/>
                    </a:cubicBezTo>
                    <a:lnTo>
                      <a:pt x="1990373" y="572059"/>
                    </a:lnTo>
                    <a:cubicBezTo>
                      <a:pt x="1824790" y="453775"/>
                      <a:pt x="1621959" y="384660"/>
                      <a:pt x="1402985" y="384660"/>
                    </a:cubicBezTo>
                    <a:cubicBezTo>
                      <a:pt x="840580" y="384660"/>
                      <a:pt x="384660" y="840580"/>
                      <a:pt x="384660" y="1402985"/>
                    </a:cubicBezTo>
                    <a:cubicBezTo>
                      <a:pt x="384660" y="1965390"/>
                      <a:pt x="840580" y="2421310"/>
                      <a:pt x="1402985" y="2421310"/>
                    </a:cubicBezTo>
                    <a:cubicBezTo>
                      <a:pt x="1965390" y="2421310"/>
                      <a:pt x="2421310" y="1965390"/>
                      <a:pt x="2421310" y="1402985"/>
                    </a:cubicBezTo>
                    <a:cubicBezTo>
                      <a:pt x="2421310" y="1184409"/>
                      <a:pt x="2352446" y="981918"/>
                      <a:pt x="2234575" y="816485"/>
                    </a:cubicBezTo>
                    <a:lnTo>
                      <a:pt x="2509088" y="541972"/>
                    </a:lnTo>
                    <a:cubicBezTo>
                      <a:pt x="2695529" y="778973"/>
                      <a:pt x="2805970" y="1078082"/>
                      <a:pt x="2805970" y="1402985"/>
                    </a:cubicBezTo>
                    <a:cubicBezTo>
                      <a:pt x="2805970" y="2177832"/>
                      <a:pt x="2177832" y="2805970"/>
                      <a:pt x="1402985" y="2805970"/>
                    </a:cubicBezTo>
                    <a:cubicBezTo>
                      <a:pt x="628138" y="2805970"/>
                      <a:pt x="0" y="2177832"/>
                      <a:pt x="0" y="1402985"/>
                    </a:cubicBezTo>
                    <a:cubicBezTo>
                      <a:pt x="0" y="628138"/>
                      <a:pt x="628138" y="0"/>
                      <a:pt x="1402985" y="0"/>
                    </a:cubicBezTo>
                    <a:close/>
                  </a:path>
                </a:pathLst>
              </a:custGeom>
              <a:solidFill>
                <a:srgbClr val="FF3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363" name="Oval 70">
                <a:extLst>
                  <a:ext uri="{FF2B5EF4-FFF2-40B4-BE49-F238E27FC236}">
                    <a16:creationId xmlns:a16="http://schemas.microsoft.com/office/drawing/2014/main" id="{83D77CD5-0558-4A49-9723-3F9927083EF6}"/>
                  </a:ext>
                </a:extLst>
              </p:cNvPr>
              <p:cNvSpPr/>
              <p:nvPr/>
            </p:nvSpPr>
            <p:spPr bwMode="gray">
              <a:xfrm>
                <a:off x="-1946160" y="4146550"/>
                <a:ext cx="1345470" cy="1345470"/>
              </a:xfrm>
              <a:custGeom>
                <a:avLst/>
                <a:gdLst/>
                <a:ahLst/>
                <a:cxnLst/>
                <a:rect l="l" t="t" r="r" b="b"/>
                <a:pathLst>
                  <a:path w="1345470" h="1345470">
                    <a:moveTo>
                      <a:pt x="672735" y="0"/>
                    </a:moveTo>
                    <a:cubicBezTo>
                      <a:pt x="795004" y="0"/>
                      <a:pt x="909654" y="32619"/>
                      <a:pt x="1006995" y="92165"/>
                    </a:cubicBezTo>
                    <a:lnTo>
                      <a:pt x="737771" y="358442"/>
                    </a:lnTo>
                    <a:cubicBezTo>
                      <a:pt x="716774" y="354082"/>
                      <a:pt x="695020" y="351810"/>
                      <a:pt x="672735" y="351810"/>
                    </a:cubicBezTo>
                    <a:cubicBezTo>
                      <a:pt x="495493" y="351810"/>
                      <a:pt x="351810" y="495493"/>
                      <a:pt x="351810" y="672735"/>
                    </a:cubicBezTo>
                    <a:cubicBezTo>
                      <a:pt x="351810" y="849977"/>
                      <a:pt x="495493" y="993660"/>
                      <a:pt x="672735" y="993660"/>
                    </a:cubicBezTo>
                    <a:cubicBezTo>
                      <a:pt x="849977" y="993660"/>
                      <a:pt x="993660" y="849977"/>
                      <a:pt x="993660" y="672735"/>
                    </a:cubicBezTo>
                    <a:cubicBezTo>
                      <a:pt x="993660" y="649301"/>
                      <a:pt x="991148" y="626452"/>
                      <a:pt x="986041" y="604519"/>
                    </a:cubicBezTo>
                    <a:lnTo>
                      <a:pt x="1252876" y="337685"/>
                    </a:lnTo>
                    <a:cubicBezTo>
                      <a:pt x="1312679" y="435211"/>
                      <a:pt x="1345470" y="550144"/>
                      <a:pt x="1345470" y="672735"/>
                    </a:cubicBezTo>
                    <a:cubicBezTo>
                      <a:pt x="1345470" y="1044276"/>
                      <a:pt x="1044276" y="1345470"/>
                      <a:pt x="672735" y="1345470"/>
                    </a:cubicBezTo>
                    <a:cubicBezTo>
                      <a:pt x="301194" y="1345470"/>
                      <a:pt x="0" y="1044276"/>
                      <a:pt x="0" y="672735"/>
                    </a:cubicBezTo>
                    <a:cubicBezTo>
                      <a:pt x="0" y="301194"/>
                      <a:pt x="301194" y="0"/>
                      <a:pt x="672735" y="0"/>
                    </a:cubicBezTo>
                    <a:close/>
                  </a:path>
                </a:pathLst>
              </a:custGeom>
              <a:solidFill>
                <a:srgbClr val="FF3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364" name="Freeform 173">
                <a:extLst>
                  <a:ext uri="{FF2B5EF4-FFF2-40B4-BE49-F238E27FC236}">
                    <a16:creationId xmlns:a16="http://schemas.microsoft.com/office/drawing/2014/main" id="{41A2541E-FF23-4382-8905-5999C883617D}"/>
                  </a:ext>
                </a:extLst>
              </p:cNvPr>
              <p:cNvSpPr/>
              <p:nvPr/>
            </p:nvSpPr>
            <p:spPr bwMode="gray">
              <a:xfrm>
                <a:off x="-3166629" y="2914650"/>
                <a:ext cx="3788929" cy="3797839"/>
              </a:xfrm>
              <a:custGeom>
                <a:avLst/>
                <a:gdLst/>
                <a:ahLst/>
                <a:cxnLst/>
                <a:rect l="l" t="t" r="r" b="b"/>
                <a:pathLst>
                  <a:path w="3788929" h="3797839">
                    <a:moveTo>
                      <a:pt x="1893204" y="139700"/>
                    </a:moveTo>
                    <a:cubicBezTo>
                      <a:pt x="918457" y="139700"/>
                      <a:pt x="128269" y="929888"/>
                      <a:pt x="128269" y="1904635"/>
                    </a:cubicBezTo>
                    <a:cubicBezTo>
                      <a:pt x="128269" y="2879382"/>
                      <a:pt x="918457" y="3669570"/>
                      <a:pt x="1893204" y="3669570"/>
                    </a:cubicBezTo>
                    <a:cubicBezTo>
                      <a:pt x="2867951" y="3669570"/>
                      <a:pt x="3658139" y="2879382"/>
                      <a:pt x="3658139" y="1904635"/>
                    </a:cubicBezTo>
                    <a:cubicBezTo>
                      <a:pt x="3658139" y="1479682"/>
                      <a:pt x="3507953" y="1089806"/>
                      <a:pt x="3257614" y="785315"/>
                    </a:cubicBezTo>
                    <a:lnTo>
                      <a:pt x="3265256" y="777673"/>
                    </a:lnTo>
                    <a:cubicBezTo>
                      <a:pt x="3230347" y="788290"/>
                      <a:pt x="3193216" y="797789"/>
                      <a:pt x="3153929" y="806450"/>
                    </a:cubicBezTo>
                    <a:lnTo>
                      <a:pt x="3103129" y="768350"/>
                    </a:lnTo>
                    <a:lnTo>
                      <a:pt x="1941079" y="1949450"/>
                    </a:lnTo>
                    <a:lnTo>
                      <a:pt x="1839479" y="1847850"/>
                    </a:lnTo>
                    <a:lnTo>
                      <a:pt x="3033279" y="679450"/>
                    </a:lnTo>
                    <a:lnTo>
                      <a:pt x="2982479" y="628650"/>
                    </a:lnTo>
                    <a:cubicBezTo>
                      <a:pt x="2988674" y="596200"/>
                      <a:pt x="2995883" y="564896"/>
                      <a:pt x="3005965" y="535341"/>
                    </a:cubicBezTo>
                    <a:cubicBezTo>
                      <a:pt x="2702644" y="287818"/>
                      <a:pt x="2315221" y="139700"/>
                      <a:pt x="1893204" y="139700"/>
                    </a:cubicBezTo>
                    <a:close/>
                    <a:moveTo>
                      <a:pt x="3693679" y="0"/>
                    </a:moveTo>
                    <a:lnTo>
                      <a:pt x="3788929" y="82550"/>
                    </a:lnTo>
                    <a:lnTo>
                      <a:pt x="3623829" y="266700"/>
                    </a:lnTo>
                    <a:lnTo>
                      <a:pt x="3712729" y="342900"/>
                    </a:lnTo>
                    <a:cubicBezTo>
                      <a:pt x="3797590" y="418063"/>
                      <a:pt x="3712231" y="610562"/>
                      <a:pt x="3382105" y="738150"/>
                    </a:cubicBezTo>
                    <a:cubicBezTo>
                      <a:pt x="3635926" y="1058665"/>
                      <a:pt x="3786408" y="1464077"/>
                      <a:pt x="3786408" y="1904635"/>
                    </a:cubicBezTo>
                    <a:cubicBezTo>
                      <a:pt x="3786408" y="2950223"/>
                      <a:pt x="2938792" y="3797839"/>
                      <a:pt x="1893204" y="3797839"/>
                    </a:cubicBezTo>
                    <a:cubicBezTo>
                      <a:pt x="847616" y="3797839"/>
                      <a:pt x="0" y="2950223"/>
                      <a:pt x="0" y="1904635"/>
                    </a:cubicBezTo>
                    <a:cubicBezTo>
                      <a:pt x="0" y="859047"/>
                      <a:pt x="847616" y="11431"/>
                      <a:pt x="1893204" y="11431"/>
                    </a:cubicBezTo>
                    <a:cubicBezTo>
                      <a:pt x="2328659" y="11431"/>
                      <a:pt x="2729777" y="158447"/>
                      <a:pt x="3048253" y="407298"/>
                    </a:cubicBezTo>
                    <a:cubicBezTo>
                      <a:pt x="3152991" y="138341"/>
                      <a:pt x="3329949" y="6978"/>
                      <a:pt x="3433329" y="82550"/>
                    </a:cubicBezTo>
                    <a:lnTo>
                      <a:pt x="3534929" y="165100"/>
                    </a:lnTo>
                    <a:close/>
                  </a:path>
                </a:pathLst>
              </a:cu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grpSp>
        <p:grpSp>
          <p:nvGrpSpPr>
            <p:cNvPr id="342" name="Group 341">
              <a:extLst>
                <a:ext uri="{FF2B5EF4-FFF2-40B4-BE49-F238E27FC236}">
                  <a16:creationId xmlns:a16="http://schemas.microsoft.com/office/drawing/2014/main" id="{1C09E5B1-3664-4F1F-BEBB-0BA2F940FC3B}"/>
                </a:ext>
              </a:extLst>
            </p:cNvPr>
            <p:cNvGrpSpPr/>
            <p:nvPr/>
          </p:nvGrpSpPr>
          <p:grpSpPr bwMode="gray">
            <a:xfrm>
              <a:off x="8161612" y="5450182"/>
              <a:ext cx="167822" cy="168216"/>
              <a:chOff x="-3166626" y="2914636"/>
              <a:chExt cx="3788928" cy="3797834"/>
            </a:xfrm>
            <a:solidFill>
              <a:schemeClr val="tx1">
                <a:lumMod val="65000"/>
                <a:lumOff val="35000"/>
              </a:schemeClr>
            </a:solidFill>
          </p:grpSpPr>
          <p:sp>
            <p:nvSpPr>
              <p:cNvPr id="359" name="Oval 68">
                <a:extLst>
                  <a:ext uri="{FF2B5EF4-FFF2-40B4-BE49-F238E27FC236}">
                    <a16:creationId xmlns:a16="http://schemas.microsoft.com/office/drawing/2014/main" id="{811B8951-DF66-4C09-8A0F-CAA7079F9F31}"/>
                  </a:ext>
                </a:extLst>
              </p:cNvPr>
              <p:cNvSpPr/>
              <p:nvPr/>
            </p:nvSpPr>
            <p:spPr bwMode="gray">
              <a:xfrm>
                <a:off x="-2676410" y="3416300"/>
                <a:ext cx="2805970" cy="2805970"/>
              </a:xfrm>
              <a:custGeom>
                <a:avLst/>
                <a:gdLst/>
                <a:ahLst/>
                <a:cxnLst/>
                <a:rect l="l" t="t" r="r" b="b"/>
                <a:pathLst>
                  <a:path w="2805970" h="2805970">
                    <a:moveTo>
                      <a:pt x="1402985" y="0"/>
                    </a:moveTo>
                    <a:cubicBezTo>
                      <a:pt x="1729064" y="0"/>
                      <a:pt x="2029161" y="111242"/>
                      <a:pt x="2266617" y="298840"/>
                    </a:cubicBezTo>
                    <a:lnTo>
                      <a:pt x="1990373" y="572059"/>
                    </a:lnTo>
                    <a:cubicBezTo>
                      <a:pt x="1824790" y="453775"/>
                      <a:pt x="1621959" y="384660"/>
                      <a:pt x="1402985" y="384660"/>
                    </a:cubicBezTo>
                    <a:cubicBezTo>
                      <a:pt x="840580" y="384660"/>
                      <a:pt x="384660" y="840580"/>
                      <a:pt x="384660" y="1402985"/>
                    </a:cubicBezTo>
                    <a:cubicBezTo>
                      <a:pt x="384660" y="1965390"/>
                      <a:pt x="840580" y="2421310"/>
                      <a:pt x="1402985" y="2421310"/>
                    </a:cubicBezTo>
                    <a:cubicBezTo>
                      <a:pt x="1965390" y="2421310"/>
                      <a:pt x="2421310" y="1965390"/>
                      <a:pt x="2421310" y="1402985"/>
                    </a:cubicBezTo>
                    <a:cubicBezTo>
                      <a:pt x="2421310" y="1184409"/>
                      <a:pt x="2352446" y="981918"/>
                      <a:pt x="2234575" y="816485"/>
                    </a:cubicBezTo>
                    <a:lnTo>
                      <a:pt x="2509088" y="541972"/>
                    </a:lnTo>
                    <a:cubicBezTo>
                      <a:pt x="2695529" y="778973"/>
                      <a:pt x="2805970" y="1078082"/>
                      <a:pt x="2805970" y="1402985"/>
                    </a:cubicBezTo>
                    <a:cubicBezTo>
                      <a:pt x="2805970" y="2177832"/>
                      <a:pt x="2177832" y="2805970"/>
                      <a:pt x="1402985" y="2805970"/>
                    </a:cubicBezTo>
                    <a:cubicBezTo>
                      <a:pt x="628138" y="2805970"/>
                      <a:pt x="0" y="2177832"/>
                      <a:pt x="0" y="1402985"/>
                    </a:cubicBezTo>
                    <a:cubicBezTo>
                      <a:pt x="0" y="628138"/>
                      <a:pt x="628138" y="0"/>
                      <a:pt x="1402985" y="0"/>
                    </a:cubicBezTo>
                    <a:close/>
                  </a:path>
                </a:pathLst>
              </a:custGeom>
              <a:solidFill>
                <a:srgbClr val="FF3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360" name="Oval 70">
                <a:extLst>
                  <a:ext uri="{FF2B5EF4-FFF2-40B4-BE49-F238E27FC236}">
                    <a16:creationId xmlns:a16="http://schemas.microsoft.com/office/drawing/2014/main" id="{4C73A101-6423-4EC9-9D63-35AF5C49998D}"/>
                  </a:ext>
                </a:extLst>
              </p:cNvPr>
              <p:cNvSpPr/>
              <p:nvPr/>
            </p:nvSpPr>
            <p:spPr bwMode="gray">
              <a:xfrm>
                <a:off x="-1946160" y="4146550"/>
                <a:ext cx="1345470" cy="1345470"/>
              </a:xfrm>
              <a:custGeom>
                <a:avLst/>
                <a:gdLst/>
                <a:ahLst/>
                <a:cxnLst/>
                <a:rect l="l" t="t" r="r" b="b"/>
                <a:pathLst>
                  <a:path w="1345470" h="1345470">
                    <a:moveTo>
                      <a:pt x="672735" y="0"/>
                    </a:moveTo>
                    <a:cubicBezTo>
                      <a:pt x="795004" y="0"/>
                      <a:pt x="909654" y="32619"/>
                      <a:pt x="1006995" y="92165"/>
                    </a:cubicBezTo>
                    <a:lnTo>
                      <a:pt x="737771" y="358442"/>
                    </a:lnTo>
                    <a:cubicBezTo>
                      <a:pt x="716774" y="354082"/>
                      <a:pt x="695020" y="351810"/>
                      <a:pt x="672735" y="351810"/>
                    </a:cubicBezTo>
                    <a:cubicBezTo>
                      <a:pt x="495493" y="351810"/>
                      <a:pt x="351810" y="495493"/>
                      <a:pt x="351810" y="672735"/>
                    </a:cubicBezTo>
                    <a:cubicBezTo>
                      <a:pt x="351810" y="849977"/>
                      <a:pt x="495493" y="993660"/>
                      <a:pt x="672735" y="993660"/>
                    </a:cubicBezTo>
                    <a:cubicBezTo>
                      <a:pt x="849977" y="993660"/>
                      <a:pt x="993660" y="849977"/>
                      <a:pt x="993660" y="672735"/>
                    </a:cubicBezTo>
                    <a:cubicBezTo>
                      <a:pt x="993660" y="649301"/>
                      <a:pt x="991148" y="626452"/>
                      <a:pt x="986041" y="604519"/>
                    </a:cubicBezTo>
                    <a:lnTo>
                      <a:pt x="1252876" y="337685"/>
                    </a:lnTo>
                    <a:cubicBezTo>
                      <a:pt x="1312679" y="435211"/>
                      <a:pt x="1345470" y="550144"/>
                      <a:pt x="1345470" y="672735"/>
                    </a:cubicBezTo>
                    <a:cubicBezTo>
                      <a:pt x="1345470" y="1044276"/>
                      <a:pt x="1044276" y="1345470"/>
                      <a:pt x="672735" y="1345470"/>
                    </a:cubicBezTo>
                    <a:cubicBezTo>
                      <a:pt x="301194" y="1345470"/>
                      <a:pt x="0" y="1044276"/>
                      <a:pt x="0" y="672735"/>
                    </a:cubicBezTo>
                    <a:cubicBezTo>
                      <a:pt x="0" y="301194"/>
                      <a:pt x="301194" y="0"/>
                      <a:pt x="672735" y="0"/>
                    </a:cubicBezTo>
                    <a:close/>
                  </a:path>
                </a:pathLst>
              </a:custGeom>
              <a:solidFill>
                <a:srgbClr val="FF3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361" name="Freeform 173">
                <a:extLst>
                  <a:ext uri="{FF2B5EF4-FFF2-40B4-BE49-F238E27FC236}">
                    <a16:creationId xmlns:a16="http://schemas.microsoft.com/office/drawing/2014/main" id="{CF9D361F-6EEB-47BA-B9E1-ECAFB55061B0}"/>
                  </a:ext>
                </a:extLst>
              </p:cNvPr>
              <p:cNvSpPr/>
              <p:nvPr/>
            </p:nvSpPr>
            <p:spPr bwMode="gray">
              <a:xfrm>
                <a:off x="-3166626" y="2914636"/>
                <a:ext cx="3788928" cy="3797834"/>
              </a:xfrm>
              <a:custGeom>
                <a:avLst/>
                <a:gdLst/>
                <a:ahLst/>
                <a:cxnLst/>
                <a:rect l="l" t="t" r="r" b="b"/>
                <a:pathLst>
                  <a:path w="3788929" h="3797839">
                    <a:moveTo>
                      <a:pt x="1893204" y="139700"/>
                    </a:moveTo>
                    <a:cubicBezTo>
                      <a:pt x="918457" y="139700"/>
                      <a:pt x="128269" y="929888"/>
                      <a:pt x="128269" y="1904635"/>
                    </a:cubicBezTo>
                    <a:cubicBezTo>
                      <a:pt x="128269" y="2879382"/>
                      <a:pt x="918457" y="3669570"/>
                      <a:pt x="1893204" y="3669570"/>
                    </a:cubicBezTo>
                    <a:cubicBezTo>
                      <a:pt x="2867951" y="3669570"/>
                      <a:pt x="3658139" y="2879382"/>
                      <a:pt x="3658139" y="1904635"/>
                    </a:cubicBezTo>
                    <a:cubicBezTo>
                      <a:pt x="3658139" y="1479682"/>
                      <a:pt x="3507953" y="1089806"/>
                      <a:pt x="3257614" y="785315"/>
                    </a:cubicBezTo>
                    <a:lnTo>
                      <a:pt x="3265256" y="777673"/>
                    </a:lnTo>
                    <a:cubicBezTo>
                      <a:pt x="3230347" y="788290"/>
                      <a:pt x="3193216" y="797789"/>
                      <a:pt x="3153929" y="806450"/>
                    </a:cubicBezTo>
                    <a:lnTo>
                      <a:pt x="3103129" y="768350"/>
                    </a:lnTo>
                    <a:lnTo>
                      <a:pt x="1941079" y="1949450"/>
                    </a:lnTo>
                    <a:lnTo>
                      <a:pt x="1839479" y="1847850"/>
                    </a:lnTo>
                    <a:lnTo>
                      <a:pt x="3033279" y="679450"/>
                    </a:lnTo>
                    <a:lnTo>
                      <a:pt x="2982479" y="628650"/>
                    </a:lnTo>
                    <a:cubicBezTo>
                      <a:pt x="2988674" y="596200"/>
                      <a:pt x="2995883" y="564896"/>
                      <a:pt x="3005965" y="535341"/>
                    </a:cubicBezTo>
                    <a:cubicBezTo>
                      <a:pt x="2702644" y="287818"/>
                      <a:pt x="2315221" y="139700"/>
                      <a:pt x="1893204" y="139700"/>
                    </a:cubicBezTo>
                    <a:close/>
                    <a:moveTo>
                      <a:pt x="3693679" y="0"/>
                    </a:moveTo>
                    <a:lnTo>
                      <a:pt x="3788929" y="82550"/>
                    </a:lnTo>
                    <a:lnTo>
                      <a:pt x="3623829" y="266700"/>
                    </a:lnTo>
                    <a:lnTo>
                      <a:pt x="3712729" y="342900"/>
                    </a:lnTo>
                    <a:cubicBezTo>
                      <a:pt x="3797590" y="418063"/>
                      <a:pt x="3712231" y="610562"/>
                      <a:pt x="3382105" y="738150"/>
                    </a:cubicBezTo>
                    <a:cubicBezTo>
                      <a:pt x="3635926" y="1058665"/>
                      <a:pt x="3786408" y="1464077"/>
                      <a:pt x="3786408" y="1904635"/>
                    </a:cubicBezTo>
                    <a:cubicBezTo>
                      <a:pt x="3786408" y="2950223"/>
                      <a:pt x="2938792" y="3797839"/>
                      <a:pt x="1893204" y="3797839"/>
                    </a:cubicBezTo>
                    <a:cubicBezTo>
                      <a:pt x="847616" y="3797839"/>
                      <a:pt x="0" y="2950223"/>
                      <a:pt x="0" y="1904635"/>
                    </a:cubicBezTo>
                    <a:cubicBezTo>
                      <a:pt x="0" y="859047"/>
                      <a:pt x="847616" y="11431"/>
                      <a:pt x="1893204" y="11431"/>
                    </a:cubicBezTo>
                    <a:cubicBezTo>
                      <a:pt x="2328659" y="11431"/>
                      <a:pt x="2729777" y="158447"/>
                      <a:pt x="3048253" y="407298"/>
                    </a:cubicBezTo>
                    <a:cubicBezTo>
                      <a:pt x="3152991" y="138341"/>
                      <a:pt x="3329949" y="6978"/>
                      <a:pt x="3433329" y="82550"/>
                    </a:cubicBezTo>
                    <a:lnTo>
                      <a:pt x="3534929" y="165100"/>
                    </a:lnTo>
                    <a:close/>
                  </a:path>
                </a:pathLst>
              </a:cu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grpSp>
        <p:grpSp>
          <p:nvGrpSpPr>
            <p:cNvPr id="343" name="Group 342">
              <a:extLst>
                <a:ext uri="{FF2B5EF4-FFF2-40B4-BE49-F238E27FC236}">
                  <a16:creationId xmlns:a16="http://schemas.microsoft.com/office/drawing/2014/main" id="{1E451715-804F-4457-AC6F-43EF02526877}"/>
                </a:ext>
              </a:extLst>
            </p:cNvPr>
            <p:cNvGrpSpPr/>
            <p:nvPr/>
          </p:nvGrpSpPr>
          <p:grpSpPr bwMode="gray">
            <a:xfrm>
              <a:off x="9787655" y="3261931"/>
              <a:ext cx="167822" cy="168216"/>
              <a:chOff x="-3166626" y="2914636"/>
              <a:chExt cx="3788928" cy="3797834"/>
            </a:xfrm>
            <a:solidFill>
              <a:schemeClr val="tx1">
                <a:lumMod val="65000"/>
                <a:lumOff val="35000"/>
              </a:schemeClr>
            </a:solidFill>
          </p:grpSpPr>
          <p:sp>
            <p:nvSpPr>
              <p:cNvPr id="356" name="Oval 68">
                <a:extLst>
                  <a:ext uri="{FF2B5EF4-FFF2-40B4-BE49-F238E27FC236}">
                    <a16:creationId xmlns:a16="http://schemas.microsoft.com/office/drawing/2014/main" id="{9901F5A2-3F0C-4946-B215-AB285F0CDFFC}"/>
                  </a:ext>
                </a:extLst>
              </p:cNvPr>
              <p:cNvSpPr/>
              <p:nvPr/>
            </p:nvSpPr>
            <p:spPr bwMode="gray">
              <a:xfrm>
                <a:off x="-2676410" y="3416300"/>
                <a:ext cx="2805970" cy="2805970"/>
              </a:xfrm>
              <a:custGeom>
                <a:avLst/>
                <a:gdLst/>
                <a:ahLst/>
                <a:cxnLst/>
                <a:rect l="l" t="t" r="r" b="b"/>
                <a:pathLst>
                  <a:path w="2805970" h="2805970">
                    <a:moveTo>
                      <a:pt x="1402985" y="0"/>
                    </a:moveTo>
                    <a:cubicBezTo>
                      <a:pt x="1729064" y="0"/>
                      <a:pt x="2029161" y="111242"/>
                      <a:pt x="2266617" y="298840"/>
                    </a:cubicBezTo>
                    <a:lnTo>
                      <a:pt x="1990373" y="572059"/>
                    </a:lnTo>
                    <a:cubicBezTo>
                      <a:pt x="1824790" y="453775"/>
                      <a:pt x="1621959" y="384660"/>
                      <a:pt x="1402985" y="384660"/>
                    </a:cubicBezTo>
                    <a:cubicBezTo>
                      <a:pt x="840580" y="384660"/>
                      <a:pt x="384660" y="840580"/>
                      <a:pt x="384660" y="1402985"/>
                    </a:cubicBezTo>
                    <a:cubicBezTo>
                      <a:pt x="384660" y="1965390"/>
                      <a:pt x="840580" y="2421310"/>
                      <a:pt x="1402985" y="2421310"/>
                    </a:cubicBezTo>
                    <a:cubicBezTo>
                      <a:pt x="1965390" y="2421310"/>
                      <a:pt x="2421310" y="1965390"/>
                      <a:pt x="2421310" y="1402985"/>
                    </a:cubicBezTo>
                    <a:cubicBezTo>
                      <a:pt x="2421310" y="1184409"/>
                      <a:pt x="2352446" y="981918"/>
                      <a:pt x="2234575" y="816485"/>
                    </a:cubicBezTo>
                    <a:lnTo>
                      <a:pt x="2509088" y="541972"/>
                    </a:lnTo>
                    <a:cubicBezTo>
                      <a:pt x="2695529" y="778973"/>
                      <a:pt x="2805970" y="1078082"/>
                      <a:pt x="2805970" y="1402985"/>
                    </a:cubicBezTo>
                    <a:cubicBezTo>
                      <a:pt x="2805970" y="2177832"/>
                      <a:pt x="2177832" y="2805970"/>
                      <a:pt x="1402985" y="2805970"/>
                    </a:cubicBezTo>
                    <a:cubicBezTo>
                      <a:pt x="628138" y="2805970"/>
                      <a:pt x="0" y="2177832"/>
                      <a:pt x="0" y="1402985"/>
                    </a:cubicBezTo>
                    <a:cubicBezTo>
                      <a:pt x="0" y="628138"/>
                      <a:pt x="628138" y="0"/>
                      <a:pt x="1402985" y="0"/>
                    </a:cubicBezTo>
                    <a:close/>
                  </a:path>
                </a:pathLst>
              </a:custGeom>
              <a:solidFill>
                <a:srgbClr val="FF3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357" name="Oval 70">
                <a:extLst>
                  <a:ext uri="{FF2B5EF4-FFF2-40B4-BE49-F238E27FC236}">
                    <a16:creationId xmlns:a16="http://schemas.microsoft.com/office/drawing/2014/main" id="{E2B3EA53-FBB0-43A5-A829-4BABDD7FAA14}"/>
                  </a:ext>
                </a:extLst>
              </p:cNvPr>
              <p:cNvSpPr/>
              <p:nvPr/>
            </p:nvSpPr>
            <p:spPr bwMode="gray">
              <a:xfrm>
                <a:off x="-1946160" y="4146550"/>
                <a:ext cx="1345470" cy="1345470"/>
              </a:xfrm>
              <a:custGeom>
                <a:avLst/>
                <a:gdLst/>
                <a:ahLst/>
                <a:cxnLst/>
                <a:rect l="l" t="t" r="r" b="b"/>
                <a:pathLst>
                  <a:path w="1345470" h="1345470">
                    <a:moveTo>
                      <a:pt x="672735" y="0"/>
                    </a:moveTo>
                    <a:cubicBezTo>
                      <a:pt x="795004" y="0"/>
                      <a:pt x="909654" y="32619"/>
                      <a:pt x="1006995" y="92165"/>
                    </a:cubicBezTo>
                    <a:lnTo>
                      <a:pt x="737771" y="358442"/>
                    </a:lnTo>
                    <a:cubicBezTo>
                      <a:pt x="716774" y="354082"/>
                      <a:pt x="695020" y="351810"/>
                      <a:pt x="672735" y="351810"/>
                    </a:cubicBezTo>
                    <a:cubicBezTo>
                      <a:pt x="495493" y="351810"/>
                      <a:pt x="351810" y="495493"/>
                      <a:pt x="351810" y="672735"/>
                    </a:cubicBezTo>
                    <a:cubicBezTo>
                      <a:pt x="351810" y="849977"/>
                      <a:pt x="495493" y="993660"/>
                      <a:pt x="672735" y="993660"/>
                    </a:cubicBezTo>
                    <a:cubicBezTo>
                      <a:pt x="849977" y="993660"/>
                      <a:pt x="993660" y="849977"/>
                      <a:pt x="993660" y="672735"/>
                    </a:cubicBezTo>
                    <a:cubicBezTo>
                      <a:pt x="993660" y="649301"/>
                      <a:pt x="991148" y="626452"/>
                      <a:pt x="986041" y="604519"/>
                    </a:cubicBezTo>
                    <a:lnTo>
                      <a:pt x="1252876" y="337685"/>
                    </a:lnTo>
                    <a:cubicBezTo>
                      <a:pt x="1312679" y="435211"/>
                      <a:pt x="1345470" y="550144"/>
                      <a:pt x="1345470" y="672735"/>
                    </a:cubicBezTo>
                    <a:cubicBezTo>
                      <a:pt x="1345470" y="1044276"/>
                      <a:pt x="1044276" y="1345470"/>
                      <a:pt x="672735" y="1345470"/>
                    </a:cubicBezTo>
                    <a:cubicBezTo>
                      <a:pt x="301194" y="1345470"/>
                      <a:pt x="0" y="1044276"/>
                      <a:pt x="0" y="672735"/>
                    </a:cubicBezTo>
                    <a:cubicBezTo>
                      <a:pt x="0" y="301194"/>
                      <a:pt x="301194" y="0"/>
                      <a:pt x="672735" y="0"/>
                    </a:cubicBezTo>
                    <a:close/>
                  </a:path>
                </a:pathLst>
              </a:custGeom>
              <a:solidFill>
                <a:srgbClr val="FF3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358" name="Freeform 173">
                <a:extLst>
                  <a:ext uri="{FF2B5EF4-FFF2-40B4-BE49-F238E27FC236}">
                    <a16:creationId xmlns:a16="http://schemas.microsoft.com/office/drawing/2014/main" id="{58CA8ADD-A095-4F1E-BA6D-798A80766D1E}"/>
                  </a:ext>
                </a:extLst>
              </p:cNvPr>
              <p:cNvSpPr/>
              <p:nvPr/>
            </p:nvSpPr>
            <p:spPr bwMode="gray">
              <a:xfrm>
                <a:off x="-3166626" y="2914636"/>
                <a:ext cx="3788928" cy="3797834"/>
              </a:xfrm>
              <a:custGeom>
                <a:avLst/>
                <a:gdLst/>
                <a:ahLst/>
                <a:cxnLst/>
                <a:rect l="l" t="t" r="r" b="b"/>
                <a:pathLst>
                  <a:path w="3788929" h="3797839">
                    <a:moveTo>
                      <a:pt x="1893204" y="139700"/>
                    </a:moveTo>
                    <a:cubicBezTo>
                      <a:pt x="918457" y="139700"/>
                      <a:pt x="128269" y="929888"/>
                      <a:pt x="128269" y="1904635"/>
                    </a:cubicBezTo>
                    <a:cubicBezTo>
                      <a:pt x="128269" y="2879382"/>
                      <a:pt x="918457" y="3669570"/>
                      <a:pt x="1893204" y="3669570"/>
                    </a:cubicBezTo>
                    <a:cubicBezTo>
                      <a:pt x="2867951" y="3669570"/>
                      <a:pt x="3658139" y="2879382"/>
                      <a:pt x="3658139" y="1904635"/>
                    </a:cubicBezTo>
                    <a:cubicBezTo>
                      <a:pt x="3658139" y="1479682"/>
                      <a:pt x="3507953" y="1089806"/>
                      <a:pt x="3257614" y="785315"/>
                    </a:cubicBezTo>
                    <a:lnTo>
                      <a:pt x="3265256" y="777673"/>
                    </a:lnTo>
                    <a:cubicBezTo>
                      <a:pt x="3230347" y="788290"/>
                      <a:pt x="3193216" y="797789"/>
                      <a:pt x="3153929" y="806450"/>
                    </a:cubicBezTo>
                    <a:lnTo>
                      <a:pt x="3103129" y="768350"/>
                    </a:lnTo>
                    <a:lnTo>
                      <a:pt x="1941079" y="1949450"/>
                    </a:lnTo>
                    <a:lnTo>
                      <a:pt x="1839479" y="1847850"/>
                    </a:lnTo>
                    <a:lnTo>
                      <a:pt x="3033279" y="679450"/>
                    </a:lnTo>
                    <a:lnTo>
                      <a:pt x="2982479" y="628650"/>
                    </a:lnTo>
                    <a:cubicBezTo>
                      <a:pt x="2988674" y="596200"/>
                      <a:pt x="2995883" y="564896"/>
                      <a:pt x="3005965" y="535341"/>
                    </a:cubicBezTo>
                    <a:cubicBezTo>
                      <a:pt x="2702644" y="287818"/>
                      <a:pt x="2315221" y="139700"/>
                      <a:pt x="1893204" y="139700"/>
                    </a:cubicBezTo>
                    <a:close/>
                    <a:moveTo>
                      <a:pt x="3693679" y="0"/>
                    </a:moveTo>
                    <a:lnTo>
                      <a:pt x="3788929" y="82550"/>
                    </a:lnTo>
                    <a:lnTo>
                      <a:pt x="3623829" y="266700"/>
                    </a:lnTo>
                    <a:lnTo>
                      <a:pt x="3712729" y="342900"/>
                    </a:lnTo>
                    <a:cubicBezTo>
                      <a:pt x="3797590" y="418063"/>
                      <a:pt x="3712231" y="610562"/>
                      <a:pt x="3382105" y="738150"/>
                    </a:cubicBezTo>
                    <a:cubicBezTo>
                      <a:pt x="3635926" y="1058665"/>
                      <a:pt x="3786408" y="1464077"/>
                      <a:pt x="3786408" y="1904635"/>
                    </a:cubicBezTo>
                    <a:cubicBezTo>
                      <a:pt x="3786408" y="2950223"/>
                      <a:pt x="2938792" y="3797839"/>
                      <a:pt x="1893204" y="3797839"/>
                    </a:cubicBezTo>
                    <a:cubicBezTo>
                      <a:pt x="847616" y="3797839"/>
                      <a:pt x="0" y="2950223"/>
                      <a:pt x="0" y="1904635"/>
                    </a:cubicBezTo>
                    <a:cubicBezTo>
                      <a:pt x="0" y="859047"/>
                      <a:pt x="847616" y="11431"/>
                      <a:pt x="1893204" y="11431"/>
                    </a:cubicBezTo>
                    <a:cubicBezTo>
                      <a:pt x="2328659" y="11431"/>
                      <a:pt x="2729777" y="158447"/>
                      <a:pt x="3048253" y="407298"/>
                    </a:cubicBezTo>
                    <a:cubicBezTo>
                      <a:pt x="3152991" y="138341"/>
                      <a:pt x="3329949" y="6978"/>
                      <a:pt x="3433329" y="82550"/>
                    </a:cubicBezTo>
                    <a:lnTo>
                      <a:pt x="3534929" y="165100"/>
                    </a:lnTo>
                    <a:close/>
                  </a:path>
                </a:pathLst>
              </a:cu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grpSp>
        <p:grpSp>
          <p:nvGrpSpPr>
            <p:cNvPr id="344" name="Group 343">
              <a:extLst>
                <a:ext uri="{FF2B5EF4-FFF2-40B4-BE49-F238E27FC236}">
                  <a16:creationId xmlns:a16="http://schemas.microsoft.com/office/drawing/2014/main" id="{187A85B2-60E9-4956-860E-AA9C308B73C8}"/>
                </a:ext>
              </a:extLst>
            </p:cNvPr>
            <p:cNvGrpSpPr/>
            <p:nvPr/>
          </p:nvGrpSpPr>
          <p:grpSpPr bwMode="gray">
            <a:xfrm>
              <a:off x="9544292" y="2645884"/>
              <a:ext cx="167822" cy="168216"/>
              <a:chOff x="-3166626" y="2914636"/>
              <a:chExt cx="3788928" cy="3797834"/>
            </a:xfrm>
            <a:solidFill>
              <a:schemeClr val="tx1">
                <a:lumMod val="65000"/>
                <a:lumOff val="35000"/>
              </a:schemeClr>
            </a:solidFill>
          </p:grpSpPr>
          <p:sp>
            <p:nvSpPr>
              <p:cNvPr id="353" name="Oval 68">
                <a:extLst>
                  <a:ext uri="{FF2B5EF4-FFF2-40B4-BE49-F238E27FC236}">
                    <a16:creationId xmlns:a16="http://schemas.microsoft.com/office/drawing/2014/main" id="{304A0687-9EFE-4597-B723-7FD994F4F439}"/>
                  </a:ext>
                </a:extLst>
              </p:cNvPr>
              <p:cNvSpPr/>
              <p:nvPr/>
            </p:nvSpPr>
            <p:spPr bwMode="gray">
              <a:xfrm>
                <a:off x="-2676410" y="3416300"/>
                <a:ext cx="2805970" cy="2805970"/>
              </a:xfrm>
              <a:custGeom>
                <a:avLst/>
                <a:gdLst/>
                <a:ahLst/>
                <a:cxnLst/>
                <a:rect l="l" t="t" r="r" b="b"/>
                <a:pathLst>
                  <a:path w="2805970" h="2805970">
                    <a:moveTo>
                      <a:pt x="1402985" y="0"/>
                    </a:moveTo>
                    <a:cubicBezTo>
                      <a:pt x="1729064" y="0"/>
                      <a:pt x="2029161" y="111242"/>
                      <a:pt x="2266617" y="298840"/>
                    </a:cubicBezTo>
                    <a:lnTo>
                      <a:pt x="1990373" y="572059"/>
                    </a:lnTo>
                    <a:cubicBezTo>
                      <a:pt x="1824790" y="453775"/>
                      <a:pt x="1621959" y="384660"/>
                      <a:pt x="1402985" y="384660"/>
                    </a:cubicBezTo>
                    <a:cubicBezTo>
                      <a:pt x="840580" y="384660"/>
                      <a:pt x="384660" y="840580"/>
                      <a:pt x="384660" y="1402985"/>
                    </a:cubicBezTo>
                    <a:cubicBezTo>
                      <a:pt x="384660" y="1965390"/>
                      <a:pt x="840580" y="2421310"/>
                      <a:pt x="1402985" y="2421310"/>
                    </a:cubicBezTo>
                    <a:cubicBezTo>
                      <a:pt x="1965390" y="2421310"/>
                      <a:pt x="2421310" y="1965390"/>
                      <a:pt x="2421310" y="1402985"/>
                    </a:cubicBezTo>
                    <a:cubicBezTo>
                      <a:pt x="2421310" y="1184409"/>
                      <a:pt x="2352446" y="981918"/>
                      <a:pt x="2234575" y="816485"/>
                    </a:cubicBezTo>
                    <a:lnTo>
                      <a:pt x="2509088" y="541972"/>
                    </a:lnTo>
                    <a:cubicBezTo>
                      <a:pt x="2695529" y="778973"/>
                      <a:pt x="2805970" y="1078082"/>
                      <a:pt x="2805970" y="1402985"/>
                    </a:cubicBezTo>
                    <a:cubicBezTo>
                      <a:pt x="2805970" y="2177832"/>
                      <a:pt x="2177832" y="2805970"/>
                      <a:pt x="1402985" y="2805970"/>
                    </a:cubicBezTo>
                    <a:cubicBezTo>
                      <a:pt x="628138" y="2805970"/>
                      <a:pt x="0" y="2177832"/>
                      <a:pt x="0" y="1402985"/>
                    </a:cubicBezTo>
                    <a:cubicBezTo>
                      <a:pt x="0" y="628138"/>
                      <a:pt x="628138" y="0"/>
                      <a:pt x="1402985" y="0"/>
                    </a:cubicBezTo>
                    <a:close/>
                  </a:path>
                </a:pathLst>
              </a:custGeom>
              <a:solidFill>
                <a:srgbClr val="FF3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354" name="Oval 70">
                <a:extLst>
                  <a:ext uri="{FF2B5EF4-FFF2-40B4-BE49-F238E27FC236}">
                    <a16:creationId xmlns:a16="http://schemas.microsoft.com/office/drawing/2014/main" id="{321E2F6F-3A18-481B-8158-35AB9D64A034}"/>
                  </a:ext>
                </a:extLst>
              </p:cNvPr>
              <p:cNvSpPr/>
              <p:nvPr/>
            </p:nvSpPr>
            <p:spPr bwMode="gray">
              <a:xfrm>
                <a:off x="-1946160" y="4146550"/>
                <a:ext cx="1345470" cy="1345470"/>
              </a:xfrm>
              <a:custGeom>
                <a:avLst/>
                <a:gdLst/>
                <a:ahLst/>
                <a:cxnLst/>
                <a:rect l="l" t="t" r="r" b="b"/>
                <a:pathLst>
                  <a:path w="1345470" h="1345470">
                    <a:moveTo>
                      <a:pt x="672735" y="0"/>
                    </a:moveTo>
                    <a:cubicBezTo>
                      <a:pt x="795004" y="0"/>
                      <a:pt x="909654" y="32619"/>
                      <a:pt x="1006995" y="92165"/>
                    </a:cubicBezTo>
                    <a:lnTo>
                      <a:pt x="737771" y="358442"/>
                    </a:lnTo>
                    <a:cubicBezTo>
                      <a:pt x="716774" y="354082"/>
                      <a:pt x="695020" y="351810"/>
                      <a:pt x="672735" y="351810"/>
                    </a:cubicBezTo>
                    <a:cubicBezTo>
                      <a:pt x="495493" y="351810"/>
                      <a:pt x="351810" y="495493"/>
                      <a:pt x="351810" y="672735"/>
                    </a:cubicBezTo>
                    <a:cubicBezTo>
                      <a:pt x="351810" y="849977"/>
                      <a:pt x="495493" y="993660"/>
                      <a:pt x="672735" y="993660"/>
                    </a:cubicBezTo>
                    <a:cubicBezTo>
                      <a:pt x="849977" y="993660"/>
                      <a:pt x="993660" y="849977"/>
                      <a:pt x="993660" y="672735"/>
                    </a:cubicBezTo>
                    <a:cubicBezTo>
                      <a:pt x="993660" y="649301"/>
                      <a:pt x="991148" y="626452"/>
                      <a:pt x="986041" y="604519"/>
                    </a:cubicBezTo>
                    <a:lnTo>
                      <a:pt x="1252876" y="337685"/>
                    </a:lnTo>
                    <a:cubicBezTo>
                      <a:pt x="1312679" y="435211"/>
                      <a:pt x="1345470" y="550144"/>
                      <a:pt x="1345470" y="672735"/>
                    </a:cubicBezTo>
                    <a:cubicBezTo>
                      <a:pt x="1345470" y="1044276"/>
                      <a:pt x="1044276" y="1345470"/>
                      <a:pt x="672735" y="1345470"/>
                    </a:cubicBezTo>
                    <a:cubicBezTo>
                      <a:pt x="301194" y="1345470"/>
                      <a:pt x="0" y="1044276"/>
                      <a:pt x="0" y="672735"/>
                    </a:cubicBezTo>
                    <a:cubicBezTo>
                      <a:pt x="0" y="301194"/>
                      <a:pt x="301194" y="0"/>
                      <a:pt x="672735" y="0"/>
                    </a:cubicBezTo>
                    <a:close/>
                  </a:path>
                </a:pathLst>
              </a:custGeom>
              <a:solidFill>
                <a:srgbClr val="FF3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355" name="Freeform 173">
                <a:extLst>
                  <a:ext uri="{FF2B5EF4-FFF2-40B4-BE49-F238E27FC236}">
                    <a16:creationId xmlns:a16="http://schemas.microsoft.com/office/drawing/2014/main" id="{E4BC5C8C-D193-46E7-B3DC-61AD5EAD1BAA}"/>
                  </a:ext>
                </a:extLst>
              </p:cNvPr>
              <p:cNvSpPr/>
              <p:nvPr/>
            </p:nvSpPr>
            <p:spPr bwMode="gray">
              <a:xfrm>
                <a:off x="-3166626" y="2914636"/>
                <a:ext cx="3788928" cy="3797834"/>
              </a:xfrm>
              <a:custGeom>
                <a:avLst/>
                <a:gdLst/>
                <a:ahLst/>
                <a:cxnLst/>
                <a:rect l="l" t="t" r="r" b="b"/>
                <a:pathLst>
                  <a:path w="3788929" h="3797839">
                    <a:moveTo>
                      <a:pt x="1893204" y="139700"/>
                    </a:moveTo>
                    <a:cubicBezTo>
                      <a:pt x="918457" y="139700"/>
                      <a:pt x="128269" y="929888"/>
                      <a:pt x="128269" y="1904635"/>
                    </a:cubicBezTo>
                    <a:cubicBezTo>
                      <a:pt x="128269" y="2879382"/>
                      <a:pt x="918457" y="3669570"/>
                      <a:pt x="1893204" y="3669570"/>
                    </a:cubicBezTo>
                    <a:cubicBezTo>
                      <a:pt x="2867951" y="3669570"/>
                      <a:pt x="3658139" y="2879382"/>
                      <a:pt x="3658139" y="1904635"/>
                    </a:cubicBezTo>
                    <a:cubicBezTo>
                      <a:pt x="3658139" y="1479682"/>
                      <a:pt x="3507953" y="1089806"/>
                      <a:pt x="3257614" y="785315"/>
                    </a:cubicBezTo>
                    <a:lnTo>
                      <a:pt x="3265256" y="777673"/>
                    </a:lnTo>
                    <a:cubicBezTo>
                      <a:pt x="3230347" y="788290"/>
                      <a:pt x="3193216" y="797789"/>
                      <a:pt x="3153929" y="806450"/>
                    </a:cubicBezTo>
                    <a:lnTo>
                      <a:pt x="3103129" y="768350"/>
                    </a:lnTo>
                    <a:lnTo>
                      <a:pt x="1941079" y="1949450"/>
                    </a:lnTo>
                    <a:lnTo>
                      <a:pt x="1839479" y="1847850"/>
                    </a:lnTo>
                    <a:lnTo>
                      <a:pt x="3033279" y="679450"/>
                    </a:lnTo>
                    <a:lnTo>
                      <a:pt x="2982479" y="628650"/>
                    </a:lnTo>
                    <a:cubicBezTo>
                      <a:pt x="2988674" y="596200"/>
                      <a:pt x="2995883" y="564896"/>
                      <a:pt x="3005965" y="535341"/>
                    </a:cubicBezTo>
                    <a:cubicBezTo>
                      <a:pt x="2702644" y="287818"/>
                      <a:pt x="2315221" y="139700"/>
                      <a:pt x="1893204" y="139700"/>
                    </a:cubicBezTo>
                    <a:close/>
                    <a:moveTo>
                      <a:pt x="3693679" y="0"/>
                    </a:moveTo>
                    <a:lnTo>
                      <a:pt x="3788929" y="82550"/>
                    </a:lnTo>
                    <a:lnTo>
                      <a:pt x="3623829" y="266700"/>
                    </a:lnTo>
                    <a:lnTo>
                      <a:pt x="3712729" y="342900"/>
                    </a:lnTo>
                    <a:cubicBezTo>
                      <a:pt x="3797590" y="418063"/>
                      <a:pt x="3712231" y="610562"/>
                      <a:pt x="3382105" y="738150"/>
                    </a:cubicBezTo>
                    <a:cubicBezTo>
                      <a:pt x="3635926" y="1058665"/>
                      <a:pt x="3786408" y="1464077"/>
                      <a:pt x="3786408" y="1904635"/>
                    </a:cubicBezTo>
                    <a:cubicBezTo>
                      <a:pt x="3786408" y="2950223"/>
                      <a:pt x="2938792" y="3797839"/>
                      <a:pt x="1893204" y="3797839"/>
                    </a:cubicBezTo>
                    <a:cubicBezTo>
                      <a:pt x="847616" y="3797839"/>
                      <a:pt x="0" y="2950223"/>
                      <a:pt x="0" y="1904635"/>
                    </a:cubicBezTo>
                    <a:cubicBezTo>
                      <a:pt x="0" y="859047"/>
                      <a:pt x="847616" y="11431"/>
                      <a:pt x="1893204" y="11431"/>
                    </a:cubicBezTo>
                    <a:cubicBezTo>
                      <a:pt x="2328659" y="11431"/>
                      <a:pt x="2729777" y="158447"/>
                      <a:pt x="3048253" y="407298"/>
                    </a:cubicBezTo>
                    <a:cubicBezTo>
                      <a:pt x="3152991" y="138341"/>
                      <a:pt x="3329949" y="6978"/>
                      <a:pt x="3433329" y="82550"/>
                    </a:cubicBezTo>
                    <a:lnTo>
                      <a:pt x="3534929" y="165100"/>
                    </a:lnTo>
                    <a:close/>
                  </a:path>
                </a:pathLst>
              </a:cu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grpSp>
        <p:grpSp>
          <p:nvGrpSpPr>
            <p:cNvPr id="345" name="Group 344">
              <a:extLst>
                <a:ext uri="{FF2B5EF4-FFF2-40B4-BE49-F238E27FC236}">
                  <a16:creationId xmlns:a16="http://schemas.microsoft.com/office/drawing/2014/main" id="{E7E759F3-0011-484E-BF23-7E00E6E71BAA}"/>
                </a:ext>
              </a:extLst>
            </p:cNvPr>
            <p:cNvGrpSpPr/>
            <p:nvPr/>
          </p:nvGrpSpPr>
          <p:grpSpPr bwMode="gray">
            <a:xfrm>
              <a:off x="5969828" y="2241937"/>
              <a:ext cx="167822" cy="168216"/>
              <a:chOff x="-3166626" y="2914636"/>
              <a:chExt cx="3788928" cy="3797834"/>
            </a:xfrm>
            <a:solidFill>
              <a:schemeClr val="tx1">
                <a:lumMod val="65000"/>
                <a:lumOff val="35000"/>
              </a:schemeClr>
            </a:solidFill>
          </p:grpSpPr>
          <p:sp>
            <p:nvSpPr>
              <p:cNvPr id="350" name="Oval 68">
                <a:extLst>
                  <a:ext uri="{FF2B5EF4-FFF2-40B4-BE49-F238E27FC236}">
                    <a16:creationId xmlns:a16="http://schemas.microsoft.com/office/drawing/2014/main" id="{F43EFB90-916A-48EF-9D6D-18EA201633FA}"/>
                  </a:ext>
                </a:extLst>
              </p:cNvPr>
              <p:cNvSpPr/>
              <p:nvPr/>
            </p:nvSpPr>
            <p:spPr bwMode="gray">
              <a:xfrm>
                <a:off x="-2676410" y="3416300"/>
                <a:ext cx="2805970" cy="2805970"/>
              </a:xfrm>
              <a:custGeom>
                <a:avLst/>
                <a:gdLst/>
                <a:ahLst/>
                <a:cxnLst/>
                <a:rect l="l" t="t" r="r" b="b"/>
                <a:pathLst>
                  <a:path w="2805970" h="2805970">
                    <a:moveTo>
                      <a:pt x="1402985" y="0"/>
                    </a:moveTo>
                    <a:cubicBezTo>
                      <a:pt x="1729064" y="0"/>
                      <a:pt x="2029161" y="111242"/>
                      <a:pt x="2266617" y="298840"/>
                    </a:cubicBezTo>
                    <a:lnTo>
                      <a:pt x="1990373" y="572059"/>
                    </a:lnTo>
                    <a:cubicBezTo>
                      <a:pt x="1824790" y="453775"/>
                      <a:pt x="1621959" y="384660"/>
                      <a:pt x="1402985" y="384660"/>
                    </a:cubicBezTo>
                    <a:cubicBezTo>
                      <a:pt x="840580" y="384660"/>
                      <a:pt x="384660" y="840580"/>
                      <a:pt x="384660" y="1402985"/>
                    </a:cubicBezTo>
                    <a:cubicBezTo>
                      <a:pt x="384660" y="1965390"/>
                      <a:pt x="840580" y="2421310"/>
                      <a:pt x="1402985" y="2421310"/>
                    </a:cubicBezTo>
                    <a:cubicBezTo>
                      <a:pt x="1965390" y="2421310"/>
                      <a:pt x="2421310" y="1965390"/>
                      <a:pt x="2421310" y="1402985"/>
                    </a:cubicBezTo>
                    <a:cubicBezTo>
                      <a:pt x="2421310" y="1184409"/>
                      <a:pt x="2352446" y="981918"/>
                      <a:pt x="2234575" y="816485"/>
                    </a:cubicBezTo>
                    <a:lnTo>
                      <a:pt x="2509088" y="541972"/>
                    </a:lnTo>
                    <a:cubicBezTo>
                      <a:pt x="2695529" y="778973"/>
                      <a:pt x="2805970" y="1078082"/>
                      <a:pt x="2805970" y="1402985"/>
                    </a:cubicBezTo>
                    <a:cubicBezTo>
                      <a:pt x="2805970" y="2177832"/>
                      <a:pt x="2177832" y="2805970"/>
                      <a:pt x="1402985" y="2805970"/>
                    </a:cubicBezTo>
                    <a:cubicBezTo>
                      <a:pt x="628138" y="2805970"/>
                      <a:pt x="0" y="2177832"/>
                      <a:pt x="0" y="1402985"/>
                    </a:cubicBezTo>
                    <a:cubicBezTo>
                      <a:pt x="0" y="628138"/>
                      <a:pt x="628138" y="0"/>
                      <a:pt x="1402985" y="0"/>
                    </a:cubicBezTo>
                    <a:close/>
                  </a:path>
                </a:pathLst>
              </a:custGeom>
              <a:solidFill>
                <a:srgbClr val="FF3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351" name="Oval 70">
                <a:extLst>
                  <a:ext uri="{FF2B5EF4-FFF2-40B4-BE49-F238E27FC236}">
                    <a16:creationId xmlns:a16="http://schemas.microsoft.com/office/drawing/2014/main" id="{E2611A6B-CA28-4DA7-AFB6-ADE6BE1D8E92}"/>
                  </a:ext>
                </a:extLst>
              </p:cNvPr>
              <p:cNvSpPr/>
              <p:nvPr/>
            </p:nvSpPr>
            <p:spPr bwMode="gray">
              <a:xfrm>
                <a:off x="-1946160" y="4146550"/>
                <a:ext cx="1345470" cy="1345470"/>
              </a:xfrm>
              <a:custGeom>
                <a:avLst/>
                <a:gdLst/>
                <a:ahLst/>
                <a:cxnLst/>
                <a:rect l="l" t="t" r="r" b="b"/>
                <a:pathLst>
                  <a:path w="1345470" h="1345470">
                    <a:moveTo>
                      <a:pt x="672735" y="0"/>
                    </a:moveTo>
                    <a:cubicBezTo>
                      <a:pt x="795004" y="0"/>
                      <a:pt x="909654" y="32619"/>
                      <a:pt x="1006995" y="92165"/>
                    </a:cubicBezTo>
                    <a:lnTo>
                      <a:pt x="737771" y="358442"/>
                    </a:lnTo>
                    <a:cubicBezTo>
                      <a:pt x="716774" y="354082"/>
                      <a:pt x="695020" y="351810"/>
                      <a:pt x="672735" y="351810"/>
                    </a:cubicBezTo>
                    <a:cubicBezTo>
                      <a:pt x="495493" y="351810"/>
                      <a:pt x="351810" y="495493"/>
                      <a:pt x="351810" y="672735"/>
                    </a:cubicBezTo>
                    <a:cubicBezTo>
                      <a:pt x="351810" y="849977"/>
                      <a:pt x="495493" y="993660"/>
                      <a:pt x="672735" y="993660"/>
                    </a:cubicBezTo>
                    <a:cubicBezTo>
                      <a:pt x="849977" y="993660"/>
                      <a:pt x="993660" y="849977"/>
                      <a:pt x="993660" y="672735"/>
                    </a:cubicBezTo>
                    <a:cubicBezTo>
                      <a:pt x="993660" y="649301"/>
                      <a:pt x="991148" y="626452"/>
                      <a:pt x="986041" y="604519"/>
                    </a:cubicBezTo>
                    <a:lnTo>
                      <a:pt x="1252876" y="337685"/>
                    </a:lnTo>
                    <a:cubicBezTo>
                      <a:pt x="1312679" y="435211"/>
                      <a:pt x="1345470" y="550144"/>
                      <a:pt x="1345470" y="672735"/>
                    </a:cubicBezTo>
                    <a:cubicBezTo>
                      <a:pt x="1345470" y="1044276"/>
                      <a:pt x="1044276" y="1345470"/>
                      <a:pt x="672735" y="1345470"/>
                    </a:cubicBezTo>
                    <a:cubicBezTo>
                      <a:pt x="301194" y="1345470"/>
                      <a:pt x="0" y="1044276"/>
                      <a:pt x="0" y="672735"/>
                    </a:cubicBezTo>
                    <a:cubicBezTo>
                      <a:pt x="0" y="301194"/>
                      <a:pt x="301194" y="0"/>
                      <a:pt x="672735" y="0"/>
                    </a:cubicBezTo>
                    <a:close/>
                  </a:path>
                </a:pathLst>
              </a:custGeom>
              <a:solidFill>
                <a:srgbClr val="FF3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352" name="Freeform 173">
                <a:extLst>
                  <a:ext uri="{FF2B5EF4-FFF2-40B4-BE49-F238E27FC236}">
                    <a16:creationId xmlns:a16="http://schemas.microsoft.com/office/drawing/2014/main" id="{997D47F0-1149-4869-9E9C-69691C705BC4}"/>
                  </a:ext>
                </a:extLst>
              </p:cNvPr>
              <p:cNvSpPr/>
              <p:nvPr/>
            </p:nvSpPr>
            <p:spPr bwMode="gray">
              <a:xfrm>
                <a:off x="-3166626" y="2914636"/>
                <a:ext cx="3788928" cy="3797834"/>
              </a:xfrm>
              <a:custGeom>
                <a:avLst/>
                <a:gdLst/>
                <a:ahLst/>
                <a:cxnLst/>
                <a:rect l="l" t="t" r="r" b="b"/>
                <a:pathLst>
                  <a:path w="3788929" h="3797839">
                    <a:moveTo>
                      <a:pt x="1893204" y="139700"/>
                    </a:moveTo>
                    <a:cubicBezTo>
                      <a:pt x="918457" y="139700"/>
                      <a:pt x="128269" y="929888"/>
                      <a:pt x="128269" y="1904635"/>
                    </a:cubicBezTo>
                    <a:cubicBezTo>
                      <a:pt x="128269" y="2879382"/>
                      <a:pt x="918457" y="3669570"/>
                      <a:pt x="1893204" y="3669570"/>
                    </a:cubicBezTo>
                    <a:cubicBezTo>
                      <a:pt x="2867951" y="3669570"/>
                      <a:pt x="3658139" y="2879382"/>
                      <a:pt x="3658139" y="1904635"/>
                    </a:cubicBezTo>
                    <a:cubicBezTo>
                      <a:pt x="3658139" y="1479682"/>
                      <a:pt x="3507953" y="1089806"/>
                      <a:pt x="3257614" y="785315"/>
                    </a:cubicBezTo>
                    <a:lnTo>
                      <a:pt x="3265256" y="777673"/>
                    </a:lnTo>
                    <a:cubicBezTo>
                      <a:pt x="3230347" y="788290"/>
                      <a:pt x="3193216" y="797789"/>
                      <a:pt x="3153929" y="806450"/>
                    </a:cubicBezTo>
                    <a:lnTo>
                      <a:pt x="3103129" y="768350"/>
                    </a:lnTo>
                    <a:lnTo>
                      <a:pt x="1941079" y="1949450"/>
                    </a:lnTo>
                    <a:lnTo>
                      <a:pt x="1839479" y="1847850"/>
                    </a:lnTo>
                    <a:lnTo>
                      <a:pt x="3033279" y="679450"/>
                    </a:lnTo>
                    <a:lnTo>
                      <a:pt x="2982479" y="628650"/>
                    </a:lnTo>
                    <a:cubicBezTo>
                      <a:pt x="2988674" y="596200"/>
                      <a:pt x="2995883" y="564896"/>
                      <a:pt x="3005965" y="535341"/>
                    </a:cubicBezTo>
                    <a:cubicBezTo>
                      <a:pt x="2702644" y="287818"/>
                      <a:pt x="2315221" y="139700"/>
                      <a:pt x="1893204" y="139700"/>
                    </a:cubicBezTo>
                    <a:close/>
                    <a:moveTo>
                      <a:pt x="3693679" y="0"/>
                    </a:moveTo>
                    <a:lnTo>
                      <a:pt x="3788929" y="82550"/>
                    </a:lnTo>
                    <a:lnTo>
                      <a:pt x="3623829" y="266700"/>
                    </a:lnTo>
                    <a:lnTo>
                      <a:pt x="3712729" y="342900"/>
                    </a:lnTo>
                    <a:cubicBezTo>
                      <a:pt x="3797590" y="418063"/>
                      <a:pt x="3712231" y="610562"/>
                      <a:pt x="3382105" y="738150"/>
                    </a:cubicBezTo>
                    <a:cubicBezTo>
                      <a:pt x="3635926" y="1058665"/>
                      <a:pt x="3786408" y="1464077"/>
                      <a:pt x="3786408" y="1904635"/>
                    </a:cubicBezTo>
                    <a:cubicBezTo>
                      <a:pt x="3786408" y="2950223"/>
                      <a:pt x="2938792" y="3797839"/>
                      <a:pt x="1893204" y="3797839"/>
                    </a:cubicBezTo>
                    <a:cubicBezTo>
                      <a:pt x="847616" y="3797839"/>
                      <a:pt x="0" y="2950223"/>
                      <a:pt x="0" y="1904635"/>
                    </a:cubicBezTo>
                    <a:cubicBezTo>
                      <a:pt x="0" y="859047"/>
                      <a:pt x="847616" y="11431"/>
                      <a:pt x="1893204" y="11431"/>
                    </a:cubicBezTo>
                    <a:cubicBezTo>
                      <a:pt x="2328659" y="11431"/>
                      <a:pt x="2729777" y="158447"/>
                      <a:pt x="3048253" y="407298"/>
                    </a:cubicBezTo>
                    <a:cubicBezTo>
                      <a:pt x="3152991" y="138341"/>
                      <a:pt x="3329949" y="6978"/>
                      <a:pt x="3433329" y="82550"/>
                    </a:cubicBezTo>
                    <a:lnTo>
                      <a:pt x="3534929" y="165100"/>
                    </a:lnTo>
                    <a:close/>
                  </a:path>
                </a:pathLst>
              </a:cu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grpSp>
        <p:grpSp>
          <p:nvGrpSpPr>
            <p:cNvPr id="346" name="Group 345">
              <a:extLst>
                <a:ext uri="{FF2B5EF4-FFF2-40B4-BE49-F238E27FC236}">
                  <a16:creationId xmlns:a16="http://schemas.microsoft.com/office/drawing/2014/main" id="{5352D2A1-F076-4211-B3A5-77C7FE5F2498}"/>
                </a:ext>
              </a:extLst>
            </p:cNvPr>
            <p:cNvGrpSpPr/>
            <p:nvPr/>
          </p:nvGrpSpPr>
          <p:grpSpPr bwMode="gray">
            <a:xfrm>
              <a:off x="4897973" y="2898532"/>
              <a:ext cx="167822" cy="168216"/>
              <a:chOff x="-3166626" y="2914636"/>
              <a:chExt cx="3788928" cy="3797834"/>
            </a:xfrm>
            <a:solidFill>
              <a:schemeClr val="tx1">
                <a:lumMod val="65000"/>
                <a:lumOff val="35000"/>
              </a:schemeClr>
            </a:solidFill>
          </p:grpSpPr>
          <p:sp>
            <p:nvSpPr>
              <p:cNvPr id="347" name="Oval 68">
                <a:extLst>
                  <a:ext uri="{FF2B5EF4-FFF2-40B4-BE49-F238E27FC236}">
                    <a16:creationId xmlns:a16="http://schemas.microsoft.com/office/drawing/2014/main" id="{6CB4B22D-3E92-4426-9ED2-DBA0DAD6EE54}"/>
                  </a:ext>
                </a:extLst>
              </p:cNvPr>
              <p:cNvSpPr/>
              <p:nvPr/>
            </p:nvSpPr>
            <p:spPr bwMode="gray">
              <a:xfrm>
                <a:off x="-2676410" y="3416300"/>
                <a:ext cx="2805970" cy="2805970"/>
              </a:xfrm>
              <a:custGeom>
                <a:avLst/>
                <a:gdLst/>
                <a:ahLst/>
                <a:cxnLst/>
                <a:rect l="l" t="t" r="r" b="b"/>
                <a:pathLst>
                  <a:path w="2805970" h="2805970">
                    <a:moveTo>
                      <a:pt x="1402985" y="0"/>
                    </a:moveTo>
                    <a:cubicBezTo>
                      <a:pt x="1729064" y="0"/>
                      <a:pt x="2029161" y="111242"/>
                      <a:pt x="2266617" y="298840"/>
                    </a:cubicBezTo>
                    <a:lnTo>
                      <a:pt x="1990373" y="572059"/>
                    </a:lnTo>
                    <a:cubicBezTo>
                      <a:pt x="1824790" y="453775"/>
                      <a:pt x="1621959" y="384660"/>
                      <a:pt x="1402985" y="384660"/>
                    </a:cubicBezTo>
                    <a:cubicBezTo>
                      <a:pt x="840580" y="384660"/>
                      <a:pt x="384660" y="840580"/>
                      <a:pt x="384660" y="1402985"/>
                    </a:cubicBezTo>
                    <a:cubicBezTo>
                      <a:pt x="384660" y="1965390"/>
                      <a:pt x="840580" y="2421310"/>
                      <a:pt x="1402985" y="2421310"/>
                    </a:cubicBezTo>
                    <a:cubicBezTo>
                      <a:pt x="1965390" y="2421310"/>
                      <a:pt x="2421310" y="1965390"/>
                      <a:pt x="2421310" y="1402985"/>
                    </a:cubicBezTo>
                    <a:cubicBezTo>
                      <a:pt x="2421310" y="1184409"/>
                      <a:pt x="2352446" y="981918"/>
                      <a:pt x="2234575" y="816485"/>
                    </a:cubicBezTo>
                    <a:lnTo>
                      <a:pt x="2509088" y="541972"/>
                    </a:lnTo>
                    <a:cubicBezTo>
                      <a:pt x="2695529" y="778973"/>
                      <a:pt x="2805970" y="1078082"/>
                      <a:pt x="2805970" y="1402985"/>
                    </a:cubicBezTo>
                    <a:cubicBezTo>
                      <a:pt x="2805970" y="2177832"/>
                      <a:pt x="2177832" y="2805970"/>
                      <a:pt x="1402985" y="2805970"/>
                    </a:cubicBezTo>
                    <a:cubicBezTo>
                      <a:pt x="628138" y="2805970"/>
                      <a:pt x="0" y="2177832"/>
                      <a:pt x="0" y="1402985"/>
                    </a:cubicBezTo>
                    <a:cubicBezTo>
                      <a:pt x="0" y="628138"/>
                      <a:pt x="628138" y="0"/>
                      <a:pt x="1402985" y="0"/>
                    </a:cubicBezTo>
                    <a:close/>
                  </a:path>
                </a:pathLst>
              </a:custGeom>
              <a:solidFill>
                <a:srgbClr val="FF3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348" name="Oval 70">
                <a:extLst>
                  <a:ext uri="{FF2B5EF4-FFF2-40B4-BE49-F238E27FC236}">
                    <a16:creationId xmlns:a16="http://schemas.microsoft.com/office/drawing/2014/main" id="{5340440A-76CF-4B75-9CBE-3B11AEC137F3}"/>
                  </a:ext>
                </a:extLst>
              </p:cNvPr>
              <p:cNvSpPr/>
              <p:nvPr/>
            </p:nvSpPr>
            <p:spPr bwMode="gray">
              <a:xfrm>
                <a:off x="-1946160" y="4146550"/>
                <a:ext cx="1345470" cy="1345470"/>
              </a:xfrm>
              <a:custGeom>
                <a:avLst/>
                <a:gdLst/>
                <a:ahLst/>
                <a:cxnLst/>
                <a:rect l="l" t="t" r="r" b="b"/>
                <a:pathLst>
                  <a:path w="1345470" h="1345470">
                    <a:moveTo>
                      <a:pt x="672735" y="0"/>
                    </a:moveTo>
                    <a:cubicBezTo>
                      <a:pt x="795004" y="0"/>
                      <a:pt x="909654" y="32619"/>
                      <a:pt x="1006995" y="92165"/>
                    </a:cubicBezTo>
                    <a:lnTo>
                      <a:pt x="737771" y="358442"/>
                    </a:lnTo>
                    <a:cubicBezTo>
                      <a:pt x="716774" y="354082"/>
                      <a:pt x="695020" y="351810"/>
                      <a:pt x="672735" y="351810"/>
                    </a:cubicBezTo>
                    <a:cubicBezTo>
                      <a:pt x="495493" y="351810"/>
                      <a:pt x="351810" y="495493"/>
                      <a:pt x="351810" y="672735"/>
                    </a:cubicBezTo>
                    <a:cubicBezTo>
                      <a:pt x="351810" y="849977"/>
                      <a:pt x="495493" y="993660"/>
                      <a:pt x="672735" y="993660"/>
                    </a:cubicBezTo>
                    <a:cubicBezTo>
                      <a:pt x="849977" y="993660"/>
                      <a:pt x="993660" y="849977"/>
                      <a:pt x="993660" y="672735"/>
                    </a:cubicBezTo>
                    <a:cubicBezTo>
                      <a:pt x="993660" y="649301"/>
                      <a:pt x="991148" y="626452"/>
                      <a:pt x="986041" y="604519"/>
                    </a:cubicBezTo>
                    <a:lnTo>
                      <a:pt x="1252876" y="337685"/>
                    </a:lnTo>
                    <a:cubicBezTo>
                      <a:pt x="1312679" y="435211"/>
                      <a:pt x="1345470" y="550144"/>
                      <a:pt x="1345470" y="672735"/>
                    </a:cubicBezTo>
                    <a:cubicBezTo>
                      <a:pt x="1345470" y="1044276"/>
                      <a:pt x="1044276" y="1345470"/>
                      <a:pt x="672735" y="1345470"/>
                    </a:cubicBezTo>
                    <a:cubicBezTo>
                      <a:pt x="301194" y="1345470"/>
                      <a:pt x="0" y="1044276"/>
                      <a:pt x="0" y="672735"/>
                    </a:cubicBezTo>
                    <a:cubicBezTo>
                      <a:pt x="0" y="301194"/>
                      <a:pt x="301194" y="0"/>
                      <a:pt x="672735" y="0"/>
                    </a:cubicBezTo>
                    <a:close/>
                  </a:path>
                </a:pathLst>
              </a:custGeom>
              <a:solidFill>
                <a:srgbClr val="FF3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349" name="Freeform 173">
                <a:extLst>
                  <a:ext uri="{FF2B5EF4-FFF2-40B4-BE49-F238E27FC236}">
                    <a16:creationId xmlns:a16="http://schemas.microsoft.com/office/drawing/2014/main" id="{EDDB63DD-0950-421B-B066-E1BB85215E54}"/>
                  </a:ext>
                </a:extLst>
              </p:cNvPr>
              <p:cNvSpPr/>
              <p:nvPr/>
            </p:nvSpPr>
            <p:spPr bwMode="gray">
              <a:xfrm>
                <a:off x="-3166626" y="2914636"/>
                <a:ext cx="3788928" cy="3797834"/>
              </a:xfrm>
              <a:custGeom>
                <a:avLst/>
                <a:gdLst/>
                <a:ahLst/>
                <a:cxnLst/>
                <a:rect l="l" t="t" r="r" b="b"/>
                <a:pathLst>
                  <a:path w="3788929" h="3797839">
                    <a:moveTo>
                      <a:pt x="1893204" y="139700"/>
                    </a:moveTo>
                    <a:cubicBezTo>
                      <a:pt x="918457" y="139700"/>
                      <a:pt x="128269" y="929888"/>
                      <a:pt x="128269" y="1904635"/>
                    </a:cubicBezTo>
                    <a:cubicBezTo>
                      <a:pt x="128269" y="2879382"/>
                      <a:pt x="918457" y="3669570"/>
                      <a:pt x="1893204" y="3669570"/>
                    </a:cubicBezTo>
                    <a:cubicBezTo>
                      <a:pt x="2867951" y="3669570"/>
                      <a:pt x="3658139" y="2879382"/>
                      <a:pt x="3658139" y="1904635"/>
                    </a:cubicBezTo>
                    <a:cubicBezTo>
                      <a:pt x="3658139" y="1479682"/>
                      <a:pt x="3507953" y="1089806"/>
                      <a:pt x="3257614" y="785315"/>
                    </a:cubicBezTo>
                    <a:lnTo>
                      <a:pt x="3265256" y="777673"/>
                    </a:lnTo>
                    <a:cubicBezTo>
                      <a:pt x="3230347" y="788290"/>
                      <a:pt x="3193216" y="797789"/>
                      <a:pt x="3153929" y="806450"/>
                    </a:cubicBezTo>
                    <a:lnTo>
                      <a:pt x="3103129" y="768350"/>
                    </a:lnTo>
                    <a:lnTo>
                      <a:pt x="1941079" y="1949450"/>
                    </a:lnTo>
                    <a:lnTo>
                      <a:pt x="1839479" y="1847850"/>
                    </a:lnTo>
                    <a:lnTo>
                      <a:pt x="3033279" y="679450"/>
                    </a:lnTo>
                    <a:lnTo>
                      <a:pt x="2982479" y="628650"/>
                    </a:lnTo>
                    <a:cubicBezTo>
                      <a:pt x="2988674" y="596200"/>
                      <a:pt x="2995883" y="564896"/>
                      <a:pt x="3005965" y="535341"/>
                    </a:cubicBezTo>
                    <a:cubicBezTo>
                      <a:pt x="2702644" y="287818"/>
                      <a:pt x="2315221" y="139700"/>
                      <a:pt x="1893204" y="139700"/>
                    </a:cubicBezTo>
                    <a:close/>
                    <a:moveTo>
                      <a:pt x="3693679" y="0"/>
                    </a:moveTo>
                    <a:lnTo>
                      <a:pt x="3788929" y="82550"/>
                    </a:lnTo>
                    <a:lnTo>
                      <a:pt x="3623829" y="266700"/>
                    </a:lnTo>
                    <a:lnTo>
                      <a:pt x="3712729" y="342900"/>
                    </a:lnTo>
                    <a:cubicBezTo>
                      <a:pt x="3797590" y="418063"/>
                      <a:pt x="3712231" y="610562"/>
                      <a:pt x="3382105" y="738150"/>
                    </a:cubicBezTo>
                    <a:cubicBezTo>
                      <a:pt x="3635926" y="1058665"/>
                      <a:pt x="3786408" y="1464077"/>
                      <a:pt x="3786408" y="1904635"/>
                    </a:cubicBezTo>
                    <a:cubicBezTo>
                      <a:pt x="3786408" y="2950223"/>
                      <a:pt x="2938792" y="3797839"/>
                      <a:pt x="1893204" y="3797839"/>
                    </a:cubicBezTo>
                    <a:cubicBezTo>
                      <a:pt x="847616" y="3797839"/>
                      <a:pt x="0" y="2950223"/>
                      <a:pt x="0" y="1904635"/>
                    </a:cubicBezTo>
                    <a:cubicBezTo>
                      <a:pt x="0" y="859047"/>
                      <a:pt x="847616" y="11431"/>
                      <a:pt x="1893204" y="11431"/>
                    </a:cubicBezTo>
                    <a:cubicBezTo>
                      <a:pt x="2328659" y="11431"/>
                      <a:pt x="2729777" y="158447"/>
                      <a:pt x="3048253" y="407298"/>
                    </a:cubicBezTo>
                    <a:cubicBezTo>
                      <a:pt x="3152991" y="138341"/>
                      <a:pt x="3329949" y="6978"/>
                      <a:pt x="3433329" y="82550"/>
                    </a:cubicBezTo>
                    <a:lnTo>
                      <a:pt x="3534929" y="165100"/>
                    </a:lnTo>
                    <a:close/>
                  </a:path>
                </a:pathLst>
              </a:cu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grpSp>
      </p:grpSp>
      <p:sp>
        <p:nvSpPr>
          <p:cNvPr id="399" name="Rectangle 31">
            <a:extLst>
              <a:ext uri="{FF2B5EF4-FFF2-40B4-BE49-F238E27FC236}">
                <a16:creationId xmlns:a16="http://schemas.microsoft.com/office/drawing/2014/main" id="{86D5D68B-EAB1-4980-9AB0-5804298DD0BC}"/>
              </a:ext>
            </a:extLst>
          </p:cNvPr>
          <p:cNvSpPr>
            <a:spLocks noChangeArrowheads="1"/>
          </p:cNvSpPr>
          <p:nvPr/>
        </p:nvSpPr>
        <p:spPr bwMode="gray">
          <a:xfrm>
            <a:off x="10556676" y="1678039"/>
            <a:ext cx="762413" cy="157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Schonkirchen</a:t>
            </a:r>
          </a:p>
        </p:txBody>
      </p:sp>
      <p:sp>
        <p:nvSpPr>
          <p:cNvPr id="400" name="Rectangle 32">
            <a:extLst>
              <a:ext uri="{FF2B5EF4-FFF2-40B4-BE49-F238E27FC236}">
                <a16:creationId xmlns:a16="http://schemas.microsoft.com/office/drawing/2014/main" id="{AE9F2314-D4BB-46EE-B529-A9959EC1AEA2}"/>
              </a:ext>
            </a:extLst>
          </p:cNvPr>
          <p:cNvSpPr>
            <a:spLocks noChangeArrowheads="1"/>
          </p:cNvSpPr>
          <p:nvPr/>
        </p:nvSpPr>
        <p:spPr bwMode="gray">
          <a:xfrm>
            <a:off x="10556676" y="1844503"/>
            <a:ext cx="657039" cy="157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Tallesbrunn</a:t>
            </a:r>
          </a:p>
        </p:txBody>
      </p:sp>
      <p:sp>
        <p:nvSpPr>
          <p:cNvPr id="401" name="Rectangle 35">
            <a:extLst>
              <a:ext uri="{FF2B5EF4-FFF2-40B4-BE49-F238E27FC236}">
                <a16:creationId xmlns:a16="http://schemas.microsoft.com/office/drawing/2014/main" id="{A6612125-7533-48FD-9FA5-EBA30D5836E9}"/>
              </a:ext>
            </a:extLst>
          </p:cNvPr>
          <p:cNvSpPr>
            <a:spLocks noChangeArrowheads="1"/>
          </p:cNvSpPr>
          <p:nvPr/>
        </p:nvSpPr>
        <p:spPr bwMode="gray">
          <a:xfrm>
            <a:off x="4919891" y="3415225"/>
            <a:ext cx="672535" cy="157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Aigelsbrunn</a:t>
            </a:r>
          </a:p>
        </p:txBody>
      </p:sp>
      <p:sp>
        <p:nvSpPr>
          <p:cNvPr id="402" name="Rectangle 36">
            <a:extLst>
              <a:ext uri="{FF2B5EF4-FFF2-40B4-BE49-F238E27FC236}">
                <a16:creationId xmlns:a16="http://schemas.microsoft.com/office/drawing/2014/main" id="{63F59796-AD89-4859-BD44-49EF0C24A720}"/>
              </a:ext>
            </a:extLst>
          </p:cNvPr>
          <p:cNvSpPr>
            <a:spLocks noChangeArrowheads="1"/>
          </p:cNvSpPr>
          <p:nvPr/>
        </p:nvSpPr>
        <p:spPr bwMode="gray">
          <a:xfrm>
            <a:off x="6608972" y="3466541"/>
            <a:ext cx="1238148" cy="157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Gampern Puchkirchen</a:t>
            </a:r>
          </a:p>
        </p:txBody>
      </p:sp>
      <p:sp>
        <p:nvSpPr>
          <p:cNvPr id="403" name="Rectangle 37">
            <a:extLst>
              <a:ext uri="{FF2B5EF4-FFF2-40B4-BE49-F238E27FC236}">
                <a16:creationId xmlns:a16="http://schemas.microsoft.com/office/drawing/2014/main" id="{6CB2D0EE-7703-400D-BCCC-0A0A4C28C0EB}"/>
              </a:ext>
            </a:extLst>
          </p:cNvPr>
          <p:cNvSpPr>
            <a:spLocks noChangeArrowheads="1"/>
          </p:cNvSpPr>
          <p:nvPr/>
        </p:nvSpPr>
        <p:spPr bwMode="gray">
          <a:xfrm>
            <a:off x="6447556" y="2959669"/>
            <a:ext cx="283581" cy="157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Haag</a:t>
            </a:r>
          </a:p>
        </p:txBody>
      </p:sp>
      <p:sp>
        <p:nvSpPr>
          <p:cNvPr id="276" name="Freeform: Shape 275">
            <a:extLst>
              <a:ext uri="{FF2B5EF4-FFF2-40B4-BE49-F238E27FC236}">
                <a16:creationId xmlns:a16="http://schemas.microsoft.com/office/drawing/2014/main" id="{355D74EC-2BA0-442D-AF13-2914B8DB7231}"/>
              </a:ext>
            </a:extLst>
          </p:cNvPr>
          <p:cNvSpPr/>
          <p:nvPr/>
        </p:nvSpPr>
        <p:spPr bwMode="gray">
          <a:xfrm flipH="1">
            <a:off x="10217303" y="1926248"/>
            <a:ext cx="291151" cy="494670"/>
          </a:xfrm>
          <a:custGeom>
            <a:avLst/>
            <a:gdLst>
              <a:gd name="connsiteX0" fmla="*/ 219075 w 219075"/>
              <a:gd name="connsiteY0" fmla="*/ 285750 h 285750"/>
              <a:gd name="connsiteX1" fmla="*/ 219075 w 219075"/>
              <a:gd name="connsiteY1" fmla="*/ 0 h 285750"/>
              <a:gd name="connsiteX2" fmla="*/ 0 w 219075"/>
              <a:gd name="connsiteY2" fmla="*/ 0 h 285750"/>
            </a:gdLst>
            <a:ahLst/>
            <a:cxnLst>
              <a:cxn ang="0">
                <a:pos x="connsiteX0" y="connsiteY0"/>
              </a:cxn>
              <a:cxn ang="0">
                <a:pos x="connsiteX1" y="connsiteY1"/>
              </a:cxn>
              <a:cxn ang="0">
                <a:pos x="connsiteX2" y="connsiteY2"/>
              </a:cxn>
            </a:cxnLst>
            <a:rect l="l" t="t" r="r" b="b"/>
            <a:pathLst>
              <a:path w="219075" h="285750">
                <a:moveTo>
                  <a:pt x="219075" y="285750"/>
                </a:moveTo>
                <a:lnTo>
                  <a:pt x="219075" y="0"/>
                </a:lnTo>
                <a:lnTo>
                  <a:pt x="0" y="0"/>
                </a:lnTo>
              </a:path>
            </a:pathLst>
          </a:custGeom>
          <a:noFill/>
          <a:ln w="6350" cap="sq">
            <a:solidFill>
              <a:schemeClr val="tx1">
                <a:lumMod val="65000"/>
                <a:lumOff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98" name="Freeform: Shape 397">
            <a:extLst>
              <a:ext uri="{FF2B5EF4-FFF2-40B4-BE49-F238E27FC236}">
                <a16:creationId xmlns:a16="http://schemas.microsoft.com/office/drawing/2014/main" id="{452B2983-E6E2-4B8D-8591-3465393FDC52}"/>
              </a:ext>
            </a:extLst>
          </p:cNvPr>
          <p:cNvSpPr/>
          <p:nvPr/>
        </p:nvSpPr>
        <p:spPr bwMode="gray">
          <a:xfrm flipH="1">
            <a:off x="10118501" y="1761215"/>
            <a:ext cx="389955" cy="691829"/>
          </a:xfrm>
          <a:custGeom>
            <a:avLst/>
            <a:gdLst>
              <a:gd name="connsiteX0" fmla="*/ 219075 w 219075"/>
              <a:gd name="connsiteY0" fmla="*/ 285750 h 285750"/>
              <a:gd name="connsiteX1" fmla="*/ 219075 w 219075"/>
              <a:gd name="connsiteY1" fmla="*/ 0 h 285750"/>
              <a:gd name="connsiteX2" fmla="*/ 0 w 219075"/>
              <a:gd name="connsiteY2" fmla="*/ 0 h 285750"/>
            </a:gdLst>
            <a:ahLst/>
            <a:cxnLst>
              <a:cxn ang="0">
                <a:pos x="connsiteX0" y="connsiteY0"/>
              </a:cxn>
              <a:cxn ang="0">
                <a:pos x="connsiteX1" y="connsiteY1"/>
              </a:cxn>
              <a:cxn ang="0">
                <a:pos x="connsiteX2" y="connsiteY2"/>
              </a:cxn>
            </a:cxnLst>
            <a:rect l="l" t="t" r="r" b="b"/>
            <a:pathLst>
              <a:path w="219075" h="285750">
                <a:moveTo>
                  <a:pt x="219075" y="285750"/>
                </a:moveTo>
                <a:lnTo>
                  <a:pt x="219075" y="0"/>
                </a:lnTo>
                <a:lnTo>
                  <a:pt x="0" y="0"/>
                </a:lnTo>
              </a:path>
            </a:pathLst>
          </a:custGeom>
          <a:noFill/>
          <a:ln w="6350" cap="sq">
            <a:solidFill>
              <a:schemeClr val="tx1">
                <a:lumMod val="65000"/>
                <a:lumOff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grpSp>
        <p:nvGrpSpPr>
          <p:cNvPr id="275" name="Group 274">
            <a:extLst>
              <a:ext uri="{FF2B5EF4-FFF2-40B4-BE49-F238E27FC236}">
                <a16:creationId xmlns:a16="http://schemas.microsoft.com/office/drawing/2014/main" id="{86B7C6DF-4CB3-45C0-AEFF-8C58A1276EF2}"/>
              </a:ext>
            </a:extLst>
          </p:cNvPr>
          <p:cNvGrpSpPr/>
          <p:nvPr/>
        </p:nvGrpSpPr>
        <p:grpSpPr bwMode="gray">
          <a:xfrm>
            <a:off x="10053147" y="2334538"/>
            <a:ext cx="224302" cy="185824"/>
            <a:chOff x="9326598" y="2502920"/>
            <a:chExt cx="223262" cy="175142"/>
          </a:xfrm>
        </p:grpSpPr>
        <p:sp>
          <p:nvSpPr>
            <p:cNvPr id="273" name="Oval 26">
              <a:extLst>
                <a:ext uri="{FF2B5EF4-FFF2-40B4-BE49-F238E27FC236}">
                  <a16:creationId xmlns:a16="http://schemas.microsoft.com/office/drawing/2014/main" id="{59FDA45A-6D39-45BA-B433-B6F11B756753}"/>
                </a:ext>
              </a:extLst>
            </p:cNvPr>
            <p:cNvSpPr>
              <a:spLocks noChangeArrowheads="1"/>
            </p:cNvSpPr>
            <p:nvPr/>
          </p:nvSpPr>
          <p:spPr bwMode="gray">
            <a:xfrm>
              <a:off x="9326598" y="2550528"/>
              <a:ext cx="122461" cy="127534"/>
            </a:xfrm>
            <a:prstGeom prst="triangle">
              <a:avLst/>
            </a:prstGeom>
            <a:solidFill>
              <a:srgbClr val="FB0F0C"/>
            </a:solid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274" name="Oval 26">
              <a:extLst>
                <a:ext uri="{FF2B5EF4-FFF2-40B4-BE49-F238E27FC236}">
                  <a16:creationId xmlns:a16="http://schemas.microsoft.com/office/drawing/2014/main" id="{4CC90E10-5247-47E3-A134-4E7FE707502E}"/>
                </a:ext>
              </a:extLst>
            </p:cNvPr>
            <p:cNvSpPr>
              <a:spLocks noChangeArrowheads="1"/>
            </p:cNvSpPr>
            <p:nvPr/>
          </p:nvSpPr>
          <p:spPr bwMode="gray">
            <a:xfrm>
              <a:off x="9427399" y="2502920"/>
              <a:ext cx="122461" cy="127534"/>
            </a:xfrm>
            <a:prstGeom prst="triangle">
              <a:avLst/>
            </a:prstGeom>
            <a:solidFill>
              <a:srgbClr val="FB0F0C"/>
            </a:solid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grpSp>
      <p:sp>
        <p:nvSpPr>
          <p:cNvPr id="446" name="Freeform: Shape 445">
            <a:extLst>
              <a:ext uri="{FF2B5EF4-FFF2-40B4-BE49-F238E27FC236}">
                <a16:creationId xmlns:a16="http://schemas.microsoft.com/office/drawing/2014/main" id="{D6DE4EF8-C1A7-4A25-A58E-9CC00EE51B36}"/>
              </a:ext>
            </a:extLst>
          </p:cNvPr>
          <p:cNvSpPr/>
          <p:nvPr/>
        </p:nvSpPr>
        <p:spPr bwMode="gray">
          <a:xfrm flipH="1" flipV="1">
            <a:off x="6497115" y="3271754"/>
            <a:ext cx="91873" cy="286908"/>
          </a:xfrm>
          <a:custGeom>
            <a:avLst/>
            <a:gdLst>
              <a:gd name="connsiteX0" fmla="*/ 219075 w 219075"/>
              <a:gd name="connsiteY0" fmla="*/ 285750 h 285750"/>
              <a:gd name="connsiteX1" fmla="*/ 219075 w 219075"/>
              <a:gd name="connsiteY1" fmla="*/ 0 h 285750"/>
              <a:gd name="connsiteX2" fmla="*/ 0 w 219075"/>
              <a:gd name="connsiteY2" fmla="*/ 0 h 285750"/>
            </a:gdLst>
            <a:ahLst/>
            <a:cxnLst>
              <a:cxn ang="0">
                <a:pos x="connsiteX0" y="connsiteY0"/>
              </a:cxn>
              <a:cxn ang="0">
                <a:pos x="connsiteX1" y="connsiteY1"/>
              </a:cxn>
              <a:cxn ang="0">
                <a:pos x="connsiteX2" y="connsiteY2"/>
              </a:cxn>
            </a:cxnLst>
            <a:rect l="l" t="t" r="r" b="b"/>
            <a:pathLst>
              <a:path w="219075" h="285750">
                <a:moveTo>
                  <a:pt x="219075" y="285750"/>
                </a:moveTo>
                <a:lnTo>
                  <a:pt x="219075" y="0"/>
                </a:lnTo>
                <a:lnTo>
                  <a:pt x="0" y="0"/>
                </a:lnTo>
              </a:path>
            </a:pathLst>
          </a:custGeom>
          <a:noFill/>
          <a:ln w="31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grpSp>
        <p:nvGrpSpPr>
          <p:cNvPr id="412" name="Group 411">
            <a:extLst>
              <a:ext uri="{FF2B5EF4-FFF2-40B4-BE49-F238E27FC236}">
                <a16:creationId xmlns:a16="http://schemas.microsoft.com/office/drawing/2014/main" id="{AF0E8F2D-4FC3-4124-9CB9-7019E0BB60B8}"/>
              </a:ext>
            </a:extLst>
          </p:cNvPr>
          <p:cNvGrpSpPr>
            <a:grpSpLocks/>
          </p:cNvGrpSpPr>
          <p:nvPr/>
        </p:nvGrpSpPr>
        <p:grpSpPr bwMode="gray">
          <a:xfrm>
            <a:off x="3203632" y="2486145"/>
            <a:ext cx="1361803" cy="635972"/>
            <a:chOff x="8217248" y="5773164"/>
            <a:chExt cx="993622" cy="439394"/>
          </a:xfrm>
        </p:grpSpPr>
        <p:sp>
          <p:nvSpPr>
            <p:cNvPr id="380" name="Rectangle 379">
              <a:extLst>
                <a:ext uri="{FF2B5EF4-FFF2-40B4-BE49-F238E27FC236}">
                  <a16:creationId xmlns:a16="http://schemas.microsoft.com/office/drawing/2014/main" id="{D8FBD665-58A5-44FE-BC5E-7842F212F5F3}"/>
                </a:ext>
              </a:extLst>
            </p:cNvPr>
            <p:cNvSpPr>
              <a:spLocks/>
            </p:cNvSpPr>
            <p:nvPr/>
          </p:nvSpPr>
          <p:spPr bwMode="gray">
            <a:xfrm>
              <a:off x="8217248" y="5773164"/>
              <a:ext cx="993622" cy="439394"/>
            </a:xfrm>
            <a:prstGeom prst="rect">
              <a:avLst/>
            </a:prstGeom>
            <a:solidFill>
              <a:schemeClr val="bg1"/>
            </a:solidFill>
            <a:ln w="6350" cap="rnd">
              <a:solidFill>
                <a:schemeClr val="bg1">
                  <a:lumMod val="5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grpSp>
          <p:nvGrpSpPr>
            <p:cNvPr id="382" name="Group 381">
              <a:extLst>
                <a:ext uri="{FF2B5EF4-FFF2-40B4-BE49-F238E27FC236}">
                  <a16:creationId xmlns:a16="http://schemas.microsoft.com/office/drawing/2014/main" id="{ACC72263-7782-4F56-8211-6A1E3107E32F}"/>
                </a:ext>
              </a:extLst>
            </p:cNvPr>
            <p:cNvGrpSpPr/>
            <p:nvPr/>
          </p:nvGrpSpPr>
          <p:grpSpPr bwMode="gray">
            <a:xfrm>
              <a:off x="8376639" y="5820605"/>
              <a:ext cx="674840" cy="344513"/>
              <a:chOff x="13727467" y="4050247"/>
              <a:chExt cx="674840" cy="344513"/>
            </a:xfrm>
          </p:grpSpPr>
          <p:pic>
            <p:nvPicPr>
              <p:cNvPr id="369" name="Picture 10" descr="OMV – Wikipedia">
                <a:extLst>
                  <a:ext uri="{FF2B5EF4-FFF2-40B4-BE49-F238E27FC236}">
                    <a16:creationId xmlns:a16="http://schemas.microsoft.com/office/drawing/2014/main" id="{4FF6BD61-8F8B-4C1F-B337-8871D3E34D3B}"/>
                  </a:ext>
                </a:extLst>
              </p:cNvPr>
              <p:cNvPicPr>
                <a:picLocks noChangeAspect="1" noChangeArrowheads="1"/>
              </p:cNvPicPr>
              <p:nvPr/>
            </p:nvPicPr>
            <p:blipFill>
              <a:blip r:embed="rId26" cstate="hqprint">
                <a:extLst>
                  <a:ext uri="{28A0092B-C50C-407E-A947-70E740481C1C}">
                    <a14:useLocalDpi xmlns:a14="http://schemas.microsoft.com/office/drawing/2010/main"/>
                  </a:ext>
                </a:extLst>
              </a:blip>
              <a:srcRect/>
              <a:stretch>
                <a:fillRect/>
              </a:stretch>
            </p:blipFill>
            <p:spPr bwMode="gray">
              <a:xfrm>
                <a:off x="13727467" y="4050247"/>
                <a:ext cx="408422" cy="297485"/>
              </a:xfrm>
              <a:prstGeom prst="rect">
                <a:avLst/>
              </a:prstGeom>
              <a:noFill/>
            </p:spPr>
          </p:pic>
          <p:pic>
            <p:nvPicPr>
              <p:cNvPr id="370" name="Picture 369">
                <a:extLst>
                  <a:ext uri="{FF2B5EF4-FFF2-40B4-BE49-F238E27FC236}">
                    <a16:creationId xmlns:a16="http://schemas.microsoft.com/office/drawing/2014/main" id="{189C7EFB-6E65-43B7-94B8-D6A0CC72517E}"/>
                  </a:ext>
                </a:extLst>
              </p:cNvPr>
              <p:cNvPicPr>
                <a:picLocks noChangeAspect="1"/>
              </p:cNvPicPr>
              <p:nvPr/>
            </p:nvPicPr>
            <p:blipFill>
              <a:blip r:embed="rId27" cstate="hqprint">
                <a:extLst>
                  <a:ext uri="{28A0092B-C50C-407E-A947-70E740481C1C}">
                    <a14:useLocalDpi xmlns:a14="http://schemas.microsoft.com/office/drawing/2010/main"/>
                  </a:ext>
                </a:extLst>
              </a:blip>
              <a:stretch>
                <a:fillRect/>
              </a:stretch>
            </p:blipFill>
            <p:spPr bwMode="gray">
              <a:xfrm>
                <a:off x="14198786" y="4259079"/>
                <a:ext cx="203521" cy="135681"/>
              </a:xfrm>
              <a:prstGeom prst="rect">
                <a:avLst/>
              </a:prstGeom>
              <a:ln>
                <a:solidFill>
                  <a:srgbClr val="D0D0D0"/>
                </a:solidFill>
              </a:ln>
            </p:spPr>
          </p:pic>
        </p:grpSp>
      </p:grpSp>
      <p:grpSp>
        <p:nvGrpSpPr>
          <p:cNvPr id="406" name="Group 405">
            <a:extLst>
              <a:ext uri="{FF2B5EF4-FFF2-40B4-BE49-F238E27FC236}">
                <a16:creationId xmlns:a16="http://schemas.microsoft.com/office/drawing/2014/main" id="{5A583568-8FE0-484B-8E1A-B67528A5F17E}"/>
              </a:ext>
            </a:extLst>
          </p:cNvPr>
          <p:cNvGrpSpPr>
            <a:grpSpLocks/>
          </p:cNvGrpSpPr>
          <p:nvPr/>
        </p:nvGrpSpPr>
        <p:grpSpPr bwMode="gray">
          <a:xfrm>
            <a:off x="4148699" y="1894459"/>
            <a:ext cx="1170844" cy="546793"/>
            <a:chOff x="13446117" y="5250945"/>
            <a:chExt cx="993622" cy="439394"/>
          </a:xfrm>
        </p:grpSpPr>
        <p:sp>
          <p:nvSpPr>
            <p:cNvPr id="383" name="Rectangle 382">
              <a:extLst>
                <a:ext uri="{FF2B5EF4-FFF2-40B4-BE49-F238E27FC236}">
                  <a16:creationId xmlns:a16="http://schemas.microsoft.com/office/drawing/2014/main" id="{520569A3-D9F0-40FC-B853-77584872AF4A}"/>
                </a:ext>
              </a:extLst>
            </p:cNvPr>
            <p:cNvSpPr>
              <a:spLocks/>
            </p:cNvSpPr>
            <p:nvPr/>
          </p:nvSpPr>
          <p:spPr bwMode="gray">
            <a:xfrm>
              <a:off x="13446117" y="5250945"/>
              <a:ext cx="993622" cy="439394"/>
            </a:xfrm>
            <a:prstGeom prst="rect">
              <a:avLst/>
            </a:prstGeom>
            <a:solidFill>
              <a:schemeClr val="bg1"/>
            </a:solidFill>
            <a:ln w="6350" cap="rnd">
              <a:solidFill>
                <a:schemeClr val="bg1">
                  <a:lumMod val="5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pic>
          <p:nvPicPr>
            <p:cNvPr id="371" name="Picture 14">
              <a:extLst>
                <a:ext uri="{FF2B5EF4-FFF2-40B4-BE49-F238E27FC236}">
                  <a16:creationId xmlns:a16="http://schemas.microsoft.com/office/drawing/2014/main" id="{3467E7AC-C45C-48D6-B087-82818CA256BF}"/>
                </a:ext>
              </a:extLst>
            </p:cNvPr>
            <p:cNvPicPr>
              <a:picLocks noChangeAspect="1" noChangeArrowheads="1"/>
            </p:cNvPicPr>
            <p:nvPr/>
          </p:nvPicPr>
          <p:blipFill>
            <a:blip r:embed="rId28" cstate="hqprint">
              <a:extLst>
                <a:ext uri="{28A0092B-C50C-407E-A947-70E740481C1C}">
                  <a14:useLocalDpi xmlns:a14="http://schemas.microsoft.com/office/drawing/2010/main"/>
                </a:ext>
              </a:extLst>
            </a:blip>
            <a:srcRect/>
            <a:stretch>
              <a:fillRect/>
            </a:stretch>
          </p:blipFill>
          <p:spPr bwMode="gray">
            <a:xfrm>
              <a:off x="13554939" y="5342281"/>
              <a:ext cx="775978" cy="256722"/>
            </a:xfrm>
            <a:prstGeom prst="rect">
              <a:avLst/>
            </a:prstGeom>
            <a:noFill/>
          </p:spPr>
        </p:pic>
      </p:grpSp>
      <p:grpSp>
        <p:nvGrpSpPr>
          <p:cNvPr id="413" name="Group 412">
            <a:extLst>
              <a:ext uri="{FF2B5EF4-FFF2-40B4-BE49-F238E27FC236}">
                <a16:creationId xmlns:a16="http://schemas.microsoft.com/office/drawing/2014/main" id="{9217DCF9-5F83-4530-9755-48DDB2D1D7AA}"/>
              </a:ext>
            </a:extLst>
          </p:cNvPr>
          <p:cNvGrpSpPr>
            <a:grpSpLocks/>
          </p:cNvGrpSpPr>
          <p:nvPr/>
        </p:nvGrpSpPr>
        <p:grpSpPr bwMode="gray">
          <a:xfrm>
            <a:off x="6654381" y="4836708"/>
            <a:ext cx="1361803" cy="635972"/>
            <a:chOff x="7333531" y="1298607"/>
            <a:chExt cx="993622" cy="439394"/>
          </a:xfrm>
        </p:grpSpPr>
        <p:sp>
          <p:nvSpPr>
            <p:cNvPr id="387" name="Rectangle 386">
              <a:extLst>
                <a:ext uri="{FF2B5EF4-FFF2-40B4-BE49-F238E27FC236}">
                  <a16:creationId xmlns:a16="http://schemas.microsoft.com/office/drawing/2014/main" id="{FD3A5BF8-E8BE-49B7-932E-8A05D621BD43}"/>
                </a:ext>
              </a:extLst>
            </p:cNvPr>
            <p:cNvSpPr/>
            <p:nvPr/>
          </p:nvSpPr>
          <p:spPr bwMode="gray">
            <a:xfrm>
              <a:off x="7333531" y="1298607"/>
              <a:ext cx="993622" cy="439394"/>
            </a:xfrm>
            <a:prstGeom prst="rect">
              <a:avLst/>
            </a:prstGeom>
            <a:solidFill>
              <a:schemeClr val="bg1"/>
            </a:solidFill>
            <a:ln w="6350" cap="rnd">
              <a:solidFill>
                <a:schemeClr val="bg1">
                  <a:lumMod val="5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pic>
          <p:nvPicPr>
            <p:cNvPr id="375" name="Picture 61">
              <a:extLst>
                <a:ext uri="{FF2B5EF4-FFF2-40B4-BE49-F238E27FC236}">
                  <a16:creationId xmlns:a16="http://schemas.microsoft.com/office/drawing/2014/main" id="{86CD8465-49E2-4727-BAD3-76C9763A9702}"/>
                </a:ext>
              </a:extLst>
            </p:cNvPr>
            <p:cNvPicPr>
              <a:picLocks noChangeAspect="1" noChangeArrowheads="1"/>
            </p:cNvPicPr>
            <p:nvPr/>
          </p:nvPicPr>
          <p:blipFill rotWithShape="1">
            <a:blip r:embed="rId29" cstate="hqprint">
              <a:extLst>
                <a:ext uri="{28A0092B-C50C-407E-A947-70E740481C1C}">
                  <a14:useLocalDpi xmlns:a14="http://schemas.microsoft.com/office/drawing/2010/main"/>
                </a:ext>
              </a:extLst>
            </a:blip>
            <a:srcRect/>
            <a:stretch/>
          </p:blipFill>
          <p:spPr bwMode="gray">
            <a:xfrm>
              <a:off x="7471793" y="1347410"/>
              <a:ext cx="717098" cy="341788"/>
            </a:xfrm>
            <a:prstGeom prst="rect">
              <a:avLst/>
            </a:prstGeom>
            <a:noFill/>
          </p:spPr>
        </p:pic>
      </p:grpSp>
      <p:grpSp>
        <p:nvGrpSpPr>
          <p:cNvPr id="450" name="Group 449">
            <a:extLst>
              <a:ext uri="{FF2B5EF4-FFF2-40B4-BE49-F238E27FC236}">
                <a16:creationId xmlns:a16="http://schemas.microsoft.com/office/drawing/2014/main" id="{3D1DC765-1D93-45A9-AC33-5EFB1D643BBA}"/>
              </a:ext>
            </a:extLst>
          </p:cNvPr>
          <p:cNvGrpSpPr/>
          <p:nvPr/>
        </p:nvGrpSpPr>
        <p:grpSpPr bwMode="gray">
          <a:xfrm>
            <a:off x="4565433" y="1344787"/>
            <a:ext cx="5492937" cy="3723456"/>
            <a:chOff x="3866973" y="1468175"/>
            <a:chExt cx="5417993" cy="3611306"/>
          </a:xfrm>
        </p:grpSpPr>
        <p:sp>
          <p:nvSpPr>
            <p:cNvPr id="396" name="Freeform: Shape 395">
              <a:extLst>
                <a:ext uri="{FF2B5EF4-FFF2-40B4-BE49-F238E27FC236}">
                  <a16:creationId xmlns:a16="http://schemas.microsoft.com/office/drawing/2014/main" id="{CBF092A5-C963-4785-B569-713ABA89F1D4}"/>
                </a:ext>
              </a:extLst>
            </p:cNvPr>
            <p:cNvSpPr/>
            <p:nvPr/>
          </p:nvSpPr>
          <p:spPr bwMode="gray">
            <a:xfrm rot="10800000" flipH="1">
              <a:off x="5834461" y="3335349"/>
              <a:ext cx="86367" cy="1744132"/>
            </a:xfrm>
            <a:custGeom>
              <a:avLst/>
              <a:gdLst>
                <a:gd name="connsiteX0" fmla="*/ 0 w 114300"/>
                <a:gd name="connsiteY0" fmla="*/ 1879600 h 1879600"/>
                <a:gd name="connsiteX1" fmla="*/ 0 w 114300"/>
                <a:gd name="connsiteY1" fmla="*/ 0 h 1879600"/>
                <a:gd name="connsiteX2" fmla="*/ 114300 w 114300"/>
                <a:gd name="connsiteY2" fmla="*/ 0 h 1879600"/>
              </a:gdLst>
              <a:ahLst/>
              <a:cxnLst>
                <a:cxn ang="0">
                  <a:pos x="connsiteX0" y="connsiteY0"/>
                </a:cxn>
                <a:cxn ang="0">
                  <a:pos x="connsiteX1" y="connsiteY1"/>
                </a:cxn>
                <a:cxn ang="0">
                  <a:pos x="connsiteX2" y="connsiteY2"/>
                </a:cxn>
              </a:cxnLst>
              <a:rect l="l" t="t" r="r" b="b"/>
              <a:pathLst>
                <a:path w="114300" h="1879600">
                  <a:moveTo>
                    <a:pt x="0" y="1879600"/>
                  </a:moveTo>
                  <a:lnTo>
                    <a:pt x="0" y="0"/>
                  </a:lnTo>
                  <a:lnTo>
                    <a:pt x="114300" y="0"/>
                  </a:lnTo>
                </a:path>
              </a:pathLst>
            </a:custGeom>
            <a:noFill/>
            <a:ln w="63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14" name="Freeform: Shape 413">
              <a:extLst>
                <a:ext uri="{FF2B5EF4-FFF2-40B4-BE49-F238E27FC236}">
                  <a16:creationId xmlns:a16="http://schemas.microsoft.com/office/drawing/2014/main" id="{B3A1B2D2-191F-4B24-8ABF-EA609CD173B4}"/>
                </a:ext>
              </a:extLst>
            </p:cNvPr>
            <p:cNvSpPr/>
            <p:nvPr/>
          </p:nvSpPr>
          <p:spPr bwMode="gray">
            <a:xfrm>
              <a:off x="9200054" y="1468175"/>
              <a:ext cx="84912" cy="1581314"/>
            </a:xfrm>
            <a:custGeom>
              <a:avLst/>
              <a:gdLst>
                <a:gd name="connsiteX0" fmla="*/ 0 w 114300"/>
                <a:gd name="connsiteY0" fmla="*/ 1879600 h 1879600"/>
                <a:gd name="connsiteX1" fmla="*/ 0 w 114300"/>
                <a:gd name="connsiteY1" fmla="*/ 0 h 1879600"/>
                <a:gd name="connsiteX2" fmla="*/ 114300 w 114300"/>
                <a:gd name="connsiteY2" fmla="*/ 0 h 1879600"/>
              </a:gdLst>
              <a:ahLst/>
              <a:cxnLst>
                <a:cxn ang="0">
                  <a:pos x="connsiteX0" y="connsiteY0"/>
                </a:cxn>
                <a:cxn ang="0">
                  <a:pos x="connsiteX1" y="connsiteY1"/>
                </a:cxn>
                <a:cxn ang="0">
                  <a:pos x="connsiteX2" y="connsiteY2"/>
                </a:cxn>
              </a:cxnLst>
              <a:rect l="l" t="t" r="r" b="b"/>
              <a:pathLst>
                <a:path w="114300" h="1879600">
                  <a:moveTo>
                    <a:pt x="0" y="1879600"/>
                  </a:moveTo>
                  <a:lnTo>
                    <a:pt x="0" y="0"/>
                  </a:lnTo>
                  <a:lnTo>
                    <a:pt x="114300" y="0"/>
                  </a:lnTo>
                </a:path>
              </a:pathLst>
            </a:custGeom>
            <a:noFill/>
            <a:ln w="6350" cap="rnd">
              <a:solidFill>
                <a:schemeClr val="tx1">
                  <a:lumMod val="65000"/>
                  <a:lumOff val="3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22" name="Freeform: Shape 421">
              <a:extLst>
                <a:ext uri="{FF2B5EF4-FFF2-40B4-BE49-F238E27FC236}">
                  <a16:creationId xmlns:a16="http://schemas.microsoft.com/office/drawing/2014/main" id="{099C205C-BBDE-4186-836A-0A1116936AD5}"/>
                </a:ext>
              </a:extLst>
            </p:cNvPr>
            <p:cNvSpPr/>
            <p:nvPr/>
          </p:nvSpPr>
          <p:spPr bwMode="gray">
            <a:xfrm flipH="1">
              <a:off x="3866973" y="2886078"/>
              <a:ext cx="1044751" cy="101408"/>
            </a:xfrm>
            <a:custGeom>
              <a:avLst/>
              <a:gdLst>
                <a:gd name="connsiteX0" fmla="*/ 0 w 114300"/>
                <a:gd name="connsiteY0" fmla="*/ 1879600 h 1879600"/>
                <a:gd name="connsiteX1" fmla="*/ 0 w 114300"/>
                <a:gd name="connsiteY1" fmla="*/ 0 h 1879600"/>
                <a:gd name="connsiteX2" fmla="*/ 114300 w 114300"/>
                <a:gd name="connsiteY2" fmla="*/ 0 h 1879600"/>
              </a:gdLst>
              <a:ahLst/>
              <a:cxnLst>
                <a:cxn ang="0">
                  <a:pos x="connsiteX0" y="connsiteY0"/>
                </a:cxn>
                <a:cxn ang="0">
                  <a:pos x="connsiteX1" y="connsiteY1"/>
                </a:cxn>
                <a:cxn ang="0">
                  <a:pos x="connsiteX2" y="connsiteY2"/>
                </a:cxn>
              </a:cxnLst>
              <a:rect l="l" t="t" r="r" b="b"/>
              <a:pathLst>
                <a:path w="114300" h="1879600">
                  <a:moveTo>
                    <a:pt x="0" y="1879600"/>
                  </a:moveTo>
                  <a:lnTo>
                    <a:pt x="0" y="0"/>
                  </a:lnTo>
                  <a:lnTo>
                    <a:pt x="114300" y="0"/>
                  </a:lnTo>
                </a:path>
              </a:pathLst>
            </a:custGeom>
            <a:noFill/>
            <a:ln w="63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25" name="Freeform: Shape 424">
              <a:extLst>
                <a:ext uri="{FF2B5EF4-FFF2-40B4-BE49-F238E27FC236}">
                  <a16:creationId xmlns:a16="http://schemas.microsoft.com/office/drawing/2014/main" id="{562394E7-AB2E-4067-B954-F7992134B886}"/>
                </a:ext>
              </a:extLst>
            </p:cNvPr>
            <p:cNvSpPr/>
            <p:nvPr/>
          </p:nvSpPr>
          <p:spPr bwMode="gray">
            <a:xfrm>
              <a:off x="5495925" y="1495516"/>
              <a:ext cx="1203325" cy="1317533"/>
            </a:xfrm>
            <a:custGeom>
              <a:avLst/>
              <a:gdLst>
                <a:gd name="connsiteX0" fmla="*/ 1152525 w 1152525"/>
                <a:gd name="connsiteY0" fmla="*/ 1085850 h 1085850"/>
                <a:gd name="connsiteX1" fmla="*/ 514350 w 1152525"/>
                <a:gd name="connsiteY1" fmla="*/ 1085850 h 1085850"/>
                <a:gd name="connsiteX2" fmla="*/ 514350 w 1152525"/>
                <a:gd name="connsiteY2" fmla="*/ 0 h 1085850"/>
                <a:gd name="connsiteX3" fmla="*/ 0 w 1152525"/>
                <a:gd name="connsiteY3" fmla="*/ 0 h 1085850"/>
                <a:gd name="connsiteX0" fmla="*/ 514350 w 514350"/>
                <a:gd name="connsiteY0" fmla="*/ 1085850 h 1085850"/>
                <a:gd name="connsiteX1" fmla="*/ 514350 w 514350"/>
                <a:gd name="connsiteY1" fmla="*/ 0 h 1085850"/>
                <a:gd name="connsiteX2" fmla="*/ 0 w 514350"/>
                <a:gd name="connsiteY2" fmla="*/ 0 h 1085850"/>
              </a:gdLst>
              <a:ahLst/>
              <a:cxnLst>
                <a:cxn ang="0">
                  <a:pos x="connsiteX0" y="connsiteY0"/>
                </a:cxn>
                <a:cxn ang="0">
                  <a:pos x="connsiteX1" y="connsiteY1"/>
                </a:cxn>
                <a:cxn ang="0">
                  <a:pos x="connsiteX2" y="connsiteY2"/>
                </a:cxn>
              </a:cxnLst>
              <a:rect l="l" t="t" r="r" b="b"/>
              <a:pathLst>
                <a:path w="514350" h="1085850">
                  <a:moveTo>
                    <a:pt x="514350" y="1085850"/>
                  </a:moveTo>
                  <a:lnTo>
                    <a:pt x="514350" y="0"/>
                  </a:lnTo>
                  <a:lnTo>
                    <a:pt x="0" y="0"/>
                  </a:lnTo>
                </a:path>
              </a:pathLst>
            </a:custGeom>
            <a:noFill/>
            <a:ln w="6350" cap="rnd">
              <a:solidFill>
                <a:schemeClr val="tx1">
                  <a:lumMod val="65000"/>
                  <a:lumOff val="3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33" name="Freeform: Shape 432">
              <a:extLst>
                <a:ext uri="{FF2B5EF4-FFF2-40B4-BE49-F238E27FC236}">
                  <a16:creationId xmlns:a16="http://schemas.microsoft.com/office/drawing/2014/main" id="{6168654E-590E-4F91-950F-226BE1C943FA}"/>
                </a:ext>
              </a:extLst>
            </p:cNvPr>
            <p:cNvSpPr/>
            <p:nvPr/>
          </p:nvSpPr>
          <p:spPr bwMode="gray">
            <a:xfrm flipH="1">
              <a:off x="4622625" y="2430779"/>
              <a:ext cx="523179" cy="474345"/>
            </a:xfrm>
            <a:custGeom>
              <a:avLst/>
              <a:gdLst>
                <a:gd name="connsiteX0" fmla="*/ 0 w 114300"/>
                <a:gd name="connsiteY0" fmla="*/ 1879600 h 1879600"/>
                <a:gd name="connsiteX1" fmla="*/ 0 w 114300"/>
                <a:gd name="connsiteY1" fmla="*/ 0 h 1879600"/>
                <a:gd name="connsiteX2" fmla="*/ 114300 w 114300"/>
                <a:gd name="connsiteY2" fmla="*/ 0 h 1879600"/>
              </a:gdLst>
              <a:ahLst/>
              <a:cxnLst>
                <a:cxn ang="0">
                  <a:pos x="connsiteX0" y="connsiteY0"/>
                </a:cxn>
                <a:cxn ang="0">
                  <a:pos x="connsiteX1" y="connsiteY1"/>
                </a:cxn>
                <a:cxn ang="0">
                  <a:pos x="connsiteX2" y="connsiteY2"/>
                </a:cxn>
              </a:cxnLst>
              <a:rect l="l" t="t" r="r" b="b"/>
              <a:pathLst>
                <a:path w="114300" h="1879600">
                  <a:moveTo>
                    <a:pt x="0" y="1879600"/>
                  </a:moveTo>
                  <a:lnTo>
                    <a:pt x="0" y="0"/>
                  </a:lnTo>
                  <a:lnTo>
                    <a:pt x="114300" y="0"/>
                  </a:lnTo>
                </a:path>
              </a:pathLst>
            </a:custGeom>
            <a:noFill/>
            <a:ln w="63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18" name="Freeform: Shape 17">
              <a:extLst>
                <a:ext uri="{FF2B5EF4-FFF2-40B4-BE49-F238E27FC236}">
                  <a16:creationId xmlns:a16="http://schemas.microsoft.com/office/drawing/2014/main" id="{A0F2E7C4-01E8-D87F-DCDB-8EC22BF22E25}"/>
                </a:ext>
              </a:extLst>
            </p:cNvPr>
            <p:cNvSpPr/>
            <p:nvPr/>
          </p:nvSpPr>
          <p:spPr bwMode="gray">
            <a:xfrm>
              <a:off x="4821990" y="3253663"/>
              <a:ext cx="611150" cy="249940"/>
            </a:xfrm>
            <a:custGeom>
              <a:avLst/>
              <a:gdLst>
                <a:gd name="connsiteX0" fmla="*/ 0 w 114300"/>
                <a:gd name="connsiteY0" fmla="*/ 1879600 h 1879600"/>
                <a:gd name="connsiteX1" fmla="*/ 0 w 114300"/>
                <a:gd name="connsiteY1" fmla="*/ 0 h 1879600"/>
                <a:gd name="connsiteX2" fmla="*/ 114300 w 114300"/>
                <a:gd name="connsiteY2" fmla="*/ 0 h 1879600"/>
              </a:gdLst>
              <a:ahLst/>
              <a:cxnLst>
                <a:cxn ang="0">
                  <a:pos x="connsiteX0" y="connsiteY0"/>
                </a:cxn>
                <a:cxn ang="0">
                  <a:pos x="connsiteX1" y="connsiteY1"/>
                </a:cxn>
                <a:cxn ang="0">
                  <a:pos x="connsiteX2" y="connsiteY2"/>
                </a:cxn>
              </a:cxnLst>
              <a:rect l="l" t="t" r="r" b="b"/>
              <a:pathLst>
                <a:path w="114300" h="1879600">
                  <a:moveTo>
                    <a:pt x="0" y="1879600"/>
                  </a:moveTo>
                  <a:lnTo>
                    <a:pt x="0" y="0"/>
                  </a:lnTo>
                  <a:lnTo>
                    <a:pt x="114300" y="0"/>
                  </a:lnTo>
                </a:path>
              </a:pathLst>
            </a:custGeom>
            <a:noFill/>
            <a:ln w="63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5" name="Freeform: Shape 34">
              <a:extLst>
                <a:ext uri="{FF2B5EF4-FFF2-40B4-BE49-F238E27FC236}">
                  <a16:creationId xmlns:a16="http://schemas.microsoft.com/office/drawing/2014/main" id="{31BA3F16-EEFA-FF22-D10C-3D33AC48D089}"/>
                </a:ext>
              </a:extLst>
            </p:cNvPr>
            <p:cNvSpPr/>
            <p:nvPr/>
          </p:nvSpPr>
          <p:spPr bwMode="gray">
            <a:xfrm>
              <a:off x="4912769" y="3326636"/>
              <a:ext cx="491042" cy="287924"/>
            </a:xfrm>
            <a:custGeom>
              <a:avLst/>
              <a:gdLst>
                <a:gd name="connsiteX0" fmla="*/ 0 w 114300"/>
                <a:gd name="connsiteY0" fmla="*/ 1879600 h 1879600"/>
                <a:gd name="connsiteX1" fmla="*/ 0 w 114300"/>
                <a:gd name="connsiteY1" fmla="*/ 0 h 1879600"/>
                <a:gd name="connsiteX2" fmla="*/ 114300 w 114300"/>
                <a:gd name="connsiteY2" fmla="*/ 0 h 1879600"/>
              </a:gdLst>
              <a:ahLst/>
              <a:cxnLst>
                <a:cxn ang="0">
                  <a:pos x="connsiteX0" y="connsiteY0"/>
                </a:cxn>
                <a:cxn ang="0">
                  <a:pos x="connsiteX1" y="connsiteY1"/>
                </a:cxn>
                <a:cxn ang="0">
                  <a:pos x="connsiteX2" y="connsiteY2"/>
                </a:cxn>
              </a:cxnLst>
              <a:rect l="l" t="t" r="r" b="b"/>
              <a:pathLst>
                <a:path w="114300" h="1879600">
                  <a:moveTo>
                    <a:pt x="0" y="1879600"/>
                  </a:moveTo>
                  <a:lnTo>
                    <a:pt x="0" y="0"/>
                  </a:lnTo>
                  <a:lnTo>
                    <a:pt x="114300" y="0"/>
                  </a:lnTo>
                </a:path>
              </a:pathLst>
            </a:custGeom>
            <a:noFill/>
            <a:ln w="63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37" name="Freeform: Shape 36">
              <a:extLst>
                <a:ext uri="{FF2B5EF4-FFF2-40B4-BE49-F238E27FC236}">
                  <a16:creationId xmlns:a16="http://schemas.microsoft.com/office/drawing/2014/main" id="{4092D95B-C711-C9FD-44CF-F1E0EB2B9349}"/>
                </a:ext>
              </a:extLst>
            </p:cNvPr>
            <p:cNvSpPr/>
            <p:nvPr/>
          </p:nvSpPr>
          <p:spPr bwMode="gray">
            <a:xfrm>
              <a:off x="4949608" y="3428987"/>
              <a:ext cx="107947" cy="330856"/>
            </a:xfrm>
            <a:custGeom>
              <a:avLst/>
              <a:gdLst>
                <a:gd name="connsiteX0" fmla="*/ 0 w 114300"/>
                <a:gd name="connsiteY0" fmla="*/ 1879600 h 1879600"/>
                <a:gd name="connsiteX1" fmla="*/ 0 w 114300"/>
                <a:gd name="connsiteY1" fmla="*/ 0 h 1879600"/>
                <a:gd name="connsiteX2" fmla="*/ 114300 w 114300"/>
                <a:gd name="connsiteY2" fmla="*/ 0 h 1879600"/>
              </a:gdLst>
              <a:ahLst/>
              <a:cxnLst>
                <a:cxn ang="0">
                  <a:pos x="connsiteX0" y="connsiteY0"/>
                </a:cxn>
                <a:cxn ang="0">
                  <a:pos x="connsiteX1" y="connsiteY1"/>
                </a:cxn>
                <a:cxn ang="0">
                  <a:pos x="connsiteX2" y="connsiteY2"/>
                </a:cxn>
              </a:cxnLst>
              <a:rect l="l" t="t" r="r" b="b"/>
              <a:pathLst>
                <a:path w="114300" h="1879600">
                  <a:moveTo>
                    <a:pt x="0" y="1879600"/>
                  </a:moveTo>
                  <a:lnTo>
                    <a:pt x="0" y="0"/>
                  </a:lnTo>
                  <a:lnTo>
                    <a:pt x="114300" y="0"/>
                  </a:lnTo>
                </a:path>
              </a:pathLst>
            </a:custGeom>
            <a:noFill/>
            <a:ln w="63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grpSp>
      <p:sp>
        <p:nvSpPr>
          <p:cNvPr id="147" name="Oval 42">
            <a:extLst>
              <a:ext uri="{FF2B5EF4-FFF2-40B4-BE49-F238E27FC236}">
                <a16:creationId xmlns:a16="http://schemas.microsoft.com/office/drawing/2014/main" id="{F364A5E5-5A38-4EDF-9F17-2037271AA4B8}"/>
              </a:ext>
            </a:extLst>
          </p:cNvPr>
          <p:cNvSpPr>
            <a:spLocks noChangeArrowheads="1"/>
          </p:cNvSpPr>
          <p:nvPr/>
        </p:nvSpPr>
        <p:spPr bwMode="gray">
          <a:xfrm>
            <a:off x="9888836" y="2895775"/>
            <a:ext cx="92504" cy="99375"/>
          </a:xfrm>
          <a:prstGeom prst="ellipse">
            <a:avLst/>
          </a:prstGeom>
          <a:solidFill>
            <a:schemeClr val="accent5"/>
          </a:solidFill>
          <a:ln w="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148" name="Oval 43">
            <a:extLst>
              <a:ext uri="{FF2B5EF4-FFF2-40B4-BE49-F238E27FC236}">
                <a16:creationId xmlns:a16="http://schemas.microsoft.com/office/drawing/2014/main" id="{62AAA927-E3A1-4969-8CD9-D612C22C2C3B}"/>
              </a:ext>
            </a:extLst>
          </p:cNvPr>
          <p:cNvSpPr>
            <a:spLocks noChangeArrowheads="1"/>
          </p:cNvSpPr>
          <p:nvPr/>
        </p:nvSpPr>
        <p:spPr bwMode="gray">
          <a:xfrm>
            <a:off x="5568944" y="2782136"/>
            <a:ext cx="94099" cy="99375"/>
          </a:xfrm>
          <a:prstGeom prst="ellipse">
            <a:avLst/>
          </a:prstGeom>
          <a:solidFill>
            <a:schemeClr val="accent5"/>
          </a:solidFill>
          <a:ln w="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149" name="Oval 44">
            <a:extLst>
              <a:ext uri="{FF2B5EF4-FFF2-40B4-BE49-F238E27FC236}">
                <a16:creationId xmlns:a16="http://schemas.microsoft.com/office/drawing/2014/main" id="{8ABB7388-77CF-4245-8C3C-EA7708CB0823}"/>
              </a:ext>
            </a:extLst>
          </p:cNvPr>
          <p:cNvSpPr>
            <a:spLocks noChangeArrowheads="1"/>
          </p:cNvSpPr>
          <p:nvPr/>
        </p:nvSpPr>
        <p:spPr bwMode="gray">
          <a:xfrm>
            <a:off x="7356724" y="2631295"/>
            <a:ext cx="92504" cy="99375"/>
          </a:xfrm>
          <a:prstGeom prst="ellipse">
            <a:avLst/>
          </a:prstGeom>
          <a:solidFill>
            <a:schemeClr val="accent5"/>
          </a:solid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150" name="Oval 45">
            <a:extLst>
              <a:ext uri="{FF2B5EF4-FFF2-40B4-BE49-F238E27FC236}">
                <a16:creationId xmlns:a16="http://schemas.microsoft.com/office/drawing/2014/main" id="{BB6269E6-D3C5-4AF0-B63F-5FC343B92ED6}"/>
              </a:ext>
            </a:extLst>
          </p:cNvPr>
          <p:cNvSpPr>
            <a:spLocks noChangeArrowheads="1"/>
          </p:cNvSpPr>
          <p:nvPr/>
        </p:nvSpPr>
        <p:spPr bwMode="gray">
          <a:xfrm>
            <a:off x="7325289" y="2642590"/>
            <a:ext cx="92504" cy="99375"/>
          </a:xfrm>
          <a:prstGeom prst="ellipse">
            <a:avLst/>
          </a:prstGeom>
          <a:solidFill>
            <a:schemeClr val="accent5"/>
          </a:solid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151" name="Oval 46">
            <a:extLst>
              <a:ext uri="{FF2B5EF4-FFF2-40B4-BE49-F238E27FC236}">
                <a16:creationId xmlns:a16="http://schemas.microsoft.com/office/drawing/2014/main" id="{C6A83CE2-8B74-4091-B7CC-9C97F12B24A8}"/>
              </a:ext>
            </a:extLst>
          </p:cNvPr>
          <p:cNvSpPr>
            <a:spLocks noChangeArrowheads="1"/>
          </p:cNvSpPr>
          <p:nvPr/>
        </p:nvSpPr>
        <p:spPr bwMode="gray">
          <a:xfrm>
            <a:off x="5795222" y="2740958"/>
            <a:ext cx="92504" cy="97691"/>
          </a:xfrm>
          <a:prstGeom prst="ellipse">
            <a:avLst/>
          </a:prstGeom>
          <a:solidFill>
            <a:schemeClr val="accent5"/>
          </a:solidFill>
          <a:ln w="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444" name="Oval 45">
            <a:extLst>
              <a:ext uri="{FF2B5EF4-FFF2-40B4-BE49-F238E27FC236}">
                <a16:creationId xmlns:a16="http://schemas.microsoft.com/office/drawing/2014/main" id="{BB43A5D4-7E9F-4AF9-998B-80B123080687}"/>
              </a:ext>
            </a:extLst>
          </p:cNvPr>
          <p:cNvSpPr>
            <a:spLocks noChangeArrowheads="1"/>
          </p:cNvSpPr>
          <p:nvPr/>
        </p:nvSpPr>
        <p:spPr bwMode="gray">
          <a:xfrm>
            <a:off x="6503357" y="3193363"/>
            <a:ext cx="92504" cy="99375"/>
          </a:xfrm>
          <a:prstGeom prst="ellipse">
            <a:avLst/>
          </a:prstGeom>
          <a:solidFill>
            <a:schemeClr val="accent5"/>
          </a:solidFill>
          <a:ln w="1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271" name="TextBox 270">
            <a:extLst>
              <a:ext uri="{FF2B5EF4-FFF2-40B4-BE49-F238E27FC236}">
                <a16:creationId xmlns:a16="http://schemas.microsoft.com/office/drawing/2014/main" id="{F5026111-C762-49B9-B6DC-5CA6E5AE2B49}"/>
              </a:ext>
            </a:extLst>
          </p:cNvPr>
          <p:cNvSpPr txBox="1"/>
          <p:nvPr/>
        </p:nvSpPr>
        <p:spPr bwMode="gray">
          <a:xfrm>
            <a:off x="6180783" y="5860524"/>
            <a:ext cx="221596" cy="157104"/>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000" b="1" i="0" u="none" strike="noStrike" kern="1200" cap="none" spc="0" normalizeH="0" baseline="0" noProof="0" dirty="0">
                <a:ln>
                  <a:noFill/>
                </a:ln>
                <a:solidFill>
                  <a:srgbClr val="051C2C"/>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TAG</a:t>
            </a:r>
          </a:p>
        </p:txBody>
      </p:sp>
      <p:sp>
        <p:nvSpPr>
          <p:cNvPr id="277" name="TextBox 276">
            <a:extLst>
              <a:ext uri="{FF2B5EF4-FFF2-40B4-BE49-F238E27FC236}">
                <a16:creationId xmlns:a16="http://schemas.microsoft.com/office/drawing/2014/main" id="{F19A3EB5-A122-4AB3-951F-BD3CE3AF6E71}"/>
              </a:ext>
            </a:extLst>
          </p:cNvPr>
          <p:cNvSpPr txBox="1"/>
          <p:nvPr/>
        </p:nvSpPr>
        <p:spPr bwMode="gray">
          <a:xfrm>
            <a:off x="6441832" y="1960253"/>
            <a:ext cx="266535" cy="157105"/>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000" b="1" i="0" u="none" strike="noStrike" kern="1200" cap="none" spc="0" normalizeH="0" baseline="0" noProof="0" dirty="0">
                <a:ln>
                  <a:noFill/>
                </a:ln>
                <a:solidFill>
                  <a:srgbClr val="2251FF"/>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WAG</a:t>
            </a:r>
          </a:p>
        </p:txBody>
      </p:sp>
      <p:sp>
        <p:nvSpPr>
          <p:cNvPr id="285" name="TextBox 284">
            <a:extLst>
              <a:ext uri="{FF2B5EF4-FFF2-40B4-BE49-F238E27FC236}">
                <a16:creationId xmlns:a16="http://schemas.microsoft.com/office/drawing/2014/main" id="{9A12C33B-CC79-45EB-A6DE-6417D94814D5}"/>
              </a:ext>
            </a:extLst>
          </p:cNvPr>
          <p:cNvSpPr txBox="1"/>
          <p:nvPr/>
        </p:nvSpPr>
        <p:spPr bwMode="gray">
          <a:xfrm>
            <a:off x="5413606" y="2880350"/>
            <a:ext cx="182855" cy="157104"/>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000" b="1" i="0" u="none" strike="noStrike" kern="1200" cap="none" spc="0" normalizeH="0" baseline="0" noProof="0" dirty="0">
                <a:ln>
                  <a:noFill/>
                </a:ln>
                <a:solidFill>
                  <a:srgbClr val="00A9F4"/>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PW</a:t>
            </a:r>
          </a:p>
        </p:txBody>
      </p:sp>
      <p:sp>
        <p:nvSpPr>
          <p:cNvPr id="286" name="TextBox 285">
            <a:extLst>
              <a:ext uri="{FF2B5EF4-FFF2-40B4-BE49-F238E27FC236}">
                <a16:creationId xmlns:a16="http://schemas.microsoft.com/office/drawing/2014/main" id="{4322FA96-4065-4726-A0C4-EBE93F081175}"/>
              </a:ext>
            </a:extLst>
          </p:cNvPr>
          <p:cNvSpPr txBox="1"/>
          <p:nvPr/>
        </p:nvSpPr>
        <p:spPr bwMode="gray">
          <a:xfrm>
            <a:off x="10748387" y="3168090"/>
            <a:ext cx="244840" cy="157104"/>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000" b="1" i="0" u="none" strike="noStrike" kern="1200" cap="none" spc="0" normalizeH="0" baseline="0" noProof="0" dirty="0">
                <a:ln>
                  <a:noFill/>
                </a:ln>
                <a:solidFill>
                  <a:srgbClr val="FFC00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HAG</a:t>
            </a:r>
          </a:p>
        </p:txBody>
      </p:sp>
      <p:sp>
        <p:nvSpPr>
          <p:cNvPr id="287" name="TextBox 286">
            <a:extLst>
              <a:ext uri="{FF2B5EF4-FFF2-40B4-BE49-F238E27FC236}">
                <a16:creationId xmlns:a16="http://schemas.microsoft.com/office/drawing/2014/main" id="{9B747657-E9AA-4F07-BE35-1DFF39C5AB69}"/>
              </a:ext>
            </a:extLst>
          </p:cNvPr>
          <p:cNvSpPr txBox="1"/>
          <p:nvPr/>
        </p:nvSpPr>
        <p:spPr bwMode="gray">
          <a:xfrm>
            <a:off x="10658742" y="2959414"/>
            <a:ext cx="190604" cy="157104"/>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000" b="1" i="0" u="none" strike="noStrike" kern="1200" cap="none" spc="0" normalizeH="0" baseline="0" noProof="0" dirty="0">
                <a:ln>
                  <a:noFill/>
                </a:ln>
                <a:solidFill>
                  <a:srgbClr val="FAA082"/>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KIP</a:t>
            </a:r>
          </a:p>
        </p:txBody>
      </p:sp>
      <p:sp>
        <p:nvSpPr>
          <p:cNvPr id="289" name="TextBox 288">
            <a:extLst>
              <a:ext uri="{FF2B5EF4-FFF2-40B4-BE49-F238E27FC236}">
                <a16:creationId xmlns:a16="http://schemas.microsoft.com/office/drawing/2014/main" id="{D16B1F3A-C93C-4F06-AE06-D0733ACC74F5}"/>
              </a:ext>
            </a:extLst>
          </p:cNvPr>
          <p:cNvSpPr txBox="1"/>
          <p:nvPr/>
        </p:nvSpPr>
        <p:spPr bwMode="gray">
          <a:xfrm>
            <a:off x="10484026" y="2394407"/>
            <a:ext cx="257237" cy="157104"/>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000" b="1" i="0" u="none" strike="noStrike" kern="1200" cap="none" spc="0" normalizeH="0" baseline="0" noProof="0" dirty="0">
                <a:ln>
                  <a:noFill/>
                </a:ln>
                <a:solidFill>
                  <a:srgbClr val="7030A0"/>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MAB</a:t>
            </a:r>
          </a:p>
        </p:txBody>
      </p:sp>
      <p:sp>
        <p:nvSpPr>
          <p:cNvPr id="290" name="TextBox 289">
            <a:extLst>
              <a:ext uri="{FF2B5EF4-FFF2-40B4-BE49-F238E27FC236}">
                <a16:creationId xmlns:a16="http://schemas.microsoft.com/office/drawing/2014/main" id="{F1594010-2BA9-4D89-B731-887FF825DF09}"/>
              </a:ext>
            </a:extLst>
          </p:cNvPr>
          <p:cNvSpPr txBox="1"/>
          <p:nvPr/>
        </p:nvSpPr>
        <p:spPr bwMode="gray">
          <a:xfrm>
            <a:off x="8872299" y="5662871"/>
            <a:ext cx="227795" cy="157104"/>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000" b="1" i="0" u="none" strike="noStrike" kern="1200" cap="none" spc="0" normalizeH="0" baseline="0" noProof="0" dirty="0">
                <a:ln>
                  <a:noFill/>
                </a:ln>
                <a:solidFill>
                  <a:srgbClr val="7F7F7F"/>
                </a:solidFill>
                <a:effectLst/>
                <a:uLnTx/>
                <a:uFillTx/>
                <a:latin typeface="Bahnschrift" panose="020B0502040204020203" pitchFamily="34" charset="0"/>
                <a:ea typeface="+mn-ea"/>
                <a:cs typeface="Arial" panose="020B0604020202020204" pitchFamily="34" charset="0"/>
                <a:sym typeface="Bahnschrift" panose="020B0502040204020203" pitchFamily="34" charset="0"/>
              </a:rPr>
              <a:t>SOL</a:t>
            </a:r>
          </a:p>
        </p:txBody>
      </p:sp>
      <p:sp>
        <p:nvSpPr>
          <p:cNvPr id="128" name="Rectangle 20">
            <a:extLst>
              <a:ext uri="{FF2B5EF4-FFF2-40B4-BE49-F238E27FC236}">
                <a16:creationId xmlns:a16="http://schemas.microsoft.com/office/drawing/2014/main" id="{3859A32E-2DBD-4D69-BF85-D4BA834BE440}"/>
              </a:ext>
            </a:extLst>
          </p:cNvPr>
          <p:cNvSpPr>
            <a:spLocks noChangeArrowheads="1"/>
          </p:cNvSpPr>
          <p:nvPr/>
        </p:nvSpPr>
        <p:spPr bwMode="gray">
          <a:xfrm>
            <a:off x="9575435" y="2649133"/>
            <a:ext cx="376558" cy="1571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323232"/>
                </a:solidFill>
                <a:effectLst/>
                <a:uLnTx/>
                <a:uFillTx/>
                <a:latin typeface="Bahnschrift" panose="020B0502040204020203" pitchFamily="34" charset="0"/>
                <a:ea typeface="+mn-ea"/>
                <a:cs typeface="+mn-cs"/>
                <a:sym typeface="Bahnschrift" panose="020B0502040204020203" pitchFamily="34" charset="0"/>
              </a:rPr>
              <a:t>Vienna</a:t>
            </a:r>
            <a:endPar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129" name="Rectangle 48">
            <a:extLst>
              <a:ext uri="{FF2B5EF4-FFF2-40B4-BE49-F238E27FC236}">
                <a16:creationId xmlns:a16="http://schemas.microsoft.com/office/drawing/2014/main" id="{94C61D22-E7CA-4C7A-B4C1-DE9FC8A9BB09}"/>
              </a:ext>
            </a:extLst>
          </p:cNvPr>
          <p:cNvSpPr>
            <a:spLocks noChangeArrowheads="1"/>
          </p:cNvSpPr>
          <p:nvPr/>
        </p:nvSpPr>
        <p:spPr bwMode="gray">
          <a:xfrm>
            <a:off x="7064464" y="2609684"/>
            <a:ext cx="233993" cy="1571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Linz</a:t>
            </a:r>
          </a:p>
        </p:txBody>
      </p:sp>
      <p:sp>
        <p:nvSpPr>
          <p:cNvPr id="130" name="Rectangle 50">
            <a:extLst>
              <a:ext uri="{FF2B5EF4-FFF2-40B4-BE49-F238E27FC236}">
                <a16:creationId xmlns:a16="http://schemas.microsoft.com/office/drawing/2014/main" id="{F8C33A1E-1B0F-494F-8753-BC80396A6B78}"/>
              </a:ext>
            </a:extLst>
          </p:cNvPr>
          <p:cNvSpPr>
            <a:spLocks noChangeArrowheads="1"/>
          </p:cNvSpPr>
          <p:nvPr/>
        </p:nvSpPr>
        <p:spPr bwMode="gray">
          <a:xfrm>
            <a:off x="5070550" y="2573628"/>
            <a:ext cx="650841" cy="1571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Überackern</a:t>
            </a:r>
          </a:p>
        </p:txBody>
      </p:sp>
      <p:sp>
        <p:nvSpPr>
          <p:cNvPr id="131" name="Rectangle 51">
            <a:extLst>
              <a:ext uri="{FF2B5EF4-FFF2-40B4-BE49-F238E27FC236}">
                <a16:creationId xmlns:a16="http://schemas.microsoft.com/office/drawing/2014/main" id="{934FF707-3954-49E1-8633-53C4356F766B}"/>
              </a:ext>
            </a:extLst>
          </p:cNvPr>
          <p:cNvSpPr>
            <a:spLocks noChangeArrowheads="1"/>
          </p:cNvSpPr>
          <p:nvPr/>
        </p:nvSpPr>
        <p:spPr bwMode="gray">
          <a:xfrm>
            <a:off x="6026758" y="2161235"/>
            <a:ext cx="638444" cy="1571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Oberkappel</a:t>
            </a:r>
          </a:p>
        </p:txBody>
      </p:sp>
      <p:sp>
        <p:nvSpPr>
          <p:cNvPr id="132" name="Rectangle 52">
            <a:extLst>
              <a:ext uri="{FF2B5EF4-FFF2-40B4-BE49-F238E27FC236}">
                <a16:creationId xmlns:a16="http://schemas.microsoft.com/office/drawing/2014/main" id="{415AA71A-6354-4601-9BE7-D0E8928CC0F1}"/>
              </a:ext>
            </a:extLst>
          </p:cNvPr>
          <p:cNvSpPr>
            <a:spLocks noChangeArrowheads="1"/>
          </p:cNvSpPr>
          <p:nvPr/>
        </p:nvSpPr>
        <p:spPr bwMode="gray">
          <a:xfrm>
            <a:off x="10465688" y="2531146"/>
            <a:ext cx="684932" cy="1571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Baumgarten</a:t>
            </a:r>
          </a:p>
        </p:txBody>
      </p:sp>
      <p:sp>
        <p:nvSpPr>
          <p:cNvPr id="134" name="Rectangle 54">
            <a:extLst>
              <a:ext uri="{FF2B5EF4-FFF2-40B4-BE49-F238E27FC236}">
                <a16:creationId xmlns:a16="http://schemas.microsoft.com/office/drawing/2014/main" id="{7121A1C6-F6C5-4247-B1CD-2FA7273932DC}"/>
              </a:ext>
            </a:extLst>
          </p:cNvPr>
          <p:cNvSpPr>
            <a:spLocks noChangeArrowheads="1"/>
          </p:cNvSpPr>
          <p:nvPr/>
        </p:nvSpPr>
        <p:spPr bwMode="gray">
          <a:xfrm>
            <a:off x="4867502" y="2771758"/>
            <a:ext cx="672535" cy="1571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Burghausen</a:t>
            </a:r>
          </a:p>
        </p:txBody>
      </p:sp>
      <p:sp>
        <p:nvSpPr>
          <p:cNvPr id="137" name="Rectangle 57">
            <a:extLst>
              <a:ext uri="{FF2B5EF4-FFF2-40B4-BE49-F238E27FC236}">
                <a16:creationId xmlns:a16="http://schemas.microsoft.com/office/drawing/2014/main" id="{0854C506-C6FC-4321-A55F-9768AD8B639B}"/>
              </a:ext>
            </a:extLst>
          </p:cNvPr>
          <p:cNvSpPr>
            <a:spLocks noChangeArrowheads="1"/>
          </p:cNvSpPr>
          <p:nvPr/>
        </p:nvSpPr>
        <p:spPr bwMode="gray">
          <a:xfrm>
            <a:off x="5881838" y="2545680"/>
            <a:ext cx="593506" cy="1571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Ranshofen</a:t>
            </a:r>
          </a:p>
        </p:txBody>
      </p:sp>
      <p:sp>
        <p:nvSpPr>
          <p:cNvPr id="138" name="Rectangle 58">
            <a:extLst>
              <a:ext uri="{FF2B5EF4-FFF2-40B4-BE49-F238E27FC236}">
                <a16:creationId xmlns:a16="http://schemas.microsoft.com/office/drawing/2014/main" id="{8E24FE4B-D0ED-4F29-AC10-F66189215CA4}"/>
              </a:ext>
            </a:extLst>
          </p:cNvPr>
          <p:cNvSpPr>
            <a:spLocks noChangeArrowheads="1"/>
          </p:cNvSpPr>
          <p:nvPr/>
        </p:nvSpPr>
        <p:spPr bwMode="gray">
          <a:xfrm>
            <a:off x="5954742" y="3469593"/>
            <a:ext cx="495879" cy="1571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Salzburg</a:t>
            </a:r>
          </a:p>
        </p:txBody>
      </p:sp>
      <p:sp>
        <p:nvSpPr>
          <p:cNvPr id="139" name="Rectangle 59">
            <a:extLst>
              <a:ext uri="{FF2B5EF4-FFF2-40B4-BE49-F238E27FC236}">
                <a16:creationId xmlns:a16="http://schemas.microsoft.com/office/drawing/2014/main" id="{0B75BA48-BE53-474E-90AC-49AECFC0226D}"/>
              </a:ext>
            </a:extLst>
          </p:cNvPr>
          <p:cNvSpPr>
            <a:spLocks noChangeArrowheads="1"/>
          </p:cNvSpPr>
          <p:nvPr/>
        </p:nvSpPr>
        <p:spPr bwMode="gray">
          <a:xfrm>
            <a:off x="10036159" y="3505804"/>
            <a:ext cx="582658" cy="1571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Eisenstadt</a:t>
            </a:r>
          </a:p>
        </p:txBody>
      </p:sp>
      <p:sp>
        <p:nvSpPr>
          <p:cNvPr id="140" name="Rectangle 60">
            <a:extLst>
              <a:ext uri="{FF2B5EF4-FFF2-40B4-BE49-F238E27FC236}">
                <a16:creationId xmlns:a16="http://schemas.microsoft.com/office/drawing/2014/main" id="{831AFC26-6941-4D35-8EE3-BE075B1DD624}"/>
              </a:ext>
            </a:extLst>
          </p:cNvPr>
          <p:cNvSpPr>
            <a:spLocks noChangeArrowheads="1"/>
          </p:cNvSpPr>
          <p:nvPr/>
        </p:nvSpPr>
        <p:spPr bwMode="gray">
          <a:xfrm>
            <a:off x="8522501" y="4691399"/>
            <a:ext cx="261887" cy="1571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Graz</a:t>
            </a:r>
          </a:p>
        </p:txBody>
      </p:sp>
      <p:sp>
        <p:nvSpPr>
          <p:cNvPr id="141" name="Rectangle 61">
            <a:extLst>
              <a:ext uri="{FF2B5EF4-FFF2-40B4-BE49-F238E27FC236}">
                <a16:creationId xmlns:a16="http://schemas.microsoft.com/office/drawing/2014/main" id="{1482ACE3-DD72-4595-8F3F-6241D05C70D9}"/>
              </a:ext>
            </a:extLst>
          </p:cNvPr>
          <p:cNvSpPr>
            <a:spLocks noChangeArrowheads="1"/>
          </p:cNvSpPr>
          <p:nvPr/>
        </p:nvSpPr>
        <p:spPr bwMode="gray">
          <a:xfrm>
            <a:off x="3715473" y="4349481"/>
            <a:ext cx="553216" cy="1571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Innsbruck</a:t>
            </a:r>
          </a:p>
        </p:txBody>
      </p:sp>
      <p:sp>
        <p:nvSpPr>
          <p:cNvPr id="142" name="Rectangle 62">
            <a:extLst>
              <a:ext uri="{FF2B5EF4-FFF2-40B4-BE49-F238E27FC236}">
                <a16:creationId xmlns:a16="http://schemas.microsoft.com/office/drawing/2014/main" id="{A515A9AA-6E57-442A-8FF8-46BC0C6A993B}"/>
              </a:ext>
            </a:extLst>
          </p:cNvPr>
          <p:cNvSpPr>
            <a:spLocks noChangeArrowheads="1"/>
          </p:cNvSpPr>
          <p:nvPr/>
        </p:nvSpPr>
        <p:spPr bwMode="gray">
          <a:xfrm>
            <a:off x="1884250" y="4187785"/>
            <a:ext cx="464887" cy="1571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Bregenz</a:t>
            </a:r>
          </a:p>
        </p:txBody>
      </p:sp>
      <p:sp>
        <p:nvSpPr>
          <p:cNvPr id="143" name="Rectangle 63">
            <a:extLst>
              <a:ext uri="{FF2B5EF4-FFF2-40B4-BE49-F238E27FC236}">
                <a16:creationId xmlns:a16="http://schemas.microsoft.com/office/drawing/2014/main" id="{CD33602D-169A-450F-8460-542C591E56DD}"/>
              </a:ext>
            </a:extLst>
          </p:cNvPr>
          <p:cNvSpPr>
            <a:spLocks noChangeArrowheads="1"/>
          </p:cNvSpPr>
          <p:nvPr/>
        </p:nvSpPr>
        <p:spPr bwMode="gray">
          <a:xfrm>
            <a:off x="9032826" y="5396242"/>
            <a:ext cx="424597" cy="1571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Murfeld</a:t>
            </a:r>
          </a:p>
        </p:txBody>
      </p:sp>
      <p:sp>
        <p:nvSpPr>
          <p:cNvPr id="144" name="Rectangle 64">
            <a:extLst>
              <a:ext uri="{FF2B5EF4-FFF2-40B4-BE49-F238E27FC236}">
                <a16:creationId xmlns:a16="http://schemas.microsoft.com/office/drawing/2014/main" id="{FDC10597-4682-42A3-9BCD-4103E3FDD2DC}"/>
              </a:ext>
            </a:extLst>
          </p:cNvPr>
          <p:cNvSpPr>
            <a:spLocks noChangeArrowheads="1"/>
          </p:cNvSpPr>
          <p:nvPr/>
        </p:nvSpPr>
        <p:spPr bwMode="gray">
          <a:xfrm>
            <a:off x="6081580" y="5579393"/>
            <a:ext cx="644642" cy="1571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Arnoldstein</a:t>
            </a:r>
          </a:p>
        </p:txBody>
      </p:sp>
      <p:sp>
        <p:nvSpPr>
          <p:cNvPr id="145" name="Rectangle 65">
            <a:extLst>
              <a:ext uri="{FF2B5EF4-FFF2-40B4-BE49-F238E27FC236}">
                <a16:creationId xmlns:a16="http://schemas.microsoft.com/office/drawing/2014/main" id="{7DB64D6B-C81E-4EF6-87B5-CCBD43C1B4D7}"/>
              </a:ext>
            </a:extLst>
          </p:cNvPr>
          <p:cNvSpPr>
            <a:spLocks noChangeArrowheads="1"/>
          </p:cNvSpPr>
          <p:nvPr/>
        </p:nvSpPr>
        <p:spPr bwMode="gray">
          <a:xfrm>
            <a:off x="10342247" y="3323144"/>
            <a:ext cx="1035147" cy="1571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Mosonmagyarovar</a:t>
            </a:r>
          </a:p>
        </p:txBody>
      </p:sp>
      <p:sp>
        <p:nvSpPr>
          <p:cNvPr id="445" name="Rectangle 54">
            <a:extLst>
              <a:ext uri="{FF2B5EF4-FFF2-40B4-BE49-F238E27FC236}">
                <a16:creationId xmlns:a16="http://schemas.microsoft.com/office/drawing/2014/main" id="{E1E9BC2B-D237-4469-A424-CCAB79E151D1}"/>
              </a:ext>
            </a:extLst>
          </p:cNvPr>
          <p:cNvSpPr>
            <a:spLocks noChangeArrowheads="1"/>
          </p:cNvSpPr>
          <p:nvPr/>
        </p:nvSpPr>
        <p:spPr bwMode="gray">
          <a:xfrm>
            <a:off x="6608972" y="3285002"/>
            <a:ext cx="436993" cy="1571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Lenzing</a:t>
            </a:r>
          </a:p>
        </p:txBody>
      </p:sp>
      <p:sp>
        <p:nvSpPr>
          <p:cNvPr id="452" name="Rectangle 56">
            <a:extLst>
              <a:ext uri="{FF2B5EF4-FFF2-40B4-BE49-F238E27FC236}">
                <a16:creationId xmlns:a16="http://schemas.microsoft.com/office/drawing/2014/main" id="{B347F917-0C97-4041-B084-48DDB1E8CE1C}"/>
              </a:ext>
            </a:extLst>
          </p:cNvPr>
          <p:cNvSpPr>
            <a:spLocks noChangeArrowheads="1"/>
          </p:cNvSpPr>
          <p:nvPr/>
        </p:nvSpPr>
        <p:spPr bwMode="gray">
          <a:xfrm>
            <a:off x="9400217" y="5099682"/>
            <a:ext cx="1490736" cy="1571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Heiligenkreuz im Lafnitztal</a:t>
            </a:r>
          </a:p>
        </p:txBody>
      </p:sp>
      <p:sp>
        <p:nvSpPr>
          <p:cNvPr id="655" name="Oval 47">
            <a:extLst>
              <a:ext uri="{FF2B5EF4-FFF2-40B4-BE49-F238E27FC236}">
                <a16:creationId xmlns:a16="http://schemas.microsoft.com/office/drawing/2014/main" id="{5AF2DC42-B1F1-454A-97C5-ADC7480937A1}"/>
              </a:ext>
            </a:extLst>
          </p:cNvPr>
          <p:cNvSpPr>
            <a:spLocks noChangeArrowheads="1"/>
          </p:cNvSpPr>
          <p:nvPr/>
        </p:nvSpPr>
        <p:spPr bwMode="gray">
          <a:xfrm>
            <a:off x="8192211" y="4318661"/>
            <a:ext cx="94099" cy="97691"/>
          </a:xfrm>
          <a:prstGeom prst="ellipse">
            <a:avLst/>
          </a:prstGeom>
          <a:solidFill>
            <a:schemeClr val="accent5"/>
          </a:solidFill>
          <a:ln w="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658" name="Freeform: Shape 657">
            <a:extLst>
              <a:ext uri="{FF2B5EF4-FFF2-40B4-BE49-F238E27FC236}">
                <a16:creationId xmlns:a16="http://schemas.microsoft.com/office/drawing/2014/main" id="{FA542BE9-AFB1-4792-AAAB-89DBE2A9B532}"/>
              </a:ext>
            </a:extLst>
          </p:cNvPr>
          <p:cNvSpPr/>
          <p:nvPr/>
        </p:nvSpPr>
        <p:spPr bwMode="gray">
          <a:xfrm rot="16200000" flipH="1">
            <a:off x="9245837" y="3255676"/>
            <a:ext cx="48507" cy="2070444"/>
          </a:xfrm>
          <a:custGeom>
            <a:avLst/>
            <a:gdLst>
              <a:gd name="connsiteX0" fmla="*/ 0 w 114300"/>
              <a:gd name="connsiteY0" fmla="*/ 1879600 h 1879600"/>
              <a:gd name="connsiteX1" fmla="*/ 0 w 114300"/>
              <a:gd name="connsiteY1" fmla="*/ 0 h 1879600"/>
              <a:gd name="connsiteX2" fmla="*/ 114300 w 114300"/>
              <a:gd name="connsiteY2" fmla="*/ 0 h 1879600"/>
            </a:gdLst>
            <a:ahLst/>
            <a:cxnLst>
              <a:cxn ang="0">
                <a:pos x="connsiteX0" y="connsiteY0"/>
              </a:cxn>
              <a:cxn ang="0">
                <a:pos x="connsiteX1" y="connsiteY1"/>
              </a:cxn>
              <a:cxn ang="0">
                <a:pos x="connsiteX2" y="connsiteY2"/>
              </a:cxn>
            </a:cxnLst>
            <a:rect l="l" t="t" r="r" b="b"/>
            <a:pathLst>
              <a:path w="114300" h="1879600">
                <a:moveTo>
                  <a:pt x="0" y="1879600"/>
                </a:moveTo>
                <a:lnTo>
                  <a:pt x="0" y="0"/>
                </a:lnTo>
                <a:lnTo>
                  <a:pt x="114300" y="0"/>
                </a:lnTo>
              </a:path>
            </a:pathLst>
          </a:custGeom>
          <a:noFill/>
          <a:ln w="6350" cap="rnd">
            <a:solidFill>
              <a:schemeClr val="tx1">
                <a:lumMod val="65000"/>
                <a:lumOff val="3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grpSp>
        <p:nvGrpSpPr>
          <p:cNvPr id="9" name="Group 8">
            <a:extLst>
              <a:ext uri="{FF2B5EF4-FFF2-40B4-BE49-F238E27FC236}">
                <a16:creationId xmlns:a16="http://schemas.microsoft.com/office/drawing/2014/main" id="{FDBDD4B3-2AE6-4823-95BB-078B40616E98}"/>
              </a:ext>
            </a:extLst>
          </p:cNvPr>
          <p:cNvGrpSpPr>
            <a:grpSpLocks/>
          </p:cNvGrpSpPr>
          <p:nvPr/>
        </p:nvGrpSpPr>
        <p:grpSpPr bwMode="gray">
          <a:xfrm>
            <a:off x="10013950" y="4230919"/>
            <a:ext cx="1361803" cy="635972"/>
            <a:chOff x="8600459" y="5677649"/>
            <a:chExt cx="1042246" cy="439394"/>
          </a:xfrm>
        </p:grpSpPr>
        <p:sp>
          <p:nvSpPr>
            <p:cNvPr id="657" name="Rectangle 656">
              <a:extLst>
                <a:ext uri="{FF2B5EF4-FFF2-40B4-BE49-F238E27FC236}">
                  <a16:creationId xmlns:a16="http://schemas.microsoft.com/office/drawing/2014/main" id="{02386B37-5646-4EC7-9071-59D4DA04211C}"/>
                </a:ext>
              </a:extLst>
            </p:cNvPr>
            <p:cNvSpPr/>
            <p:nvPr/>
          </p:nvSpPr>
          <p:spPr bwMode="gray">
            <a:xfrm>
              <a:off x="8600459" y="5677649"/>
              <a:ext cx="993622" cy="439394"/>
            </a:xfrm>
            <a:prstGeom prst="rect">
              <a:avLst/>
            </a:prstGeom>
            <a:solidFill>
              <a:schemeClr val="bg1"/>
            </a:solidFill>
            <a:ln w="6350" cap="rnd">
              <a:solidFill>
                <a:schemeClr val="bg1">
                  <a:lumMod val="5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pic>
          <p:nvPicPr>
            <p:cNvPr id="654" name="Picture 8" descr="New voestalpine corporate design - voestalpine">
              <a:extLst>
                <a:ext uri="{FF2B5EF4-FFF2-40B4-BE49-F238E27FC236}">
                  <a16:creationId xmlns:a16="http://schemas.microsoft.com/office/drawing/2014/main" id="{ECA2D99D-0436-4CFC-B7A4-6F7D40A364F3}"/>
                </a:ext>
              </a:extLst>
            </p:cNvPr>
            <p:cNvPicPr>
              <a:picLocks noChangeAspect="1" noChangeArrowheads="1"/>
            </p:cNvPicPr>
            <p:nvPr/>
          </p:nvPicPr>
          <p:blipFill rotWithShape="1">
            <a:blip r:embed="rId30"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gray">
            <a:xfrm>
              <a:off x="8700143" y="5787190"/>
              <a:ext cx="942562" cy="251681"/>
            </a:xfrm>
            <a:prstGeom prst="rect">
              <a:avLst/>
            </a:prstGeom>
            <a:noFill/>
          </p:spPr>
        </p:pic>
      </p:grpSp>
      <p:sp>
        <p:nvSpPr>
          <p:cNvPr id="656" name="Rectangle 52">
            <a:extLst>
              <a:ext uri="{FF2B5EF4-FFF2-40B4-BE49-F238E27FC236}">
                <a16:creationId xmlns:a16="http://schemas.microsoft.com/office/drawing/2014/main" id="{7948F6F7-427D-47AF-81A0-23350F5F43A0}"/>
              </a:ext>
            </a:extLst>
          </p:cNvPr>
          <p:cNvSpPr>
            <a:spLocks noChangeArrowheads="1"/>
          </p:cNvSpPr>
          <p:nvPr/>
        </p:nvSpPr>
        <p:spPr bwMode="gray">
          <a:xfrm>
            <a:off x="7875176" y="4108645"/>
            <a:ext cx="516024" cy="1571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Donawitz</a:t>
            </a:r>
          </a:p>
        </p:txBody>
      </p:sp>
      <p:grpSp>
        <p:nvGrpSpPr>
          <p:cNvPr id="660" name="Group 659">
            <a:extLst>
              <a:ext uri="{FF2B5EF4-FFF2-40B4-BE49-F238E27FC236}">
                <a16:creationId xmlns:a16="http://schemas.microsoft.com/office/drawing/2014/main" id="{4869C571-6143-49AB-853F-71674070678A}"/>
              </a:ext>
            </a:extLst>
          </p:cNvPr>
          <p:cNvGrpSpPr/>
          <p:nvPr/>
        </p:nvGrpSpPr>
        <p:grpSpPr bwMode="gray">
          <a:xfrm>
            <a:off x="10460137" y="2853132"/>
            <a:ext cx="174312" cy="178475"/>
            <a:chOff x="-3166629" y="2914650"/>
            <a:chExt cx="3788929" cy="3797839"/>
          </a:xfrm>
          <a:solidFill>
            <a:schemeClr val="tx1">
              <a:lumMod val="65000"/>
              <a:lumOff val="35000"/>
            </a:schemeClr>
          </a:solidFill>
        </p:grpSpPr>
        <p:sp>
          <p:nvSpPr>
            <p:cNvPr id="661" name="Oval 68">
              <a:extLst>
                <a:ext uri="{FF2B5EF4-FFF2-40B4-BE49-F238E27FC236}">
                  <a16:creationId xmlns:a16="http://schemas.microsoft.com/office/drawing/2014/main" id="{9F12D043-AF5A-4BF7-B2C7-DEC8F69FEB93}"/>
                </a:ext>
              </a:extLst>
            </p:cNvPr>
            <p:cNvSpPr/>
            <p:nvPr/>
          </p:nvSpPr>
          <p:spPr bwMode="gray">
            <a:xfrm>
              <a:off x="-2676410" y="3416300"/>
              <a:ext cx="2805970" cy="2805970"/>
            </a:xfrm>
            <a:custGeom>
              <a:avLst/>
              <a:gdLst/>
              <a:ahLst/>
              <a:cxnLst/>
              <a:rect l="l" t="t" r="r" b="b"/>
              <a:pathLst>
                <a:path w="2805970" h="2805970">
                  <a:moveTo>
                    <a:pt x="1402985" y="0"/>
                  </a:moveTo>
                  <a:cubicBezTo>
                    <a:pt x="1729064" y="0"/>
                    <a:pt x="2029161" y="111242"/>
                    <a:pt x="2266617" y="298840"/>
                  </a:cubicBezTo>
                  <a:lnTo>
                    <a:pt x="1990373" y="572059"/>
                  </a:lnTo>
                  <a:cubicBezTo>
                    <a:pt x="1824790" y="453775"/>
                    <a:pt x="1621959" y="384660"/>
                    <a:pt x="1402985" y="384660"/>
                  </a:cubicBezTo>
                  <a:cubicBezTo>
                    <a:pt x="840580" y="384660"/>
                    <a:pt x="384660" y="840580"/>
                    <a:pt x="384660" y="1402985"/>
                  </a:cubicBezTo>
                  <a:cubicBezTo>
                    <a:pt x="384660" y="1965390"/>
                    <a:pt x="840580" y="2421310"/>
                    <a:pt x="1402985" y="2421310"/>
                  </a:cubicBezTo>
                  <a:cubicBezTo>
                    <a:pt x="1965390" y="2421310"/>
                    <a:pt x="2421310" y="1965390"/>
                    <a:pt x="2421310" y="1402985"/>
                  </a:cubicBezTo>
                  <a:cubicBezTo>
                    <a:pt x="2421310" y="1184409"/>
                    <a:pt x="2352446" y="981918"/>
                    <a:pt x="2234575" y="816485"/>
                  </a:cubicBezTo>
                  <a:lnTo>
                    <a:pt x="2509088" y="541972"/>
                  </a:lnTo>
                  <a:cubicBezTo>
                    <a:pt x="2695529" y="778973"/>
                    <a:pt x="2805970" y="1078082"/>
                    <a:pt x="2805970" y="1402985"/>
                  </a:cubicBezTo>
                  <a:cubicBezTo>
                    <a:pt x="2805970" y="2177832"/>
                    <a:pt x="2177832" y="2805970"/>
                    <a:pt x="1402985" y="2805970"/>
                  </a:cubicBezTo>
                  <a:cubicBezTo>
                    <a:pt x="628138" y="2805970"/>
                    <a:pt x="0" y="2177832"/>
                    <a:pt x="0" y="1402985"/>
                  </a:cubicBezTo>
                  <a:cubicBezTo>
                    <a:pt x="0" y="628138"/>
                    <a:pt x="628138" y="0"/>
                    <a:pt x="1402985" y="0"/>
                  </a:cubicBezTo>
                  <a:close/>
                </a:path>
              </a:pathLst>
            </a:custGeom>
            <a:solidFill>
              <a:srgbClr val="FF3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663" name="Oval 70">
              <a:extLst>
                <a:ext uri="{FF2B5EF4-FFF2-40B4-BE49-F238E27FC236}">
                  <a16:creationId xmlns:a16="http://schemas.microsoft.com/office/drawing/2014/main" id="{9FEE149D-D445-4449-AAEF-978F28CCADD6}"/>
                </a:ext>
              </a:extLst>
            </p:cNvPr>
            <p:cNvSpPr/>
            <p:nvPr/>
          </p:nvSpPr>
          <p:spPr bwMode="gray">
            <a:xfrm>
              <a:off x="-1946160" y="4146550"/>
              <a:ext cx="1345470" cy="1345470"/>
            </a:xfrm>
            <a:custGeom>
              <a:avLst/>
              <a:gdLst/>
              <a:ahLst/>
              <a:cxnLst/>
              <a:rect l="l" t="t" r="r" b="b"/>
              <a:pathLst>
                <a:path w="1345470" h="1345470">
                  <a:moveTo>
                    <a:pt x="672735" y="0"/>
                  </a:moveTo>
                  <a:cubicBezTo>
                    <a:pt x="795004" y="0"/>
                    <a:pt x="909654" y="32619"/>
                    <a:pt x="1006995" y="92165"/>
                  </a:cubicBezTo>
                  <a:lnTo>
                    <a:pt x="737771" y="358442"/>
                  </a:lnTo>
                  <a:cubicBezTo>
                    <a:pt x="716774" y="354082"/>
                    <a:pt x="695020" y="351810"/>
                    <a:pt x="672735" y="351810"/>
                  </a:cubicBezTo>
                  <a:cubicBezTo>
                    <a:pt x="495493" y="351810"/>
                    <a:pt x="351810" y="495493"/>
                    <a:pt x="351810" y="672735"/>
                  </a:cubicBezTo>
                  <a:cubicBezTo>
                    <a:pt x="351810" y="849977"/>
                    <a:pt x="495493" y="993660"/>
                    <a:pt x="672735" y="993660"/>
                  </a:cubicBezTo>
                  <a:cubicBezTo>
                    <a:pt x="849977" y="993660"/>
                    <a:pt x="993660" y="849977"/>
                    <a:pt x="993660" y="672735"/>
                  </a:cubicBezTo>
                  <a:cubicBezTo>
                    <a:pt x="993660" y="649301"/>
                    <a:pt x="991148" y="626452"/>
                    <a:pt x="986041" y="604519"/>
                  </a:cubicBezTo>
                  <a:lnTo>
                    <a:pt x="1252876" y="337685"/>
                  </a:lnTo>
                  <a:cubicBezTo>
                    <a:pt x="1312679" y="435211"/>
                    <a:pt x="1345470" y="550144"/>
                    <a:pt x="1345470" y="672735"/>
                  </a:cubicBezTo>
                  <a:cubicBezTo>
                    <a:pt x="1345470" y="1044276"/>
                    <a:pt x="1044276" y="1345470"/>
                    <a:pt x="672735" y="1345470"/>
                  </a:cubicBezTo>
                  <a:cubicBezTo>
                    <a:pt x="301194" y="1345470"/>
                    <a:pt x="0" y="1044276"/>
                    <a:pt x="0" y="672735"/>
                  </a:cubicBezTo>
                  <a:cubicBezTo>
                    <a:pt x="0" y="301194"/>
                    <a:pt x="301194" y="0"/>
                    <a:pt x="672735" y="0"/>
                  </a:cubicBezTo>
                  <a:close/>
                </a:path>
              </a:pathLst>
            </a:custGeom>
            <a:solidFill>
              <a:srgbClr val="FF3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664" name="Freeform 173">
              <a:extLst>
                <a:ext uri="{FF2B5EF4-FFF2-40B4-BE49-F238E27FC236}">
                  <a16:creationId xmlns:a16="http://schemas.microsoft.com/office/drawing/2014/main" id="{008F02C5-B53D-4E75-9CEA-9AA02D8837E1}"/>
                </a:ext>
              </a:extLst>
            </p:cNvPr>
            <p:cNvSpPr/>
            <p:nvPr/>
          </p:nvSpPr>
          <p:spPr bwMode="gray">
            <a:xfrm>
              <a:off x="-3166629" y="2914650"/>
              <a:ext cx="3788929" cy="3797839"/>
            </a:xfrm>
            <a:custGeom>
              <a:avLst/>
              <a:gdLst/>
              <a:ahLst/>
              <a:cxnLst/>
              <a:rect l="l" t="t" r="r" b="b"/>
              <a:pathLst>
                <a:path w="3788929" h="3797839">
                  <a:moveTo>
                    <a:pt x="1893204" y="139700"/>
                  </a:moveTo>
                  <a:cubicBezTo>
                    <a:pt x="918457" y="139700"/>
                    <a:pt x="128269" y="929888"/>
                    <a:pt x="128269" y="1904635"/>
                  </a:cubicBezTo>
                  <a:cubicBezTo>
                    <a:pt x="128269" y="2879382"/>
                    <a:pt x="918457" y="3669570"/>
                    <a:pt x="1893204" y="3669570"/>
                  </a:cubicBezTo>
                  <a:cubicBezTo>
                    <a:pt x="2867951" y="3669570"/>
                    <a:pt x="3658139" y="2879382"/>
                    <a:pt x="3658139" y="1904635"/>
                  </a:cubicBezTo>
                  <a:cubicBezTo>
                    <a:pt x="3658139" y="1479682"/>
                    <a:pt x="3507953" y="1089806"/>
                    <a:pt x="3257614" y="785315"/>
                  </a:cubicBezTo>
                  <a:lnTo>
                    <a:pt x="3265256" y="777673"/>
                  </a:lnTo>
                  <a:cubicBezTo>
                    <a:pt x="3230347" y="788290"/>
                    <a:pt x="3193216" y="797789"/>
                    <a:pt x="3153929" y="806450"/>
                  </a:cubicBezTo>
                  <a:lnTo>
                    <a:pt x="3103129" y="768350"/>
                  </a:lnTo>
                  <a:lnTo>
                    <a:pt x="1941079" y="1949450"/>
                  </a:lnTo>
                  <a:lnTo>
                    <a:pt x="1839479" y="1847850"/>
                  </a:lnTo>
                  <a:lnTo>
                    <a:pt x="3033279" y="679450"/>
                  </a:lnTo>
                  <a:lnTo>
                    <a:pt x="2982479" y="628650"/>
                  </a:lnTo>
                  <a:cubicBezTo>
                    <a:pt x="2988674" y="596200"/>
                    <a:pt x="2995883" y="564896"/>
                    <a:pt x="3005965" y="535341"/>
                  </a:cubicBezTo>
                  <a:cubicBezTo>
                    <a:pt x="2702644" y="287818"/>
                    <a:pt x="2315221" y="139700"/>
                    <a:pt x="1893204" y="139700"/>
                  </a:cubicBezTo>
                  <a:close/>
                  <a:moveTo>
                    <a:pt x="3693679" y="0"/>
                  </a:moveTo>
                  <a:lnTo>
                    <a:pt x="3788929" y="82550"/>
                  </a:lnTo>
                  <a:lnTo>
                    <a:pt x="3623829" y="266700"/>
                  </a:lnTo>
                  <a:lnTo>
                    <a:pt x="3712729" y="342900"/>
                  </a:lnTo>
                  <a:cubicBezTo>
                    <a:pt x="3797590" y="418063"/>
                    <a:pt x="3712231" y="610562"/>
                    <a:pt x="3382105" y="738150"/>
                  </a:cubicBezTo>
                  <a:cubicBezTo>
                    <a:pt x="3635926" y="1058665"/>
                    <a:pt x="3786408" y="1464077"/>
                    <a:pt x="3786408" y="1904635"/>
                  </a:cubicBezTo>
                  <a:cubicBezTo>
                    <a:pt x="3786408" y="2950223"/>
                    <a:pt x="2938792" y="3797839"/>
                    <a:pt x="1893204" y="3797839"/>
                  </a:cubicBezTo>
                  <a:cubicBezTo>
                    <a:pt x="847616" y="3797839"/>
                    <a:pt x="0" y="2950223"/>
                    <a:pt x="0" y="1904635"/>
                  </a:cubicBezTo>
                  <a:cubicBezTo>
                    <a:pt x="0" y="859047"/>
                    <a:pt x="847616" y="11431"/>
                    <a:pt x="1893204" y="11431"/>
                  </a:cubicBezTo>
                  <a:cubicBezTo>
                    <a:pt x="2328659" y="11431"/>
                    <a:pt x="2729777" y="158447"/>
                    <a:pt x="3048253" y="407298"/>
                  </a:cubicBezTo>
                  <a:cubicBezTo>
                    <a:pt x="3152991" y="138341"/>
                    <a:pt x="3329949" y="6978"/>
                    <a:pt x="3433329" y="82550"/>
                  </a:cubicBezTo>
                  <a:lnTo>
                    <a:pt x="3534929" y="165100"/>
                  </a:lnTo>
                  <a:close/>
                </a:path>
              </a:pathLst>
            </a:cu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grpSp>
      <p:sp>
        <p:nvSpPr>
          <p:cNvPr id="665" name="Rectangle 65">
            <a:extLst>
              <a:ext uri="{FF2B5EF4-FFF2-40B4-BE49-F238E27FC236}">
                <a16:creationId xmlns:a16="http://schemas.microsoft.com/office/drawing/2014/main" id="{D1DE5F40-F529-4860-AECB-7C9278A2F58E}"/>
              </a:ext>
            </a:extLst>
          </p:cNvPr>
          <p:cNvSpPr>
            <a:spLocks noChangeArrowheads="1"/>
          </p:cNvSpPr>
          <p:nvPr/>
        </p:nvSpPr>
        <p:spPr bwMode="gray">
          <a:xfrm>
            <a:off x="10631421" y="2788233"/>
            <a:ext cx="533070" cy="1571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Petrzalka</a:t>
            </a:r>
          </a:p>
        </p:txBody>
      </p:sp>
      <p:sp>
        <p:nvSpPr>
          <p:cNvPr id="652" name="Freeform: Shape 651">
            <a:extLst>
              <a:ext uri="{FF2B5EF4-FFF2-40B4-BE49-F238E27FC236}">
                <a16:creationId xmlns:a16="http://schemas.microsoft.com/office/drawing/2014/main" id="{9305EB34-1D13-43DA-8C06-A66308EFDD2D}"/>
              </a:ext>
            </a:extLst>
          </p:cNvPr>
          <p:cNvSpPr/>
          <p:nvPr/>
        </p:nvSpPr>
        <p:spPr bwMode="gray">
          <a:xfrm flipH="1">
            <a:off x="8016180" y="4975185"/>
            <a:ext cx="1605421" cy="133188"/>
          </a:xfrm>
          <a:custGeom>
            <a:avLst/>
            <a:gdLst>
              <a:gd name="connsiteX0" fmla="*/ 0 w 114300"/>
              <a:gd name="connsiteY0" fmla="*/ 1879600 h 1879600"/>
              <a:gd name="connsiteX1" fmla="*/ 0 w 114300"/>
              <a:gd name="connsiteY1" fmla="*/ 0 h 1879600"/>
              <a:gd name="connsiteX2" fmla="*/ 114300 w 114300"/>
              <a:gd name="connsiteY2" fmla="*/ 0 h 1879600"/>
            </a:gdLst>
            <a:ahLst/>
            <a:cxnLst>
              <a:cxn ang="0">
                <a:pos x="connsiteX0" y="connsiteY0"/>
              </a:cxn>
              <a:cxn ang="0">
                <a:pos x="connsiteX1" y="connsiteY1"/>
              </a:cxn>
              <a:cxn ang="0">
                <a:pos x="connsiteX2" y="connsiteY2"/>
              </a:cxn>
            </a:cxnLst>
            <a:rect l="l" t="t" r="r" b="b"/>
            <a:pathLst>
              <a:path w="114300" h="1879600">
                <a:moveTo>
                  <a:pt x="0" y="1879600"/>
                </a:moveTo>
                <a:lnTo>
                  <a:pt x="0" y="0"/>
                </a:lnTo>
                <a:lnTo>
                  <a:pt x="114300" y="0"/>
                </a:lnTo>
              </a:path>
            </a:pathLst>
          </a:custGeom>
          <a:noFill/>
          <a:ln w="6350" cap="rnd">
            <a:solidFill>
              <a:schemeClr val="tx1">
                <a:lumMod val="65000"/>
                <a:lumOff val="3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152" name="Oval 47">
            <a:extLst>
              <a:ext uri="{FF2B5EF4-FFF2-40B4-BE49-F238E27FC236}">
                <a16:creationId xmlns:a16="http://schemas.microsoft.com/office/drawing/2014/main" id="{C90524EB-F69E-4FE2-963F-DBCA9E2FC42C}"/>
              </a:ext>
            </a:extLst>
          </p:cNvPr>
          <p:cNvSpPr>
            <a:spLocks noChangeArrowheads="1"/>
          </p:cNvSpPr>
          <p:nvPr/>
        </p:nvSpPr>
        <p:spPr bwMode="gray">
          <a:xfrm>
            <a:off x="9589176" y="5010611"/>
            <a:ext cx="94099" cy="97691"/>
          </a:xfrm>
          <a:prstGeom prst="ellipse">
            <a:avLst/>
          </a:prstGeom>
          <a:solidFill>
            <a:schemeClr val="accent5"/>
          </a:solidFill>
          <a:ln w="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667" name="Freeform: Shape 666">
            <a:extLst>
              <a:ext uri="{FF2B5EF4-FFF2-40B4-BE49-F238E27FC236}">
                <a16:creationId xmlns:a16="http://schemas.microsoft.com/office/drawing/2014/main" id="{933E7BD9-6CF0-4882-9489-79A13C31BD44}"/>
              </a:ext>
            </a:extLst>
          </p:cNvPr>
          <p:cNvSpPr/>
          <p:nvPr/>
        </p:nvSpPr>
        <p:spPr bwMode="gray">
          <a:xfrm>
            <a:off x="7520367" y="2132935"/>
            <a:ext cx="1142794" cy="75487"/>
          </a:xfrm>
          <a:custGeom>
            <a:avLst/>
            <a:gdLst>
              <a:gd name="connsiteX0" fmla="*/ 0 w 3733800"/>
              <a:gd name="connsiteY0" fmla="*/ 0 h 471487"/>
              <a:gd name="connsiteX1" fmla="*/ 47625 w 3733800"/>
              <a:gd name="connsiteY1" fmla="*/ 42862 h 471487"/>
              <a:gd name="connsiteX2" fmla="*/ 119063 w 3733800"/>
              <a:gd name="connsiteY2" fmla="*/ 76200 h 471487"/>
              <a:gd name="connsiteX3" fmla="*/ 195263 w 3733800"/>
              <a:gd name="connsiteY3" fmla="*/ 109537 h 471487"/>
              <a:gd name="connsiteX4" fmla="*/ 266700 w 3733800"/>
              <a:gd name="connsiteY4" fmla="*/ 104775 h 471487"/>
              <a:gd name="connsiteX5" fmla="*/ 395288 w 3733800"/>
              <a:gd name="connsiteY5" fmla="*/ 104775 h 471487"/>
              <a:gd name="connsiteX6" fmla="*/ 533400 w 3733800"/>
              <a:gd name="connsiteY6" fmla="*/ 128587 h 471487"/>
              <a:gd name="connsiteX7" fmla="*/ 695325 w 3733800"/>
              <a:gd name="connsiteY7" fmla="*/ 114300 h 471487"/>
              <a:gd name="connsiteX8" fmla="*/ 857250 w 3733800"/>
              <a:gd name="connsiteY8" fmla="*/ 90487 h 471487"/>
              <a:gd name="connsiteX9" fmla="*/ 981075 w 3733800"/>
              <a:gd name="connsiteY9" fmla="*/ 85725 h 471487"/>
              <a:gd name="connsiteX10" fmla="*/ 1071563 w 3733800"/>
              <a:gd name="connsiteY10" fmla="*/ 76200 h 471487"/>
              <a:gd name="connsiteX11" fmla="*/ 1152525 w 3733800"/>
              <a:gd name="connsiteY11" fmla="*/ 95250 h 471487"/>
              <a:gd name="connsiteX12" fmla="*/ 1214438 w 3733800"/>
              <a:gd name="connsiteY12" fmla="*/ 95250 h 471487"/>
              <a:gd name="connsiteX13" fmla="*/ 1266825 w 3733800"/>
              <a:gd name="connsiteY13" fmla="*/ 100012 h 471487"/>
              <a:gd name="connsiteX14" fmla="*/ 1266825 w 3733800"/>
              <a:gd name="connsiteY14" fmla="*/ 90487 h 471487"/>
              <a:gd name="connsiteX15" fmla="*/ 1276350 w 3733800"/>
              <a:gd name="connsiteY15" fmla="*/ 100012 h 471487"/>
              <a:gd name="connsiteX16" fmla="*/ 1290638 w 3733800"/>
              <a:gd name="connsiteY16" fmla="*/ 85725 h 471487"/>
              <a:gd name="connsiteX17" fmla="*/ 1328738 w 3733800"/>
              <a:gd name="connsiteY17" fmla="*/ 100012 h 471487"/>
              <a:gd name="connsiteX18" fmla="*/ 1362075 w 3733800"/>
              <a:gd name="connsiteY18" fmla="*/ 85725 h 471487"/>
              <a:gd name="connsiteX19" fmla="*/ 1395413 w 3733800"/>
              <a:gd name="connsiteY19" fmla="*/ 100012 h 471487"/>
              <a:gd name="connsiteX20" fmla="*/ 1457325 w 3733800"/>
              <a:gd name="connsiteY20" fmla="*/ 80962 h 471487"/>
              <a:gd name="connsiteX21" fmla="*/ 1595438 w 3733800"/>
              <a:gd name="connsiteY21" fmla="*/ 85725 h 471487"/>
              <a:gd name="connsiteX22" fmla="*/ 1647825 w 3733800"/>
              <a:gd name="connsiteY22" fmla="*/ 100012 h 471487"/>
              <a:gd name="connsiteX23" fmla="*/ 1747838 w 3733800"/>
              <a:gd name="connsiteY23" fmla="*/ 100012 h 471487"/>
              <a:gd name="connsiteX24" fmla="*/ 1924050 w 3733800"/>
              <a:gd name="connsiteY24" fmla="*/ 119062 h 471487"/>
              <a:gd name="connsiteX25" fmla="*/ 2033588 w 3733800"/>
              <a:gd name="connsiteY25" fmla="*/ 109537 h 471487"/>
              <a:gd name="connsiteX26" fmla="*/ 2081213 w 3733800"/>
              <a:gd name="connsiteY26" fmla="*/ 123825 h 471487"/>
              <a:gd name="connsiteX27" fmla="*/ 2119313 w 3733800"/>
              <a:gd name="connsiteY27" fmla="*/ 133350 h 471487"/>
              <a:gd name="connsiteX28" fmla="*/ 2176463 w 3733800"/>
              <a:gd name="connsiteY28" fmla="*/ 171450 h 471487"/>
              <a:gd name="connsiteX29" fmla="*/ 2233613 w 3733800"/>
              <a:gd name="connsiteY29" fmla="*/ 242887 h 471487"/>
              <a:gd name="connsiteX30" fmla="*/ 2328863 w 3733800"/>
              <a:gd name="connsiteY30" fmla="*/ 228600 h 471487"/>
              <a:gd name="connsiteX31" fmla="*/ 2352675 w 3733800"/>
              <a:gd name="connsiteY31" fmla="*/ 228600 h 471487"/>
              <a:gd name="connsiteX32" fmla="*/ 2505075 w 3733800"/>
              <a:gd name="connsiteY32" fmla="*/ 300037 h 471487"/>
              <a:gd name="connsiteX33" fmla="*/ 2614613 w 3733800"/>
              <a:gd name="connsiteY33" fmla="*/ 309562 h 471487"/>
              <a:gd name="connsiteX34" fmla="*/ 2700338 w 3733800"/>
              <a:gd name="connsiteY34" fmla="*/ 314325 h 471487"/>
              <a:gd name="connsiteX35" fmla="*/ 2809875 w 3733800"/>
              <a:gd name="connsiteY35" fmla="*/ 300037 h 471487"/>
              <a:gd name="connsiteX36" fmla="*/ 2900363 w 3733800"/>
              <a:gd name="connsiteY36" fmla="*/ 328612 h 471487"/>
              <a:gd name="connsiteX37" fmla="*/ 3090863 w 3733800"/>
              <a:gd name="connsiteY37" fmla="*/ 366712 h 471487"/>
              <a:gd name="connsiteX38" fmla="*/ 3171825 w 3733800"/>
              <a:gd name="connsiteY38" fmla="*/ 385762 h 471487"/>
              <a:gd name="connsiteX39" fmla="*/ 3200400 w 3733800"/>
              <a:gd name="connsiteY39" fmla="*/ 395287 h 471487"/>
              <a:gd name="connsiteX40" fmla="*/ 3324225 w 3733800"/>
              <a:gd name="connsiteY40" fmla="*/ 404812 h 471487"/>
              <a:gd name="connsiteX41" fmla="*/ 3405188 w 3733800"/>
              <a:gd name="connsiteY41" fmla="*/ 428625 h 471487"/>
              <a:gd name="connsiteX42" fmla="*/ 3452813 w 3733800"/>
              <a:gd name="connsiteY42" fmla="*/ 414337 h 471487"/>
              <a:gd name="connsiteX43" fmla="*/ 3538538 w 3733800"/>
              <a:gd name="connsiteY43" fmla="*/ 395287 h 471487"/>
              <a:gd name="connsiteX44" fmla="*/ 3638550 w 3733800"/>
              <a:gd name="connsiteY44" fmla="*/ 414337 h 471487"/>
              <a:gd name="connsiteX45" fmla="*/ 3733800 w 3733800"/>
              <a:gd name="connsiteY45" fmla="*/ 471487 h 471487"/>
              <a:gd name="connsiteX0" fmla="*/ 0 w 3733800"/>
              <a:gd name="connsiteY0" fmla="*/ 0 h 455612"/>
              <a:gd name="connsiteX1" fmla="*/ 47625 w 3733800"/>
              <a:gd name="connsiteY1" fmla="*/ 26987 h 455612"/>
              <a:gd name="connsiteX2" fmla="*/ 119063 w 3733800"/>
              <a:gd name="connsiteY2" fmla="*/ 60325 h 455612"/>
              <a:gd name="connsiteX3" fmla="*/ 195263 w 3733800"/>
              <a:gd name="connsiteY3" fmla="*/ 93662 h 455612"/>
              <a:gd name="connsiteX4" fmla="*/ 266700 w 3733800"/>
              <a:gd name="connsiteY4" fmla="*/ 88900 h 455612"/>
              <a:gd name="connsiteX5" fmla="*/ 395288 w 3733800"/>
              <a:gd name="connsiteY5" fmla="*/ 88900 h 455612"/>
              <a:gd name="connsiteX6" fmla="*/ 533400 w 3733800"/>
              <a:gd name="connsiteY6" fmla="*/ 112712 h 455612"/>
              <a:gd name="connsiteX7" fmla="*/ 695325 w 3733800"/>
              <a:gd name="connsiteY7" fmla="*/ 98425 h 455612"/>
              <a:gd name="connsiteX8" fmla="*/ 857250 w 3733800"/>
              <a:gd name="connsiteY8" fmla="*/ 74612 h 455612"/>
              <a:gd name="connsiteX9" fmla="*/ 981075 w 3733800"/>
              <a:gd name="connsiteY9" fmla="*/ 69850 h 455612"/>
              <a:gd name="connsiteX10" fmla="*/ 1071563 w 3733800"/>
              <a:gd name="connsiteY10" fmla="*/ 60325 h 455612"/>
              <a:gd name="connsiteX11" fmla="*/ 1152525 w 3733800"/>
              <a:gd name="connsiteY11" fmla="*/ 79375 h 455612"/>
              <a:gd name="connsiteX12" fmla="*/ 1214438 w 3733800"/>
              <a:gd name="connsiteY12" fmla="*/ 79375 h 455612"/>
              <a:gd name="connsiteX13" fmla="*/ 1266825 w 3733800"/>
              <a:gd name="connsiteY13" fmla="*/ 84137 h 455612"/>
              <a:gd name="connsiteX14" fmla="*/ 1266825 w 3733800"/>
              <a:gd name="connsiteY14" fmla="*/ 74612 h 455612"/>
              <a:gd name="connsiteX15" fmla="*/ 1276350 w 3733800"/>
              <a:gd name="connsiteY15" fmla="*/ 84137 h 455612"/>
              <a:gd name="connsiteX16" fmla="*/ 1290638 w 3733800"/>
              <a:gd name="connsiteY16" fmla="*/ 69850 h 455612"/>
              <a:gd name="connsiteX17" fmla="*/ 1328738 w 3733800"/>
              <a:gd name="connsiteY17" fmla="*/ 84137 h 455612"/>
              <a:gd name="connsiteX18" fmla="*/ 1362075 w 3733800"/>
              <a:gd name="connsiteY18" fmla="*/ 69850 h 455612"/>
              <a:gd name="connsiteX19" fmla="*/ 1395413 w 3733800"/>
              <a:gd name="connsiteY19" fmla="*/ 84137 h 455612"/>
              <a:gd name="connsiteX20" fmla="*/ 1457325 w 3733800"/>
              <a:gd name="connsiteY20" fmla="*/ 65087 h 455612"/>
              <a:gd name="connsiteX21" fmla="*/ 1595438 w 3733800"/>
              <a:gd name="connsiteY21" fmla="*/ 69850 h 455612"/>
              <a:gd name="connsiteX22" fmla="*/ 1647825 w 3733800"/>
              <a:gd name="connsiteY22" fmla="*/ 84137 h 455612"/>
              <a:gd name="connsiteX23" fmla="*/ 1747838 w 3733800"/>
              <a:gd name="connsiteY23" fmla="*/ 84137 h 455612"/>
              <a:gd name="connsiteX24" fmla="*/ 1924050 w 3733800"/>
              <a:gd name="connsiteY24" fmla="*/ 103187 h 455612"/>
              <a:gd name="connsiteX25" fmla="*/ 2033588 w 3733800"/>
              <a:gd name="connsiteY25" fmla="*/ 93662 h 455612"/>
              <a:gd name="connsiteX26" fmla="*/ 2081213 w 3733800"/>
              <a:gd name="connsiteY26" fmla="*/ 107950 h 455612"/>
              <a:gd name="connsiteX27" fmla="*/ 2119313 w 3733800"/>
              <a:gd name="connsiteY27" fmla="*/ 117475 h 455612"/>
              <a:gd name="connsiteX28" fmla="*/ 2176463 w 3733800"/>
              <a:gd name="connsiteY28" fmla="*/ 155575 h 455612"/>
              <a:gd name="connsiteX29" fmla="*/ 2233613 w 3733800"/>
              <a:gd name="connsiteY29" fmla="*/ 227012 h 455612"/>
              <a:gd name="connsiteX30" fmla="*/ 2328863 w 3733800"/>
              <a:gd name="connsiteY30" fmla="*/ 212725 h 455612"/>
              <a:gd name="connsiteX31" fmla="*/ 2352675 w 3733800"/>
              <a:gd name="connsiteY31" fmla="*/ 212725 h 455612"/>
              <a:gd name="connsiteX32" fmla="*/ 2505075 w 3733800"/>
              <a:gd name="connsiteY32" fmla="*/ 284162 h 455612"/>
              <a:gd name="connsiteX33" fmla="*/ 2614613 w 3733800"/>
              <a:gd name="connsiteY33" fmla="*/ 293687 h 455612"/>
              <a:gd name="connsiteX34" fmla="*/ 2700338 w 3733800"/>
              <a:gd name="connsiteY34" fmla="*/ 298450 h 455612"/>
              <a:gd name="connsiteX35" fmla="*/ 2809875 w 3733800"/>
              <a:gd name="connsiteY35" fmla="*/ 284162 h 455612"/>
              <a:gd name="connsiteX36" fmla="*/ 2900363 w 3733800"/>
              <a:gd name="connsiteY36" fmla="*/ 312737 h 455612"/>
              <a:gd name="connsiteX37" fmla="*/ 3090863 w 3733800"/>
              <a:gd name="connsiteY37" fmla="*/ 350837 h 455612"/>
              <a:gd name="connsiteX38" fmla="*/ 3171825 w 3733800"/>
              <a:gd name="connsiteY38" fmla="*/ 369887 h 455612"/>
              <a:gd name="connsiteX39" fmla="*/ 3200400 w 3733800"/>
              <a:gd name="connsiteY39" fmla="*/ 379412 h 455612"/>
              <a:gd name="connsiteX40" fmla="*/ 3324225 w 3733800"/>
              <a:gd name="connsiteY40" fmla="*/ 388937 h 455612"/>
              <a:gd name="connsiteX41" fmla="*/ 3405188 w 3733800"/>
              <a:gd name="connsiteY41" fmla="*/ 412750 h 455612"/>
              <a:gd name="connsiteX42" fmla="*/ 3452813 w 3733800"/>
              <a:gd name="connsiteY42" fmla="*/ 398462 h 455612"/>
              <a:gd name="connsiteX43" fmla="*/ 3538538 w 3733800"/>
              <a:gd name="connsiteY43" fmla="*/ 379412 h 455612"/>
              <a:gd name="connsiteX44" fmla="*/ 3638550 w 3733800"/>
              <a:gd name="connsiteY44" fmla="*/ 398462 h 455612"/>
              <a:gd name="connsiteX45" fmla="*/ 3733800 w 3733800"/>
              <a:gd name="connsiteY45" fmla="*/ 455612 h 455612"/>
              <a:gd name="connsiteX0" fmla="*/ 0 w 3733800"/>
              <a:gd name="connsiteY0" fmla="*/ 0 h 455612"/>
              <a:gd name="connsiteX1" fmla="*/ 53975 w 3733800"/>
              <a:gd name="connsiteY1" fmla="*/ 36512 h 455612"/>
              <a:gd name="connsiteX2" fmla="*/ 119063 w 3733800"/>
              <a:gd name="connsiteY2" fmla="*/ 60325 h 455612"/>
              <a:gd name="connsiteX3" fmla="*/ 195263 w 3733800"/>
              <a:gd name="connsiteY3" fmla="*/ 93662 h 455612"/>
              <a:gd name="connsiteX4" fmla="*/ 266700 w 3733800"/>
              <a:gd name="connsiteY4" fmla="*/ 88900 h 455612"/>
              <a:gd name="connsiteX5" fmla="*/ 395288 w 3733800"/>
              <a:gd name="connsiteY5" fmla="*/ 88900 h 455612"/>
              <a:gd name="connsiteX6" fmla="*/ 533400 w 3733800"/>
              <a:gd name="connsiteY6" fmla="*/ 112712 h 455612"/>
              <a:gd name="connsiteX7" fmla="*/ 695325 w 3733800"/>
              <a:gd name="connsiteY7" fmla="*/ 98425 h 455612"/>
              <a:gd name="connsiteX8" fmla="*/ 857250 w 3733800"/>
              <a:gd name="connsiteY8" fmla="*/ 74612 h 455612"/>
              <a:gd name="connsiteX9" fmla="*/ 981075 w 3733800"/>
              <a:gd name="connsiteY9" fmla="*/ 69850 h 455612"/>
              <a:gd name="connsiteX10" fmla="*/ 1071563 w 3733800"/>
              <a:gd name="connsiteY10" fmla="*/ 60325 h 455612"/>
              <a:gd name="connsiteX11" fmla="*/ 1152525 w 3733800"/>
              <a:gd name="connsiteY11" fmla="*/ 79375 h 455612"/>
              <a:gd name="connsiteX12" fmla="*/ 1214438 w 3733800"/>
              <a:gd name="connsiteY12" fmla="*/ 79375 h 455612"/>
              <a:gd name="connsiteX13" fmla="*/ 1266825 w 3733800"/>
              <a:gd name="connsiteY13" fmla="*/ 84137 h 455612"/>
              <a:gd name="connsiteX14" fmla="*/ 1266825 w 3733800"/>
              <a:gd name="connsiteY14" fmla="*/ 74612 h 455612"/>
              <a:gd name="connsiteX15" fmla="*/ 1276350 w 3733800"/>
              <a:gd name="connsiteY15" fmla="*/ 84137 h 455612"/>
              <a:gd name="connsiteX16" fmla="*/ 1290638 w 3733800"/>
              <a:gd name="connsiteY16" fmla="*/ 69850 h 455612"/>
              <a:gd name="connsiteX17" fmla="*/ 1328738 w 3733800"/>
              <a:gd name="connsiteY17" fmla="*/ 84137 h 455612"/>
              <a:gd name="connsiteX18" fmla="*/ 1362075 w 3733800"/>
              <a:gd name="connsiteY18" fmla="*/ 69850 h 455612"/>
              <a:gd name="connsiteX19" fmla="*/ 1395413 w 3733800"/>
              <a:gd name="connsiteY19" fmla="*/ 84137 h 455612"/>
              <a:gd name="connsiteX20" fmla="*/ 1457325 w 3733800"/>
              <a:gd name="connsiteY20" fmla="*/ 65087 h 455612"/>
              <a:gd name="connsiteX21" fmla="*/ 1595438 w 3733800"/>
              <a:gd name="connsiteY21" fmla="*/ 69850 h 455612"/>
              <a:gd name="connsiteX22" fmla="*/ 1647825 w 3733800"/>
              <a:gd name="connsiteY22" fmla="*/ 84137 h 455612"/>
              <a:gd name="connsiteX23" fmla="*/ 1747838 w 3733800"/>
              <a:gd name="connsiteY23" fmla="*/ 84137 h 455612"/>
              <a:gd name="connsiteX24" fmla="*/ 1924050 w 3733800"/>
              <a:gd name="connsiteY24" fmla="*/ 103187 h 455612"/>
              <a:gd name="connsiteX25" fmla="*/ 2033588 w 3733800"/>
              <a:gd name="connsiteY25" fmla="*/ 93662 h 455612"/>
              <a:gd name="connsiteX26" fmla="*/ 2081213 w 3733800"/>
              <a:gd name="connsiteY26" fmla="*/ 107950 h 455612"/>
              <a:gd name="connsiteX27" fmla="*/ 2119313 w 3733800"/>
              <a:gd name="connsiteY27" fmla="*/ 117475 h 455612"/>
              <a:gd name="connsiteX28" fmla="*/ 2176463 w 3733800"/>
              <a:gd name="connsiteY28" fmla="*/ 155575 h 455612"/>
              <a:gd name="connsiteX29" fmla="*/ 2233613 w 3733800"/>
              <a:gd name="connsiteY29" fmla="*/ 227012 h 455612"/>
              <a:gd name="connsiteX30" fmla="*/ 2328863 w 3733800"/>
              <a:gd name="connsiteY30" fmla="*/ 212725 h 455612"/>
              <a:gd name="connsiteX31" fmla="*/ 2352675 w 3733800"/>
              <a:gd name="connsiteY31" fmla="*/ 212725 h 455612"/>
              <a:gd name="connsiteX32" fmla="*/ 2505075 w 3733800"/>
              <a:gd name="connsiteY32" fmla="*/ 284162 h 455612"/>
              <a:gd name="connsiteX33" fmla="*/ 2614613 w 3733800"/>
              <a:gd name="connsiteY33" fmla="*/ 293687 h 455612"/>
              <a:gd name="connsiteX34" fmla="*/ 2700338 w 3733800"/>
              <a:gd name="connsiteY34" fmla="*/ 298450 h 455612"/>
              <a:gd name="connsiteX35" fmla="*/ 2809875 w 3733800"/>
              <a:gd name="connsiteY35" fmla="*/ 284162 h 455612"/>
              <a:gd name="connsiteX36" fmla="*/ 2900363 w 3733800"/>
              <a:gd name="connsiteY36" fmla="*/ 312737 h 455612"/>
              <a:gd name="connsiteX37" fmla="*/ 3090863 w 3733800"/>
              <a:gd name="connsiteY37" fmla="*/ 350837 h 455612"/>
              <a:gd name="connsiteX38" fmla="*/ 3171825 w 3733800"/>
              <a:gd name="connsiteY38" fmla="*/ 369887 h 455612"/>
              <a:gd name="connsiteX39" fmla="*/ 3200400 w 3733800"/>
              <a:gd name="connsiteY39" fmla="*/ 379412 h 455612"/>
              <a:gd name="connsiteX40" fmla="*/ 3324225 w 3733800"/>
              <a:gd name="connsiteY40" fmla="*/ 388937 h 455612"/>
              <a:gd name="connsiteX41" fmla="*/ 3405188 w 3733800"/>
              <a:gd name="connsiteY41" fmla="*/ 412750 h 455612"/>
              <a:gd name="connsiteX42" fmla="*/ 3452813 w 3733800"/>
              <a:gd name="connsiteY42" fmla="*/ 398462 h 455612"/>
              <a:gd name="connsiteX43" fmla="*/ 3538538 w 3733800"/>
              <a:gd name="connsiteY43" fmla="*/ 379412 h 455612"/>
              <a:gd name="connsiteX44" fmla="*/ 3638550 w 3733800"/>
              <a:gd name="connsiteY44" fmla="*/ 398462 h 455612"/>
              <a:gd name="connsiteX45" fmla="*/ 3733800 w 3733800"/>
              <a:gd name="connsiteY45" fmla="*/ 455612 h 455612"/>
              <a:gd name="connsiteX0" fmla="*/ 0 w 3708400"/>
              <a:gd name="connsiteY0" fmla="*/ 0 h 490537"/>
              <a:gd name="connsiteX1" fmla="*/ 53975 w 3708400"/>
              <a:gd name="connsiteY1" fmla="*/ 36512 h 490537"/>
              <a:gd name="connsiteX2" fmla="*/ 119063 w 3708400"/>
              <a:gd name="connsiteY2" fmla="*/ 60325 h 490537"/>
              <a:gd name="connsiteX3" fmla="*/ 195263 w 3708400"/>
              <a:gd name="connsiteY3" fmla="*/ 93662 h 490537"/>
              <a:gd name="connsiteX4" fmla="*/ 266700 w 3708400"/>
              <a:gd name="connsiteY4" fmla="*/ 88900 h 490537"/>
              <a:gd name="connsiteX5" fmla="*/ 395288 w 3708400"/>
              <a:gd name="connsiteY5" fmla="*/ 88900 h 490537"/>
              <a:gd name="connsiteX6" fmla="*/ 533400 w 3708400"/>
              <a:gd name="connsiteY6" fmla="*/ 112712 h 490537"/>
              <a:gd name="connsiteX7" fmla="*/ 695325 w 3708400"/>
              <a:gd name="connsiteY7" fmla="*/ 98425 h 490537"/>
              <a:gd name="connsiteX8" fmla="*/ 857250 w 3708400"/>
              <a:gd name="connsiteY8" fmla="*/ 74612 h 490537"/>
              <a:gd name="connsiteX9" fmla="*/ 981075 w 3708400"/>
              <a:gd name="connsiteY9" fmla="*/ 69850 h 490537"/>
              <a:gd name="connsiteX10" fmla="*/ 1071563 w 3708400"/>
              <a:gd name="connsiteY10" fmla="*/ 60325 h 490537"/>
              <a:gd name="connsiteX11" fmla="*/ 1152525 w 3708400"/>
              <a:gd name="connsiteY11" fmla="*/ 79375 h 490537"/>
              <a:gd name="connsiteX12" fmla="*/ 1214438 w 3708400"/>
              <a:gd name="connsiteY12" fmla="*/ 79375 h 490537"/>
              <a:gd name="connsiteX13" fmla="*/ 1266825 w 3708400"/>
              <a:gd name="connsiteY13" fmla="*/ 84137 h 490537"/>
              <a:gd name="connsiteX14" fmla="*/ 1266825 w 3708400"/>
              <a:gd name="connsiteY14" fmla="*/ 74612 h 490537"/>
              <a:gd name="connsiteX15" fmla="*/ 1276350 w 3708400"/>
              <a:gd name="connsiteY15" fmla="*/ 84137 h 490537"/>
              <a:gd name="connsiteX16" fmla="*/ 1290638 w 3708400"/>
              <a:gd name="connsiteY16" fmla="*/ 69850 h 490537"/>
              <a:gd name="connsiteX17" fmla="*/ 1328738 w 3708400"/>
              <a:gd name="connsiteY17" fmla="*/ 84137 h 490537"/>
              <a:gd name="connsiteX18" fmla="*/ 1362075 w 3708400"/>
              <a:gd name="connsiteY18" fmla="*/ 69850 h 490537"/>
              <a:gd name="connsiteX19" fmla="*/ 1395413 w 3708400"/>
              <a:gd name="connsiteY19" fmla="*/ 84137 h 490537"/>
              <a:gd name="connsiteX20" fmla="*/ 1457325 w 3708400"/>
              <a:gd name="connsiteY20" fmla="*/ 65087 h 490537"/>
              <a:gd name="connsiteX21" fmla="*/ 1595438 w 3708400"/>
              <a:gd name="connsiteY21" fmla="*/ 69850 h 490537"/>
              <a:gd name="connsiteX22" fmla="*/ 1647825 w 3708400"/>
              <a:gd name="connsiteY22" fmla="*/ 84137 h 490537"/>
              <a:gd name="connsiteX23" fmla="*/ 1747838 w 3708400"/>
              <a:gd name="connsiteY23" fmla="*/ 84137 h 490537"/>
              <a:gd name="connsiteX24" fmla="*/ 1924050 w 3708400"/>
              <a:gd name="connsiteY24" fmla="*/ 103187 h 490537"/>
              <a:gd name="connsiteX25" fmla="*/ 2033588 w 3708400"/>
              <a:gd name="connsiteY25" fmla="*/ 93662 h 490537"/>
              <a:gd name="connsiteX26" fmla="*/ 2081213 w 3708400"/>
              <a:gd name="connsiteY26" fmla="*/ 107950 h 490537"/>
              <a:gd name="connsiteX27" fmla="*/ 2119313 w 3708400"/>
              <a:gd name="connsiteY27" fmla="*/ 117475 h 490537"/>
              <a:gd name="connsiteX28" fmla="*/ 2176463 w 3708400"/>
              <a:gd name="connsiteY28" fmla="*/ 155575 h 490537"/>
              <a:gd name="connsiteX29" fmla="*/ 2233613 w 3708400"/>
              <a:gd name="connsiteY29" fmla="*/ 227012 h 490537"/>
              <a:gd name="connsiteX30" fmla="*/ 2328863 w 3708400"/>
              <a:gd name="connsiteY30" fmla="*/ 212725 h 490537"/>
              <a:gd name="connsiteX31" fmla="*/ 2352675 w 3708400"/>
              <a:gd name="connsiteY31" fmla="*/ 212725 h 490537"/>
              <a:gd name="connsiteX32" fmla="*/ 2505075 w 3708400"/>
              <a:gd name="connsiteY32" fmla="*/ 284162 h 490537"/>
              <a:gd name="connsiteX33" fmla="*/ 2614613 w 3708400"/>
              <a:gd name="connsiteY33" fmla="*/ 293687 h 490537"/>
              <a:gd name="connsiteX34" fmla="*/ 2700338 w 3708400"/>
              <a:gd name="connsiteY34" fmla="*/ 298450 h 490537"/>
              <a:gd name="connsiteX35" fmla="*/ 2809875 w 3708400"/>
              <a:gd name="connsiteY35" fmla="*/ 284162 h 490537"/>
              <a:gd name="connsiteX36" fmla="*/ 2900363 w 3708400"/>
              <a:gd name="connsiteY36" fmla="*/ 312737 h 490537"/>
              <a:gd name="connsiteX37" fmla="*/ 3090863 w 3708400"/>
              <a:gd name="connsiteY37" fmla="*/ 350837 h 490537"/>
              <a:gd name="connsiteX38" fmla="*/ 3171825 w 3708400"/>
              <a:gd name="connsiteY38" fmla="*/ 369887 h 490537"/>
              <a:gd name="connsiteX39" fmla="*/ 3200400 w 3708400"/>
              <a:gd name="connsiteY39" fmla="*/ 379412 h 490537"/>
              <a:gd name="connsiteX40" fmla="*/ 3324225 w 3708400"/>
              <a:gd name="connsiteY40" fmla="*/ 388937 h 490537"/>
              <a:gd name="connsiteX41" fmla="*/ 3405188 w 3708400"/>
              <a:gd name="connsiteY41" fmla="*/ 412750 h 490537"/>
              <a:gd name="connsiteX42" fmla="*/ 3452813 w 3708400"/>
              <a:gd name="connsiteY42" fmla="*/ 398462 h 490537"/>
              <a:gd name="connsiteX43" fmla="*/ 3538538 w 3708400"/>
              <a:gd name="connsiteY43" fmla="*/ 379412 h 490537"/>
              <a:gd name="connsiteX44" fmla="*/ 3638550 w 3708400"/>
              <a:gd name="connsiteY44" fmla="*/ 398462 h 490537"/>
              <a:gd name="connsiteX45" fmla="*/ 3708400 w 3708400"/>
              <a:gd name="connsiteY45" fmla="*/ 490537 h 490537"/>
              <a:gd name="connsiteX0" fmla="*/ 0 w 3708400"/>
              <a:gd name="connsiteY0" fmla="*/ 0 h 490537"/>
              <a:gd name="connsiteX1" fmla="*/ 119063 w 3708400"/>
              <a:gd name="connsiteY1" fmla="*/ 60325 h 490537"/>
              <a:gd name="connsiteX2" fmla="*/ 195263 w 3708400"/>
              <a:gd name="connsiteY2" fmla="*/ 93662 h 490537"/>
              <a:gd name="connsiteX3" fmla="*/ 266700 w 3708400"/>
              <a:gd name="connsiteY3" fmla="*/ 88900 h 490537"/>
              <a:gd name="connsiteX4" fmla="*/ 395288 w 3708400"/>
              <a:gd name="connsiteY4" fmla="*/ 88900 h 490537"/>
              <a:gd name="connsiteX5" fmla="*/ 533400 w 3708400"/>
              <a:gd name="connsiteY5" fmla="*/ 112712 h 490537"/>
              <a:gd name="connsiteX6" fmla="*/ 695325 w 3708400"/>
              <a:gd name="connsiteY6" fmla="*/ 98425 h 490537"/>
              <a:gd name="connsiteX7" fmla="*/ 857250 w 3708400"/>
              <a:gd name="connsiteY7" fmla="*/ 74612 h 490537"/>
              <a:gd name="connsiteX8" fmla="*/ 981075 w 3708400"/>
              <a:gd name="connsiteY8" fmla="*/ 69850 h 490537"/>
              <a:gd name="connsiteX9" fmla="*/ 1071563 w 3708400"/>
              <a:gd name="connsiteY9" fmla="*/ 60325 h 490537"/>
              <a:gd name="connsiteX10" fmla="*/ 1152525 w 3708400"/>
              <a:gd name="connsiteY10" fmla="*/ 79375 h 490537"/>
              <a:gd name="connsiteX11" fmla="*/ 1214438 w 3708400"/>
              <a:gd name="connsiteY11" fmla="*/ 79375 h 490537"/>
              <a:gd name="connsiteX12" fmla="*/ 1266825 w 3708400"/>
              <a:gd name="connsiteY12" fmla="*/ 84137 h 490537"/>
              <a:gd name="connsiteX13" fmla="*/ 1266825 w 3708400"/>
              <a:gd name="connsiteY13" fmla="*/ 74612 h 490537"/>
              <a:gd name="connsiteX14" fmla="*/ 1276350 w 3708400"/>
              <a:gd name="connsiteY14" fmla="*/ 84137 h 490537"/>
              <a:gd name="connsiteX15" fmla="*/ 1290638 w 3708400"/>
              <a:gd name="connsiteY15" fmla="*/ 69850 h 490537"/>
              <a:gd name="connsiteX16" fmla="*/ 1328738 w 3708400"/>
              <a:gd name="connsiteY16" fmla="*/ 84137 h 490537"/>
              <a:gd name="connsiteX17" fmla="*/ 1362075 w 3708400"/>
              <a:gd name="connsiteY17" fmla="*/ 69850 h 490537"/>
              <a:gd name="connsiteX18" fmla="*/ 1395413 w 3708400"/>
              <a:gd name="connsiteY18" fmla="*/ 84137 h 490537"/>
              <a:gd name="connsiteX19" fmla="*/ 1457325 w 3708400"/>
              <a:gd name="connsiteY19" fmla="*/ 65087 h 490537"/>
              <a:gd name="connsiteX20" fmla="*/ 1595438 w 3708400"/>
              <a:gd name="connsiteY20" fmla="*/ 69850 h 490537"/>
              <a:gd name="connsiteX21" fmla="*/ 1647825 w 3708400"/>
              <a:gd name="connsiteY21" fmla="*/ 84137 h 490537"/>
              <a:gd name="connsiteX22" fmla="*/ 1747838 w 3708400"/>
              <a:gd name="connsiteY22" fmla="*/ 84137 h 490537"/>
              <a:gd name="connsiteX23" fmla="*/ 1924050 w 3708400"/>
              <a:gd name="connsiteY23" fmla="*/ 103187 h 490537"/>
              <a:gd name="connsiteX24" fmla="*/ 2033588 w 3708400"/>
              <a:gd name="connsiteY24" fmla="*/ 93662 h 490537"/>
              <a:gd name="connsiteX25" fmla="*/ 2081213 w 3708400"/>
              <a:gd name="connsiteY25" fmla="*/ 107950 h 490537"/>
              <a:gd name="connsiteX26" fmla="*/ 2119313 w 3708400"/>
              <a:gd name="connsiteY26" fmla="*/ 117475 h 490537"/>
              <a:gd name="connsiteX27" fmla="*/ 2176463 w 3708400"/>
              <a:gd name="connsiteY27" fmla="*/ 155575 h 490537"/>
              <a:gd name="connsiteX28" fmla="*/ 2233613 w 3708400"/>
              <a:gd name="connsiteY28" fmla="*/ 227012 h 490537"/>
              <a:gd name="connsiteX29" fmla="*/ 2328863 w 3708400"/>
              <a:gd name="connsiteY29" fmla="*/ 212725 h 490537"/>
              <a:gd name="connsiteX30" fmla="*/ 2352675 w 3708400"/>
              <a:gd name="connsiteY30" fmla="*/ 212725 h 490537"/>
              <a:gd name="connsiteX31" fmla="*/ 2505075 w 3708400"/>
              <a:gd name="connsiteY31" fmla="*/ 284162 h 490537"/>
              <a:gd name="connsiteX32" fmla="*/ 2614613 w 3708400"/>
              <a:gd name="connsiteY32" fmla="*/ 293687 h 490537"/>
              <a:gd name="connsiteX33" fmla="*/ 2700338 w 3708400"/>
              <a:gd name="connsiteY33" fmla="*/ 298450 h 490537"/>
              <a:gd name="connsiteX34" fmla="*/ 2809875 w 3708400"/>
              <a:gd name="connsiteY34" fmla="*/ 284162 h 490537"/>
              <a:gd name="connsiteX35" fmla="*/ 2900363 w 3708400"/>
              <a:gd name="connsiteY35" fmla="*/ 312737 h 490537"/>
              <a:gd name="connsiteX36" fmla="*/ 3090863 w 3708400"/>
              <a:gd name="connsiteY36" fmla="*/ 350837 h 490537"/>
              <a:gd name="connsiteX37" fmla="*/ 3171825 w 3708400"/>
              <a:gd name="connsiteY37" fmla="*/ 369887 h 490537"/>
              <a:gd name="connsiteX38" fmla="*/ 3200400 w 3708400"/>
              <a:gd name="connsiteY38" fmla="*/ 379412 h 490537"/>
              <a:gd name="connsiteX39" fmla="*/ 3324225 w 3708400"/>
              <a:gd name="connsiteY39" fmla="*/ 388937 h 490537"/>
              <a:gd name="connsiteX40" fmla="*/ 3405188 w 3708400"/>
              <a:gd name="connsiteY40" fmla="*/ 412750 h 490537"/>
              <a:gd name="connsiteX41" fmla="*/ 3452813 w 3708400"/>
              <a:gd name="connsiteY41" fmla="*/ 398462 h 490537"/>
              <a:gd name="connsiteX42" fmla="*/ 3538538 w 3708400"/>
              <a:gd name="connsiteY42" fmla="*/ 379412 h 490537"/>
              <a:gd name="connsiteX43" fmla="*/ 3638550 w 3708400"/>
              <a:gd name="connsiteY43" fmla="*/ 398462 h 490537"/>
              <a:gd name="connsiteX44" fmla="*/ 3708400 w 3708400"/>
              <a:gd name="connsiteY44" fmla="*/ 490537 h 490537"/>
              <a:gd name="connsiteX0" fmla="*/ 0 w 3589337"/>
              <a:gd name="connsiteY0" fmla="*/ 0 h 430212"/>
              <a:gd name="connsiteX1" fmla="*/ 76200 w 3589337"/>
              <a:gd name="connsiteY1" fmla="*/ 33337 h 430212"/>
              <a:gd name="connsiteX2" fmla="*/ 147637 w 3589337"/>
              <a:gd name="connsiteY2" fmla="*/ 28575 h 430212"/>
              <a:gd name="connsiteX3" fmla="*/ 276225 w 3589337"/>
              <a:gd name="connsiteY3" fmla="*/ 28575 h 430212"/>
              <a:gd name="connsiteX4" fmla="*/ 414337 w 3589337"/>
              <a:gd name="connsiteY4" fmla="*/ 52387 h 430212"/>
              <a:gd name="connsiteX5" fmla="*/ 576262 w 3589337"/>
              <a:gd name="connsiteY5" fmla="*/ 38100 h 430212"/>
              <a:gd name="connsiteX6" fmla="*/ 738187 w 3589337"/>
              <a:gd name="connsiteY6" fmla="*/ 14287 h 430212"/>
              <a:gd name="connsiteX7" fmla="*/ 862012 w 3589337"/>
              <a:gd name="connsiteY7" fmla="*/ 9525 h 430212"/>
              <a:gd name="connsiteX8" fmla="*/ 952500 w 3589337"/>
              <a:gd name="connsiteY8" fmla="*/ 0 h 430212"/>
              <a:gd name="connsiteX9" fmla="*/ 1033462 w 3589337"/>
              <a:gd name="connsiteY9" fmla="*/ 19050 h 430212"/>
              <a:gd name="connsiteX10" fmla="*/ 1095375 w 3589337"/>
              <a:gd name="connsiteY10" fmla="*/ 19050 h 430212"/>
              <a:gd name="connsiteX11" fmla="*/ 1147762 w 3589337"/>
              <a:gd name="connsiteY11" fmla="*/ 23812 h 430212"/>
              <a:gd name="connsiteX12" fmla="*/ 1147762 w 3589337"/>
              <a:gd name="connsiteY12" fmla="*/ 14287 h 430212"/>
              <a:gd name="connsiteX13" fmla="*/ 1157287 w 3589337"/>
              <a:gd name="connsiteY13" fmla="*/ 23812 h 430212"/>
              <a:gd name="connsiteX14" fmla="*/ 1171575 w 3589337"/>
              <a:gd name="connsiteY14" fmla="*/ 9525 h 430212"/>
              <a:gd name="connsiteX15" fmla="*/ 1209675 w 3589337"/>
              <a:gd name="connsiteY15" fmla="*/ 23812 h 430212"/>
              <a:gd name="connsiteX16" fmla="*/ 1243012 w 3589337"/>
              <a:gd name="connsiteY16" fmla="*/ 9525 h 430212"/>
              <a:gd name="connsiteX17" fmla="*/ 1276350 w 3589337"/>
              <a:gd name="connsiteY17" fmla="*/ 23812 h 430212"/>
              <a:gd name="connsiteX18" fmla="*/ 1338262 w 3589337"/>
              <a:gd name="connsiteY18" fmla="*/ 4762 h 430212"/>
              <a:gd name="connsiteX19" fmla="*/ 1476375 w 3589337"/>
              <a:gd name="connsiteY19" fmla="*/ 9525 h 430212"/>
              <a:gd name="connsiteX20" fmla="*/ 1528762 w 3589337"/>
              <a:gd name="connsiteY20" fmla="*/ 23812 h 430212"/>
              <a:gd name="connsiteX21" fmla="*/ 1628775 w 3589337"/>
              <a:gd name="connsiteY21" fmla="*/ 23812 h 430212"/>
              <a:gd name="connsiteX22" fmla="*/ 1804987 w 3589337"/>
              <a:gd name="connsiteY22" fmla="*/ 42862 h 430212"/>
              <a:gd name="connsiteX23" fmla="*/ 1914525 w 3589337"/>
              <a:gd name="connsiteY23" fmla="*/ 33337 h 430212"/>
              <a:gd name="connsiteX24" fmla="*/ 1962150 w 3589337"/>
              <a:gd name="connsiteY24" fmla="*/ 47625 h 430212"/>
              <a:gd name="connsiteX25" fmla="*/ 2000250 w 3589337"/>
              <a:gd name="connsiteY25" fmla="*/ 57150 h 430212"/>
              <a:gd name="connsiteX26" fmla="*/ 2057400 w 3589337"/>
              <a:gd name="connsiteY26" fmla="*/ 95250 h 430212"/>
              <a:gd name="connsiteX27" fmla="*/ 2114550 w 3589337"/>
              <a:gd name="connsiteY27" fmla="*/ 166687 h 430212"/>
              <a:gd name="connsiteX28" fmla="*/ 2209800 w 3589337"/>
              <a:gd name="connsiteY28" fmla="*/ 152400 h 430212"/>
              <a:gd name="connsiteX29" fmla="*/ 2233612 w 3589337"/>
              <a:gd name="connsiteY29" fmla="*/ 152400 h 430212"/>
              <a:gd name="connsiteX30" fmla="*/ 2386012 w 3589337"/>
              <a:gd name="connsiteY30" fmla="*/ 223837 h 430212"/>
              <a:gd name="connsiteX31" fmla="*/ 2495550 w 3589337"/>
              <a:gd name="connsiteY31" fmla="*/ 233362 h 430212"/>
              <a:gd name="connsiteX32" fmla="*/ 2581275 w 3589337"/>
              <a:gd name="connsiteY32" fmla="*/ 238125 h 430212"/>
              <a:gd name="connsiteX33" fmla="*/ 2690812 w 3589337"/>
              <a:gd name="connsiteY33" fmla="*/ 223837 h 430212"/>
              <a:gd name="connsiteX34" fmla="*/ 2781300 w 3589337"/>
              <a:gd name="connsiteY34" fmla="*/ 252412 h 430212"/>
              <a:gd name="connsiteX35" fmla="*/ 2971800 w 3589337"/>
              <a:gd name="connsiteY35" fmla="*/ 290512 h 430212"/>
              <a:gd name="connsiteX36" fmla="*/ 3052762 w 3589337"/>
              <a:gd name="connsiteY36" fmla="*/ 309562 h 430212"/>
              <a:gd name="connsiteX37" fmla="*/ 3081337 w 3589337"/>
              <a:gd name="connsiteY37" fmla="*/ 319087 h 430212"/>
              <a:gd name="connsiteX38" fmla="*/ 3205162 w 3589337"/>
              <a:gd name="connsiteY38" fmla="*/ 328612 h 430212"/>
              <a:gd name="connsiteX39" fmla="*/ 3286125 w 3589337"/>
              <a:gd name="connsiteY39" fmla="*/ 352425 h 430212"/>
              <a:gd name="connsiteX40" fmla="*/ 3333750 w 3589337"/>
              <a:gd name="connsiteY40" fmla="*/ 338137 h 430212"/>
              <a:gd name="connsiteX41" fmla="*/ 3419475 w 3589337"/>
              <a:gd name="connsiteY41" fmla="*/ 319087 h 430212"/>
              <a:gd name="connsiteX42" fmla="*/ 3519487 w 3589337"/>
              <a:gd name="connsiteY42" fmla="*/ 338137 h 430212"/>
              <a:gd name="connsiteX43" fmla="*/ 3589337 w 3589337"/>
              <a:gd name="connsiteY43" fmla="*/ 430212 h 430212"/>
              <a:gd name="connsiteX0" fmla="*/ 61404 w 3513137"/>
              <a:gd name="connsiteY0" fmla="*/ 133165 h 430212"/>
              <a:gd name="connsiteX1" fmla="*/ 0 w 3513137"/>
              <a:gd name="connsiteY1" fmla="*/ 33337 h 430212"/>
              <a:gd name="connsiteX2" fmla="*/ 71437 w 3513137"/>
              <a:gd name="connsiteY2" fmla="*/ 28575 h 430212"/>
              <a:gd name="connsiteX3" fmla="*/ 200025 w 3513137"/>
              <a:gd name="connsiteY3" fmla="*/ 28575 h 430212"/>
              <a:gd name="connsiteX4" fmla="*/ 338137 w 3513137"/>
              <a:gd name="connsiteY4" fmla="*/ 52387 h 430212"/>
              <a:gd name="connsiteX5" fmla="*/ 500062 w 3513137"/>
              <a:gd name="connsiteY5" fmla="*/ 38100 h 430212"/>
              <a:gd name="connsiteX6" fmla="*/ 661987 w 3513137"/>
              <a:gd name="connsiteY6" fmla="*/ 14287 h 430212"/>
              <a:gd name="connsiteX7" fmla="*/ 785812 w 3513137"/>
              <a:gd name="connsiteY7" fmla="*/ 9525 h 430212"/>
              <a:gd name="connsiteX8" fmla="*/ 876300 w 3513137"/>
              <a:gd name="connsiteY8" fmla="*/ 0 h 430212"/>
              <a:gd name="connsiteX9" fmla="*/ 957262 w 3513137"/>
              <a:gd name="connsiteY9" fmla="*/ 19050 h 430212"/>
              <a:gd name="connsiteX10" fmla="*/ 1019175 w 3513137"/>
              <a:gd name="connsiteY10" fmla="*/ 19050 h 430212"/>
              <a:gd name="connsiteX11" fmla="*/ 1071562 w 3513137"/>
              <a:gd name="connsiteY11" fmla="*/ 23812 h 430212"/>
              <a:gd name="connsiteX12" fmla="*/ 1071562 w 3513137"/>
              <a:gd name="connsiteY12" fmla="*/ 14287 h 430212"/>
              <a:gd name="connsiteX13" fmla="*/ 1081087 w 3513137"/>
              <a:gd name="connsiteY13" fmla="*/ 23812 h 430212"/>
              <a:gd name="connsiteX14" fmla="*/ 1095375 w 3513137"/>
              <a:gd name="connsiteY14" fmla="*/ 9525 h 430212"/>
              <a:gd name="connsiteX15" fmla="*/ 1133475 w 3513137"/>
              <a:gd name="connsiteY15" fmla="*/ 23812 h 430212"/>
              <a:gd name="connsiteX16" fmla="*/ 1166812 w 3513137"/>
              <a:gd name="connsiteY16" fmla="*/ 9525 h 430212"/>
              <a:gd name="connsiteX17" fmla="*/ 1200150 w 3513137"/>
              <a:gd name="connsiteY17" fmla="*/ 23812 h 430212"/>
              <a:gd name="connsiteX18" fmla="*/ 1262062 w 3513137"/>
              <a:gd name="connsiteY18" fmla="*/ 4762 h 430212"/>
              <a:gd name="connsiteX19" fmla="*/ 1400175 w 3513137"/>
              <a:gd name="connsiteY19" fmla="*/ 9525 h 430212"/>
              <a:gd name="connsiteX20" fmla="*/ 1452562 w 3513137"/>
              <a:gd name="connsiteY20" fmla="*/ 23812 h 430212"/>
              <a:gd name="connsiteX21" fmla="*/ 1552575 w 3513137"/>
              <a:gd name="connsiteY21" fmla="*/ 23812 h 430212"/>
              <a:gd name="connsiteX22" fmla="*/ 1728787 w 3513137"/>
              <a:gd name="connsiteY22" fmla="*/ 42862 h 430212"/>
              <a:gd name="connsiteX23" fmla="*/ 1838325 w 3513137"/>
              <a:gd name="connsiteY23" fmla="*/ 33337 h 430212"/>
              <a:gd name="connsiteX24" fmla="*/ 1885950 w 3513137"/>
              <a:gd name="connsiteY24" fmla="*/ 47625 h 430212"/>
              <a:gd name="connsiteX25" fmla="*/ 1924050 w 3513137"/>
              <a:gd name="connsiteY25" fmla="*/ 57150 h 430212"/>
              <a:gd name="connsiteX26" fmla="*/ 1981200 w 3513137"/>
              <a:gd name="connsiteY26" fmla="*/ 95250 h 430212"/>
              <a:gd name="connsiteX27" fmla="*/ 2038350 w 3513137"/>
              <a:gd name="connsiteY27" fmla="*/ 166687 h 430212"/>
              <a:gd name="connsiteX28" fmla="*/ 2133600 w 3513137"/>
              <a:gd name="connsiteY28" fmla="*/ 152400 h 430212"/>
              <a:gd name="connsiteX29" fmla="*/ 2157412 w 3513137"/>
              <a:gd name="connsiteY29" fmla="*/ 152400 h 430212"/>
              <a:gd name="connsiteX30" fmla="*/ 2309812 w 3513137"/>
              <a:gd name="connsiteY30" fmla="*/ 223837 h 430212"/>
              <a:gd name="connsiteX31" fmla="*/ 2419350 w 3513137"/>
              <a:gd name="connsiteY31" fmla="*/ 233362 h 430212"/>
              <a:gd name="connsiteX32" fmla="*/ 2505075 w 3513137"/>
              <a:gd name="connsiteY32" fmla="*/ 238125 h 430212"/>
              <a:gd name="connsiteX33" fmla="*/ 2614612 w 3513137"/>
              <a:gd name="connsiteY33" fmla="*/ 223837 h 430212"/>
              <a:gd name="connsiteX34" fmla="*/ 2705100 w 3513137"/>
              <a:gd name="connsiteY34" fmla="*/ 252412 h 430212"/>
              <a:gd name="connsiteX35" fmla="*/ 2895600 w 3513137"/>
              <a:gd name="connsiteY35" fmla="*/ 290512 h 430212"/>
              <a:gd name="connsiteX36" fmla="*/ 2976562 w 3513137"/>
              <a:gd name="connsiteY36" fmla="*/ 309562 h 430212"/>
              <a:gd name="connsiteX37" fmla="*/ 3005137 w 3513137"/>
              <a:gd name="connsiteY37" fmla="*/ 319087 h 430212"/>
              <a:gd name="connsiteX38" fmla="*/ 3128962 w 3513137"/>
              <a:gd name="connsiteY38" fmla="*/ 328612 h 430212"/>
              <a:gd name="connsiteX39" fmla="*/ 3209925 w 3513137"/>
              <a:gd name="connsiteY39" fmla="*/ 352425 h 430212"/>
              <a:gd name="connsiteX40" fmla="*/ 3257550 w 3513137"/>
              <a:gd name="connsiteY40" fmla="*/ 338137 h 430212"/>
              <a:gd name="connsiteX41" fmla="*/ 3343275 w 3513137"/>
              <a:gd name="connsiteY41" fmla="*/ 319087 h 430212"/>
              <a:gd name="connsiteX42" fmla="*/ 3443287 w 3513137"/>
              <a:gd name="connsiteY42" fmla="*/ 338137 h 430212"/>
              <a:gd name="connsiteX43" fmla="*/ 3513137 w 3513137"/>
              <a:gd name="connsiteY43" fmla="*/ 430212 h 430212"/>
              <a:gd name="connsiteX0" fmla="*/ 61404 w 3513137"/>
              <a:gd name="connsiteY0" fmla="*/ 133165 h 430212"/>
              <a:gd name="connsiteX1" fmla="*/ 0 w 3513137"/>
              <a:gd name="connsiteY1" fmla="*/ 33337 h 430212"/>
              <a:gd name="connsiteX2" fmla="*/ 71437 w 3513137"/>
              <a:gd name="connsiteY2" fmla="*/ 28575 h 430212"/>
              <a:gd name="connsiteX3" fmla="*/ 200025 w 3513137"/>
              <a:gd name="connsiteY3" fmla="*/ 28575 h 430212"/>
              <a:gd name="connsiteX4" fmla="*/ 338137 w 3513137"/>
              <a:gd name="connsiteY4" fmla="*/ 52387 h 430212"/>
              <a:gd name="connsiteX5" fmla="*/ 500062 w 3513137"/>
              <a:gd name="connsiteY5" fmla="*/ 38100 h 430212"/>
              <a:gd name="connsiteX6" fmla="*/ 661987 w 3513137"/>
              <a:gd name="connsiteY6" fmla="*/ 14287 h 430212"/>
              <a:gd name="connsiteX7" fmla="*/ 785812 w 3513137"/>
              <a:gd name="connsiteY7" fmla="*/ 9525 h 430212"/>
              <a:gd name="connsiteX8" fmla="*/ 876300 w 3513137"/>
              <a:gd name="connsiteY8" fmla="*/ 0 h 430212"/>
              <a:gd name="connsiteX9" fmla="*/ 957262 w 3513137"/>
              <a:gd name="connsiteY9" fmla="*/ 19050 h 430212"/>
              <a:gd name="connsiteX10" fmla="*/ 1019175 w 3513137"/>
              <a:gd name="connsiteY10" fmla="*/ 19050 h 430212"/>
              <a:gd name="connsiteX11" fmla="*/ 1071562 w 3513137"/>
              <a:gd name="connsiteY11" fmla="*/ 23812 h 430212"/>
              <a:gd name="connsiteX12" fmla="*/ 1071562 w 3513137"/>
              <a:gd name="connsiteY12" fmla="*/ 14287 h 430212"/>
              <a:gd name="connsiteX13" fmla="*/ 1081087 w 3513137"/>
              <a:gd name="connsiteY13" fmla="*/ 23812 h 430212"/>
              <a:gd name="connsiteX14" fmla="*/ 1095375 w 3513137"/>
              <a:gd name="connsiteY14" fmla="*/ 9525 h 430212"/>
              <a:gd name="connsiteX15" fmla="*/ 1133475 w 3513137"/>
              <a:gd name="connsiteY15" fmla="*/ 23812 h 430212"/>
              <a:gd name="connsiteX16" fmla="*/ 1166812 w 3513137"/>
              <a:gd name="connsiteY16" fmla="*/ 9525 h 430212"/>
              <a:gd name="connsiteX17" fmla="*/ 1200150 w 3513137"/>
              <a:gd name="connsiteY17" fmla="*/ 23812 h 430212"/>
              <a:gd name="connsiteX18" fmla="*/ 1262062 w 3513137"/>
              <a:gd name="connsiteY18" fmla="*/ 4762 h 430212"/>
              <a:gd name="connsiteX19" fmla="*/ 1400175 w 3513137"/>
              <a:gd name="connsiteY19" fmla="*/ 9525 h 430212"/>
              <a:gd name="connsiteX20" fmla="*/ 1452562 w 3513137"/>
              <a:gd name="connsiteY20" fmla="*/ 23812 h 430212"/>
              <a:gd name="connsiteX21" fmla="*/ 1552575 w 3513137"/>
              <a:gd name="connsiteY21" fmla="*/ 23812 h 430212"/>
              <a:gd name="connsiteX22" fmla="*/ 1728787 w 3513137"/>
              <a:gd name="connsiteY22" fmla="*/ 42862 h 430212"/>
              <a:gd name="connsiteX23" fmla="*/ 1838325 w 3513137"/>
              <a:gd name="connsiteY23" fmla="*/ 33337 h 430212"/>
              <a:gd name="connsiteX24" fmla="*/ 1885950 w 3513137"/>
              <a:gd name="connsiteY24" fmla="*/ 47625 h 430212"/>
              <a:gd name="connsiteX25" fmla="*/ 1924050 w 3513137"/>
              <a:gd name="connsiteY25" fmla="*/ 57150 h 430212"/>
              <a:gd name="connsiteX26" fmla="*/ 1981200 w 3513137"/>
              <a:gd name="connsiteY26" fmla="*/ 95250 h 430212"/>
              <a:gd name="connsiteX27" fmla="*/ 2038350 w 3513137"/>
              <a:gd name="connsiteY27" fmla="*/ 166687 h 430212"/>
              <a:gd name="connsiteX28" fmla="*/ 2133600 w 3513137"/>
              <a:gd name="connsiteY28" fmla="*/ 152400 h 430212"/>
              <a:gd name="connsiteX29" fmla="*/ 2157412 w 3513137"/>
              <a:gd name="connsiteY29" fmla="*/ 152400 h 430212"/>
              <a:gd name="connsiteX30" fmla="*/ 2309812 w 3513137"/>
              <a:gd name="connsiteY30" fmla="*/ 223837 h 430212"/>
              <a:gd name="connsiteX31" fmla="*/ 2419350 w 3513137"/>
              <a:gd name="connsiteY31" fmla="*/ 233362 h 430212"/>
              <a:gd name="connsiteX32" fmla="*/ 2505075 w 3513137"/>
              <a:gd name="connsiteY32" fmla="*/ 238125 h 430212"/>
              <a:gd name="connsiteX33" fmla="*/ 2614612 w 3513137"/>
              <a:gd name="connsiteY33" fmla="*/ 223837 h 430212"/>
              <a:gd name="connsiteX34" fmla="*/ 2705100 w 3513137"/>
              <a:gd name="connsiteY34" fmla="*/ 252412 h 430212"/>
              <a:gd name="connsiteX35" fmla="*/ 2895600 w 3513137"/>
              <a:gd name="connsiteY35" fmla="*/ 290512 h 430212"/>
              <a:gd name="connsiteX36" fmla="*/ 2976562 w 3513137"/>
              <a:gd name="connsiteY36" fmla="*/ 309562 h 430212"/>
              <a:gd name="connsiteX37" fmla="*/ 3005137 w 3513137"/>
              <a:gd name="connsiteY37" fmla="*/ 319087 h 430212"/>
              <a:gd name="connsiteX38" fmla="*/ 3128962 w 3513137"/>
              <a:gd name="connsiteY38" fmla="*/ 328612 h 430212"/>
              <a:gd name="connsiteX39" fmla="*/ 3209925 w 3513137"/>
              <a:gd name="connsiteY39" fmla="*/ 352425 h 430212"/>
              <a:gd name="connsiteX40" fmla="*/ 3257550 w 3513137"/>
              <a:gd name="connsiteY40" fmla="*/ 338137 h 430212"/>
              <a:gd name="connsiteX41" fmla="*/ 3343275 w 3513137"/>
              <a:gd name="connsiteY41" fmla="*/ 319087 h 430212"/>
              <a:gd name="connsiteX42" fmla="*/ 3443287 w 3513137"/>
              <a:gd name="connsiteY42" fmla="*/ 338137 h 430212"/>
              <a:gd name="connsiteX43" fmla="*/ 3513137 w 3513137"/>
              <a:gd name="connsiteY43" fmla="*/ 430212 h 430212"/>
              <a:gd name="connsiteX0" fmla="*/ 3492 w 3588434"/>
              <a:gd name="connsiteY0" fmla="*/ 73156 h 507928"/>
              <a:gd name="connsiteX1" fmla="*/ 75297 w 3588434"/>
              <a:gd name="connsiteY1" fmla="*/ 111053 h 507928"/>
              <a:gd name="connsiteX2" fmla="*/ 146734 w 3588434"/>
              <a:gd name="connsiteY2" fmla="*/ 106291 h 507928"/>
              <a:gd name="connsiteX3" fmla="*/ 275322 w 3588434"/>
              <a:gd name="connsiteY3" fmla="*/ 106291 h 507928"/>
              <a:gd name="connsiteX4" fmla="*/ 413434 w 3588434"/>
              <a:gd name="connsiteY4" fmla="*/ 130103 h 507928"/>
              <a:gd name="connsiteX5" fmla="*/ 575359 w 3588434"/>
              <a:gd name="connsiteY5" fmla="*/ 115816 h 507928"/>
              <a:gd name="connsiteX6" fmla="*/ 737284 w 3588434"/>
              <a:gd name="connsiteY6" fmla="*/ 92003 h 507928"/>
              <a:gd name="connsiteX7" fmla="*/ 861109 w 3588434"/>
              <a:gd name="connsiteY7" fmla="*/ 87241 h 507928"/>
              <a:gd name="connsiteX8" fmla="*/ 951597 w 3588434"/>
              <a:gd name="connsiteY8" fmla="*/ 77716 h 507928"/>
              <a:gd name="connsiteX9" fmla="*/ 1032559 w 3588434"/>
              <a:gd name="connsiteY9" fmla="*/ 96766 h 507928"/>
              <a:gd name="connsiteX10" fmla="*/ 1094472 w 3588434"/>
              <a:gd name="connsiteY10" fmla="*/ 96766 h 507928"/>
              <a:gd name="connsiteX11" fmla="*/ 1146859 w 3588434"/>
              <a:gd name="connsiteY11" fmla="*/ 101528 h 507928"/>
              <a:gd name="connsiteX12" fmla="*/ 1146859 w 3588434"/>
              <a:gd name="connsiteY12" fmla="*/ 92003 h 507928"/>
              <a:gd name="connsiteX13" fmla="*/ 1156384 w 3588434"/>
              <a:gd name="connsiteY13" fmla="*/ 101528 h 507928"/>
              <a:gd name="connsiteX14" fmla="*/ 1170672 w 3588434"/>
              <a:gd name="connsiteY14" fmla="*/ 87241 h 507928"/>
              <a:gd name="connsiteX15" fmla="*/ 1208772 w 3588434"/>
              <a:gd name="connsiteY15" fmla="*/ 101528 h 507928"/>
              <a:gd name="connsiteX16" fmla="*/ 1242109 w 3588434"/>
              <a:gd name="connsiteY16" fmla="*/ 87241 h 507928"/>
              <a:gd name="connsiteX17" fmla="*/ 1275447 w 3588434"/>
              <a:gd name="connsiteY17" fmla="*/ 101528 h 507928"/>
              <a:gd name="connsiteX18" fmla="*/ 1337359 w 3588434"/>
              <a:gd name="connsiteY18" fmla="*/ 82478 h 507928"/>
              <a:gd name="connsiteX19" fmla="*/ 1475472 w 3588434"/>
              <a:gd name="connsiteY19" fmla="*/ 87241 h 507928"/>
              <a:gd name="connsiteX20" fmla="*/ 1527859 w 3588434"/>
              <a:gd name="connsiteY20" fmla="*/ 101528 h 507928"/>
              <a:gd name="connsiteX21" fmla="*/ 1627872 w 3588434"/>
              <a:gd name="connsiteY21" fmla="*/ 101528 h 507928"/>
              <a:gd name="connsiteX22" fmla="*/ 1804084 w 3588434"/>
              <a:gd name="connsiteY22" fmla="*/ 120578 h 507928"/>
              <a:gd name="connsiteX23" fmla="*/ 1913622 w 3588434"/>
              <a:gd name="connsiteY23" fmla="*/ 111053 h 507928"/>
              <a:gd name="connsiteX24" fmla="*/ 1961247 w 3588434"/>
              <a:gd name="connsiteY24" fmla="*/ 125341 h 507928"/>
              <a:gd name="connsiteX25" fmla="*/ 1999347 w 3588434"/>
              <a:gd name="connsiteY25" fmla="*/ 134866 h 507928"/>
              <a:gd name="connsiteX26" fmla="*/ 2056497 w 3588434"/>
              <a:gd name="connsiteY26" fmla="*/ 172966 h 507928"/>
              <a:gd name="connsiteX27" fmla="*/ 2113647 w 3588434"/>
              <a:gd name="connsiteY27" fmla="*/ 244403 h 507928"/>
              <a:gd name="connsiteX28" fmla="*/ 2208897 w 3588434"/>
              <a:gd name="connsiteY28" fmla="*/ 230116 h 507928"/>
              <a:gd name="connsiteX29" fmla="*/ 2232709 w 3588434"/>
              <a:gd name="connsiteY29" fmla="*/ 230116 h 507928"/>
              <a:gd name="connsiteX30" fmla="*/ 2385109 w 3588434"/>
              <a:gd name="connsiteY30" fmla="*/ 301553 h 507928"/>
              <a:gd name="connsiteX31" fmla="*/ 2494647 w 3588434"/>
              <a:gd name="connsiteY31" fmla="*/ 311078 h 507928"/>
              <a:gd name="connsiteX32" fmla="*/ 2580372 w 3588434"/>
              <a:gd name="connsiteY32" fmla="*/ 315841 h 507928"/>
              <a:gd name="connsiteX33" fmla="*/ 2689909 w 3588434"/>
              <a:gd name="connsiteY33" fmla="*/ 301553 h 507928"/>
              <a:gd name="connsiteX34" fmla="*/ 2780397 w 3588434"/>
              <a:gd name="connsiteY34" fmla="*/ 330128 h 507928"/>
              <a:gd name="connsiteX35" fmla="*/ 2970897 w 3588434"/>
              <a:gd name="connsiteY35" fmla="*/ 368228 h 507928"/>
              <a:gd name="connsiteX36" fmla="*/ 3051859 w 3588434"/>
              <a:gd name="connsiteY36" fmla="*/ 387278 h 507928"/>
              <a:gd name="connsiteX37" fmla="*/ 3080434 w 3588434"/>
              <a:gd name="connsiteY37" fmla="*/ 396803 h 507928"/>
              <a:gd name="connsiteX38" fmla="*/ 3204259 w 3588434"/>
              <a:gd name="connsiteY38" fmla="*/ 406328 h 507928"/>
              <a:gd name="connsiteX39" fmla="*/ 3285222 w 3588434"/>
              <a:gd name="connsiteY39" fmla="*/ 430141 h 507928"/>
              <a:gd name="connsiteX40" fmla="*/ 3332847 w 3588434"/>
              <a:gd name="connsiteY40" fmla="*/ 415853 h 507928"/>
              <a:gd name="connsiteX41" fmla="*/ 3418572 w 3588434"/>
              <a:gd name="connsiteY41" fmla="*/ 396803 h 507928"/>
              <a:gd name="connsiteX42" fmla="*/ 3518584 w 3588434"/>
              <a:gd name="connsiteY42" fmla="*/ 415853 h 507928"/>
              <a:gd name="connsiteX43" fmla="*/ 3588434 w 3588434"/>
              <a:gd name="connsiteY43" fmla="*/ 507928 h 507928"/>
              <a:gd name="connsiteX0" fmla="*/ 0 w 3513137"/>
              <a:gd name="connsiteY0" fmla="*/ 33337 h 430212"/>
              <a:gd name="connsiteX1" fmla="*/ 71437 w 3513137"/>
              <a:gd name="connsiteY1" fmla="*/ 28575 h 430212"/>
              <a:gd name="connsiteX2" fmla="*/ 200025 w 3513137"/>
              <a:gd name="connsiteY2" fmla="*/ 28575 h 430212"/>
              <a:gd name="connsiteX3" fmla="*/ 338137 w 3513137"/>
              <a:gd name="connsiteY3" fmla="*/ 52387 h 430212"/>
              <a:gd name="connsiteX4" fmla="*/ 500062 w 3513137"/>
              <a:gd name="connsiteY4" fmla="*/ 38100 h 430212"/>
              <a:gd name="connsiteX5" fmla="*/ 661987 w 3513137"/>
              <a:gd name="connsiteY5" fmla="*/ 14287 h 430212"/>
              <a:gd name="connsiteX6" fmla="*/ 785812 w 3513137"/>
              <a:gd name="connsiteY6" fmla="*/ 9525 h 430212"/>
              <a:gd name="connsiteX7" fmla="*/ 876300 w 3513137"/>
              <a:gd name="connsiteY7" fmla="*/ 0 h 430212"/>
              <a:gd name="connsiteX8" fmla="*/ 957262 w 3513137"/>
              <a:gd name="connsiteY8" fmla="*/ 19050 h 430212"/>
              <a:gd name="connsiteX9" fmla="*/ 1019175 w 3513137"/>
              <a:gd name="connsiteY9" fmla="*/ 19050 h 430212"/>
              <a:gd name="connsiteX10" fmla="*/ 1071562 w 3513137"/>
              <a:gd name="connsiteY10" fmla="*/ 23812 h 430212"/>
              <a:gd name="connsiteX11" fmla="*/ 1071562 w 3513137"/>
              <a:gd name="connsiteY11" fmla="*/ 14287 h 430212"/>
              <a:gd name="connsiteX12" fmla="*/ 1081087 w 3513137"/>
              <a:gd name="connsiteY12" fmla="*/ 23812 h 430212"/>
              <a:gd name="connsiteX13" fmla="*/ 1095375 w 3513137"/>
              <a:gd name="connsiteY13" fmla="*/ 9525 h 430212"/>
              <a:gd name="connsiteX14" fmla="*/ 1133475 w 3513137"/>
              <a:gd name="connsiteY14" fmla="*/ 23812 h 430212"/>
              <a:gd name="connsiteX15" fmla="*/ 1166812 w 3513137"/>
              <a:gd name="connsiteY15" fmla="*/ 9525 h 430212"/>
              <a:gd name="connsiteX16" fmla="*/ 1200150 w 3513137"/>
              <a:gd name="connsiteY16" fmla="*/ 23812 h 430212"/>
              <a:gd name="connsiteX17" fmla="*/ 1262062 w 3513137"/>
              <a:gd name="connsiteY17" fmla="*/ 4762 h 430212"/>
              <a:gd name="connsiteX18" fmla="*/ 1400175 w 3513137"/>
              <a:gd name="connsiteY18" fmla="*/ 9525 h 430212"/>
              <a:gd name="connsiteX19" fmla="*/ 1452562 w 3513137"/>
              <a:gd name="connsiteY19" fmla="*/ 23812 h 430212"/>
              <a:gd name="connsiteX20" fmla="*/ 1552575 w 3513137"/>
              <a:gd name="connsiteY20" fmla="*/ 23812 h 430212"/>
              <a:gd name="connsiteX21" fmla="*/ 1728787 w 3513137"/>
              <a:gd name="connsiteY21" fmla="*/ 42862 h 430212"/>
              <a:gd name="connsiteX22" fmla="*/ 1838325 w 3513137"/>
              <a:gd name="connsiteY22" fmla="*/ 33337 h 430212"/>
              <a:gd name="connsiteX23" fmla="*/ 1885950 w 3513137"/>
              <a:gd name="connsiteY23" fmla="*/ 47625 h 430212"/>
              <a:gd name="connsiteX24" fmla="*/ 1924050 w 3513137"/>
              <a:gd name="connsiteY24" fmla="*/ 57150 h 430212"/>
              <a:gd name="connsiteX25" fmla="*/ 1981200 w 3513137"/>
              <a:gd name="connsiteY25" fmla="*/ 95250 h 430212"/>
              <a:gd name="connsiteX26" fmla="*/ 2038350 w 3513137"/>
              <a:gd name="connsiteY26" fmla="*/ 166687 h 430212"/>
              <a:gd name="connsiteX27" fmla="*/ 2133600 w 3513137"/>
              <a:gd name="connsiteY27" fmla="*/ 152400 h 430212"/>
              <a:gd name="connsiteX28" fmla="*/ 2157412 w 3513137"/>
              <a:gd name="connsiteY28" fmla="*/ 152400 h 430212"/>
              <a:gd name="connsiteX29" fmla="*/ 2309812 w 3513137"/>
              <a:gd name="connsiteY29" fmla="*/ 223837 h 430212"/>
              <a:gd name="connsiteX30" fmla="*/ 2419350 w 3513137"/>
              <a:gd name="connsiteY30" fmla="*/ 233362 h 430212"/>
              <a:gd name="connsiteX31" fmla="*/ 2505075 w 3513137"/>
              <a:gd name="connsiteY31" fmla="*/ 238125 h 430212"/>
              <a:gd name="connsiteX32" fmla="*/ 2614612 w 3513137"/>
              <a:gd name="connsiteY32" fmla="*/ 223837 h 430212"/>
              <a:gd name="connsiteX33" fmla="*/ 2705100 w 3513137"/>
              <a:gd name="connsiteY33" fmla="*/ 252412 h 430212"/>
              <a:gd name="connsiteX34" fmla="*/ 2895600 w 3513137"/>
              <a:gd name="connsiteY34" fmla="*/ 290512 h 430212"/>
              <a:gd name="connsiteX35" fmla="*/ 2976562 w 3513137"/>
              <a:gd name="connsiteY35" fmla="*/ 309562 h 430212"/>
              <a:gd name="connsiteX36" fmla="*/ 3005137 w 3513137"/>
              <a:gd name="connsiteY36" fmla="*/ 319087 h 430212"/>
              <a:gd name="connsiteX37" fmla="*/ 3128962 w 3513137"/>
              <a:gd name="connsiteY37" fmla="*/ 328612 h 430212"/>
              <a:gd name="connsiteX38" fmla="*/ 3209925 w 3513137"/>
              <a:gd name="connsiteY38" fmla="*/ 352425 h 430212"/>
              <a:gd name="connsiteX39" fmla="*/ 3257550 w 3513137"/>
              <a:gd name="connsiteY39" fmla="*/ 338137 h 430212"/>
              <a:gd name="connsiteX40" fmla="*/ 3343275 w 3513137"/>
              <a:gd name="connsiteY40" fmla="*/ 319087 h 430212"/>
              <a:gd name="connsiteX41" fmla="*/ 3443287 w 3513137"/>
              <a:gd name="connsiteY41" fmla="*/ 338137 h 430212"/>
              <a:gd name="connsiteX42" fmla="*/ 3513137 w 3513137"/>
              <a:gd name="connsiteY42" fmla="*/ 430212 h 430212"/>
              <a:gd name="connsiteX0" fmla="*/ 0 w 3513137"/>
              <a:gd name="connsiteY0" fmla="*/ 33337 h 430212"/>
              <a:gd name="connsiteX1" fmla="*/ 200025 w 3513137"/>
              <a:gd name="connsiteY1" fmla="*/ 28575 h 430212"/>
              <a:gd name="connsiteX2" fmla="*/ 338137 w 3513137"/>
              <a:gd name="connsiteY2" fmla="*/ 52387 h 430212"/>
              <a:gd name="connsiteX3" fmla="*/ 500062 w 3513137"/>
              <a:gd name="connsiteY3" fmla="*/ 38100 h 430212"/>
              <a:gd name="connsiteX4" fmla="*/ 661987 w 3513137"/>
              <a:gd name="connsiteY4" fmla="*/ 14287 h 430212"/>
              <a:gd name="connsiteX5" fmla="*/ 785812 w 3513137"/>
              <a:gd name="connsiteY5" fmla="*/ 9525 h 430212"/>
              <a:gd name="connsiteX6" fmla="*/ 876300 w 3513137"/>
              <a:gd name="connsiteY6" fmla="*/ 0 h 430212"/>
              <a:gd name="connsiteX7" fmla="*/ 957262 w 3513137"/>
              <a:gd name="connsiteY7" fmla="*/ 19050 h 430212"/>
              <a:gd name="connsiteX8" fmla="*/ 1019175 w 3513137"/>
              <a:gd name="connsiteY8" fmla="*/ 19050 h 430212"/>
              <a:gd name="connsiteX9" fmla="*/ 1071562 w 3513137"/>
              <a:gd name="connsiteY9" fmla="*/ 23812 h 430212"/>
              <a:gd name="connsiteX10" fmla="*/ 1071562 w 3513137"/>
              <a:gd name="connsiteY10" fmla="*/ 14287 h 430212"/>
              <a:gd name="connsiteX11" fmla="*/ 1081087 w 3513137"/>
              <a:gd name="connsiteY11" fmla="*/ 23812 h 430212"/>
              <a:gd name="connsiteX12" fmla="*/ 1095375 w 3513137"/>
              <a:gd name="connsiteY12" fmla="*/ 9525 h 430212"/>
              <a:gd name="connsiteX13" fmla="*/ 1133475 w 3513137"/>
              <a:gd name="connsiteY13" fmla="*/ 23812 h 430212"/>
              <a:gd name="connsiteX14" fmla="*/ 1166812 w 3513137"/>
              <a:gd name="connsiteY14" fmla="*/ 9525 h 430212"/>
              <a:gd name="connsiteX15" fmla="*/ 1200150 w 3513137"/>
              <a:gd name="connsiteY15" fmla="*/ 23812 h 430212"/>
              <a:gd name="connsiteX16" fmla="*/ 1262062 w 3513137"/>
              <a:gd name="connsiteY16" fmla="*/ 4762 h 430212"/>
              <a:gd name="connsiteX17" fmla="*/ 1400175 w 3513137"/>
              <a:gd name="connsiteY17" fmla="*/ 9525 h 430212"/>
              <a:gd name="connsiteX18" fmla="*/ 1452562 w 3513137"/>
              <a:gd name="connsiteY18" fmla="*/ 23812 h 430212"/>
              <a:gd name="connsiteX19" fmla="*/ 1552575 w 3513137"/>
              <a:gd name="connsiteY19" fmla="*/ 23812 h 430212"/>
              <a:gd name="connsiteX20" fmla="*/ 1728787 w 3513137"/>
              <a:gd name="connsiteY20" fmla="*/ 42862 h 430212"/>
              <a:gd name="connsiteX21" fmla="*/ 1838325 w 3513137"/>
              <a:gd name="connsiteY21" fmla="*/ 33337 h 430212"/>
              <a:gd name="connsiteX22" fmla="*/ 1885950 w 3513137"/>
              <a:gd name="connsiteY22" fmla="*/ 47625 h 430212"/>
              <a:gd name="connsiteX23" fmla="*/ 1924050 w 3513137"/>
              <a:gd name="connsiteY23" fmla="*/ 57150 h 430212"/>
              <a:gd name="connsiteX24" fmla="*/ 1981200 w 3513137"/>
              <a:gd name="connsiteY24" fmla="*/ 95250 h 430212"/>
              <a:gd name="connsiteX25" fmla="*/ 2038350 w 3513137"/>
              <a:gd name="connsiteY25" fmla="*/ 166687 h 430212"/>
              <a:gd name="connsiteX26" fmla="*/ 2133600 w 3513137"/>
              <a:gd name="connsiteY26" fmla="*/ 152400 h 430212"/>
              <a:gd name="connsiteX27" fmla="*/ 2157412 w 3513137"/>
              <a:gd name="connsiteY27" fmla="*/ 152400 h 430212"/>
              <a:gd name="connsiteX28" fmla="*/ 2309812 w 3513137"/>
              <a:gd name="connsiteY28" fmla="*/ 223837 h 430212"/>
              <a:gd name="connsiteX29" fmla="*/ 2419350 w 3513137"/>
              <a:gd name="connsiteY29" fmla="*/ 233362 h 430212"/>
              <a:gd name="connsiteX30" fmla="*/ 2505075 w 3513137"/>
              <a:gd name="connsiteY30" fmla="*/ 238125 h 430212"/>
              <a:gd name="connsiteX31" fmla="*/ 2614612 w 3513137"/>
              <a:gd name="connsiteY31" fmla="*/ 223837 h 430212"/>
              <a:gd name="connsiteX32" fmla="*/ 2705100 w 3513137"/>
              <a:gd name="connsiteY32" fmla="*/ 252412 h 430212"/>
              <a:gd name="connsiteX33" fmla="*/ 2895600 w 3513137"/>
              <a:gd name="connsiteY33" fmla="*/ 290512 h 430212"/>
              <a:gd name="connsiteX34" fmla="*/ 2976562 w 3513137"/>
              <a:gd name="connsiteY34" fmla="*/ 309562 h 430212"/>
              <a:gd name="connsiteX35" fmla="*/ 3005137 w 3513137"/>
              <a:gd name="connsiteY35" fmla="*/ 319087 h 430212"/>
              <a:gd name="connsiteX36" fmla="*/ 3128962 w 3513137"/>
              <a:gd name="connsiteY36" fmla="*/ 328612 h 430212"/>
              <a:gd name="connsiteX37" fmla="*/ 3209925 w 3513137"/>
              <a:gd name="connsiteY37" fmla="*/ 352425 h 430212"/>
              <a:gd name="connsiteX38" fmla="*/ 3257550 w 3513137"/>
              <a:gd name="connsiteY38" fmla="*/ 338137 h 430212"/>
              <a:gd name="connsiteX39" fmla="*/ 3343275 w 3513137"/>
              <a:gd name="connsiteY39" fmla="*/ 319087 h 430212"/>
              <a:gd name="connsiteX40" fmla="*/ 3443287 w 3513137"/>
              <a:gd name="connsiteY40" fmla="*/ 338137 h 430212"/>
              <a:gd name="connsiteX41" fmla="*/ 3513137 w 3513137"/>
              <a:gd name="connsiteY41" fmla="*/ 430212 h 430212"/>
              <a:gd name="connsiteX0" fmla="*/ 0 w 3513137"/>
              <a:gd name="connsiteY0" fmla="*/ 33337 h 430212"/>
              <a:gd name="connsiteX1" fmla="*/ 200025 w 3513137"/>
              <a:gd name="connsiteY1" fmla="*/ 28575 h 430212"/>
              <a:gd name="connsiteX2" fmla="*/ 338137 w 3513137"/>
              <a:gd name="connsiteY2" fmla="*/ 52387 h 430212"/>
              <a:gd name="connsiteX3" fmla="*/ 500062 w 3513137"/>
              <a:gd name="connsiteY3" fmla="*/ 38100 h 430212"/>
              <a:gd name="connsiteX4" fmla="*/ 661987 w 3513137"/>
              <a:gd name="connsiteY4" fmla="*/ 14287 h 430212"/>
              <a:gd name="connsiteX5" fmla="*/ 785812 w 3513137"/>
              <a:gd name="connsiteY5" fmla="*/ 9525 h 430212"/>
              <a:gd name="connsiteX6" fmla="*/ 876300 w 3513137"/>
              <a:gd name="connsiteY6" fmla="*/ 0 h 430212"/>
              <a:gd name="connsiteX7" fmla="*/ 957262 w 3513137"/>
              <a:gd name="connsiteY7" fmla="*/ 19050 h 430212"/>
              <a:gd name="connsiteX8" fmla="*/ 1019175 w 3513137"/>
              <a:gd name="connsiteY8" fmla="*/ 19050 h 430212"/>
              <a:gd name="connsiteX9" fmla="*/ 1071562 w 3513137"/>
              <a:gd name="connsiteY9" fmla="*/ 23812 h 430212"/>
              <a:gd name="connsiteX10" fmla="*/ 1071562 w 3513137"/>
              <a:gd name="connsiteY10" fmla="*/ 14287 h 430212"/>
              <a:gd name="connsiteX11" fmla="*/ 1081087 w 3513137"/>
              <a:gd name="connsiteY11" fmla="*/ 23812 h 430212"/>
              <a:gd name="connsiteX12" fmla="*/ 1095375 w 3513137"/>
              <a:gd name="connsiteY12" fmla="*/ 9525 h 430212"/>
              <a:gd name="connsiteX13" fmla="*/ 1133475 w 3513137"/>
              <a:gd name="connsiteY13" fmla="*/ 23812 h 430212"/>
              <a:gd name="connsiteX14" fmla="*/ 1166812 w 3513137"/>
              <a:gd name="connsiteY14" fmla="*/ 9525 h 430212"/>
              <a:gd name="connsiteX15" fmla="*/ 1200150 w 3513137"/>
              <a:gd name="connsiteY15" fmla="*/ 23812 h 430212"/>
              <a:gd name="connsiteX16" fmla="*/ 1262062 w 3513137"/>
              <a:gd name="connsiteY16" fmla="*/ 4762 h 430212"/>
              <a:gd name="connsiteX17" fmla="*/ 1400175 w 3513137"/>
              <a:gd name="connsiteY17" fmla="*/ 9525 h 430212"/>
              <a:gd name="connsiteX18" fmla="*/ 1452562 w 3513137"/>
              <a:gd name="connsiteY18" fmla="*/ 23812 h 430212"/>
              <a:gd name="connsiteX19" fmla="*/ 1552575 w 3513137"/>
              <a:gd name="connsiteY19" fmla="*/ 23812 h 430212"/>
              <a:gd name="connsiteX20" fmla="*/ 1728787 w 3513137"/>
              <a:gd name="connsiteY20" fmla="*/ 42862 h 430212"/>
              <a:gd name="connsiteX21" fmla="*/ 1838325 w 3513137"/>
              <a:gd name="connsiteY21" fmla="*/ 33337 h 430212"/>
              <a:gd name="connsiteX22" fmla="*/ 1885950 w 3513137"/>
              <a:gd name="connsiteY22" fmla="*/ 47625 h 430212"/>
              <a:gd name="connsiteX23" fmla="*/ 1924050 w 3513137"/>
              <a:gd name="connsiteY23" fmla="*/ 57150 h 430212"/>
              <a:gd name="connsiteX24" fmla="*/ 1981200 w 3513137"/>
              <a:gd name="connsiteY24" fmla="*/ 95250 h 430212"/>
              <a:gd name="connsiteX25" fmla="*/ 2038350 w 3513137"/>
              <a:gd name="connsiteY25" fmla="*/ 166687 h 430212"/>
              <a:gd name="connsiteX26" fmla="*/ 2133600 w 3513137"/>
              <a:gd name="connsiteY26" fmla="*/ 152400 h 430212"/>
              <a:gd name="connsiteX27" fmla="*/ 2157412 w 3513137"/>
              <a:gd name="connsiteY27" fmla="*/ 152400 h 430212"/>
              <a:gd name="connsiteX28" fmla="*/ 2309812 w 3513137"/>
              <a:gd name="connsiteY28" fmla="*/ 223837 h 430212"/>
              <a:gd name="connsiteX29" fmla="*/ 2419350 w 3513137"/>
              <a:gd name="connsiteY29" fmla="*/ 233362 h 430212"/>
              <a:gd name="connsiteX30" fmla="*/ 2505075 w 3513137"/>
              <a:gd name="connsiteY30" fmla="*/ 238125 h 430212"/>
              <a:gd name="connsiteX31" fmla="*/ 2614612 w 3513137"/>
              <a:gd name="connsiteY31" fmla="*/ 223837 h 430212"/>
              <a:gd name="connsiteX32" fmla="*/ 2705100 w 3513137"/>
              <a:gd name="connsiteY32" fmla="*/ 252412 h 430212"/>
              <a:gd name="connsiteX33" fmla="*/ 2895600 w 3513137"/>
              <a:gd name="connsiteY33" fmla="*/ 290512 h 430212"/>
              <a:gd name="connsiteX34" fmla="*/ 2976562 w 3513137"/>
              <a:gd name="connsiteY34" fmla="*/ 309562 h 430212"/>
              <a:gd name="connsiteX35" fmla="*/ 3005137 w 3513137"/>
              <a:gd name="connsiteY35" fmla="*/ 319087 h 430212"/>
              <a:gd name="connsiteX36" fmla="*/ 3128962 w 3513137"/>
              <a:gd name="connsiteY36" fmla="*/ 328612 h 430212"/>
              <a:gd name="connsiteX37" fmla="*/ 3209925 w 3513137"/>
              <a:gd name="connsiteY37" fmla="*/ 352425 h 430212"/>
              <a:gd name="connsiteX38" fmla="*/ 3257550 w 3513137"/>
              <a:gd name="connsiteY38" fmla="*/ 338137 h 430212"/>
              <a:gd name="connsiteX39" fmla="*/ 3343275 w 3513137"/>
              <a:gd name="connsiteY39" fmla="*/ 319087 h 430212"/>
              <a:gd name="connsiteX40" fmla="*/ 3443287 w 3513137"/>
              <a:gd name="connsiteY40" fmla="*/ 338137 h 430212"/>
              <a:gd name="connsiteX41" fmla="*/ 3513137 w 3513137"/>
              <a:gd name="connsiteY41" fmla="*/ 430212 h 430212"/>
              <a:gd name="connsiteX0" fmla="*/ 0 w 3513137"/>
              <a:gd name="connsiteY0" fmla="*/ 33337 h 430212"/>
              <a:gd name="connsiteX1" fmla="*/ 338137 w 3513137"/>
              <a:gd name="connsiteY1" fmla="*/ 52387 h 430212"/>
              <a:gd name="connsiteX2" fmla="*/ 500062 w 3513137"/>
              <a:gd name="connsiteY2" fmla="*/ 38100 h 430212"/>
              <a:gd name="connsiteX3" fmla="*/ 661987 w 3513137"/>
              <a:gd name="connsiteY3" fmla="*/ 14287 h 430212"/>
              <a:gd name="connsiteX4" fmla="*/ 785812 w 3513137"/>
              <a:gd name="connsiteY4" fmla="*/ 9525 h 430212"/>
              <a:gd name="connsiteX5" fmla="*/ 876300 w 3513137"/>
              <a:gd name="connsiteY5" fmla="*/ 0 h 430212"/>
              <a:gd name="connsiteX6" fmla="*/ 957262 w 3513137"/>
              <a:gd name="connsiteY6" fmla="*/ 19050 h 430212"/>
              <a:gd name="connsiteX7" fmla="*/ 1019175 w 3513137"/>
              <a:gd name="connsiteY7" fmla="*/ 19050 h 430212"/>
              <a:gd name="connsiteX8" fmla="*/ 1071562 w 3513137"/>
              <a:gd name="connsiteY8" fmla="*/ 23812 h 430212"/>
              <a:gd name="connsiteX9" fmla="*/ 1071562 w 3513137"/>
              <a:gd name="connsiteY9" fmla="*/ 14287 h 430212"/>
              <a:gd name="connsiteX10" fmla="*/ 1081087 w 3513137"/>
              <a:gd name="connsiteY10" fmla="*/ 23812 h 430212"/>
              <a:gd name="connsiteX11" fmla="*/ 1095375 w 3513137"/>
              <a:gd name="connsiteY11" fmla="*/ 9525 h 430212"/>
              <a:gd name="connsiteX12" fmla="*/ 1133475 w 3513137"/>
              <a:gd name="connsiteY12" fmla="*/ 23812 h 430212"/>
              <a:gd name="connsiteX13" fmla="*/ 1166812 w 3513137"/>
              <a:gd name="connsiteY13" fmla="*/ 9525 h 430212"/>
              <a:gd name="connsiteX14" fmla="*/ 1200150 w 3513137"/>
              <a:gd name="connsiteY14" fmla="*/ 23812 h 430212"/>
              <a:gd name="connsiteX15" fmla="*/ 1262062 w 3513137"/>
              <a:gd name="connsiteY15" fmla="*/ 4762 h 430212"/>
              <a:gd name="connsiteX16" fmla="*/ 1400175 w 3513137"/>
              <a:gd name="connsiteY16" fmla="*/ 9525 h 430212"/>
              <a:gd name="connsiteX17" fmla="*/ 1452562 w 3513137"/>
              <a:gd name="connsiteY17" fmla="*/ 23812 h 430212"/>
              <a:gd name="connsiteX18" fmla="*/ 1552575 w 3513137"/>
              <a:gd name="connsiteY18" fmla="*/ 23812 h 430212"/>
              <a:gd name="connsiteX19" fmla="*/ 1728787 w 3513137"/>
              <a:gd name="connsiteY19" fmla="*/ 42862 h 430212"/>
              <a:gd name="connsiteX20" fmla="*/ 1838325 w 3513137"/>
              <a:gd name="connsiteY20" fmla="*/ 33337 h 430212"/>
              <a:gd name="connsiteX21" fmla="*/ 1885950 w 3513137"/>
              <a:gd name="connsiteY21" fmla="*/ 47625 h 430212"/>
              <a:gd name="connsiteX22" fmla="*/ 1924050 w 3513137"/>
              <a:gd name="connsiteY22" fmla="*/ 57150 h 430212"/>
              <a:gd name="connsiteX23" fmla="*/ 1981200 w 3513137"/>
              <a:gd name="connsiteY23" fmla="*/ 95250 h 430212"/>
              <a:gd name="connsiteX24" fmla="*/ 2038350 w 3513137"/>
              <a:gd name="connsiteY24" fmla="*/ 166687 h 430212"/>
              <a:gd name="connsiteX25" fmla="*/ 2133600 w 3513137"/>
              <a:gd name="connsiteY25" fmla="*/ 152400 h 430212"/>
              <a:gd name="connsiteX26" fmla="*/ 2157412 w 3513137"/>
              <a:gd name="connsiteY26" fmla="*/ 152400 h 430212"/>
              <a:gd name="connsiteX27" fmla="*/ 2309812 w 3513137"/>
              <a:gd name="connsiteY27" fmla="*/ 223837 h 430212"/>
              <a:gd name="connsiteX28" fmla="*/ 2419350 w 3513137"/>
              <a:gd name="connsiteY28" fmla="*/ 233362 h 430212"/>
              <a:gd name="connsiteX29" fmla="*/ 2505075 w 3513137"/>
              <a:gd name="connsiteY29" fmla="*/ 238125 h 430212"/>
              <a:gd name="connsiteX30" fmla="*/ 2614612 w 3513137"/>
              <a:gd name="connsiteY30" fmla="*/ 223837 h 430212"/>
              <a:gd name="connsiteX31" fmla="*/ 2705100 w 3513137"/>
              <a:gd name="connsiteY31" fmla="*/ 252412 h 430212"/>
              <a:gd name="connsiteX32" fmla="*/ 2895600 w 3513137"/>
              <a:gd name="connsiteY32" fmla="*/ 290512 h 430212"/>
              <a:gd name="connsiteX33" fmla="*/ 2976562 w 3513137"/>
              <a:gd name="connsiteY33" fmla="*/ 309562 h 430212"/>
              <a:gd name="connsiteX34" fmla="*/ 3005137 w 3513137"/>
              <a:gd name="connsiteY34" fmla="*/ 319087 h 430212"/>
              <a:gd name="connsiteX35" fmla="*/ 3128962 w 3513137"/>
              <a:gd name="connsiteY35" fmla="*/ 328612 h 430212"/>
              <a:gd name="connsiteX36" fmla="*/ 3209925 w 3513137"/>
              <a:gd name="connsiteY36" fmla="*/ 352425 h 430212"/>
              <a:gd name="connsiteX37" fmla="*/ 3257550 w 3513137"/>
              <a:gd name="connsiteY37" fmla="*/ 338137 h 430212"/>
              <a:gd name="connsiteX38" fmla="*/ 3343275 w 3513137"/>
              <a:gd name="connsiteY38" fmla="*/ 319087 h 430212"/>
              <a:gd name="connsiteX39" fmla="*/ 3443287 w 3513137"/>
              <a:gd name="connsiteY39" fmla="*/ 338137 h 430212"/>
              <a:gd name="connsiteX40" fmla="*/ 3513137 w 3513137"/>
              <a:gd name="connsiteY40" fmla="*/ 430212 h 430212"/>
              <a:gd name="connsiteX0" fmla="*/ 0 w 3175000"/>
              <a:gd name="connsiteY0" fmla="*/ 52387 h 430212"/>
              <a:gd name="connsiteX1" fmla="*/ 161925 w 3175000"/>
              <a:gd name="connsiteY1" fmla="*/ 38100 h 430212"/>
              <a:gd name="connsiteX2" fmla="*/ 323850 w 3175000"/>
              <a:gd name="connsiteY2" fmla="*/ 14287 h 430212"/>
              <a:gd name="connsiteX3" fmla="*/ 447675 w 3175000"/>
              <a:gd name="connsiteY3" fmla="*/ 9525 h 430212"/>
              <a:gd name="connsiteX4" fmla="*/ 538163 w 3175000"/>
              <a:gd name="connsiteY4" fmla="*/ 0 h 430212"/>
              <a:gd name="connsiteX5" fmla="*/ 619125 w 3175000"/>
              <a:gd name="connsiteY5" fmla="*/ 19050 h 430212"/>
              <a:gd name="connsiteX6" fmla="*/ 681038 w 3175000"/>
              <a:gd name="connsiteY6" fmla="*/ 19050 h 430212"/>
              <a:gd name="connsiteX7" fmla="*/ 733425 w 3175000"/>
              <a:gd name="connsiteY7" fmla="*/ 23812 h 430212"/>
              <a:gd name="connsiteX8" fmla="*/ 733425 w 3175000"/>
              <a:gd name="connsiteY8" fmla="*/ 14287 h 430212"/>
              <a:gd name="connsiteX9" fmla="*/ 742950 w 3175000"/>
              <a:gd name="connsiteY9" fmla="*/ 23812 h 430212"/>
              <a:gd name="connsiteX10" fmla="*/ 757238 w 3175000"/>
              <a:gd name="connsiteY10" fmla="*/ 9525 h 430212"/>
              <a:gd name="connsiteX11" fmla="*/ 795338 w 3175000"/>
              <a:gd name="connsiteY11" fmla="*/ 23812 h 430212"/>
              <a:gd name="connsiteX12" fmla="*/ 828675 w 3175000"/>
              <a:gd name="connsiteY12" fmla="*/ 9525 h 430212"/>
              <a:gd name="connsiteX13" fmla="*/ 862013 w 3175000"/>
              <a:gd name="connsiteY13" fmla="*/ 23812 h 430212"/>
              <a:gd name="connsiteX14" fmla="*/ 923925 w 3175000"/>
              <a:gd name="connsiteY14" fmla="*/ 4762 h 430212"/>
              <a:gd name="connsiteX15" fmla="*/ 1062038 w 3175000"/>
              <a:gd name="connsiteY15" fmla="*/ 9525 h 430212"/>
              <a:gd name="connsiteX16" fmla="*/ 1114425 w 3175000"/>
              <a:gd name="connsiteY16" fmla="*/ 23812 h 430212"/>
              <a:gd name="connsiteX17" fmla="*/ 1214438 w 3175000"/>
              <a:gd name="connsiteY17" fmla="*/ 23812 h 430212"/>
              <a:gd name="connsiteX18" fmla="*/ 1390650 w 3175000"/>
              <a:gd name="connsiteY18" fmla="*/ 42862 h 430212"/>
              <a:gd name="connsiteX19" fmla="*/ 1500188 w 3175000"/>
              <a:gd name="connsiteY19" fmla="*/ 33337 h 430212"/>
              <a:gd name="connsiteX20" fmla="*/ 1547813 w 3175000"/>
              <a:gd name="connsiteY20" fmla="*/ 47625 h 430212"/>
              <a:gd name="connsiteX21" fmla="*/ 1585913 w 3175000"/>
              <a:gd name="connsiteY21" fmla="*/ 57150 h 430212"/>
              <a:gd name="connsiteX22" fmla="*/ 1643063 w 3175000"/>
              <a:gd name="connsiteY22" fmla="*/ 95250 h 430212"/>
              <a:gd name="connsiteX23" fmla="*/ 1700213 w 3175000"/>
              <a:gd name="connsiteY23" fmla="*/ 166687 h 430212"/>
              <a:gd name="connsiteX24" fmla="*/ 1795463 w 3175000"/>
              <a:gd name="connsiteY24" fmla="*/ 152400 h 430212"/>
              <a:gd name="connsiteX25" fmla="*/ 1819275 w 3175000"/>
              <a:gd name="connsiteY25" fmla="*/ 152400 h 430212"/>
              <a:gd name="connsiteX26" fmla="*/ 1971675 w 3175000"/>
              <a:gd name="connsiteY26" fmla="*/ 223837 h 430212"/>
              <a:gd name="connsiteX27" fmla="*/ 2081213 w 3175000"/>
              <a:gd name="connsiteY27" fmla="*/ 233362 h 430212"/>
              <a:gd name="connsiteX28" fmla="*/ 2166938 w 3175000"/>
              <a:gd name="connsiteY28" fmla="*/ 238125 h 430212"/>
              <a:gd name="connsiteX29" fmla="*/ 2276475 w 3175000"/>
              <a:gd name="connsiteY29" fmla="*/ 223837 h 430212"/>
              <a:gd name="connsiteX30" fmla="*/ 2366963 w 3175000"/>
              <a:gd name="connsiteY30" fmla="*/ 252412 h 430212"/>
              <a:gd name="connsiteX31" fmla="*/ 2557463 w 3175000"/>
              <a:gd name="connsiteY31" fmla="*/ 290512 h 430212"/>
              <a:gd name="connsiteX32" fmla="*/ 2638425 w 3175000"/>
              <a:gd name="connsiteY32" fmla="*/ 309562 h 430212"/>
              <a:gd name="connsiteX33" fmla="*/ 2667000 w 3175000"/>
              <a:gd name="connsiteY33" fmla="*/ 319087 h 430212"/>
              <a:gd name="connsiteX34" fmla="*/ 2790825 w 3175000"/>
              <a:gd name="connsiteY34" fmla="*/ 328612 h 430212"/>
              <a:gd name="connsiteX35" fmla="*/ 2871788 w 3175000"/>
              <a:gd name="connsiteY35" fmla="*/ 352425 h 430212"/>
              <a:gd name="connsiteX36" fmla="*/ 2919413 w 3175000"/>
              <a:gd name="connsiteY36" fmla="*/ 338137 h 430212"/>
              <a:gd name="connsiteX37" fmla="*/ 3005138 w 3175000"/>
              <a:gd name="connsiteY37" fmla="*/ 319087 h 430212"/>
              <a:gd name="connsiteX38" fmla="*/ 3105150 w 3175000"/>
              <a:gd name="connsiteY38" fmla="*/ 338137 h 430212"/>
              <a:gd name="connsiteX39" fmla="*/ 3175000 w 3175000"/>
              <a:gd name="connsiteY39" fmla="*/ 430212 h 430212"/>
              <a:gd name="connsiteX0" fmla="*/ 0 w 3013075"/>
              <a:gd name="connsiteY0" fmla="*/ 38100 h 430212"/>
              <a:gd name="connsiteX1" fmla="*/ 161925 w 3013075"/>
              <a:gd name="connsiteY1" fmla="*/ 14287 h 430212"/>
              <a:gd name="connsiteX2" fmla="*/ 285750 w 3013075"/>
              <a:gd name="connsiteY2" fmla="*/ 9525 h 430212"/>
              <a:gd name="connsiteX3" fmla="*/ 376238 w 3013075"/>
              <a:gd name="connsiteY3" fmla="*/ 0 h 430212"/>
              <a:gd name="connsiteX4" fmla="*/ 457200 w 3013075"/>
              <a:gd name="connsiteY4" fmla="*/ 19050 h 430212"/>
              <a:gd name="connsiteX5" fmla="*/ 519113 w 3013075"/>
              <a:gd name="connsiteY5" fmla="*/ 19050 h 430212"/>
              <a:gd name="connsiteX6" fmla="*/ 571500 w 3013075"/>
              <a:gd name="connsiteY6" fmla="*/ 23812 h 430212"/>
              <a:gd name="connsiteX7" fmla="*/ 571500 w 3013075"/>
              <a:gd name="connsiteY7" fmla="*/ 14287 h 430212"/>
              <a:gd name="connsiteX8" fmla="*/ 581025 w 3013075"/>
              <a:gd name="connsiteY8" fmla="*/ 23812 h 430212"/>
              <a:gd name="connsiteX9" fmla="*/ 595313 w 3013075"/>
              <a:gd name="connsiteY9" fmla="*/ 9525 h 430212"/>
              <a:gd name="connsiteX10" fmla="*/ 633413 w 3013075"/>
              <a:gd name="connsiteY10" fmla="*/ 23812 h 430212"/>
              <a:gd name="connsiteX11" fmla="*/ 666750 w 3013075"/>
              <a:gd name="connsiteY11" fmla="*/ 9525 h 430212"/>
              <a:gd name="connsiteX12" fmla="*/ 700088 w 3013075"/>
              <a:gd name="connsiteY12" fmla="*/ 23812 h 430212"/>
              <a:gd name="connsiteX13" fmla="*/ 762000 w 3013075"/>
              <a:gd name="connsiteY13" fmla="*/ 4762 h 430212"/>
              <a:gd name="connsiteX14" fmla="*/ 900113 w 3013075"/>
              <a:gd name="connsiteY14" fmla="*/ 9525 h 430212"/>
              <a:gd name="connsiteX15" fmla="*/ 952500 w 3013075"/>
              <a:gd name="connsiteY15" fmla="*/ 23812 h 430212"/>
              <a:gd name="connsiteX16" fmla="*/ 1052513 w 3013075"/>
              <a:gd name="connsiteY16" fmla="*/ 23812 h 430212"/>
              <a:gd name="connsiteX17" fmla="*/ 1228725 w 3013075"/>
              <a:gd name="connsiteY17" fmla="*/ 42862 h 430212"/>
              <a:gd name="connsiteX18" fmla="*/ 1338263 w 3013075"/>
              <a:gd name="connsiteY18" fmla="*/ 33337 h 430212"/>
              <a:gd name="connsiteX19" fmla="*/ 1385888 w 3013075"/>
              <a:gd name="connsiteY19" fmla="*/ 47625 h 430212"/>
              <a:gd name="connsiteX20" fmla="*/ 1423988 w 3013075"/>
              <a:gd name="connsiteY20" fmla="*/ 57150 h 430212"/>
              <a:gd name="connsiteX21" fmla="*/ 1481138 w 3013075"/>
              <a:gd name="connsiteY21" fmla="*/ 95250 h 430212"/>
              <a:gd name="connsiteX22" fmla="*/ 1538288 w 3013075"/>
              <a:gd name="connsiteY22" fmla="*/ 166687 h 430212"/>
              <a:gd name="connsiteX23" fmla="*/ 1633538 w 3013075"/>
              <a:gd name="connsiteY23" fmla="*/ 152400 h 430212"/>
              <a:gd name="connsiteX24" fmla="*/ 1657350 w 3013075"/>
              <a:gd name="connsiteY24" fmla="*/ 152400 h 430212"/>
              <a:gd name="connsiteX25" fmla="*/ 1809750 w 3013075"/>
              <a:gd name="connsiteY25" fmla="*/ 223837 h 430212"/>
              <a:gd name="connsiteX26" fmla="*/ 1919288 w 3013075"/>
              <a:gd name="connsiteY26" fmla="*/ 233362 h 430212"/>
              <a:gd name="connsiteX27" fmla="*/ 2005013 w 3013075"/>
              <a:gd name="connsiteY27" fmla="*/ 238125 h 430212"/>
              <a:gd name="connsiteX28" fmla="*/ 2114550 w 3013075"/>
              <a:gd name="connsiteY28" fmla="*/ 223837 h 430212"/>
              <a:gd name="connsiteX29" fmla="*/ 2205038 w 3013075"/>
              <a:gd name="connsiteY29" fmla="*/ 252412 h 430212"/>
              <a:gd name="connsiteX30" fmla="*/ 2395538 w 3013075"/>
              <a:gd name="connsiteY30" fmla="*/ 290512 h 430212"/>
              <a:gd name="connsiteX31" fmla="*/ 2476500 w 3013075"/>
              <a:gd name="connsiteY31" fmla="*/ 309562 h 430212"/>
              <a:gd name="connsiteX32" fmla="*/ 2505075 w 3013075"/>
              <a:gd name="connsiteY32" fmla="*/ 319087 h 430212"/>
              <a:gd name="connsiteX33" fmla="*/ 2628900 w 3013075"/>
              <a:gd name="connsiteY33" fmla="*/ 328612 h 430212"/>
              <a:gd name="connsiteX34" fmla="*/ 2709863 w 3013075"/>
              <a:gd name="connsiteY34" fmla="*/ 352425 h 430212"/>
              <a:gd name="connsiteX35" fmla="*/ 2757488 w 3013075"/>
              <a:gd name="connsiteY35" fmla="*/ 338137 h 430212"/>
              <a:gd name="connsiteX36" fmla="*/ 2843213 w 3013075"/>
              <a:gd name="connsiteY36" fmla="*/ 319087 h 430212"/>
              <a:gd name="connsiteX37" fmla="*/ 2943225 w 3013075"/>
              <a:gd name="connsiteY37" fmla="*/ 338137 h 430212"/>
              <a:gd name="connsiteX38" fmla="*/ 3013075 w 3013075"/>
              <a:gd name="connsiteY38" fmla="*/ 430212 h 430212"/>
              <a:gd name="connsiteX0" fmla="*/ 0 w 2851150"/>
              <a:gd name="connsiteY0" fmla="*/ 14287 h 430212"/>
              <a:gd name="connsiteX1" fmla="*/ 123825 w 2851150"/>
              <a:gd name="connsiteY1" fmla="*/ 9525 h 430212"/>
              <a:gd name="connsiteX2" fmla="*/ 214313 w 2851150"/>
              <a:gd name="connsiteY2" fmla="*/ 0 h 430212"/>
              <a:gd name="connsiteX3" fmla="*/ 295275 w 2851150"/>
              <a:gd name="connsiteY3" fmla="*/ 19050 h 430212"/>
              <a:gd name="connsiteX4" fmla="*/ 357188 w 2851150"/>
              <a:gd name="connsiteY4" fmla="*/ 19050 h 430212"/>
              <a:gd name="connsiteX5" fmla="*/ 409575 w 2851150"/>
              <a:gd name="connsiteY5" fmla="*/ 23812 h 430212"/>
              <a:gd name="connsiteX6" fmla="*/ 409575 w 2851150"/>
              <a:gd name="connsiteY6" fmla="*/ 14287 h 430212"/>
              <a:gd name="connsiteX7" fmla="*/ 419100 w 2851150"/>
              <a:gd name="connsiteY7" fmla="*/ 23812 h 430212"/>
              <a:gd name="connsiteX8" fmla="*/ 433388 w 2851150"/>
              <a:gd name="connsiteY8" fmla="*/ 9525 h 430212"/>
              <a:gd name="connsiteX9" fmla="*/ 471488 w 2851150"/>
              <a:gd name="connsiteY9" fmla="*/ 23812 h 430212"/>
              <a:gd name="connsiteX10" fmla="*/ 504825 w 2851150"/>
              <a:gd name="connsiteY10" fmla="*/ 9525 h 430212"/>
              <a:gd name="connsiteX11" fmla="*/ 538163 w 2851150"/>
              <a:gd name="connsiteY11" fmla="*/ 23812 h 430212"/>
              <a:gd name="connsiteX12" fmla="*/ 600075 w 2851150"/>
              <a:gd name="connsiteY12" fmla="*/ 4762 h 430212"/>
              <a:gd name="connsiteX13" fmla="*/ 738188 w 2851150"/>
              <a:gd name="connsiteY13" fmla="*/ 9525 h 430212"/>
              <a:gd name="connsiteX14" fmla="*/ 790575 w 2851150"/>
              <a:gd name="connsiteY14" fmla="*/ 23812 h 430212"/>
              <a:gd name="connsiteX15" fmla="*/ 890588 w 2851150"/>
              <a:gd name="connsiteY15" fmla="*/ 23812 h 430212"/>
              <a:gd name="connsiteX16" fmla="*/ 1066800 w 2851150"/>
              <a:gd name="connsiteY16" fmla="*/ 42862 h 430212"/>
              <a:gd name="connsiteX17" fmla="*/ 1176338 w 2851150"/>
              <a:gd name="connsiteY17" fmla="*/ 33337 h 430212"/>
              <a:gd name="connsiteX18" fmla="*/ 1223963 w 2851150"/>
              <a:gd name="connsiteY18" fmla="*/ 47625 h 430212"/>
              <a:gd name="connsiteX19" fmla="*/ 1262063 w 2851150"/>
              <a:gd name="connsiteY19" fmla="*/ 57150 h 430212"/>
              <a:gd name="connsiteX20" fmla="*/ 1319213 w 2851150"/>
              <a:gd name="connsiteY20" fmla="*/ 95250 h 430212"/>
              <a:gd name="connsiteX21" fmla="*/ 1376363 w 2851150"/>
              <a:gd name="connsiteY21" fmla="*/ 166687 h 430212"/>
              <a:gd name="connsiteX22" fmla="*/ 1471613 w 2851150"/>
              <a:gd name="connsiteY22" fmla="*/ 152400 h 430212"/>
              <a:gd name="connsiteX23" fmla="*/ 1495425 w 2851150"/>
              <a:gd name="connsiteY23" fmla="*/ 152400 h 430212"/>
              <a:gd name="connsiteX24" fmla="*/ 1647825 w 2851150"/>
              <a:gd name="connsiteY24" fmla="*/ 223837 h 430212"/>
              <a:gd name="connsiteX25" fmla="*/ 1757363 w 2851150"/>
              <a:gd name="connsiteY25" fmla="*/ 233362 h 430212"/>
              <a:gd name="connsiteX26" fmla="*/ 1843088 w 2851150"/>
              <a:gd name="connsiteY26" fmla="*/ 238125 h 430212"/>
              <a:gd name="connsiteX27" fmla="*/ 1952625 w 2851150"/>
              <a:gd name="connsiteY27" fmla="*/ 223837 h 430212"/>
              <a:gd name="connsiteX28" fmla="*/ 2043113 w 2851150"/>
              <a:gd name="connsiteY28" fmla="*/ 252412 h 430212"/>
              <a:gd name="connsiteX29" fmla="*/ 2233613 w 2851150"/>
              <a:gd name="connsiteY29" fmla="*/ 290512 h 430212"/>
              <a:gd name="connsiteX30" fmla="*/ 2314575 w 2851150"/>
              <a:gd name="connsiteY30" fmla="*/ 309562 h 430212"/>
              <a:gd name="connsiteX31" fmla="*/ 2343150 w 2851150"/>
              <a:gd name="connsiteY31" fmla="*/ 319087 h 430212"/>
              <a:gd name="connsiteX32" fmla="*/ 2466975 w 2851150"/>
              <a:gd name="connsiteY32" fmla="*/ 328612 h 430212"/>
              <a:gd name="connsiteX33" fmla="*/ 2547938 w 2851150"/>
              <a:gd name="connsiteY33" fmla="*/ 352425 h 430212"/>
              <a:gd name="connsiteX34" fmla="*/ 2595563 w 2851150"/>
              <a:gd name="connsiteY34" fmla="*/ 338137 h 430212"/>
              <a:gd name="connsiteX35" fmla="*/ 2681288 w 2851150"/>
              <a:gd name="connsiteY35" fmla="*/ 319087 h 430212"/>
              <a:gd name="connsiteX36" fmla="*/ 2781300 w 2851150"/>
              <a:gd name="connsiteY36" fmla="*/ 338137 h 430212"/>
              <a:gd name="connsiteX37" fmla="*/ 2851150 w 2851150"/>
              <a:gd name="connsiteY37" fmla="*/ 430212 h 430212"/>
              <a:gd name="connsiteX0" fmla="*/ 0 w 2820670"/>
              <a:gd name="connsiteY0" fmla="*/ 48577 h 430212"/>
              <a:gd name="connsiteX1" fmla="*/ 93345 w 2820670"/>
              <a:gd name="connsiteY1" fmla="*/ 9525 h 430212"/>
              <a:gd name="connsiteX2" fmla="*/ 183833 w 2820670"/>
              <a:gd name="connsiteY2" fmla="*/ 0 h 430212"/>
              <a:gd name="connsiteX3" fmla="*/ 264795 w 2820670"/>
              <a:gd name="connsiteY3" fmla="*/ 19050 h 430212"/>
              <a:gd name="connsiteX4" fmla="*/ 326708 w 2820670"/>
              <a:gd name="connsiteY4" fmla="*/ 19050 h 430212"/>
              <a:gd name="connsiteX5" fmla="*/ 379095 w 2820670"/>
              <a:gd name="connsiteY5" fmla="*/ 23812 h 430212"/>
              <a:gd name="connsiteX6" fmla="*/ 379095 w 2820670"/>
              <a:gd name="connsiteY6" fmla="*/ 14287 h 430212"/>
              <a:gd name="connsiteX7" fmla="*/ 388620 w 2820670"/>
              <a:gd name="connsiteY7" fmla="*/ 23812 h 430212"/>
              <a:gd name="connsiteX8" fmla="*/ 402908 w 2820670"/>
              <a:gd name="connsiteY8" fmla="*/ 9525 h 430212"/>
              <a:gd name="connsiteX9" fmla="*/ 441008 w 2820670"/>
              <a:gd name="connsiteY9" fmla="*/ 23812 h 430212"/>
              <a:gd name="connsiteX10" fmla="*/ 474345 w 2820670"/>
              <a:gd name="connsiteY10" fmla="*/ 9525 h 430212"/>
              <a:gd name="connsiteX11" fmla="*/ 507683 w 2820670"/>
              <a:gd name="connsiteY11" fmla="*/ 23812 h 430212"/>
              <a:gd name="connsiteX12" fmla="*/ 569595 w 2820670"/>
              <a:gd name="connsiteY12" fmla="*/ 4762 h 430212"/>
              <a:gd name="connsiteX13" fmla="*/ 707708 w 2820670"/>
              <a:gd name="connsiteY13" fmla="*/ 9525 h 430212"/>
              <a:gd name="connsiteX14" fmla="*/ 760095 w 2820670"/>
              <a:gd name="connsiteY14" fmla="*/ 23812 h 430212"/>
              <a:gd name="connsiteX15" fmla="*/ 860108 w 2820670"/>
              <a:gd name="connsiteY15" fmla="*/ 23812 h 430212"/>
              <a:gd name="connsiteX16" fmla="*/ 1036320 w 2820670"/>
              <a:gd name="connsiteY16" fmla="*/ 42862 h 430212"/>
              <a:gd name="connsiteX17" fmla="*/ 1145858 w 2820670"/>
              <a:gd name="connsiteY17" fmla="*/ 33337 h 430212"/>
              <a:gd name="connsiteX18" fmla="*/ 1193483 w 2820670"/>
              <a:gd name="connsiteY18" fmla="*/ 47625 h 430212"/>
              <a:gd name="connsiteX19" fmla="*/ 1231583 w 2820670"/>
              <a:gd name="connsiteY19" fmla="*/ 57150 h 430212"/>
              <a:gd name="connsiteX20" fmla="*/ 1288733 w 2820670"/>
              <a:gd name="connsiteY20" fmla="*/ 95250 h 430212"/>
              <a:gd name="connsiteX21" fmla="*/ 1345883 w 2820670"/>
              <a:gd name="connsiteY21" fmla="*/ 166687 h 430212"/>
              <a:gd name="connsiteX22" fmla="*/ 1441133 w 2820670"/>
              <a:gd name="connsiteY22" fmla="*/ 152400 h 430212"/>
              <a:gd name="connsiteX23" fmla="*/ 1464945 w 2820670"/>
              <a:gd name="connsiteY23" fmla="*/ 152400 h 430212"/>
              <a:gd name="connsiteX24" fmla="*/ 1617345 w 2820670"/>
              <a:gd name="connsiteY24" fmla="*/ 223837 h 430212"/>
              <a:gd name="connsiteX25" fmla="*/ 1726883 w 2820670"/>
              <a:gd name="connsiteY25" fmla="*/ 233362 h 430212"/>
              <a:gd name="connsiteX26" fmla="*/ 1812608 w 2820670"/>
              <a:gd name="connsiteY26" fmla="*/ 238125 h 430212"/>
              <a:gd name="connsiteX27" fmla="*/ 1922145 w 2820670"/>
              <a:gd name="connsiteY27" fmla="*/ 223837 h 430212"/>
              <a:gd name="connsiteX28" fmla="*/ 2012633 w 2820670"/>
              <a:gd name="connsiteY28" fmla="*/ 252412 h 430212"/>
              <a:gd name="connsiteX29" fmla="*/ 2203133 w 2820670"/>
              <a:gd name="connsiteY29" fmla="*/ 290512 h 430212"/>
              <a:gd name="connsiteX30" fmla="*/ 2284095 w 2820670"/>
              <a:gd name="connsiteY30" fmla="*/ 309562 h 430212"/>
              <a:gd name="connsiteX31" fmla="*/ 2312670 w 2820670"/>
              <a:gd name="connsiteY31" fmla="*/ 319087 h 430212"/>
              <a:gd name="connsiteX32" fmla="*/ 2436495 w 2820670"/>
              <a:gd name="connsiteY32" fmla="*/ 328612 h 430212"/>
              <a:gd name="connsiteX33" fmla="*/ 2517458 w 2820670"/>
              <a:gd name="connsiteY33" fmla="*/ 352425 h 430212"/>
              <a:gd name="connsiteX34" fmla="*/ 2565083 w 2820670"/>
              <a:gd name="connsiteY34" fmla="*/ 338137 h 430212"/>
              <a:gd name="connsiteX35" fmla="*/ 2650808 w 2820670"/>
              <a:gd name="connsiteY35" fmla="*/ 319087 h 430212"/>
              <a:gd name="connsiteX36" fmla="*/ 2750820 w 2820670"/>
              <a:gd name="connsiteY36" fmla="*/ 338137 h 430212"/>
              <a:gd name="connsiteX37" fmla="*/ 2820670 w 2820670"/>
              <a:gd name="connsiteY37" fmla="*/ 430212 h 430212"/>
              <a:gd name="connsiteX0" fmla="*/ 0 w 2750820"/>
              <a:gd name="connsiteY0" fmla="*/ 48577 h 352425"/>
              <a:gd name="connsiteX1" fmla="*/ 93345 w 2750820"/>
              <a:gd name="connsiteY1" fmla="*/ 9525 h 352425"/>
              <a:gd name="connsiteX2" fmla="*/ 183833 w 2750820"/>
              <a:gd name="connsiteY2" fmla="*/ 0 h 352425"/>
              <a:gd name="connsiteX3" fmla="*/ 264795 w 2750820"/>
              <a:gd name="connsiteY3" fmla="*/ 19050 h 352425"/>
              <a:gd name="connsiteX4" fmla="*/ 326708 w 2750820"/>
              <a:gd name="connsiteY4" fmla="*/ 19050 h 352425"/>
              <a:gd name="connsiteX5" fmla="*/ 379095 w 2750820"/>
              <a:gd name="connsiteY5" fmla="*/ 23812 h 352425"/>
              <a:gd name="connsiteX6" fmla="*/ 379095 w 2750820"/>
              <a:gd name="connsiteY6" fmla="*/ 14287 h 352425"/>
              <a:gd name="connsiteX7" fmla="*/ 388620 w 2750820"/>
              <a:gd name="connsiteY7" fmla="*/ 23812 h 352425"/>
              <a:gd name="connsiteX8" fmla="*/ 402908 w 2750820"/>
              <a:gd name="connsiteY8" fmla="*/ 9525 h 352425"/>
              <a:gd name="connsiteX9" fmla="*/ 441008 w 2750820"/>
              <a:gd name="connsiteY9" fmla="*/ 23812 h 352425"/>
              <a:gd name="connsiteX10" fmla="*/ 474345 w 2750820"/>
              <a:gd name="connsiteY10" fmla="*/ 9525 h 352425"/>
              <a:gd name="connsiteX11" fmla="*/ 507683 w 2750820"/>
              <a:gd name="connsiteY11" fmla="*/ 23812 h 352425"/>
              <a:gd name="connsiteX12" fmla="*/ 569595 w 2750820"/>
              <a:gd name="connsiteY12" fmla="*/ 4762 h 352425"/>
              <a:gd name="connsiteX13" fmla="*/ 707708 w 2750820"/>
              <a:gd name="connsiteY13" fmla="*/ 9525 h 352425"/>
              <a:gd name="connsiteX14" fmla="*/ 760095 w 2750820"/>
              <a:gd name="connsiteY14" fmla="*/ 23812 h 352425"/>
              <a:gd name="connsiteX15" fmla="*/ 860108 w 2750820"/>
              <a:gd name="connsiteY15" fmla="*/ 23812 h 352425"/>
              <a:gd name="connsiteX16" fmla="*/ 1036320 w 2750820"/>
              <a:gd name="connsiteY16" fmla="*/ 42862 h 352425"/>
              <a:gd name="connsiteX17" fmla="*/ 1145858 w 2750820"/>
              <a:gd name="connsiteY17" fmla="*/ 33337 h 352425"/>
              <a:gd name="connsiteX18" fmla="*/ 1193483 w 2750820"/>
              <a:gd name="connsiteY18" fmla="*/ 47625 h 352425"/>
              <a:gd name="connsiteX19" fmla="*/ 1231583 w 2750820"/>
              <a:gd name="connsiteY19" fmla="*/ 57150 h 352425"/>
              <a:gd name="connsiteX20" fmla="*/ 1288733 w 2750820"/>
              <a:gd name="connsiteY20" fmla="*/ 95250 h 352425"/>
              <a:gd name="connsiteX21" fmla="*/ 1345883 w 2750820"/>
              <a:gd name="connsiteY21" fmla="*/ 166687 h 352425"/>
              <a:gd name="connsiteX22" fmla="*/ 1441133 w 2750820"/>
              <a:gd name="connsiteY22" fmla="*/ 152400 h 352425"/>
              <a:gd name="connsiteX23" fmla="*/ 1464945 w 2750820"/>
              <a:gd name="connsiteY23" fmla="*/ 152400 h 352425"/>
              <a:gd name="connsiteX24" fmla="*/ 1617345 w 2750820"/>
              <a:gd name="connsiteY24" fmla="*/ 223837 h 352425"/>
              <a:gd name="connsiteX25" fmla="*/ 1726883 w 2750820"/>
              <a:gd name="connsiteY25" fmla="*/ 233362 h 352425"/>
              <a:gd name="connsiteX26" fmla="*/ 1812608 w 2750820"/>
              <a:gd name="connsiteY26" fmla="*/ 238125 h 352425"/>
              <a:gd name="connsiteX27" fmla="*/ 1922145 w 2750820"/>
              <a:gd name="connsiteY27" fmla="*/ 223837 h 352425"/>
              <a:gd name="connsiteX28" fmla="*/ 2012633 w 2750820"/>
              <a:gd name="connsiteY28" fmla="*/ 252412 h 352425"/>
              <a:gd name="connsiteX29" fmla="*/ 2203133 w 2750820"/>
              <a:gd name="connsiteY29" fmla="*/ 290512 h 352425"/>
              <a:gd name="connsiteX30" fmla="*/ 2284095 w 2750820"/>
              <a:gd name="connsiteY30" fmla="*/ 309562 h 352425"/>
              <a:gd name="connsiteX31" fmla="*/ 2312670 w 2750820"/>
              <a:gd name="connsiteY31" fmla="*/ 319087 h 352425"/>
              <a:gd name="connsiteX32" fmla="*/ 2436495 w 2750820"/>
              <a:gd name="connsiteY32" fmla="*/ 328612 h 352425"/>
              <a:gd name="connsiteX33" fmla="*/ 2517458 w 2750820"/>
              <a:gd name="connsiteY33" fmla="*/ 352425 h 352425"/>
              <a:gd name="connsiteX34" fmla="*/ 2565083 w 2750820"/>
              <a:gd name="connsiteY34" fmla="*/ 338137 h 352425"/>
              <a:gd name="connsiteX35" fmla="*/ 2650808 w 2750820"/>
              <a:gd name="connsiteY35" fmla="*/ 319087 h 352425"/>
              <a:gd name="connsiteX36" fmla="*/ 2750820 w 2750820"/>
              <a:gd name="connsiteY36" fmla="*/ 338137 h 352425"/>
              <a:gd name="connsiteX0" fmla="*/ 0 w 2750820"/>
              <a:gd name="connsiteY0" fmla="*/ 48577 h 352425"/>
              <a:gd name="connsiteX1" fmla="*/ 93345 w 2750820"/>
              <a:gd name="connsiteY1" fmla="*/ 9525 h 352425"/>
              <a:gd name="connsiteX2" fmla="*/ 183833 w 2750820"/>
              <a:gd name="connsiteY2" fmla="*/ 0 h 352425"/>
              <a:gd name="connsiteX3" fmla="*/ 264795 w 2750820"/>
              <a:gd name="connsiteY3" fmla="*/ 19050 h 352425"/>
              <a:gd name="connsiteX4" fmla="*/ 326708 w 2750820"/>
              <a:gd name="connsiteY4" fmla="*/ 19050 h 352425"/>
              <a:gd name="connsiteX5" fmla="*/ 379095 w 2750820"/>
              <a:gd name="connsiteY5" fmla="*/ 23812 h 352425"/>
              <a:gd name="connsiteX6" fmla="*/ 379095 w 2750820"/>
              <a:gd name="connsiteY6" fmla="*/ 14287 h 352425"/>
              <a:gd name="connsiteX7" fmla="*/ 388620 w 2750820"/>
              <a:gd name="connsiteY7" fmla="*/ 23812 h 352425"/>
              <a:gd name="connsiteX8" fmla="*/ 402908 w 2750820"/>
              <a:gd name="connsiteY8" fmla="*/ 9525 h 352425"/>
              <a:gd name="connsiteX9" fmla="*/ 441008 w 2750820"/>
              <a:gd name="connsiteY9" fmla="*/ 23812 h 352425"/>
              <a:gd name="connsiteX10" fmla="*/ 474345 w 2750820"/>
              <a:gd name="connsiteY10" fmla="*/ 9525 h 352425"/>
              <a:gd name="connsiteX11" fmla="*/ 507683 w 2750820"/>
              <a:gd name="connsiteY11" fmla="*/ 23812 h 352425"/>
              <a:gd name="connsiteX12" fmla="*/ 569595 w 2750820"/>
              <a:gd name="connsiteY12" fmla="*/ 4762 h 352425"/>
              <a:gd name="connsiteX13" fmla="*/ 707708 w 2750820"/>
              <a:gd name="connsiteY13" fmla="*/ 9525 h 352425"/>
              <a:gd name="connsiteX14" fmla="*/ 760095 w 2750820"/>
              <a:gd name="connsiteY14" fmla="*/ 23812 h 352425"/>
              <a:gd name="connsiteX15" fmla="*/ 860108 w 2750820"/>
              <a:gd name="connsiteY15" fmla="*/ 23812 h 352425"/>
              <a:gd name="connsiteX16" fmla="*/ 1036320 w 2750820"/>
              <a:gd name="connsiteY16" fmla="*/ 42862 h 352425"/>
              <a:gd name="connsiteX17" fmla="*/ 1145858 w 2750820"/>
              <a:gd name="connsiteY17" fmla="*/ 33337 h 352425"/>
              <a:gd name="connsiteX18" fmla="*/ 1193483 w 2750820"/>
              <a:gd name="connsiteY18" fmla="*/ 47625 h 352425"/>
              <a:gd name="connsiteX19" fmla="*/ 1231583 w 2750820"/>
              <a:gd name="connsiteY19" fmla="*/ 57150 h 352425"/>
              <a:gd name="connsiteX20" fmla="*/ 1288733 w 2750820"/>
              <a:gd name="connsiteY20" fmla="*/ 95250 h 352425"/>
              <a:gd name="connsiteX21" fmla="*/ 1441133 w 2750820"/>
              <a:gd name="connsiteY21" fmla="*/ 152400 h 352425"/>
              <a:gd name="connsiteX22" fmla="*/ 1464945 w 2750820"/>
              <a:gd name="connsiteY22" fmla="*/ 152400 h 352425"/>
              <a:gd name="connsiteX23" fmla="*/ 1617345 w 2750820"/>
              <a:gd name="connsiteY23" fmla="*/ 223837 h 352425"/>
              <a:gd name="connsiteX24" fmla="*/ 1726883 w 2750820"/>
              <a:gd name="connsiteY24" fmla="*/ 233362 h 352425"/>
              <a:gd name="connsiteX25" fmla="*/ 1812608 w 2750820"/>
              <a:gd name="connsiteY25" fmla="*/ 238125 h 352425"/>
              <a:gd name="connsiteX26" fmla="*/ 1922145 w 2750820"/>
              <a:gd name="connsiteY26" fmla="*/ 223837 h 352425"/>
              <a:gd name="connsiteX27" fmla="*/ 2012633 w 2750820"/>
              <a:gd name="connsiteY27" fmla="*/ 252412 h 352425"/>
              <a:gd name="connsiteX28" fmla="*/ 2203133 w 2750820"/>
              <a:gd name="connsiteY28" fmla="*/ 290512 h 352425"/>
              <a:gd name="connsiteX29" fmla="*/ 2284095 w 2750820"/>
              <a:gd name="connsiteY29" fmla="*/ 309562 h 352425"/>
              <a:gd name="connsiteX30" fmla="*/ 2312670 w 2750820"/>
              <a:gd name="connsiteY30" fmla="*/ 319087 h 352425"/>
              <a:gd name="connsiteX31" fmla="*/ 2436495 w 2750820"/>
              <a:gd name="connsiteY31" fmla="*/ 328612 h 352425"/>
              <a:gd name="connsiteX32" fmla="*/ 2517458 w 2750820"/>
              <a:gd name="connsiteY32" fmla="*/ 352425 h 352425"/>
              <a:gd name="connsiteX33" fmla="*/ 2565083 w 2750820"/>
              <a:gd name="connsiteY33" fmla="*/ 338137 h 352425"/>
              <a:gd name="connsiteX34" fmla="*/ 2650808 w 2750820"/>
              <a:gd name="connsiteY34" fmla="*/ 319087 h 352425"/>
              <a:gd name="connsiteX35" fmla="*/ 2750820 w 2750820"/>
              <a:gd name="connsiteY35" fmla="*/ 338137 h 352425"/>
              <a:gd name="connsiteX0" fmla="*/ 0 w 2750820"/>
              <a:gd name="connsiteY0" fmla="*/ 48577 h 352425"/>
              <a:gd name="connsiteX1" fmla="*/ 93345 w 2750820"/>
              <a:gd name="connsiteY1" fmla="*/ 9525 h 352425"/>
              <a:gd name="connsiteX2" fmla="*/ 183833 w 2750820"/>
              <a:gd name="connsiteY2" fmla="*/ 0 h 352425"/>
              <a:gd name="connsiteX3" fmla="*/ 264795 w 2750820"/>
              <a:gd name="connsiteY3" fmla="*/ 19050 h 352425"/>
              <a:gd name="connsiteX4" fmla="*/ 326708 w 2750820"/>
              <a:gd name="connsiteY4" fmla="*/ 19050 h 352425"/>
              <a:gd name="connsiteX5" fmla="*/ 379095 w 2750820"/>
              <a:gd name="connsiteY5" fmla="*/ 23812 h 352425"/>
              <a:gd name="connsiteX6" fmla="*/ 379095 w 2750820"/>
              <a:gd name="connsiteY6" fmla="*/ 14287 h 352425"/>
              <a:gd name="connsiteX7" fmla="*/ 388620 w 2750820"/>
              <a:gd name="connsiteY7" fmla="*/ 23812 h 352425"/>
              <a:gd name="connsiteX8" fmla="*/ 402908 w 2750820"/>
              <a:gd name="connsiteY8" fmla="*/ 9525 h 352425"/>
              <a:gd name="connsiteX9" fmla="*/ 441008 w 2750820"/>
              <a:gd name="connsiteY9" fmla="*/ 23812 h 352425"/>
              <a:gd name="connsiteX10" fmla="*/ 474345 w 2750820"/>
              <a:gd name="connsiteY10" fmla="*/ 9525 h 352425"/>
              <a:gd name="connsiteX11" fmla="*/ 507683 w 2750820"/>
              <a:gd name="connsiteY11" fmla="*/ 23812 h 352425"/>
              <a:gd name="connsiteX12" fmla="*/ 569595 w 2750820"/>
              <a:gd name="connsiteY12" fmla="*/ 4762 h 352425"/>
              <a:gd name="connsiteX13" fmla="*/ 707708 w 2750820"/>
              <a:gd name="connsiteY13" fmla="*/ 9525 h 352425"/>
              <a:gd name="connsiteX14" fmla="*/ 760095 w 2750820"/>
              <a:gd name="connsiteY14" fmla="*/ 23812 h 352425"/>
              <a:gd name="connsiteX15" fmla="*/ 860108 w 2750820"/>
              <a:gd name="connsiteY15" fmla="*/ 23812 h 352425"/>
              <a:gd name="connsiteX16" fmla="*/ 1036320 w 2750820"/>
              <a:gd name="connsiteY16" fmla="*/ 42862 h 352425"/>
              <a:gd name="connsiteX17" fmla="*/ 1145858 w 2750820"/>
              <a:gd name="connsiteY17" fmla="*/ 33337 h 352425"/>
              <a:gd name="connsiteX18" fmla="*/ 1193483 w 2750820"/>
              <a:gd name="connsiteY18" fmla="*/ 47625 h 352425"/>
              <a:gd name="connsiteX19" fmla="*/ 1231583 w 2750820"/>
              <a:gd name="connsiteY19" fmla="*/ 57150 h 352425"/>
              <a:gd name="connsiteX20" fmla="*/ 1288733 w 2750820"/>
              <a:gd name="connsiteY20" fmla="*/ 95250 h 352425"/>
              <a:gd name="connsiteX21" fmla="*/ 1441133 w 2750820"/>
              <a:gd name="connsiteY21" fmla="*/ 152400 h 352425"/>
              <a:gd name="connsiteX22" fmla="*/ 1617345 w 2750820"/>
              <a:gd name="connsiteY22" fmla="*/ 223837 h 352425"/>
              <a:gd name="connsiteX23" fmla="*/ 1726883 w 2750820"/>
              <a:gd name="connsiteY23" fmla="*/ 233362 h 352425"/>
              <a:gd name="connsiteX24" fmla="*/ 1812608 w 2750820"/>
              <a:gd name="connsiteY24" fmla="*/ 238125 h 352425"/>
              <a:gd name="connsiteX25" fmla="*/ 1922145 w 2750820"/>
              <a:gd name="connsiteY25" fmla="*/ 223837 h 352425"/>
              <a:gd name="connsiteX26" fmla="*/ 2012633 w 2750820"/>
              <a:gd name="connsiteY26" fmla="*/ 252412 h 352425"/>
              <a:gd name="connsiteX27" fmla="*/ 2203133 w 2750820"/>
              <a:gd name="connsiteY27" fmla="*/ 290512 h 352425"/>
              <a:gd name="connsiteX28" fmla="*/ 2284095 w 2750820"/>
              <a:gd name="connsiteY28" fmla="*/ 309562 h 352425"/>
              <a:gd name="connsiteX29" fmla="*/ 2312670 w 2750820"/>
              <a:gd name="connsiteY29" fmla="*/ 319087 h 352425"/>
              <a:gd name="connsiteX30" fmla="*/ 2436495 w 2750820"/>
              <a:gd name="connsiteY30" fmla="*/ 328612 h 352425"/>
              <a:gd name="connsiteX31" fmla="*/ 2517458 w 2750820"/>
              <a:gd name="connsiteY31" fmla="*/ 352425 h 352425"/>
              <a:gd name="connsiteX32" fmla="*/ 2565083 w 2750820"/>
              <a:gd name="connsiteY32" fmla="*/ 338137 h 352425"/>
              <a:gd name="connsiteX33" fmla="*/ 2650808 w 2750820"/>
              <a:gd name="connsiteY33" fmla="*/ 319087 h 352425"/>
              <a:gd name="connsiteX34" fmla="*/ 2750820 w 2750820"/>
              <a:gd name="connsiteY34" fmla="*/ 338137 h 352425"/>
              <a:gd name="connsiteX0" fmla="*/ 0 w 2750820"/>
              <a:gd name="connsiteY0" fmla="*/ 48577 h 352425"/>
              <a:gd name="connsiteX1" fmla="*/ 93345 w 2750820"/>
              <a:gd name="connsiteY1" fmla="*/ 9525 h 352425"/>
              <a:gd name="connsiteX2" fmla="*/ 183833 w 2750820"/>
              <a:gd name="connsiteY2" fmla="*/ 0 h 352425"/>
              <a:gd name="connsiteX3" fmla="*/ 264795 w 2750820"/>
              <a:gd name="connsiteY3" fmla="*/ 19050 h 352425"/>
              <a:gd name="connsiteX4" fmla="*/ 326708 w 2750820"/>
              <a:gd name="connsiteY4" fmla="*/ 19050 h 352425"/>
              <a:gd name="connsiteX5" fmla="*/ 379095 w 2750820"/>
              <a:gd name="connsiteY5" fmla="*/ 23812 h 352425"/>
              <a:gd name="connsiteX6" fmla="*/ 379095 w 2750820"/>
              <a:gd name="connsiteY6" fmla="*/ 14287 h 352425"/>
              <a:gd name="connsiteX7" fmla="*/ 388620 w 2750820"/>
              <a:gd name="connsiteY7" fmla="*/ 23812 h 352425"/>
              <a:gd name="connsiteX8" fmla="*/ 402908 w 2750820"/>
              <a:gd name="connsiteY8" fmla="*/ 9525 h 352425"/>
              <a:gd name="connsiteX9" fmla="*/ 441008 w 2750820"/>
              <a:gd name="connsiteY9" fmla="*/ 23812 h 352425"/>
              <a:gd name="connsiteX10" fmla="*/ 474345 w 2750820"/>
              <a:gd name="connsiteY10" fmla="*/ 9525 h 352425"/>
              <a:gd name="connsiteX11" fmla="*/ 507683 w 2750820"/>
              <a:gd name="connsiteY11" fmla="*/ 23812 h 352425"/>
              <a:gd name="connsiteX12" fmla="*/ 569595 w 2750820"/>
              <a:gd name="connsiteY12" fmla="*/ 4762 h 352425"/>
              <a:gd name="connsiteX13" fmla="*/ 707708 w 2750820"/>
              <a:gd name="connsiteY13" fmla="*/ 9525 h 352425"/>
              <a:gd name="connsiteX14" fmla="*/ 760095 w 2750820"/>
              <a:gd name="connsiteY14" fmla="*/ 23812 h 352425"/>
              <a:gd name="connsiteX15" fmla="*/ 860108 w 2750820"/>
              <a:gd name="connsiteY15" fmla="*/ 23812 h 352425"/>
              <a:gd name="connsiteX16" fmla="*/ 1036320 w 2750820"/>
              <a:gd name="connsiteY16" fmla="*/ 42862 h 352425"/>
              <a:gd name="connsiteX17" fmla="*/ 1145858 w 2750820"/>
              <a:gd name="connsiteY17" fmla="*/ 33337 h 352425"/>
              <a:gd name="connsiteX18" fmla="*/ 1193483 w 2750820"/>
              <a:gd name="connsiteY18" fmla="*/ 47625 h 352425"/>
              <a:gd name="connsiteX19" fmla="*/ 1231583 w 2750820"/>
              <a:gd name="connsiteY19" fmla="*/ 57150 h 352425"/>
              <a:gd name="connsiteX20" fmla="*/ 1288733 w 2750820"/>
              <a:gd name="connsiteY20" fmla="*/ 95250 h 352425"/>
              <a:gd name="connsiteX21" fmla="*/ 1441133 w 2750820"/>
              <a:gd name="connsiteY21" fmla="*/ 152400 h 352425"/>
              <a:gd name="connsiteX22" fmla="*/ 1726883 w 2750820"/>
              <a:gd name="connsiteY22" fmla="*/ 233362 h 352425"/>
              <a:gd name="connsiteX23" fmla="*/ 1812608 w 2750820"/>
              <a:gd name="connsiteY23" fmla="*/ 238125 h 352425"/>
              <a:gd name="connsiteX24" fmla="*/ 1922145 w 2750820"/>
              <a:gd name="connsiteY24" fmla="*/ 223837 h 352425"/>
              <a:gd name="connsiteX25" fmla="*/ 2012633 w 2750820"/>
              <a:gd name="connsiteY25" fmla="*/ 252412 h 352425"/>
              <a:gd name="connsiteX26" fmla="*/ 2203133 w 2750820"/>
              <a:gd name="connsiteY26" fmla="*/ 290512 h 352425"/>
              <a:gd name="connsiteX27" fmla="*/ 2284095 w 2750820"/>
              <a:gd name="connsiteY27" fmla="*/ 309562 h 352425"/>
              <a:gd name="connsiteX28" fmla="*/ 2312670 w 2750820"/>
              <a:gd name="connsiteY28" fmla="*/ 319087 h 352425"/>
              <a:gd name="connsiteX29" fmla="*/ 2436495 w 2750820"/>
              <a:gd name="connsiteY29" fmla="*/ 328612 h 352425"/>
              <a:gd name="connsiteX30" fmla="*/ 2517458 w 2750820"/>
              <a:gd name="connsiteY30" fmla="*/ 352425 h 352425"/>
              <a:gd name="connsiteX31" fmla="*/ 2565083 w 2750820"/>
              <a:gd name="connsiteY31" fmla="*/ 338137 h 352425"/>
              <a:gd name="connsiteX32" fmla="*/ 2650808 w 2750820"/>
              <a:gd name="connsiteY32" fmla="*/ 319087 h 352425"/>
              <a:gd name="connsiteX33" fmla="*/ 2750820 w 2750820"/>
              <a:gd name="connsiteY33" fmla="*/ 338137 h 352425"/>
              <a:gd name="connsiteX0" fmla="*/ 0 w 2750820"/>
              <a:gd name="connsiteY0" fmla="*/ 48577 h 352425"/>
              <a:gd name="connsiteX1" fmla="*/ 93345 w 2750820"/>
              <a:gd name="connsiteY1" fmla="*/ 9525 h 352425"/>
              <a:gd name="connsiteX2" fmla="*/ 183833 w 2750820"/>
              <a:gd name="connsiteY2" fmla="*/ 0 h 352425"/>
              <a:gd name="connsiteX3" fmla="*/ 264795 w 2750820"/>
              <a:gd name="connsiteY3" fmla="*/ 19050 h 352425"/>
              <a:gd name="connsiteX4" fmla="*/ 326708 w 2750820"/>
              <a:gd name="connsiteY4" fmla="*/ 19050 h 352425"/>
              <a:gd name="connsiteX5" fmla="*/ 379095 w 2750820"/>
              <a:gd name="connsiteY5" fmla="*/ 23812 h 352425"/>
              <a:gd name="connsiteX6" fmla="*/ 379095 w 2750820"/>
              <a:gd name="connsiteY6" fmla="*/ 14287 h 352425"/>
              <a:gd name="connsiteX7" fmla="*/ 388620 w 2750820"/>
              <a:gd name="connsiteY7" fmla="*/ 23812 h 352425"/>
              <a:gd name="connsiteX8" fmla="*/ 402908 w 2750820"/>
              <a:gd name="connsiteY8" fmla="*/ 9525 h 352425"/>
              <a:gd name="connsiteX9" fmla="*/ 441008 w 2750820"/>
              <a:gd name="connsiteY9" fmla="*/ 23812 h 352425"/>
              <a:gd name="connsiteX10" fmla="*/ 474345 w 2750820"/>
              <a:gd name="connsiteY10" fmla="*/ 9525 h 352425"/>
              <a:gd name="connsiteX11" fmla="*/ 507683 w 2750820"/>
              <a:gd name="connsiteY11" fmla="*/ 23812 h 352425"/>
              <a:gd name="connsiteX12" fmla="*/ 569595 w 2750820"/>
              <a:gd name="connsiteY12" fmla="*/ 4762 h 352425"/>
              <a:gd name="connsiteX13" fmla="*/ 707708 w 2750820"/>
              <a:gd name="connsiteY13" fmla="*/ 9525 h 352425"/>
              <a:gd name="connsiteX14" fmla="*/ 760095 w 2750820"/>
              <a:gd name="connsiteY14" fmla="*/ 23812 h 352425"/>
              <a:gd name="connsiteX15" fmla="*/ 860108 w 2750820"/>
              <a:gd name="connsiteY15" fmla="*/ 23812 h 352425"/>
              <a:gd name="connsiteX16" fmla="*/ 1036320 w 2750820"/>
              <a:gd name="connsiteY16" fmla="*/ 42862 h 352425"/>
              <a:gd name="connsiteX17" fmla="*/ 1145858 w 2750820"/>
              <a:gd name="connsiteY17" fmla="*/ 33337 h 352425"/>
              <a:gd name="connsiteX18" fmla="*/ 1193483 w 2750820"/>
              <a:gd name="connsiteY18" fmla="*/ 47625 h 352425"/>
              <a:gd name="connsiteX19" fmla="*/ 1231583 w 2750820"/>
              <a:gd name="connsiteY19" fmla="*/ 57150 h 352425"/>
              <a:gd name="connsiteX20" fmla="*/ 1288733 w 2750820"/>
              <a:gd name="connsiteY20" fmla="*/ 95250 h 352425"/>
              <a:gd name="connsiteX21" fmla="*/ 1441133 w 2750820"/>
              <a:gd name="connsiteY21" fmla="*/ 152400 h 352425"/>
              <a:gd name="connsiteX22" fmla="*/ 1812608 w 2750820"/>
              <a:gd name="connsiteY22" fmla="*/ 238125 h 352425"/>
              <a:gd name="connsiteX23" fmla="*/ 1922145 w 2750820"/>
              <a:gd name="connsiteY23" fmla="*/ 223837 h 352425"/>
              <a:gd name="connsiteX24" fmla="*/ 2012633 w 2750820"/>
              <a:gd name="connsiteY24" fmla="*/ 252412 h 352425"/>
              <a:gd name="connsiteX25" fmla="*/ 2203133 w 2750820"/>
              <a:gd name="connsiteY25" fmla="*/ 290512 h 352425"/>
              <a:gd name="connsiteX26" fmla="*/ 2284095 w 2750820"/>
              <a:gd name="connsiteY26" fmla="*/ 309562 h 352425"/>
              <a:gd name="connsiteX27" fmla="*/ 2312670 w 2750820"/>
              <a:gd name="connsiteY27" fmla="*/ 319087 h 352425"/>
              <a:gd name="connsiteX28" fmla="*/ 2436495 w 2750820"/>
              <a:gd name="connsiteY28" fmla="*/ 328612 h 352425"/>
              <a:gd name="connsiteX29" fmla="*/ 2517458 w 2750820"/>
              <a:gd name="connsiteY29" fmla="*/ 352425 h 352425"/>
              <a:gd name="connsiteX30" fmla="*/ 2565083 w 2750820"/>
              <a:gd name="connsiteY30" fmla="*/ 338137 h 352425"/>
              <a:gd name="connsiteX31" fmla="*/ 2650808 w 2750820"/>
              <a:gd name="connsiteY31" fmla="*/ 319087 h 352425"/>
              <a:gd name="connsiteX32" fmla="*/ 2750820 w 2750820"/>
              <a:gd name="connsiteY32" fmla="*/ 338137 h 352425"/>
              <a:gd name="connsiteX0" fmla="*/ 0 w 2750820"/>
              <a:gd name="connsiteY0" fmla="*/ 48577 h 352425"/>
              <a:gd name="connsiteX1" fmla="*/ 93345 w 2750820"/>
              <a:gd name="connsiteY1" fmla="*/ 9525 h 352425"/>
              <a:gd name="connsiteX2" fmla="*/ 183833 w 2750820"/>
              <a:gd name="connsiteY2" fmla="*/ 0 h 352425"/>
              <a:gd name="connsiteX3" fmla="*/ 264795 w 2750820"/>
              <a:gd name="connsiteY3" fmla="*/ 19050 h 352425"/>
              <a:gd name="connsiteX4" fmla="*/ 326708 w 2750820"/>
              <a:gd name="connsiteY4" fmla="*/ 19050 h 352425"/>
              <a:gd name="connsiteX5" fmla="*/ 379095 w 2750820"/>
              <a:gd name="connsiteY5" fmla="*/ 23812 h 352425"/>
              <a:gd name="connsiteX6" fmla="*/ 379095 w 2750820"/>
              <a:gd name="connsiteY6" fmla="*/ 14287 h 352425"/>
              <a:gd name="connsiteX7" fmla="*/ 388620 w 2750820"/>
              <a:gd name="connsiteY7" fmla="*/ 23812 h 352425"/>
              <a:gd name="connsiteX8" fmla="*/ 402908 w 2750820"/>
              <a:gd name="connsiteY8" fmla="*/ 9525 h 352425"/>
              <a:gd name="connsiteX9" fmla="*/ 441008 w 2750820"/>
              <a:gd name="connsiteY9" fmla="*/ 23812 h 352425"/>
              <a:gd name="connsiteX10" fmla="*/ 474345 w 2750820"/>
              <a:gd name="connsiteY10" fmla="*/ 9525 h 352425"/>
              <a:gd name="connsiteX11" fmla="*/ 507683 w 2750820"/>
              <a:gd name="connsiteY11" fmla="*/ 23812 h 352425"/>
              <a:gd name="connsiteX12" fmla="*/ 569595 w 2750820"/>
              <a:gd name="connsiteY12" fmla="*/ 4762 h 352425"/>
              <a:gd name="connsiteX13" fmla="*/ 707708 w 2750820"/>
              <a:gd name="connsiteY13" fmla="*/ 9525 h 352425"/>
              <a:gd name="connsiteX14" fmla="*/ 760095 w 2750820"/>
              <a:gd name="connsiteY14" fmla="*/ 23812 h 352425"/>
              <a:gd name="connsiteX15" fmla="*/ 860108 w 2750820"/>
              <a:gd name="connsiteY15" fmla="*/ 23812 h 352425"/>
              <a:gd name="connsiteX16" fmla="*/ 1036320 w 2750820"/>
              <a:gd name="connsiteY16" fmla="*/ 42862 h 352425"/>
              <a:gd name="connsiteX17" fmla="*/ 1145858 w 2750820"/>
              <a:gd name="connsiteY17" fmla="*/ 33337 h 352425"/>
              <a:gd name="connsiteX18" fmla="*/ 1193483 w 2750820"/>
              <a:gd name="connsiteY18" fmla="*/ 47625 h 352425"/>
              <a:gd name="connsiteX19" fmla="*/ 1231583 w 2750820"/>
              <a:gd name="connsiteY19" fmla="*/ 57150 h 352425"/>
              <a:gd name="connsiteX20" fmla="*/ 1288733 w 2750820"/>
              <a:gd name="connsiteY20" fmla="*/ 95250 h 352425"/>
              <a:gd name="connsiteX21" fmla="*/ 1441133 w 2750820"/>
              <a:gd name="connsiteY21" fmla="*/ 152400 h 352425"/>
              <a:gd name="connsiteX22" fmla="*/ 1922145 w 2750820"/>
              <a:gd name="connsiteY22" fmla="*/ 223837 h 352425"/>
              <a:gd name="connsiteX23" fmla="*/ 2012633 w 2750820"/>
              <a:gd name="connsiteY23" fmla="*/ 252412 h 352425"/>
              <a:gd name="connsiteX24" fmla="*/ 2203133 w 2750820"/>
              <a:gd name="connsiteY24" fmla="*/ 290512 h 352425"/>
              <a:gd name="connsiteX25" fmla="*/ 2284095 w 2750820"/>
              <a:gd name="connsiteY25" fmla="*/ 309562 h 352425"/>
              <a:gd name="connsiteX26" fmla="*/ 2312670 w 2750820"/>
              <a:gd name="connsiteY26" fmla="*/ 319087 h 352425"/>
              <a:gd name="connsiteX27" fmla="*/ 2436495 w 2750820"/>
              <a:gd name="connsiteY27" fmla="*/ 328612 h 352425"/>
              <a:gd name="connsiteX28" fmla="*/ 2517458 w 2750820"/>
              <a:gd name="connsiteY28" fmla="*/ 352425 h 352425"/>
              <a:gd name="connsiteX29" fmla="*/ 2565083 w 2750820"/>
              <a:gd name="connsiteY29" fmla="*/ 338137 h 352425"/>
              <a:gd name="connsiteX30" fmla="*/ 2650808 w 2750820"/>
              <a:gd name="connsiteY30" fmla="*/ 319087 h 352425"/>
              <a:gd name="connsiteX31" fmla="*/ 2750820 w 2750820"/>
              <a:gd name="connsiteY31" fmla="*/ 338137 h 352425"/>
              <a:gd name="connsiteX0" fmla="*/ 0 w 2750820"/>
              <a:gd name="connsiteY0" fmla="*/ 48577 h 352425"/>
              <a:gd name="connsiteX1" fmla="*/ 93345 w 2750820"/>
              <a:gd name="connsiteY1" fmla="*/ 9525 h 352425"/>
              <a:gd name="connsiteX2" fmla="*/ 183833 w 2750820"/>
              <a:gd name="connsiteY2" fmla="*/ 0 h 352425"/>
              <a:gd name="connsiteX3" fmla="*/ 264795 w 2750820"/>
              <a:gd name="connsiteY3" fmla="*/ 19050 h 352425"/>
              <a:gd name="connsiteX4" fmla="*/ 326708 w 2750820"/>
              <a:gd name="connsiteY4" fmla="*/ 19050 h 352425"/>
              <a:gd name="connsiteX5" fmla="*/ 379095 w 2750820"/>
              <a:gd name="connsiteY5" fmla="*/ 23812 h 352425"/>
              <a:gd name="connsiteX6" fmla="*/ 379095 w 2750820"/>
              <a:gd name="connsiteY6" fmla="*/ 14287 h 352425"/>
              <a:gd name="connsiteX7" fmla="*/ 388620 w 2750820"/>
              <a:gd name="connsiteY7" fmla="*/ 23812 h 352425"/>
              <a:gd name="connsiteX8" fmla="*/ 402908 w 2750820"/>
              <a:gd name="connsiteY8" fmla="*/ 9525 h 352425"/>
              <a:gd name="connsiteX9" fmla="*/ 441008 w 2750820"/>
              <a:gd name="connsiteY9" fmla="*/ 23812 h 352425"/>
              <a:gd name="connsiteX10" fmla="*/ 474345 w 2750820"/>
              <a:gd name="connsiteY10" fmla="*/ 9525 h 352425"/>
              <a:gd name="connsiteX11" fmla="*/ 507683 w 2750820"/>
              <a:gd name="connsiteY11" fmla="*/ 23812 h 352425"/>
              <a:gd name="connsiteX12" fmla="*/ 569595 w 2750820"/>
              <a:gd name="connsiteY12" fmla="*/ 4762 h 352425"/>
              <a:gd name="connsiteX13" fmla="*/ 707708 w 2750820"/>
              <a:gd name="connsiteY13" fmla="*/ 9525 h 352425"/>
              <a:gd name="connsiteX14" fmla="*/ 760095 w 2750820"/>
              <a:gd name="connsiteY14" fmla="*/ 23812 h 352425"/>
              <a:gd name="connsiteX15" fmla="*/ 860108 w 2750820"/>
              <a:gd name="connsiteY15" fmla="*/ 23812 h 352425"/>
              <a:gd name="connsiteX16" fmla="*/ 1036320 w 2750820"/>
              <a:gd name="connsiteY16" fmla="*/ 42862 h 352425"/>
              <a:gd name="connsiteX17" fmla="*/ 1145858 w 2750820"/>
              <a:gd name="connsiteY17" fmla="*/ 33337 h 352425"/>
              <a:gd name="connsiteX18" fmla="*/ 1193483 w 2750820"/>
              <a:gd name="connsiteY18" fmla="*/ 47625 h 352425"/>
              <a:gd name="connsiteX19" fmla="*/ 1231583 w 2750820"/>
              <a:gd name="connsiteY19" fmla="*/ 57150 h 352425"/>
              <a:gd name="connsiteX20" fmla="*/ 1288733 w 2750820"/>
              <a:gd name="connsiteY20" fmla="*/ 95250 h 352425"/>
              <a:gd name="connsiteX21" fmla="*/ 1441133 w 2750820"/>
              <a:gd name="connsiteY21" fmla="*/ 152400 h 352425"/>
              <a:gd name="connsiteX22" fmla="*/ 2012633 w 2750820"/>
              <a:gd name="connsiteY22" fmla="*/ 252412 h 352425"/>
              <a:gd name="connsiteX23" fmla="*/ 2203133 w 2750820"/>
              <a:gd name="connsiteY23" fmla="*/ 290512 h 352425"/>
              <a:gd name="connsiteX24" fmla="*/ 2284095 w 2750820"/>
              <a:gd name="connsiteY24" fmla="*/ 309562 h 352425"/>
              <a:gd name="connsiteX25" fmla="*/ 2312670 w 2750820"/>
              <a:gd name="connsiteY25" fmla="*/ 319087 h 352425"/>
              <a:gd name="connsiteX26" fmla="*/ 2436495 w 2750820"/>
              <a:gd name="connsiteY26" fmla="*/ 328612 h 352425"/>
              <a:gd name="connsiteX27" fmla="*/ 2517458 w 2750820"/>
              <a:gd name="connsiteY27" fmla="*/ 352425 h 352425"/>
              <a:gd name="connsiteX28" fmla="*/ 2565083 w 2750820"/>
              <a:gd name="connsiteY28" fmla="*/ 338137 h 352425"/>
              <a:gd name="connsiteX29" fmla="*/ 2650808 w 2750820"/>
              <a:gd name="connsiteY29" fmla="*/ 319087 h 352425"/>
              <a:gd name="connsiteX30" fmla="*/ 2750820 w 2750820"/>
              <a:gd name="connsiteY30" fmla="*/ 338137 h 352425"/>
              <a:gd name="connsiteX0" fmla="*/ 0 w 2750820"/>
              <a:gd name="connsiteY0" fmla="*/ 48577 h 352425"/>
              <a:gd name="connsiteX1" fmla="*/ 93345 w 2750820"/>
              <a:gd name="connsiteY1" fmla="*/ 9525 h 352425"/>
              <a:gd name="connsiteX2" fmla="*/ 183833 w 2750820"/>
              <a:gd name="connsiteY2" fmla="*/ 0 h 352425"/>
              <a:gd name="connsiteX3" fmla="*/ 264795 w 2750820"/>
              <a:gd name="connsiteY3" fmla="*/ 19050 h 352425"/>
              <a:gd name="connsiteX4" fmla="*/ 326708 w 2750820"/>
              <a:gd name="connsiteY4" fmla="*/ 19050 h 352425"/>
              <a:gd name="connsiteX5" fmla="*/ 379095 w 2750820"/>
              <a:gd name="connsiteY5" fmla="*/ 23812 h 352425"/>
              <a:gd name="connsiteX6" fmla="*/ 379095 w 2750820"/>
              <a:gd name="connsiteY6" fmla="*/ 14287 h 352425"/>
              <a:gd name="connsiteX7" fmla="*/ 388620 w 2750820"/>
              <a:gd name="connsiteY7" fmla="*/ 23812 h 352425"/>
              <a:gd name="connsiteX8" fmla="*/ 402908 w 2750820"/>
              <a:gd name="connsiteY8" fmla="*/ 9525 h 352425"/>
              <a:gd name="connsiteX9" fmla="*/ 441008 w 2750820"/>
              <a:gd name="connsiteY9" fmla="*/ 23812 h 352425"/>
              <a:gd name="connsiteX10" fmla="*/ 474345 w 2750820"/>
              <a:gd name="connsiteY10" fmla="*/ 9525 h 352425"/>
              <a:gd name="connsiteX11" fmla="*/ 507683 w 2750820"/>
              <a:gd name="connsiteY11" fmla="*/ 23812 h 352425"/>
              <a:gd name="connsiteX12" fmla="*/ 569595 w 2750820"/>
              <a:gd name="connsiteY12" fmla="*/ 4762 h 352425"/>
              <a:gd name="connsiteX13" fmla="*/ 707708 w 2750820"/>
              <a:gd name="connsiteY13" fmla="*/ 9525 h 352425"/>
              <a:gd name="connsiteX14" fmla="*/ 760095 w 2750820"/>
              <a:gd name="connsiteY14" fmla="*/ 23812 h 352425"/>
              <a:gd name="connsiteX15" fmla="*/ 860108 w 2750820"/>
              <a:gd name="connsiteY15" fmla="*/ 23812 h 352425"/>
              <a:gd name="connsiteX16" fmla="*/ 1036320 w 2750820"/>
              <a:gd name="connsiteY16" fmla="*/ 42862 h 352425"/>
              <a:gd name="connsiteX17" fmla="*/ 1145858 w 2750820"/>
              <a:gd name="connsiteY17" fmla="*/ 33337 h 352425"/>
              <a:gd name="connsiteX18" fmla="*/ 1193483 w 2750820"/>
              <a:gd name="connsiteY18" fmla="*/ 47625 h 352425"/>
              <a:gd name="connsiteX19" fmla="*/ 1231583 w 2750820"/>
              <a:gd name="connsiteY19" fmla="*/ 57150 h 352425"/>
              <a:gd name="connsiteX20" fmla="*/ 1288733 w 2750820"/>
              <a:gd name="connsiteY20" fmla="*/ 95250 h 352425"/>
              <a:gd name="connsiteX21" fmla="*/ 1441133 w 2750820"/>
              <a:gd name="connsiteY21" fmla="*/ 152400 h 352425"/>
              <a:gd name="connsiteX22" fmla="*/ 2203133 w 2750820"/>
              <a:gd name="connsiteY22" fmla="*/ 290512 h 352425"/>
              <a:gd name="connsiteX23" fmla="*/ 2284095 w 2750820"/>
              <a:gd name="connsiteY23" fmla="*/ 309562 h 352425"/>
              <a:gd name="connsiteX24" fmla="*/ 2312670 w 2750820"/>
              <a:gd name="connsiteY24" fmla="*/ 319087 h 352425"/>
              <a:gd name="connsiteX25" fmla="*/ 2436495 w 2750820"/>
              <a:gd name="connsiteY25" fmla="*/ 328612 h 352425"/>
              <a:gd name="connsiteX26" fmla="*/ 2517458 w 2750820"/>
              <a:gd name="connsiteY26" fmla="*/ 352425 h 352425"/>
              <a:gd name="connsiteX27" fmla="*/ 2565083 w 2750820"/>
              <a:gd name="connsiteY27" fmla="*/ 338137 h 352425"/>
              <a:gd name="connsiteX28" fmla="*/ 2650808 w 2750820"/>
              <a:gd name="connsiteY28" fmla="*/ 319087 h 352425"/>
              <a:gd name="connsiteX29" fmla="*/ 2750820 w 2750820"/>
              <a:gd name="connsiteY29" fmla="*/ 338137 h 352425"/>
              <a:gd name="connsiteX0" fmla="*/ 0 w 2750820"/>
              <a:gd name="connsiteY0" fmla="*/ 48577 h 352425"/>
              <a:gd name="connsiteX1" fmla="*/ 93345 w 2750820"/>
              <a:gd name="connsiteY1" fmla="*/ 9525 h 352425"/>
              <a:gd name="connsiteX2" fmla="*/ 183833 w 2750820"/>
              <a:gd name="connsiteY2" fmla="*/ 0 h 352425"/>
              <a:gd name="connsiteX3" fmla="*/ 264795 w 2750820"/>
              <a:gd name="connsiteY3" fmla="*/ 19050 h 352425"/>
              <a:gd name="connsiteX4" fmla="*/ 326708 w 2750820"/>
              <a:gd name="connsiteY4" fmla="*/ 19050 h 352425"/>
              <a:gd name="connsiteX5" fmla="*/ 379095 w 2750820"/>
              <a:gd name="connsiteY5" fmla="*/ 23812 h 352425"/>
              <a:gd name="connsiteX6" fmla="*/ 379095 w 2750820"/>
              <a:gd name="connsiteY6" fmla="*/ 14287 h 352425"/>
              <a:gd name="connsiteX7" fmla="*/ 388620 w 2750820"/>
              <a:gd name="connsiteY7" fmla="*/ 23812 h 352425"/>
              <a:gd name="connsiteX8" fmla="*/ 402908 w 2750820"/>
              <a:gd name="connsiteY8" fmla="*/ 9525 h 352425"/>
              <a:gd name="connsiteX9" fmla="*/ 441008 w 2750820"/>
              <a:gd name="connsiteY9" fmla="*/ 23812 h 352425"/>
              <a:gd name="connsiteX10" fmla="*/ 474345 w 2750820"/>
              <a:gd name="connsiteY10" fmla="*/ 9525 h 352425"/>
              <a:gd name="connsiteX11" fmla="*/ 507683 w 2750820"/>
              <a:gd name="connsiteY11" fmla="*/ 23812 h 352425"/>
              <a:gd name="connsiteX12" fmla="*/ 569595 w 2750820"/>
              <a:gd name="connsiteY12" fmla="*/ 4762 h 352425"/>
              <a:gd name="connsiteX13" fmla="*/ 707708 w 2750820"/>
              <a:gd name="connsiteY13" fmla="*/ 9525 h 352425"/>
              <a:gd name="connsiteX14" fmla="*/ 760095 w 2750820"/>
              <a:gd name="connsiteY14" fmla="*/ 23812 h 352425"/>
              <a:gd name="connsiteX15" fmla="*/ 860108 w 2750820"/>
              <a:gd name="connsiteY15" fmla="*/ 23812 h 352425"/>
              <a:gd name="connsiteX16" fmla="*/ 1036320 w 2750820"/>
              <a:gd name="connsiteY16" fmla="*/ 42862 h 352425"/>
              <a:gd name="connsiteX17" fmla="*/ 1145858 w 2750820"/>
              <a:gd name="connsiteY17" fmla="*/ 33337 h 352425"/>
              <a:gd name="connsiteX18" fmla="*/ 1193483 w 2750820"/>
              <a:gd name="connsiteY18" fmla="*/ 47625 h 352425"/>
              <a:gd name="connsiteX19" fmla="*/ 1231583 w 2750820"/>
              <a:gd name="connsiteY19" fmla="*/ 57150 h 352425"/>
              <a:gd name="connsiteX20" fmla="*/ 1288733 w 2750820"/>
              <a:gd name="connsiteY20" fmla="*/ 95250 h 352425"/>
              <a:gd name="connsiteX21" fmla="*/ 1441133 w 2750820"/>
              <a:gd name="connsiteY21" fmla="*/ 152400 h 352425"/>
              <a:gd name="connsiteX22" fmla="*/ 2284095 w 2750820"/>
              <a:gd name="connsiteY22" fmla="*/ 309562 h 352425"/>
              <a:gd name="connsiteX23" fmla="*/ 2312670 w 2750820"/>
              <a:gd name="connsiteY23" fmla="*/ 319087 h 352425"/>
              <a:gd name="connsiteX24" fmla="*/ 2436495 w 2750820"/>
              <a:gd name="connsiteY24" fmla="*/ 328612 h 352425"/>
              <a:gd name="connsiteX25" fmla="*/ 2517458 w 2750820"/>
              <a:gd name="connsiteY25" fmla="*/ 352425 h 352425"/>
              <a:gd name="connsiteX26" fmla="*/ 2565083 w 2750820"/>
              <a:gd name="connsiteY26" fmla="*/ 338137 h 352425"/>
              <a:gd name="connsiteX27" fmla="*/ 2650808 w 2750820"/>
              <a:gd name="connsiteY27" fmla="*/ 319087 h 352425"/>
              <a:gd name="connsiteX28" fmla="*/ 2750820 w 2750820"/>
              <a:gd name="connsiteY28" fmla="*/ 338137 h 352425"/>
              <a:gd name="connsiteX0" fmla="*/ 0 w 2750820"/>
              <a:gd name="connsiteY0" fmla="*/ 48577 h 352425"/>
              <a:gd name="connsiteX1" fmla="*/ 93345 w 2750820"/>
              <a:gd name="connsiteY1" fmla="*/ 9525 h 352425"/>
              <a:gd name="connsiteX2" fmla="*/ 183833 w 2750820"/>
              <a:gd name="connsiteY2" fmla="*/ 0 h 352425"/>
              <a:gd name="connsiteX3" fmla="*/ 264795 w 2750820"/>
              <a:gd name="connsiteY3" fmla="*/ 19050 h 352425"/>
              <a:gd name="connsiteX4" fmla="*/ 326708 w 2750820"/>
              <a:gd name="connsiteY4" fmla="*/ 19050 h 352425"/>
              <a:gd name="connsiteX5" fmla="*/ 379095 w 2750820"/>
              <a:gd name="connsiteY5" fmla="*/ 23812 h 352425"/>
              <a:gd name="connsiteX6" fmla="*/ 379095 w 2750820"/>
              <a:gd name="connsiteY6" fmla="*/ 14287 h 352425"/>
              <a:gd name="connsiteX7" fmla="*/ 388620 w 2750820"/>
              <a:gd name="connsiteY7" fmla="*/ 23812 h 352425"/>
              <a:gd name="connsiteX8" fmla="*/ 402908 w 2750820"/>
              <a:gd name="connsiteY8" fmla="*/ 9525 h 352425"/>
              <a:gd name="connsiteX9" fmla="*/ 441008 w 2750820"/>
              <a:gd name="connsiteY9" fmla="*/ 23812 h 352425"/>
              <a:gd name="connsiteX10" fmla="*/ 474345 w 2750820"/>
              <a:gd name="connsiteY10" fmla="*/ 9525 h 352425"/>
              <a:gd name="connsiteX11" fmla="*/ 507683 w 2750820"/>
              <a:gd name="connsiteY11" fmla="*/ 23812 h 352425"/>
              <a:gd name="connsiteX12" fmla="*/ 569595 w 2750820"/>
              <a:gd name="connsiteY12" fmla="*/ 4762 h 352425"/>
              <a:gd name="connsiteX13" fmla="*/ 707708 w 2750820"/>
              <a:gd name="connsiteY13" fmla="*/ 9525 h 352425"/>
              <a:gd name="connsiteX14" fmla="*/ 760095 w 2750820"/>
              <a:gd name="connsiteY14" fmla="*/ 23812 h 352425"/>
              <a:gd name="connsiteX15" fmla="*/ 860108 w 2750820"/>
              <a:gd name="connsiteY15" fmla="*/ 23812 h 352425"/>
              <a:gd name="connsiteX16" fmla="*/ 1036320 w 2750820"/>
              <a:gd name="connsiteY16" fmla="*/ 42862 h 352425"/>
              <a:gd name="connsiteX17" fmla="*/ 1145858 w 2750820"/>
              <a:gd name="connsiteY17" fmla="*/ 33337 h 352425"/>
              <a:gd name="connsiteX18" fmla="*/ 1193483 w 2750820"/>
              <a:gd name="connsiteY18" fmla="*/ 47625 h 352425"/>
              <a:gd name="connsiteX19" fmla="*/ 1231583 w 2750820"/>
              <a:gd name="connsiteY19" fmla="*/ 57150 h 352425"/>
              <a:gd name="connsiteX20" fmla="*/ 1288733 w 2750820"/>
              <a:gd name="connsiteY20" fmla="*/ 95250 h 352425"/>
              <a:gd name="connsiteX21" fmla="*/ 1441133 w 2750820"/>
              <a:gd name="connsiteY21" fmla="*/ 152400 h 352425"/>
              <a:gd name="connsiteX22" fmla="*/ 2284095 w 2750820"/>
              <a:gd name="connsiteY22" fmla="*/ 309562 h 352425"/>
              <a:gd name="connsiteX23" fmla="*/ 2436495 w 2750820"/>
              <a:gd name="connsiteY23" fmla="*/ 328612 h 352425"/>
              <a:gd name="connsiteX24" fmla="*/ 2517458 w 2750820"/>
              <a:gd name="connsiteY24" fmla="*/ 352425 h 352425"/>
              <a:gd name="connsiteX25" fmla="*/ 2565083 w 2750820"/>
              <a:gd name="connsiteY25" fmla="*/ 338137 h 352425"/>
              <a:gd name="connsiteX26" fmla="*/ 2650808 w 2750820"/>
              <a:gd name="connsiteY26" fmla="*/ 319087 h 352425"/>
              <a:gd name="connsiteX27" fmla="*/ 2750820 w 2750820"/>
              <a:gd name="connsiteY27" fmla="*/ 338137 h 352425"/>
              <a:gd name="connsiteX0" fmla="*/ 0 w 2750820"/>
              <a:gd name="connsiteY0" fmla="*/ 48577 h 352425"/>
              <a:gd name="connsiteX1" fmla="*/ 93345 w 2750820"/>
              <a:gd name="connsiteY1" fmla="*/ 9525 h 352425"/>
              <a:gd name="connsiteX2" fmla="*/ 183833 w 2750820"/>
              <a:gd name="connsiteY2" fmla="*/ 0 h 352425"/>
              <a:gd name="connsiteX3" fmla="*/ 264795 w 2750820"/>
              <a:gd name="connsiteY3" fmla="*/ 19050 h 352425"/>
              <a:gd name="connsiteX4" fmla="*/ 326708 w 2750820"/>
              <a:gd name="connsiteY4" fmla="*/ 19050 h 352425"/>
              <a:gd name="connsiteX5" fmla="*/ 379095 w 2750820"/>
              <a:gd name="connsiteY5" fmla="*/ 23812 h 352425"/>
              <a:gd name="connsiteX6" fmla="*/ 379095 w 2750820"/>
              <a:gd name="connsiteY6" fmla="*/ 14287 h 352425"/>
              <a:gd name="connsiteX7" fmla="*/ 388620 w 2750820"/>
              <a:gd name="connsiteY7" fmla="*/ 23812 h 352425"/>
              <a:gd name="connsiteX8" fmla="*/ 402908 w 2750820"/>
              <a:gd name="connsiteY8" fmla="*/ 9525 h 352425"/>
              <a:gd name="connsiteX9" fmla="*/ 441008 w 2750820"/>
              <a:gd name="connsiteY9" fmla="*/ 23812 h 352425"/>
              <a:gd name="connsiteX10" fmla="*/ 474345 w 2750820"/>
              <a:gd name="connsiteY10" fmla="*/ 9525 h 352425"/>
              <a:gd name="connsiteX11" fmla="*/ 507683 w 2750820"/>
              <a:gd name="connsiteY11" fmla="*/ 23812 h 352425"/>
              <a:gd name="connsiteX12" fmla="*/ 569595 w 2750820"/>
              <a:gd name="connsiteY12" fmla="*/ 4762 h 352425"/>
              <a:gd name="connsiteX13" fmla="*/ 707708 w 2750820"/>
              <a:gd name="connsiteY13" fmla="*/ 9525 h 352425"/>
              <a:gd name="connsiteX14" fmla="*/ 760095 w 2750820"/>
              <a:gd name="connsiteY14" fmla="*/ 23812 h 352425"/>
              <a:gd name="connsiteX15" fmla="*/ 860108 w 2750820"/>
              <a:gd name="connsiteY15" fmla="*/ 23812 h 352425"/>
              <a:gd name="connsiteX16" fmla="*/ 1036320 w 2750820"/>
              <a:gd name="connsiteY16" fmla="*/ 42862 h 352425"/>
              <a:gd name="connsiteX17" fmla="*/ 1145858 w 2750820"/>
              <a:gd name="connsiteY17" fmla="*/ 33337 h 352425"/>
              <a:gd name="connsiteX18" fmla="*/ 1193483 w 2750820"/>
              <a:gd name="connsiteY18" fmla="*/ 47625 h 352425"/>
              <a:gd name="connsiteX19" fmla="*/ 1231583 w 2750820"/>
              <a:gd name="connsiteY19" fmla="*/ 57150 h 352425"/>
              <a:gd name="connsiteX20" fmla="*/ 1288733 w 2750820"/>
              <a:gd name="connsiteY20" fmla="*/ 95250 h 352425"/>
              <a:gd name="connsiteX21" fmla="*/ 1441133 w 2750820"/>
              <a:gd name="connsiteY21" fmla="*/ 152400 h 352425"/>
              <a:gd name="connsiteX22" fmla="*/ 2284095 w 2750820"/>
              <a:gd name="connsiteY22" fmla="*/ 309562 h 352425"/>
              <a:gd name="connsiteX23" fmla="*/ 2517458 w 2750820"/>
              <a:gd name="connsiteY23" fmla="*/ 352425 h 352425"/>
              <a:gd name="connsiteX24" fmla="*/ 2565083 w 2750820"/>
              <a:gd name="connsiteY24" fmla="*/ 338137 h 352425"/>
              <a:gd name="connsiteX25" fmla="*/ 2650808 w 2750820"/>
              <a:gd name="connsiteY25" fmla="*/ 319087 h 352425"/>
              <a:gd name="connsiteX26" fmla="*/ 2750820 w 2750820"/>
              <a:gd name="connsiteY26" fmla="*/ 338137 h 352425"/>
              <a:gd name="connsiteX0" fmla="*/ 0 w 2750820"/>
              <a:gd name="connsiteY0" fmla="*/ 48577 h 338137"/>
              <a:gd name="connsiteX1" fmla="*/ 93345 w 2750820"/>
              <a:gd name="connsiteY1" fmla="*/ 9525 h 338137"/>
              <a:gd name="connsiteX2" fmla="*/ 183833 w 2750820"/>
              <a:gd name="connsiteY2" fmla="*/ 0 h 338137"/>
              <a:gd name="connsiteX3" fmla="*/ 264795 w 2750820"/>
              <a:gd name="connsiteY3" fmla="*/ 19050 h 338137"/>
              <a:gd name="connsiteX4" fmla="*/ 326708 w 2750820"/>
              <a:gd name="connsiteY4" fmla="*/ 19050 h 338137"/>
              <a:gd name="connsiteX5" fmla="*/ 379095 w 2750820"/>
              <a:gd name="connsiteY5" fmla="*/ 23812 h 338137"/>
              <a:gd name="connsiteX6" fmla="*/ 379095 w 2750820"/>
              <a:gd name="connsiteY6" fmla="*/ 14287 h 338137"/>
              <a:gd name="connsiteX7" fmla="*/ 388620 w 2750820"/>
              <a:gd name="connsiteY7" fmla="*/ 23812 h 338137"/>
              <a:gd name="connsiteX8" fmla="*/ 402908 w 2750820"/>
              <a:gd name="connsiteY8" fmla="*/ 9525 h 338137"/>
              <a:gd name="connsiteX9" fmla="*/ 441008 w 2750820"/>
              <a:gd name="connsiteY9" fmla="*/ 23812 h 338137"/>
              <a:gd name="connsiteX10" fmla="*/ 474345 w 2750820"/>
              <a:gd name="connsiteY10" fmla="*/ 9525 h 338137"/>
              <a:gd name="connsiteX11" fmla="*/ 507683 w 2750820"/>
              <a:gd name="connsiteY11" fmla="*/ 23812 h 338137"/>
              <a:gd name="connsiteX12" fmla="*/ 569595 w 2750820"/>
              <a:gd name="connsiteY12" fmla="*/ 4762 h 338137"/>
              <a:gd name="connsiteX13" fmla="*/ 707708 w 2750820"/>
              <a:gd name="connsiteY13" fmla="*/ 9525 h 338137"/>
              <a:gd name="connsiteX14" fmla="*/ 760095 w 2750820"/>
              <a:gd name="connsiteY14" fmla="*/ 23812 h 338137"/>
              <a:gd name="connsiteX15" fmla="*/ 860108 w 2750820"/>
              <a:gd name="connsiteY15" fmla="*/ 23812 h 338137"/>
              <a:gd name="connsiteX16" fmla="*/ 1036320 w 2750820"/>
              <a:gd name="connsiteY16" fmla="*/ 42862 h 338137"/>
              <a:gd name="connsiteX17" fmla="*/ 1145858 w 2750820"/>
              <a:gd name="connsiteY17" fmla="*/ 33337 h 338137"/>
              <a:gd name="connsiteX18" fmla="*/ 1193483 w 2750820"/>
              <a:gd name="connsiteY18" fmla="*/ 47625 h 338137"/>
              <a:gd name="connsiteX19" fmla="*/ 1231583 w 2750820"/>
              <a:gd name="connsiteY19" fmla="*/ 57150 h 338137"/>
              <a:gd name="connsiteX20" fmla="*/ 1288733 w 2750820"/>
              <a:gd name="connsiteY20" fmla="*/ 95250 h 338137"/>
              <a:gd name="connsiteX21" fmla="*/ 1441133 w 2750820"/>
              <a:gd name="connsiteY21" fmla="*/ 152400 h 338137"/>
              <a:gd name="connsiteX22" fmla="*/ 2284095 w 2750820"/>
              <a:gd name="connsiteY22" fmla="*/ 309562 h 338137"/>
              <a:gd name="connsiteX23" fmla="*/ 2565083 w 2750820"/>
              <a:gd name="connsiteY23" fmla="*/ 338137 h 338137"/>
              <a:gd name="connsiteX24" fmla="*/ 2650808 w 2750820"/>
              <a:gd name="connsiteY24" fmla="*/ 319087 h 338137"/>
              <a:gd name="connsiteX25" fmla="*/ 2750820 w 2750820"/>
              <a:gd name="connsiteY25" fmla="*/ 338137 h 338137"/>
              <a:gd name="connsiteX0" fmla="*/ 0 w 2750820"/>
              <a:gd name="connsiteY0" fmla="*/ 48577 h 338137"/>
              <a:gd name="connsiteX1" fmla="*/ 93345 w 2750820"/>
              <a:gd name="connsiteY1" fmla="*/ 9525 h 338137"/>
              <a:gd name="connsiteX2" fmla="*/ 183833 w 2750820"/>
              <a:gd name="connsiteY2" fmla="*/ 0 h 338137"/>
              <a:gd name="connsiteX3" fmla="*/ 264795 w 2750820"/>
              <a:gd name="connsiteY3" fmla="*/ 19050 h 338137"/>
              <a:gd name="connsiteX4" fmla="*/ 326708 w 2750820"/>
              <a:gd name="connsiteY4" fmla="*/ 19050 h 338137"/>
              <a:gd name="connsiteX5" fmla="*/ 379095 w 2750820"/>
              <a:gd name="connsiteY5" fmla="*/ 23812 h 338137"/>
              <a:gd name="connsiteX6" fmla="*/ 379095 w 2750820"/>
              <a:gd name="connsiteY6" fmla="*/ 14287 h 338137"/>
              <a:gd name="connsiteX7" fmla="*/ 388620 w 2750820"/>
              <a:gd name="connsiteY7" fmla="*/ 23812 h 338137"/>
              <a:gd name="connsiteX8" fmla="*/ 402908 w 2750820"/>
              <a:gd name="connsiteY8" fmla="*/ 9525 h 338137"/>
              <a:gd name="connsiteX9" fmla="*/ 441008 w 2750820"/>
              <a:gd name="connsiteY9" fmla="*/ 23812 h 338137"/>
              <a:gd name="connsiteX10" fmla="*/ 474345 w 2750820"/>
              <a:gd name="connsiteY10" fmla="*/ 9525 h 338137"/>
              <a:gd name="connsiteX11" fmla="*/ 507683 w 2750820"/>
              <a:gd name="connsiteY11" fmla="*/ 23812 h 338137"/>
              <a:gd name="connsiteX12" fmla="*/ 569595 w 2750820"/>
              <a:gd name="connsiteY12" fmla="*/ 4762 h 338137"/>
              <a:gd name="connsiteX13" fmla="*/ 707708 w 2750820"/>
              <a:gd name="connsiteY13" fmla="*/ 9525 h 338137"/>
              <a:gd name="connsiteX14" fmla="*/ 760095 w 2750820"/>
              <a:gd name="connsiteY14" fmla="*/ 23812 h 338137"/>
              <a:gd name="connsiteX15" fmla="*/ 860108 w 2750820"/>
              <a:gd name="connsiteY15" fmla="*/ 23812 h 338137"/>
              <a:gd name="connsiteX16" fmla="*/ 1036320 w 2750820"/>
              <a:gd name="connsiteY16" fmla="*/ 42862 h 338137"/>
              <a:gd name="connsiteX17" fmla="*/ 1145858 w 2750820"/>
              <a:gd name="connsiteY17" fmla="*/ 33337 h 338137"/>
              <a:gd name="connsiteX18" fmla="*/ 1193483 w 2750820"/>
              <a:gd name="connsiteY18" fmla="*/ 47625 h 338137"/>
              <a:gd name="connsiteX19" fmla="*/ 1231583 w 2750820"/>
              <a:gd name="connsiteY19" fmla="*/ 57150 h 338137"/>
              <a:gd name="connsiteX20" fmla="*/ 1288733 w 2750820"/>
              <a:gd name="connsiteY20" fmla="*/ 95250 h 338137"/>
              <a:gd name="connsiteX21" fmla="*/ 1441133 w 2750820"/>
              <a:gd name="connsiteY21" fmla="*/ 152400 h 338137"/>
              <a:gd name="connsiteX22" fmla="*/ 2284095 w 2750820"/>
              <a:gd name="connsiteY22" fmla="*/ 309562 h 338137"/>
              <a:gd name="connsiteX23" fmla="*/ 2650808 w 2750820"/>
              <a:gd name="connsiteY23" fmla="*/ 319087 h 338137"/>
              <a:gd name="connsiteX24" fmla="*/ 2750820 w 2750820"/>
              <a:gd name="connsiteY24" fmla="*/ 338137 h 338137"/>
              <a:gd name="connsiteX0" fmla="*/ 0 w 2750820"/>
              <a:gd name="connsiteY0" fmla="*/ 48577 h 338137"/>
              <a:gd name="connsiteX1" fmla="*/ 93345 w 2750820"/>
              <a:gd name="connsiteY1" fmla="*/ 9525 h 338137"/>
              <a:gd name="connsiteX2" fmla="*/ 183833 w 2750820"/>
              <a:gd name="connsiteY2" fmla="*/ 0 h 338137"/>
              <a:gd name="connsiteX3" fmla="*/ 264795 w 2750820"/>
              <a:gd name="connsiteY3" fmla="*/ 19050 h 338137"/>
              <a:gd name="connsiteX4" fmla="*/ 326708 w 2750820"/>
              <a:gd name="connsiteY4" fmla="*/ 19050 h 338137"/>
              <a:gd name="connsiteX5" fmla="*/ 379095 w 2750820"/>
              <a:gd name="connsiteY5" fmla="*/ 23812 h 338137"/>
              <a:gd name="connsiteX6" fmla="*/ 379095 w 2750820"/>
              <a:gd name="connsiteY6" fmla="*/ 14287 h 338137"/>
              <a:gd name="connsiteX7" fmla="*/ 388620 w 2750820"/>
              <a:gd name="connsiteY7" fmla="*/ 23812 h 338137"/>
              <a:gd name="connsiteX8" fmla="*/ 402908 w 2750820"/>
              <a:gd name="connsiteY8" fmla="*/ 9525 h 338137"/>
              <a:gd name="connsiteX9" fmla="*/ 441008 w 2750820"/>
              <a:gd name="connsiteY9" fmla="*/ 23812 h 338137"/>
              <a:gd name="connsiteX10" fmla="*/ 474345 w 2750820"/>
              <a:gd name="connsiteY10" fmla="*/ 9525 h 338137"/>
              <a:gd name="connsiteX11" fmla="*/ 507683 w 2750820"/>
              <a:gd name="connsiteY11" fmla="*/ 23812 h 338137"/>
              <a:gd name="connsiteX12" fmla="*/ 569595 w 2750820"/>
              <a:gd name="connsiteY12" fmla="*/ 4762 h 338137"/>
              <a:gd name="connsiteX13" fmla="*/ 707708 w 2750820"/>
              <a:gd name="connsiteY13" fmla="*/ 9525 h 338137"/>
              <a:gd name="connsiteX14" fmla="*/ 760095 w 2750820"/>
              <a:gd name="connsiteY14" fmla="*/ 23812 h 338137"/>
              <a:gd name="connsiteX15" fmla="*/ 860108 w 2750820"/>
              <a:gd name="connsiteY15" fmla="*/ 23812 h 338137"/>
              <a:gd name="connsiteX16" fmla="*/ 1036320 w 2750820"/>
              <a:gd name="connsiteY16" fmla="*/ 42862 h 338137"/>
              <a:gd name="connsiteX17" fmla="*/ 1145858 w 2750820"/>
              <a:gd name="connsiteY17" fmla="*/ 33337 h 338137"/>
              <a:gd name="connsiteX18" fmla="*/ 1193483 w 2750820"/>
              <a:gd name="connsiteY18" fmla="*/ 47625 h 338137"/>
              <a:gd name="connsiteX19" fmla="*/ 1231583 w 2750820"/>
              <a:gd name="connsiteY19" fmla="*/ 57150 h 338137"/>
              <a:gd name="connsiteX20" fmla="*/ 1288733 w 2750820"/>
              <a:gd name="connsiteY20" fmla="*/ 95250 h 338137"/>
              <a:gd name="connsiteX21" fmla="*/ 1441133 w 2750820"/>
              <a:gd name="connsiteY21" fmla="*/ 152400 h 338137"/>
              <a:gd name="connsiteX22" fmla="*/ 2284095 w 2750820"/>
              <a:gd name="connsiteY22" fmla="*/ 309562 h 338137"/>
              <a:gd name="connsiteX23" fmla="*/ 2750820 w 2750820"/>
              <a:gd name="connsiteY23" fmla="*/ 338137 h 338137"/>
              <a:gd name="connsiteX0" fmla="*/ 0 w 2284095"/>
              <a:gd name="connsiteY0" fmla="*/ 48577 h 309562"/>
              <a:gd name="connsiteX1" fmla="*/ 93345 w 2284095"/>
              <a:gd name="connsiteY1" fmla="*/ 9525 h 309562"/>
              <a:gd name="connsiteX2" fmla="*/ 183833 w 2284095"/>
              <a:gd name="connsiteY2" fmla="*/ 0 h 309562"/>
              <a:gd name="connsiteX3" fmla="*/ 264795 w 2284095"/>
              <a:gd name="connsiteY3" fmla="*/ 19050 h 309562"/>
              <a:gd name="connsiteX4" fmla="*/ 326708 w 2284095"/>
              <a:gd name="connsiteY4" fmla="*/ 19050 h 309562"/>
              <a:gd name="connsiteX5" fmla="*/ 379095 w 2284095"/>
              <a:gd name="connsiteY5" fmla="*/ 23812 h 309562"/>
              <a:gd name="connsiteX6" fmla="*/ 379095 w 2284095"/>
              <a:gd name="connsiteY6" fmla="*/ 14287 h 309562"/>
              <a:gd name="connsiteX7" fmla="*/ 388620 w 2284095"/>
              <a:gd name="connsiteY7" fmla="*/ 23812 h 309562"/>
              <a:gd name="connsiteX8" fmla="*/ 402908 w 2284095"/>
              <a:gd name="connsiteY8" fmla="*/ 9525 h 309562"/>
              <a:gd name="connsiteX9" fmla="*/ 441008 w 2284095"/>
              <a:gd name="connsiteY9" fmla="*/ 23812 h 309562"/>
              <a:gd name="connsiteX10" fmla="*/ 474345 w 2284095"/>
              <a:gd name="connsiteY10" fmla="*/ 9525 h 309562"/>
              <a:gd name="connsiteX11" fmla="*/ 507683 w 2284095"/>
              <a:gd name="connsiteY11" fmla="*/ 23812 h 309562"/>
              <a:gd name="connsiteX12" fmla="*/ 569595 w 2284095"/>
              <a:gd name="connsiteY12" fmla="*/ 4762 h 309562"/>
              <a:gd name="connsiteX13" fmla="*/ 707708 w 2284095"/>
              <a:gd name="connsiteY13" fmla="*/ 9525 h 309562"/>
              <a:gd name="connsiteX14" fmla="*/ 760095 w 2284095"/>
              <a:gd name="connsiteY14" fmla="*/ 23812 h 309562"/>
              <a:gd name="connsiteX15" fmla="*/ 860108 w 2284095"/>
              <a:gd name="connsiteY15" fmla="*/ 23812 h 309562"/>
              <a:gd name="connsiteX16" fmla="*/ 1036320 w 2284095"/>
              <a:gd name="connsiteY16" fmla="*/ 42862 h 309562"/>
              <a:gd name="connsiteX17" fmla="*/ 1145858 w 2284095"/>
              <a:gd name="connsiteY17" fmla="*/ 33337 h 309562"/>
              <a:gd name="connsiteX18" fmla="*/ 1193483 w 2284095"/>
              <a:gd name="connsiteY18" fmla="*/ 47625 h 309562"/>
              <a:gd name="connsiteX19" fmla="*/ 1231583 w 2284095"/>
              <a:gd name="connsiteY19" fmla="*/ 57150 h 309562"/>
              <a:gd name="connsiteX20" fmla="*/ 1288733 w 2284095"/>
              <a:gd name="connsiteY20" fmla="*/ 95250 h 309562"/>
              <a:gd name="connsiteX21" fmla="*/ 1441133 w 2284095"/>
              <a:gd name="connsiteY21" fmla="*/ 152400 h 309562"/>
              <a:gd name="connsiteX22" fmla="*/ 2284095 w 2284095"/>
              <a:gd name="connsiteY22" fmla="*/ 309562 h 309562"/>
              <a:gd name="connsiteX0" fmla="*/ 0 w 1441133"/>
              <a:gd name="connsiteY0" fmla="*/ 48577 h 152400"/>
              <a:gd name="connsiteX1" fmla="*/ 93345 w 1441133"/>
              <a:gd name="connsiteY1" fmla="*/ 9525 h 152400"/>
              <a:gd name="connsiteX2" fmla="*/ 183833 w 1441133"/>
              <a:gd name="connsiteY2" fmla="*/ 0 h 152400"/>
              <a:gd name="connsiteX3" fmla="*/ 264795 w 1441133"/>
              <a:gd name="connsiteY3" fmla="*/ 19050 h 152400"/>
              <a:gd name="connsiteX4" fmla="*/ 326708 w 1441133"/>
              <a:gd name="connsiteY4" fmla="*/ 19050 h 152400"/>
              <a:gd name="connsiteX5" fmla="*/ 379095 w 1441133"/>
              <a:gd name="connsiteY5" fmla="*/ 23812 h 152400"/>
              <a:gd name="connsiteX6" fmla="*/ 379095 w 1441133"/>
              <a:gd name="connsiteY6" fmla="*/ 14287 h 152400"/>
              <a:gd name="connsiteX7" fmla="*/ 388620 w 1441133"/>
              <a:gd name="connsiteY7" fmla="*/ 23812 h 152400"/>
              <a:gd name="connsiteX8" fmla="*/ 402908 w 1441133"/>
              <a:gd name="connsiteY8" fmla="*/ 9525 h 152400"/>
              <a:gd name="connsiteX9" fmla="*/ 441008 w 1441133"/>
              <a:gd name="connsiteY9" fmla="*/ 23812 h 152400"/>
              <a:gd name="connsiteX10" fmla="*/ 474345 w 1441133"/>
              <a:gd name="connsiteY10" fmla="*/ 9525 h 152400"/>
              <a:gd name="connsiteX11" fmla="*/ 507683 w 1441133"/>
              <a:gd name="connsiteY11" fmla="*/ 23812 h 152400"/>
              <a:gd name="connsiteX12" fmla="*/ 569595 w 1441133"/>
              <a:gd name="connsiteY12" fmla="*/ 4762 h 152400"/>
              <a:gd name="connsiteX13" fmla="*/ 707708 w 1441133"/>
              <a:gd name="connsiteY13" fmla="*/ 9525 h 152400"/>
              <a:gd name="connsiteX14" fmla="*/ 760095 w 1441133"/>
              <a:gd name="connsiteY14" fmla="*/ 23812 h 152400"/>
              <a:gd name="connsiteX15" fmla="*/ 860108 w 1441133"/>
              <a:gd name="connsiteY15" fmla="*/ 23812 h 152400"/>
              <a:gd name="connsiteX16" fmla="*/ 1036320 w 1441133"/>
              <a:gd name="connsiteY16" fmla="*/ 42862 h 152400"/>
              <a:gd name="connsiteX17" fmla="*/ 1145858 w 1441133"/>
              <a:gd name="connsiteY17" fmla="*/ 33337 h 152400"/>
              <a:gd name="connsiteX18" fmla="*/ 1193483 w 1441133"/>
              <a:gd name="connsiteY18" fmla="*/ 47625 h 152400"/>
              <a:gd name="connsiteX19" fmla="*/ 1231583 w 1441133"/>
              <a:gd name="connsiteY19" fmla="*/ 57150 h 152400"/>
              <a:gd name="connsiteX20" fmla="*/ 1288733 w 1441133"/>
              <a:gd name="connsiteY20" fmla="*/ 95250 h 152400"/>
              <a:gd name="connsiteX21" fmla="*/ 1441133 w 1441133"/>
              <a:gd name="connsiteY21" fmla="*/ 152400 h 152400"/>
              <a:gd name="connsiteX0" fmla="*/ 0 w 1288733"/>
              <a:gd name="connsiteY0" fmla="*/ 48577 h 95250"/>
              <a:gd name="connsiteX1" fmla="*/ 93345 w 1288733"/>
              <a:gd name="connsiteY1" fmla="*/ 9525 h 95250"/>
              <a:gd name="connsiteX2" fmla="*/ 183833 w 1288733"/>
              <a:gd name="connsiteY2" fmla="*/ 0 h 95250"/>
              <a:gd name="connsiteX3" fmla="*/ 264795 w 1288733"/>
              <a:gd name="connsiteY3" fmla="*/ 19050 h 95250"/>
              <a:gd name="connsiteX4" fmla="*/ 326708 w 1288733"/>
              <a:gd name="connsiteY4" fmla="*/ 19050 h 95250"/>
              <a:gd name="connsiteX5" fmla="*/ 379095 w 1288733"/>
              <a:gd name="connsiteY5" fmla="*/ 23812 h 95250"/>
              <a:gd name="connsiteX6" fmla="*/ 379095 w 1288733"/>
              <a:gd name="connsiteY6" fmla="*/ 14287 h 95250"/>
              <a:gd name="connsiteX7" fmla="*/ 388620 w 1288733"/>
              <a:gd name="connsiteY7" fmla="*/ 23812 h 95250"/>
              <a:gd name="connsiteX8" fmla="*/ 402908 w 1288733"/>
              <a:gd name="connsiteY8" fmla="*/ 9525 h 95250"/>
              <a:gd name="connsiteX9" fmla="*/ 441008 w 1288733"/>
              <a:gd name="connsiteY9" fmla="*/ 23812 h 95250"/>
              <a:gd name="connsiteX10" fmla="*/ 474345 w 1288733"/>
              <a:gd name="connsiteY10" fmla="*/ 9525 h 95250"/>
              <a:gd name="connsiteX11" fmla="*/ 507683 w 1288733"/>
              <a:gd name="connsiteY11" fmla="*/ 23812 h 95250"/>
              <a:gd name="connsiteX12" fmla="*/ 569595 w 1288733"/>
              <a:gd name="connsiteY12" fmla="*/ 4762 h 95250"/>
              <a:gd name="connsiteX13" fmla="*/ 707708 w 1288733"/>
              <a:gd name="connsiteY13" fmla="*/ 9525 h 95250"/>
              <a:gd name="connsiteX14" fmla="*/ 760095 w 1288733"/>
              <a:gd name="connsiteY14" fmla="*/ 23812 h 95250"/>
              <a:gd name="connsiteX15" fmla="*/ 860108 w 1288733"/>
              <a:gd name="connsiteY15" fmla="*/ 23812 h 95250"/>
              <a:gd name="connsiteX16" fmla="*/ 1036320 w 1288733"/>
              <a:gd name="connsiteY16" fmla="*/ 42862 h 95250"/>
              <a:gd name="connsiteX17" fmla="*/ 1145858 w 1288733"/>
              <a:gd name="connsiteY17" fmla="*/ 33337 h 95250"/>
              <a:gd name="connsiteX18" fmla="*/ 1193483 w 1288733"/>
              <a:gd name="connsiteY18" fmla="*/ 47625 h 95250"/>
              <a:gd name="connsiteX19" fmla="*/ 1231583 w 1288733"/>
              <a:gd name="connsiteY19" fmla="*/ 57150 h 95250"/>
              <a:gd name="connsiteX20" fmla="*/ 1288733 w 1288733"/>
              <a:gd name="connsiteY20" fmla="*/ 95250 h 95250"/>
              <a:gd name="connsiteX0" fmla="*/ 0 w 1231583"/>
              <a:gd name="connsiteY0" fmla="*/ 48577 h 57150"/>
              <a:gd name="connsiteX1" fmla="*/ 93345 w 1231583"/>
              <a:gd name="connsiteY1" fmla="*/ 9525 h 57150"/>
              <a:gd name="connsiteX2" fmla="*/ 183833 w 1231583"/>
              <a:gd name="connsiteY2" fmla="*/ 0 h 57150"/>
              <a:gd name="connsiteX3" fmla="*/ 264795 w 1231583"/>
              <a:gd name="connsiteY3" fmla="*/ 19050 h 57150"/>
              <a:gd name="connsiteX4" fmla="*/ 326708 w 1231583"/>
              <a:gd name="connsiteY4" fmla="*/ 19050 h 57150"/>
              <a:gd name="connsiteX5" fmla="*/ 379095 w 1231583"/>
              <a:gd name="connsiteY5" fmla="*/ 23812 h 57150"/>
              <a:gd name="connsiteX6" fmla="*/ 379095 w 1231583"/>
              <a:gd name="connsiteY6" fmla="*/ 14287 h 57150"/>
              <a:gd name="connsiteX7" fmla="*/ 388620 w 1231583"/>
              <a:gd name="connsiteY7" fmla="*/ 23812 h 57150"/>
              <a:gd name="connsiteX8" fmla="*/ 402908 w 1231583"/>
              <a:gd name="connsiteY8" fmla="*/ 9525 h 57150"/>
              <a:gd name="connsiteX9" fmla="*/ 441008 w 1231583"/>
              <a:gd name="connsiteY9" fmla="*/ 23812 h 57150"/>
              <a:gd name="connsiteX10" fmla="*/ 474345 w 1231583"/>
              <a:gd name="connsiteY10" fmla="*/ 9525 h 57150"/>
              <a:gd name="connsiteX11" fmla="*/ 507683 w 1231583"/>
              <a:gd name="connsiteY11" fmla="*/ 23812 h 57150"/>
              <a:gd name="connsiteX12" fmla="*/ 569595 w 1231583"/>
              <a:gd name="connsiteY12" fmla="*/ 4762 h 57150"/>
              <a:gd name="connsiteX13" fmla="*/ 707708 w 1231583"/>
              <a:gd name="connsiteY13" fmla="*/ 9525 h 57150"/>
              <a:gd name="connsiteX14" fmla="*/ 760095 w 1231583"/>
              <a:gd name="connsiteY14" fmla="*/ 23812 h 57150"/>
              <a:gd name="connsiteX15" fmla="*/ 860108 w 1231583"/>
              <a:gd name="connsiteY15" fmla="*/ 23812 h 57150"/>
              <a:gd name="connsiteX16" fmla="*/ 1036320 w 1231583"/>
              <a:gd name="connsiteY16" fmla="*/ 42862 h 57150"/>
              <a:gd name="connsiteX17" fmla="*/ 1145858 w 1231583"/>
              <a:gd name="connsiteY17" fmla="*/ 33337 h 57150"/>
              <a:gd name="connsiteX18" fmla="*/ 1193483 w 1231583"/>
              <a:gd name="connsiteY18" fmla="*/ 47625 h 57150"/>
              <a:gd name="connsiteX19" fmla="*/ 1231583 w 1231583"/>
              <a:gd name="connsiteY19" fmla="*/ 57150 h 57150"/>
              <a:gd name="connsiteX0" fmla="*/ 0 w 1193483"/>
              <a:gd name="connsiteY0" fmla="*/ 48577 h 48577"/>
              <a:gd name="connsiteX1" fmla="*/ 93345 w 1193483"/>
              <a:gd name="connsiteY1" fmla="*/ 9525 h 48577"/>
              <a:gd name="connsiteX2" fmla="*/ 183833 w 1193483"/>
              <a:gd name="connsiteY2" fmla="*/ 0 h 48577"/>
              <a:gd name="connsiteX3" fmla="*/ 264795 w 1193483"/>
              <a:gd name="connsiteY3" fmla="*/ 19050 h 48577"/>
              <a:gd name="connsiteX4" fmla="*/ 326708 w 1193483"/>
              <a:gd name="connsiteY4" fmla="*/ 19050 h 48577"/>
              <a:gd name="connsiteX5" fmla="*/ 379095 w 1193483"/>
              <a:gd name="connsiteY5" fmla="*/ 23812 h 48577"/>
              <a:gd name="connsiteX6" fmla="*/ 379095 w 1193483"/>
              <a:gd name="connsiteY6" fmla="*/ 14287 h 48577"/>
              <a:gd name="connsiteX7" fmla="*/ 388620 w 1193483"/>
              <a:gd name="connsiteY7" fmla="*/ 23812 h 48577"/>
              <a:gd name="connsiteX8" fmla="*/ 402908 w 1193483"/>
              <a:gd name="connsiteY8" fmla="*/ 9525 h 48577"/>
              <a:gd name="connsiteX9" fmla="*/ 441008 w 1193483"/>
              <a:gd name="connsiteY9" fmla="*/ 23812 h 48577"/>
              <a:gd name="connsiteX10" fmla="*/ 474345 w 1193483"/>
              <a:gd name="connsiteY10" fmla="*/ 9525 h 48577"/>
              <a:gd name="connsiteX11" fmla="*/ 507683 w 1193483"/>
              <a:gd name="connsiteY11" fmla="*/ 23812 h 48577"/>
              <a:gd name="connsiteX12" fmla="*/ 569595 w 1193483"/>
              <a:gd name="connsiteY12" fmla="*/ 4762 h 48577"/>
              <a:gd name="connsiteX13" fmla="*/ 707708 w 1193483"/>
              <a:gd name="connsiteY13" fmla="*/ 9525 h 48577"/>
              <a:gd name="connsiteX14" fmla="*/ 760095 w 1193483"/>
              <a:gd name="connsiteY14" fmla="*/ 23812 h 48577"/>
              <a:gd name="connsiteX15" fmla="*/ 860108 w 1193483"/>
              <a:gd name="connsiteY15" fmla="*/ 23812 h 48577"/>
              <a:gd name="connsiteX16" fmla="*/ 1036320 w 1193483"/>
              <a:gd name="connsiteY16" fmla="*/ 42862 h 48577"/>
              <a:gd name="connsiteX17" fmla="*/ 1145858 w 1193483"/>
              <a:gd name="connsiteY17" fmla="*/ 33337 h 48577"/>
              <a:gd name="connsiteX18" fmla="*/ 1193483 w 1193483"/>
              <a:gd name="connsiteY18" fmla="*/ 47625 h 48577"/>
              <a:gd name="connsiteX0" fmla="*/ 0 w 1145858"/>
              <a:gd name="connsiteY0" fmla="*/ 48577 h 48577"/>
              <a:gd name="connsiteX1" fmla="*/ 93345 w 1145858"/>
              <a:gd name="connsiteY1" fmla="*/ 9525 h 48577"/>
              <a:gd name="connsiteX2" fmla="*/ 183833 w 1145858"/>
              <a:gd name="connsiteY2" fmla="*/ 0 h 48577"/>
              <a:gd name="connsiteX3" fmla="*/ 264795 w 1145858"/>
              <a:gd name="connsiteY3" fmla="*/ 19050 h 48577"/>
              <a:gd name="connsiteX4" fmla="*/ 326708 w 1145858"/>
              <a:gd name="connsiteY4" fmla="*/ 19050 h 48577"/>
              <a:gd name="connsiteX5" fmla="*/ 379095 w 1145858"/>
              <a:gd name="connsiteY5" fmla="*/ 23812 h 48577"/>
              <a:gd name="connsiteX6" fmla="*/ 379095 w 1145858"/>
              <a:gd name="connsiteY6" fmla="*/ 14287 h 48577"/>
              <a:gd name="connsiteX7" fmla="*/ 388620 w 1145858"/>
              <a:gd name="connsiteY7" fmla="*/ 23812 h 48577"/>
              <a:gd name="connsiteX8" fmla="*/ 402908 w 1145858"/>
              <a:gd name="connsiteY8" fmla="*/ 9525 h 48577"/>
              <a:gd name="connsiteX9" fmla="*/ 441008 w 1145858"/>
              <a:gd name="connsiteY9" fmla="*/ 23812 h 48577"/>
              <a:gd name="connsiteX10" fmla="*/ 474345 w 1145858"/>
              <a:gd name="connsiteY10" fmla="*/ 9525 h 48577"/>
              <a:gd name="connsiteX11" fmla="*/ 507683 w 1145858"/>
              <a:gd name="connsiteY11" fmla="*/ 23812 h 48577"/>
              <a:gd name="connsiteX12" fmla="*/ 569595 w 1145858"/>
              <a:gd name="connsiteY12" fmla="*/ 4762 h 48577"/>
              <a:gd name="connsiteX13" fmla="*/ 707708 w 1145858"/>
              <a:gd name="connsiteY13" fmla="*/ 9525 h 48577"/>
              <a:gd name="connsiteX14" fmla="*/ 760095 w 1145858"/>
              <a:gd name="connsiteY14" fmla="*/ 23812 h 48577"/>
              <a:gd name="connsiteX15" fmla="*/ 860108 w 1145858"/>
              <a:gd name="connsiteY15" fmla="*/ 23812 h 48577"/>
              <a:gd name="connsiteX16" fmla="*/ 1036320 w 1145858"/>
              <a:gd name="connsiteY16" fmla="*/ 42862 h 48577"/>
              <a:gd name="connsiteX17" fmla="*/ 1145858 w 1145858"/>
              <a:gd name="connsiteY17" fmla="*/ 33337 h 48577"/>
              <a:gd name="connsiteX0" fmla="*/ 0 w 1036320"/>
              <a:gd name="connsiteY0" fmla="*/ 48577 h 48577"/>
              <a:gd name="connsiteX1" fmla="*/ 93345 w 1036320"/>
              <a:gd name="connsiteY1" fmla="*/ 9525 h 48577"/>
              <a:gd name="connsiteX2" fmla="*/ 183833 w 1036320"/>
              <a:gd name="connsiteY2" fmla="*/ 0 h 48577"/>
              <a:gd name="connsiteX3" fmla="*/ 264795 w 1036320"/>
              <a:gd name="connsiteY3" fmla="*/ 19050 h 48577"/>
              <a:gd name="connsiteX4" fmla="*/ 326708 w 1036320"/>
              <a:gd name="connsiteY4" fmla="*/ 19050 h 48577"/>
              <a:gd name="connsiteX5" fmla="*/ 379095 w 1036320"/>
              <a:gd name="connsiteY5" fmla="*/ 23812 h 48577"/>
              <a:gd name="connsiteX6" fmla="*/ 379095 w 1036320"/>
              <a:gd name="connsiteY6" fmla="*/ 14287 h 48577"/>
              <a:gd name="connsiteX7" fmla="*/ 388620 w 1036320"/>
              <a:gd name="connsiteY7" fmla="*/ 23812 h 48577"/>
              <a:gd name="connsiteX8" fmla="*/ 402908 w 1036320"/>
              <a:gd name="connsiteY8" fmla="*/ 9525 h 48577"/>
              <a:gd name="connsiteX9" fmla="*/ 441008 w 1036320"/>
              <a:gd name="connsiteY9" fmla="*/ 23812 h 48577"/>
              <a:gd name="connsiteX10" fmla="*/ 474345 w 1036320"/>
              <a:gd name="connsiteY10" fmla="*/ 9525 h 48577"/>
              <a:gd name="connsiteX11" fmla="*/ 507683 w 1036320"/>
              <a:gd name="connsiteY11" fmla="*/ 23812 h 48577"/>
              <a:gd name="connsiteX12" fmla="*/ 569595 w 1036320"/>
              <a:gd name="connsiteY12" fmla="*/ 4762 h 48577"/>
              <a:gd name="connsiteX13" fmla="*/ 707708 w 1036320"/>
              <a:gd name="connsiteY13" fmla="*/ 9525 h 48577"/>
              <a:gd name="connsiteX14" fmla="*/ 760095 w 1036320"/>
              <a:gd name="connsiteY14" fmla="*/ 23812 h 48577"/>
              <a:gd name="connsiteX15" fmla="*/ 860108 w 1036320"/>
              <a:gd name="connsiteY15" fmla="*/ 23812 h 48577"/>
              <a:gd name="connsiteX16" fmla="*/ 1036320 w 1036320"/>
              <a:gd name="connsiteY16" fmla="*/ 42862 h 48577"/>
              <a:gd name="connsiteX0" fmla="*/ 0 w 1057389"/>
              <a:gd name="connsiteY0" fmla="*/ 48577 h 63932"/>
              <a:gd name="connsiteX1" fmla="*/ 93345 w 1057389"/>
              <a:gd name="connsiteY1" fmla="*/ 9525 h 63932"/>
              <a:gd name="connsiteX2" fmla="*/ 183833 w 1057389"/>
              <a:gd name="connsiteY2" fmla="*/ 0 h 63932"/>
              <a:gd name="connsiteX3" fmla="*/ 264795 w 1057389"/>
              <a:gd name="connsiteY3" fmla="*/ 19050 h 63932"/>
              <a:gd name="connsiteX4" fmla="*/ 326708 w 1057389"/>
              <a:gd name="connsiteY4" fmla="*/ 19050 h 63932"/>
              <a:gd name="connsiteX5" fmla="*/ 379095 w 1057389"/>
              <a:gd name="connsiteY5" fmla="*/ 23812 h 63932"/>
              <a:gd name="connsiteX6" fmla="*/ 379095 w 1057389"/>
              <a:gd name="connsiteY6" fmla="*/ 14287 h 63932"/>
              <a:gd name="connsiteX7" fmla="*/ 388620 w 1057389"/>
              <a:gd name="connsiteY7" fmla="*/ 23812 h 63932"/>
              <a:gd name="connsiteX8" fmla="*/ 402908 w 1057389"/>
              <a:gd name="connsiteY8" fmla="*/ 9525 h 63932"/>
              <a:gd name="connsiteX9" fmla="*/ 441008 w 1057389"/>
              <a:gd name="connsiteY9" fmla="*/ 23812 h 63932"/>
              <a:gd name="connsiteX10" fmla="*/ 474345 w 1057389"/>
              <a:gd name="connsiteY10" fmla="*/ 9525 h 63932"/>
              <a:gd name="connsiteX11" fmla="*/ 507683 w 1057389"/>
              <a:gd name="connsiteY11" fmla="*/ 23812 h 63932"/>
              <a:gd name="connsiteX12" fmla="*/ 569595 w 1057389"/>
              <a:gd name="connsiteY12" fmla="*/ 4762 h 63932"/>
              <a:gd name="connsiteX13" fmla="*/ 707708 w 1057389"/>
              <a:gd name="connsiteY13" fmla="*/ 9525 h 63932"/>
              <a:gd name="connsiteX14" fmla="*/ 760095 w 1057389"/>
              <a:gd name="connsiteY14" fmla="*/ 23812 h 63932"/>
              <a:gd name="connsiteX15" fmla="*/ 860108 w 1057389"/>
              <a:gd name="connsiteY15" fmla="*/ 23812 h 63932"/>
              <a:gd name="connsiteX16" fmla="*/ 1057389 w 1057389"/>
              <a:gd name="connsiteY16" fmla="*/ 63932 h 63932"/>
              <a:gd name="connsiteX0" fmla="*/ 0 w 1065817"/>
              <a:gd name="connsiteY0" fmla="*/ 48577 h 68146"/>
              <a:gd name="connsiteX1" fmla="*/ 93345 w 1065817"/>
              <a:gd name="connsiteY1" fmla="*/ 9525 h 68146"/>
              <a:gd name="connsiteX2" fmla="*/ 183833 w 1065817"/>
              <a:gd name="connsiteY2" fmla="*/ 0 h 68146"/>
              <a:gd name="connsiteX3" fmla="*/ 264795 w 1065817"/>
              <a:gd name="connsiteY3" fmla="*/ 19050 h 68146"/>
              <a:gd name="connsiteX4" fmla="*/ 326708 w 1065817"/>
              <a:gd name="connsiteY4" fmla="*/ 19050 h 68146"/>
              <a:gd name="connsiteX5" fmla="*/ 379095 w 1065817"/>
              <a:gd name="connsiteY5" fmla="*/ 23812 h 68146"/>
              <a:gd name="connsiteX6" fmla="*/ 379095 w 1065817"/>
              <a:gd name="connsiteY6" fmla="*/ 14287 h 68146"/>
              <a:gd name="connsiteX7" fmla="*/ 388620 w 1065817"/>
              <a:gd name="connsiteY7" fmla="*/ 23812 h 68146"/>
              <a:gd name="connsiteX8" fmla="*/ 402908 w 1065817"/>
              <a:gd name="connsiteY8" fmla="*/ 9525 h 68146"/>
              <a:gd name="connsiteX9" fmla="*/ 441008 w 1065817"/>
              <a:gd name="connsiteY9" fmla="*/ 23812 h 68146"/>
              <a:gd name="connsiteX10" fmla="*/ 474345 w 1065817"/>
              <a:gd name="connsiteY10" fmla="*/ 9525 h 68146"/>
              <a:gd name="connsiteX11" fmla="*/ 507683 w 1065817"/>
              <a:gd name="connsiteY11" fmla="*/ 23812 h 68146"/>
              <a:gd name="connsiteX12" fmla="*/ 569595 w 1065817"/>
              <a:gd name="connsiteY12" fmla="*/ 4762 h 68146"/>
              <a:gd name="connsiteX13" fmla="*/ 707708 w 1065817"/>
              <a:gd name="connsiteY13" fmla="*/ 9525 h 68146"/>
              <a:gd name="connsiteX14" fmla="*/ 760095 w 1065817"/>
              <a:gd name="connsiteY14" fmla="*/ 23812 h 68146"/>
              <a:gd name="connsiteX15" fmla="*/ 860108 w 1065817"/>
              <a:gd name="connsiteY15" fmla="*/ 23812 h 68146"/>
              <a:gd name="connsiteX16" fmla="*/ 1065817 w 1065817"/>
              <a:gd name="connsiteY16" fmla="*/ 68146 h 68146"/>
              <a:gd name="connsiteX0" fmla="*/ 0 w 1107955"/>
              <a:gd name="connsiteY0" fmla="*/ 48577 h 76574"/>
              <a:gd name="connsiteX1" fmla="*/ 93345 w 1107955"/>
              <a:gd name="connsiteY1" fmla="*/ 9525 h 76574"/>
              <a:gd name="connsiteX2" fmla="*/ 183833 w 1107955"/>
              <a:gd name="connsiteY2" fmla="*/ 0 h 76574"/>
              <a:gd name="connsiteX3" fmla="*/ 264795 w 1107955"/>
              <a:gd name="connsiteY3" fmla="*/ 19050 h 76574"/>
              <a:gd name="connsiteX4" fmla="*/ 326708 w 1107955"/>
              <a:gd name="connsiteY4" fmla="*/ 19050 h 76574"/>
              <a:gd name="connsiteX5" fmla="*/ 379095 w 1107955"/>
              <a:gd name="connsiteY5" fmla="*/ 23812 h 76574"/>
              <a:gd name="connsiteX6" fmla="*/ 379095 w 1107955"/>
              <a:gd name="connsiteY6" fmla="*/ 14287 h 76574"/>
              <a:gd name="connsiteX7" fmla="*/ 388620 w 1107955"/>
              <a:gd name="connsiteY7" fmla="*/ 23812 h 76574"/>
              <a:gd name="connsiteX8" fmla="*/ 402908 w 1107955"/>
              <a:gd name="connsiteY8" fmla="*/ 9525 h 76574"/>
              <a:gd name="connsiteX9" fmla="*/ 441008 w 1107955"/>
              <a:gd name="connsiteY9" fmla="*/ 23812 h 76574"/>
              <a:gd name="connsiteX10" fmla="*/ 474345 w 1107955"/>
              <a:gd name="connsiteY10" fmla="*/ 9525 h 76574"/>
              <a:gd name="connsiteX11" fmla="*/ 507683 w 1107955"/>
              <a:gd name="connsiteY11" fmla="*/ 23812 h 76574"/>
              <a:gd name="connsiteX12" fmla="*/ 569595 w 1107955"/>
              <a:gd name="connsiteY12" fmla="*/ 4762 h 76574"/>
              <a:gd name="connsiteX13" fmla="*/ 707708 w 1107955"/>
              <a:gd name="connsiteY13" fmla="*/ 9525 h 76574"/>
              <a:gd name="connsiteX14" fmla="*/ 760095 w 1107955"/>
              <a:gd name="connsiteY14" fmla="*/ 23812 h 76574"/>
              <a:gd name="connsiteX15" fmla="*/ 860108 w 1107955"/>
              <a:gd name="connsiteY15" fmla="*/ 23812 h 76574"/>
              <a:gd name="connsiteX16" fmla="*/ 1107955 w 1107955"/>
              <a:gd name="connsiteY16" fmla="*/ 76574 h 76574"/>
              <a:gd name="connsiteX0" fmla="*/ 0 w 1087635"/>
              <a:gd name="connsiteY0" fmla="*/ 48577 h 56254"/>
              <a:gd name="connsiteX1" fmla="*/ 93345 w 1087635"/>
              <a:gd name="connsiteY1" fmla="*/ 9525 h 56254"/>
              <a:gd name="connsiteX2" fmla="*/ 183833 w 1087635"/>
              <a:gd name="connsiteY2" fmla="*/ 0 h 56254"/>
              <a:gd name="connsiteX3" fmla="*/ 264795 w 1087635"/>
              <a:gd name="connsiteY3" fmla="*/ 19050 h 56254"/>
              <a:gd name="connsiteX4" fmla="*/ 326708 w 1087635"/>
              <a:gd name="connsiteY4" fmla="*/ 19050 h 56254"/>
              <a:gd name="connsiteX5" fmla="*/ 379095 w 1087635"/>
              <a:gd name="connsiteY5" fmla="*/ 23812 h 56254"/>
              <a:gd name="connsiteX6" fmla="*/ 379095 w 1087635"/>
              <a:gd name="connsiteY6" fmla="*/ 14287 h 56254"/>
              <a:gd name="connsiteX7" fmla="*/ 388620 w 1087635"/>
              <a:gd name="connsiteY7" fmla="*/ 23812 h 56254"/>
              <a:gd name="connsiteX8" fmla="*/ 402908 w 1087635"/>
              <a:gd name="connsiteY8" fmla="*/ 9525 h 56254"/>
              <a:gd name="connsiteX9" fmla="*/ 441008 w 1087635"/>
              <a:gd name="connsiteY9" fmla="*/ 23812 h 56254"/>
              <a:gd name="connsiteX10" fmla="*/ 474345 w 1087635"/>
              <a:gd name="connsiteY10" fmla="*/ 9525 h 56254"/>
              <a:gd name="connsiteX11" fmla="*/ 507683 w 1087635"/>
              <a:gd name="connsiteY11" fmla="*/ 23812 h 56254"/>
              <a:gd name="connsiteX12" fmla="*/ 569595 w 1087635"/>
              <a:gd name="connsiteY12" fmla="*/ 4762 h 56254"/>
              <a:gd name="connsiteX13" fmla="*/ 707708 w 1087635"/>
              <a:gd name="connsiteY13" fmla="*/ 9525 h 56254"/>
              <a:gd name="connsiteX14" fmla="*/ 760095 w 1087635"/>
              <a:gd name="connsiteY14" fmla="*/ 23812 h 56254"/>
              <a:gd name="connsiteX15" fmla="*/ 860108 w 1087635"/>
              <a:gd name="connsiteY15" fmla="*/ 23812 h 56254"/>
              <a:gd name="connsiteX16" fmla="*/ 1087635 w 1087635"/>
              <a:gd name="connsiteY16" fmla="*/ 56254 h 56254"/>
              <a:gd name="connsiteX0" fmla="*/ 0 w 1103661"/>
              <a:gd name="connsiteY0" fmla="*/ 48577 h 56849"/>
              <a:gd name="connsiteX1" fmla="*/ 93345 w 1103661"/>
              <a:gd name="connsiteY1" fmla="*/ 9525 h 56849"/>
              <a:gd name="connsiteX2" fmla="*/ 183833 w 1103661"/>
              <a:gd name="connsiteY2" fmla="*/ 0 h 56849"/>
              <a:gd name="connsiteX3" fmla="*/ 264795 w 1103661"/>
              <a:gd name="connsiteY3" fmla="*/ 19050 h 56849"/>
              <a:gd name="connsiteX4" fmla="*/ 326708 w 1103661"/>
              <a:gd name="connsiteY4" fmla="*/ 19050 h 56849"/>
              <a:gd name="connsiteX5" fmla="*/ 379095 w 1103661"/>
              <a:gd name="connsiteY5" fmla="*/ 23812 h 56849"/>
              <a:gd name="connsiteX6" fmla="*/ 379095 w 1103661"/>
              <a:gd name="connsiteY6" fmla="*/ 14287 h 56849"/>
              <a:gd name="connsiteX7" fmla="*/ 388620 w 1103661"/>
              <a:gd name="connsiteY7" fmla="*/ 23812 h 56849"/>
              <a:gd name="connsiteX8" fmla="*/ 402908 w 1103661"/>
              <a:gd name="connsiteY8" fmla="*/ 9525 h 56849"/>
              <a:gd name="connsiteX9" fmla="*/ 441008 w 1103661"/>
              <a:gd name="connsiteY9" fmla="*/ 23812 h 56849"/>
              <a:gd name="connsiteX10" fmla="*/ 474345 w 1103661"/>
              <a:gd name="connsiteY10" fmla="*/ 9525 h 56849"/>
              <a:gd name="connsiteX11" fmla="*/ 507683 w 1103661"/>
              <a:gd name="connsiteY11" fmla="*/ 23812 h 56849"/>
              <a:gd name="connsiteX12" fmla="*/ 569595 w 1103661"/>
              <a:gd name="connsiteY12" fmla="*/ 4762 h 56849"/>
              <a:gd name="connsiteX13" fmla="*/ 707708 w 1103661"/>
              <a:gd name="connsiteY13" fmla="*/ 9525 h 56849"/>
              <a:gd name="connsiteX14" fmla="*/ 760095 w 1103661"/>
              <a:gd name="connsiteY14" fmla="*/ 23812 h 56849"/>
              <a:gd name="connsiteX15" fmla="*/ 860108 w 1103661"/>
              <a:gd name="connsiteY15" fmla="*/ 23812 h 56849"/>
              <a:gd name="connsiteX16" fmla="*/ 1087635 w 1103661"/>
              <a:gd name="connsiteY16" fmla="*/ 56254 h 56849"/>
              <a:gd name="connsiteX17" fmla="*/ 1084671 w 1103661"/>
              <a:gd name="connsiteY17" fmla="*/ 44603 h 56849"/>
              <a:gd name="connsiteX0" fmla="*/ 0 w 1096797"/>
              <a:gd name="connsiteY0" fmla="*/ 48577 h 56849"/>
              <a:gd name="connsiteX1" fmla="*/ 93345 w 1096797"/>
              <a:gd name="connsiteY1" fmla="*/ 9525 h 56849"/>
              <a:gd name="connsiteX2" fmla="*/ 183833 w 1096797"/>
              <a:gd name="connsiteY2" fmla="*/ 0 h 56849"/>
              <a:gd name="connsiteX3" fmla="*/ 264795 w 1096797"/>
              <a:gd name="connsiteY3" fmla="*/ 19050 h 56849"/>
              <a:gd name="connsiteX4" fmla="*/ 326708 w 1096797"/>
              <a:gd name="connsiteY4" fmla="*/ 19050 h 56849"/>
              <a:gd name="connsiteX5" fmla="*/ 379095 w 1096797"/>
              <a:gd name="connsiteY5" fmla="*/ 23812 h 56849"/>
              <a:gd name="connsiteX6" fmla="*/ 379095 w 1096797"/>
              <a:gd name="connsiteY6" fmla="*/ 14287 h 56849"/>
              <a:gd name="connsiteX7" fmla="*/ 388620 w 1096797"/>
              <a:gd name="connsiteY7" fmla="*/ 23812 h 56849"/>
              <a:gd name="connsiteX8" fmla="*/ 402908 w 1096797"/>
              <a:gd name="connsiteY8" fmla="*/ 9525 h 56849"/>
              <a:gd name="connsiteX9" fmla="*/ 441008 w 1096797"/>
              <a:gd name="connsiteY9" fmla="*/ 23812 h 56849"/>
              <a:gd name="connsiteX10" fmla="*/ 474345 w 1096797"/>
              <a:gd name="connsiteY10" fmla="*/ 9525 h 56849"/>
              <a:gd name="connsiteX11" fmla="*/ 507683 w 1096797"/>
              <a:gd name="connsiteY11" fmla="*/ 23812 h 56849"/>
              <a:gd name="connsiteX12" fmla="*/ 569595 w 1096797"/>
              <a:gd name="connsiteY12" fmla="*/ 4762 h 56849"/>
              <a:gd name="connsiteX13" fmla="*/ 707708 w 1096797"/>
              <a:gd name="connsiteY13" fmla="*/ 9525 h 56849"/>
              <a:gd name="connsiteX14" fmla="*/ 760095 w 1096797"/>
              <a:gd name="connsiteY14" fmla="*/ 23812 h 56849"/>
              <a:gd name="connsiteX15" fmla="*/ 860108 w 1096797"/>
              <a:gd name="connsiteY15" fmla="*/ 23812 h 56849"/>
              <a:gd name="connsiteX16" fmla="*/ 1087635 w 1096797"/>
              <a:gd name="connsiteY16" fmla="*/ 56254 h 56849"/>
              <a:gd name="connsiteX17" fmla="*/ 1035155 w 1096797"/>
              <a:gd name="connsiteY17" fmla="*/ 44603 h 56849"/>
              <a:gd name="connsiteX0" fmla="*/ 0 w 1127765"/>
              <a:gd name="connsiteY0" fmla="*/ 48577 h 48577"/>
              <a:gd name="connsiteX1" fmla="*/ 93345 w 1127765"/>
              <a:gd name="connsiteY1" fmla="*/ 9525 h 48577"/>
              <a:gd name="connsiteX2" fmla="*/ 183833 w 1127765"/>
              <a:gd name="connsiteY2" fmla="*/ 0 h 48577"/>
              <a:gd name="connsiteX3" fmla="*/ 264795 w 1127765"/>
              <a:gd name="connsiteY3" fmla="*/ 19050 h 48577"/>
              <a:gd name="connsiteX4" fmla="*/ 326708 w 1127765"/>
              <a:gd name="connsiteY4" fmla="*/ 19050 h 48577"/>
              <a:gd name="connsiteX5" fmla="*/ 379095 w 1127765"/>
              <a:gd name="connsiteY5" fmla="*/ 23812 h 48577"/>
              <a:gd name="connsiteX6" fmla="*/ 379095 w 1127765"/>
              <a:gd name="connsiteY6" fmla="*/ 14287 h 48577"/>
              <a:gd name="connsiteX7" fmla="*/ 388620 w 1127765"/>
              <a:gd name="connsiteY7" fmla="*/ 23812 h 48577"/>
              <a:gd name="connsiteX8" fmla="*/ 402908 w 1127765"/>
              <a:gd name="connsiteY8" fmla="*/ 9525 h 48577"/>
              <a:gd name="connsiteX9" fmla="*/ 441008 w 1127765"/>
              <a:gd name="connsiteY9" fmla="*/ 23812 h 48577"/>
              <a:gd name="connsiteX10" fmla="*/ 474345 w 1127765"/>
              <a:gd name="connsiteY10" fmla="*/ 9525 h 48577"/>
              <a:gd name="connsiteX11" fmla="*/ 507683 w 1127765"/>
              <a:gd name="connsiteY11" fmla="*/ 23812 h 48577"/>
              <a:gd name="connsiteX12" fmla="*/ 569595 w 1127765"/>
              <a:gd name="connsiteY12" fmla="*/ 4762 h 48577"/>
              <a:gd name="connsiteX13" fmla="*/ 707708 w 1127765"/>
              <a:gd name="connsiteY13" fmla="*/ 9525 h 48577"/>
              <a:gd name="connsiteX14" fmla="*/ 760095 w 1127765"/>
              <a:gd name="connsiteY14" fmla="*/ 23812 h 48577"/>
              <a:gd name="connsiteX15" fmla="*/ 860108 w 1127765"/>
              <a:gd name="connsiteY15" fmla="*/ 23812 h 48577"/>
              <a:gd name="connsiteX16" fmla="*/ 1120646 w 1127765"/>
              <a:gd name="connsiteY16" fmla="*/ 43050 h 48577"/>
              <a:gd name="connsiteX17" fmla="*/ 1035155 w 1127765"/>
              <a:gd name="connsiteY17" fmla="*/ 44603 h 48577"/>
              <a:gd name="connsiteX0" fmla="*/ 0 w 1061969"/>
              <a:gd name="connsiteY0" fmla="*/ 61646 h 61646"/>
              <a:gd name="connsiteX1" fmla="*/ 93345 w 1061969"/>
              <a:gd name="connsiteY1" fmla="*/ 22594 h 61646"/>
              <a:gd name="connsiteX2" fmla="*/ 183833 w 1061969"/>
              <a:gd name="connsiteY2" fmla="*/ 13069 h 61646"/>
              <a:gd name="connsiteX3" fmla="*/ 264795 w 1061969"/>
              <a:gd name="connsiteY3" fmla="*/ 32119 h 61646"/>
              <a:gd name="connsiteX4" fmla="*/ 326708 w 1061969"/>
              <a:gd name="connsiteY4" fmla="*/ 32119 h 61646"/>
              <a:gd name="connsiteX5" fmla="*/ 379095 w 1061969"/>
              <a:gd name="connsiteY5" fmla="*/ 36881 h 61646"/>
              <a:gd name="connsiteX6" fmla="*/ 379095 w 1061969"/>
              <a:gd name="connsiteY6" fmla="*/ 27356 h 61646"/>
              <a:gd name="connsiteX7" fmla="*/ 388620 w 1061969"/>
              <a:gd name="connsiteY7" fmla="*/ 36881 h 61646"/>
              <a:gd name="connsiteX8" fmla="*/ 402908 w 1061969"/>
              <a:gd name="connsiteY8" fmla="*/ 22594 h 61646"/>
              <a:gd name="connsiteX9" fmla="*/ 441008 w 1061969"/>
              <a:gd name="connsiteY9" fmla="*/ 36881 h 61646"/>
              <a:gd name="connsiteX10" fmla="*/ 474345 w 1061969"/>
              <a:gd name="connsiteY10" fmla="*/ 22594 h 61646"/>
              <a:gd name="connsiteX11" fmla="*/ 507683 w 1061969"/>
              <a:gd name="connsiteY11" fmla="*/ 36881 h 61646"/>
              <a:gd name="connsiteX12" fmla="*/ 569595 w 1061969"/>
              <a:gd name="connsiteY12" fmla="*/ 17831 h 61646"/>
              <a:gd name="connsiteX13" fmla="*/ 707708 w 1061969"/>
              <a:gd name="connsiteY13" fmla="*/ 22594 h 61646"/>
              <a:gd name="connsiteX14" fmla="*/ 760095 w 1061969"/>
              <a:gd name="connsiteY14" fmla="*/ 36881 h 61646"/>
              <a:gd name="connsiteX15" fmla="*/ 860108 w 1061969"/>
              <a:gd name="connsiteY15" fmla="*/ 36881 h 61646"/>
              <a:gd name="connsiteX16" fmla="*/ 1048022 w 1061969"/>
              <a:gd name="connsiteY16" fmla="*/ 0 h 61646"/>
              <a:gd name="connsiteX17" fmla="*/ 1035155 w 1061969"/>
              <a:gd name="connsiteY17" fmla="*/ 57672 h 61646"/>
              <a:gd name="connsiteX0" fmla="*/ 0 w 1177104"/>
              <a:gd name="connsiteY0" fmla="*/ 61646 h 61646"/>
              <a:gd name="connsiteX1" fmla="*/ 93345 w 1177104"/>
              <a:gd name="connsiteY1" fmla="*/ 22594 h 61646"/>
              <a:gd name="connsiteX2" fmla="*/ 183833 w 1177104"/>
              <a:gd name="connsiteY2" fmla="*/ 13069 h 61646"/>
              <a:gd name="connsiteX3" fmla="*/ 264795 w 1177104"/>
              <a:gd name="connsiteY3" fmla="*/ 32119 h 61646"/>
              <a:gd name="connsiteX4" fmla="*/ 326708 w 1177104"/>
              <a:gd name="connsiteY4" fmla="*/ 32119 h 61646"/>
              <a:gd name="connsiteX5" fmla="*/ 379095 w 1177104"/>
              <a:gd name="connsiteY5" fmla="*/ 36881 h 61646"/>
              <a:gd name="connsiteX6" fmla="*/ 379095 w 1177104"/>
              <a:gd name="connsiteY6" fmla="*/ 27356 h 61646"/>
              <a:gd name="connsiteX7" fmla="*/ 388620 w 1177104"/>
              <a:gd name="connsiteY7" fmla="*/ 36881 h 61646"/>
              <a:gd name="connsiteX8" fmla="*/ 402908 w 1177104"/>
              <a:gd name="connsiteY8" fmla="*/ 22594 h 61646"/>
              <a:gd name="connsiteX9" fmla="*/ 441008 w 1177104"/>
              <a:gd name="connsiteY9" fmla="*/ 36881 h 61646"/>
              <a:gd name="connsiteX10" fmla="*/ 474345 w 1177104"/>
              <a:gd name="connsiteY10" fmla="*/ 22594 h 61646"/>
              <a:gd name="connsiteX11" fmla="*/ 507683 w 1177104"/>
              <a:gd name="connsiteY11" fmla="*/ 36881 h 61646"/>
              <a:gd name="connsiteX12" fmla="*/ 569595 w 1177104"/>
              <a:gd name="connsiteY12" fmla="*/ 17831 h 61646"/>
              <a:gd name="connsiteX13" fmla="*/ 707708 w 1177104"/>
              <a:gd name="connsiteY13" fmla="*/ 22594 h 61646"/>
              <a:gd name="connsiteX14" fmla="*/ 760095 w 1177104"/>
              <a:gd name="connsiteY14" fmla="*/ 36881 h 61646"/>
              <a:gd name="connsiteX15" fmla="*/ 860108 w 1177104"/>
              <a:gd name="connsiteY15" fmla="*/ 36881 h 61646"/>
              <a:gd name="connsiteX16" fmla="*/ 1048022 w 1177104"/>
              <a:gd name="connsiteY16" fmla="*/ 0 h 61646"/>
              <a:gd name="connsiteX17" fmla="*/ 1177101 w 1177104"/>
              <a:gd name="connsiteY17" fmla="*/ 37865 h 61646"/>
              <a:gd name="connsiteX0" fmla="*/ 0 w 1177104"/>
              <a:gd name="connsiteY0" fmla="*/ 48577 h 48577"/>
              <a:gd name="connsiteX1" fmla="*/ 93345 w 1177104"/>
              <a:gd name="connsiteY1" fmla="*/ 9525 h 48577"/>
              <a:gd name="connsiteX2" fmla="*/ 183833 w 1177104"/>
              <a:gd name="connsiteY2" fmla="*/ 0 h 48577"/>
              <a:gd name="connsiteX3" fmla="*/ 264795 w 1177104"/>
              <a:gd name="connsiteY3" fmla="*/ 19050 h 48577"/>
              <a:gd name="connsiteX4" fmla="*/ 326708 w 1177104"/>
              <a:gd name="connsiteY4" fmla="*/ 19050 h 48577"/>
              <a:gd name="connsiteX5" fmla="*/ 379095 w 1177104"/>
              <a:gd name="connsiteY5" fmla="*/ 23812 h 48577"/>
              <a:gd name="connsiteX6" fmla="*/ 379095 w 1177104"/>
              <a:gd name="connsiteY6" fmla="*/ 14287 h 48577"/>
              <a:gd name="connsiteX7" fmla="*/ 388620 w 1177104"/>
              <a:gd name="connsiteY7" fmla="*/ 23812 h 48577"/>
              <a:gd name="connsiteX8" fmla="*/ 402908 w 1177104"/>
              <a:gd name="connsiteY8" fmla="*/ 9525 h 48577"/>
              <a:gd name="connsiteX9" fmla="*/ 441008 w 1177104"/>
              <a:gd name="connsiteY9" fmla="*/ 23812 h 48577"/>
              <a:gd name="connsiteX10" fmla="*/ 474345 w 1177104"/>
              <a:gd name="connsiteY10" fmla="*/ 9525 h 48577"/>
              <a:gd name="connsiteX11" fmla="*/ 507683 w 1177104"/>
              <a:gd name="connsiteY11" fmla="*/ 23812 h 48577"/>
              <a:gd name="connsiteX12" fmla="*/ 569595 w 1177104"/>
              <a:gd name="connsiteY12" fmla="*/ 4762 h 48577"/>
              <a:gd name="connsiteX13" fmla="*/ 707708 w 1177104"/>
              <a:gd name="connsiteY13" fmla="*/ 9525 h 48577"/>
              <a:gd name="connsiteX14" fmla="*/ 760095 w 1177104"/>
              <a:gd name="connsiteY14" fmla="*/ 23812 h 48577"/>
              <a:gd name="connsiteX15" fmla="*/ 860108 w 1177104"/>
              <a:gd name="connsiteY15" fmla="*/ 23812 h 48577"/>
              <a:gd name="connsiteX16" fmla="*/ 1048022 w 1177104"/>
              <a:gd name="connsiteY16" fmla="*/ 39748 h 48577"/>
              <a:gd name="connsiteX17" fmla="*/ 1177101 w 1177104"/>
              <a:gd name="connsiteY17" fmla="*/ 24796 h 48577"/>
              <a:gd name="connsiteX0" fmla="*/ 0 w 1180404"/>
              <a:gd name="connsiteY0" fmla="*/ 48577 h 64583"/>
              <a:gd name="connsiteX1" fmla="*/ 93345 w 1180404"/>
              <a:gd name="connsiteY1" fmla="*/ 9525 h 64583"/>
              <a:gd name="connsiteX2" fmla="*/ 183833 w 1180404"/>
              <a:gd name="connsiteY2" fmla="*/ 0 h 64583"/>
              <a:gd name="connsiteX3" fmla="*/ 264795 w 1180404"/>
              <a:gd name="connsiteY3" fmla="*/ 19050 h 64583"/>
              <a:gd name="connsiteX4" fmla="*/ 326708 w 1180404"/>
              <a:gd name="connsiteY4" fmla="*/ 19050 h 64583"/>
              <a:gd name="connsiteX5" fmla="*/ 379095 w 1180404"/>
              <a:gd name="connsiteY5" fmla="*/ 23812 h 64583"/>
              <a:gd name="connsiteX6" fmla="*/ 379095 w 1180404"/>
              <a:gd name="connsiteY6" fmla="*/ 14287 h 64583"/>
              <a:gd name="connsiteX7" fmla="*/ 388620 w 1180404"/>
              <a:gd name="connsiteY7" fmla="*/ 23812 h 64583"/>
              <a:gd name="connsiteX8" fmla="*/ 402908 w 1180404"/>
              <a:gd name="connsiteY8" fmla="*/ 9525 h 64583"/>
              <a:gd name="connsiteX9" fmla="*/ 441008 w 1180404"/>
              <a:gd name="connsiteY9" fmla="*/ 23812 h 64583"/>
              <a:gd name="connsiteX10" fmla="*/ 474345 w 1180404"/>
              <a:gd name="connsiteY10" fmla="*/ 9525 h 64583"/>
              <a:gd name="connsiteX11" fmla="*/ 507683 w 1180404"/>
              <a:gd name="connsiteY11" fmla="*/ 23812 h 64583"/>
              <a:gd name="connsiteX12" fmla="*/ 569595 w 1180404"/>
              <a:gd name="connsiteY12" fmla="*/ 4762 h 64583"/>
              <a:gd name="connsiteX13" fmla="*/ 707708 w 1180404"/>
              <a:gd name="connsiteY13" fmla="*/ 9525 h 64583"/>
              <a:gd name="connsiteX14" fmla="*/ 760095 w 1180404"/>
              <a:gd name="connsiteY14" fmla="*/ 23812 h 64583"/>
              <a:gd name="connsiteX15" fmla="*/ 860108 w 1180404"/>
              <a:gd name="connsiteY15" fmla="*/ 23812 h 64583"/>
              <a:gd name="connsiteX16" fmla="*/ 1048022 w 1180404"/>
              <a:gd name="connsiteY16" fmla="*/ 39748 h 64583"/>
              <a:gd name="connsiteX17" fmla="*/ 1180402 w 1180404"/>
              <a:gd name="connsiteY17" fmla="*/ 64409 h 64583"/>
              <a:gd name="connsiteX0" fmla="*/ 0 w 1173803"/>
              <a:gd name="connsiteY0" fmla="*/ 48577 h 74437"/>
              <a:gd name="connsiteX1" fmla="*/ 93345 w 1173803"/>
              <a:gd name="connsiteY1" fmla="*/ 9525 h 74437"/>
              <a:gd name="connsiteX2" fmla="*/ 183833 w 1173803"/>
              <a:gd name="connsiteY2" fmla="*/ 0 h 74437"/>
              <a:gd name="connsiteX3" fmla="*/ 264795 w 1173803"/>
              <a:gd name="connsiteY3" fmla="*/ 19050 h 74437"/>
              <a:gd name="connsiteX4" fmla="*/ 326708 w 1173803"/>
              <a:gd name="connsiteY4" fmla="*/ 19050 h 74437"/>
              <a:gd name="connsiteX5" fmla="*/ 379095 w 1173803"/>
              <a:gd name="connsiteY5" fmla="*/ 23812 h 74437"/>
              <a:gd name="connsiteX6" fmla="*/ 379095 w 1173803"/>
              <a:gd name="connsiteY6" fmla="*/ 14287 h 74437"/>
              <a:gd name="connsiteX7" fmla="*/ 388620 w 1173803"/>
              <a:gd name="connsiteY7" fmla="*/ 23812 h 74437"/>
              <a:gd name="connsiteX8" fmla="*/ 402908 w 1173803"/>
              <a:gd name="connsiteY8" fmla="*/ 9525 h 74437"/>
              <a:gd name="connsiteX9" fmla="*/ 441008 w 1173803"/>
              <a:gd name="connsiteY9" fmla="*/ 23812 h 74437"/>
              <a:gd name="connsiteX10" fmla="*/ 474345 w 1173803"/>
              <a:gd name="connsiteY10" fmla="*/ 9525 h 74437"/>
              <a:gd name="connsiteX11" fmla="*/ 507683 w 1173803"/>
              <a:gd name="connsiteY11" fmla="*/ 23812 h 74437"/>
              <a:gd name="connsiteX12" fmla="*/ 569595 w 1173803"/>
              <a:gd name="connsiteY12" fmla="*/ 4762 h 74437"/>
              <a:gd name="connsiteX13" fmla="*/ 707708 w 1173803"/>
              <a:gd name="connsiteY13" fmla="*/ 9525 h 74437"/>
              <a:gd name="connsiteX14" fmla="*/ 760095 w 1173803"/>
              <a:gd name="connsiteY14" fmla="*/ 23812 h 74437"/>
              <a:gd name="connsiteX15" fmla="*/ 860108 w 1173803"/>
              <a:gd name="connsiteY15" fmla="*/ 23812 h 74437"/>
              <a:gd name="connsiteX16" fmla="*/ 1048022 w 1173803"/>
              <a:gd name="connsiteY16" fmla="*/ 39748 h 74437"/>
              <a:gd name="connsiteX17" fmla="*/ 1173800 w 1173803"/>
              <a:gd name="connsiteY17" fmla="*/ 74312 h 74437"/>
              <a:gd name="connsiteX0" fmla="*/ 0 w 1137493"/>
              <a:gd name="connsiteY0" fmla="*/ 48577 h 71148"/>
              <a:gd name="connsiteX1" fmla="*/ 93345 w 1137493"/>
              <a:gd name="connsiteY1" fmla="*/ 9525 h 71148"/>
              <a:gd name="connsiteX2" fmla="*/ 183833 w 1137493"/>
              <a:gd name="connsiteY2" fmla="*/ 0 h 71148"/>
              <a:gd name="connsiteX3" fmla="*/ 264795 w 1137493"/>
              <a:gd name="connsiteY3" fmla="*/ 19050 h 71148"/>
              <a:gd name="connsiteX4" fmla="*/ 326708 w 1137493"/>
              <a:gd name="connsiteY4" fmla="*/ 19050 h 71148"/>
              <a:gd name="connsiteX5" fmla="*/ 379095 w 1137493"/>
              <a:gd name="connsiteY5" fmla="*/ 23812 h 71148"/>
              <a:gd name="connsiteX6" fmla="*/ 379095 w 1137493"/>
              <a:gd name="connsiteY6" fmla="*/ 14287 h 71148"/>
              <a:gd name="connsiteX7" fmla="*/ 388620 w 1137493"/>
              <a:gd name="connsiteY7" fmla="*/ 23812 h 71148"/>
              <a:gd name="connsiteX8" fmla="*/ 402908 w 1137493"/>
              <a:gd name="connsiteY8" fmla="*/ 9525 h 71148"/>
              <a:gd name="connsiteX9" fmla="*/ 441008 w 1137493"/>
              <a:gd name="connsiteY9" fmla="*/ 23812 h 71148"/>
              <a:gd name="connsiteX10" fmla="*/ 474345 w 1137493"/>
              <a:gd name="connsiteY10" fmla="*/ 9525 h 71148"/>
              <a:gd name="connsiteX11" fmla="*/ 507683 w 1137493"/>
              <a:gd name="connsiteY11" fmla="*/ 23812 h 71148"/>
              <a:gd name="connsiteX12" fmla="*/ 569595 w 1137493"/>
              <a:gd name="connsiteY12" fmla="*/ 4762 h 71148"/>
              <a:gd name="connsiteX13" fmla="*/ 707708 w 1137493"/>
              <a:gd name="connsiteY13" fmla="*/ 9525 h 71148"/>
              <a:gd name="connsiteX14" fmla="*/ 760095 w 1137493"/>
              <a:gd name="connsiteY14" fmla="*/ 23812 h 71148"/>
              <a:gd name="connsiteX15" fmla="*/ 860108 w 1137493"/>
              <a:gd name="connsiteY15" fmla="*/ 23812 h 71148"/>
              <a:gd name="connsiteX16" fmla="*/ 1048022 w 1137493"/>
              <a:gd name="connsiteY16" fmla="*/ 39748 h 71148"/>
              <a:gd name="connsiteX17" fmla="*/ 1137488 w 1137493"/>
              <a:gd name="connsiteY17" fmla="*/ 71010 h 71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37493" h="71148">
                <a:moveTo>
                  <a:pt x="0" y="48577"/>
                </a:moveTo>
                <a:lnTo>
                  <a:pt x="93345" y="9525"/>
                </a:lnTo>
                <a:lnTo>
                  <a:pt x="183833" y="0"/>
                </a:lnTo>
                <a:lnTo>
                  <a:pt x="264795" y="19050"/>
                </a:lnTo>
                <a:lnTo>
                  <a:pt x="326708" y="19050"/>
                </a:lnTo>
                <a:lnTo>
                  <a:pt x="379095" y="23812"/>
                </a:lnTo>
                <a:lnTo>
                  <a:pt x="379095" y="14287"/>
                </a:lnTo>
                <a:lnTo>
                  <a:pt x="388620" y="23812"/>
                </a:lnTo>
                <a:lnTo>
                  <a:pt x="402908" y="9525"/>
                </a:lnTo>
                <a:lnTo>
                  <a:pt x="441008" y="23812"/>
                </a:lnTo>
                <a:lnTo>
                  <a:pt x="474345" y="9525"/>
                </a:lnTo>
                <a:lnTo>
                  <a:pt x="507683" y="23812"/>
                </a:lnTo>
                <a:lnTo>
                  <a:pt x="569595" y="4762"/>
                </a:lnTo>
                <a:lnTo>
                  <a:pt x="707708" y="9525"/>
                </a:lnTo>
                <a:lnTo>
                  <a:pt x="760095" y="23812"/>
                </a:lnTo>
                <a:lnTo>
                  <a:pt x="860108" y="23812"/>
                </a:lnTo>
                <a:lnTo>
                  <a:pt x="1048022" y="39748"/>
                </a:lnTo>
                <a:cubicBezTo>
                  <a:pt x="1085449" y="43213"/>
                  <a:pt x="1138105" y="73437"/>
                  <a:pt x="1137488" y="71010"/>
                </a:cubicBezTo>
              </a:path>
            </a:pathLst>
          </a:custGeom>
          <a:noFill/>
          <a:ln w="28575"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2" name="Freeform: Shape 41">
            <a:extLst>
              <a:ext uri="{FF2B5EF4-FFF2-40B4-BE49-F238E27FC236}">
                <a16:creationId xmlns:a16="http://schemas.microsoft.com/office/drawing/2014/main" id="{84F3B6C4-0677-4E91-9AF4-1B041476B063}"/>
              </a:ext>
            </a:extLst>
          </p:cNvPr>
          <p:cNvSpPr/>
          <p:nvPr/>
        </p:nvSpPr>
        <p:spPr bwMode="gray">
          <a:xfrm>
            <a:off x="8921181" y="2306061"/>
            <a:ext cx="1118184" cy="219561"/>
          </a:xfrm>
          <a:custGeom>
            <a:avLst/>
            <a:gdLst>
              <a:gd name="connsiteX0" fmla="*/ 0 w 383381"/>
              <a:gd name="connsiteY0" fmla="*/ 0 h 92869"/>
              <a:gd name="connsiteX1" fmla="*/ 254794 w 383381"/>
              <a:gd name="connsiteY1" fmla="*/ 64294 h 92869"/>
              <a:gd name="connsiteX2" fmla="*/ 383381 w 383381"/>
              <a:gd name="connsiteY2" fmla="*/ 92869 h 92869"/>
              <a:gd name="connsiteX0" fmla="*/ 17382 w 400763"/>
              <a:gd name="connsiteY0" fmla="*/ 1404 h 94273"/>
              <a:gd name="connsiteX1" fmla="*/ 0 w 400763"/>
              <a:gd name="connsiteY1" fmla="*/ 0 h 94273"/>
              <a:gd name="connsiteX2" fmla="*/ 272176 w 400763"/>
              <a:gd name="connsiteY2" fmla="*/ 65698 h 94273"/>
              <a:gd name="connsiteX3" fmla="*/ 400763 w 400763"/>
              <a:gd name="connsiteY3" fmla="*/ 94273 h 94273"/>
              <a:gd name="connsiteX0" fmla="*/ 134738 w 518119"/>
              <a:gd name="connsiteY0" fmla="*/ 0 h 92869"/>
              <a:gd name="connsiteX1" fmla="*/ 0 w 518119"/>
              <a:gd name="connsiteY1" fmla="*/ 27935 h 92869"/>
              <a:gd name="connsiteX2" fmla="*/ 389532 w 518119"/>
              <a:gd name="connsiteY2" fmla="*/ 64294 h 92869"/>
              <a:gd name="connsiteX3" fmla="*/ 518119 w 518119"/>
              <a:gd name="connsiteY3" fmla="*/ 92869 h 92869"/>
              <a:gd name="connsiteX0" fmla="*/ 134738 w 518119"/>
              <a:gd name="connsiteY0" fmla="*/ 0 h 92869"/>
              <a:gd name="connsiteX1" fmla="*/ 0 w 518119"/>
              <a:gd name="connsiteY1" fmla="*/ 27935 h 92869"/>
              <a:gd name="connsiteX2" fmla="*/ 389532 w 518119"/>
              <a:gd name="connsiteY2" fmla="*/ 64294 h 92869"/>
              <a:gd name="connsiteX3" fmla="*/ 518119 w 518119"/>
              <a:gd name="connsiteY3" fmla="*/ 92869 h 92869"/>
              <a:gd name="connsiteX0" fmla="*/ 124958 w 508339"/>
              <a:gd name="connsiteY0" fmla="*/ 23846 h 116715"/>
              <a:gd name="connsiteX1" fmla="*/ 0 w 508339"/>
              <a:gd name="connsiteY1" fmla="*/ 7772 h 116715"/>
              <a:gd name="connsiteX2" fmla="*/ 379752 w 508339"/>
              <a:gd name="connsiteY2" fmla="*/ 88140 h 116715"/>
              <a:gd name="connsiteX3" fmla="*/ 508339 w 508339"/>
              <a:gd name="connsiteY3" fmla="*/ 116715 h 116715"/>
              <a:gd name="connsiteX0" fmla="*/ 124958 w 508339"/>
              <a:gd name="connsiteY0" fmla="*/ 23846 h 116715"/>
              <a:gd name="connsiteX1" fmla="*/ 0 w 508339"/>
              <a:gd name="connsiteY1" fmla="*/ 7772 h 116715"/>
              <a:gd name="connsiteX2" fmla="*/ 379752 w 508339"/>
              <a:gd name="connsiteY2" fmla="*/ 88140 h 116715"/>
              <a:gd name="connsiteX3" fmla="*/ 508339 w 508339"/>
              <a:gd name="connsiteY3" fmla="*/ 116715 h 116715"/>
              <a:gd name="connsiteX0" fmla="*/ 198306 w 581687"/>
              <a:gd name="connsiteY0" fmla="*/ 5641 h 98510"/>
              <a:gd name="connsiteX1" fmla="*/ 0 w 581687"/>
              <a:gd name="connsiteY1" fmla="*/ 9126 h 98510"/>
              <a:gd name="connsiteX2" fmla="*/ 453100 w 581687"/>
              <a:gd name="connsiteY2" fmla="*/ 69935 h 98510"/>
              <a:gd name="connsiteX3" fmla="*/ 581687 w 581687"/>
              <a:gd name="connsiteY3" fmla="*/ 98510 h 98510"/>
              <a:gd name="connsiteX0" fmla="*/ 237117 w 620498"/>
              <a:gd name="connsiteY0" fmla="*/ 5641 h 98510"/>
              <a:gd name="connsiteX1" fmla="*/ 38811 w 620498"/>
              <a:gd name="connsiteY1" fmla="*/ 9126 h 98510"/>
              <a:gd name="connsiteX2" fmla="*/ 491911 w 620498"/>
              <a:gd name="connsiteY2" fmla="*/ 69935 h 98510"/>
              <a:gd name="connsiteX3" fmla="*/ 620498 w 620498"/>
              <a:gd name="connsiteY3" fmla="*/ 98510 h 98510"/>
              <a:gd name="connsiteX0" fmla="*/ 247730 w 631111"/>
              <a:gd name="connsiteY0" fmla="*/ 15061 h 107930"/>
              <a:gd name="connsiteX1" fmla="*/ 49424 w 631111"/>
              <a:gd name="connsiteY1" fmla="*/ 18546 h 107930"/>
              <a:gd name="connsiteX2" fmla="*/ 39089 w 631111"/>
              <a:gd name="connsiteY2" fmla="*/ 2476 h 107930"/>
              <a:gd name="connsiteX3" fmla="*/ 502524 w 631111"/>
              <a:gd name="connsiteY3" fmla="*/ 79355 h 107930"/>
              <a:gd name="connsiteX4" fmla="*/ 631111 w 631111"/>
              <a:gd name="connsiteY4" fmla="*/ 107930 h 107930"/>
              <a:gd name="connsiteX0" fmla="*/ 258990 w 642371"/>
              <a:gd name="connsiteY0" fmla="*/ 26848 h 119717"/>
              <a:gd name="connsiteX1" fmla="*/ 60684 w 642371"/>
              <a:gd name="connsiteY1" fmla="*/ 30333 h 119717"/>
              <a:gd name="connsiteX2" fmla="*/ 50349 w 642371"/>
              <a:gd name="connsiteY2" fmla="*/ 14263 h 119717"/>
              <a:gd name="connsiteX3" fmla="*/ 30790 w 642371"/>
              <a:gd name="connsiteY3" fmla="*/ 4483 h 119717"/>
              <a:gd name="connsiteX4" fmla="*/ 513784 w 642371"/>
              <a:gd name="connsiteY4" fmla="*/ 91142 h 119717"/>
              <a:gd name="connsiteX5" fmla="*/ 642371 w 642371"/>
              <a:gd name="connsiteY5" fmla="*/ 119717 h 119717"/>
              <a:gd name="connsiteX0" fmla="*/ 316055 w 699436"/>
              <a:gd name="connsiteY0" fmla="*/ 36978 h 129847"/>
              <a:gd name="connsiteX1" fmla="*/ 117749 w 699436"/>
              <a:gd name="connsiteY1" fmla="*/ 40463 h 129847"/>
              <a:gd name="connsiteX2" fmla="*/ 107414 w 699436"/>
              <a:gd name="connsiteY2" fmla="*/ 24393 h 129847"/>
              <a:gd name="connsiteX3" fmla="*/ 21180 w 699436"/>
              <a:gd name="connsiteY3" fmla="*/ 3183 h 129847"/>
              <a:gd name="connsiteX4" fmla="*/ 570849 w 699436"/>
              <a:gd name="connsiteY4" fmla="*/ 101272 h 129847"/>
              <a:gd name="connsiteX5" fmla="*/ 699436 w 699436"/>
              <a:gd name="connsiteY5" fmla="*/ 129847 h 129847"/>
              <a:gd name="connsiteX0" fmla="*/ 316055 w 699436"/>
              <a:gd name="connsiteY0" fmla="*/ 36978 h 533900"/>
              <a:gd name="connsiteX1" fmla="*/ 94889 w 699436"/>
              <a:gd name="connsiteY1" fmla="*/ 533858 h 533900"/>
              <a:gd name="connsiteX2" fmla="*/ 107414 w 699436"/>
              <a:gd name="connsiteY2" fmla="*/ 24393 h 533900"/>
              <a:gd name="connsiteX3" fmla="*/ 21180 w 699436"/>
              <a:gd name="connsiteY3" fmla="*/ 3183 h 533900"/>
              <a:gd name="connsiteX4" fmla="*/ 570849 w 699436"/>
              <a:gd name="connsiteY4" fmla="*/ 101272 h 533900"/>
              <a:gd name="connsiteX5" fmla="*/ 699436 w 699436"/>
              <a:gd name="connsiteY5" fmla="*/ 129847 h 533900"/>
              <a:gd name="connsiteX0" fmla="*/ 7112 w 862933"/>
              <a:gd name="connsiteY0" fmla="*/ 191283 h 533918"/>
              <a:gd name="connsiteX1" fmla="*/ 258386 w 862933"/>
              <a:gd name="connsiteY1" fmla="*/ 533858 h 533918"/>
              <a:gd name="connsiteX2" fmla="*/ 270911 w 862933"/>
              <a:gd name="connsiteY2" fmla="*/ 24393 h 533918"/>
              <a:gd name="connsiteX3" fmla="*/ 184677 w 862933"/>
              <a:gd name="connsiteY3" fmla="*/ 3183 h 533918"/>
              <a:gd name="connsiteX4" fmla="*/ 734346 w 862933"/>
              <a:gd name="connsiteY4" fmla="*/ 101272 h 533918"/>
              <a:gd name="connsiteX5" fmla="*/ 862933 w 862933"/>
              <a:gd name="connsiteY5" fmla="*/ 129847 h 533918"/>
              <a:gd name="connsiteX0" fmla="*/ 7112 w 862933"/>
              <a:gd name="connsiteY0" fmla="*/ 189886 h 532521"/>
              <a:gd name="connsiteX1" fmla="*/ 258386 w 862933"/>
              <a:gd name="connsiteY1" fmla="*/ 532461 h 532521"/>
              <a:gd name="connsiteX2" fmla="*/ 53741 w 862933"/>
              <a:gd name="connsiteY2" fmla="*/ 53476 h 532521"/>
              <a:gd name="connsiteX3" fmla="*/ 184677 w 862933"/>
              <a:gd name="connsiteY3" fmla="*/ 1786 h 532521"/>
              <a:gd name="connsiteX4" fmla="*/ 734346 w 862933"/>
              <a:gd name="connsiteY4" fmla="*/ 99875 h 532521"/>
              <a:gd name="connsiteX5" fmla="*/ 862933 w 862933"/>
              <a:gd name="connsiteY5" fmla="*/ 128450 h 532521"/>
              <a:gd name="connsiteX0" fmla="*/ 7112 w 862933"/>
              <a:gd name="connsiteY0" fmla="*/ 189886 h 532521"/>
              <a:gd name="connsiteX1" fmla="*/ 258386 w 862933"/>
              <a:gd name="connsiteY1" fmla="*/ 532461 h 532521"/>
              <a:gd name="connsiteX2" fmla="*/ 53741 w 862933"/>
              <a:gd name="connsiteY2" fmla="*/ 53476 h 532521"/>
              <a:gd name="connsiteX3" fmla="*/ 184677 w 862933"/>
              <a:gd name="connsiteY3" fmla="*/ 1786 h 532521"/>
              <a:gd name="connsiteX4" fmla="*/ 719106 w 862933"/>
              <a:gd name="connsiteY4" fmla="*/ 111305 h 532521"/>
              <a:gd name="connsiteX5" fmla="*/ 862933 w 862933"/>
              <a:gd name="connsiteY5" fmla="*/ 128450 h 532521"/>
              <a:gd name="connsiteX0" fmla="*/ 7112 w 862933"/>
              <a:gd name="connsiteY0" fmla="*/ 186180 h 528815"/>
              <a:gd name="connsiteX1" fmla="*/ 258386 w 862933"/>
              <a:gd name="connsiteY1" fmla="*/ 528755 h 528815"/>
              <a:gd name="connsiteX2" fmla="*/ 53741 w 862933"/>
              <a:gd name="connsiteY2" fmla="*/ 49770 h 528815"/>
              <a:gd name="connsiteX3" fmla="*/ 264687 w 862933"/>
              <a:gd name="connsiteY3" fmla="*/ 1890 h 528815"/>
              <a:gd name="connsiteX4" fmla="*/ 719106 w 862933"/>
              <a:gd name="connsiteY4" fmla="*/ 107599 h 528815"/>
              <a:gd name="connsiteX5" fmla="*/ 862933 w 862933"/>
              <a:gd name="connsiteY5" fmla="*/ 124744 h 528815"/>
              <a:gd name="connsiteX0" fmla="*/ 7112 w 862933"/>
              <a:gd name="connsiteY0" fmla="*/ 171513 h 514148"/>
              <a:gd name="connsiteX1" fmla="*/ 258386 w 862933"/>
              <a:gd name="connsiteY1" fmla="*/ 514088 h 514148"/>
              <a:gd name="connsiteX2" fmla="*/ 53741 w 862933"/>
              <a:gd name="connsiteY2" fmla="*/ 35103 h 514148"/>
              <a:gd name="connsiteX3" fmla="*/ 295167 w 862933"/>
              <a:gd name="connsiteY3" fmla="*/ 2463 h 514148"/>
              <a:gd name="connsiteX4" fmla="*/ 719106 w 862933"/>
              <a:gd name="connsiteY4" fmla="*/ 92932 h 514148"/>
              <a:gd name="connsiteX5" fmla="*/ 862933 w 862933"/>
              <a:gd name="connsiteY5" fmla="*/ 110077 h 514148"/>
              <a:gd name="connsiteX0" fmla="*/ 7112 w 862933"/>
              <a:gd name="connsiteY0" fmla="*/ 176435 h 519070"/>
              <a:gd name="connsiteX1" fmla="*/ 258386 w 862933"/>
              <a:gd name="connsiteY1" fmla="*/ 519010 h 519070"/>
              <a:gd name="connsiteX2" fmla="*/ 42311 w 862933"/>
              <a:gd name="connsiteY2" fmla="*/ 5735 h 519070"/>
              <a:gd name="connsiteX3" fmla="*/ 295167 w 862933"/>
              <a:gd name="connsiteY3" fmla="*/ 7385 h 519070"/>
              <a:gd name="connsiteX4" fmla="*/ 719106 w 862933"/>
              <a:gd name="connsiteY4" fmla="*/ 97854 h 519070"/>
              <a:gd name="connsiteX5" fmla="*/ 862933 w 862933"/>
              <a:gd name="connsiteY5" fmla="*/ 114999 h 519070"/>
              <a:gd name="connsiteX0" fmla="*/ 3915 w 1012136"/>
              <a:gd name="connsiteY0" fmla="*/ 35 h 594105"/>
              <a:gd name="connsiteX1" fmla="*/ 407589 w 1012136"/>
              <a:gd name="connsiteY1" fmla="*/ 594070 h 594105"/>
              <a:gd name="connsiteX2" fmla="*/ 191514 w 1012136"/>
              <a:gd name="connsiteY2" fmla="*/ 80795 h 594105"/>
              <a:gd name="connsiteX3" fmla="*/ 444370 w 1012136"/>
              <a:gd name="connsiteY3" fmla="*/ 82445 h 594105"/>
              <a:gd name="connsiteX4" fmla="*/ 868309 w 1012136"/>
              <a:gd name="connsiteY4" fmla="*/ 172914 h 594105"/>
              <a:gd name="connsiteX5" fmla="*/ 1012136 w 1012136"/>
              <a:gd name="connsiteY5" fmla="*/ 190059 h 594105"/>
              <a:gd name="connsiteX0" fmla="*/ 15267 w 1023488"/>
              <a:gd name="connsiteY0" fmla="*/ 339 h 190363"/>
              <a:gd name="connsiteX1" fmla="*/ 159861 w 1023488"/>
              <a:gd name="connsiteY1" fmla="*/ 49544 h 190363"/>
              <a:gd name="connsiteX2" fmla="*/ 202866 w 1023488"/>
              <a:gd name="connsiteY2" fmla="*/ 81099 h 190363"/>
              <a:gd name="connsiteX3" fmla="*/ 455722 w 1023488"/>
              <a:gd name="connsiteY3" fmla="*/ 82749 h 190363"/>
              <a:gd name="connsiteX4" fmla="*/ 879661 w 1023488"/>
              <a:gd name="connsiteY4" fmla="*/ 173218 h 190363"/>
              <a:gd name="connsiteX5" fmla="*/ 1023488 w 1023488"/>
              <a:gd name="connsiteY5" fmla="*/ 190363 h 190363"/>
              <a:gd name="connsiteX0" fmla="*/ 13261 w 1036722"/>
              <a:gd name="connsiteY0" fmla="*/ 1108 h 147317"/>
              <a:gd name="connsiteX1" fmla="*/ 173095 w 1036722"/>
              <a:gd name="connsiteY1" fmla="*/ 6498 h 147317"/>
              <a:gd name="connsiteX2" fmla="*/ 216100 w 1036722"/>
              <a:gd name="connsiteY2" fmla="*/ 38053 h 147317"/>
              <a:gd name="connsiteX3" fmla="*/ 468956 w 1036722"/>
              <a:gd name="connsiteY3" fmla="*/ 39703 h 147317"/>
              <a:gd name="connsiteX4" fmla="*/ 892895 w 1036722"/>
              <a:gd name="connsiteY4" fmla="*/ 130172 h 147317"/>
              <a:gd name="connsiteX5" fmla="*/ 1036722 w 1036722"/>
              <a:gd name="connsiteY5" fmla="*/ 147317 h 147317"/>
              <a:gd name="connsiteX0" fmla="*/ 0 w 1023461"/>
              <a:gd name="connsiteY0" fmla="*/ 0 h 146209"/>
              <a:gd name="connsiteX1" fmla="*/ 202839 w 1023461"/>
              <a:gd name="connsiteY1" fmla="*/ 36945 h 146209"/>
              <a:gd name="connsiteX2" fmla="*/ 455695 w 1023461"/>
              <a:gd name="connsiteY2" fmla="*/ 38595 h 146209"/>
              <a:gd name="connsiteX3" fmla="*/ 879634 w 1023461"/>
              <a:gd name="connsiteY3" fmla="*/ 129064 h 146209"/>
              <a:gd name="connsiteX4" fmla="*/ 1023461 w 1023461"/>
              <a:gd name="connsiteY4" fmla="*/ 146209 h 146209"/>
              <a:gd name="connsiteX0" fmla="*/ 0 w 1031081"/>
              <a:gd name="connsiteY0" fmla="*/ 0 h 184309"/>
              <a:gd name="connsiteX1" fmla="*/ 210459 w 1031081"/>
              <a:gd name="connsiteY1" fmla="*/ 75045 h 184309"/>
              <a:gd name="connsiteX2" fmla="*/ 463315 w 1031081"/>
              <a:gd name="connsiteY2" fmla="*/ 76695 h 184309"/>
              <a:gd name="connsiteX3" fmla="*/ 887254 w 1031081"/>
              <a:gd name="connsiteY3" fmla="*/ 167164 h 184309"/>
              <a:gd name="connsiteX4" fmla="*/ 1031081 w 1031081"/>
              <a:gd name="connsiteY4" fmla="*/ 184309 h 184309"/>
              <a:gd name="connsiteX0" fmla="*/ 0 w 1031081"/>
              <a:gd name="connsiteY0" fmla="*/ 0 h 184309"/>
              <a:gd name="connsiteX1" fmla="*/ 210459 w 1031081"/>
              <a:gd name="connsiteY1" fmla="*/ 75045 h 184309"/>
              <a:gd name="connsiteX2" fmla="*/ 463315 w 1031081"/>
              <a:gd name="connsiteY2" fmla="*/ 76695 h 184309"/>
              <a:gd name="connsiteX3" fmla="*/ 887254 w 1031081"/>
              <a:gd name="connsiteY3" fmla="*/ 167164 h 184309"/>
              <a:gd name="connsiteX4" fmla="*/ 1031081 w 1031081"/>
              <a:gd name="connsiteY4" fmla="*/ 184309 h 184309"/>
              <a:gd name="connsiteX0" fmla="*/ 0 w 1038701"/>
              <a:gd name="connsiteY0" fmla="*/ 0 h 176689"/>
              <a:gd name="connsiteX1" fmla="*/ 218079 w 1038701"/>
              <a:gd name="connsiteY1" fmla="*/ 67425 h 176689"/>
              <a:gd name="connsiteX2" fmla="*/ 470935 w 1038701"/>
              <a:gd name="connsiteY2" fmla="*/ 69075 h 176689"/>
              <a:gd name="connsiteX3" fmla="*/ 894874 w 1038701"/>
              <a:gd name="connsiteY3" fmla="*/ 159544 h 176689"/>
              <a:gd name="connsiteX4" fmla="*/ 1038701 w 1038701"/>
              <a:gd name="connsiteY4" fmla="*/ 176689 h 176689"/>
              <a:gd name="connsiteX0" fmla="*/ 0 w 1038701"/>
              <a:gd name="connsiteY0" fmla="*/ 0 h 176689"/>
              <a:gd name="connsiteX1" fmla="*/ 218079 w 1038701"/>
              <a:gd name="connsiteY1" fmla="*/ 67425 h 176689"/>
              <a:gd name="connsiteX2" fmla="*/ 470935 w 1038701"/>
              <a:gd name="connsiteY2" fmla="*/ 69075 h 176689"/>
              <a:gd name="connsiteX3" fmla="*/ 894874 w 1038701"/>
              <a:gd name="connsiteY3" fmla="*/ 159544 h 176689"/>
              <a:gd name="connsiteX4" fmla="*/ 1038701 w 1038701"/>
              <a:gd name="connsiteY4" fmla="*/ 176689 h 176689"/>
              <a:gd name="connsiteX0" fmla="*/ 150 w 1038851"/>
              <a:gd name="connsiteY0" fmla="*/ 12678 h 189367"/>
              <a:gd name="connsiteX1" fmla="*/ 24517 w 1038851"/>
              <a:gd name="connsiteY1" fmla="*/ 3557 h 189367"/>
              <a:gd name="connsiteX2" fmla="*/ 218229 w 1038851"/>
              <a:gd name="connsiteY2" fmla="*/ 80103 h 189367"/>
              <a:gd name="connsiteX3" fmla="*/ 471085 w 1038851"/>
              <a:gd name="connsiteY3" fmla="*/ 81753 h 189367"/>
              <a:gd name="connsiteX4" fmla="*/ 895024 w 1038851"/>
              <a:gd name="connsiteY4" fmla="*/ 172222 h 189367"/>
              <a:gd name="connsiteX5" fmla="*/ 1038851 w 1038851"/>
              <a:gd name="connsiteY5" fmla="*/ 189367 h 189367"/>
              <a:gd name="connsiteX0" fmla="*/ 0 w 1111091"/>
              <a:gd name="connsiteY0" fmla="*/ 19513 h 188582"/>
              <a:gd name="connsiteX1" fmla="*/ 96757 w 1111091"/>
              <a:gd name="connsiteY1" fmla="*/ 2772 h 188582"/>
              <a:gd name="connsiteX2" fmla="*/ 290469 w 1111091"/>
              <a:gd name="connsiteY2" fmla="*/ 79318 h 188582"/>
              <a:gd name="connsiteX3" fmla="*/ 543325 w 1111091"/>
              <a:gd name="connsiteY3" fmla="*/ 80968 h 188582"/>
              <a:gd name="connsiteX4" fmla="*/ 967264 w 1111091"/>
              <a:gd name="connsiteY4" fmla="*/ 171437 h 188582"/>
              <a:gd name="connsiteX5" fmla="*/ 1111091 w 1111091"/>
              <a:gd name="connsiteY5" fmla="*/ 188582 h 188582"/>
              <a:gd name="connsiteX0" fmla="*/ 0 w 1111091"/>
              <a:gd name="connsiteY0" fmla="*/ 30251 h 187890"/>
              <a:gd name="connsiteX1" fmla="*/ 96757 w 1111091"/>
              <a:gd name="connsiteY1" fmla="*/ 2080 h 187890"/>
              <a:gd name="connsiteX2" fmla="*/ 290469 w 1111091"/>
              <a:gd name="connsiteY2" fmla="*/ 78626 h 187890"/>
              <a:gd name="connsiteX3" fmla="*/ 543325 w 1111091"/>
              <a:gd name="connsiteY3" fmla="*/ 80276 h 187890"/>
              <a:gd name="connsiteX4" fmla="*/ 967264 w 1111091"/>
              <a:gd name="connsiteY4" fmla="*/ 170745 h 187890"/>
              <a:gd name="connsiteX5" fmla="*/ 1111091 w 1111091"/>
              <a:gd name="connsiteY5" fmla="*/ 187890 h 187890"/>
              <a:gd name="connsiteX0" fmla="*/ 0 w 1111091"/>
              <a:gd name="connsiteY0" fmla="*/ 30251 h 214560"/>
              <a:gd name="connsiteX1" fmla="*/ 96757 w 1111091"/>
              <a:gd name="connsiteY1" fmla="*/ 2080 h 214560"/>
              <a:gd name="connsiteX2" fmla="*/ 290469 w 1111091"/>
              <a:gd name="connsiteY2" fmla="*/ 78626 h 214560"/>
              <a:gd name="connsiteX3" fmla="*/ 543325 w 1111091"/>
              <a:gd name="connsiteY3" fmla="*/ 80276 h 214560"/>
              <a:gd name="connsiteX4" fmla="*/ 967264 w 1111091"/>
              <a:gd name="connsiteY4" fmla="*/ 170745 h 214560"/>
              <a:gd name="connsiteX5" fmla="*/ 1111091 w 1111091"/>
              <a:gd name="connsiteY5" fmla="*/ 214560 h 214560"/>
              <a:gd name="connsiteX0" fmla="*/ 0 w 1111091"/>
              <a:gd name="connsiteY0" fmla="*/ 30251 h 214560"/>
              <a:gd name="connsiteX1" fmla="*/ 96757 w 1111091"/>
              <a:gd name="connsiteY1" fmla="*/ 2080 h 214560"/>
              <a:gd name="connsiteX2" fmla="*/ 290469 w 1111091"/>
              <a:gd name="connsiteY2" fmla="*/ 78626 h 214560"/>
              <a:gd name="connsiteX3" fmla="*/ 541420 w 1111091"/>
              <a:gd name="connsiteY3" fmla="*/ 47891 h 214560"/>
              <a:gd name="connsiteX4" fmla="*/ 967264 w 1111091"/>
              <a:gd name="connsiteY4" fmla="*/ 170745 h 214560"/>
              <a:gd name="connsiteX5" fmla="*/ 1111091 w 1111091"/>
              <a:gd name="connsiteY5" fmla="*/ 214560 h 214560"/>
              <a:gd name="connsiteX0" fmla="*/ 0 w 1111091"/>
              <a:gd name="connsiteY0" fmla="*/ 30251 h 214560"/>
              <a:gd name="connsiteX1" fmla="*/ 96757 w 1111091"/>
              <a:gd name="connsiteY1" fmla="*/ 2080 h 214560"/>
              <a:gd name="connsiteX2" fmla="*/ 290469 w 1111091"/>
              <a:gd name="connsiteY2" fmla="*/ 78626 h 214560"/>
              <a:gd name="connsiteX3" fmla="*/ 543325 w 1111091"/>
              <a:gd name="connsiteY3" fmla="*/ 57416 h 214560"/>
              <a:gd name="connsiteX4" fmla="*/ 967264 w 1111091"/>
              <a:gd name="connsiteY4" fmla="*/ 170745 h 214560"/>
              <a:gd name="connsiteX5" fmla="*/ 1111091 w 1111091"/>
              <a:gd name="connsiteY5" fmla="*/ 214560 h 214560"/>
              <a:gd name="connsiteX0" fmla="*/ 0 w 1111091"/>
              <a:gd name="connsiteY0" fmla="*/ 30251 h 214560"/>
              <a:gd name="connsiteX1" fmla="*/ 96757 w 1111091"/>
              <a:gd name="connsiteY1" fmla="*/ 2080 h 214560"/>
              <a:gd name="connsiteX2" fmla="*/ 290469 w 1111091"/>
              <a:gd name="connsiteY2" fmla="*/ 78626 h 214560"/>
              <a:gd name="connsiteX3" fmla="*/ 535705 w 1111091"/>
              <a:gd name="connsiteY3" fmla="*/ 74561 h 214560"/>
              <a:gd name="connsiteX4" fmla="*/ 967264 w 1111091"/>
              <a:gd name="connsiteY4" fmla="*/ 170745 h 214560"/>
              <a:gd name="connsiteX5" fmla="*/ 1111091 w 1111091"/>
              <a:gd name="connsiteY5" fmla="*/ 214560 h 214560"/>
              <a:gd name="connsiteX0" fmla="*/ 0 w 1112996"/>
              <a:gd name="connsiteY0" fmla="*/ 30251 h 206940"/>
              <a:gd name="connsiteX1" fmla="*/ 96757 w 1112996"/>
              <a:gd name="connsiteY1" fmla="*/ 2080 h 206940"/>
              <a:gd name="connsiteX2" fmla="*/ 290469 w 1112996"/>
              <a:gd name="connsiteY2" fmla="*/ 78626 h 206940"/>
              <a:gd name="connsiteX3" fmla="*/ 535705 w 1112996"/>
              <a:gd name="connsiteY3" fmla="*/ 74561 h 206940"/>
              <a:gd name="connsiteX4" fmla="*/ 967264 w 1112996"/>
              <a:gd name="connsiteY4" fmla="*/ 170745 h 206940"/>
              <a:gd name="connsiteX5" fmla="*/ 1112996 w 1112996"/>
              <a:gd name="connsiteY5" fmla="*/ 206940 h 206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996" h="206940">
                <a:moveTo>
                  <a:pt x="0" y="30251"/>
                </a:moveTo>
                <a:cubicBezTo>
                  <a:pt x="4061" y="28731"/>
                  <a:pt x="60411" y="-9157"/>
                  <a:pt x="96757" y="2080"/>
                </a:cubicBezTo>
                <a:cubicBezTo>
                  <a:pt x="133103" y="13317"/>
                  <a:pt x="216041" y="65593"/>
                  <a:pt x="290469" y="78626"/>
                </a:cubicBezTo>
                <a:cubicBezTo>
                  <a:pt x="364897" y="91659"/>
                  <a:pt x="458466" y="61748"/>
                  <a:pt x="535705" y="74561"/>
                </a:cubicBezTo>
                <a:cubicBezTo>
                  <a:pt x="612944" y="87374"/>
                  <a:pt x="865334" y="151539"/>
                  <a:pt x="967264" y="170745"/>
                </a:cubicBezTo>
                <a:lnTo>
                  <a:pt x="1112996" y="206940"/>
                </a:lnTo>
              </a:path>
            </a:pathLst>
          </a:custGeom>
          <a:noFill/>
          <a:ln w="28575"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grpSp>
        <p:nvGrpSpPr>
          <p:cNvPr id="411" name="Group 410">
            <a:extLst>
              <a:ext uri="{FF2B5EF4-FFF2-40B4-BE49-F238E27FC236}">
                <a16:creationId xmlns:a16="http://schemas.microsoft.com/office/drawing/2014/main" id="{CB64443C-5A56-498A-A889-002502BE29FF}"/>
              </a:ext>
            </a:extLst>
          </p:cNvPr>
          <p:cNvGrpSpPr>
            <a:grpSpLocks/>
          </p:cNvGrpSpPr>
          <p:nvPr/>
        </p:nvGrpSpPr>
        <p:grpSpPr bwMode="gray">
          <a:xfrm>
            <a:off x="9272648" y="974453"/>
            <a:ext cx="1361803" cy="635972"/>
            <a:chOff x="13402821" y="7438576"/>
            <a:chExt cx="993622" cy="439394"/>
          </a:xfrm>
          <a:solidFill>
            <a:schemeClr val="bg1"/>
          </a:solidFill>
        </p:grpSpPr>
        <p:sp>
          <p:nvSpPr>
            <p:cNvPr id="388" name="Rectangle 387">
              <a:extLst>
                <a:ext uri="{FF2B5EF4-FFF2-40B4-BE49-F238E27FC236}">
                  <a16:creationId xmlns:a16="http://schemas.microsoft.com/office/drawing/2014/main" id="{BCC6909F-3203-475F-8DBA-9220289113ED}"/>
                </a:ext>
              </a:extLst>
            </p:cNvPr>
            <p:cNvSpPr>
              <a:spLocks/>
            </p:cNvSpPr>
            <p:nvPr/>
          </p:nvSpPr>
          <p:spPr bwMode="gray">
            <a:xfrm>
              <a:off x="13402821" y="7438576"/>
              <a:ext cx="993622" cy="439394"/>
            </a:xfrm>
            <a:prstGeom prst="rect">
              <a:avLst/>
            </a:prstGeom>
            <a:grpFill/>
            <a:ln w="6350" cap="rnd">
              <a:solidFill>
                <a:schemeClr val="bg1">
                  <a:lumMod val="5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grpSp>
          <p:nvGrpSpPr>
            <p:cNvPr id="410" name="Group 409">
              <a:extLst>
                <a:ext uri="{FF2B5EF4-FFF2-40B4-BE49-F238E27FC236}">
                  <a16:creationId xmlns:a16="http://schemas.microsoft.com/office/drawing/2014/main" id="{11AAC2F6-18BA-4D72-9801-36276F76C962}"/>
                </a:ext>
              </a:extLst>
            </p:cNvPr>
            <p:cNvGrpSpPr/>
            <p:nvPr/>
          </p:nvGrpSpPr>
          <p:grpSpPr bwMode="gray">
            <a:xfrm>
              <a:off x="13598235" y="7477187"/>
              <a:ext cx="602795" cy="362172"/>
              <a:chOff x="13598235" y="7486993"/>
              <a:chExt cx="602795" cy="362172"/>
            </a:xfrm>
            <a:grpFill/>
          </p:grpSpPr>
          <p:pic>
            <p:nvPicPr>
              <p:cNvPr id="367" name="Picture 10" descr="OMV – Wikipedia">
                <a:extLst>
                  <a:ext uri="{FF2B5EF4-FFF2-40B4-BE49-F238E27FC236}">
                    <a16:creationId xmlns:a16="http://schemas.microsoft.com/office/drawing/2014/main" id="{EF6C7AF0-DF59-44EF-9CFD-82B6812B3BAE}"/>
                  </a:ext>
                </a:extLst>
              </p:cNvPr>
              <p:cNvPicPr>
                <a:picLocks noChangeAspect="1" noChangeArrowheads="1"/>
              </p:cNvPicPr>
              <p:nvPr/>
            </p:nvPicPr>
            <p:blipFill>
              <a:blip r:embed="rId31" cstate="hqprint">
                <a:extLst>
                  <a:ext uri="{28A0092B-C50C-407E-A947-70E740481C1C}">
                    <a14:useLocalDpi xmlns:a14="http://schemas.microsoft.com/office/drawing/2010/main"/>
                  </a:ext>
                </a:extLst>
              </a:blip>
              <a:srcRect/>
              <a:stretch>
                <a:fillRect/>
              </a:stretch>
            </p:blipFill>
            <p:spPr bwMode="gray">
              <a:xfrm>
                <a:off x="13739324" y="7486993"/>
                <a:ext cx="320617" cy="233530"/>
              </a:xfrm>
              <a:prstGeom prst="rect">
                <a:avLst/>
              </a:prstGeom>
              <a:grpFill/>
            </p:spPr>
          </p:pic>
          <p:pic>
            <p:nvPicPr>
              <p:cNvPr id="374" name="Picture 12">
                <a:extLst>
                  <a:ext uri="{FF2B5EF4-FFF2-40B4-BE49-F238E27FC236}">
                    <a16:creationId xmlns:a16="http://schemas.microsoft.com/office/drawing/2014/main" id="{E2DD29D4-0F35-4FFD-835B-A3A1FB56F2B4}"/>
                  </a:ext>
                </a:extLst>
              </p:cNvPr>
              <p:cNvPicPr>
                <a:picLocks noChangeAspect="1" noChangeArrowheads="1"/>
              </p:cNvPicPr>
              <p:nvPr/>
            </p:nvPicPr>
            <p:blipFill>
              <a:blip r:embed="rId32" cstate="hqprint">
                <a:extLst>
                  <a:ext uri="{28A0092B-C50C-407E-A947-70E740481C1C}">
                    <a14:useLocalDpi xmlns:a14="http://schemas.microsoft.com/office/drawing/2010/main"/>
                  </a:ext>
                </a:extLst>
              </a:blip>
              <a:srcRect/>
              <a:stretch>
                <a:fillRect/>
              </a:stretch>
            </p:blipFill>
            <p:spPr bwMode="gray">
              <a:xfrm>
                <a:off x="13598235" y="7749327"/>
                <a:ext cx="602795" cy="99838"/>
              </a:xfrm>
              <a:prstGeom prst="rect">
                <a:avLst/>
              </a:prstGeom>
              <a:grpFill/>
            </p:spPr>
          </p:pic>
        </p:grpSp>
      </p:grpSp>
      <p:sp>
        <p:nvSpPr>
          <p:cNvPr id="386" name="Rectangle 385">
            <a:extLst>
              <a:ext uri="{FF2B5EF4-FFF2-40B4-BE49-F238E27FC236}">
                <a16:creationId xmlns:a16="http://schemas.microsoft.com/office/drawing/2014/main" id="{1C1B55A4-2746-4D85-B5BA-8B32E2DB0610}"/>
              </a:ext>
            </a:extLst>
          </p:cNvPr>
          <p:cNvSpPr>
            <a:spLocks/>
          </p:cNvSpPr>
          <p:nvPr/>
        </p:nvSpPr>
        <p:spPr bwMode="gray">
          <a:xfrm>
            <a:off x="5197897" y="1209124"/>
            <a:ext cx="1310595" cy="635972"/>
          </a:xfrm>
          <a:prstGeom prst="rect">
            <a:avLst/>
          </a:prstGeom>
          <a:solidFill>
            <a:schemeClr val="bg1"/>
          </a:solidFill>
          <a:ln w="6350" cap="rnd">
            <a:solidFill>
              <a:schemeClr val="bg1">
                <a:lumMod val="5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pic>
        <p:nvPicPr>
          <p:cNvPr id="372" name="Picture 12">
            <a:extLst>
              <a:ext uri="{FF2B5EF4-FFF2-40B4-BE49-F238E27FC236}">
                <a16:creationId xmlns:a16="http://schemas.microsoft.com/office/drawing/2014/main" id="{1B679380-9927-4722-BCA3-6D98E10537B9}"/>
              </a:ext>
            </a:extLst>
          </p:cNvPr>
          <p:cNvPicPr>
            <a:picLocks noChangeAspect="1" noChangeArrowheads="1"/>
          </p:cNvPicPr>
          <p:nvPr/>
        </p:nvPicPr>
        <p:blipFill rotWithShape="1">
          <a:blip r:embed="rId33" cstate="hqprint">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t="-7057"/>
          <a:stretch/>
        </p:blipFill>
        <p:spPr bwMode="gray">
          <a:xfrm>
            <a:off x="5272461" y="1241047"/>
            <a:ext cx="944456" cy="167291"/>
          </a:xfrm>
          <a:prstGeom prst="rect">
            <a:avLst/>
          </a:prstGeom>
          <a:solidFill>
            <a:schemeClr val="bg1"/>
          </a:solidFill>
        </p:spPr>
      </p:pic>
      <p:pic>
        <p:nvPicPr>
          <p:cNvPr id="407" name="Picture 8">
            <a:extLst>
              <a:ext uri="{FF2B5EF4-FFF2-40B4-BE49-F238E27FC236}">
                <a16:creationId xmlns:a16="http://schemas.microsoft.com/office/drawing/2014/main" id="{AA5D3D4C-D4C3-4436-BA4C-3C618128D522}"/>
              </a:ext>
            </a:extLst>
          </p:cNvPr>
          <p:cNvPicPr>
            <a:picLocks noChangeAspect="1" noChangeArrowheads="1"/>
          </p:cNvPicPr>
          <p:nvPr/>
        </p:nvPicPr>
        <p:blipFill rotWithShape="1">
          <a:blip r:embed="rId34"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gray">
          <a:xfrm>
            <a:off x="5242340" y="1581623"/>
            <a:ext cx="1133782" cy="256554"/>
          </a:xfrm>
          <a:prstGeom prst="rect">
            <a:avLst/>
          </a:prstGeom>
          <a:solidFill>
            <a:schemeClr val="bg1"/>
          </a:solidFill>
        </p:spPr>
      </p:pic>
      <p:pic>
        <p:nvPicPr>
          <p:cNvPr id="666" name="DoubleArrow 84">
            <a:extLst>
              <a:ext uri="{FF2B5EF4-FFF2-40B4-BE49-F238E27FC236}">
                <a16:creationId xmlns:a16="http://schemas.microsoft.com/office/drawing/2014/main" id="{225E4AD5-75F3-4B72-AFD6-78CBBD0379FE}"/>
              </a:ext>
            </a:extLst>
          </p:cNvPr>
          <p:cNvPicPr>
            <a:picLocks noChangeAspect="1"/>
          </p:cNvPicPr>
          <p:nvPr>
            <p:custDataLst>
              <p:tags r:id="rId6"/>
            </p:custDataLst>
          </p:nvPr>
        </p:nvPicPr>
        <p:blipFill>
          <a:blip r:embed="rId20">
            <a:extLst>
              <a:ext uri="{96DAC541-7B7A-43D3-8B79-37D633B846F1}">
                <asvg:svgBlip xmlns:asvg="http://schemas.microsoft.com/office/drawing/2016/SVG/main" r:embed="rId21"/>
              </a:ext>
            </a:extLst>
          </a:blip>
          <a:stretch>
            <a:fillRect/>
          </a:stretch>
        </p:blipFill>
        <p:spPr>
          <a:xfrm>
            <a:off x="5601748" y="2764643"/>
            <a:ext cx="402534" cy="425104"/>
          </a:xfrm>
          <a:prstGeom prst="rect">
            <a:avLst/>
          </a:prstGeom>
        </p:spPr>
      </p:pic>
      <p:pic>
        <p:nvPicPr>
          <p:cNvPr id="669" name="DoubleArrow 84">
            <a:extLst>
              <a:ext uri="{FF2B5EF4-FFF2-40B4-BE49-F238E27FC236}">
                <a16:creationId xmlns:a16="http://schemas.microsoft.com/office/drawing/2014/main" id="{2930CEBD-7344-4200-9E20-2175017E3455}"/>
              </a:ext>
            </a:extLst>
          </p:cNvPr>
          <p:cNvPicPr>
            <a:picLocks noChangeAspect="1"/>
          </p:cNvPicPr>
          <p:nvPr>
            <p:custDataLst>
              <p:tags r:id="rId7"/>
            </p:custDataLst>
          </p:nvPr>
        </p:nvPicPr>
        <p:blipFill>
          <a:blip r:embed="rId20">
            <a:extLst>
              <a:ext uri="{96DAC541-7B7A-43D3-8B79-37D633B846F1}">
                <asvg:svgBlip xmlns:asvg="http://schemas.microsoft.com/office/drawing/2016/SVG/main" r:embed="rId21"/>
              </a:ext>
            </a:extLst>
          </a:blip>
          <a:stretch>
            <a:fillRect/>
          </a:stretch>
        </p:blipFill>
        <p:spPr>
          <a:xfrm>
            <a:off x="10220752" y="2109375"/>
            <a:ext cx="402534" cy="425104"/>
          </a:xfrm>
          <a:prstGeom prst="rect">
            <a:avLst/>
          </a:prstGeom>
        </p:spPr>
      </p:pic>
      <p:pic>
        <p:nvPicPr>
          <p:cNvPr id="670" name="DoubleArrow 84">
            <a:extLst>
              <a:ext uri="{FF2B5EF4-FFF2-40B4-BE49-F238E27FC236}">
                <a16:creationId xmlns:a16="http://schemas.microsoft.com/office/drawing/2014/main" id="{E386E3F0-2238-4848-8951-D0BA273EBB90}"/>
              </a:ext>
            </a:extLst>
          </p:cNvPr>
          <p:cNvPicPr>
            <a:picLocks noChangeAspect="1"/>
          </p:cNvPicPr>
          <p:nvPr>
            <p:custDataLst>
              <p:tags r:id="rId8"/>
            </p:custDataLst>
          </p:nvPr>
        </p:nvPicPr>
        <p:blipFill>
          <a:blip r:embed="rId20">
            <a:extLst>
              <a:ext uri="{96DAC541-7B7A-43D3-8B79-37D633B846F1}">
                <asvg:svgBlip xmlns:asvg="http://schemas.microsoft.com/office/drawing/2016/SVG/main" r:embed="rId21"/>
              </a:ext>
            </a:extLst>
          </a:blip>
          <a:stretch>
            <a:fillRect/>
          </a:stretch>
        </p:blipFill>
        <p:spPr>
          <a:xfrm>
            <a:off x="6747353" y="1793986"/>
            <a:ext cx="402534" cy="425104"/>
          </a:xfrm>
          <a:prstGeom prst="rect">
            <a:avLst/>
          </a:prstGeom>
        </p:spPr>
      </p:pic>
      <p:pic>
        <p:nvPicPr>
          <p:cNvPr id="673" name="StatusGauge 8">
            <a:extLst>
              <a:ext uri="{FF2B5EF4-FFF2-40B4-BE49-F238E27FC236}">
                <a16:creationId xmlns:a16="http://schemas.microsoft.com/office/drawing/2014/main" id="{8A879B28-CFC9-41DC-AA84-322189783D4F}"/>
              </a:ext>
            </a:extLst>
          </p:cNvPr>
          <p:cNvPicPr>
            <a:picLocks noChangeAspect="1"/>
          </p:cNvPicPr>
          <p:nvPr>
            <p:custDataLst>
              <p:tags r:id="rId9"/>
            </p:custDataLst>
          </p:nvPr>
        </p:nvPicPr>
        <p:blipFill>
          <a:blip r:embed="rId22">
            <a:extLst>
              <a:ext uri="{96DAC541-7B7A-43D3-8B79-37D633B846F1}">
                <asvg:svgBlip xmlns:asvg="http://schemas.microsoft.com/office/drawing/2016/SVG/main" r:embed="rId23"/>
              </a:ext>
            </a:extLst>
          </a:blip>
          <a:stretch>
            <a:fillRect/>
          </a:stretch>
        </p:blipFill>
        <p:spPr>
          <a:xfrm rot="10800000">
            <a:off x="8833879" y="5755153"/>
            <a:ext cx="317926" cy="335751"/>
          </a:xfrm>
          <a:prstGeom prst="rect">
            <a:avLst/>
          </a:prstGeom>
        </p:spPr>
      </p:pic>
      <p:pic>
        <p:nvPicPr>
          <p:cNvPr id="674" name="StatusGauge 8">
            <a:extLst>
              <a:ext uri="{FF2B5EF4-FFF2-40B4-BE49-F238E27FC236}">
                <a16:creationId xmlns:a16="http://schemas.microsoft.com/office/drawing/2014/main" id="{103C6132-1551-498C-8D0D-5E5DEF0C7521}"/>
              </a:ext>
            </a:extLst>
          </p:cNvPr>
          <p:cNvPicPr>
            <a:picLocks noChangeAspect="1"/>
          </p:cNvPicPr>
          <p:nvPr>
            <p:custDataLst>
              <p:tags r:id="rId10"/>
            </p:custDataLst>
          </p:nvPr>
        </p:nvPicPr>
        <p:blipFill>
          <a:blip r:embed="rId22">
            <a:extLst>
              <a:ext uri="{96DAC541-7B7A-43D3-8B79-37D633B846F1}">
                <asvg:svgBlip xmlns:asvg="http://schemas.microsoft.com/office/drawing/2016/SVG/main" r:embed="rId23"/>
              </a:ext>
            </a:extLst>
          </a:blip>
          <a:stretch>
            <a:fillRect/>
          </a:stretch>
        </p:blipFill>
        <p:spPr>
          <a:xfrm rot="10800000">
            <a:off x="10945109" y="3078482"/>
            <a:ext cx="317926" cy="335751"/>
          </a:xfrm>
          <a:prstGeom prst="rect">
            <a:avLst/>
          </a:prstGeom>
        </p:spPr>
      </p:pic>
      <p:pic>
        <p:nvPicPr>
          <p:cNvPr id="668" name="DoubleArrow 84">
            <a:extLst>
              <a:ext uri="{FF2B5EF4-FFF2-40B4-BE49-F238E27FC236}">
                <a16:creationId xmlns:a16="http://schemas.microsoft.com/office/drawing/2014/main" id="{A9ECECEC-1B4C-4F9B-B085-7B9A3517EB5A}"/>
              </a:ext>
            </a:extLst>
          </p:cNvPr>
          <p:cNvPicPr>
            <a:picLocks noChangeAspect="1"/>
          </p:cNvPicPr>
          <p:nvPr>
            <p:custDataLst>
              <p:tags r:id="rId11"/>
            </p:custDataLst>
          </p:nvPr>
        </p:nvPicPr>
        <p:blipFill>
          <a:blip r:embed="rId20">
            <a:extLst>
              <a:ext uri="{96DAC541-7B7A-43D3-8B79-37D633B846F1}">
                <asvg:svgBlip xmlns:asvg="http://schemas.microsoft.com/office/drawing/2016/SVG/main" r:embed="rId21"/>
              </a:ext>
            </a:extLst>
          </a:blip>
          <a:stretch>
            <a:fillRect/>
          </a:stretch>
        </p:blipFill>
        <p:spPr>
          <a:xfrm>
            <a:off x="6323653" y="5789357"/>
            <a:ext cx="402535" cy="425104"/>
          </a:xfrm>
          <a:prstGeom prst="rect">
            <a:avLst/>
          </a:prstGeom>
        </p:spPr>
      </p:pic>
      <p:sp>
        <p:nvSpPr>
          <p:cNvPr id="651" name="Rectangle 36">
            <a:extLst>
              <a:ext uri="{FF2B5EF4-FFF2-40B4-BE49-F238E27FC236}">
                <a16:creationId xmlns:a16="http://schemas.microsoft.com/office/drawing/2014/main" id="{EEE8B314-9A0D-4705-81F3-51E691DAA1BA}"/>
              </a:ext>
            </a:extLst>
          </p:cNvPr>
          <p:cNvSpPr>
            <a:spLocks noChangeArrowheads="1"/>
          </p:cNvSpPr>
          <p:nvPr/>
        </p:nvSpPr>
        <p:spPr bwMode="gray">
          <a:xfrm>
            <a:off x="5580163" y="5859242"/>
            <a:ext cx="661990" cy="157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83A1AF"/>
                </a:solidFill>
                <a:effectLst/>
                <a:uLnTx/>
                <a:uFillTx/>
                <a:latin typeface="Bahnschrift" panose="020B0502040204020203" pitchFamily="34" charset="0"/>
                <a:ea typeface="+mn-ea"/>
                <a:cs typeface="+mn-cs"/>
                <a:sym typeface="Bahnschrift" panose="020B0502040204020203" pitchFamily="34" charset="0"/>
              </a:rPr>
              <a:t>Exit: 1.150</a:t>
            </a:r>
          </a:p>
        </p:txBody>
      </p:sp>
      <p:sp>
        <p:nvSpPr>
          <p:cNvPr id="653" name="Rectangle 36">
            <a:extLst>
              <a:ext uri="{FF2B5EF4-FFF2-40B4-BE49-F238E27FC236}">
                <a16:creationId xmlns:a16="http://schemas.microsoft.com/office/drawing/2014/main" id="{73F5860C-CFD9-4C4D-AC3D-F091504ACB56}"/>
              </a:ext>
            </a:extLst>
          </p:cNvPr>
          <p:cNvSpPr>
            <a:spLocks noChangeArrowheads="1"/>
          </p:cNvSpPr>
          <p:nvPr/>
        </p:nvSpPr>
        <p:spPr bwMode="gray">
          <a:xfrm>
            <a:off x="5580163" y="6019885"/>
            <a:ext cx="661990" cy="157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12D44"/>
                </a:solidFill>
                <a:effectLst/>
                <a:uLnTx/>
                <a:uFillTx/>
                <a:latin typeface="Bahnschrift" panose="020B0502040204020203" pitchFamily="34" charset="0"/>
                <a:ea typeface="+mn-ea"/>
                <a:cs typeface="+mn-cs"/>
                <a:sym typeface="Bahnschrift" panose="020B0502040204020203" pitchFamily="34" charset="0"/>
              </a:rPr>
              <a:t>Entry: 193</a:t>
            </a:r>
          </a:p>
        </p:txBody>
      </p:sp>
      <p:sp>
        <p:nvSpPr>
          <p:cNvPr id="662" name="Rectangle 36">
            <a:extLst>
              <a:ext uri="{FF2B5EF4-FFF2-40B4-BE49-F238E27FC236}">
                <a16:creationId xmlns:a16="http://schemas.microsoft.com/office/drawing/2014/main" id="{A1586437-C8C5-4B0D-9786-E8A921F11E8B}"/>
              </a:ext>
            </a:extLst>
          </p:cNvPr>
          <p:cNvSpPr>
            <a:spLocks noChangeArrowheads="1"/>
          </p:cNvSpPr>
          <p:nvPr/>
        </p:nvSpPr>
        <p:spPr bwMode="gray">
          <a:xfrm>
            <a:off x="9286657" y="5741805"/>
            <a:ext cx="661990" cy="157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000" b="1" i="0" u="none" strike="noStrike" kern="1200" cap="none" spc="0" normalizeH="0" baseline="0" noProof="0" dirty="0">
              <a:ln>
                <a:noFill/>
              </a:ln>
              <a:solidFill>
                <a:srgbClr val="83A1AF"/>
              </a:solidFill>
              <a:effectLst/>
              <a:uLnTx/>
              <a:uFillTx/>
              <a:latin typeface="Bahnschrift" panose="020B0502040204020203" pitchFamily="34" charset="0"/>
              <a:ea typeface="+mn-ea"/>
              <a:cs typeface="+mn-cs"/>
              <a:sym typeface="Bahnschrift" panose="020B0502040204020203" pitchFamily="34" charset="0"/>
            </a:endParaRPr>
          </a:p>
        </p:txBody>
      </p:sp>
      <p:sp>
        <p:nvSpPr>
          <p:cNvPr id="681" name="Rectangle 36">
            <a:extLst>
              <a:ext uri="{FF2B5EF4-FFF2-40B4-BE49-F238E27FC236}">
                <a16:creationId xmlns:a16="http://schemas.microsoft.com/office/drawing/2014/main" id="{C096FF97-445F-4EE1-BFE9-596FEAE704F0}"/>
              </a:ext>
            </a:extLst>
          </p:cNvPr>
          <p:cNvSpPr>
            <a:spLocks noChangeArrowheads="1"/>
          </p:cNvSpPr>
          <p:nvPr/>
        </p:nvSpPr>
        <p:spPr bwMode="gray">
          <a:xfrm>
            <a:off x="9180596" y="5704624"/>
            <a:ext cx="579055" cy="157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83A1AF"/>
                </a:solidFill>
                <a:effectLst/>
                <a:uLnTx/>
                <a:uFillTx/>
                <a:latin typeface="Bahnschrift" panose="020B0502040204020203" pitchFamily="34" charset="0"/>
                <a:ea typeface="+mn-ea"/>
                <a:cs typeface="+mn-cs"/>
                <a:sym typeface="Bahnschrift" panose="020B0502040204020203" pitchFamily="34" charset="0"/>
              </a:rPr>
              <a:t>Exit: 112</a:t>
            </a:r>
          </a:p>
        </p:txBody>
      </p:sp>
      <p:sp>
        <p:nvSpPr>
          <p:cNvPr id="684" name="Rectangle 36">
            <a:extLst>
              <a:ext uri="{FF2B5EF4-FFF2-40B4-BE49-F238E27FC236}">
                <a16:creationId xmlns:a16="http://schemas.microsoft.com/office/drawing/2014/main" id="{A3E36E16-33A2-4681-826E-97D08C921730}"/>
              </a:ext>
            </a:extLst>
          </p:cNvPr>
          <p:cNvSpPr>
            <a:spLocks noChangeArrowheads="1"/>
          </p:cNvSpPr>
          <p:nvPr/>
        </p:nvSpPr>
        <p:spPr bwMode="gray">
          <a:xfrm>
            <a:off x="11192522" y="3167806"/>
            <a:ext cx="444742" cy="157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83A1AF"/>
                </a:solidFill>
                <a:effectLst/>
                <a:uLnTx/>
                <a:uFillTx/>
                <a:latin typeface="Bahnschrift" panose="020B0502040204020203" pitchFamily="34" charset="0"/>
                <a:ea typeface="+mn-ea"/>
                <a:cs typeface="+mn-cs"/>
                <a:sym typeface="Bahnschrift" panose="020B0502040204020203" pitchFamily="34" charset="0"/>
              </a:rPr>
              <a:t>Exit: 153</a:t>
            </a:r>
          </a:p>
        </p:txBody>
      </p:sp>
      <p:sp>
        <p:nvSpPr>
          <p:cNvPr id="687" name="Rectangle 36">
            <a:extLst>
              <a:ext uri="{FF2B5EF4-FFF2-40B4-BE49-F238E27FC236}">
                <a16:creationId xmlns:a16="http://schemas.microsoft.com/office/drawing/2014/main" id="{08B92F18-009E-422F-A2B1-246A182C0457}"/>
              </a:ext>
            </a:extLst>
          </p:cNvPr>
          <p:cNvSpPr>
            <a:spLocks noChangeArrowheads="1"/>
          </p:cNvSpPr>
          <p:nvPr/>
        </p:nvSpPr>
        <p:spPr bwMode="gray">
          <a:xfrm>
            <a:off x="10826099" y="2219090"/>
            <a:ext cx="633017" cy="157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83A1AF"/>
                </a:solidFill>
                <a:effectLst/>
                <a:uLnTx/>
                <a:uFillTx/>
                <a:latin typeface="Bahnschrift" panose="020B0502040204020203" pitchFamily="34" charset="0"/>
                <a:ea typeface="+mn-ea"/>
                <a:cs typeface="+mn-cs"/>
                <a:sym typeface="Bahnschrift" panose="020B0502040204020203" pitchFamily="34" charset="0"/>
              </a:rPr>
              <a:t>Exit: 246</a:t>
            </a:r>
          </a:p>
        </p:txBody>
      </p:sp>
      <p:sp>
        <p:nvSpPr>
          <p:cNvPr id="688" name="Rectangle 36">
            <a:extLst>
              <a:ext uri="{FF2B5EF4-FFF2-40B4-BE49-F238E27FC236}">
                <a16:creationId xmlns:a16="http://schemas.microsoft.com/office/drawing/2014/main" id="{2C8AB324-FA00-48F9-A072-70BA4B5D51D6}"/>
              </a:ext>
            </a:extLst>
          </p:cNvPr>
          <p:cNvSpPr>
            <a:spLocks noChangeArrowheads="1"/>
          </p:cNvSpPr>
          <p:nvPr/>
        </p:nvSpPr>
        <p:spPr bwMode="gray">
          <a:xfrm>
            <a:off x="10826099" y="2379732"/>
            <a:ext cx="684932" cy="158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12D44"/>
                </a:solidFill>
                <a:effectLst/>
                <a:uLnTx/>
                <a:uFillTx/>
                <a:latin typeface="Bahnschrift" panose="020B0502040204020203" pitchFamily="34" charset="0"/>
                <a:ea typeface="+mn-ea"/>
                <a:cs typeface="+mn-cs"/>
                <a:sym typeface="Bahnschrift" panose="020B0502040204020203" pitchFamily="34" charset="0"/>
              </a:rPr>
              <a:t>Entry: 1.570</a:t>
            </a:r>
          </a:p>
        </p:txBody>
      </p:sp>
      <p:grpSp>
        <p:nvGrpSpPr>
          <p:cNvPr id="689" name="Group 688">
            <a:extLst>
              <a:ext uri="{FF2B5EF4-FFF2-40B4-BE49-F238E27FC236}">
                <a16:creationId xmlns:a16="http://schemas.microsoft.com/office/drawing/2014/main" id="{955380E6-6FCC-4D56-AFDE-EFCF2EE877A6}"/>
              </a:ext>
            </a:extLst>
          </p:cNvPr>
          <p:cNvGrpSpPr/>
          <p:nvPr/>
        </p:nvGrpSpPr>
        <p:grpSpPr>
          <a:xfrm>
            <a:off x="4872288" y="3059246"/>
            <a:ext cx="661990" cy="317747"/>
            <a:chOff x="6550590" y="6343774"/>
            <a:chExt cx="684794" cy="311242"/>
          </a:xfrm>
        </p:grpSpPr>
        <p:sp>
          <p:nvSpPr>
            <p:cNvPr id="690" name="Rectangle 36">
              <a:extLst>
                <a:ext uri="{FF2B5EF4-FFF2-40B4-BE49-F238E27FC236}">
                  <a16:creationId xmlns:a16="http://schemas.microsoft.com/office/drawing/2014/main" id="{751BEAAB-B0F2-497E-95BB-60FEA11DB104}"/>
                </a:ext>
              </a:extLst>
            </p:cNvPr>
            <p:cNvSpPr>
              <a:spLocks noChangeArrowheads="1"/>
            </p:cNvSpPr>
            <p:nvPr/>
          </p:nvSpPr>
          <p:spPr bwMode="gray">
            <a:xfrm>
              <a:off x="6550590" y="6343774"/>
              <a:ext cx="6847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83A1AF"/>
                  </a:solidFill>
                  <a:effectLst/>
                  <a:uLnTx/>
                  <a:uFillTx/>
                  <a:latin typeface="Bahnschrift" panose="020B0502040204020203" pitchFamily="34" charset="0"/>
                  <a:ea typeface="+mn-ea"/>
                  <a:cs typeface="+mn-cs"/>
                  <a:sym typeface="Bahnschrift" panose="020B0502040204020203" pitchFamily="34" charset="0"/>
                </a:rPr>
                <a:t>Exit: 174</a:t>
              </a:r>
            </a:p>
          </p:txBody>
        </p:sp>
        <p:sp>
          <p:nvSpPr>
            <p:cNvPr id="691" name="Rectangle 36">
              <a:extLst>
                <a:ext uri="{FF2B5EF4-FFF2-40B4-BE49-F238E27FC236}">
                  <a16:creationId xmlns:a16="http://schemas.microsoft.com/office/drawing/2014/main" id="{1F7CB8B8-9C75-48DC-A518-8660880E0164}"/>
                </a:ext>
              </a:extLst>
            </p:cNvPr>
            <p:cNvSpPr>
              <a:spLocks noChangeArrowheads="1"/>
            </p:cNvSpPr>
            <p:nvPr/>
          </p:nvSpPr>
          <p:spPr bwMode="gray">
            <a:xfrm>
              <a:off x="6550590" y="6501128"/>
              <a:ext cx="59900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12D44"/>
                  </a:solidFill>
                  <a:effectLst/>
                  <a:uLnTx/>
                  <a:uFillTx/>
                  <a:latin typeface="Bahnschrift" panose="020B0502040204020203" pitchFamily="34" charset="0"/>
                  <a:ea typeface="+mn-ea"/>
                  <a:cs typeface="+mn-cs"/>
                  <a:sym typeface="Bahnschrift" panose="020B0502040204020203" pitchFamily="34" charset="0"/>
                </a:rPr>
                <a:t>Entry: 114</a:t>
              </a:r>
            </a:p>
          </p:txBody>
        </p:sp>
      </p:grpSp>
      <p:grpSp>
        <p:nvGrpSpPr>
          <p:cNvPr id="692" name="Group 691">
            <a:extLst>
              <a:ext uri="{FF2B5EF4-FFF2-40B4-BE49-F238E27FC236}">
                <a16:creationId xmlns:a16="http://schemas.microsoft.com/office/drawing/2014/main" id="{F4D2EA3C-D9C8-4140-AC69-53C5873E9465}"/>
              </a:ext>
            </a:extLst>
          </p:cNvPr>
          <p:cNvGrpSpPr/>
          <p:nvPr/>
        </p:nvGrpSpPr>
        <p:grpSpPr>
          <a:xfrm>
            <a:off x="6972752" y="1608501"/>
            <a:ext cx="661990" cy="317747"/>
            <a:chOff x="6550590" y="6343774"/>
            <a:chExt cx="684794" cy="311242"/>
          </a:xfrm>
        </p:grpSpPr>
        <p:sp>
          <p:nvSpPr>
            <p:cNvPr id="693" name="Rectangle 36">
              <a:extLst>
                <a:ext uri="{FF2B5EF4-FFF2-40B4-BE49-F238E27FC236}">
                  <a16:creationId xmlns:a16="http://schemas.microsoft.com/office/drawing/2014/main" id="{205C298A-ACB6-4891-ACCC-1F4263B6A8D6}"/>
                </a:ext>
              </a:extLst>
            </p:cNvPr>
            <p:cNvSpPr>
              <a:spLocks noChangeArrowheads="1"/>
            </p:cNvSpPr>
            <p:nvPr/>
          </p:nvSpPr>
          <p:spPr bwMode="gray">
            <a:xfrm>
              <a:off x="6550590" y="6343774"/>
              <a:ext cx="6847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83A1AF"/>
                  </a:solidFill>
                  <a:effectLst/>
                  <a:uLnTx/>
                  <a:uFillTx/>
                  <a:latin typeface="Bahnschrift" panose="020B0502040204020203" pitchFamily="34" charset="0"/>
                  <a:ea typeface="+mn-ea"/>
                  <a:cs typeface="+mn-cs"/>
                  <a:sym typeface="Bahnschrift" panose="020B0502040204020203" pitchFamily="34" charset="0"/>
                </a:rPr>
                <a:t>Exit: 159</a:t>
              </a:r>
            </a:p>
          </p:txBody>
        </p:sp>
        <p:sp>
          <p:nvSpPr>
            <p:cNvPr id="694" name="Rectangle 36">
              <a:extLst>
                <a:ext uri="{FF2B5EF4-FFF2-40B4-BE49-F238E27FC236}">
                  <a16:creationId xmlns:a16="http://schemas.microsoft.com/office/drawing/2014/main" id="{572B5081-CDF6-4843-9BF4-CACF997B9838}"/>
                </a:ext>
              </a:extLst>
            </p:cNvPr>
            <p:cNvSpPr>
              <a:spLocks noChangeArrowheads="1"/>
            </p:cNvSpPr>
            <p:nvPr/>
          </p:nvSpPr>
          <p:spPr bwMode="gray">
            <a:xfrm>
              <a:off x="6550590" y="6501128"/>
              <a:ext cx="59900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1" i="0" u="none" strike="noStrike" kern="1200" cap="none" spc="0" normalizeH="0" baseline="0" noProof="0" dirty="0">
                  <a:ln>
                    <a:noFill/>
                  </a:ln>
                  <a:solidFill>
                    <a:srgbClr val="012D44"/>
                  </a:solidFill>
                  <a:effectLst/>
                  <a:uLnTx/>
                  <a:uFillTx/>
                  <a:latin typeface="Bahnschrift" panose="020B0502040204020203" pitchFamily="34" charset="0"/>
                  <a:ea typeface="+mn-ea"/>
                  <a:cs typeface="+mn-cs"/>
                  <a:sym typeface="Bahnschrift" panose="020B0502040204020203" pitchFamily="34" charset="0"/>
                </a:rPr>
                <a:t>Entry: 199</a:t>
              </a:r>
            </a:p>
          </p:txBody>
        </p:sp>
      </p:grpSp>
      <p:sp>
        <p:nvSpPr>
          <p:cNvPr id="8" name="Rectangle 7">
            <a:extLst>
              <a:ext uri="{FF2B5EF4-FFF2-40B4-BE49-F238E27FC236}">
                <a16:creationId xmlns:a16="http://schemas.microsoft.com/office/drawing/2014/main" id="{2C82F03F-404A-4D80-A42E-41675461D521}"/>
              </a:ext>
            </a:extLst>
          </p:cNvPr>
          <p:cNvSpPr/>
          <p:nvPr/>
        </p:nvSpPr>
        <p:spPr>
          <a:xfrm>
            <a:off x="2414440" y="5535350"/>
            <a:ext cx="2672752" cy="597772"/>
          </a:xfrm>
          <a:prstGeom prst="rect">
            <a:avLst/>
          </a:prstGeom>
          <a:no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e-DE" sz="105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sym typeface="Bahnschrift" panose="020B0502040204020203" pitchFamily="34" charset="0"/>
              </a:rPr>
              <a:t>Vorarlberg und Tirol werden noch aus Deutschland versorgt, bis die Anschlussleitung fertig ist</a:t>
            </a:r>
            <a:endParaRPr kumimoji="0" lang="ru-RU" sz="1050" b="0" i="0" u="none" strike="noStrike" kern="1200" cap="none" spc="0" normalizeH="0" baseline="0" noProof="0" dirty="0" err="1">
              <a:ln>
                <a:noFill/>
              </a:ln>
              <a:solidFill>
                <a:srgbClr val="004FA1"/>
              </a:solidFill>
              <a:effectLst/>
              <a:uLnTx/>
              <a:uFillTx/>
              <a:latin typeface="Bahnschrift" panose="020B0502040204020203" pitchFamily="34" charset="0"/>
              <a:ea typeface="+mn-ea"/>
              <a:cs typeface="+mn-cs"/>
              <a:sym typeface="Bahnschrift" panose="020B0502040204020203" pitchFamily="34" charset="0"/>
            </a:endParaRPr>
          </a:p>
        </p:txBody>
      </p:sp>
      <p:sp>
        <p:nvSpPr>
          <p:cNvPr id="3" name="Oval 25">
            <a:extLst>
              <a:ext uri="{FF2B5EF4-FFF2-40B4-BE49-F238E27FC236}">
                <a16:creationId xmlns:a16="http://schemas.microsoft.com/office/drawing/2014/main" id="{D8727E1D-ED90-74B3-1B58-797D37FBC47F}"/>
              </a:ext>
            </a:extLst>
          </p:cNvPr>
          <p:cNvSpPr>
            <a:spLocks noChangeArrowheads="1"/>
          </p:cNvSpPr>
          <p:nvPr/>
        </p:nvSpPr>
        <p:spPr bwMode="gray">
          <a:xfrm>
            <a:off x="5772177" y="3328791"/>
            <a:ext cx="123032" cy="135312"/>
          </a:xfrm>
          <a:prstGeom prst="triangle">
            <a:avLst/>
          </a:prstGeom>
          <a:solidFill>
            <a:srgbClr val="6BBA20"/>
          </a:solidFill>
          <a:ln w="3175" cap="flat">
            <a:solidFill>
              <a:schemeClr val="bg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404" name="Rectangle 35">
            <a:extLst>
              <a:ext uri="{FF2B5EF4-FFF2-40B4-BE49-F238E27FC236}">
                <a16:creationId xmlns:a16="http://schemas.microsoft.com/office/drawing/2014/main" id="{A65D75FD-3539-4BB5-B603-E6194D98121E}"/>
              </a:ext>
            </a:extLst>
          </p:cNvPr>
          <p:cNvSpPr>
            <a:spLocks noChangeArrowheads="1"/>
          </p:cNvSpPr>
          <p:nvPr/>
        </p:nvSpPr>
        <p:spPr bwMode="gray">
          <a:xfrm>
            <a:off x="5198532" y="3521513"/>
            <a:ext cx="446291" cy="157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err="1">
                <a:ln>
                  <a:noFill/>
                </a:ln>
                <a:solidFill>
                  <a:srgbClr val="000000"/>
                </a:solidFill>
                <a:effectLst/>
                <a:uLnTx/>
                <a:uFillTx/>
                <a:latin typeface="Bahnschrift" panose="020B0502040204020203" pitchFamily="34" charset="0"/>
                <a:ea typeface="+mn-ea"/>
                <a:cs typeface="+mn-cs"/>
                <a:sym typeface="Bahnschrift" panose="020B0502040204020203" pitchFamily="34" charset="0"/>
              </a:rPr>
              <a:t>Haidach</a:t>
            </a:r>
            <a:endPar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14" name="Rectangle 35">
            <a:extLst>
              <a:ext uri="{FF2B5EF4-FFF2-40B4-BE49-F238E27FC236}">
                <a16:creationId xmlns:a16="http://schemas.microsoft.com/office/drawing/2014/main" id="{47179DB4-517B-B77A-AD97-2EE7A027CEC2}"/>
              </a:ext>
            </a:extLst>
          </p:cNvPr>
          <p:cNvSpPr>
            <a:spLocks noChangeArrowheads="1"/>
          </p:cNvSpPr>
          <p:nvPr/>
        </p:nvSpPr>
        <p:spPr bwMode="gray">
          <a:xfrm>
            <a:off x="5278729" y="3652148"/>
            <a:ext cx="395154" cy="157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7Fields</a:t>
            </a:r>
          </a:p>
        </p:txBody>
      </p:sp>
      <p:sp>
        <p:nvSpPr>
          <p:cNvPr id="39" name="Speech Bubble: Rectangle with Corners Rounded 38">
            <a:extLst>
              <a:ext uri="{FF2B5EF4-FFF2-40B4-BE49-F238E27FC236}">
                <a16:creationId xmlns:a16="http://schemas.microsoft.com/office/drawing/2014/main" id="{C20453F7-B9E2-A21E-0F98-74C3AB1D3F58}"/>
              </a:ext>
            </a:extLst>
          </p:cNvPr>
          <p:cNvSpPr/>
          <p:nvPr/>
        </p:nvSpPr>
        <p:spPr>
          <a:xfrm>
            <a:off x="3588984" y="3663962"/>
            <a:ext cx="1408297" cy="427925"/>
          </a:xfrm>
          <a:prstGeom prst="wedgeRoundRectCallout">
            <a:avLst>
              <a:gd name="adj1" fmla="val 63732"/>
              <a:gd name="adj2" fmla="val -45506"/>
              <a:gd name="adj3" fmla="val 16667"/>
            </a:avLst>
          </a:prstGeom>
          <a:solidFill>
            <a:schemeClr val="bg1"/>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e-DE" altLang="de-DE" sz="600" b="0" i="0" u="none" strike="noStrike" kern="1200" cap="none" spc="0" normalizeH="0" baseline="0" noProof="0" dirty="0">
                <a:ln>
                  <a:noFill/>
                </a:ln>
                <a:solidFill>
                  <a:srgbClr val="000000"/>
                </a:solidFill>
                <a:effectLst/>
                <a:uLnTx/>
                <a:uFillTx/>
                <a:latin typeface="Bahnschrift" panose="020B0502040204020203" pitchFamily="34" charset="0"/>
                <a:ea typeface="Calibri" panose="020F0502020204030204" pitchFamily="34" charset="0"/>
                <a:cs typeface="Calibri" panose="020F0502020204030204" pitchFamily="34" charset="0"/>
              </a:rPr>
              <a:t>Bilaterales Abkommen zwischen AT und DE bzgl. gemeinsamer Nutzung und Befüllung der Gasspeicher Haidach und 7Fields</a:t>
            </a:r>
            <a:endParaRPr kumimoji="0" lang="de-AT" sz="600" b="0" i="0" u="none" strike="noStrike" kern="1200" cap="none" spc="0" normalizeH="0" baseline="0" noProof="0" dirty="0" err="1">
              <a:ln>
                <a:noFill/>
              </a:ln>
              <a:solidFill>
                <a:srgbClr val="FFFFFF"/>
              </a:solidFill>
              <a:effectLst/>
              <a:uLnTx/>
              <a:uFillTx/>
              <a:latin typeface="Bahnschrift"/>
              <a:ea typeface="+mn-ea"/>
              <a:cs typeface="+mn-cs"/>
            </a:endParaRPr>
          </a:p>
        </p:txBody>
      </p:sp>
      <p:sp>
        <p:nvSpPr>
          <p:cNvPr id="46" name="Oval 42">
            <a:extLst>
              <a:ext uri="{FF2B5EF4-FFF2-40B4-BE49-F238E27FC236}">
                <a16:creationId xmlns:a16="http://schemas.microsoft.com/office/drawing/2014/main" id="{47D4740E-83BE-062C-635D-738BAB63271F}"/>
              </a:ext>
            </a:extLst>
          </p:cNvPr>
          <p:cNvSpPr>
            <a:spLocks noChangeArrowheads="1"/>
          </p:cNvSpPr>
          <p:nvPr/>
        </p:nvSpPr>
        <p:spPr bwMode="gray">
          <a:xfrm>
            <a:off x="10054443" y="3177300"/>
            <a:ext cx="92504" cy="99375"/>
          </a:xfrm>
          <a:prstGeom prst="ellipse">
            <a:avLst/>
          </a:prstGeom>
          <a:solidFill>
            <a:schemeClr val="accent5"/>
          </a:solidFill>
          <a:ln w="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48" name="Rectangle 47">
            <a:extLst>
              <a:ext uri="{FF2B5EF4-FFF2-40B4-BE49-F238E27FC236}">
                <a16:creationId xmlns:a16="http://schemas.microsoft.com/office/drawing/2014/main" id="{DEBAB82B-53B0-8C2E-AF1F-B30AE746FC44}"/>
              </a:ext>
            </a:extLst>
          </p:cNvPr>
          <p:cNvSpPr/>
          <p:nvPr/>
        </p:nvSpPr>
        <p:spPr bwMode="gray">
          <a:xfrm>
            <a:off x="8570718" y="3591487"/>
            <a:ext cx="1361803" cy="635972"/>
          </a:xfrm>
          <a:prstGeom prst="rect">
            <a:avLst/>
          </a:prstGeom>
          <a:solidFill>
            <a:schemeClr val="bg1"/>
          </a:solidFill>
          <a:ln w="6350" cap="rnd">
            <a:solidFill>
              <a:schemeClr val="bg1">
                <a:lumMod val="5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51" name="AutoShape 2">
            <a:extLst>
              <a:ext uri="{FF2B5EF4-FFF2-40B4-BE49-F238E27FC236}">
                <a16:creationId xmlns:a16="http://schemas.microsoft.com/office/drawing/2014/main" id="{65331B47-CC56-4DCE-DFA3-1929362B7599}"/>
              </a:ext>
            </a:extLst>
          </p:cNvPr>
          <p:cNvSpPr>
            <a:spLocks noChangeAspect="1" noChangeArrowheads="1"/>
          </p:cNvSpPr>
          <p:nvPr/>
        </p:nvSpPr>
        <p:spPr bwMode="auto">
          <a:xfrm>
            <a:off x="6133204" y="3215201"/>
            <a:ext cx="294650" cy="31117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srgbClr val="000000"/>
              </a:solidFill>
              <a:effectLst/>
              <a:uLnTx/>
              <a:uFillTx/>
              <a:latin typeface="Bahnschrift"/>
              <a:ea typeface="+mn-ea"/>
              <a:cs typeface="+mn-cs"/>
            </a:endParaRPr>
          </a:p>
        </p:txBody>
      </p:sp>
      <p:pic>
        <p:nvPicPr>
          <p:cNvPr id="58" name="Picture 57">
            <a:extLst>
              <a:ext uri="{FF2B5EF4-FFF2-40B4-BE49-F238E27FC236}">
                <a16:creationId xmlns:a16="http://schemas.microsoft.com/office/drawing/2014/main" id="{90DFABE0-287F-D113-19DF-C984C9A3D5FD}"/>
              </a:ext>
            </a:extLst>
          </p:cNvPr>
          <p:cNvPicPr>
            <a:picLocks noChangeAspect="1"/>
          </p:cNvPicPr>
          <p:nvPr/>
        </p:nvPicPr>
        <p:blipFill>
          <a:blip r:embed="rId35"/>
          <a:stretch>
            <a:fillRect/>
          </a:stretch>
        </p:blipFill>
        <p:spPr>
          <a:xfrm>
            <a:off x="8578324" y="3730295"/>
            <a:ext cx="1345708" cy="397924"/>
          </a:xfrm>
          <a:prstGeom prst="rect">
            <a:avLst/>
          </a:prstGeom>
        </p:spPr>
      </p:pic>
      <p:pic>
        <p:nvPicPr>
          <p:cNvPr id="1026" name="Picture 2" descr="Company">
            <a:extLst>
              <a:ext uri="{FF2B5EF4-FFF2-40B4-BE49-F238E27FC236}">
                <a16:creationId xmlns:a16="http://schemas.microsoft.com/office/drawing/2014/main" id="{E722C7AE-FAC2-4E32-4E35-5319FF60BC69}"/>
              </a:ext>
            </a:extLst>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5800770" y="1455840"/>
            <a:ext cx="622699" cy="145309"/>
          </a:xfrm>
          <a:prstGeom prst="rect">
            <a:avLst/>
          </a:prstGeom>
          <a:noFill/>
          <a:extLst>
            <a:ext uri="{909E8E84-426E-40DD-AFC4-6F175D3DCCD1}">
              <a14:hiddenFill xmlns:a14="http://schemas.microsoft.com/office/drawing/2010/main">
                <a:solidFill>
                  <a:srgbClr val="FFFFFF"/>
                </a:solidFill>
              </a14:hiddenFill>
            </a:ext>
          </a:extLst>
        </p:spPr>
      </p:pic>
      <p:cxnSp>
        <p:nvCxnSpPr>
          <p:cNvPr id="29" name="Straight Connector 28">
            <a:extLst>
              <a:ext uri="{FF2B5EF4-FFF2-40B4-BE49-F238E27FC236}">
                <a16:creationId xmlns:a16="http://schemas.microsoft.com/office/drawing/2014/main" id="{0F3D83B8-DD3F-01E4-04B4-B1B290CF8846}"/>
              </a:ext>
            </a:extLst>
          </p:cNvPr>
          <p:cNvCxnSpPr>
            <a:cxnSpLocks/>
          </p:cNvCxnSpPr>
          <p:nvPr/>
        </p:nvCxnSpPr>
        <p:spPr>
          <a:xfrm flipV="1">
            <a:off x="9797929" y="3209303"/>
            <a:ext cx="0" cy="382184"/>
          </a:xfrm>
          <a:prstGeom prst="line">
            <a:avLst/>
          </a:prstGeom>
          <a:ln w="6350" cap="flat">
            <a:solidFill>
              <a:schemeClr val="tx1">
                <a:lumMod val="50000"/>
                <a:lumOff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AB61D96-7419-9AA6-5B18-6F5D084444D1}"/>
              </a:ext>
            </a:extLst>
          </p:cNvPr>
          <p:cNvCxnSpPr>
            <a:cxnSpLocks/>
          </p:cNvCxnSpPr>
          <p:nvPr/>
        </p:nvCxnSpPr>
        <p:spPr>
          <a:xfrm flipH="1" flipV="1">
            <a:off x="9797929" y="3210344"/>
            <a:ext cx="244019" cy="2530"/>
          </a:xfrm>
          <a:prstGeom prst="line">
            <a:avLst/>
          </a:prstGeom>
          <a:ln w="6350" cap="flat">
            <a:solidFill>
              <a:schemeClr val="tx1">
                <a:lumMod val="50000"/>
                <a:lumOff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87007AB9-517D-984F-8F4E-43C592719014}"/>
              </a:ext>
            </a:extLst>
          </p:cNvPr>
          <p:cNvSpPr/>
          <p:nvPr/>
        </p:nvSpPr>
        <p:spPr bwMode="gray">
          <a:xfrm>
            <a:off x="7817183" y="2586105"/>
            <a:ext cx="1361803" cy="635972"/>
          </a:xfrm>
          <a:prstGeom prst="rect">
            <a:avLst/>
          </a:prstGeom>
          <a:solidFill>
            <a:schemeClr val="bg1"/>
          </a:solidFill>
          <a:ln w="6350" cap="rnd">
            <a:solidFill>
              <a:schemeClr val="bg1">
                <a:lumMod val="5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sp>
        <p:nvSpPr>
          <p:cNvPr id="45" name="Oval 42">
            <a:extLst>
              <a:ext uri="{FF2B5EF4-FFF2-40B4-BE49-F238E27FC236}">
                <a16:creationId xmlns:a16="http://schemas.microsoft.com/office/drawing/2014/main" id="{10B3A42C-1B18-FF5D-D843-A801EF378550}"/>
              </a:ext>
            </a:extLst>
          </p:cNvPr>
          <p:cNvSpPr>
            <a:spLocks noChangeArrowheads="1"/>
          </p:cNvSpPr>
          <p:nvPr/>
        </p:nvSpPr>
        <p:spPr bwMode="gray">
          <a:xfrm>
            <a:off x="9461497" y="3345578"/>
            <a:ext cx="92504" cy="99375"/>
          </a:xfrm>
          <a:prstGeom prst="ellipse">
            <a:avLst/>
          </a:prstGeom>
          <a:solidFill>
            <a:schemeClr val="accent5"/>
          </a:solidFill>
          <a:ln w="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pic>
        <p:nvPicPr>
          <p:cNvPr id="1028" name="Picture 4" descr="Baumit GmbH - Fassaden - Putze - Estriche | Baumit.at">
            <a:extLst>
              <a:ext uri="{FF2B5EF4-FFF2-40B4-BE49-F238E27FC236}">
                <a16:creationId xmlns:a16="http://schemas.microsoft.com/office/drawing/2014/main" id="{BB05A1DF-BC6E-BB53-1478-71C1C22E6E1D}"/>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8178905" y="2610670"/>
            <a:ext cx="539937" cy="570210"/>
          </a:xfrm>
          <a:prstGeom prst="rect">
            <a:avLst/>
          </a:prstGeom>
          <a:noFill/>
          <a:extLst>
            <a:ext uri="{909E8E84-426E-40DD-AFC4-6F175D3DCCD1}">
              <a14:hiddenFill xmlns:a14="http://schemas.microsoft.com/office/drawing/2010/main">
                <a:solidFill>
                  <a:srgbClr val="FFFFFF"/>
                </a:solidFill>
              </a14:hiddenFill>
            </a:ext>
          </a:extLst>
        </p:spPr>
      </p:pic>
      <p:cxnSp>
        <p:nvCxnSpPr>
          <p:cNvPr id="47" name="Straight Connector 46">
            <a:extLst>
              <a:ext uri="{FF2B5EF4-FFF2-40B4-BE49-F238E27FC236}">
                <a16:creationId xmlns:a16="http://schemas.microsoft.com/office/drawing/2014/main" id="{E5E99FA8-C90A-2AFC-4EDC-ABD9737A5474}"/>
              </a:ext>
            </a:extLst>
          </p:cNvPr>
          <p:cNvCxnSpPr>
            <a:cxnSpLocks/>
          </p:cNvCxnSpPr>
          <p:nvPr/>
        </p:nvCxnSpPr>
        <p:spPr>
          <a:xfrm flipV="1">
            <a:off x="9506349" y="2925518"/>
            <a:ext cx="0" cy="423175"/>
          </a:xfrm>
          <a:prstGeom prst="line">
            <a:avLst/>
          </a:prstGeom>
          <a:ln w="6350" cap="flat">
            <a:solidFill>
              <a:schemeClr val="tx1">
                <a:lumMod val="50000"/>
                <a:lumOff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9ECF991-7F52-2430-4599-59E6D1C29CB2}"/>
              </a:ext>
            </a:extLst>
          </p:cNvPr>
          <p:cNvCxnSpPr>
            <a:cxnSpLocks/>
          </p:cNvCxnSpPr>
          <p:nvPr/>
        </p:nvCxnSpPr>
        <p:spPr>
          <a:xfrm flipV="1">
            <a:off x="9135248" y="3218119"/>
            <a:ext cx="398" cy="172248"/>
          </a:xfrm>
          <a:prstGeom prst="line">
            <a:avLst/>
          </a:prstGeom>
          <a:ln w="6350" cap="flat">
            <a:solidFill>
              <a:schemeClr val="tx1">
                <a:lumMod val="50000"/>
                <a:lumOff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39B297E6-B354-FA1F-F249-F61D8FEC4A28}"/>
              </a:ext>
            </a:extLst>
          </p:cNvPr>
          <p:cNvSpPr/>
          <p:nvPr/>
        </p:nvSpPr>
        <p:spPr bwMode="gray">
          <a:xfrm>
            <a:off x="8055329" y="3099605"/>
            <a:ext cx="1361803" cy="635972"/>
          </a:xfrm>
          <a:prstGeom prst="rect">
            <a:avLst/>
          </a:prstGeom>
          <a:solidFill>
            <a:schemeClr val="bg1"/>
          </a:solidFill>
          <a:ln w="6350" cap="rnd">
            <a:solidFill>
              <a:schemeClr val="bg1">
                <a:lumMod val="5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a:ln>
                <a:noFill/>
              </a:ln>
              <a:solidFill>
                <a:srgbClr val="FFFFFF"/>
              </a:solidFill>
              <a:effectLst/>
              <a:uLnTx/>
              <a:uFillTx/>
              <a:latin typeface="Bahnschrift" panose="020B0502040204020203" pitchFamily="34" charset="0"/>
              <a:ea typeface="+mn-ea"/>
              <a:cs typeface="+mn-cs"/>
              <a:sym typeface="Bahnschrift" panose="020B0502040204020203" pitchFamily="34" charset="0"/>
            </a:endParaRPr>
          </a:p>
        </p:txBody>
      </p:sp>
      <p:pic>
        <p:nvPicPr>
          <p:cNvPr id="1030" name="Picture 6" descr="ROHRDORFER - Starker Baustoffpartner in der Region">
            <a:extLst>
              <a:ext uri="{FF2B5EF4-FFF2-40B4-BE49-F238E27FC236}">
                <a16:creationId xmlns:a16="http://schemas.microsoft.com/office/drawing/2014/main" id="{E31C0EC9-D6B6-14A3-A36E-3BDD093B4CF9}"/>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8212057" y="3251218"/>
            <a:ext cx="1097619" cy="376542"/>
          </a:xfrm>
          <a:prstGeom prst="rect">
            <a:avLst/>
          </a:prstGeom>
          <a:noFill/>
          <a:extLst>
            <a:ext uri="{909E8E84-426E-40DD-AFC4-6F175D3DCCD1}">
              <a14:hiddenFill xmlns:a14="http://schemas.microsoft.com/office/drawing/2010/main">
                <a:solidFill>
                  <a:srgbClr val="FFFFFF"/>
                </a:solidFill>
              </a14:hiddenFill>
            </a:ext>
          </a:extLst>
        </p:spPr>
      </p:pic>
      <p:cxnSp>
        <p:nvCxnSpPr>
          <p:cNvPr id="66" name="Straight Connector 65">
            <a:extLst>
              <a:ext uri="{FF2B5EF4-FFF2-40B4-BE49-F238E27FC236}">
                <a16:creationId xmlns:a16="http://schemas.microsoft.com/office/drawing/2014/main" id="{DD7A0073-244B-75CD-B1F8-285A073DEDAB}"/>
              </a:ext>
            </a:extLst>
          </p:cNvPr>
          <p:cNvCxnSpPr>
            <a:cxnSpLocks/>
          </p:cNvCxnSpPr>
          <p:nvPr/>
        </p:nvCxnSpPr>
        <p:spPr>
          <a:xfrm flipH="1" flipV="1">
            <a:off x="9178986" y="2920242"/>
            <a:ext cx="330267" cy="5276"/>
          </a:xfrm>
          <a:prstGeom prst="line">
            <a:avLst/>
          </a:prstGeom>
          <a:ln w="6350" cap="flat">
            <a:solidFill>
              <a:schemeClr val="tx1">
                <a:lumMod val="50000"/>
                <a:lumOff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1" name="Rectangle 56">
            <a:extLst>
              <a:ext uri="{FF2B5EF4-FFF2-40B4-BE49-F238E27FC236}">
                <a16:creationId xmlns:a16="http://schemas.microsoft.com/office/drawing/2014/main" id="{F6801B44-E0EB-4368-A7CF-014748D6790F}"/>
              </a:ext>
            </a:extLst>
          </p:cNvPr>
          <p:cNvSpPr>
            <a:spLocks noChangeArrowheads="1"/>
          </p:cNvSpPr>
          <p:nvPr/>
        </p:nvSpPr>
        <p:spPr bwMode="gray">
          <a:xfrm>
            <a:off x="9297059" y="2967289"/>
            <a:ext cx="609002" cy="1571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Schwechat</a:t>
            </a:r>
          </a:p>
        </p:txBody>
      </p:sp>
      <p:sp>
        <p:nvSpPr>
          <p:cNvPr id="70" name="Oval 42">
            <a:extLst>
              <a:ext uri="{FF2B5EF4-FFF2-40B4-BE49-F238E27FC236}">
                <a16:creationId xmlns:a16="http://schemas.microsoft.com/office/drawing/2014/main" id="{1FE75327-74B7-C8F6-9374-E8F5776A4227}"/>
              </a:ext>
            </a:extLst>
          </p:cNvPr>
          <p:cNvSpPr>
            <a:spLocks noChangeArrowheads="1"/>
          </p:cNvSpPr>
          <p:nvPr/>
        </p:nvSpPr>
        <p:spPr bwMode="gray">
          <a:xfrm>
            <a:off x="9701829" y="2985387"/>
            <a:ext cx="92504" cy="99375"/>
          </a:xfrm>
          <a:prstGeom prst="ellipse">
            <a:avLst/>
          </a:prstGeom>
          <a:solidFill>
            <a:schemeClr val="accent5"/>
          </a:solidFill>
          <a:ln w="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cxnSp>
        <p:nvCxnSpPr>
          <p:cNvPr id="71" name="Straight Connector 70">
            <a:extLst>
              <a:ext uri="{FF2B5EF4-FFF2-40B4-BE49-F238E27FC236}">
                <a16:creationId xmlns:a16="http://schemas.microsoft.com/office/drawing/2014/main" id="{94FDD93B-F59F-DF76-683B-285ECCBC34E2}"/>
              </a:ext>
            </a:extLst>
          </p:cNvPr>
          <p:cNvCxnSpPr>
            <a:cxnSpLocks/>
          </p:cNvCxnSpPr>
          <p:nvPr/>
        </p:nvCxnSpPr>
        <p:spPr>
          <a:xfrm flipH="1" flipV="1">
            <a:off x="9744882" y="3075831"/>
            <a:ext cx="277" cy="139370"/>
          </a:xfrm>
          <a:prstGeom prst="line">
            <a:avLst/>
          </a:prstGeom>
          <a:ln w="6350" cap="flat">
            <a:solidFill>
              <a:schemeClr val="tx1">
                <a:lumMod val="50000"/>
                <a:lumOff val="50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7487BA8F-94C0-BF71-7766-06ED76E477BC}"/>
              </a:ext>
            </a:extLst>
          </p:cNvPr>
          <p:cNvCxnSpPr>
            <a:cxnSpLocks/>
          </p:cNvCxnSpPr>
          <p:nvPr/>
        </p:nvCxnSpPr>
        <p:spPr>
          <a:xfrm flipH="1" flipV="1">
            <a:off x="9419938" y="3210977"/>
            <a:ext cx="325222" cy="632"/>
          </a:xfrm>
          <a:prstGeom prst="line">
            <a:avLst/>
          </a:prstGeom>
          <a:ln w="6350" cap="flat">
            <a:solidFill>
              <a:schemeClr val="tx1">
                <a:lumMod val="50000"/>
                <a:lumOff val="5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9" name="3. Subtitle">
            <a:extLst>
              <a:ext uri="{FF2B5EF4-FFF2-40B4-BE49-F238E27FC236}">
                <a16:creationId xmlns:a16="http://schemas.microsoft.com/office/drawing/2014/main" id="{2C1DCD41-AE1B-68BC-B96F-CFC65053293C}"/>
              </a:ext>
            </a:extLst>
          </p:cNvPr>
          <p:cNvSpPr txBox="1">
            <a:spLocks/>
          </p:cNvSpPr>
          <p:nvPr>
            <p:custDataLst>
              <p:tags r:id="rId12"/>
            </p:custDataLst>
          </p:nvPr>
        </p:nvSpPr>
        <p:spPr>
          <a:xfrm>
            <a:off x="764614" y="1084815"/>
            <a:ext cx="9222309" cy="3142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t" anchorCtr="0">
            <a:spAutoFit/>
          </a:bodyPr>
          <a:lstStyle>
            <a:lvl1pPr marL="469900" indent="-469900" algn="l" rtl="0" eaLnBrk="1" fontAlgn="base" hangingPunct="1">
              <a:spcBef>
                <a:spcPct val="20000"/>
              </a:spcBef>
              <a:spcAft>
                <a:spcPct val="0"/>
              </a:spcAft>
              <a:buClr>
                <a:srgbClr val="004FA1"/>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88900" algn="l" defTabSz="914400" rtl="0" eaLnBrk="1" fontAlgn="base" latinLnBrk="0" hangingPunct="1">
              <a:lnSpc>
                <a:spcPct val="100000"/>
              </a:lnSpc>
              <a:spcBef>
                <a:spcPct val="20000"/>
              </a:spcBef>
              <a:spcAft>
                <a:spcPct val="0"/>
              </a:spcAft>
              <a:buClr>
                <a:srgbClr val="004FA1"/>
              </a:buClr>
              <a:buSzTx/>
              <a:buFont typeface="Arial" panose="020B0604020202020204" pitchFamily="34" charset="0"/>
              <a:buNone/>
              <a:tabLst/>
              <a:defRPr/>
            </a:pPr>
            <a:r>
              <a:rPr kumimoji="0" lang="de-DE" sz="1400" b="0" i="0" u="none" strike="noStrike" kern="0" cap="none" spc="0" normalizeH="0" baseline="0" noProof="0" dirty="0">
                <a:ln>
                  <a:noFill/>
                </a:ln>
                <a:solidFill>
                  <a:prstClr val="black"/>
                </a:solidFill>
                <a:effectLst/>
                <a:uLnTx/>
                <a:uFillTx/>
                <a:latin typeface="Bahnschrift" panose="020B0502040204020203" pitchFamily="34" charset="0"/>
                <a:ea typeface="+mn-ea"/>
                <a:cs typeface="+mn-cs"/>
                <a:sym typeface="Bahnschrift" panose="020B0502040204020203" pitchFamily="34" charset="0"/>
              </a:rPr>
              <a:t>Exemplarische Darstellung</a:t>
            </a:r>
          </a:p>
        </p:txBody>
      </p:sp>
      <p:sp>
        <p:nvSpPr>
          <p:cNvPr id="4" name="Rectangle 65">
            <a:extLst>
              <a:ext uri="{FF2B5EF4-FFF2-40B4-BE49-F238E27FC236}">
                <a16:creationId xmlns:a16="http://schemas.microsoft.com/office/drawing/2014/main" id="{E639670E-08AF-F977-2637-1BEAC1076D36}"/>
              </a:ext>
            </a:extLst>
          </p:cNvPr>
          <p:cNvSpPr>
            <a:spLocks noChangeArrowheads="1"/>
          </p:cNvSpPr>
          <p:nvPr/>
        </p:nvSpPr>
        <p:spPr bwMode="gray">
          <a:xfrm>
            <a:off x="10148853" y="3033293"/>
            <a:ext cx="614277" cy="31420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rPr>
              <a:t>Manners-</a:t>
            </a:r>
            <a:r>
              <a:rPr kumimoji="0" lang="en-US" altLang="en-US" sz="1000" b="0" i="0" u="none" strike="noStrike" kern="1200" cap="none" spc="0" normalizeH="0" baseline="0" noProof="0" dirty="0" err="1">
                <a:ln>
                  <a:noFill/>
                </a:ln>
                <a:solidFill>
                  <a:srgbClr val="000000"/>
                </a:solidFill>
                <a:effectLst/>
                <a:uLnTx/>
                <a:uFillTx/>
                <a:latin typeface="Bahnschrift" panose="020B0502040204020203" pitchFamily="34" charset="0"/>
                <a:ea typeface="+mn-ea"/>
                <a:cs typeface="+mn-cs"/>
                <a:sym typeface="Bahnschrift" panose="020B0502040204020203" pitchFamily="34" charset="0"/>
              </a:rPr>
              <a:t>dorf</a:t>
            </a:r>
            <a:endPar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
        <p:nvSpPr>
          <p:cNvPr id="6" name="Rectangle 59">
            <a:extLst>
              <a:ext uri="{FF2B5EF4-FFF2-40B4-BE49-F238E27FC236}">
                <a16:creationId xmlns:a16="http://schemas.microsoft.com/office/drawing/2014/main" id="{4DF82EBF-1CFE-0650-483C-C3828ECE6379}"/>
              </a:ext>
            </a:extLst>
          </p:cNvPr>
          <p:cNvSpPr>
            <a:spLocks noChangeArrowheads="1"/>
          </p:cNvSpPr>
          <p:nvPr/>
        </p:nvSpPr>
        <p:spPr bwMode="gray">
          <a:xfrm>
            <a:off x="9391515" y="3421913"/>
            <a:ext cx="474184" cy="1571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err="1">
                <a:ln>
                  <a:noFill/>
                </a:ln>
                <a:solidFill>
                  <a:srgbClr val="000000"/>
                </a:solidFill>
                <a:effectLst/>
                <a:uLnTx/>
                <a:uFillTx/>
                <a:latin typeface="Bahnschrift" panose="020B0502040204020203" pitchFamily="34" charset="0"/>
                <a:ea typeface="+mn-ea"/>
                <a:cs typeface="+mn-cs"/>
                <a:sym typeface="Bahnschrift" panose="020B0502040204020203" pitchFamily="34" charset="0"/>
              </a:rPr>
              <a:t>Waldegg</a:t>
            </a:r>
            <a:endParaRPr kumimoji="0" lang="en-US" altLang="en-US"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sym typeface="Bahnschrift" panose="020B0502040204020203" pitchFamily="34" charset="0"/>
            </a:endParaRPr>
          </a:p>
        </p:txBody>
      </p:sp>
    </p:spTree>
    <p:custDataLst>
      <p:tags r:id="rId1"/>
    </p:custDataLst>
    <p:extLst>
      <p:ext uri="{BB962C8B-B14F-4D97-AF65-F5344CB8AC3E}">
        <p14:creationId xmlns:p14="http://schemas.microsoft.com/office/powerpoint/2010/main" val="7815592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CCB5AE59-0740-451E-8B9B-879E626F98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6" name="Object 6" hidden="1">
                        <a:extLst>
                          <a:ext uri="{FF2B5EF4-FFF2-40B4-BE49-F238E27FC236}">
                            <a16:creationId xmlns:a16="http://schemas.microsoft.com/office/drawing/2014/main" id="{CCB5AE59-0740-451E-8B9B-879E626F98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F6254AD1-A135-20F0-1F6B-D94570623D98}"/>
              </a:ext>
            </a:extLst>
          </p:cNvPr>
          <p:cNvSpPr/>
          <p:nvPr/>
        </p:nvSpPr>
        <p:spPr>
          <a:xfrm>
            <a:off x="8181989" y="1454726"/>
            <a:ext cx="3657600" cy="4719737"/>
          </a:xfrm>
          <a:prstGeom prst="rect">
            <a:avLst/>
          </a:prstGeom>
          <a:solidFill>
            <a:srgbClr val="EEEEEE"/>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chemeClr val="tx1"/>
              </a:solidFill>
              <a:latin typeface="Verdana" pitchFamily="34" charset="0"/>
              <a:ea typeface="Verdana" pitchFamily="34" charset="0"/>
              <a:cs typeface="Verdana" pitchFamily="34" charset="0"/>
            </a:endParaRPr>
          </a:p>
        </p:txBody>
      </p:sp>
      <p:grpSp>
        <p:nvGrpSpPr>
          <p:cNvPr id="725" name="Grid" hidden="1">
            <a:extLst>
              <a:ext uri="{FF2B5EF4-FFF2-40B4-BE49-F238E27FC236}">
                <a16:creationId xmlns:a16="http://schemas.microsoft.com/office/drawing/2014/main" id="{D35250B8-D61E-4F1A-9ACD-6E1BB958B78E}"/>
              </a:ext>
            </a:extLst>
          </p:cNvPr>
          <p:cNvGrpSpPr/>
          <p:nvPr/>
        </p:nvGrpSpPr>
        <p:grpSpPr>
          <a:xfrm>
            <a:off x="762" y="0"/>
            <a:ext cx="12190476" cy="6858000"/>
            <a:chOff x="0" y="0"/>
            <a:chExt cx="12190476" cy="6858000"/>
          </a:xfrm>
        </p:grpSpPr>
        <p:sp>
          <p:nvSpPr>
            <p:cNvPr id="726"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cxnSp>
          <p:nvCxnSpPr>
            <p:cNvPr id="727" name="Straight Connector 726">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8" name="Straight Connector 727">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9" name="Straight Connector 728">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30" name="Straight Connector 729">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31" name="Straight Connector 730">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32" name="Straight Connector 731">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33" name="Straight Connector 732">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34" name="Straight Connector 733">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35" name="Straight Connector 734">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36" name="Straight Connector 735">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37" name="Straight Connector 736">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38" name="Straight Connector 737">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9" name="Freeform: Shape 738">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vert270" wrap="square" lIns="68572" tIns="34286" rIns="68572" bIns="3428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323"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740" name="Freeform: Shape 739">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vert270" wrap="square" lIns="68572" tIns="34286" rIns="68572" bIns="3428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323"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741" name="Freeform: Shape 740">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vert270" wrap="square" lIns="68572" tIns="34286" rIns="68572" bIns="3428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323"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742" name="Freeform: Shape 741">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vert270" wrap="square" lIns="68572" tIns="34286" rIns="68572" bIns="3428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323"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744" name="Freeform: Shape 743">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vert270" wrap="square" lIns="68572" tIns="34286" rIns="68572" bIns="3428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323"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745" name="Freeform: Shape 744">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vert270" wrap="square" lIns="68572" tIns="34286" rIns="68572" bIns="3428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323"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746" name="Freeform: Shape 745">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vert270" wrap="square" lIns="68572" tIns="34286" rIns="68572" bIns="3428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323"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747" name="Freeform: Shape 746">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vert270" wrap="square" lIns="68572" tIns="34286" rIns="68572" bIns="3428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323"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748" name="Freeform: Shape 747">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vert270" wrap="square" lIns="68572" tIns="34286" rIns="68572" bIns="3428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323"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749" name="Freeform: Shape 748">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vert270" wrap="square" lIns="68572" tIns="34286" rIns="68572" bIns="3428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323"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750" name="Freeform: Shape 749">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vert270" wrap="square" lIns="68572" tIns="34286" rIns="68572" bIns="3428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323"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1464" name="Freeform: Shape 146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vert270" wrap="square" lIns="68572" tIns="34286" rIns="68572" bIns="3428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323"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1465" name="Freeform: Shape 146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vert270" wrap="square" lIns="68572" tIns="34286" rIns="68572" bIns="3428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323"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1467" name="Freeform: Shape 1466">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vert270" wrap="square" lIns="68572" tIns="34286" rIns="68572" bIns="3428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323"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1468" name="Freeform: Shape 1467">
              <a:extLst>
                <a:ext uri="{FF2B5EF4-FFF2-40B4-BE49-F238E27FC236}">
                  <a16:creationId xmlns:a16="http://schemas.microsoft.com/office/drawing/2014/main" id="{31D5F169-E1D4-48A3-AE5B-F5F1BEF2E7CF}"/>
                </a:ext>
              </a:extLst>
            </p:cNvPr>
            <p:cNvSpPr/>
            <p:nvPr/>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vert270" wrap="square" lIns="68572" tIns="34286" rIns="68572" bIns="3428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323"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1469" name="Freeform: Shape 1468">
              <a:extLst>
                <a:ext uri="{FF2B5EF4-FFF2-40B4-BE49-F238E27FC236}">
                  <a16:creationId xmlns:a16="http://schemas.microsoft.com/office/drawing/2014/main" id="{4230F928-F9B2-4955-9800-74DE09DCE6F2}"/>
                </a:ext>
              </a:extLst>
            </p:cNvPr>
            <p:cNvSpPr/>
            <p:nvPr/>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vert270" wrap="square" lIns="68572" tIns="34286" rIns="68572" bIns="3428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323"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1470" name="Freeform: Shape 1469">
              <a:extLst>
                <a:ext uri="{FF2B5EF4-FFF2-40B4-BE49-F238E27FC236}">
                  <a16:creationId xmlns:a16="http://schemas.microsoft.com/office/drawing/2014/main" id="{37C829A9-6808-4531-8C12-A84988E6DEE1}"/>
                </a:ext>
              </a:extLst>
            </p:cNvPr>
            <p:cNvSpPr/>
            <p:nvPr/>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vert270" wrap="square" lIns="68572" tIns="34286" rIns="68572" bIns="3428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323"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1472" name="Freeform: Shape 1471">
              <a:extLst>
                <a:ext uri="{FF2B5EF4-FFF2-40B4-BE49-F238E27FC236}">
                  <a16:creationId xmlns:a16="http://schemas.microsoft.com/office/drawing/2014/main" id="{7FA5964C-E9C5-4C2F-BD6E-47BAFB5B6D17}"/>
                </a:ext>
              </a:extLst>
            </p:cNvPr>
            <p:cNvSpPr/>
            <p:nvPr/>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vert270" wrap="square" lIns="68572" tIns="34286" rIns="68572" bIns="3428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323"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1473" name="Freeform: Shape 1472">
              <a:extLst>
                <a:ext uri="{FF2B5EF4-FFF2-40B4-BE49-F238E27FC236}">
                  <a16:creationId xmlns:a16="http://schemas.microsoft.com/office/drawing/2014/main" id="{3C168D8D-76CE-4BE5-BE95-79B96300EA3F}"/>
                </a:ext>
              </a:extLst>
            </p:cNvPr>
            <p:cNvSpPr/>
            <p:nvPr/>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vert270" wrap="square" lIns="68572" tIns="34286" rIns="68572" bIns="3428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323"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1474" name="Freeform: Shape 1473">
              <a:extLst>
                <a:ext uri="{FF2B5EF4-FFF2-40B4-BE49-F238E27FC236}">
                  <a16:creationId xmlns:a16="http://schemas.microsoft.com/office/drawing/2014/main" id="{6749465C-813A-45F9-8C3E-5D06C8584929}"/>
                </a:ext>
              </a:extLst>
            </p:cNvPr>
            <p:cNvSpPr/>
            <p:nvPr/>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vert270" wrap="square" lIns="68572" tIns="34286" rIns="68572" bIns="3428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323"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1475" name="Freeform: Shape 1474">
              <a:extLst>
                <a:ext uri="{FF2B5EF4-FFF2-40B4-BE49-F238E27FC236}">
                  <a16:creationId xmlns:a16="http://schemas.microsoft.com/office/drawing/2014/main" id="{53894C26-2473-4C24-B082-48DD1E92241C}"/>
                </a:ext>
              </a:extLst>
            </p:cNvPr>
            <p:cNvSpPr/>
            <p:nvPr/>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vert270" wrap="square" lIns="68572" tIns="34286" rIns="68572" bIns="3428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323"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1476" name="Freeform: Shape 1475">
              <a:extLst>
                <a:ext uri="{FF2B5EF4-FFF2-40B4-BE49-F238E27FC236}">
                  <a16:creationId xmlns:a16="http://schemas.microsoft.com/office/drawing/2014/main" id="{BFDA0320-8435-46CA-B1B3-5203F54A419F}"/>
                </a:ext>
              </a:extLst>
            </p:cNvPr>
            <p:cNvSpPr/>
            <p:nvPr/>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vert270" wrap="square" lIns="68572" tIns="34286" rIns="68572" bIns="3428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323"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1477" name="Freeform: Shape 1476">
              <a:extLst>
                <a:ext uri="{FF2B5EF4-FFF2-40B4-BE49-F238E27FC236}">
                  <a16:creationId xmlns:a16="http://schemas.microsoft.com/office/drawing/2014/main" id="{A42721E4-5D12-459C-AC2E-7CE148AF9062}"/>
                </a:ext>
              </a:extLst>
            </p:cNvPr>
            <p:cNvSpPr/>
            <p:nvPr/>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vert270" wrap="square" lIns="68572" tIns="34286" rIns="68572" bIns="3428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323"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1478" name="Freeform: Shape 1477">
              <a:extLst>
                <a:ext uri="{FF2B5EF4-FFF2-40B4-BE49-F238E27FC236}">
                  <a16:creationId xmlns:a16="http://schemas.microsoft.com/office/drawing/2014/main" id="{8BF7D46B-3779-49D0-BCB4-F2DCE091958D}"/>
                </a:ext>
              </a:extLst>
            </p:cNvPr>
            <p:cNvSpPr/>
            <p:nvPr/>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vert270" wrap="square" lIns="68572" tIns="34286" rIns="68572" bIns="3428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323"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1479" name="Freeform: Shape 1478">
              <a:extLst>
                <a:ext uri="{FF2B5EF4-FFF2-40B4-BE49-F238E27FC236}">
                  <a16:creationId xmlns:a16="http://schemas.microsoft.com/office/drawing/2014/main" id="{634464F0-BD7F-4488-85F0-EC20C24BECAA}"/>
                </a:ext>
              </a:extLst>
            </p:cNvPr>
            <p:cNvSpPr/>
            <p:nvPr/>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vert270" wrap="square" lIns="68572" tIns="34286" rIns="68572" bIns="34286"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323"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cxnSp>
          <p:nvCxnSpPr>
            <p:cNvPr id="1480" name="Straight Connector 1479">
              <a:extLst>
                <a:ext uri="{FF2B5EF4-FFF2-40B4-BE49-F238E27FC236}">
                  <a16:creationId xmlns:a16="http://schemas.microsoft.com/office/drawing/2014/main" id="{82B54541-0CDD-4724-8101-AABFF1207033}"/>
                </a:ext>
              </a:extLst>
            </p:cNvPr>
            <p:cNvCxnSpPr/>
            <p:nvPr/>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81" name="Straight Connector 1480">
              <a:extLst>
                <a:ext uri="{FF2B5EF4-FFF2-40B4-BE49-F238E27FC236}">
                  <a16:creationId xmlns:a16="http://schemas.microsoft.com/office/drawing/2014/main" id="{45070398-8D55-4EE2-8CA4-47428E2AF03F}"/>
                </a:ext>
              </a:extLst>
            </p:cNvPr>
            <p:cNvCxnSpPr/>
            <p:nvPr/>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82" name="Straight Connector 1481">
              <a:extLst>
                <a:ext uri="{FF2B5EF4-FFF2-40B4-BE49-F238E27FC236}">
                  <a16:creationId xmlns:a16="http://schemas.microsoft.com/office/drawing/2014/main" id="{42166891-56D0-4EBC-B681-501401DEF9D4}"/>
                </a:ext>
              </a:extLst>
            </p:cNvPr>
            <p:cNvCxnSpPr/>
            <p:nvPr/>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83" name="Straight Connector 1482">
              <a:extLst>
                <a:ext uri="{FF2B5EF4-FFF2-40B4-BE49-F238E27FC236}">
                  <a16:creationId xmlns:a16="http://schemas.microsoft.com/office/drawing/2014/main" id="{C13A87E3-D106-41FF-A8CD-C27DABF0103D}"/>
                </a:ext>
              </a:extLst>
            </p:cNvPr>
            <p:cNvCxnSpPr/>
            <p:nvPr/>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85" name="Straight Connector 1484">
              <a:extLst>
                <a:ext uri="{FF2B5EF4-FFF2-40B4-BE49-F238E27FC236}">
                  <a16:creationId xmlns:a16="http://schemas.microsoft.com/office/drawing/2014/main" id="{2164477D-838D-4C70-ADD7-37AD79A844AA}"/>
                </a:ext>
              </a:extLst>
            </p:cNvPr>
            <p:cNvCxnSpPr/>
            <p:nvPr/>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86" name="Straight Connector 1485">
              <a:extLst>
                <a:ext uri="{FF2B5EF4-FFF2-40B4-BE49-F238E27FC236}">
                  <a16:creationId xmlns:a16="http://schemas.microsoft.com/office/drawing/2014/main" id="{72B193C0-8980-4BB2-8E91-7A1C9ABE0B6C}"/>
                </a:ext>
              </a:extLst>
            </p:cNvPr>
            <p:cNvCxnSpPr/>
            <p:nvPr/>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87" name="Straight Connector 1486">
              <a:extLst>
                <a:ext uri="{FF2B5EF4-FFF2-40B4-BE49-F238E27FC236}">
                  <a16:creationId xmlns:a16="http://schemas.microsoft.com/office/drawing/2014/main" id="{C1A94AAA-1D98-4233-842E-2A2F52812358}"/>
                </a:ext>
              </a:extLst>
            </p:cNvPr>
            <p:cNvCxnSpPr/>
            <p:nvPr/>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88" name="Straight Connector 1487">
              <a:extLst>
                <a:ext uri="{FF2B5EF4-FFF2-40B4-BE49-F238E27FC236}">
                  <a16:creationId xmlns:a16="http://schemas.microsoft.com/office/drawing/2014/main" id="{E21F2B43-A2DC-42F4-8EA4-A8A4DA6D6FA7}"/>
                </a:ext>
              </a:extLst>
            </p:cNvPr>
            <p:cNvCxnSpPr/>
            <p:nvPr/>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89" name="Straight Connector 1488">
              <a:extLst>
                <a:ext uri="{FF2B5EF4-FFF2-40B4-BE49-F238E27FC236}">
                  <a16:creationId xmlns:a16="http://schemas.microsoft.com/office/drawing/2014/main" id="{A60F0923-6896-405D-AD16-F097448F3E3D}"/>
                </a:ext>
              </a:extLst>
            </p:cNvPr>
            <p:cNvCxnSpPr/>
            <p:nvPr/>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90" name="Straight Connector 1489">
              <a:extLst>
                <a:ext uri="{FF2B5EF4-FFF2-40B4-BE49-F238E27FC236}">
                  <a16:creationId xmlns:a16="http://schemas.microsoft.com/office/drawing/2014/main" id="{BC70D5B1-47D7-451F-B83A-973A26731A22}"/>
                </a:ext>
              </a:extLst>
            </p:cNvPr>
            <p:cNvCxnSpPr/>
            <p:nvPr/>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91" name="Straight Connector 1490">
              <a:extLst>
                <a:ext uri="{FF2B5EF4-FFF2-40B4-BE49-F238E27FC236}">
                  <a16:creationId xmlns:a16="http://schemas.microsoft.com/office/drawing/2014/main" id="{3FD9A464-81FE-4829-A1C5-5CCEE42448B3}"/>
                </a:ext>
              </a:extLst>
            </p:cNvPr>
            <p:cNvCxnSpPr/>
            <p:nvPr/>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92" name="Straight Connector 1491">
              <a:extLst>
                <a:ext uri="{FF2B5EF4-FFF2-40B4-BE49-F238E27FC236}">
                  <a16:creationId xmlns:a16="http://schemas.microsoft.com/office/drawing/2014/main" id="{8F55CAB0-53A2-417F-9F66-C0437933E98B}"/>
                </a:ext>
              </a:extLst>
            </p:cNvPr>
            <p:cNvCxnSpPr/>
            <p:nvPr/>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93" name="Straight Connector 1492">
              <a:extLst>
                <a:ext uri="{FF2B5EF4-FFF2-40B4-BE49-F238E27FC236}">
                  <a16:creationId xmlns:a16="http://schemas.microsoft.com/office/drawing/2014/main" id="{1547EE77-7495-47CB-BEC9-D5C742DF2B2C}"/>
                </a:ext>
              </a:extLst>
            </p:cNvPr>
            <p:cNvCxnSpPr/>
            <p:nvPr/>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94" name="Straight Connector 1493">
              <a:extLst>
                <a:ext uri="{FF2B5EF4-FFF2-40B4-BE49-F238E27FC236}">
                  <a16:creationId xmlns:a16="http://schemas.microsoft.com/office/drawing/2014/main" id="{CA942184-696A-4A78-BB9D-3D619B990987}"/>
                </a:ext>
              </a:extLst>
            </p:cNvPr>
            <p:cNvCxnSpPr/>
            <p:nvPr/>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95" name="Straight Connector 1494">
              <a:extLst>
                <a:ext uri="{FF2B5EF4-FFF2-40B4-BE49-F238E27FC236}">
                  <a16:creationId xmlns:a16="http://schemas.microsoft.com/office/drawing/2014/main" id="{1B5F4EE6-4D4C-4488-80DE-36C83D540765}"/>
                </a:ext>
              </a:extLst>
            </p:cNvPr>
            <p:cNvCxnSpPr/>
            <p:nvPr/>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96" name="Straight Connector 1495">
              <a:extLst>
                <a:ext uri="{FF2B5EF4-FFF2-40B4-BE49-F238E27FC236}">
                  <a16:creationId xmlns:a16="http://schemas.microsoft.com/office/drawing/2014/main" id="{CD3A42E3-1ED2-4BBE-8B0B-CEA491522F0A}"/>
                </a:ext>
              </a:extLst>
            </p:cNvPr>
            <p:cNvCxnSpPr/>
            <p:nvPr/>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97" name="Straight Connector 1496">
              <a:extLst>
                <a:ext uri="{FF2B5EF4-FFF2-40B4-BE49-F238E27FC236}">
                  <a16:creationId xmlns:a16="http://schemas.microsoft.com/office/drawing/2014/main" id="{94162AD8-9037-4220-B19F-7B3A0F44E941}"/>
                </a:ext>
              </a:extLst>
            </p:cNvPr>
            <p:cNvCxnSpPr/>
            <p:nvPr/>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98" name="Straight Connector 1497">
              <a:extLst>
                <a:ext uri="{FF2B5EF4-FFF2-40B4-BE49-F238E27FC236}">
                  <a16:creationId xmlns:a16="http://schemas.microsoft.com/office/drawing/2014/main" id="{4C20FB70-03E4-4D7E-BA41-546EAAB33089}"/>
                </a:ext>
              </a:extLst>
            </p:cNvPr>
            <p:cNvCxnSpPr/>
            <p:nvPr/>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99" name="Straight Connector 1498">
              <a:extLst>
                <a:ext uri="{FF2B5EF4-FFF2-40B4-BE49-F238E27FC236}">
                  <a16:creationId xmlns:a16="http://schemas.microsoft.com/office/drawing/2014/main" id="{A84D3C92-FDAE-47DB-9457-A9B216922E98}"/>
                </a:ext>
              </a:extLst>
            </p:cNvPr>
            <p:cNvCxnSpPr/>
            <p:nvPr/>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05" name="Straight Connector 1504">
              <a:extLst>
                <a:ext uri="{FF2B5EF4-FFF2-40B4-BE49-F238E27FC236}">
                  <a16:creationId xmlns:a16="http://schemas.microsoft.com/office/drawing/2014/main" id="{B5DF0860-265F-4ABC-9F65-0C1D385DAA19}"/>
                </a:ext>
              </a:extLst>
            </p:cNvPr>
            <p:cNvCxnSpPr/>
            <p:nvPr/>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06" name="Straight Connector 1505">
              <a:extLst>
                <a:ext uri="{FF2B5EF4-FFF2-40B4-BE49-F238E27FC236}">
                  <a16:creationId xmlns:a16="http://schemas.microsoft.com/office/drawing/2014/main" id="{D878D1D5-E6E5-4FA6-AF6E-95E8AF796777}"/>
                </a:ext>
              </a:extLst>
            </p:cNvPr>
            <p:cNvCxnSpPr/>
            <p:nvPr/>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07" name="Straight Connector 1506">
              <a:extLst>
                <a:ext uri="{FF2B5EF4-FFF2-40B4-BE49-F238E27FC236}">
                  <a16:creationId xmlns:a16="http://schemas.microsoft.com/office/drawing/2014/main" id="{E11FF29A-4B39-4335-9BD5-ED902309BF79}"/>
                </a:ext>
              </a:extLst>
            </p:cNvPr>
            <p:cNvCxnSpPr/>
            <p:nvPr/>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08" name="Straight Connector 1507">
              <a:extLst>
                <a:ext uri="{FF2B5EF4-FFF2-40B4-BE49-F238E27FC236}">
                  <a16:creationId xmlns:a16="http://schemas.microsoft.com/office/drawing/2014/main" id="{3A82A803-5E70-4523-9F20-67F308765C7E}"/>
                </a:ext>
              </a:extLst>
            </p:cNvPr>
            <p:cNvCxnSpPr/>
            <p:nvPr/>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09" name="Straight Connector 1508">
              <a:extLst>
                <a:ext uri="{FF2B5EF4-FFF2-40B4-BE49-F238E27FC236}">
                  <a16:creationId xmlns:a16="http://schemas.microsoft.com/office/drawing/2014/main" id="{B4208CB2-5882-4416-87C9-284BDAF3367A}"/>
                </a:ext>
              </a:extLst>
            </p:cNvPr>
            <p:cNvCxnSpPr/>
            <p:nvPr/>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10" name="Straight Connector 1509">
              <a:extLst>
                <a:ext uri="{FF2B5EF4-FFF2-40B4-BE49-F238E27FC236}">
                  <a16:creationId xmlns:a16="http://schemas.microsoft.com/office/drawing/2014/main" id="{BD4116CD-6422-4E26-9703-D3F7C10FCD56}"/>
                </a:ext>
              </a:extLst>
            </p:cNvPr>
            <p:cNvCxnSpPr/>
            <p:nvPr/>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11" name="Straight Connector 1510">
              <a:extLst>
                <a:ext uri="{FF2B5EF4-FFF2-40B4-BE49-F238E27FC236}">
                  <a16:creationId xmlns:a16="http://schemas.microsoft.com/office/drawing/2014/main" id="{31AB3A35-E2FF-4178-896B-F08E77092825}"/>
                </a:ext>
              </a:extLst>
            </p:cNvPr>
            <p:cNvCxnSpPr/>
            <p:nvPr/>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23" name="Straight Connector 1522">
              <a:extLst>
                <a:ext uri="{FF2B5EF4-FFF2-40B4-BE49-F238E27FC236}">
                  <a16:creationId xmlns:a16="http://schemas.microsoft.com/office/drawing/2014/main" id="{2179C539-DD6F-48AA-8F80-27BC682014AF}"/>
                </a:ext>
              </a:extLst>
            </p:cNvPr>
            <p:cNvCxnSpPr/>
            <p:nvPr/>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24" name="Straight Connector 1523">
              <a:extLst>
                <a:ext uri="{FF2B5EF4-FFF2-40B4-BE49-F238E27FC236}">
                  <a16:creationId xmlns:a16="http://schemas.microsoft.com/office/drawing/2014/main" id="{2784004E-3271-4D1C-B1EA-CA1E334E0D03}"/>
                </a:ext>
              </a:extLst>
            </p:cNvPr>
            <p:cNvCxnSpPr/>
            <p:nvPr/>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25" name="Straight Connector 1524">
              <a:extLst>
                <a:ext uri="{FF2B5EF4-FFF2-40B4-BE49-F238E27FC236}">
                  <a16:creationId xmlns:a16="http://schemas.microsoft.com/office/drawing/2014/main" id="{3657725E-FBF6-491D-9BA1-E6A9727F4F2D}"/>
                </a:ext>
              </a:extLst>
            </p:cNvPr>
            <p:cNvCxnSpPr/>
            <p:nvPr/>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26" name="Straight Connector 1525">
              <a:extLst>
                <a:ext uri="{FF2B5EF4-FFF2-40B4-BE49-F238E27FC236}">
                  <a16:creationId xmlns:a16="http://schemas.microsoft.com/office/drawing/2014/main" id="{31244567-76A7-47AF-9353-403D05D533F0}"/>
                </a:ext>
              </a:extLst>
            </p:cNvPr>
            <p:cNvCxnSpPr/>
            <p:nvPr/>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27" name="Straight Connector 1526">
              <a:extLst>
                <a:ext uri="{FF2B5EF4-FFF2-40B4-BE49-F238E27FC236}">
                  <a16:creationId xmlns:a16="http://schemas.microsoft.com/office/drawing/2014/main" id="{EEC47A2A-ED3B-4AD0-ACD5-F8ED92644229}"/>
                </a:ext>
              </a:extLst>
            </p:cNvPr>
            <p:cNvCxnSpPr/>
            <p:nvPr/>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28" name="Straight Connector 1527">
              <a:extLst>
                <a:ext uri="{FF2B5EF4-FFF2-40B4-BE49-F238E27FC236}">
                  <a16:creationId xmlns:a16="http://schemas.microsoft.com/office/drawing/2014/main" id="{0F3E01E5-F569-4020-BCB0-083537701AB0}"/>
                </a:ext>
              </a:extLst>
            </p:cNvPr>
            <p:cNvCxnSpPr/>
            <p:nvPr/>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29" name="Straight Connector 1528">
              <a:extLst>
                <a:ext uri="{FF2B5EF4-FFF2-40B4-BE49-F238E27FC236}">
                  <a16:creationId xmlns:a16="http://schemas.microsoft.com/office/drawing/2014/main" id="{71121A42-5912-44C8-B9A3-FDEC8EA70284}"/>
                </a:ext>
              </a:extLst>
            </p:cNvPr>
            <p:cNvCxnSpPr/>
            <p:nvPr/>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30" name="Straight Connector 1529">
              <a:extLst>
                <a:ext uri="{FF2B5EF4-FFF2-40B4-BE49-F238E27FC236}">
                  <a16:creationId xmlns:a16="http://schemas.microsoft.com/office/drawing/2014/main" id="{659B1DE7-25C8-4743-8284-FA656D339F55}"/>
                </a:ext>
              </a:extLst>
            </p:cNvPr>
            <p:cNvCxnSpPr/>
            <p:nvPr/>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31" name="Straight Connector 1530">
              <a:extLst>
                <a:ext uri="{FF2B5EF4-FFF2-40B4-BE49-F238E27FC236}">
                  <a16:creationId xmlns:a16="http://schemas.microsoft.com/office/drawing/2014/main" id="{526249F1-59FB-44FC-8AF9-D7F90AFBEE2C}"/>
                </a:ext>
              </a:extLst>
            </p:cNvPr>
            <p:cNvCxnSpPr/>
            <p:nvPr/>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32" name="Straight Connector 1531">
              <a:extLst>
                <a:ext uri="{FF2B5EF4-FFF2-40B4-BE49-F238E27FC236}">
                  <a16:creationId xmlns:a16="http://schemas.microsoft.com/office/drawing/2014/main" id="{E6D42779-D977-4405-A149-D8DE5B52134A}"/>
                </a:ext>
              </a:extLst>
            </p:cNvPr>
            <p:cNvCxnSpPr/>
            <p:nvPr/>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33" name="Straight Connector 1532">
              <a:extLst>
                <a:ext uri="{FF2B5EF4-FFF2-40B4-BE49-F238E27FC236}">
                  <a16:creationId xmlns:a16="http://schemas.microsoft.com/office/drawing/2014/main" id="{27EE8A2F-6AD9-4AE7-B04B-7892891F84AC}"/>
                </a:ext>
              </a:extLst>
            </p:cNvPr>
            <p:cNvCxnSpPr/>
            <p:nvPr/>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34" name="Straight Connector 1533">
              <a:extLst>
                <a:ext uri="{FF2B5EF4-FFF2-40B4-BE49-F238E27FC236}">
                  <a16:creationId xmlns:a16="http://schemas.microsoft.com/office/drawing/2014/main" id="{B8F4A59A-16C3-4C3A-AB79-FE22721EA641}"/>
                </a:ext>
              </a:extLst>
            </p:cNvPr>
            <p:cNvCxnSpPr/>
            <p:nvPr/>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35" name="Straight Connector 1534">
              <a:extLst>
                <a:ext uri="{FF2B5EF4-FFF2-40B4-BE49-F238E27FC236}">
                  <a16:creationId xmlns:a16="http://schemas.microsoft.com/office/drawing/2014/main" id="{5CA3A6CC-1A49-42F6-A318-99D9224BDC91}"/>
                </a:ext>
              </a:extLst>
            </p:cNvPr>
            <p:cNvCxnSpPr/>
            <p:nvPr/>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36" name="Straight Connector 1535">
              <a:extLst>
                <a:ext uri="{FF2B5EF4-FFF2-40B4-BE49-F238E27FC236}">
                  <a16:creationId xmlns:a16="http://schemas.microsoft.com/office/drawing/2014/main" id="{2DC3484E-5EF8-49C4-B1F6-75C854D50C80}"/>
                </a:ext>
              </a:extLst>
            </p:cNvPr>
            <p:cNvCxnSpPr/>
            <p:nvPr/>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37" name="Straight Connector 1536">
              <a:extLst>
                <a:ext uri="{FF2B5EF4-FFF2-40B4-BE49-F238E27FC236}">
                  <a16:creationId xmlns:a16="http://schemas.microsoft.com/office/drawing/2014/main" id="{33461A54-E77E-414D-B7E0-7364070D9566}"/>
                </a:ext>
              </a:extLst>
            </p:cNvPr>
            <p:cNvCxnSpPr/>
            <p:nvPr/>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38" name="Straight Connector 1537">
              <a:extLst>
                <a:ext uri="{FF2B5EF4-FFF2-40B4-BE49-F238E27FC236}">
                  <a16:creationId xmlns:a16="http://schemas.microsoft.com/office/drawing/2014/main" id="{29C48517-171B-43FD-A41C-58C9B531BDB5}"/>
                </a:ext>
              </a:extLst>
            </p:cNvPr>
            <p:cNvCxnSpPr/>
            <p:nvPr/>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39" name="Straight Connector 1538">
              <a:extLst>
                <a:ext uri="{FF2B5EF4-FFF2-40B4-BE49-F238E27FC236}">
                  <a16:creationId xmlns:a16="http://schemas.microsoft.com/office/drawing/2014/main" id="{F429932A-1238-48FC-B171-20A3AA531D40}"/>
                </a:ext>
              </a:extLst>
            </p:cNvPr>
            <p:cNvCxnSpPr/>
            <p:nvPr/>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540" name="Straight Connector 1539">
              <a:extLst>
                <a:ext uri="{FF2B5EF4-FFF2-40B4-BE49-F238E27FC236}">
                  <a16:creationId xmlns:a16="http://schemas.microsoft.com/office/drawing/2014/main" id="{7BED7651-AF04-41D4-9476-5A43476D85BB}"/>
                </a:ext>
              </a:extLst>
            </p:cNvPr>
            <p:cNvCxnSpPr/>
            <p:nvPr/>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541" name="main body box">
              <a:extLst>
                <a:ext uri="{FF2B5EF4-FFF2-40B4-BE49-F238E27FC236}">
                  <a16:creationId xmlns:a16="http://schemas.microsoft.com/office/drawing/2014/main" id="{100DE417-9DB9-4840-8370-B716FFA27760}"/>
                </a:ext>
              </a:extLst>
            </p:cNvPr>
            <p:cNvSpPr/>
            <p:nvPr/>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323"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cxnSp>
          <p:nvCxnSpPr>
            <p:cNvPr id="1542" name="Straight Connector 1541">
              <a:extLst>
                <a:ext uri="{FF2B5EF4-FFF2-40B4-BE49-F238E27FC236}">
                  <a16:creationId xmlns:a16="http://schemas.microsoft.com/office/drawing/2014/main" id="{B93A1E2B-8C80-482F-83BE-384344D09839}"/>
                </a:ext>
              </a:extLst>
            </p:cNvPr>
            <p:cNvCxnSpPr/>
            <p:nvPr/>
          </p:nvCxnSpPr>
          <p:spPr bwMode="invGray">
            <a:xfrm>
              <a:off x="554736" y="2177796"/>
              <a:ext cx="11082528" cy="0"/>
            </a:xfrm>
            <a:prstGeom prst="line">
              <a:avLst/>
            </a:prstGeom>
            <a:noFill/>
            <a:ln w="12700">
              <a:solidFill>
                <a:srgbClr val="19D3C5">
                  <a:alpha val="50000"/>
                </a:srgbClr>
              </a:solidFill>
            </a:ln>
          </p:spPr>
        </p:cxnSp>
        <p:cxnSp>
          <p:nvCxnSpPr>
            <p:cNvPr id="1543" name="Straight Connector 1542">
              <a:extLst>
                <a:ext uri="{FF2B5EF4-FFF2-40B4-BE49-F238E27FC236}">
                  <a16:creationId xmlns:a16="http://schemas.microsoft.com/office/drawing/2014/main" id="{BEAB22C5-0A46-4041-9158-6DC76EA2F350}"/>
                </a:ext>
              </a:extLst>
            </p:cNvPr>
            <p:cNvCxnSpPr/>
            <p:nvPr/>
          </p:nvCxnSpPr>
          <p:spPr bwMode="invGray">
            <a:xfrm>
              <a:off x="554736" y="1711453"/>
              <a:ext cx="11082528" cy="0"/>
            </a:xfrm>
            <a:prstGeom prst="line">
              <a:avLst/>
            </a:prstGeom>
            <a:noFill/>
            <a:ln w="12700">
              <a:solidFill>
                <a:srgbClr val="19D3C5">
                  <a:alpha val="50000"/>
                </a:srgbClr>
              </a:solidFill>
            </a:ln>
          </p:spPr>
        </p:cxnSp>
      </p:grpSp>
      <p:sp>
        <p:nvSpPr>
          <p:cNvPr id="1522" name="TextBox 1521">
            <a:extLst>
              <a:ext uri="{FF2B5EF4-FFF2-40B4-BE49-F238E27FC236}">
                <a16:creationId xmlns:a16="http://schemas.microsoft.com/office/drawing/2014/main" id="{6A4254DA-9622-4E64-8370-007DB7FE7611}"/>
              </a:ext>
            </a:extLst>
          </p:cNvPr>
          <p:cNvSpPr txBox="1">
            <a:spLocks/>
          </p:cNvSpPr>
          <p:nvPr/>
        </p:nvSpPr>
        <p:spPr>
          <a:xfrm>
            <a:off x="8297459" y="1502625"/>
            <a:ext cx="3426661" cy="1292662"/>
          </a:xfrm>
          <a:prstGeom prst="rect">
            <a:avLst/>
          </a:prstGeom>
        </p:spPr>
        <p:txBody>
          <a:bodyPr vert="horz" wrap="square" lIns="0" tIns="0" rIns="0" bIns="0" rtlCol="0">
            <a:spAutoFit/>
          </a:bodyPr>
          <a:lstStyle>
            <a:lvl1pPr lvl="0" indent="0" defTabSz="914126">
              <a:lnSpc>
                <a:spcPct val="100000"/>
              </a:lnSpc>
              <a:spcBef>
                <a:spcPts val="300"/>
              </a:spcBef>
              <a:spcAft>
                <a:spcPts val="300"/>
              </a:spcAft>
              <a:buFont typeface="Segoe UI" panose="020B0502040204020203" pitchFamily="34" charset="0"/>
              <a:buChar char="​"/>
              <a:defRPr sz="1599">
                <a:cs typeface="Arial" panose="020B0604020202020204" pitchFamily="34" charset="0"/>
              </a:defRPr>
            </a:lvl1pPr>
            <a:lvl2pPr marL="228532" lvl="1" indent="-225357" defTabSz="914126">
              <a:lnSpc>
                <a:spcPct val="100000"/>
              </a:lnSpc>
              <a:spcBef>
                <a:spcPts val="0"/>
              </a:spcBef>
              <a:spcAft>
                <a:spcPts val="300"/>
              </a:spcAft>
              <a:buFont typeface="Wingdings" panose="05000000000000000000" pitchFamily="2" charset="2"/>
              <a:buChar char=""/>
              <a:defRPr sz="1599">
                <a:cs typeface="Arial" panose="020B0604020202020204" pitchFamily="34" charset="0"/>
              </a:defRPr>
            </a:lvl2pPr>
            <a:lvl3pPr marL="515783" lvl="2" indent="-287251" defTabSz="914126">
              <a:lnSpc>
                <a:spcPct val="100000"/>
              </a:lnSpc>
              <a:spcBef>
                <a:spcPts val="0"/>
              </a:spcBef>
              <a:spcAft>
                <a:spcPts val="300"/>
              </a:spcAft>
              <a:buFont typeface="Arial" panose="020B0604020202020204" pitchFamily="34" charset="0"/>
              <a:buChar char="—"/>
              <a:defRPr sz="1599">
                <a:cs typeface="Arial" panose="020B0604020202020204" pitchFamily="34" charset="0"/>
              </a:defRPr>
            </a:lvl3pPr>
            <a:lvl4pPr marL="742727" lvl="3" indent="-182509" defTabSz="914126">
              <a:lnSpc>
                <a:spcPct val="100000"/>
              </a:lnSpc>
              <a:spcBef>
                <a:spcPts val="0"/>
              </a:spcBef>
              <a:spcAft>
                <a:spcPts val="300"/>
              </a:spcAft>
              <a:buFont typeface="Arial" panose="020B0604020202020204" pitchFamily="34" charset="0"/>
              <a:buChar char="»"/>
              <a:defRPr sz="1599">
                <a:cs typeface="Arial" panose="020B0604020202020204" pitchFamily="34" charset="0"/>
              </a:defRPr>
            </a:lvl4pPr>
            <a:lvl5pPr marL="914126" lvl="4" indent="-136484" defTabSz="914126">
              <a:lnSpc>
                <a:spcPct val="100000"/>
              </a:lnSpc>
              <a:spcBef>
                <a:spcPts val="0"/>
              </a:spcBef>
              <a:spcAft>
                <a:spcPts val="300"/>
              </a:spcAft>
              <a:buSzPct val="100000"/>
              <a:buFont typeface="Arial" panose="020B0604020202020204" pitchFamily="34" charset="0"/>
              <a:buChar char="›"/>
              <a:defRPr sz="1599">
                <a:cs typeface="Arial" panose="020B0604020202020204" pitchFamily="34" charset="0"/>
              </a:defRPr>
            </a:lvl5pPr>
            <a:lvl6pPr marL="1085524" indent="-171398" defTabSz="914126">
              <a:lnSpc>
                <a:spcPct val="100000"/>
              </a:lnSpc>
              <a:spcBef>
                <a:spcPts val="0"/>
              </a:spcBef>
              <a:spcAft>
                <a:spcPts val="300"/>
              </a:spcAft>
              <a:buSzPct val="100000"/>
              <a:buFont typeface="Arial" panose="020B0604020202020204" pitchFamily="34" charset="0"/>
              <a:buChar char="▫"/>
              <a:defRPr sz="1599">
                <a:cs typeface="Arial" panose="020B0604020202020204" pitchFamily="34" charset="0"/>
              </a:defRPr>
            </a:lvl6pPr>
            <a:lvl7pPr marL="1085524" indent="-171398" defTabSz="914126">
              <a:lnSpc>
                <a:spcPct val="100000"/>
              </a:lnSpc>
              <a:spcBef>
                <a:spcPts val="0"/>
              </a:spcBef>
              <a:spcAft>
                <a:spcPts val="300"/>
              </a:spcAft>
              <a:buSzPct val="100000"/>
              <a:buFont typeface="Arial" panose="020B0604020202020204" pitchFamily="34" charset="0"/>
              <a:buChar char="▫"/>
              <a:defRPr sz="1599">
                <a:cs typeface="Arial" panose="020B0604020202020204" pitchFamily="34" charset="0"/>
              </a:defRPr>
            </a:lvl7pPr>
            <a:lvl8pPr marL="1085524" indent="-171398" defTabSz="914126">
              <a:lnSpc>
                <a:spcPct val="100000"/>
              </a:lnSpc>
              <a:spcBef>
                <a:spcPts val="0"/>
              </a:spcBef>
              <a:spcAft>
                <a:spcPts val="300"/>
              </a:spcAft>
              <a:buSzPct val="100000"/>
              <a:buFont typeface="Arial" panose="020B0604020202020204" pitchFamily="34" charset="0"/>
              <a:buChar char="▫"/>
              <a:defRPr sz="1599">
                <a:cs typeface="Arial" panose="020B0604020202020204" pitchFamily="34" charset="0"/>
              </a:defRPr>
            </a:lvl8pPr>
            <a:lvl9pPr marL="1085524" indent="-171398" defTabSz="914126">
              <a:lnSpc>
                <a:spcPct val="100000"/>
              </a:lnSpc>
              <a:spcBef>
                <a:spcPts val="0"/>
              </a:spcBef>
              <a:spcAft>
                <a:spcPts val="300"/>
              </a:spcAft>
              <a:buSzPct val="100000"/>
              <a:buFont typeface="Arial" panose="020B0604020202020204" pitchFamily="34" charset="0"/>
              <a:buChar char="▫"/>
              <a:defRPr sz="1599">
                <a:cs typeface="Arial" panose="020B0604020202020204" pitchFamily="34" charset="0"/>
              </a:defRPr>
            </a:lvl9pPr>
          </a:lstStyle>
          <a:p>
            <a:pPr marL="0" marR="0" lvl="0" indent="0" algn="l" defTabSz="914104"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3600" b="1" i="0" u="none" strike="noStrike" kern="1200" cap="none" spc="0" normalizeH="0" baseline="0" noProof="0" dirty="0">
                <a:ln>
                  <a:noFill/>
                </a:ln>
                <a:solidFill>
                  <a:schemeClr val="accent1"/>
                </a:solidFill>
                <a:effectLst/>
                <a:uLnTx/>
                <a:uFillTx/>
                <a:latin typeface="Bahnschrift" panose="020B0502040204020203" pitchFamily="34" charset="0"/>
                <a:sym typeface="Bahnschrift" panose="020B0502040204020203" pitchFamily="34" charset="0"/>
              </a:rPr>
              <a:t>320 Mrd. USD</a:t>
            </a:r>
            <a:br>
              <a:rPr kumimoji="0" lang="de-DE" sz="1599"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rPr>
            </a:br>
            <a:r>
              <a:rPr kumimoji="0" lang="de-DE" sz="16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rPr>
              <a:t>Investitionen, die für die Entwicklung </a:t>
            </a:r>
            <a:br>
              <a:rPr kumimoji="0" lang="de-DE" sz="16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rPr>
            </a:br>
            <a:r>
              <a:rPr kumimoji="0" lang="de-DE" sz="16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rPr>
              <a:t>der angekündigten Projekte bis 2030 erforderlich sind</a:t>
            </a:r>
          </a:p>
        </p:txBody>
      </p:sp>
      <p:pic>
        <p:nvPicPr>
          <p:cNvPr id="1546" name="Picture 1545">
            <a:extLst>
              <a:ext uri="{FF2B5EF4-FFF2-40B4-BE49-F238E27FC236}">
                <a16:creationId xmlns:a16="http://schemas.microsoft.com/office/drawing/2014/main" id="{4C310857-8730-4742-9C91-EE77987A61E4}"/>
              </a:ext>
            </a:extLst>
          </p:cNvPr>
          <p:cNvPicPr>
            <a:picLocks/>
          </p:cNvPicPr>
          <p:nvPr/>
        </p:nvPicPr>
        <p:blipFill rotWithShape="1">
          <a:blip r:embed="rId7"/>
          <a:srcRect t="2881" b="3231"/>
          <a:stretch/>
        </p:blipFill>
        <p:spPr>
          <a:xfrm>
            <a:off x="8297459" y="2869949"/>
            <a:ext cx="3426661" cy="3177767"/>
          </a:xfrm>
          <a:prstGeom prst="rect">
            <a:avLst/>
          </a:prstGeom>
        </p:spPr>
      </p:pic>
      <p:sp>
        <p:nvSpPr>
          <p:cNvPr id="3375" name="TextBox 3374">
            <a:extLst>
              <a:ext uri="{FF2B5EF4-FFF2-40B4-BE49-F238E27FC236}">
                <a16:creationId xmlns:a16="http://schemas.microsoft.com/office/drawing/2014/main" id="{FCD1EF52-4257-41D7-8597-D3C30AF82EF9}"/>
              </a:ext>
            </a:extLst>
          </p:cNvPr>
          <p:cNvSpPr txBox="1">
            <a:spLocks/>
          </p:cNvSpPr>
          <p:nvPr/>
        </p:nvSpPr>
        <p:spPr>
          <a:xfrm>
            <a:off x="936243" y="5799900"/>
            <a:ext cx="1122992" cy="45861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Tx/>
              <a:buSzPct val="10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0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3C3C3C"/>
              </a:buClr>
              <a:buSzPct val="100000"/>
              <a:buFont typeface="Segoe UI" panose="020B0502040204020203" pitchFamily="34" charset="0"/>
              <a:buChar char="​"/>
              <a:tabLst/>
              <a:defRPr/>
            </a:pPr>
            <a:r>
              <a:rPr kumimoji="0" lang="en-US" sz="1400" b="0" i="0" u="none" strike="noStrike" kern="1200" cap="none" spc="0" normalizeH="0" baseline="0" noProof="0" dirty="0" err="1">
                <a:ln>
                  <a:noFill/>
                </a:ln>
                <a:solidFill>
                  <a:srgbClr val="000000"/>
                </a:solidFill>
                <a:effectLst/>
                <a:uLnTx/>
                <a:uFillTx/>
                <a:latin typeface="Bahnschrift" panose="020B0502040204020203" pitchFamily="34" charset="0"/>
                <a:sym typeface="Bahnschrift" panose="020B0502040204020203" pitchFamily="34" charset="0"/>
              </a:rPr>
              <a:t>Produktion</a:t>
            </a:r>
            <a:r>
              <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rPr>
              <a:t> </a:t>
            </a:r>
            <a:r>
              <a:rPr kumimoji="0" lang="en-US" sz="1400" b="0" i="0" u="none" strike="noStrike" kern="1200" cap="none" spc="0" normalizeH="0" baseline="0" noProof="0" dirty="0" err="1">
                <a:ln>
                  <a:noFill/>
                </a:ln>
                <a:solidFill>
                  <a:srgbClr val="000000"/>
                </a:solidFill>
                <a:effectLst/>
                <a:uLnTx/>
                <a:uFillTx/>
                <a:latin typeface="Bahnschrift" panose="020B0502040204020203" pitchFamily="34" charset="0"/>
                <a:sym typeface="Bahnschrift" panose="020B0502040204020203" pitchFamily="34" charset="0"/>
              </a:rPr>
              <a:t>im</a:t>
            </a:r>
            <a:r>
              <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rPr>
              <a:t> Giga-</a:t>
            </a:r>
            <a:r>
              <a:rPr kumimoji="0" lang="en-US" sz="1400" b="0" i="0" u="none" strike="noStrike" kern="1200" cap="none" spc="0" normalizeH="0" baseline="0" noProof="0" dirty="0" err="1">
                <a:ln>
                  <a:noFill/>
                </a:ln>
                <a:solidFill>
                  <a:srgbClr val="000000"/>
                </a:solidFill>
                <a:effectLst/>
                <a:uLnTx/>
                <a:uFillTx/>
                <a:latin typeface="Bahnschrift" panose="020B0502040204020203" pitchFamily="34" charset="0"/>
                <a:sym typeface="Bahnschrift" panose="020B0502040204020203" pitchFamily="34" charset="0"/>
              </a:rPr>
              <a:t>Maßstab</a:t>
            </a:r>
            <a:endPar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3376" name="TextBox 3375">
            <a:extLst>
              <a:ext uri="{FF2B5EF4-FFF2-40B4-BE49-F238E27FC236}">
                <a16:creationId xmlns:a16="http://schemas.microsoft.com/office/drawing/2014/main" id="{BDD3A48C-E714-43D5-8A26-EA013853215E}"/>
              </a:ext>
            </a:extLst>
          </p:cNvPr>
          <p:cNvSpPr txBox="1">
            <a:spLocks/>
          </p:cNvSpPr>
          <p:nvPr/>
        </p:nvSpPr>
        <p:spPr>
          <a:xfrm>
            <a:off x="2361276" y="5799900"/>
            <a:ext cx="1475018" cy="45861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Tx/>
              <a:buSzPct val="10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0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3C3C3C"/>
              </a:buClr>
              <a:buSzPct val="100000"/>
              <a:buFont typeface="Segoe UI" panose="020B0502040204020203" pitchFamily="34" charset="0"/>
              <a:buChar char="​"/>
              <a:tabLst/>
              <a:defRPr/>
            </a:pPr>
            <a:r>
              <a:rPr kumimoji="0" lang="en-US" sz="1400" b="0" i="0" u="none" strike="noStrike" kern="1200" cap="none" spc="0" normalizeH="0" baseline="0" noProof="0" dirty="0" err="1">
                <a:ln>
                  <a:noFill/>
                </a:ln>
                <a:solidFill>
                  <a:srgbClr val="000000"/>
                </a:solidFill>
                <a:effectLst/>
                <a:uLnTx/>
                <a:uFillTx/>
                <a:latin typeface="Bahnschrift" panose="020B0502040204020203" pitchFamily="34" charset="0"/>
                <a:sym typeface="Bahnschrift" panose="020B0502040204020203" pitchFamily="34" charset="0"/>
              </a:rPr>
              <a:t>Großflächige</a:t>
            </a:r>
            <a:r>
              <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rPr>
              <a:t> in-</a:t>
            </a:r>
            <a:r>
              <a:rPr kumimoji="0" lang="en-US" sz="1400" b="0" i="0" u="none" strike="noStrike" kern="1200" cap="none" spc="0" normalizeH="0" baseline="0" noProof="0" dirty="0" err="1">
                <a:ln>
                  <a:noFill/>
                </a:ln>
                <a:solidFill>
                  <a:srgbClr val="000000"/>
                </a:solidFill>
                <a:effectLst/>
                <a:uLnTx/>
                <a:uFillTx/>
                <a:latin typeface="Bahnschrift" panose="020B0502040204020203" pitchFamily="34" charset="0"/>
                <a:sym typeface="Bahnschrift" panose="020B0502040204020203" pitchFamily="34" charset="0"/>
              </a:rPr>
              <a:t>dustrielle</a:t>
            </a:r>
            <a:r>
              <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rPr>
              <a:t> </a:t>
            </a:r>
            <a:r>
              <a:rPr kumimoji="0" lang="en-US" sz="1400" b="0" i="0" u="none" strike="noStrike" kern="1200" cap="none" spc="0" normalizeH="0" baseline="0" noProof="0" dirty="0" err="1">
                <a:ln>
                  <a:noFill/>
                </a:ln>
                <a:solidFill>
                  <a:srgbClr val="000000"/>
                </a:solidFill>
                <a:effectLst/>
                <a:uLnTx/>
                <a:uFillTx/>
                <a:latin typeface="Bahnschrift" panose="020B0502040204020203" pitchFamily="34" charset="0"/>
                <a:sym typeface="Bahnschrift" panose="020B0502040204020203" pitchFamily="34" charset="0"/>
              </a:rPr>
              <a:t>Nutzung</a:t>
            </a:r>
            <a:endPar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3377" name="TextBox 3376">
            <a:extLst>
              <a:ext uri="{FF2B5EF4-FFF2-40B4-BE49-F238E27FC236}">
                <a16:creationId xmlns:a16="http://schemas.microsoft.com/office/drawing/2014/main" id="{FBDD7F10-7D2D-452E-9694-A54C1E2F5F57}"/>
              </a:ext>
            </a:extLst>
          </p:cNvPr>
          <p:cNvSpPr txBox="1">
            <a:spLocks/>
          </p:cNvSpPr>
          <p:nvPr/>
        </p:nvSpPr>
        <p:spPr>
          <a:xfrm>
            <a:off x="6896962" y="5799900"/>
            <a:ext cx="1122992" cy="45860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Tx/>
              <a:buSzPct val="10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0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3C3C3C"/>
              </a:buClr>
              <a:buSzPct val="100000"/>
              <a:buFont typeface="Segoe UI" panose="020B0502040204020203" pitchFamily="34" charset="0"/>
              <a:buChar char="​"/>
              <a:tabLst/>
              <a:defRPr/>
            </a:pPr>
            <a:r>
              <a:rPr kumimoji="0" lang="en-US" sz="1400" b="0" i="0" u="none" strike="noStrike" kern="1200" cap="none" spc="0" normalizeH="0" baseline="0" noProof="0" dirty="0" err="1">
                <a:ln>
                  <a:noFill/>
                </a:ln>
                <a:solidFill>
                  <a:srgbClr val="000000"/>
                </a:solidFill>
                <a:effectLst/>
                <a:uLnTx/>
                <a:uFillTx/>
                <a:latin typeface="Bahnschrift" panose="020B0502040204020203" pitchFamily="34" charset="0"/>
                <a:sym typeface="Bahnschrift" panose="020B0502040204020203" pitchFamily="34" charset="0"/>
              </a:rPr>
              <a:t>Infrastruktur-projekte</a:t>
            </a:r>
            <a:endPar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3378" name="TextBox 3377">
            <a:extLst>
              <a:ext uri="{FF2B5EF4-FFF2-40B4-BE49-F238E27FC236}">
                <a16:creationId xmlns:a16="http://schemas.microsoft.com/office/drawing/2014/main" id="{365F516E-EF9C-4B46-B476-CD9574896982}"/>
              </a:ext>
            </a:extLst>
          </p:cNvPr>
          <p:cNvSpPr txBox="1">
            <a:spLocks/>
          </p:cNvSpPr>
          <p:nvPr/>
        </p:nvSpPr>
        <p:spPr>
          <a:xfrm>
            <a:off x="4138335" y="5799900"/>
            <a:ext cx="1122992" cy="22930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Tx/>
              <a:buSzPct val="10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0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3C3C3C"/>
              </a:buClr>
              <a:buSzPct val="100000"/>
              <a:buFont typeface="Segoe UI" panose="020B0502040204020203" pitchFamily="34" charset="0"/>
              <a:buChar char="​"/>
              <a:tabLst/>
              <a:defRPr/>
            </a:pPr>
            <a:r>
              <a:rPr kumimoji="0" lang="en-US" sz="1400" b="0" i="0" u="none" strike="noStrike" kern="1200" cap="none" spc="0" normalizeH="0" baseline="0" noProof="0" dirty="0" err="1">
                <a:ln>
                  <a:noFill/>
                </a:ln>
                <a:solidFill>
                  <a:srgbClr val="000000"/>
                </a:solidFill>
                <a:effectLst/>
                <a:uLnTx/>
                <a:uFillTx/>
                <a:latin typeface="Bahnschrift" panose="020B0502040204020203" pitchFamily="34" charset="0"/>
                <a:sym typeface="Bahnschrift" panose="020B0502040204020203" pitchFamily="34" charset="0"/>
              </a:rPr>
              <a:t>Mobilität</a:t>
            </a:r>
            <a:r>
              <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rPr>
              <a:t> </a:t>
            </a:r>
          </a:p>
        </p:txBody>
      </p:sp>
      <p:sp>
        <p:nvSpPr>
          <p:cNvPr id="3379" name="TextBox 3378">
            <a:extLst>
              <a:ext uri="{FF2B5EF4-FFF2-40B4-BE49-F238E27FC236}">
                <a16:creationId xmlns:a16="http://schemas.microsoft.com/office/drawing/2014/main" id="{EACA51DF-B4EE-44DD-9E98-73C32EE04B3D}"/>
              </a:ext>
            </a:extLst>
          </p:cNvPr>
          <p:cNvSpPr txBox="1">
            <a:spLocks/>
          </p:cNvSpPr>
          <p:nvPr/>
        </p:nvSpPr>
        <p:spPr bwMode="gray">
          <a:xfrm>
            <a:off x="1339417" y="5420493"/>
            <a:ext cx="522579" cy="369332"/>
          </a:xfrm>
          <a:prstGeom prst="rect">
            <a:avLst/>
          </a:prstGeom>
          <a:ln>
            <a:noFill/>
          </a:ln>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sym typeface="+mn-lt"/>
              </a:defRPr>
            </a:lvl1pPr>
            <a:lvl2pPr marL="228600" lvl="1" indent="-225425">
              <a:lnSpc>
                <a:spcPct val="100000"/>
              </a:lnSpc>
              <a:spcBef>
                <a:spcPts val="0"/>
              </a:spcBef>
              <a:spcAft>
                <a:spcPts val="300"/>
              </a:spcAft>
              <a:buFont typeface="Wingdings" panose="05000000000000000000" pitchFamily="2" charset="2"/>
              <a:buChar char=""/>
              <a:defRPr sz="1600">
                <a:sym typeface="+mn-lt"/>
              </a:defRPr>
            </a:lvl2pPr>
            <a:lvl3pPr marL="515938" lvl="2" indent="-287338">
              <a:lnSpc>
                <a:spcPct val="100000"/>
              </a:lnSpc>
              <a:spcBef>
                <a:spcPts val="0"/>
              </a:spcBef>
              <a:spcAft>
                <a:spcPts val="300"/>
              </a:spcAft>
              <a:buFont typeface="Arial" panose="020B0604020202020204" pitchFamily="34" charset="0"/>
              <a:buChar char="—"/>
              <a:defRPr sz="1600">
                <a:sym typeface="+mn-lt"/>
              </a:defRPr>
            </a:lvl3pPr>
            <a:lvl4pPr marL="742950" lvl="3" indent="-182563">
              <a:lnSpc>
                <a:spcPct val="100000"/>
              </a:lnSpc>
              <a:spcBef>
                <a:spcPts val="0"/>
              </a:spcBef>
              <a:spcAft>
                <a:spcPts val="300"/>
              </a:spcAft>
              <a:buFont typeface="Arial" panose="020B0604020202020204" pitchFamily="34" charset="0"/>
              <a:buChar char="»"/>
              <a:defRPr sz="1600">
                <a:sym typeface="+mn-lt"/>
              </a:defRPr>
            </a:lvl4pPr>
            <a:lvl5pPr marL="914400" lvl="4" indent="-136525">
              <a:lnSpc>
                <a:spcPct val="100000"/>
              </a:lnSpc>
              <a:spcBef>
                <a:spcPts val="0"/>
              </a:spcBef>
              <a:spcAft>
                <a:spcPts val="300"/>
              </a:spcAft>
              <a:buSzPct val="100000"/>
              <a:buFont typeface="Arial" panose="020B0604020202020204" pitchFamily="34" charset="0"/>
              <a:buChar char="›"/>
              <a:defRPr sz="1600">
                <a:sym typeface="+mn-lt"/>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s-ES" sz="2400"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rPr>
              <a:t>112x</a:t>
            </a:r>
            <a:endParaRPr kumimoji="0" lang="en-US" sz="20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3380" name="Oval 89">
            <a:extLst>
              <a:ext uri="{FF2B5EF4-FFF2-40B4-BE49-F238E27FC236}">
                <a16:creationId xmlns:a16="http://schemas.microsoft.com/office/drawing/2014/main" id="{D7DF1230-8BE9-4CA2-860A-8E8112D6A542}"/>
              </a:ext>
            </a:extLst>
          </p:cNvPr>
          <p:cNvSpPr>
            <a:spLocks noChangeArrowheads="1"/>
          </p:cNvSpPr>
          <p:nvPr/>
        </p:nvSpPr>
        <p:spPr bwMode="gray">
          <a:xfrm>
            <a:off x="936243" y="5470908"/>
            <a:ext cx="295716" cy="292265"/>
          </a:xfrm>
          <a:prstGeom prst="ellipse">
            <a:avLst/>
          </a:prstGeom>
          <a:solidFill>
            <a:schemeClr val="accent2"/>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Bahnschrift" panose="020B0502040204020203" pitchFamily="34" charset="0"/>
              <a:sym typeface="Bahnschrift" panose="020B0502040204020203" pitchFamily="34" charset="0"/>
            </a:endParaRPr>
          </a:p>
        </p:txBody>
      </p:sp>
      <p:sp>
        <p:nvSpPr>
          <p:cNvPr id="3381" name="TextBox 3380">
            <a:extLst>
              <a:ext uri="{FF2B5EF4-FFF2-40B4-BE49-F238E27FC236}">
                <a16:creationId xmlns:a16="http://schemas.microsoft.com/office/drawing/2014/main" id="{DCDFAD78-4333-4B6F-A2D6-60EC00CD49ED}"/>
              </a:ext>
            </a:extLst>
          </p:cNvPr>
          <p:cNvSpPr txBox="1">
            <a:spLocks/>
          </p:cNvSpPr>
          <p:nvPr/>
        </p:nvSpPr>
        <p:spPr bwMode="gray">
          <a:xfrm>
            <a:off x="2628175" y="5420493"/>
            <a:ext cx="658835" cy="369332"/>
          </a:xfrm>
          <a:prstGeom prst="rect">
            <a:avLst/>
          </a:prstGeom>
          <a:ln>
            <a:noFill/>
          </a:ln>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sym typeface="+mn-lt"/>
              </a:defRPr>
            </a:lvl1pPr>
            <a:lvl2pPr marL="228600" lvl="1" indent="-225425">
              <a:lnSpc>
                <a:spcPct val="100000"/>
              </a:lnSpc>
              <a:spcBef>
                <a:spcPts val="0"/>
              </a:spcBef>
              <a:spcAft>
                <a:spcPts val="300"/>
              </a:spcAft>
              <a:buFont typeface="Wingdings" panose="05000000000000000000" pitchFamily="2" charset="2"/>
              <a:buChar char=""/>
              <a:defRPr sz="1600">
                <a:sym typeface="+mn-lt"/>
              </a:defRPr>
            </a:lvl2pPr>
            <a:lvl3pPr marL="515938" lvl="2" indent="-287338">
              <a:lnSpc>
                <a:spcPct val="100000"/>
              </a:lnSpc>
              <a:spcBef>
                <a:spcPts val="0"/>
              </a:spcBef>
              <a:spcAft>
                <a:spcPts val="300"/>
              </a:spcAft>
              <a:buFont typeface="Arial" panose="020B0604020202020204" pitchFamily="34" charset="0"/>
              <a:buChar char="—"/>
              <a:defRPr sz="1600">
                <a:sym typeface="+mn-lt"/>
              </a:defRPr>
            </a:lvl3pPr>
            <a:lvl4pPr marL="742950" lvl="3" indent="-182563">
              <a:lnSpc>
                <a:spcPct val="100000"/>
              </a:lnSpc>
              <a:spcBef>
                <a:spcPts val="0"/>
              </a:spcBef>
              <a:spcAft>
                <a:spcPts val="300"/>
              </a:spcAft>
              <a:buFont typeface="Arial" panose="020B0604020202020204" pitchFamily="34" charset="0"/>
              <a:buChar char="»"/>
              <a:defRPr sz="1600">
                <a:sym typeface="+mn-lt"/>
              </a:defRPr>
            </a:lvl4pPr>
            <a:lvl5pPr marL="914400" lvl="4" indent="-136525">
              <a:lnSpc>
                <a:spcPct val="100000"/>
              </a:lnSpc>
              <a:spcBef>
                <a:spcPts val="0"/>
              </a:spcBef>
              <a:spcAft>
                <a:spcPts val="300"/>
              </a:spcAft>
              <a:buSzPct val="100000"/>
              <a:buFont typeface="Arial" panose="020B0604020202020204" pitchFamily="34" charset="0"/>
              <a:buChar char="›"/>
              <a:defRPr sz="1600">
                <a:sym typeface="+mn-lt"/>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s-ES" sz="2400"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rPr>
              <a:t>553x</a:t>
            </a:r>
            <a:endParaRPr kumimoji="0" lang="en-US" sz="2000"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3382" name="Oval 89">
            <a:extLst>
              <a:ext uri="{FF2B5EF4-FFF2-40B4-BE49-F238E27FC236}">
                <a16:creationId xmlns:a16="http://schemas.microsoft.com/office/drawing/2014/main" id="{96D527BB-A6B7-4ADF-91C8-52C1168BCBF7}"/>
              </a:ext>
            </a:extLst>
          </p:cNvPr>
          <p:cNvSpPr>
            <a:spLocks noChangeArrowheads="1"/>
          </p:cNvSpPr>
          <p:nvPr/>
        </p:nvSpPr>
        <p:spPr bwMode="gray">
          <a:xfrm>
            <a:off x="2365463" y="5543974"/>
            <a:ext cx="145985" cy="146133"/>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3383" name="TextBox 3382">
            <a:extLst>
              <a:ext uri="{FF2B5EF4-FFF2-40B4-BE49-F238E27FC236}">
                <a16:creationId xmlns:a16="http://schemas.microsoft.com/office/drawing/2014/main" id="{121808B4-0293-4BCD-8B20-146749A71B69}"/>
              </a:ext>
            </a:extLst>
          </p:cNvPr>
          <p:cNvSpPr txBox="1">
            <a:spLocks/>
          </p:cNvSpPr>
          <p:nvPr/>
        </p:nvSpPr>
        <p:spPr bwMode="gray">
          <a:xfrm>
            <a:off x="7159674" y="5420493"/>
            <a:ext cx="476092" cy="369332"/>
          </a:xfrm>
          <a:prstGeom prst="rect">
            <a:avLst/>
          </a:prstGeom>
          <a:ln>
            <a:noFill/>
          </a:ln>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sym typeface="+mn-lt"/>
              </a:defRPr>
            </a:lvl1pPr>
            <a:lvl2pPr marL="228600" lvl="1" indent="-225425">
              <a:lnSpc>
                <a:spcPct val="100000"/>
              </a:lnSpc>
              <a:spcBef>
                <a:spcPts val="0"/>
              </a:spcBef>
              <a:spcAft>
                <a:spcPts val="300"/>
              </a:spcAft>
              <a:buFont typeface="Wingdings" panose="05000000000000000000" pitchFamily="2" charset="2"/>
              <a:buChar char=""/>
              <a:defRPr sz="1600">
                <a:sym typeface="+mn-lt"/>
              </a:defRPr>
            </a:lvl2pPr>
            <a:lvl3pPr marL="515938" lvl="2" indent="-287338">
              <a:lnSpc>
                <a:spcPct val="100000"/>
              </a:lnSpc>
              <a:spcBef>
                <a:spcPts val="0"/>
              </a:spcBef>
              <a:spcAft>
                <a:spcPts val="300"/>
              </a:spcAft>
              <a:buFont typeface="Arial" panose="020B0604020202020204" pitchFamily="34" charset="0"/>
              <a:buChar char="—"/>
              <a:defRPr sz="1600">
                <a:sym typeface="+mn-lt"/>
              </a:defRPr>
            </a:lvl3pPr>
            <a:lvl4pPr marL="742950" lvl="3" indent="-182563">
              <a:lnSpc>
                <a:spcPct val="100000"/>
              </a:lnSpc>
              <a:spcBef>
                <a:spcPts val="0"/>
              </a:spcBef>
              <a:spcAft>
                <a:spcPts val="300"/>
              </a:spcAft>
              <a:buFont typeface="Arial" panose="020B0604020202020204" pitchFamily="34" charset="0"/>
              <a:buChar char="»"/>
              <a:defRPr sz="1600">
                <a:sym typeface="+mn-lt"/>
              </a:defRPr>
            </a:lvl4pPr>
            <a:lvl5pPr marL="914400" lvl="4" indent="-136525">
              <a:lnSpc>
                <a:spcPct val="100000"/>
              </a:lnSpc>
              <a:spcBef>
                <a:spcPts val="0"/>
              </a:spcBef>
              <a:spcAft>
                <a:spcPts val="300"/>
              </a:spcAft>
              <a:buSzPct val="100000"/>
              <a:buFont typeface="Arial" panose="020B0604020202020204" pitchFamily="34" charset="0"/>
              <a:buChar char="›"/>
              <a:defRPr sz="1600">
                <a:sym typeface="+mn-lt"/>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FFFFFF"/>
              </a:buClr>
              <a:buSzTx/>
              <a:buFont typeface="Segoe UI" panose="020B0502040204020203" pitchFamily="34" charset="0"/>
              <a:buNone/>
              <a:tabLst/>
              <a:defRPr/>
            </a:pPr>
            <a:r>
              <a:rPr kumimoji="0" lang="es-ES" sz="2400"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rPr>
              <a:t>96x</a:t>
            </a:r>
            <a:endParaRPr kumimoji="0" lang="en-US" sz="20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3384" name="Oval 89">
            <a:extLst>
              <a:ext uri="{FF2B5EF4-FFF2-40B4-BE49-F238E27FC236}">
                <a16:creationId xmlns:a16="http://schemas.microsoft.com/office/drawing/2014/main" id="{944FD02C-5DE3-49F2-A440-C24537F1F4FD}"/>
              </a:ext>
            </a:extLst>
          </p:cNvPr>
          <p:cNvSpPr>
            <a:spLocks noChangeArrowheads="1"/>
          </p:cNvSpPr>
          <p:nvPr/>
        </p:nvSpPr>
        <p:spPr bwMode="gray">
          <a:xfrm>
            <a:off x="6896962" y="5543974"/>
            <a:ext cx="145985" cy="146133"/>
          </a:xfrm>
          <a:prstGeom prst="ellipse">
            <a:avLst/>
          </a:prstGeom>
          <a:solidFill>
            <a:srgbClr val="82B845"/>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Bahnschrift" panose="020B0502040204020203" pitchFamily="34" charset="0"/>
              <a:sym typeface="Bahnschrift" panose="020B0502040204020203" pitchFamily="34" charset="0"/>
            </a:endParaRPr>
          </a:p>
        </p:txBody>
      </p:sp>
      <p:sp>
        <p:nvSpPr>
          <p:cNvPr id="3385" name="TextBox 3384">
            <a:extLst>
              <a:ext uri="{FF2B5EF4-FFF2-40B4-BE49-F238E27FC236}">
                <a16:creationId xmlns:a16="http://schemas.microsoft.com/office/drawing/2014/main" id="{271EED75-7BBF-407A-9050-EFA615B4A00A}"/>
              </a:ext>
            </a:extLst>
          </p:cNvPr>
          <p:cNvSpPr txBox="1">
            <a:spLocks/>
          </p:cNvSpPr>
          <p:nvPr/>
        </p:nvSpPr>
        <p:spPr bwMode="gray">
          <a:xfrm>
            <a:off x="4400295" y="5420493"/>
            <a:ext cx="522579" cy="369332"/>
          </a:xfrm>
          <a:prstGeom prst="rect">
            <a:avLst/>
          </a:prstGeom>
          <a:ln>
            <a:noFill/>
          </a:ln>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sym typeface="+mn-lt"/>
              </a:defRPr>
            </a:lvl1pPr>
            <a:lvl2pPr marL="228600" lvl="1" indent="-225425">
              <a:lnSpc>
                <a:spcPct val="100000"/>
              </a:lnSpc>
              <a:spcBef>
                <a:spcPts val="0"/>
              </a:spcBef>
              <a:spcAft>
                <a:spcPts val="300"/>
              </a:spcAft>
              <a:buFont typeface="Wingdings" panose="05000000000000000000" pitchFamily="2" charset="2"/>
              <a:buChar char=""/>
              <a:defRPr sz="1600">
                <a:sym typeface="+mn-lt"/>
              </a:defRPr>
            </a:lvl2pPr>
            <a:lvl3pPr marL="515938" lvl="2" indent="-287338">
              <a:lnSpc>
                <a:spcPct val="100000"/>
              </a:lnSpc>
              <a:spcBef>
                <a:spcPts val="0"/>
              </a:spcBef>
              <a:spcAft>
                <a:spcPts val="300"/>
              </a:spcAft>
              <a:buFont typeface="Arial" panose="020B0604020202020204" pitchFamily="34" charset="0"/>
              <a:buChar char="—"/>
              <a:defRPr sz="1600">
                <a:sym typeface="+mn-lt"/>
              </a:defRPr>
            </a:lvl3pPr>
            <a:lvl4pPr marL="742950" lvl="3" indent="-182563">
              <a:lnSpc>
                <a:spcPct val="100000"/>
              </a:lnSpc>
              <a:spcBef>
                <a:spcPts val="0"/>
              </a:spcBef>
              <a:spcAft>
                <a:spcPts val="300"/>
              </a:spcAft>
              <a:buFont typeface="Arial" panose="020B0604020202020204" pitchFamily="34" charset="0"/>
              <a:buChar char="»"/>
              <a:defRPr sz="1600">
                <a:sym typeface="+mn-lt"/>
              </a:defRPr>
            </a:lvl4pPr>
            <a:lvl5pPr marL="914400" lvl="4" indent="-136525">
              <a:lnSpc>
                <a:spcPct val="100000"/>
              </a:lnSpc>
              <a:spcBef>
                <a:spcPts val="0"/>
              </a:spcBef>
              <a:spcAft>
                <a:spcPts val="300"/>
              </a:spcAft>
              <a:buSzPct val="100000"/>
              <a:buFont typeface="Arial" panose="020B0604020202020204" pitchFamily="34" charset="0"/>
              <a:buChar char="›"/>
              <a:defRPr sz="1600">
                <a:sym typeface="+mn-lt"/>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FFFFFF"/>
              </a:buClr>
              <a:buSzTx/>
              <a:buFont typeface="Segoe UI" panose="020B0502040204020203" pitchFamily="34" charset="0"/>
              <a:buNone/>
              <a:tabLst/>
              <a:defRPr/>
            </a:pPr>
            <a:r>
              <a:rPr kumimoji="0" lang="es-ES" sz="2400"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rPr>
              <a:t>191x</a:t>
            </a:r>
            <a:endParaRPr kumimoji="0" lang="en-US" sz="20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3386" name="Oval 89">
            <a:extLst>
              <a:ext uri="{FF2B5EF4-FFF2-40B4-BE49-F238E27FC236}">
                <a16:creationId xmlns:a16="http://schemas.microsoft.com/office/drawing/2014/main" id="{406E037F-D5D0-44B7-9005-8CBF47F6ED36}"/>
              </a:ext>
            </a:extLst>
          </p:cNvPr>
          <p:cNvSpPr>
            <a:spLocks noChangeArrowheads="1"/>
          </p:cNvSpPr>
          <p:nvPr/>
        </p:nvSpPr>
        <p:spPr bwMode="gray">
          <a:xfrm>
            <a:off x="4137583" y="5543974"/>
            <a:ext cx="145985" cy="146133"/>
          </a:xfrm>
          <a:prstGeom prst="ellipse">
            <a:avLst/>
          </a:prstGeom>
          <a:solidFill>
            <a:schemeClr val="accent3"/>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3387" name="TextBox 3386">
            <a:extLst>
              <a:ext uri="{FF2B5EF4-FFF2-40B4-BE49-F238E27FC236}">
                <a16:creationId xmlns:a16="http://schemas.microsoft.com/office/drawing/2014/main" id="{75F3E16B-61C9-4A74-A5EC-BBB537F361F5}"/>
              </a:ext>
            </a:extLst>
          </p:cNvPr>
          <p:cNvSpPr txBox="1">
            <a:spLocks/>
          </p:cNvSpPr>
          <p:nvPr/>
        </p:nvSpPr>
        <p:spPr bwMode="gray">
          <a:xfrm>
            <a:off x="5796573" y="5420493"/>
            <a:ext cx="594715" cy="369332"/>
          </a:xfrm>
          <a:prstGeom prst="rect">
            <a:avLst/>
          </a:prstGeom>
          <a:ln>
            <a:noFill/>
          </a:ln>
        </p:spPr>
        <p:txBody>
          <a:bodyPr vert="horz" wrap="non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sym typeface="+mn-lt"/>
              </a:defRPr>
            </a:lvl1pPr>
            <a:lvl2pPr marL="228600" lvl="1" indent="-225425">
              <a:lnSpc>
                <a:spcPct val="100000"/>
              </a:lnSpc>
              <a:spcBef>
                <a:spcPts val="0"/>
              </a:spcBef>
              <a:spcAft>
                <a:spcPts val="300"/>
              </a:spcAft>
              <a:buFont typeface="Wingdings" panose="05000000000000000000" pitchFamily="2" charset="2"/>
              <a:buChar char=""/>
              <a:defRPr sz="1600">
                <a:sym typeface="+mn-lt"/>
              </a:defRPr>
            </a:lvl2pPr>
            <a:lvl3pPr marL="515938" lvl="2" indent="-287338">
              <a:lnSpc>
                <a:spcPct val="100000"/>
              </a:lnSpc>
              <a:spcBef>
                <a:spcPts val="0"/>
              </a:spcBef>
              <a:spcAft>
                <a:spcPts val="300"/>
              </a:spcAft>
              <a:buFont typeface="Arial" panose="020B0604020202020204" pitchFamily="34" charset="0"/>
              <a:buChar char="—"/>
              <a:defRPr sz="1600">
                <a:sym typeface="+mn-lt"/>
              </a:defRPr>
            </a:lvl3pPr>
            <a:lvl4pPr marL="742950" lvl="3" indent="-182563">
              <a:lnSpc>
                <a:spcPct val="100000"/>
              </a:lnSpc>
              <a:spcBef>
                <a:spcPts val="0"/>
              </a:spcBef>
              <a:spcAft>
                <a:spcPts val="300"/>
              </a:spcAft>
              <a:buFont typeface="Arial" panose="020B0604020202020204" pitchFamily="34" charset="0"/>
              <a:buChar char="»"/>
              <a:defRPr sz="1600">
                <a:sym typeface="+mn-lt"/>
              </a:defRPr>
            </a:lvl4pPr>
            <a:lvl5pPr marL="914400" lvl="4" indent="-136525">
              <a:lnSpc>
                <a:spcPct val="100000"/>
              </a:lnSpc>
              <a:spcBef>
                <a:spcPts val="0"/>
              </a:spcBef>
              <a:spcAft>
                <a:spcPts val="300"/>
              </a:spcAft>
              <a:buSzPct val="100000"/>
              <a:buFont typeface="Arial" panose="020B0604020202020204" pitchFamily="34" charset="0"/>
              <a:buChar char="›"/>
              <a:defRPr sz="1600">
                <a:sym typeface="+mn-lt"/>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FFFFFF"/>
              </a:buClr>
              <a:buSzTx/>
              <a:buFont typeface="Segoe UI" panose="020B0502040204020203" pitchFamily="34" charset="0"/>
              <a:buNone/>
              <a:tabLst/>
              <a:defRPr/>
            </a:pPr>
            <a:r>
              <a:rPr kumimoji="0" lang="en-US" sz="2400"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rPr>
              <a:t>194x</a:t>
            </a:r>
            <a:endParaRPr kumimoji="0" lang="en-US" sz="2000"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3388" name="Oval 89">
            <a:extLst>
              <a:ext uri="{FF2B5EF4-FFF2-40B4-BE49-F238E27FC236}">
                <a16:creationId xmlns:a16="http://schemas.microsoft.com/office/drawing/2014/main" id="{B28B7D54-6537-4F6F-970B-A77AF2397A0A}"/>
              </a:ext>
            </a:extLst>
          </p:cNvPr>
          <p:cNvSpPr>
            <a:spLocks noChangeArrowheads="1"/>
          </p:cNvSpPr>
          <p:nvPr/>
        </p:nvSpPr>
        <p:spPr bwMode="gray">
          <a:xfrm>
            <a:off x="5533862" y="5543974"/>
            <a:ext cx="145985" cy="146133"/>
          </a:xfrm>
          <a:prstGeom prst="ellipse">
            <a:avLst/>
          </a:prstGeom>
          <a:solidFill>
            <a:srgbClr val="052B35"/>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3389" name="TextBox 3388">
            <a:extLst>
              <a:ext uri="{FF2B5EF4-FFF2-40B4-BE49-F238E27FC236}">
                <a16:creationId xmlns:a16="http://schemas.microsoft.com/office/drawing/2014/main" id="{C337524D-9DFD-407A-B793-5E7051A06A29}"/>
              </a:ext>
            </a:extLst>
          </p:cNvPr>
          <p:cNvSpPr txBox="1">
            <a:spLocks/>
          </p:cNvSpPr>
          <p:nvPr/>
        </p:nvSpPr>
        <p:spPr>
          <a:xfrm>
            <a:off x="5517648" y="5799900"/>
            <a:ext cx="1122992" cy="45860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Tx/>
              <a:buSzPct val="100000"/>
              <a:buFont typeface="Arial" panose="020B0604020202020204" pitchFamily="34" charset="0"/>
              <a:buChar char="‒"/>
              <a:defRPr lang="en-US" sz="1600" dirty="0"/>
            </a:lvl3pPr>
            <a:lvl4pPr marL="548640" lvl="3" indent="-182880">
              <a:lnSpc>
                <a:spcPct val="100000"/>
              </a:lnSpc>
              <a:spcBef>
                <a:spcPts val="0"/>
              </a:spcBef>
              <a:spcAft>
                <a:spcPts val="300"/>
              </a:spcAft>
              <a:buClrTx/>
              <a:buSzPct val="10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3C3C3C"/>
              </a:buClr>
              <a:buSzPct val="100000"/>
              <a:buFont typeface="Segoe UI" panose="020B0502040204020203" pitchFamily="34" charset="0"/>
              <a:buChar char="​"/>
              <a:tabLst/>
              <a:defRPr/>
            </a:pPr>
            <a:r>
              <a:rPr kumimoji="0" lang="en-US" sz="1400" b="0" i="0" u="none" strike="noStrike" kern="1200" cap="none" spc="0" normalizeH="0" baseline="0" noProof="0" dirty="0" err="1">
                <a:ln>
                  <a:noFill/>
                </a:ln>
                <a:solidFill>
                  <a:srgbClr val="000000"/>
                </a:solidFill>
                <a:effectLst/>
                <a:uLnTx/>
                <a:uFillTx/>
                <a:latin typeface="Bahnschrift" panose="020B0502040204020203" pitchFamily="34" charset="0"/>
                <a:sym typeface="Bahnschrift" panose="020B0502040204020203" pitchFamily="34" charset="0"/>
              </a:rPr>
              <a:t>Integrierte</a:t>
            </a:r>
            <a:r>
              <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rPr>
              <a:t> H</a:t>
            </a:r>
            <a:r>
              <a:rPr kumimoji="0" lang="en-US" sz="1400" b="0" i="0" u="none" strike="noStrike" kern="1200" cap="none" spc="0" normalizeH="0" baseline="-25000" noProof="0" dirty="0">
                <a:ln>
                  <a:noFill/>
                </a:ln>
                <a:solidFill>
                  <a:srgbClr val="000000"/>
                </a:solidFill>
                <a:effectLst/>
                <a:uLnTx/>
                <a:uFillTx/>
                <a:latin typeface="Bahnschrift" panose="020B0502040204020203" pitchFamily="34" charset="0"/>
                <a:sym typeface="Bahnschrift" panose="020B0502040204020203" pitchFamily="34" charset="0"/>
              </a:rPr>
              <a:t>2</a:t>
            </a:r>
            <a:r>
              <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rPr>
              <a:t>-Wirtschaft </a:t>
            </a:r>
          </a:p>
        </p:txBody>
      </p:sp>
      <p:sp>
        <p:nvSpPr>
          <p:cNvPr id="2" name="Title 1">
            <a:extLst>
              <a:ext uri="{FF2B5EF4-FFF2-40B4-BE49-F238E27FC236}">
                <a16:creationId xmlns:a16="http://schemas.microsoft.com/office/drawing/2014/main" id="{0745EFBC-01A9-499E-CE70-862E2356B48F}"/>
              </a:ext>
            </a:extLst>
          </p:cNvPr>
          <p:cNvSpPr>
            <a:spLocks noGrp="1"/>
          </p:cNvSpPr>
          <p:nvPr>
            <p:ph type="title"/>
          </p:nvPr>
        </p:nvSpPr>
        <p:spPr>
          <a:xfrm>
            <a:off x="838799" y="343789"/>
            <a:ext cx="10845201" cy="781752"/>
          </a:xfrm>
          <a:noFill/>
          <a:ln>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de-DE" dirty="0"/>
              <a:t>Global werden bis 2030 etwa USD 320 Mrd. zur Umsetzung der an-gekündigten Projekte investiert, &gt;1.000 Projekte sind angekündigt</a:t>
            </a:r>
          </a:p>
        </p:txBody>
      </p:sp>
      <p:sp>
        <p:nvSpPr>
          <p:cNvPr id="8" name="5. Source">
            <a:extLst>
              <a:ext uri="{FF2B5EF4-FFF2-40B4-BE49-F238E27FC236}">
                <a16:creationId xmlns:a16="http://schemas.microsoft.com/office/drawing/2014/main" id="{B62DAE83-174C-0343-FADB-A20FEC6D0A98}"/>
              </a:ext>
            </a:extLst>
          </p:cNvPr>
          <p:cNvSpPr txBox="1"/>
          <p:nvPr>
            <p:custDataLst>
              <p:tags r:id="rId2"/>
            </p:custDataLst>
          </p:nvPr>
        </p:nvSpPr>
        <p:spPr>
          <a:xfrm>
            <a:off x="939800" y="6587709"/>
            <a:ext cx="10287000" cy="123111"/>
          </a:xfrm>
          <a:prstGeom prst="rect">
            <a:avLst/>
          </a:prstGeom>
          <a:noFill/>
        </p:spPr>
        <p:txBody>
          <a:bodyPr vert="horz" wrap="square" lIns="0" tIns="0" rIns="0" bIns="0" rtlCol="0" anchor="b" anchorCtr="0">
            <a:spAutoFit/>
          </a:bodyPr>
          <a:lstStyle/>
          <a:p>
            <a:r>
              <a:rPr lang="de-DE" sz="800" dirty="0">
                <a:solidFill>
                  <a:schemeClr val="accent1"/>
                </a:solidFill>
                <a:latin typeface="Bahnschrift" panose="020B0502040204020203" pitchFamily="34" charset="0"/>
                <a:sym typeface="Bahnschrift" panose="020B0502040204020203" pitchFamily="34" charset="0"/>
              </a:rPr>
              <a:t>Quelle: McKinsey Hydrogen </a:t>
            </a:r>
            <a:r>
              <a:rPr lang="de-DE" sz="800" dirty="0" err="1">
                <a:solidFill>
                  <a:schemeClr val="accent1"/>
                </a:solidFill>
                <a:latin typeface="Bahnschrift" panose="020B0502040204020203" pitchFamily="34" charset="0"/>
                <a:sym typeface="Bahnschrift" panose="020B0502040204020203" pitchFamily="34" charset="0"/>
              </a:rPr>
              <a:t>Insights</a:t>
            </a:r>
            <a:r>
              <a:rPr lang="de-DE" sz="800" dirty="0">
                <a:solidFill>
                  <a:schemeClr val="accent1"/>
                </a:solidFill>
                <a:latin typeface="Bahnschrift" panose="020B0502040204020203" pitchFamily="34" charset="0"/>
                <a:sym typeface="Bahnschrift" panose="020B0502040204020203" pitchFamily="34" charset="0"/>
              </a:rPr>
              <a:t>; Hydrogen Council</a:t>
            </a:r>
          </a:p>
        </p:txBody>
      </p:sp>
      <p:sp>
        <p:nvSpPr>
          <p:cNvPr id="17" name="Foliennummernplatzhalter 2">
            <a:extLst>
              <a:ext uri="{FF2B5EF4-FFF2-40B4-BE49-F238E27FC236}">
                <a16:creationId xmlns:a16="http://schemas.microsoft.com/office/drawing/2014/main" id="{68414C2A-7D00-E6B0-5D35-48D818054FD8}"/>
              </a:ext>
            </a:extLst>
          </p:cNvPr>
          <p:cNvSpPr>
            <a:spLocks noGrp="1"/>
          </p:cNvSpPr>
          <p:nvPr>
            <p:ph type="sldNum" sz="quarter" idx="10"/>
          </p:nvPr>
        </p:nvSpPr>
        <p:spPr>
          <a:xfrm>
            <a:off x="297888" y="6541542"/>
            <a:ext cx="4692569" cy="215444"/>
          </a:xfrm>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fld id="{ACDA101C-1C77-4D48-BD39-A39536584314}" type="slidenum">
              <a:rPr kumimoji="0" lang="de-AT" sz="800" b="0" i="0" u="none" strike="noStrike" kern="1200" cap="none" spc="0" normalizeH="0" baseline="0" noProof="0" smtClean="0">
                <a:ln>
                  <a:noFill/>
                </a:ln>
                <a:solidFill>
                  <a:prstClr val="white">
                    <a:lumMod val="50000"/>
                  </a:prstClr>
                </a:solidFill>
                <a:effectLst/>
                <a:uLnTx/>
                <a:uFillTx/>
              </a:rPr>
              <a:pPr marL="0" marR="0" lvl="0" indent="0" algn="l" defTabSz="914400" rtl="0" eaLnBrk="1" fontAlgn="base" latinLnBrk="0" hangingPunct="1">
                <a:lnSpc>
                  <a:spcPct val="100000"/>
                </a:lnSpc>
                <a:spcBef>
                  <a:spcPct val="0"/>
                </a:spcBef>
                <a:spcAft>
                  <a:spcPct val="0"/>
                </a:spcAft>
                <a:buClrTx/>
                <a:buSzTx/>
                <a:buFontTx/>
                <a:buNone/>
                <a:tabLst/>
                <a:defRPr/>
              </a:pPr>
              <a:t>26</a:t>
            </a:fld>
            <a:endParaRPr kumimoji="0" lang="de-AT" sz="800" b="0" i="0" u="none" strike="noStrike" kern="1200" cap="none" spc="0" normalizeH="0" baseline="0" noProof="0" dirty="0">
              <a:ln>
                <a:noFill/>
              </a:ln>
              <a:solidFill>
                <a:prstClr val="white">
                  <a:lumMod val="50000"/>
                </a:prstClr>
              </a:solidFill>
              <a:effectLst/>
              <a:uLnTx/>
              <a:uFillTx/>
            </a:endParaRPr>
          </a:p>
        </p:txBody>
      </p:sp>
      <p:pic>
        <p:nvPicPr>
          <p:cNvPr id="1615" name="Picture 1614">
            <a:extLst>
              <a:ext uri="{FF2B5EF4-FFF2-40B4-BE49-F238E27FC236}">
                <a16:creationId xmlns:a16="http://schemas.microsoft.com/office/drawing/2014/main" id="{683FD198-B225-4FA3-A926-F04715677A44}"/>
              </a:ext>
            </a:extLst>
          </p:cNvPr>
          <p:cNvPicPr>
            <a:picLocks/>
          </p:cNvPicPr>
          <p:nvPr/>
        </p:nvPicPr>
        <p:blipFill rotWithShape="1">
          <a:blip r:embed="rId8" cstate="print">
            <a:extLst>
              <a:ext uri="{28A0092B-C50C-407E-A947-70E740481C1C}">
                <a14:useLocalDpi xmlns:a14="http://schemas.microsoft.com/office/drawing/2010/main"/>
              </a:ext>
            </a:extLst>
          </a:blip>
          <a:srcRect l="7593" t="15934" r="776"/>
          <a:stretch/>
        </p:blipFill>
        <p:spPr bwMode="gray">
          <a:xfrm>
            <a:off x="936243" y="1454727"/>
            <a:ext cx="6659293" cy="3899889"/>
          </a:xfrm>
          <a:prstGeom prst="rect">
            <a:avLst/>
          </a:prstGeom>
          <a:ln>
            <a:noFill/>
          </a:ln>
        </p:spPr>
      </p:pic>
      <p:sp>
        <p:nvSpPr>
          <p:cNvPr id="1616" name="Oval 325">
            <a:extLst>
              <a:ext uri="{FF2B5EF4-FFF2-40B4-BE49-F238E27FC236}">
                <a16:creationId xmlns:a16="http://schemas.microsoft.com/office/drawing/2014/main" id="{750DCCD0-BA23-4EFB-8740-B6E755C0F40F}"/>
              </a:ext>
            </a:extLst>
          </p:cNvPr>
          <p:cNvSpPr>
            <a:spLocks noChangeArrowheads="1"/>
          </p:cNvSpPr>
          <p:nvPr/>
        </p:nvSpPr>
        <p:spPr bwMode="gray">
          <a:xfrm>
            <a:off x="6241651" y="4131212"/>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17" name="Oval 326">
            <a:extLst>
              <a:ext uri="{FF2B5EF4-FFF2-40B4-BE49-F238E27FC236}">
                <a16:creationId xmlns:a16="http://schemas.microsoft.com/office/drawing/2014/main" id="{8360B6E8-53B2-48C2-997D-0C3512273269}"/>
              </a:ext>
            </a:extLst>
          </p:cNvPr>
          <p:cNvSpPr>
            <a:spLocks noChangeArrowheads="1"/>
          </p:cNvSpPr>
          <p:nvPr/>
        </p:nvSpPr>
        <p:spPr bwMode="gray">
          <a:xfrm>
            <a:off x="3812780" y="2295381"/>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18" name="Oval 327">
            <a:extLst>
              <a:ext uri="{FF2B5EF4-FFF2-40B4-BE49-F238E27FC236}">
                <a16:creationId xmlns:a16="http://schemas.microsoft.com/office/drawing/2014/main" id="{02E2B1A1-823F-40B4-9CE8-AC47F4CAD8C2}"/>
              </a:ext>
            </a:extLst>
          </p:cNvPr>
          <p:cNvSpPr>
            <a:spLocks noChangeArrowheads="1"/>
          </p:cNvSpPr>
          <p:nvPr/>
        </p:nvSpPr>
        <p:spPr bwMode="gray">
          <a:xfrm>
            <a:off x="6129513" y="4274358"/>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19" name="Oval 328">
            <a:extLst>
              <a:ext uri="{FF2B5EF4-FFF2-40B4-BE49-F238E27FC236}">
                <a16:creationId xmlns:a16="http://schemas.microsoft.com/office/drawing/2014/main" id="{EEA4432F-015A-4FB5-8DDD-DF9BBD070F0D}"/>
              </a:ext>
            </a:extLst>
          </p:cNvPr>
          <p:cNvSpPr>
            <a:spLocks noChangeArrowheads="1"/>
          </p:cNvSpPr>
          <p:nvPr/>
        </p:nvSpPr>
        <p:spPr bwMode="gray">
          <a:xfrm>
            <a:off x="4427156" y="3019455"/>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20" name="Oval 329">
            <a:extLst>
              <a:ext uri="{FF2B5EF4-FFF2-40B4-BE49-F238E27FC236}">
                <a16:creationId xmlns:a16="http://schemas.microsoft.com/office/drawing/2014/main" id="{93ECF21A-CD72-481A-9E38-9AE5FCAC38DF}"/>
              </a:ext>
            </a:extLst>
          </p:cNvPr>
          <p:cNvSpPr>
            <a:spLocks noChangeArrowheads="1"/>
          </p:cNvSpPr>
          <p:nvPr/>
        </p:nvSpPr>
        <p:spPr bwMode="gray">
          <a:xfrm>
            <a:off x="1621308" y="2741515"/>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21" name="Oval 342">
            <a:extLst>
              <a:ext uri="{FF2B5EF4-FFF2-40B4-BE49-F238E27FC236}">
                <a16:creationId xmlns:a16="http://schemas.microsoft.com/office/drawing/2014/main" id="{59623033-D379-4E87-A195-9F370BD96A4D}"/>
              </a:ext>
            </a:extLst>
          </p:cNvPr>
          <p:cNvSpPr>
            <a:spLocks noChangeArrowheads="1"/>
          </p:cNvSpPr>
          <p:nvPr/>
        </p:nvSpPr>
        <p:spPr bwMode="gray">
          <a:xfrm>
            <a:off x="6207056" y="2585249"/>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22" name="Oval 347">
            <a:extLst>
              <a:ext uri="{FF2B5EF4-FFF2-40B4-BE49-F238E27FC236}">
                <a16:creationId xmlns:a16="http://schemas.microsoft.com/office/drawing/2014/main" id="{64FAABBE-F0C1-4A24-A503-99C8AF9FAEDE}"/>
              </a:ext>
            </a:extLst>
          </p:cNvPr>
          <p:cNvSpPr>
            <a:spLocks noChangeArrowheads="1"/>
          </p:cNvSpPr>
          <p:nvPr/>
        </p:nvSpPr>
        <p:spPr bwMode="gray">
          <a:xfrm>
            <a:off x="3473979" y="2772529"/>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23" name="Oval 349">
            <a:extLst>
              <a:ext uri="{FF2B5EF4-FFF2-40B4-BE49-F238E27FC236}">
                <a16:creationId xmlns:a16="http://schemas.microsoft.com/office/drawing/2014/main" id="{91B0360E-E7FF-4AEE-94A2-BD48BC3F62C8}"/>
              </a:ext>
            </a:extLst>
          </p:cNvPr>
          <p:cNvSpPr>
            <a:spLocks noChangeArrowheads="1"/>
          </p:cNvSpPr>
          <p:nvPr/>
        </p:nvSpPr>
        <p:spPr bwMode="gray">
          <a:xfrm>
            <a:off x="6927605" y="4189663"/>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24" name="Oval 350">
            <a:extLst>
              <a:ext uri="{FF2B5EF4-FFF2-40B4-BE49-F238E27FC236}">
                <a16:creationId xmlns:a16="http://schemas.microsoft.com/office/drawing/2014/main" id="{438C17FD-3B5B-4231-964C-64C039CBCD74}"/>
              </a:ext>
            </a:extLst>
          </p:cNvPr>
          <p:cNvSpPr>
            <a:spLocks noChangeArrowheads="1"/>
          </p:cNvSpPr>
          <p:nvPr/>
        </p:nvSpPr>
        <p:spPr bwMode="gray">
          <a:xfrm>
            <a:off x="6137864" y="4299407"/>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25" name="Oval 357">
            <a:extLst>
              <a:ext uri="{FF2B5EF4-FFF2-40B4-BE49-F238E27FC236}">
                <a16:creationId xmlns:a16="http://schemas.microsoft.com/office/drawing/2014/main" id="{DE106677-6220-452A-AE28-D1EA2200BAC6}"/>
              </a:ext>
            </a:extLst>
          </p:cNvPr>
          <p:cNvSpPr>
            <a:spLocks noChangeArrowheads="1"/>
          </p:cNvSpPr>
          <p:nvPr/>
        </p:nvSpPr>
        <p:spPr bwMode="gray">
          <a:xfrm>
            <a:off x="3633835" y="2324009"/>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26" name="Oval 362">
            <a:extLst>
              <a:ext uri="{FF2B5EF4-FFF2-40B4-BE49-F238E27FC236}">
                <a16:creationId xmlns:a16="http://schemas.microsoft.com/office/drawing/2014/main" id="{70C8031A-E0CA-4FB1-950D-8A9170D3D273}"/>
              </a:ext>
            </a:extLst>
          </p:cNvPr>
          <p:cNvSpPr>
            <a:spLocks noChangeArrowheads="1"/>
          </p:cNvSpPr>
          <p:nvPr/>
        </p:nvSpPr>
        <p:spPr bwMode="gray">
          <a:xfrm>
            <a:off x="6210635" y="4347122"/>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27" name="Oval 368">
            <a:extLst>
              <a:ext uri="{FF2B5EF4-FFF2-40B4-BE49-F238E27FC236}">
                <a16:creationId xmlns:a16="http://schemas.microsoft.com/office/drawing/2014/main" id="{117B32C5-7AB3-4E97-8DAD-0CE8117DAFB2}"/>
              </a:ext>
            </a:extLst>
          </p:cNvPr>
          <p:cNvSpPr>
            <a:spLocks noChangeArrowheads="1"/>
          </p:cNvSpPr>
          <p:nvPr/>
        </p:nvSpPr>
        <p:spPr bwMode="gray">
          <a:xfrm>
            <a:off x="3935656" y="2209494"/>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28" name="Oval 373">
            <a:extLst>
              <a:ext uri="{FF2B5EF4-FFF2-40B4-BE49-F238E27FC236}">
                <a16:creationId xmlns:a16="http://schemas.microsoft.com/office/drawing/2014/main" id="{F8344ED1-910F-4D40-8179-093224DD7ECD}"/>
              </a:ext>
            </a:extLst>
          </p:cNvPr>
          <p:cNvSpPr>
            <a:spLocks noChangeArrowheads="1"/>
          </p:cNvSpPr>
          <p:nvPr/>
        </p:nvSpPr>
        <p:spPr bwMode="gray">
          <a:xfrm>
            <a:off x="3835446" y="2267945"/>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29" name="Oval 393">
            <a:extLst>
              <a:ext uri="{FF2B5EF4-FFF2-40B4-BE49-F238E27FC236}">
                <a16:creationId xmlns:a16="http://schemas.microsoft.com/office/drawing/2014/main" id="{4811E88D-12C8-487C-8884-2971A96E5D2B}"/>
              </a:ext>
            </a:extLst>
          </p:cNvPr>
          <p:cNvSpPr>
            <a:spLocks noChangeArrowheads="1"/>
          </p:cNvSpPr>
          <p:nvPr/>
        </p:nvSpPr>
        <p:spPr bwMode="gray">
          <a:xfrm>
            <a:off x="2173649" y="4170577"/>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30" name="Oval 394">
            <a:extLst>
              <a:ext uri="{FF2B5EF4-FFF2-40B4-BE49-F238E27FC236}">
                <a16:creationId xmlns:a16="http://schemas.microsoft.com/office/drawing/2014/main" id="{0DAA03A9-37F0-4E9A-83F9-80B5F9DE67A7}"/>
              </a:ext>
            </a:extLst>
          </p:cNvPr>
          <p:cNvSpPr>
            <a:spLocks noChangeArrowheads="1"/>
          </p:cNvSpPr>
          <p:nvPr/>
        </p:nvSpPr>
        <p:spPr bwMode="gray">
          <a:xfrm>
            <a:off x="2084179" y="4973381"/>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31" name="Oval 422">
            <a:extLst>
              <a:ext uri="{FF2B5EF4-FFF2-40B4-BE49-F238E27FC236}">
                <a16:creationId xmlns:a16="http://schemas.microsoft.com/office/drawing/2014/main" id="{AE1B1228-CAD4-4835-9213-9F6AB2A0D6B8}"/>
              </a:ext>
            </a:extLst>
          </p:cNvPr>
          <p:cNvSpPr>
            <a:spLocks noChangeArrowheads="1"/>
          </p:cNvSpPr>
          <p:nvPr/>
        </p:nvSpPr>
        <p:spPr bwMode="gray">
          <a:xfrm>
            <a:off x="3602819" y="2298959"/>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32" name="Oval 498">
            <a:extLst>
              <a:ext uri="{FF2B5EF4-FFF2-40B4-BE49-F238E27FC236}">
                <a16:creationId xmlns:a16="http://schemas.microsoft.com/office/drawing/2014/main" id="{CAC023B7-2C14-4AB0-9FB2-6B48C9171776}"/>
              </a:ext>
            </a:extLst>
          </p:cNvPr>
          <p:cNvSpPr>
            <a:spLocks noChangeArrowheads="1"/>
          </p:cNvSpPr>
          <p:nvPr/>
        </p:nvSpPr>
        <p:spPr bwMode="gray">
          <a:xfrm>
            <a:off x="3717343" y="2377689"/>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33" name="Oval 504">
            <a:extLst>
              <a:ext uri="{FF2B5EF4-FFF2-40B4-BE49-F238E27FC236}">
                <a16:creationId xmlns:a16="http://schemas.microsoft.com/office/drawing/2014/main" id="{0349F69E-B171-43B2-8093-8CCD2F16EF8B}"/>
              </a:ext>
            </a:extLst>
          </p:cNvPr>
          <p:cNvSpPr>
            <a:spLocks noChangeArrowheads="1"/>
          </p:cNvSpPr>
          <p:nvPr/>
        </p:nvSpPr>
        <p:spPr bwMode="gray">
          <a:xfrm>
            <a:off x="3848568" y="2217844"/>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34" name="Oval 510">
            <a:extLst>
              <a:ext uri="{FF2B5EF4-FFF2-40B4-BE49-F238E27FC236}">
                <a16:creationId xmlns:a16="http://schemas.microsoft.com/office/drawing/2014/main" id="{4E5C39AD-B445-4E72-8C1C-FF831A7D4005}"/>
              </a:ext>
            </a:extLst>
          </p:cNvPr>
          <p:cNvSpPr>
            <a:spLocks noChangeArrowheads="1"/>
          </p:cNvSpPr>
          <p:nvPr/>
        </p:nvSpPr>
        <p:spPr bwMode="gray">
          <a:xfrm>
            <a:off x="2135476" y="4319686"/>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35" name="Oval 521">
            <a:extLst>
              <a:ext uri="{FF2B5EF4-FFF2-40B4-BE49-F238E27FC236}">
                <a16:creationId xmlns:a16="http://schemas.microsoft.com/office/drawing/2014/main" id="{8E57052D-6934-48A1-8092-4DCF20C02E38}"/>
              </a:ext>
            </a:extLst>
          </p:cNvPr>
          <p:cNvSpPr>
            <a:spLocks noChangeArrowheads="1"/>
          </p:cNvSpPr>
          <p:nvPr/>
        </p:nvSpPr>
        <p:spPr bwMode="gray">
          <a:xfrm>
            <a:off x="2815464" y="3762614"/>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36" name="Oval 535">
            <a:extLst>
              <a:ext uri="{FF2B5EF4-FFF2-40B4-BE49-F238E27FC236}">
                <a16:creationId xmlns:a16="http://schemas.microsoft.com/office/drawing/2014/main" id="{BE839C04-2456-409F-8A3A-C4E2C8AE9502}"/>
              </a:ext>
            </a:extLst>
          </p:cNvPr>
          <p:cNvSpPr>
            <a:spLocks noChangeArrowheads="1"/>
          </p:cNvSpPr>
          <p:nvPr/>
        </p:nvSpPr>
        <p:spPr bwMode="gray">
          <a:xfrm>
            <a:off x="3848568" y="2290609"/>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37" name="Oval 537">
            <a:extLst>
              <a:ext uri="{FF2B5EF4-FFF2-40B4-BE49-F238E27FC236}">
                <a16:creationId xmlns:a16="http://schemas.microsoft.com/office/drawing/2014/main" id="{FE33BE01-572B-4D59-8FAF-3453D4ABD5B0}"/>
              </a:ext>
            </a:extLst>
          </p:cNvPr>
          <p:cNvSpPr>
            <a:spLocks noChangeArrowheads="1"/>
          </p:cNvSpPr>
          <p:nvPr/>
        </p:nvSpPr>
        <p:spPr bwMode="gray">
          <a:xfrm>
            <a:off x="3745973" y="2365760"/>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38" name="Oval 538">
            <a:extLst>
              <a:ext uri="{FF2B5EF4-FFF2-40B4-BE49-F238E27FC236}">
                <a16:creationId xmlns:a16="http://schemas.microsoft.com/office/drawing/2014/main" id="{66F02CE7-B112-4FDD-B2CC-D21781DB13EA}"/>
              </a:ext>
            </a:extLst>
          </p:cNvPr>
          <p:cNvSpPr>
            <a:spLocks noChangeArrowheads="1"/>
          </p:cNvSpPr>
          <p:nvPr/>
        </p:nvSpPr>
        <p:spPr bwMode="gray">
          <a:xfrm>
            <a:off x="3652923" y="2288223"/>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39" name="Oval 553">
            <a:extLst>
              <a:ext uri="{FF2B5EF4-FFF2-40B4-BE49-F238E27FC236}">
                <a16:creationId xmlns:a16="http://schemas.microsoft.com/office/drawing/2014/main" id="{8CC062CA-BAF3-4011-8E8C-C49C3DF567EF}"/>
              </a:ext>
            </a:extLst>
          </p:cNvPr>
          <p:cNvSpPr>
            <a:spLocks noChangeArrowheads="1"/>
          </p:cNvSpPr>
          <p:nvPr/>
        </p:nvSpPr>
        <p:spPr bwMode="gray">
          <a:xfrm>
            <a:off x="6690205" y="4285093"/>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40" name="Oval 568">
            <a:extLst>
              <a:ext uri="{FF2B5EF4-FFF2-40B4-BE49-F238E27FC236}">
                <a16:creationId xmlns:a16="http://schemas.microsoft.com/office/drawing/2014/main" id="{BE377E3A-E7EC-412D-91AA-3B18F4E4759A}"/>
              </a:ext>
            </a:extLst>
          </p:cNvPr>
          <p:cNvSpPr>
            <a:spLocks noChangeArrowheads="1"/>
          </p:cNvSpPr>
          <p:nvPr/>
        </p:nvSpPr>
        <p:spPr bwMode="gray">
          <a:xfrm>
            <a:off x="6187969" y="4199206"/>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41" name="Oval 569">
            <a:extLst>
              <a:ext uri="{FF2B5EF4-FFF2-40B4-BE49-F238E27FC236}">
                <a16:creationId xmlns:a16="http://schemas.microsoft.com/office/drawing/2014/main" id="{4306CE00-0E60-4279-A651-26E553DBAD40}"/>
              </a:ext>
            </a:extLst>
          </p:cNvPr>
          <p:cNvSpPr>
            <a:spLocks noChangeArrowheads="1"/>
          </p:cNvSpPr>
          <p:nvPr/>
        </p:nvSpPr>
        <p:spPr bwMode="gray">
          <a:xfrm>
            <a:off x="6263125" y="2825015"/>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42" name="Oval 570">
            <a:extLst>
              <a:ext uri="{FF2B5EF4-FFF2-40B4-BE49-F238E27FC236}">
                <a16:creationId xmlns:a16="http://schemas.microsoft.com/office/drawing/2014/main" id="{E7333075-EDBE-4E94-820A-74D27AE056D3}"/>
              </a:ext>
            </a:extLst>
          </p:cNvPr>
          <p:cNvSpPr>
            <a:spLocks noChangeArrowheads="1"/>
          </p:cNvSpPr>
          <p:nvPr/>
        </p:nvSpPr>
        <p:spPr bwMode="gray">
          <a:xfrm>
            <a:off x="2098493" y="4558261"/>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43" name="Oval 613">
            <a:extLst>
              <a:ext uri="{FF2B5EF4-FFF2-40B4-BE49-F238E27FC236}">
                <a16:creationId xmlns:a16="http://schemas.microsoft.com/office/drawing/2014/main" id="{9C7E287E-CE8B-4DC1-81ED-3DD80FB87AA9}"/>
              </a:ext>
            </a:extLst>
          </p:cNvPr>
          <p:cNvSpPr>
            <a:spLocks noChangeArrowheads="1"/>
          </p:cNvSpPr>
          <p:nvPr/>
        </p:nvSpPr>
        <p:spPr bwMode="gray">
          <a:xfrm>
            <a:off x="4884060" y="3216279"/>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44" name="Oval 639">
            <a:extLst>
              <a:ext uri="{FF2B5EF4-FFF2-40B4-BE49-F238E27FC236}">
                <a16:creationId xmlns:a16="http://schemas.microsoft.com/office/drawing/2014/main" id="{6EEB431A-6905-453A-9980-2501AE04D555}"/>
              </a:ext>
            </a:extLst>
          </p:cNvPr>
          <p:cNvSpPr>
            <a:spLocks noChangeArrowheads="1"/>
          </p:cNvSpPr>
          <p:nvPr/>
        </p:nvSpPr>
        <p:spPr bwMode="gray">
          <a:xfrm>
            <a:off x="1216894" y="2290609"/>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45" name="Oval 654">
            <a:extLst>
              <a:ext uri="{FF2B5EF4-FFF2-40B4-BE49-F238E27FC236}">
                <a16:creationId xmlns:a16="http://schemas.microsoft.com/office/drawing/2014/main" id="{574879DC-209C-4617-BD82-102DC63F3416}"/>
              </a:ext>
            </a:extLst>
          </p:cNvPr>
          <p:cNvSpPr>
            <a:spLocks noChangeArrowheads="1"/>
          </p:cNvSpPr>
          <p:nvPr/>
        </p:nvSpPr>
        <p:spPr bwMode="gray">
          <a:xfrm>
            <a:off x="6782064" y="4162227"/>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46" name="Oval 658">
            <a:extLst>
              <a:ext uri="{FF2B5EF4-FFF2-40B4-BE49-F238E27FC236}">
                <a16:creationId xmlns:a16="http://schemas.microsoft.com/office/drawing/2014/main" id="{63835724-32EA-4D5B-980F-A3B6B49896A0}"/>
              </a:ext>
            </a:extLst>
          </p:cNvPr>
          <p:cNvSpPr>
            <a:spLocks noChangeArrowheads="1"/>
          </p:cNvSpPr>
          <p:nvPr/>
        </p:nvSpPr>
        <p:spPr bwMode="gray">
          <a:xfrm>
            <a:off x="3454892" y="3227014"/>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47" name="Oval 660">
            <a:extLst>
              <a:ext uri="{FF2B5EF4-FFF2-40B4-BE49-F238E27FC236}">
                <a16:creationId xmlns:a16="http://schemas.microsoft.com/office/drawing/2014/main" id="{9A3ECDEC-9AB4-426E-9DB5-6694B4FBEFE3}"/>
              </a:ext>
            </a:extLst>
          </p:cNvPr>
          <p:cNvSpPr>
            <a:spLocks noChangeArrowheads="1"/>
          </p:cNvSpPr>
          <p:nvPr/>
        </p:nvSpPr>
        <p:spPr bwMode="gray">
          <a:xfrm>
            <a:off x="5160827" y="2464768"/>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48" name="Oval 690">
            <a:extLst>
              <a:ext uri="{FF2B5EF4-FFF2-40B4-BE49-F238E27FC236}">
                <a16:creationId xmlns:a16="http://schemas.microsoft.com/office/drawing/2014/main" id="{404DE9BA-8530-4AF9-8081-C05F3C8ECCE6}"/>
              </a:ext>
            </a:extLst>
          </p:cNvPr>
          <p:cNvSpPr>
            <a:spLocks noChangeArrowheads="1"/>
          </p:cNvSpPr>
          <p:nvPr/>
        </p:nvSpPr>
        <p:spPr bwMode="gray">
          <a:xfrm>
            <a:off x="6327545" y="4384102"/>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49" name="Oval 702">
            <a:extLst>
              <a:ext uri="{FF2B5EF4-FFF2-40B4-BE49-F238E27FC236}">
                <a16:creationId xmlns:a16="http://schemas.microsoft.com/office/drawing/2014/main" id="{4B484F78-D46E-416E-96B2-CCF83D2BEE99}"/>
              </a:ext>
            </a:extLst>
          </p:cNvPr>
          <p:cNvSpPr>
            <a:spLocks noChangeArrowheads="1"/>
          </p:cNvSpPr>
          <p:nvPr/>
        </p:nvSpPr>
        <p:spPr bwMode="gray">
          <a:xfrm>
            <a:off x="4929392" y="3132777"/>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50" name="Oval 709">
            <a:extLst>
              <a:ext uri="{FF2B5EF4-FFF2-40B4-BE49-F238E27FC236}">
                <a16:creationId xmlns:a16="http://schemas.microsoft.com/office/drawing/2014/main" id="{D394118A-1453-4574-AB34-BE384CAECA02}"/>
              </a:ext>
            </a:extLst>
          </p:cNvPr>
          <p:cNvSpPr>
            <a:spLocks noChangeArrowheads="1"/>
          </p:cNvSpPr>
          <p:nvPr/>
        </p:nvSpPr>
        <p:spPr bwMode="gray">
          <a:xfrm>
            <a:off x="1196614" y="2220230"/>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51" name="Oval 723">
            <a:extLst>
              <a:ext uri="{FF2B5EF4-FFF2-40B4-BE49-F238E27FC236}">
                <a16:creationId xmlns:a16="http://schemas.microsoft.com/office/drawing/2014/main" id="{4B2EB44E-5F53-4678-95E1-9A85B2885D86}"/>
              </a:ext>
            </a:extLst>
          </p:cNvPr>
          <p:cNvSpPr>
            <a:spLocks noChangeArrowheads="1"/>
          </p:cNvSpPr>
          <p:nvPr/>
        </p:nvSpPr>
        <p:spPr bwMode="gray">
          <a:xfrm>
            <a:off x="4205265" y="2549464"/>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52" name="Oval 755">
            <a:extLst>
              <a:ext uri="{FF2B5EF4-FFF2-40B4-BE49-F238E27FC236}">
                <a16:creationId xmlns:a16="http://schemas.microsoft.com/office/drawing/2014/main" id="{FECB0B8C-5102-469B-9271-CDD3496723C8}"/>
              </a:ext>
            </a:extLst>
          </p:cNvPr>
          <p:cNvSpPr>
            <a:spLocks noChangeArrowheads="1"/>
          </p:cNvSpPr>
          <p:nvPr/>
        </p:nvSpPr>
        <p:spPr bwMode="gray">
          <a:xfrm>
            <a:off x="6927605" y="4189663"/>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53" name="Oval 756">
            <a:extLst>
              <a:ext uri="{FF2B5EF4-FFF2-40B4-BE49-F238E27FC236}">
                <a16:creationId xmlns:a16="http://schemas.microsoft.com/office/drawing/2014/main" id="{70389535-29C9-445C-80C1-F99A13B89099}"/>
              </a:ext>
            </a:extLst>
          </p:cNvPr>
          <p:cNvSpPr>
            <a:spLocks noChangeArrowheads="1"/>
          </p:cNvSpPr>
          <p:nvPr/>
        </p:nvSpPr>
        <p:spPr bwMode="gray">
          <a:xfrm>
            <a:off x="3608784" y="2338323"/>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54" name="Oval 757">
            <a:extLst>
              <a:ext uri="{FF2B5EF4-FFF2-40B4-BE49-F238E27FC236}">
                <a16:creationId xmlns:a16="http://schemas.microsoft.com/office/drawing/2014/main" id="{69C8B8E1-2E4F-45B5-B7AD-B660B8CBABCD}"/>
              </a:ext>
            </a:extLst>
          </p:cNvPr>
          <p:cNvSpPr>
            <a:spLocks noChangeArrowheads="1"/>
          </p:cNvSpPr>
          <p:nvPr/>
        </p:nvSpPr>
        <p:spPr bwMode="gray">
          <a:xfrm>
            <a:off x="3463243" y="2363374"/>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55" name="Oval 758">
            <a:extLst>
              <a:ext uri="{FF2B5EF4-FFF2-40B4-BE49-F238E27FC236}">
                <a16:creationId xmlns:a16="http://schemas.microsoft.com/office/drawing/2014/main" id="{C958DD16-903C-44FC-8A03-61B580592BE5}"/>
              </a:ext>
            </a:extLst>
          </p:cNvPr>
          <p:cNvSpPr>
            <a:spLocks noChangeArrowheads="1"/>
          </p:cNvSpPr>
          <p:nvPr/>
        </p:nvSpPr>
        <p:spPr bwMode="gray">
          <a:xfrm>
            <a:off x="4192143" y="2690222"/>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56" name="Oval 776">
            <a:extLst>
              <a:ext uri="{FF2B5EF4-FFF2-40B4-BE49-F238E27FC236}">
                <a16:creationId xmlns:a16="http://schemas.microsoft.com/office/drawing/2014/main" id="{B6F4FB34-DDD3-4710-AC15-26A388AE2D32}"/>
              </a:ext>
            </a:extLst>
          </p:cNvPr>
          <p:cNvSpPr>
            <a:spLocks noChangeArrowheads="1"/>
          </p:cNvSpPr>
          <p:nvPr/>
        </p:nvSpPr>
        <p:spPr bwMode="gray">
          <a:xfrm>
            <a:off x="1496047" y="2495783"/>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57" name="Oval 777">
            <a:extLst>
              <a:ext uri="{FF2B5EF4-FFF2-40B4-BE49-F238E27FC236}">
                <a16:creationId xmlns:a16="http://schemas.microsoft.com/office/drawing/2014/main" id="{9CE0F864-EE5A-43F1-AEC0-D62FDD885466}"/>
              </a:ext>
            </a:extLst>
          </p:cNvPr>
          <p:cNvSpPr>
            <a:spLocks noChangeArrowheads="1"/>
          </p:cNvSpPr>
          <p:nvPr/>
        </p:nvSpPr>
        <p:spPr bwMode="gray">
          <a:xfrm>
            <a:off x="7425070" y="4574960"/>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58" name="Oval 778">
            <a:extLst>
              <a:ext uri="{FF2B5EF4-FFF2-40B4-BE49-F238E27FC236}">
                <a16:creationId xmlns:a16="http://schemas.microsoft.com/office/drawing/2014/main" id="{6ECF8EA5-030B-4D63-9CFA-A6FEA21230DB}"/>
              </a:ext>
            </a:extLst>
          </p:cNvPr>
          <p:cNvSpPr>
            <a:spLocks noChangeArrowheads="1"/>
          </p:cNvSpPr>
          <p:nvPr/>
        </p:nvSpPr>
        <p:spPr bwMode="gray">
          <a:xfrm>
            <a:off x="7425070" y="4574960"/>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59" name="Oval 784">
            <a:extLst>
              <a:ext uri="{FF2B5EF4-FFF2-40B4-BE49-F238E27FC236}">
                <a16:creationId xmlns:a16="http://schemas.microsoft.com/office/drawing/2014/main" id="{BF7DD7D7-EE70-4EB9-98D2-FD92326EC591}"/>
              </a:ext>
            </a:extLst>
          </p:cNvPr>
          <p:cNvSpPr>
            <a:spLocks noChangeArrowheads="1"/>
          </p:cNvSpPr>
          <p:nvPr/>
        </p:nvSpPr>
        <p:spPr bwMode="gray">
          <a:xfrm>
            <a:off x="3837832" y="2112872"/>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60" name="Oval 788">
            <a:extLst>
              <a:ext uri="{FF2B5EF4-FFF2-40B4-BE49-F238E27FC236}">
                <a16:creationId xmlns:a16="http://schemas.microsoft.com/office/drawing/2014/main" id="{88F7E31D-438C-402A-838E-8DC441230B0F}"/>
              </a:ext>
            </a:extLst>
          </p:cNvPr>
          <p:cNvSpPr>
            <a:spLocks noChangeArrowheads="1"/>
          </p:cNvSpPr>
          <p:nvPr/>
        </p:nvSpPr>
        <p:spPr bwMode="gray">
          <a:xfrm>
            <a:off x="1673799" y="2938339"/>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61" name="Oval 793">
            <a:extLst>
              <a:ext uri="{FF2B5EF4-FFF2-40B4-BE49-F238E27FC236}">
                <a16:creationId xmlns:a16="http://schemas.microsoft.com/office/drawing/2014/main" id="{593C9FE9-E445-4BD4-A84C-2AF9D8FD2D8C}"/>
              </a:ext>
            </a:extLst>
          </p:cNvPr>
          <p:cNvSpPr>
            <a:spLocks noChangeArrowheads="1"/>
          </p:cNvSpPr>
          <p:nvPr/>
        </p:nvSpPr>
        <p:spPr bwMode="gray">
          <a:xfrm>
            <a:off x="2216596" y="4582119"/>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62" name="Oval 794">
            <a:extLst>
              <a:ext uri="{FF2B5EF4-FFF2-40B4-BE49-F238E27FC236}">
                <a16:creationId xmlns:a16="http://schemas.microsoft.com/office/drawing/2014/main" id="{ABAB304B-1034-4AF9-8F24-518670348614}"/>
              </a:ext>
            </a:extLst>
          </p:cNvPr>
          <p:cNvSpPr>
            <a:spLocks noChangeArrowheads="1"/>
          </p:cNvSpPr>
          <p:nvPr/>
        </p:nvSpPr>
        <p:spPr bwMode="gray">
          <a:xfrm>
            <a:off x="3636221" y="2025792"/>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63" name="Oval 842">
            <a:extLst>
              <a:ext uri="{FF2B5EF4-FFF2-40B4-BE49-F238E27FC236}">
                <a16:creationId xmlns:a16="http://schemas.microsoft.com/office/drawing/2014/main" id="{B2BAE2A8-6F02-4187-9640-E5BCB279BF4D}"/>
              </a:ext>
            </a:extLst>
          </p:cNvPr>
          <p:cNvSpPr>
            <a:spLocks noChangeArrowheads="1"/>
          </p:cNvSpPr>
          <p:nvPr/>
        </p:nvSpPr>
        <p:spPr bwMode="gray">
          <a:xfrm>
            <a:off x="3639801" y="2673522"/>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64" name="Oval 851">
            <a:extLst>
              <a:ext uri="{FF2B5EF4-FFF2-40B4-BE49-F238E27FC236}">
                <a16:creationId xmlns:a16="http://schemas.microsoft.com/office/drawing/2014/main" id="{24C5DA49-4ED7-4C26-9ACC-00EEDB3FAA7D}"/>
              </a:ext>
            </a:extLst>
          </p:cNvPr>
          <p:cNvSpPr>
            <a:spLocks noChangeArrowheads="1"/>
          </p:cNvSpPr>
          <p:nvPr/>
        </p:nvSpPr>
        <p:spPr bwMode="gray">
          <a:xfrm>
            <a:off x="1540187" y="3036156"/>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65" name="Oval 864">
            <a:extLst>
              <a:ext uri="{FF2B5EF4-FFF2-40B4-BE49-F238E27FC236}">
                <a16:creationId xmlns:a16="http://schemas.microsoft.com/office/drawing/2014/main" id="{2B7E39B6-21AC-4E55-872E-655828D45C9F}"/>
              </a:ext>
            </a:extLst>
          </p:cNvPr>
          <p:cNvSpPr>
            <a:spLocks noChangeArrowheads="1"/>
          </p:cNvSpPr>
          <p:nvPr/>
        </p:nvSpPr>
        <p:spPr bwMode="gray">
          <a:xfrm>
            <a:off x="2121159" y="4975766"/>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66" name="Oval 865">
            <a:extLst>
              <a:ext uri="{FF2B5EF4-FFF2-40B4-BE49-F238E27FC236}">
                <a16:creationId xmlns:a16="http://schemas.microsoft.com/office/drawing/2014/main" id="{4C1DAD2D-9918-4383-9303-67080763EEA9}"/>
              </a:ext>
            </a:extLst>
          </p:cNvPr>
          <p:cNvSpPr>
            <a:spLocks noChangeArrowheads="1"/>
          </p:cNvSpPr>
          <p:nvPr/>
        </p:nvSpPr>
        <p:spPr bwMode="gray">
          <a:xfrm>
            <a:off x="2146213" y="4176542"/>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67" name="Oval 866">
            <a:extLst>
              <a:ext uri="{FF2B5EF4-FFF2-40B4-BE49-F238E27FC236}">
                <a16:creationId xmlns:a16="http://schemas.microsoft.com/office/drawing/2014/main" id="{57A9EA3A-426E-432D-B1E7-8094FFF1AD23}"/>
              </a:ext>
            </a:extLst>
          </p:cNvPr>
          <p:cNvSpPr>
            <a:spLocks noChangeArrowheads="1"/>
          </p:cNvSpPr>
          <p:nvPr/>
        </p:nvSpPr>
        <p:spPr bwMode="gray">
          <a:xfrm>
            <a:off x="2171263" y="5029446"/>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68" name="Oval 867">
            <a:extLst>
              <a:ext uri="{FF2B5EF4-FFF2-40B4-BE49-F238E27FC236}">
                <a16:creationId xmlns:a16="http://schemas.microsoft.com/office/drawing/2014/main" id="{8FE93F22-22A9-4F38-BD76-0C6DA71B1FF0}"/>
              </a:ext>
            </a:extLst>
          </p:cNvPr>
          <p:cNvSpPr>
            <a:spLocks noChangeArrowheads="1"/>
          </p:cNvSpPr>
          <p:nvPr/>
        </p:nvSpPr>
        <p:spPr bwMode="gray">
          <a:xfrm>
            <a:off x="2160526" y="4975766"/>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69" name="Oval 868">
            <a:extLst>
              <a:ext uri="{FF2B5EF4-FFF2-40B4-BE49-F238E27FC236}">
                <a16:creationId xmlns:a16="http://schemas.microsoft.com/office/drawing/2014/main" id="{B17D72E7-A27E-4F6B-BE43-2C3ED549E7D6}"/>
              </a:ext>
            </a:extLst>
          </p:cNvPr>
          <p:cNvSpPr>
            <a:spLocks noChangeArrowheads="1"/>
          </p:cNvSpPr>
          <p:nvPr/>
        </p:nvSpPr>
        <p:spPr bwMode="gray">
          <a:xfrm>
            <a:off x="6137864" y="4299407"/>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70" name="Oval 874">
            <a:extLst>
              <a:ext uri="{FF2B5EF4-FFF2-40B4-BE49-F238E27FC236}">
                <a16:creationId xmlns:a16="http://schemas.microsoft.com/office/drawing/2014/main" id="{56E3B2B4-6446-445A-9490-E9C24F37EAF1}"/>
              </a:ext>
            </a:extLst>
          </p:cNvPr>
          <p:cNvSpPr>
            <a:spLocks noChangeArrowheads="1"/>
          </p:cNvSpPr>
          <p:nvPr/>
        </p:nvSpPr>
        <p:spPr bwMode="gray">
          <a:xfrm>
            <a:off x="6823814" y="4361437"/>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71" name="Oval 896">
            <a:extLst>
              <a:ext uri="{FF2B5EF4-FFF2-40B4-BE49-F238E27FC236}">
                <a16:creationId xmlns:a16="http://schemas.microsoft.com/office/drawing/2014/main" id="{E21D3B04-C13D-42B2-8B7E-3BB5797CA183}"/>
              </a:ext>
            </a:extLst>
          </p:cNvPr>
          <p:cNvSpPr>
            <a:spLocks noChangeArrowheads="1"/>
          </p:cNvSpPr>
          <p:nvPr/>
        </p:nvSpPr>
        <p:spPr bwMode="gray">
          <a:xfrm>
            <a:off x="5239562" y="3149476"/>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72" name="Oval 908">
            <a:extLst>
              <a:ext uri="{FF2B5EF4-FFF2-40B4-BE49-F238E27FC236}">
                <a16:creationId xmlns:a16="http://schemas.microsoft.com/office/drawing/2014/main" id="{0F97D468-417B-4EE8-BD68-E4AF01FF85CE}"/>
              </a:ext>
            </a:extLst>
          </p:cNvPr>
          <p:cNvSpPr>
            <a:spLocks noChangeArrowheads="1"/>
          </p:cNvSpPr>
          <p:nvPr/>
        </p:nvSpPr>
        <p:spPr bwMode="gray">
          <a:xfrm>
            <a:off x="3457277" y="2344288"/>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73" name="Oval 909">
            <a:extLst>
              <a:ext uri="{FF2B5EF4-FFF2-40B4-BE49-F238E27FC236}">
                <a16:creationId xmlns:a16="http://schemas.microsoft.com/office/drawing/2014/main" id="{4CB27ADA-4B65-4148-B6FF-297886A19009}"/>
              </a:ext>
            </a:extLst>
          </p:cNvPr>
          <p:cNvSpPr>
            <a:spLocks noChangeArrowheads="1"/>
          </p:cNvSpPr>
          <p:nvPr/>
        </p:nvSpPr>
        <p:spPr bwMode="gray">
          <a:xfrm>
            <a:off x="3848567" y="2216649"/>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74" name="Oval 916">
            <a:extLst>
              <a:ext uri="{FF2B5EF4-FFF2-40B4-BE49-F238E27FC236}">
                <a16:creationId xmlns:a16="http://schemas.microsoft.com/office/drawing/2014/main" id="{701EC6A9-0609-4E5F-9396-ABC676F2293E}"/>
              </a:ext>
            </a:extLst>
          </p:cNvPr>
          <p:cNvSpPr>
            <a:spLocks noChangeArrowheads="1"/>
          </p:cNvSpPr>
          <p:nvPr/>
        </p:nvSpPr>
        <p:spPr bwMode="gray">
          <a:xfrm>
            <a:off x="3569406" y="2667555"/>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75" name="Oval 918">
            <a:extLst>
              <a:ext uri="{FF2B5EF4-FFF2-40B4-BE49-F238E27FC236}">
                <a16:creationId xmlns:a16="http://schemas.microsoft.com/office/drawing/2014/main" id="{6C60BBEE-424C-479B-B35E-B014B1ACACBC}"/>
              </a:ext>
            </a:extLst>
          </p:cNvPr>
          <p:cNvSpPr>
            <a:spLocks noChangeArrowheads="1"/>
          </p:cNvSpPr>
          <p:nvPr/>
        </p:nvSpPr>
        <p:spPr bwMode="gray">
          <a:xfrm>
            <a:off x="3444136" y="3015869"/>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76" name="Oval 249">
            <a:extLst>
              <a:ext uri="{FF2B5EF4-FFF2-40B4-BE49-F238E27FC236}">
                <a16:creationId xmlns:a16="http://schemas.microsoft.com/office/drawing/2014/main" id="{996E5CAF-F2BD-4E51-A66D-F7DA6AD8F1BE}"/>
              </a:ext>
            </a:extLst>
          </p:cNvPr>
          <p:cNvSpPr>
            <a:spLocks noChangeArrowheads="1"/>
          </p:cNvSpPr>
          <p:nvPr/>
        </p:nvSpPr>
        <p:spPr bwMode="gray">
          <a:xfrm>
            <a:off x="3791946" y="238438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77" name="Oval 250">
            <a:extLst>
              <a:ext uri="{FF2B5EF4-FFF2-40B4-BE49-F238E27FC236}">
                <a16:creationId xmlns:a16="http://schemas.microsoft.com/office/drawing/2014/main" id="{AFBFEC02-992C-401D-B764-50C790B4C7C6}"/>
              </a:ext>
            </a:extLst>
          </p:cNvPr>
          <p:cNvSpPr>
            <a:spLocks noChangeArrowheads="1"/>
          </p:cNvSpPr>
          <p:nvPr/>
        </p:nvSpPr>
        <p:spPr bwMode="gray">
          <a:xfrm>
            <a:off x="3806262" y="236768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78" name="Oval 251">
            <a:extLst>
              <a:ext uri="{FF2B5EF4-FFF2-40B4-BE49-F238E27FC236}">
                <a16:creationId xmlns:a16="http://schemas.microsoft.com/office/drawing/2014/main" id="{E779D021-47D9-408E-812C-2ABB198E5EC3}"/>
              </a:ext>
            </a:extLst>
          </p:cNvPr>
          <p:cNvSpPr>
            <a:spLocks noChangeArrowheads="1"/>
          </p:cNvSpPr>
          <p:nvPr/>
        </p:nvSpPr>
        <p:spPr bwMode="gray">
          <a:xfrm>
            <a:off x="3845628" y="244999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79" name="Oval 253">
            <a:extLst>
              <a:ext uri="{FF2B5EF4-FFF2-40B4-BE49-F238E27FC236}">
                <a16:creationId xmlns:a16="http://schemas.microsoft.com/office/drawing/2014/main" id="{89C3F39F-D43C-46F6-97BD-C8121DC2142A}"/>
              </a:ext>
            </a:extLst>
          </p:cNvPr>
          <p:cNvSpPr>
            <a:spLocks noChangeArrowheads="1"/>
          </p:cNvSpPr>
          <p:nvPr/>
        </p:nvSpPr>
        <p:spPr bwMode="gray">
          <a:xfrm>
            <a:off x="3850401" y="233190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80" name="Oval 256">
            <a:extLst>
              <a:ext uri="{FF2B5EF4-FFF2-40B4-BE49-F238E27FC236}">
                <a16:creationId xmlns:a16="http://schemas.microsoft.com/office/drawing/2014/main" id="{F43038EC-519A-49F2-B917-8A7A75899C21}"/>
              </a:ext>
            </a:extLst>
          </p:cNvPr>
          <p:cNvSpPr>
            <a:spLocks noChangeArrowheads="1"/>
          </p:cNvSpPr>
          <p:nvPr/>
        </p:nvSpPr>
        <p:spPr bwMode="gray">
          <a:xfrm>
            <a:off x="4894242" y="312993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81" name="Oval 259">
            <a:extLst>
              <a:ext uri="{FF2B5EF4-FFF2-40B4-BE49-F238E27FC236}">
                <a16:creationId xmlns:a16="http://schemas.microsoft.com/office/drawing/2014/main" id="{6316CE83-9A0D-4EBC-9145-0EB8678C8DF5}"/>
              </a:ext>
            </a:extLst>
          </p:cNvPr>
          <p:cNvSpPr>
            <a:spLocks noChangeArrowheads="1"/>
          </p:cNvSpPr>
          <p:nvPr/>
        </p:nvSpPr>
        <p:spPr bwMode="gray">
          <a:xfrm>
            <a:off x="6669372" y="444209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82" name="Oval 260">
            <a:extLst>
              <a:ext uri="{FF2B5EF4-FFF2-40B4-BE49-F238E27FC236}">
                <a16:creationId xmlns:a16="http://schemas.microsoft.com/office/drawing/2014/main" id="{3E306509-39B4-433A-AD08-04CB7F0462E6}"/>
              </a:ext>
            </a:extLst>
          </p:cNvPr>
          <p:cNvSpPr>
            <a:spLocks noChangeArrowheads="1"/>
          </p:cNvSpPr>
          <p:nvPr/>
        </p:nvSpPr>
        <p:spPr bwMode="gray">
          <a:xfrm>
            <a:off x="3853980" y="239273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83" name="Oval 263">
            <a:extLst>
              <a:ext uri="{FF2B5EF4-FFF2-40B4-BE49-F238E27FC236}">
                <a16:creationId xmlns:a16="http://schemas.microsoft.com/office/drawing/2014/main" id="{72AA2570-941D-467D-9633-C2339D57B553}"/>
              </a:ext>
            </a:extLst>
          </p:cNvPr>
          <p:cNvSpPr>
            <a:spLocks noChangeArrowheads="1"/>
          </p:cNvSpPr>
          <p:nvPr/>
        </p:nvSpPr>
        <p:spPr bwMode="gray">
          <a:xfrm>
            <a:off x="6276886" y="416653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84" name="Oval 264">
            <a:extLst>
              <a:ext uri="{FF2B5EF4-FFF2-40B4-BE49-F238E27FC236}">
                <a16:creationId xmlns:a16="http://schemas.microsoft.com/office/drawing/2014/main" id="{569BFF24-B7B7-4E63-889D-086FC02D0479}"/>
              </a:ext>
            </a:extLst>
          </p:cNvPr>
          <p:cNvSpPr>
            <a:spLocks noChangeArrowheads="1"/>
          </p:cNvSpPr>
          <p:nvPr/>
        </p:nvSpPr>
        <p:spPr bwMode="gray">
          <a:xfrm>
            <a:off x="4179659" y="181061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85" name="Oval 265">
            <a:extLst>
              <a:ext uri="{FF2B5EF4-FFF2-40B4-BE49-F238E27FC236}">
                <a16:creationId xmlns:a16="http://schemas.microsoft.com/office/drawing/2014/main" id="{9A29DC5F-A927-432C-8063-D8CF68F51445}"/>
              </a:ext>
            </a:extLst>
          </p:cNvPr>
          <p:cNvSpPr>
            <a:spLocks noChangeArrowheads="1"/>
          </p:cNvSpPr>
          <p:nvPr/>
        </p:nvSpPr>
        <p:spPr bwMode="gray">
          <a:xfrm>
            <a:off x="3961348" y="240466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86" name="Oval 266">
            <a:extLst>
              <a:ext uri="{FF2B5EF4-FFF2-40B4-BE49-F238E27FC236}">
                <a16:creationId xmlns:a16="http://schemas.microsoft.com/office/drawing/2014/main" id="{0CC66518-6426-40F6-8496-FC06DA18B2D1}"/>
              </a:ext>
            </a:extLst>
          </p:cNvPr>
          <p:cNvSpPr>
            <a:spLocks noChangeArrowheads="1"/>
          </p:cNvSpPr>
          <p:nvPr/>
        </p:nvSpPr>
        <p:spPr bwMode="gray">
          <a:xfrm>
            <a:off x="2162360" y="255019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87" name="Oval 267">
            <a:extLst>
              <a:ext uri="{FF2B5EF4-FFF2-40B4-BE49-F238E27FC236}">
                <a16:creationId xmlns:a16="http://schemas.microsoft.com/office/drawing/2014/main" id="{A690F18A-B854-4260-84CF-60947A3C3FB7}"/>
              </a:ext>
            </a:extLst>
          </p:cNvPr>
          <p:cNvSpPr>
            <a:spLocks noChangeArrowheads="1"/>
          </p:cNvSpPr>
          <p:nvPr/>
        </p:nvSpPr>
        <p:spPr bwMode="gray">
          <a:xfrm>
            <a:off x="3844437" y="241659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88" name="Oval 274">
            <a:extLst>
              <a:ext uri="{FF2B5EF4-FFF2-40B4-BE49-F238E27FC236}">
                <a16:creationId xmlns:a16="http://schemas.microsoft.com/office/drawing/2014/main" id="{6E86767C-5788-445E-A058-5BC2393518CF}"/>
              </a:ext>
            </a:extLst>
          </p:cNvPr>
          <p:cNvSpPr>
            <a:spLocks noChangeArrowheads="1"/>
          </p:cNvSpPr>
          <p:nvPr/>
        </p:nvSpPr>
        <p:spPr bwMode="gray">
          <a:xfrm>
            <a:off x="6779122" y="264443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89" name="Oval 276">
            <a:extLst>
              <a:ext uri="{FF2B5EF4-FFF2-40B4-BE49-F238E27FC236}">
                <a16:creationId xmlns:a16="http://schemas.microsoft.com/office/drawing/2014/main" id="{CBCBD41F-AE75-4462-8CE3-2F36382B131E}"/>
              </a:ext>
            </a:extLst>
          </p:cNvPr>
          <p:cNvSpPr>
            <a:spLocks noChangeArrowheads="1"/>
          </p:cNvSpPr>
          <p:nvPr/>
        </p:nvSpPr>
        <p:spPr bwMode="gray">
          <a:xfrm>
            <a:off x="2304323" y="405321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90" name="Oval 277">
            <a:extLst>
              <a:ext uri="{FF2B5EF4-FFF2-40B4-BE49-F238E27FC236}">
                <a16:creationId xmlns:a16="http://schemas.microsoft.com/office/drawing/2014/main" id="{F7D8D317-D044-443E-A950-AC68B59929D6}"/>
              </a:ext>
            </a:extLst>
          </p:cNvPr>
          <p:cNvSpPr>
            <a:spLocks noChangeArrowheads="1"/>
          </p:cNvSpPr>
          <p:nvPr/>
        </p:nvSpPr>
        <p:spPr bwMode="gray">
          <a:xfrm>
            <a:off x="4304920" y="427270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91" name="Oval 279">
            <a:extLst>
              <a:ext uri="{FF2B5EF4-FFF2-40B4-BE49-F238E27FC236}">
                <a16:creationId xmlns:a16="http://schemas.microsoft.com/office/drawing/2014/main" id="{7B4BDA75-898D-4CB3-AC49-E5903622C296}"/>
              </a:ext>
            </a:extLst>
          </p:cNvPr>
          <p:cNvSpPr>
            <a:spLocks noChangeArrowheads="1"/>
          </p:cNvSpPr>
          <p:nvPr/>
        </p:nvSpPr>
        <p:spPr bwMode="gray">
          <a:xfrm>
            <a:off x="5291499" y="323490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92" name="Oval 280">
            <a:extLst>
              <a:ext uri="{FF2B5EF4-FFF2-40B4-BE49-F238E27FC236}">
                <a16:creationId xmlns:a16="http://schemas.microsoft.com/office/drawing/2014/main" id="{0D8A3CEA-37FD-477F-A7F0-9F6625024112}"/>
              </a:ext>
            </a:extLst>
          </p:cNvPr>
          <p:cNvSpPr>
            <a:spLocks noChangeArrowheads="1"/>
          </p:cNvSpPr>
          <p:nvPr/>
        </p:nvSpPr>
        <p:spPr bwMode="gray">
          <a:xfrm>
            <a:off x="4344287" y="304046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93" name="Oval 287">
            <a:extLst>
              <a:ext uri="{FF2B5EF4-FFF2-40B4-BE49-F238E27FC236}">
                <a16:creationId xmlns:a16="http://schemas.microsoft.com/office/drawing/2014/main" id="{39FF339C-A518-40A5-95E3-6C5A0891F0A3}"/>
              </a:ext>
            </a:extLst>
          </p:cNvPr>
          <p:cNvSpPr>
            <a:spLocks noChangeArrowheads="1"/>
          </p:cNvSpPr>
          <p:nvPr/>
        </p:nvSpPr>
        <p:spPr bwMode="gray">
          <a:xfrm>
            <a:off x="3908857" y="243329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94" name="Oval 289">
            <a:extLst>
              <a:ext uri="{FF2B5EF4-FFF2-40B4-BE49-F238E27FC236}">
                <a16:creationId xmlns:a16="http://schemas.microsoft.com/office/drawing/2014/main" id="{B55E9D66-DD29-41D7-AEC7-2E6E51D46148}"/>
              </a:ext>
            </a:extLst>
          </p:cNvPr>
          <p:cNvSpPr>
            <a:spLocks noChangeArrowheads="1"/>
          </p:cNvSpPr>
          <p:nvPr/>
        </p:nvSpPr>
        <p:spPr bwMode="gray">
          <a:xfrm>
            <a:off x="3822963" y="260148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95" name="Oval 291">
            <a:extLst>
              <a:ext uri="{FF2B5EF4-FFF2-40B4-BE49-F238E27FC236}">
                <a16:creationId xmlns:a16="http://schemas.microsoft.com/office/drawing/2014/main" id="{4D83335A-E2D0-490A-94EA-77136FFFF07C}"/>
              </a:ext>
            </a:extLst>
          </p:cNvPr>
          <p:cNvSpPr>
            <a:spLocks noChangeArrowheads="1"/>
          </p:cNvSpPr>
          <p:nvPr/>
        </p:nvSpPr>
        <p:spPr bwMode="gray">
          <a:xfrm>
            <a:off x="5887981" y="337327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96" name="Oval 292">
            <a:extLst>
              <a:ext uri="{FF2B5EF4-FFF2-40B4-BE49-F238E27FC236}">
                <a16:creationId xmlns:a16="http://schemas.microsoft.com/office/drawing/2014/main" id="{9DB69210-389A-4E99-8623-E6C74AAA5F7E}"/>
              </a:ext>
            </a:extLst>
          </p:cNvPr>
          <p:cNvSpPr>
            <a:spLocks noChangeArrowheads="1"/>
          </p:cNvSpPr>
          <p:nvPr/>
        </p:nvSpPr>
        <p:spPr bwMode="gray">
          <a:xfrm>
            <a:off x="3968504" y="224959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97" name="Oval 294">
            <a:extLst>
              <a:ext uri="{FF2B5EF4-FFF2-40B4-BE49-F238E27FC236}">
                <a16:creationId xmlns:a16="http://schemas.microsoft.com/office/drawing/2014/main" id="{E5E485B8-9416-437B-BBD3-03041BB1732A}"/>
              </a:ext>
            </a:extLst>
          </p:cNvPr>
          <p:cNvSpPr>
            <a:spLocks noChangeArrowheads="1"/>
          </p:cNvSpPr>
          <p:nvPr/>
        </p:nvSpPr>
        <p:spPr bwMode="gray">
          <a:xfrm>
            <a:off x="3632090" y="211241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98" name="Oval 302">
            <a:extLst>
              <a:ext uri="{FF2B5EF4-FFF2-40B4-BE49-F238E27FC236}">
                <a16:creationId xmlns:a16="http://schemas.microsoft.com/office/drawing/2014/main" id="{599DD092-11BA-4768-8689-09808274D759}"/>
              </a:ext>
            </a:extLst>
          </p:cNvPr>
          <p:cNvSpPr>
            <a:spLocks noChangeArrowheads="1"/>
          </p:cNvSpPr>
          <p:nvPr/>
        </p:nvSpPr>
        <p:spPr bwMode="gray">
          <a:xfrm>
            <a:off x="3936294" y="254184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99" name="Oval 303">
            <a:extLst>
              <a:ext uri="{FF2B5EF4-FFF2-40B4-BE49-F238E27FC236}">
                <a16:creationId xmlns:a16="http://schemas.microsoft.com/office/drawing/2014/main" id="{A115AF8A-80E9-43BA-82F1-AD271C38BCCD}"/>
              </a:ext>
            </a:extLst>
          </p:cNvPr>
          <p:cNvSpPr>
            <a:spLocks noChangeArrowheads="1"/>
          </p:cNvSpPr>
          <p:nvPr/>
        </p:nvSpPr>
        <p:spPr bwMode="gray">
          <a:xfrm>
            <a:off x="3925558" y="237603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00" name="Oval 305">
            <a:extLst>
              <a:ext uri="{FF2B5EF4-FFF2-40B4-BE49-F238E27FC236}">
                <a16:creationId xmlns:a16="http://schemas.microsoft.com/office/drawing/2014/main" id="{70C89B34-A5B0-442A-85BF-523D906ED475}"/>
              </a:ext>
            </a:extLst>
          </p:cNvPr>
          <p:cNvSpPr>
            <a:spLocks noChangeArrowheads="1"/>
          </p:cNvSpPr>
          <p:nvPr/>
        </p:nvSpPr>
        <p:spPr bwMode="gray">
          <a:xfrm>
            <a:off x="3862329" y="253946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01" name="Oval 308">
            <a:extLst>
              <a:ext uri="{FF2B5EF4-FFF2-40B4-BE49-F238E27FC236}">
                <a16:creationId xmlns:a16="http://schemas.microsoft.com/office/drawing/2014/main" id="{50D1AAE5-E215-486A-94E2-4A07FBA78765}"/>
              </a:ext>
            </a:extLst>
          </p:cNvPr>
          <p:cNvSpPr>
            <a:spLocks noChangeArrowheads="1"/>
          </p:cNvSpPr>
          <p:nvPr/>
        </p:nvSpPr>
        <p:spPr bwMode="gray">
          <a:xfrm>
            <a:off x="3633282" y="222215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02" name="Oval 309">
            <a:extLst>
              <a:ext uri="{FF2B5EF4-FFF2-40B4-BE49-F238E27FC236}">
                <a16:creationId xmlns:a16="http://schemas.microsoft.com/office/drawing/2014/main" id="{35DEE820-391A-4F43-A7A8-52271F1396E6}"/>
              </a:ext>
            </a:extLst>
          </p:cNvPr>
          <p:cNvSpPr>
            <a:spLocks noChangeArrowheads="1"/>
          </p:cNvSpPr>
          <p:nvPr/>
        </p:nvSpPr>
        <p:spPr bwMode="gray">
          <a:xfrm>
            <a:off x="5991770" y="282097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03" name="Oval 311">
            <a:extLst>
              <a:ext uri="{FF2B5EF4-FFF2-40B4-BE49-F238E27FC236}">
                <a16:creationId xmlns:a16="http://schemas.microsoft.com/office/drawing/2014/main" id="{0A6C8A26-4CF5-4749-9EFC-F08A160E28C4}"/>
              </a:ext>
            </a:extLst>
          </p:cNvPr>
          <p:cNvSpPr>
            <a:spLocks noChangeArrowheads="1"/>
          </p:cNvSpPr>
          <p:nvPr/>
        </p:nvSpPr>
        <p:spPr bwMode="gray">
          <a:xfrm>
            <a:off x="3756157" y="255615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04" name="Oval 314">
            <a:extLst>
              <a:ext uri="{FF2B5EF4-FFF2-40B4-BE49-F238E27FC236}">
                <a16:creationId xmlns:a16="http://schemas.microsoft.com/office/drawing/2014/main" id="{F247EC2C-F0CD-4ED3-B24A-4AE60A439CAA}"/>
              </a:ext>
            </a:extLst>
          </p:cNvPr>
          <p:cNvSpPr>
            <a:spLocks noChangeArrowheads="1"/>
          </p:cNvSpPr>
          <p:nvPr/>
        </p:nvSpPr>
        <p:spPr bwMode="gray">
          <a:xfrm>
            <a:off x="4025767" y="251202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05" name="Oval 315">
            <a:extLst>
              <a:ext uri="{FF2B5EF4-FFF2-40B4-BE49-F238E27FC236}">
                <a16:creationId xmlns:a16="http://schemas.microsoft.com/office/drawing/2014/main" id="{1F6011BD-8915-4759-8EA2-3141980FFD23}"/>
              </a:ext>
            </a:extLst>
          </p:cNvPr>
          <p:cNvSpPr>
            <a:spLocks noChangeArrowheads="1"/>
          </p:cNvSpPr>
          <p:nvPr/>
        </p:nvSpPr>
        <p:spPr bwMode="gray">
          <a:xfrm>
            <a:off x="4477899" y="291402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06" name="Oval 316">
            <a:extLst>
              <a:ext uri="{FF2B5EF4-FFF2-40B4-BE49-F238E27FC236}">
                <a16:creationId xmlns:a16="http://schemas.microsoft.com/office/drawing/2014/main" id="{64A40A69-2405-42B1-B6E4-75DD6CF66F98}"/>
              </a:ext>
            </a:extLst>
          </p:cNvPr>
          <p:cNvSpPr>
            <a:spLocks noChangeArrowheads="1"/>
          </p:cNvSpPr>
          <p:nvPr/>
        </p:nvSpPr>
        <p:spPr bwMode="gray">
          <a:xfrm>
            <a:off x="6200537" y="441704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07" name="Oval 324">
            <a:extLst>
              <a:ext uri="{FF2B5EF4-FFF2-40B4-BE49-F238E27FC236}">
                <a16:creationId xmlns:a16="http://schemas.microsoft.com/office/drawing/2014/main" id="{0EBE36EE-1294-4201-B329-F2FA8CB93F07}"/>
              </a:ext>
            </a:extLst>
          </p:cNvPr>
          <p:cNvSpPr>
            <a:spLocks noChangeArrowheads="1"/>
          </p:cNvSpPr>
          <p:nvPr/>
        </p:nvSpPr>
        <p:spPr bwMode="gray">
          <a:xfrm>
            <a:off x="3908857" y="201340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08" name="Oval 332">
            <a:extLst>
              <a:ext uri="{FF2B5EF4-FFF2-40B4-BE49-F238E27FC236}">
                <a16:creationId xmlns:a16="http://schemas.microsoft.com/office/drawing/2014/main" id="{DA2E6EA8-CDF8-409F-B9F4-0FFB306A124F}"/>
              </a:ext>
            </a:extLst>
          </p:cNvPr>
          <p:cNvSpPr>
            <a:spLocks noChangeArrowheads="1"/>
          </p:cNvSpPr>
          <p:nvPr/>
        </p:nvSpPr>
        <p:spPr bwMode="gray">
          <a:xfrm>
            <a:off x="4944349" y="325995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09" name="Oval 335">
            <a:extLst>
              <a:ext uri="{FF2B5EF4-FFF2-40B4-BE49-F238E27FC236}">
                <a16:creationId xmlns:a16="http://schemas.microsoft.com/office/drawing/2014/main" id="{E68EEF6A-F5E8-4831-BA16-DB5310E4AB0E}"/>
              </a:ext>
            </a:extLst>
          </p:cNvPr>
          <p:cNvSpPr>
            <a:spLocks noChangeArrowheads="1"/>
          </p:cNvSpPr>
          <p:nvPr/>
        </p:nvSpPr>
        <p:spPr bwMode="gray">
          <a:xfrm>
            <a:off x="3641633" y="211718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10" name="Oval 336">
            <a:extLst>
              <a:ext uri="{FF2B5EF4-FFF2-40B4-BE49-F238E27FC236}">
                <a16:creationId xmlns:a16="http://schemas.microsoft.com/office/drawing/2014/main" id="{DF4B901F-1590-4030-8AB2-D86C7B7015FB}"/>
              </a:ext>
            </a:extLst>
          </p:cNvPr>
          <p:cNvSpPr>
            <a:spLocks noChangeArrowheads="1"/>
          </p:cNvSpPr>
          <p:nvPr/>
        </p:nvSpPr>
        <p:spPr bwMode="gray">
          <a:xfrm>
            <a:off x="3908857" y="210883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11" name="Oval 337">
            <a:extLst>
              <a:ext uri="{FF2B5EF4-FFF2-40B4-BE49-F238E27FC236}">
                <a16:creationId xmlns:a16="http://schemas.microsoft.com/office/drawing/2014/main" id="{32419E04-A8A5-4FD2-B097-17BA7E4B889F}"/>
              </a:ext>
            </a:extLst>
          </p:cNvPr>
          <p:cNvSpPr>
            <a:spLocks noChangeArrowheads="1"/>
          </p:cNvSpPr>
          <p:nvPr/>
        </p:nvSpPr>
        <p:spPr bwMode="gray">
          <a:xfrm>
            <a:off x="3763315" y="240705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12" name="Oval 339">
            <a:extLst>
              <a:ext uri="{FF2B5EF4-FFF2-40B4-BE49-F238E27FC236}">
                <a16:creationId xmlns:a16="http://schemas.microsoft.com/office/drawing/2014/main" id="{4369233C-765D-423E-A5B8-1CABCD6FF43B}"/>
              </a:ext>
            </a:extLst>
          </p:cNvPr>
          <p:cNvSpPr>
            <a:spLocks noChangeArrowheads="1"/>
          </p:cNvSpPr>
          <p:nvPr/>
        </p:nvSpPr>
        <p:spPr bwMode="gray">
          <a:xfrm>
            <a:off x="6900806" y="415222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13" name="Oval 340">
            <a:extLst>
              <a:ext uri="{FF2B5EF4-FFF2-40B4-BE49-F238E27FC236}">
                <a16:creationId xmlns:a16="http://schemas.microsoft.com/office/drawing/2014/main" id="{9451EAC5-0C63-4B04-9076-C51B3D8382C5}"/>
              </a:ext>
            </a:extLst>
          </p:cNvPr>
          <p:cNvSpPr>
            <a:spLocks noChangeArrowheads="1"/>
          </p:cNvSpPr>
          <p:nvPr/>
        </p:nvSpPr>
        <p:spPr bwMode="gray">
          <a:xfrm>
            <a:off x="6896034" y="417488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14" name="Oval 341">
            <a:extLst>
              <a:ext uri="{FF2B5EF4-FFF2-40B4-BE49-F238E27FC236}">
                <a16:creationId xmlns:a16="http://schemas.microsoft.com/office/drawing/2014/main" id="{24804D50-3507-4C1D-A277-90B916F1793F}"/>
              </a:ext>
            </a:extLst>
          </p:cNvPr>
          <p:cNvSpPr>
            <a:spLocks noChangeArrowheads="1"/>
          </p:cNvSpPr>
          <p:nvPr/>
        </p:nvSpPr>
        <p:spPr bwMode="gray">
          <a:xfrm>
            <a:off x="6200537" y="441465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15" name="Oval 343">
            <a:extLst>
              <a:ext uri="{FF2B5EF4-FFF2-40B4-BE49-F238E27FC236}">
                <a16:creationId xmlns:a16="http://schemas.microsoft.com/office/drawing/2014/main" id="{F102C195-93CF-430A-8DD2-906E5201AA19}"/>
              </a:ext>
            </a:extLst>
          </p:cNvPr>
          <p:cNvSpPr>
            <a:spLocks noChangeArrowheads="1"/>
          </p:cNvSpPr>
          <p:nvPr/>
        </p:nvSpPr>
        <p:spPr bwMode="gray">
          <a:xfrm>
            <a:off x="3848014" y="233070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16" name="Oval 348">
            <a:extLst>
              <a:ext uri="{FF2B5EF4-FFF2-40B4-BE49-F238E27FC236}">
                <a16:creationId xmlns:a16="http://schemas.microsoft.com/office/drawing/2014/main" id="{733CCB8B-41DD-4607-9257-464BF545F696}"/>
              </a:ext>
            </a:extLst>
          </p:cNvPr>
          <p:cNvSpPr>
            <a:spLocks noChangeArrowheads="1"/>
          </p:cNvSpPr>
          <p:nvPr/>
        </p:nvSpPr>
        <p:spPr bwMode="gray">
          <a:xfrm>
            <a:off x="3797911" y="238438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17" name="Oval 352">
            <a:extLst>
              <a:ext uri="{FF2B5EF4-FFF2-40B4-BE49-F238E27FC236}">
                <a16:creationId xmlns:a16="http://schemas.microsoft.com/office/drawing/2014/main" id="{7A1E74BC-D029-452A-A1B6-B05781B87D8C}"/>
              </a:ext>
            </a:extLst>
          </p:cNvPr>
          <p:cNvSpPr>
            <a:spLocks noChangeArrowheads="1"/>
          </p:cNvSpPr>
          <p:nvPr/>
        </p:nvSpPr>
        <p:spPr bwMode="gray">
          <a:xfrm>
            <a:off x="3641633" y="230685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18" name="Oval 353">
            <a:extLst>
              <a:ext uri="{FF2B5EF4-FFF2-40B4-BE49-F238E27FC236}">
                <a16:creationId xmlns:a16="http://schemas.microsoft.com/office/drawing/2014/main" id="{85F10C75-B4F5-4019-80F4-7FF99E00CCE0}"/>
              </a:ext>
            </a:extLst>
          </p:cNvPr>
          <p:cNvSpPr>
            <a:spLocks noChangeArrowheads="1"/>
          </p:cNvSpPr>
          <p:nvPr/>
        </p:nvSpPr>
        <p:spPr bwMode="gray">
          <a:xfrm>
            <a:off x="3797911" y="238438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19" name="Oval 354">
            <a:extLst>
              <a:ext uri="{FF2B5EF4-FFF2-40B4-BE49-F238E27FC236}">
                <a16:creationId xmlns:a16="http://schemas.microsoft.com/office/drawing/2014/main" id="{3B48696B-86A2-45FB-97AD-6A862550CECF}"/>
              </a:ext>
            </a:extLst>
          </p:cNvPr>
          <p:cNvSpPr>
            <a:spLocks noChangeArrowheads="1"/>
          </p:cNvSpPr>
          <p:nvPr/>
        </p:nvSpPr>
        <p:spPr bwMode="gray">
          <a:xfrm>
            <a:off x="2244674" y="479995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20" name="Oval 356">
            <a:extLst>
              <a:ext uri="{FF2B5EF4-FFF2-40B4-BE49-F238E27FC236}">
                <a16:creationId xmlns:a16="http://schemas.microsoft.com/office/drawing/2014/main" id="{120134F1-4879-456F-BDA8-ABFCF880DA18}"/>
              </a:ext>
            </a:extLst>
          </p:cNvPr>
          <p:cNvSpPr>
            <a:spLocks noChangeArrowheads="1"/>
          </p:cNvSpPr>
          <p:nvPr/>
        </p:nvSpPr>
        <p:spPr bwMode="gray">
          <a:xfrm>
            <a:off x="3696510" y="231997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21" name="Oval 358">
            <a:extLst>
              <a:ext uri="{FF2B5EF4-FFF2-40B4-BE49-F238E27FC236}">
                <a16:creationId xmlns:a16="http://schemas.microsoft.com/office/drawing/2014/main" id="{C754EEDD-DD8F-4D8C-869C-49CC29D217AD}"/>
              </a:ext>
            </a:extLst>
          </p:cNvPr>
          <p:cNvSpPr>
            <a:spLocks noChangeArrowheads="1"/>
          </p:cNvSpPr>
          <p:nvPr/>
        </p:nvSpPr>
        <p:spPr bwMode="gray">
          <a:xfrm>
            <a:off x="3848014" y="233070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22" name="Oval 359">
            <a:extLst>
              <a:ext uri="{FF2B5EF4-FFF2-40B4-BE49-F238E27FC236}">
                <a16:creationId xmlns:a16="http://schemas.microsoft.com/office/drawing/2014/main" id="{007352C8-F30A-430D-B4A5-8B4368E7946B}"/>
              </a:ext>
            </a:extLst>
          </p:cNvPr>
          <p:cNvSpPr>
            <a:spLocks noChangeArrowheads="1"/>
          </p:cNvSpPr>
          <p:nvPr/>
        </p:nvSpPr>
        <p:spPr bwMode="gray">
          <a:xfrm>
            <a:off x="1252131" y="232593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23" name="Oval 360">
            <a:extLst>
              <a:ext uri="{FF2B5EF4-FFF2-40B4-BE49-F238E27FC236}">
                <a16:creationId xmlns:a16="http://schemas.microsoft.com/office/drawing/2014/main" id="{DF2ED50D-30DE-41F5-A3A2-41F554C696FF}"/>
              </a:ext>
            </a:extLst>
          </p:cNvPr>
          <p:cNvSpPr>
            <a:spLocks noChangeArrowheads="1"/>
          </p:cNvSpPr>
          <p:nvPr/>
        </p:nvSpPr>
        <p:spPr bwMode="gray">
          <a:xfrm>
            <a:off x="6868595" y="411643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24" name="Oval 361">
            <a:extLst>
              <a:ext uri="{FF2B5EF4-FFF2-40B4-BE49-F238E27FC236}">
                <a16:creationId xmlns:a16="http://schemas.microsoft.com/office/drawing/2014/main" id="{6F1F7769-FB30-4405-92B3-D27346FF0BF4}"/>
              </a:ext>
            </a:extLst>
          </p:cNvPr>
          <p:cNvSpPr>
            <a:spLocks noChangeArrowheads="1"/>
          </p:cNvSpPr>
          <p:nvPr/>
        </p:nvSpPr>
        <p:spPr bwMode="gray">
          <a:xfrm>
            <a:off x="1598089" y="307148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25" name="Oval 366">
            <a:extLst>
              <a:ext uri="{FF2B5EF4-FFF2-40B4-BE49-F238E27FC236}">
                <a16:creationId xmlns:a16="http://schemas.microsoft.com/office/drawing/2014/main" id="{61638051-6C0A-43D1-9216-CDF16146D076}"/>
              </a:ext>
            </a:extLst>
          </p:cNvPr>
          <p:cNvSpPr>
            <a:spLocks noChangeArrowheads="1"/>
          </p:cNvSpPr>
          <p:nvPr/>
        </p:nvSpPr>
        <p:spPr bwMode="gray">
          <a:xfrm>
            <a:off x="3898120" y="231400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26" name="Oval 367">
            <a:extLst>
              <a:ext uri="{FF2B5EF4-FFF2-40B4-BE49-F238E27FC236}">
                <a16:creationId xmlns:a16="http://schemas.microsoft.com/office/drawing/2014/main" id="{09FDE0E3-5BC3-4CB7-BD00-D2C3C48E8EFD}"/>
              </a:ext>
            </a:extLst>
          </p:cNvPr>
          <p:cNvSpPr>
            <a:spLocks noChangeArrowheads="1"/>
          </p:cNvSpPr>
          <p:nvPr/>
        </p:nvSpPr>
        <p:spPr bwMode="gray">
          <a:xfrm>
            <a:off x="3858753" y="236172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27" name="Oval 369">
            <a:extLst>
              <a:ext uri="{FF2B5EF4-FFF2-40B4-BE49-F238E27FC236}">
                <a16:creationId xmlns:a16="http://schemas.microsoft.com/office/drawing/2014/main" id="{A0291CB4-9A54-4D47-A176-FCF8ECE88B15}"/>
              </a:ext>
            </a:extLst>
          </p:cNvPr>
          <p:cNvSpPr>
            <a:spLocks noChangeArrowheads="1"/>
          </p:cNvSpPr>
          <p:nvPr/>
        </p:nvSpPr>
        <p:spPr bwMode="gray">
          <a:xfrm>
            <a:off x="1957171" y="308221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28" name="Oval 371">
            <a:extLst>
              <a:ext uri="{FF2B5EF4-FFF2-40B4-BE49-F238E27FC236}">
                <a16:creationId xmlns:a16="http://schemas.microsoft.com/office/drawing/2014/main" id="{065A9D15-8A9C-427A-BB3B-719F7E478415}"/>
              </a:ext>
            </a:extLst>
          </p:cNvPr>
          <p:cNvSpPr>
            <a:spLocks noChangeArrowheads="1"/>
          </p:cNvSpPr>
          <p:nvPr/>
        </p:nvSpPr>
        <p:spPr bwMode="gray">
          <a:xfrm>
            <a:off x="3654756" y="218994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29" name="Oval 374">
            <a:extLst>
              <a:ext uri="{FF2B5EF4-FFF2-40B4-BE49-F238E27FC236}">
                <a16:creationId xmlns:a16="http://schemas.microsoft.com/office/drawing/2014/main" id="{BC3C380C-1ED0-4EB6-978A-A260E3E936F9}"/>
              </a:ext>
            </a:extLst>
          </p:cNvPr>
          <p:cNvSpPr>
            <a:spLocks noChangeArrowheads="1"/>
          </p:cNvSpPr>
          <p:nvPr/>
        </p:nvSpPr>
        <p:spPr bwMode="gray">
          <a:xfrm>
            <a:off x="1271217" y="277087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30" name="Oval 375">
            <a:extLst>
              <a:ext uri="{FF2B5EF4-FFF2-40B4-BE49-F238E27FC236}">
                <a16:creationId xmlns:a16="http://schemas.microsoft.com/office/drawing/2014/main" id="{9EED245D-740E-4F49-A35A-454241F4176D}"/>
              </a:ext>
            </a:extLst>
          </p:cNvPr>
          <p:cNvSpPr>
            <a:spLocks noChangeArrowheads="1"/>
          </p:cNvSpPr>
          <p:nvPr/>
        </p:nvSpPr>
        <p:spPr bwMode="gray">
          <a:xfrm>
            <a:off x="2103904" y="273389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31" name="Oval 377">
            <a:extLst>
              <a:ext uri="{FF2B5EF4-FFF2-40B4-BE49-F238E27FC236}">
                <a16:creationId xmlns:a16="http://schemas.microsoft.com/office/drawing/2014/main" id="{E8A99C97-F96E-4F76-97A2-A18B4BFCE05C}"/>
              </a:ext>
            </a:extLst>
          </p:cNvPr>
          <p:cNvSpPr>
            <a:spLocks noChangeArrowheads="1"/>
          </p:cNvSpPr>
          <p:nvPr/>
        </p:nvSpPr>
        <p:spPr bwMode="gray">
          <a:xfrm>
            <a:off x="3613002" y="278996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32" name="Oval 380">
            <a:extLst>
              <a:ext uri="{FF2B5EF4-FFF2-40B4-BE49-F238E27FC236}">
                <a16:creationId xmlns:a16="http://schemas.microsoft.com/office/drawing/2014/main" id="{714464D6-433F-4F09-98A8-4A0539FE5931}"/>
              </a:ext>
            </a:extLst>
          </p:cNvPr>
          <p:cNvSpPr>
            <a:spLocks noChangeArrowheads="1"/>
          </p:cNvSpPr>
          <p:nvPr/>
        </p:nvSpPr>
        <p:spPr bwMode="gray">
          <a:xfrm>
            <a:off x="3845628" y="239870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33" name="Oval 381">
            <a:extLst>
              <a:ext uri="{FF2B5EF4-FFF2-40B4-BE49-F238E27FC236}">
                <a16:creationId xmlns:a16="http://schemas.microsoft.com/office/drawing/2014/main" id="{E77F7320-32E1-4D62-9E3F-55A6CB54597D}"/>
              </a:ext>
            </a:extLst>
          </p:cNvPr>
          <p:cNvSpPr>
            <a:spLocks noChangeArrowheads="1"/>
          </p:cNvSpPr>
          <p:nvPr/>
        </p:nvSpPr>
        <p:spPr bwMode="gray">
          <a:xfrm>
            <a:off x="3917207" y="232354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34" name="Oval 384">
            <a:extLst>
              <a:ext uri="{FF2B5EF4-FFF2-40B4-BE49-F238E27FC236}">
                <a16:creationId xmlns:a16="http://schemas.microsoft.com/office/drawing/2014/main" id="{B49D7408-69BF-4C75-BADB-68837A5F0C36}"/>
              </a:ext>
            </a:extLst>
          </p:cNvPr>
          <p:cNvSpPr>
            <a:spLocks noChangeArrowheads="1"/>
          </p:cNvSpPr>
          <p:nvPr/>
        </p:nvSpPr>
        <p:spPr bwMode="gray">
          <a:xfrm>
            <a:off x="3845628" y="246908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36" name="Oval 395">
            <a:extLst>
              <a:ext uri="{FF2B5EF4-FFF2-40B4-BE49-F238E27FC236}">
                <a16:creationId xmlns:a16="http://schemas.microsoft.com/office/drawing/2014/main" id="{B2DBBB6F-C67E-497C-9B04-985521FC126C}"/>
              </a:ext>
            </a:extLst>
          </p:cNvPr>
          <p:cNvSpPr>
            <a:spLocks noChangeArrowheads="1"/>
          </p:cNvSpPr>
          <p:nvPr/>
        </p:nvSpPr>
        <p:spPr bwMode="gray">
          <a:xfrm>
            <a:off x="1545599" y="271123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37" name="Oval 397">
            <a:extLst>
              <a:ext uri="{FF2B5EF4-FFF2-40B4-BE49-F238E27FC236}">
                <a16:creationId xmlns:a16="http://schemas.microsoft.com/office/drawing/2014/main" id="{896F547B-FC28-43AC-A2CC-493A6655B0BF}"/>
              </a:ext>
            </a:extLst>
          </p:cNvPr>
          <p:cNvSpPr>
            <a:spLocks noChangeArrowheads="1"/>
          </p:cNvSpPr>
          <p:nvPr/>
        </p:nvSpPr>
        <p:spPr bwMode="gray">
          <a:xfrm>
            <a:off x="3783596" y="239870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38" name="Oval 398">
            <a:extLst>
              <a:ext uri="{FF2B5EF4-FFF2-40B4-BE49-F238E27FC236}">
                <a16:creationId xmlns:a16="http://schemas.microsoft.com/office/drawing/2014/main" id="{04F30D03-03C5-490C-9BB4-8A4FA16F3A04}"/>
              </a:ext>
            </a:extLst>
          </p:cNvPr>
          <p:cNvSpPr>
            <a:spLocks noChangeArrowheads="1"/>
          </p:cNvSpPr>
          <p:nvPr/>
        </p:nvSpPr>
        <p:spPr bwMode="gray">
          <a:xfrm>
            <a:off x="3571248" y="268021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39" name="Oval 403">
            <a:extLst>
              <a:ext uri="{FF2B5EF4-FFF2-40B4-BE49-F238E27FC236}">
                <a16:creationId xmlns:a16="http://schemas.microsoft.com/office/drawing/2014/main" id="{A23EE068-B52A-4923-98CE-08BAFF5074D8}"/>
              </a:ext>
            </a:extLst>
          </p:cNvPr>
          <p:cNvSpPr>
            <a:spLocks noChangeArrowheads="1"/>
          </p:cNvSpPr>
          <p:nvPr/>
        </p:nvSpPr>
        <p:spPr bwMode="gray">
          <a:xfrm>
            <a:off x="1954785" y="276252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40" name="Oval 404">
            <a:extLst>
              <a:ext uri="{FF2B5EF4-FFF2-40B4-BE49-F238E27FC236}">
                <a16:creationId xmlns:a16="http://schemas.microsoft.com/office/drawing/2014/main" id="{E78C7E96-1A79-4BE9-9D4B-C4A91B64C876}"/>
              </a:ext>
            </a:extLst>
          </p:cNvPr>
          <p:cNvSpPr>
            <a:spLocks noChangeArrowheads="1"/>
          </p:cNvSpPr>
          <p:nvPr/>
        </p:nvSpPr>
        <p:spPr bwMode="gray">
          <a:xfrm>
            <a:off x="3546196" y="297366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41" name="Oval 405">
            <a:extLst>
              <a:ext uri="{FF2B5EF4-FFF2-40B4-BE49-F238E27FC236}">
                <a16:creationId xmlns:a16="http://schemas.microsoft.com/office/drawing/2014/main" id="{A7A05881-456A-44BE-B407-A5453DA2C250}"/>
              </a:ext>
            </a:extLst>
          </p:cNvPr>
          <p:cNvSpPr>
            <a:spLocks noChangeArrowheads="1"/>
          </p:cNvSpPr>
          <p:nvPr/>
        </p:nvSpPr>
        <p:spPr bwMode="gray">
          <a:xfrm>
            <a:off x="6616880" y="289732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42" name="Oval 417">
            <a:extLst>
              <a:ext uri="{FF2B5EF4-FFF2-40B4-BE49-F238E27FC236}">
                <a16:creationId xmlns:a16="http://schemas.microsoft.com/office/drawing/2014/main" id="{79A1097F-CD5C-422A-9BC0-DA93514A60D3}"/>
              </a:ext>
            </a:extLst>
          </p:cNvPr>
          <p:cNvSpPr>
            <a:spLocks noChangeArrowheads="1"/>
          </p:cNvSpPr>
          <p:nvPr/>
        </p:nvSpPr>
        <p:spPr bwMode="gray">
          <a:xfrm>
            <a:off x="3858753" y="236172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43" name="Oval 418">
            <a:extLst>
              <a:ext uri="{FF2B5EF4-FFF2-40B4-BE49-F238E27FC236}">
                <a16:creationId xmlns:a16="http://schemas.microsoft.com/office/drawing/2014/main" id="{9EFECF74-5C91-46B9-BCF5-F8199881A31C}"/>
              </a:ext>
            </a:extLst>
          </p:cNvPr>
          <p:cNvSpPr>
            <a:spLocks noChangeArrowheads="1"/>
          </p:cNvSpPr>
          <p:nvPr/>
        </p:nvSpPr>
        <p:spPr bwMode="gray">
          <a:xfrm>
            <a:off x="1737666" y="301303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44" name="Oval 419">
            <a:extLst>
              <a:ext uri="{FF2B5EF4-FFF2-40B4-BE49-F238E27FC236}">
                <a16:creationId xmlns:a16="http://schemas.microsoft.com/office/drawing/2014/main" id="{ED83776B-BC9E-4D0A-83C0-EC8E70DBBEFA}"/>
              </a:ext>
            </a:extLst>
          </p:cNvPr>
          <p:cNvSpPr>
            <a:spLocks noChangeArrowheads="1"/>
          </p:cNvSpPr>
          <p:nvPr/>
        </p:nvSpPr>
        <p:spPr bwMode="gray">
          <a:xfrm>
            <a:off x="1656545" y="277684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45" name="Oval 420">
            <a:extLst>
              <a:ext uri="{FF2B5EF4-FFF2-40B4-BE49-F238E27FC236}">
                <a16:creationId xmlns:a16="http://schemas.microsoft.com/office/drawing/2014/main" id="{FB7EA0B7-4F65-428C-8D29-DE08DA5D4581}"/>
              </a:ext>
            </a:extLst>
          </p:cNvPr>
          <p:cNvSpPr>
            <a:spLocks noChangeArrowheads="1"/>
          </p:cNvSpPr>
          <p:nvPr/>
        </p:nvSpPr>
        <p:spPr bwMode="gray">
          <a:xfrm>
            <a:off x="4006680" y="177125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46" name="Oval 425">
            <a:extLst>
              <a:ext uri="{FF2B5EF4-FFF2-40B4-BE49-F238E27FC236}">
                <a16:creationId xmlns:a16="http://schemas.microsoft.com/office/drawing/2014/main" id="{2079AD58-9C21-4965-99F1-19A7ACA8356D}"/>
              </a:ext>
            </a:extLst>
          </p:cNvPr>
          <p:cNvSpPr>
            <a:spLocks noChangeArrowheads="1"/>
          </p:cNvSpPr>
          <p:nvPr/>
        </p:nvSpPr>
        <p:spPr bwMode="gray">
          <a:xfrm>
            <a:off x="6687266" y="285795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48" name="Oval 431">
            <a:extLst>
              <a:ext uri="{FF2B5EF4-FFF2-40B4-BE49-F238E27FC236}">
                <a16:creationId xmlns:a16="http://schemas.microsoft.com/office/drawing/2014/main" id="{A8D7E18C-B4F1-4B24-BBA3-1A9D380CEE6D}"/>
              </a:ext>
            </a:extLst>
          </p:cNvPr>
          <p:cNvSpPr>
            <a:spLocks noChangeArrowheads="1"/>
          </p:cNvSpPr>
          <p:nvPr/>
        </p:nvSpPr>
        <p:spPr bwMode="gray">
          <a:xfrm>
            <a:off x="3679808" y="281859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49" name="Oval 435">
            <a:extLst>
              <a:ext uri="{FF2B5EF4-FFF2-40B4-BE49-F238E27FC236}">
                <a16:creationId xmlns:a16="http://schemas.microsoft.com/office/drawing/2014/main" id="{8E7EDD79-4E9B-4A14-9232-9ADE3DAC4A1A}"/>
              </a:ext>
            </a:extLst>
          </p:cNvPr>
          <p:cNvSpPr>
            <a:spLocks noChangeArrowheads="1"/>
          </p:cNvSpPr>
          <p:nvPr/>
        </p:nvSpPr>
        <p:spPr bwMode="gray">
          <a:xfrm>
            <a:off x="6720667" y="282932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50" name="Oval 438">
            <a:extLst>
              <a:ext uri="{FF2B5EF4-FFF2-40B4-BE49-F238E27FC236}">
                <a16:creationId xmlns:a16="http://schemas.microsoft.com/office/drawing/2014/main" id="{589D961E-103E-4D28-A52B-D56AFCFBBD5C}"/>
              </a:ext>
            </a:extLst>
          </p:cNvPr>
          <p:cNvSpPr>
            <a:spLocks noChangeArrowheads="1"/>
          </p:cNvSpPr>
          <p:nvPr/>
        </p:nvSpPr>
        <p:spPr bwMode="gray">
          <a:xfrm>
            <a:off x="6687266" y="285795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52" name="Oval 444">
            <a:extLst>
              <a:ext uri="{FF2B5EF4-FFF2-40B4-BE49-F238E27FC236}">
                <a16:creationId xmlns:a16="http://schemas.microsoft.com/office/drawing/2014/main" id="{38C890A5-BC82-4BCD-A27A-BE4EE117CFEA}"/>
              </a:ext>
            </a:extLst>
          </p:cNvPr>
          <p:cNvSpPr>
            <a:spLocks noChangeArrowheads="1"/>
          </p:cNvSpPr>
          <p:nvPr/>
        </p:nvSpPr>
        <p:spPr bwMode="gray">
          <a:xfrm>
            <a:off x="6868596" y="411643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53" name="Oval 445">
            <a:extLst>
              <a:ext uri="{FF2B5EF4-FFF2-40B4-BE49-F238E27FC236}">
                <a16:creationId xmlns:a16="http://schemas.microsoft.com/office/drawing/2014/main" id="{A275208B-DBF3-4B64-A8A6-2A45B23CEC61}"/>
              </a:ext>
            </a:extLst>
          </p:cNvPr>
          <p:cNvSpPr>
            <a:spLocks noChangeArrowheads="1"/>
          </p:cNvSpPr>
          <p:nvPr/>
        </p:nvSpPr>
        <p:spPr bwMode="gray">
          <a:xfrm>
            <a:off x="3769279" y="240227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54" name="Oval 447">
            <a:extLst>
              <a:ext uri="{FF2B5EF4-FFF2-40B4-BE49-F238E27FC236}">
                <a16:creationId xmlns:a16="http://schemas.microsoft.com/office/drawing/2014/main" id="{29FE5130-8608-4A2E-B4B9-41C574D1D7BC}"/>
              </a:ext>
            </a:extLst>
          </p:cNvPr>
          <p:cNvSpPr>
            <a:spLocks noChangeArrowheads="1"/>
          </p:cNvSpPr>
          <p:nvPr/>
        </p:nvSpPr>
        <p:spPr bwMode="gray">
          <a:xfrm>
            <a:off x="6113451" y="288300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55" name="Oval 451">
            <a:extLst>
              <a:ext uri="{FF2B5EF4-FFF2-40B4-BE49-F238E27FC236}">
                <a16:creationId xmlns:a16="http://schemas.microsoft.com/office/drawing/2014/main" id="{3CE2E4EF-2D3D-44B1-B241-2EAF2EB228FF}"/>
              </a:ext>
            </a:extLst>
          </p:cNvPr>
          <p:cNvSpPr>
            <a:spLocks noChangeArrowheads="1"/>
          </p:cNvSpPr>
          <p:nvPr/>
        </p:nvSpPr>
        <p:spPr bwMode="gray">
          <a:xfrm>
            <a:off x="6471340" y="282097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56" name="Oval 452">
            <a:extLst>
              <a:ext uri="{FF2B5EF4-FFF2-40B4-BE49-F238E27FC236}">
                <a16:creationId xmlns:a16="http://schemas.microsoft.com/office/drawing/2014/main" id="{787825CF-9E75-43CE-A1B9-CBCEC807F244}"/>
              </a:ext>
            </a:extLst>
          </p:cNvPr>
          <p:cNvSpPr>
            <a:spLocks noChangeArrowheads="1"/>
          </p:cNvSpPr>
          <p:nvPr/>
        </p:nvSpPr>
        <p:spPr bwMode="gray">
          <a:xfrm>
            <a:off x="6431971" y="285199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57" name="Oval 456">
            <a:extLst>
              <a:ext uri="{FF2B5EF4-FFF2-40B4-BE49-F238E27FC236}">
                <a16:creationId xmlns:a16="http://schemas.microsoft.com/office/drawing/2014/main" id="{AAD59715-CCED-4EDD-8F1E-4A75D23AC49D}"/>
              </a:ext>
            </a:extLst>
          </p:cNvPr>
          <p:cNvSpPr>
            <a:spLocks noChangeArrowheads="1"/>
          </p:cNvSpPr>
          <p:nvPr/>
        </p:nvSpPr>
        <p:spPr bwMode="gray">
          <a:xfrm>
            <a:off x="6429586" y="284125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58" name="Oval 457">
            <a:extLst>
              <a:ext uri="{FF2B5EF4-FFF2-40B4-BE49-F238E27FC236}">
                <a16:creationId xmlns:a16="http://schemas.microsoft.com/office/drawing/2014/main" id="{EA1F9500-19F2-4710-B678-E7BF26097E1B}"/>
              </a:ext>
            </a:extLst>
          </p:cNvPr>
          <p:cNvSpPr>
            <a:spLocks noChangeArrowheads="1"/>
          </p:cNvSpPr>
          <p:nvPr/>
        </p:nvSpPr>
        <p:spPr bwMode="gray">
          <a:xfrm>
            <a:off x="6187414" y="280069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59" name="Oval 461">
            <a:extLst>
              <a:ext uri="{FF2B5EF4-FFF2-40B4-BE49-F238E27FC236}">
                <a16:creationId xmlns:a16="http://schemas.microsoft.com/office/drawing/2014/main" id="{8E8CBA97-1CE9-4A3F-A09E-3D69F010E704}"/>
              </a:ext>
            </a:extLst>
          </p:cNvPr>
          <p:cNvSpPr>
            <a:spLocks noChangeArrowheads="1"/>
          </p:cNvSpPr>
          <p:nvPr/>
        </p:nvSpPr>
        <p:spPr bwMode="gray">
          <a:xfrm>
            <a:off x="3939873" y="261580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60" name="Oval 462">
            <a:extLst>
              <a:ext uri="{FF2B5EF4-FFF2-40B4-BE49-F238E27FC236}">
                <a16:creationId xmlns:a16="http://schemas.microsoft.com/office/drawing/2014/main" id="{76379E7A-4C31-43BD-9413-76DD614B123A}"/>
              </a:ext>
            </a:extLst>
          </p:cNvPr>
          <p:cNvSpPr>
            <a:spLocks noChangeArrowheads="1"/>
          </p:cNvSpPr>
          <p:nvPr/>
        </p:nvSpPr>
        <p:spPr bwMode="gray">
          <a:xfrm>
            <a:off x="3939873" y="261580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61" name="Oval 463">
            <a:extLst>
              <a:ext uri="{FF2B5EF4-FFF2-40B4-BE49-F238E27FC236}">
                <a16:creationId xmlns:a16="http://schemas.microsoft.com/office/drawing/2014/main" id="{879DDAF5-A25A-4843-A0EE-F81F73C712A7}"/>
              </a:ext>
            </a:extLst>
          </p:cNvPr>
          <p:cNvSpPr>
            <a:spLocks noChangeArrowheads="1"/>
          </p:cNvSpPr>
          <p:nvPr/>
        </p:nvSpPr>
        <p:spPr bwMode="gray">
          <a:xfrm>
            <a:off x="3962540" y="262415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62" name="Oval 464">
            <a:extLst>
              <a:ext uri="{FF2B5EF4-FFF2-40B4-BE49-F238E27FC236}">
                <a16:creationId xmlns:a16="http://schemas.microsoft.com/office/drawing/2014/main" id="{2D6AE213-033C-462E-894A-05BE22E8C6E5}"/>
              </a:ext>
            </a:extLst>
          </p:cNvPr>
          <p:cNvSpPr>
            <a:spLocks noChangeArrowheads="1"/>
          </p:cNvSpPr>
          <p:nvPr/>
        </p:nvSpPr>
        <p:spPr bwMode="gray">
          <a:xfrm>
            <a:off x="4102116" y="229492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63" name="Oval 468">
            <a:extLst>
              <a:ext uri="{FF2B5EF4-FFF2-40B4-BE49-F238E27FC236}">
                <a16:creationId xmlns:a16="http://schemas.microsoft.com/office/drawing/2014/main" id="{837A8489-9217-408D-8AF2-35FEF16B158E}"/>
              </a:ext>
            </a:extLst>
          </p:cNvPr>
          <p:cNvSpPr>
            <a:spLocks noChangeArrowheads="1"/>
          </p:cNvSpPr>
          <p:nvPr/>
        </p:nvSpPr>
        <p:spPr bwMode="gray">
          <a:xfrm>
            <a:off x="3811033" y="265516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64" name="Oval 469">
            <a:extLst>
              <a:ext uri="{FF2B5EF4-FFF2-40B4-BE49-F238E27FC236}">
                <a16:creationId xmlns:a16="http://schemas.microsoft.com/office/drawing/2014/main" id="{F8530C78-A086-428C-8E42-DDAA5649935E}"/>
              </a:ext>
            </a:extLst>
          </p:cNvPr>
          <p:cNvSpPr>
            <a:spLocks noChangeArrowheads="1"/>
          </p:cNvSpPr>
          <p:nvPr/>
        </p:nvSpPr>
        <p:spPr bwMode="gray">
          <a:xfrm>
            <a:off x="3641633" y="266113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65" name="Oval 470">
            <a:extLst>
              <a:ext uri="{FF2B5EF4-FFF2-40B4-BE49-F238E27FC236}">
                <a16:creationId xmlns:a16="http://schemas.microsoft.com/office/drawing/2014/main" id="{772F6673-4F58-4CF2-B4B0-E347145270A0}"/>
              </a:ext>
            </a:extLst>
          </p:cNvPr>
          <p:cNvSpPr>
            <a:spLocks noChangeArrowheads="1"/>
          </p:cNvSpPr>
          <p:nvPr/>
        </p:nvSpPr>
        <p:spPr bwMode="gray">
          <a:xfrm>
            <a:off x="3641633" y="266113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66" name="Oval 471">
            <a:extLst>
              <a:ext uri="{FF2B5EF4-FFF2-40B4-BE49-F238E27FC236}">
                <a16:creationId xmlns:a16="http://schemas.microsoft.com/office/drawing/2014/main" id="{61B342AE-7021-4127-95E9-97B572CFA24E}"/>
              </a:ext>
            </a:extLst>
          </p:cNvPr>
          <p:cNvSpPr>
            <a:spLocks noChangeArrowheads="1"/>
          </p:cNvSpPr>
          <p:nvPr/>
        </p:nvSpPr>
        <p:spPr bwMode="gray">
          <a:xfrm>
            <a:off x="2117026" y="258717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67" name="Oval 472">
            <a:extLst>
              <a:ext uri="{FF2B5EF4-FFF2-40B4-BE49-F238E27FC236}">
                <a16:creationId xmlns:a16="http://schemas.microsoft.com/office/drawing/2014/main" id="{9879C481-C539-471D-AAA8-BB8D513B2268}"/>
              </a:ext>
            </a:extLst>
          </p:cNvPr>
          <p:cNvSpPr>
            <a:spLocks noChangeArrowheads="1"/>
          </p:cNvSpPr>
          <p:nvPr/>
        </p:nvSpPr>
        <p:spPr bwMode="gray">
          <a:xfrm>
            <a:off x="1271217" y="277087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68" name="Oval 473">
            <a:extLst>
              <a:ext uri="{FF2B5EF4-FFF2-40B4-BE49-F238E27FC236}">
                <a16:creationId xmlns:a16="http://schemas.microsoft.com/office/drawing/2014/main" id="{16DC3B9A-8A55-4C6D-9D8B-989F6B94F3D6}"/>
              </a:ext>
            </a:extLst>
          </p:cNvPr>
          <p:cNvSpPr>
            <a:spLocks noChangeArrowheads="1"/>
          </p:cNvSpPr>
          <p:nvPr/>
        </p:nvSpPr>
        <p:spPr bwMode="gray">
          <a:xfrm>
            <a:off x="2541722" y="360588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69" name="Oval 475">
            <a:extLst>
              <a:ext uri="{FF2B5EF4-FFF2-40B4-BE49-F238E27FC236}">
                <a16:creationId xmlns:a16="http://schemas.microsoft.com/office/drawing/2014/main" id="{7D753180-FA79-421C-AB0E-55DD4092BC23}"/>
              </a:ext>
            </a:extLst>
          </p:cNvPr>
          <p:cNvSpPr>
            <a:spLocks noChangeArrowheads="1"/>
          </p:cNvSpPr>
          <p:nvPr/>
        </p:nvSpPr>
        <p:spPr bwMode="gray">
          <a:xfrm>
            <a:off x="3708440" y="259313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70" name="Oval 476">
            <a:extLst>
              <a:ext uri="{FF2B5EF4-FFF2-40B4-BE49-F238E27FC236}">
                <a16:creationId xmlns:a16="http://schemas.microsoft.com/office/drawing/2014/main" id="{52D7D670-33B8-4388-AC51-309EFF16332F}"/>
              </a:ext>
            </a:extLst>
          </p:cNvPr>
          <p:cNvSpPr>
            <a:spLocks noChangeArrowheads="1"/>
          </p:cNvSpPr>
          <p:nvPr/>
        </p:nvSpPr>
        <p:spPr bwMode="gray">
          <a:xfrm>
            <a:off x="1075572" y="224481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71" name="Oval 1770">
            <a:extLst>
              <a:ext uri="{FF2B5EF4-FFF2-40B4-BE49-F238E27FC236}">
                <a16:creationId xmlns:a16="http://schemas.microsoft.com/office/drawing/2014/main" id="{46974EAD-972B-4195-A076-21EC8D90C00B}"/>
              </a:ext>
            </a:extLst>
          </p:cNvPr>
          <p:cNvSpPr>
            <a:spLocks noChangeArrowheads="1"/>
          </p:cNvSpPr>
          <p:nvPr/>
        </p:nvSpPr>
        <p:spPr bwMode="gray">
          <a:xfrm>
            <a:off x="3691737" y="276729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72" name="Oval 1771">
            <a:extLst>
              <a:ext uri="{FF2B5EF4-FFF2-40B4-BE49-F238E27FC236}">
                <a16:creationId xmlns:a16="http://schemas.microsoft.com/office/drawing/2014/main" id="{12135318-0F71-4BB1-974E-E2896107FC5D}"/>
              </a:ext>
            </a:extLst>
          </p:cNvPr>
          <p:cNvSpPr>
            <a:spLocks noChangeArrowheads="1"/>
          </p:cNvSpPr>
          <p:nvPr/>
        </p:nvSpPr>
        <p:spPr bwMode="gray">
          <a:xfrm>
            <a:off x="3571248" y="265993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73" name="Oval 483">
            <a:extLst>
              <a:ext uri="{FF2B5EF4-FFF2-40B4-BE49-F238E27FC236}">
                <a16:creationId xmlns:a16="http://schemas.microsoft.com/office/drawing/2014/main" id="{845BB7A7-37FE-4CCB-BBAA-CC8FD67867E8}"/>
              </a:ext>
            </a:extLst>
          </p:cNvPr>
          <p:cNvSpPr>
            <a:spLocks noChangeArrowheads="1"/>
          </p:cNvSpPr>
          <p:nvPr/>
        </p:nvSpPr>
        <p:spPr bwMode="gray">
          <a:xfrm>
            <a:off x="5985803" y="283171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74" name="Oval 484">
            <a:extLst>
              <a:ext uri="{FF2B5EF4-FFF2-40B4-BE49-F238E27FC236}">
                <a16:creationId xmlns:a16="http://schemas.microsoft.com/office/drawing/2014/main" id="{A37BE24C-73FE-4CF9-9B6D-B29C5514279F}"/>
              </a:ext>
            </a:extLst>
          </p:cNvPr>
          <p:cNvSpPr>
            <a:spLocks noChangeArrowheads="1"/>
          </p:cNvSpPr>
          <p:nvPr/>
        </p:nvSpPr>
        <p:spPr bwMode="gray">
          <a:xfrm>
            <a:off x="4052012" y="250844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75" name="Oval 485">
            <a:extLst>
              <a:ext uri="{FF2B5EF4-FFF2-40B4-BE49-F238E27FC236}">
                <a16:creationId xmlns:a16="http://schemas.microsoft.com/office/drawing/2014/main" id="{69B21BFD-F461-4216-B658-807B7DFF7B9F}"/>
              </a:ext>
            </a:extLst>
          </p:cNvPr>
          <p:cNvSpPr>
            <a:spLocks noChangeArrowheads="1"/>
          </p:cNvSpPr>
          <p:nvPr/>
        </p:nvSpPr>
        <p:spPr bwMode="gray">
          <a:xfrm>
            <a:off x="3517566" y="266351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76" name="Oval 486">
            <a:extLst>
              <a:ext uri="{FF2B5EF4-FFF2-40B4-BE49-F238E27FC236}">
                <a16:creationId xmlns:a16="http://schemas.microsoft.com/office/drawing/2014/main" id="{01BAEE83-0CCE-40FA-BAC7-D6EF2842E6B7}"/>
              </a:ext>
            </a:extLst>
          </p:cNvPr>
          <p:cNvSpPr>
            <a:spLocks noChangeArrowheads="1"/>
          </p:cNvSpPr>
          <p:nvPr/>
        </p:nvSpPr>
        <p:spPr bwMode="gray">
          <a:xfrm>
            <a:off x="3558125" y="268021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77" name="Oval 487">
            <a:extLst>
              <a:ext uri="{FF2B5EF4-FFF2-40B4-BE49-F238E27FC236}">
                <a16:creationId xmlns:a16="http://schemas.microsoft.com/office/drawing/2014/main" id="{EC25E420-AF0E-4699-9D6E-3EEF3AC48CCE}"/>
              </a:ext>
            </a:extLst>
          </p:cNvPr>
          <p:cNvSpPr>
            <a:spLocks noChangeArrowheads="1"/>
          </p:cNvSpPr>
          <p:nvPr/>
        </p:nvSpPr>
        <p:spPr bwMode="gray">
          <a:xfrm>
            <a:off x="3621353" y="275059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78" name="Oval 488">
            <a:extLst>
              <a:ext uri="{FF2B5EF4-FFF2-40B4-BE49-F238E27FC236}">
                <a16:creationId xmlns:a16="http://schemas.microsoft.com/office/drawing/2014/main" id="{2C8A2490-CDAC-4589-AF72-BA65A5F9E941}"/>
              </a:ext>
            </a:extLst>
          </p:cNvPr>
          <p:cNvSpPr>
            <a:spLocks noChangeArrowheads="1"/>
          </p:cNvSpPr>
          <p:nvPr/>
        </p:nvSpPr>
        <p:spPr bwMode="gray">
          <a:xfrm>
            <a:off x="3549774" y="281859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79" name="Oval 489">
            <a:extLst>
              <a:ext uri="{FF2B5EF4-FFF2-40B4-BE49-F238E27FC236}">
                <a16:creationId xmlns:a16="http://schemas.microsoft.com/office/drawing/2014/main" id="{FFAA0DE5-989A-4946-8CD3-F88D2E92567D}"/>
              </a:ext>
            </a:extLst>
          </p:cNvPr>
          <p:cNvSpPr>
            <a:spLocks noChangeArrowheads="1"/>
          </p:cNvSpPr>
          <p:nvPr/>
        </p:nvSpPr>
        <p:spPr bwMode="gray">
          <a:xfrm>
            <a:off x="3681000" y="270646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80" name="Oval 490">
            <a:extLst>
              <a:ext uri="{FF2B5EF4-FFF2-40B4-BE49-F238E27FC236}">
                <a16:creationId xmlns:a16="http://schemas.microsoft.com/office/drawing/2014/main" id="{88556F99-A4FA-49E6-85FC-21E9B8DC467B}"/>
              </a:ext>
            </a:extLst>
          </p:cNvPr>
          <p:cNvSpPr>
            <a:spLocks noChangeArrowheads="1"/>
          </p:cNvSpPr>
          <p:nvPr/>
        </p:nvSpPr>
        <p:spPr bwMode="gray">
          <a:xfrm>
            <a:off x="3713211" y="272316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81" name="Oval 491">
            <a:extLst>
              <a:ext uri="{FF2B5EF4-FFF2-40B4-BE49-F238E27FC236}">
                <a16:creationId xmlns:a16="http://schemas.microsoft.com/office/drawing/2014/main" id="{E1DFBD65-71C6-48E4-A112-6C5E8B6E420A}"/>
              </a:ext>
            </a:extLst>
          </p:cNvPr>
          <p:cNvSpPr>
            <a:spLocks noChangeArrowheads="1"/>
          </p:cNvSpPr>
          <p:nvPr/>
        </p:nvSpPr>
        <p:spPr bwMode="gray">
          <a:xfrm>
            <a:off x="3681000" y="273628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82" name="Oval 492">
            <a:extLst>
              <a:ext uri="{FF2B5EF4-FFF2-40B4-BE49-F238E27FC236}">
                <a16:creationId xmlns:a16="http://schemas.microsoft.com/office/drawing/2014/main" id="{D26513D2-1287-4A7E-BD28-776E768A4AB4}"/>
              </a:ext>
            </a:extLst>
          </p:cNvPr>
          <p:cNvSpPr>
            <a:spLocks noChangeArrowheads="1"/>
          </p:cNvSpPr>
          <p:nvPr/>
        </p:nvSpPr>
        <p:spPr bwMode="gray">
          <a:xfrm>
            <a:off x="3652369" y="282932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83" name="Oval 493">
            <a:extLst>
              <a:ext uri="{FF2B5EF4-FFF2-40B4-BE49-F238E27FC236}">
                <a16:creationId xmlns:a16="http://schemas.microsoft.com/office/drawing/2014/main" id="{1DACEA9B-1308-47FF-8202-8562944ACE52}"/>
              </a:ext>
            </a:extLst>
          </p:cNvPr>
          <p:cNvSpPr>
            <a:spLocks noChangeArrowheads="1"/>
          </p:cNvSpPr>
          <p:nvPr/>
        </p:nvSpPr>
        <p:spPr bwMode="gray">
          <a:xfrm>
            <a:off x="3361286" y="306551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84" name="Oval 494">
            <a:extLst>
              <a:ext uri="{FF2B5EF4-FFF2-40B4-BE49-F238E27FC236}">
                <a16:creationId xmlns:a16="http://schemas.microsoft.com/office/drawing/2014/main" id="{47825884-F34B-4044-AC1C-1E72A600BC09}"/>
              </a:ext>
            </a:extLst>
          </p:cNvPr>
          <p:cNvSpPr>
            <a:spLocks noChangeArrowheads="1"/>
          </p:cNvSpPr>
          <p:nvPr/>
        </p:nvSpPr>
        <p:spPr bwMode="gray">
          <a:xfrm>
            <a:off x="3342199" y="305955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85" name="Oval 495">
            <a:extLst>
              <a:ext uri="{FF2B5EF4-FFF2-40B4-BE49-F238E27FC236}">
                <a16:creationId xmlns:a16="http://schemas.microsoft.com/office/drawing/2014/main" id="{1568A5E2-C0DE-4A1B-AFF7-7D6C494B8031}"/>
              </a:ext>
            </a:extLst>
          </p:cNvPr>
          <p:cNvSpPr>
            <a:spLocks noChangeArrowheads="1"/>
          </p:cNvSpPr>
          <p:nvPr/>
        </p:nvSpPr>
        <p:spPr bwMode="gray">
          <a:xfrm>
            <a:off x="3756157" y="276252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86" name="Oval 496">
            <a:extLst>
              <a:ext uri="{FF2B5EF4-FFF2-40B4-BE49-F238E27FC236}">
                <a16:creationId xmlns:a16="http://schemas.microsoft.com/office/drawing/2014/main" id="{4CA9CE5F-D4D8-4621-A02B-519EAFECE85D}"/>
              </a:ext>
            </a:extLst>
          </p:cNvPr>
          <p:cNvSpPr>
            <a:spLocks noChangeArrowheads="1"/>
          </p:cNvSpPr>
          <p:nvPr/>
        </p:nvSpPr>
        <p:spPr bwMode="gray">
          <a:xfrm>
            <a:off x="3895734" y="275059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87" name="Oval 497">
            <a:extLst>
              <a:ext uri="{FF2B5EF4-FFF2-40B4-BE49-F238E27FC236}">
                <a16:creationId xmlns:a16="http://schemas.microsoft.com/office/drawing/2014/main" id="{493C1BE8-908C-4153-BE74-67A5B46B9F2D}"/>
              </a:ext>
            </a:extLst>
          </p:cNvPr>
          <p:cNvSpPr>
            <a:spLocks noChangeArrowheads="1"/>
          </p:cNvSpPr>
          <p:nvPr/>
        </p:nvSpPr>
        <p:spPr bwMode="gray">
          <a:xfrm>
            <a:off x="3908857" y="201340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88" name="Oval 503">
            <a:extLst>
              <a:ext uri="{FF2B5EF4-FFF2-40B4-BE49-F238E27FC236}">
                <a16:creationId xmlns:a16="http://schemas.microsoft.com/office/drawing/2014/main" id="{75676EBF-84C5-4A82-A219-49FE4E8F1DD7}"/>
              </a:ext>
            </a:extLst>
          </p:cNvPr>
          <p:cNvSpPr>
            <a:spLocks noChangeArrowheads="1"/>
          </p:cNvSpPr>
          <p:nvPr/>
        </p:nvSpPr>
        <p:spPr bwMode="gray">
          <a:xfrm>
            <a:off x="4179659" y="181061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89" name="Oval 505">
            <a:extLst>
              <a:ext uri="{FF2B5EF4-FFF2-40B4-BE49-F238E27FC236}">
                <a16:creationId xmlns:a16="http://schemas.microsoft.com/office/drawing/2014/main" id="{07EDC376-1A4C-47A8-BB2C-AFDB83DC8D2F}"/>
              </a:ext>
            </a:extLst>
          </p:cNvPr>
          <p:cNvSpPr>
            <a:spLocks noChangeArrowheads="1"/>
          </p:cNvSpPr>
          <p:nvPr/>
        </p:nvSpPr>
        <p:spPr bwMode="gray">
          <a:xfrm>
            <a:off x="3881419" y="246669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90" name="Oval 506">
            <a:extLst>
              <a:ext uri="{FF2B5EF4-FFF2-40B4-BE49-F238E27FC236}">
                <a16:creationId xmlns:a16="http://schemas.microsoft.com/office/drawing/2014/main" id="{84968929-3316-4CC3-92AF-21A8DDEB5A3E}"/>
              </a:ext>
            </a:extLst>
          </p:cNvPr>
          <p:cNvSpPr>
            <a:spLocks noChangeArrowheads="1"/>
          </p:cNvSpPr>
          <p:nvPr/>
        </p:nvSpPr>
        <p:spPr bwMode="gray">
          <a:xfrm>
            <a:off x="3638053" y="265993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91" name="Oval 507">
            <a:extLst>
              <a:ext uri="{FF2B5EF4-FFF2-40B4-BE49-F238E27FC236}">
                <a16:creationId xmlns:a16="http://schemas.microsoft.com/office/drawing/2014/main" id="{F3C81181-C367-4830-8D9C-DA0F9252B962}"/>
              </a:ext>
            </a:extLst>
          </p:cNvPr>
          <p:cNvSpPr>
            <a:spLocks noChangeArrowheads="1"/>
          </p:cNvSpPr>
          <p:nvPr/>
        </p:nvSpPr>
        <p:spPr bwMode="gray">
          <a:xfrm>
            <a:off x="3510408" y="281024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92" name="Oval 508">
            <a:extLst>
              <a:ext uri="{FF2B5EF4-FFF2-40B4-BE49-F238E27FC236}">
                <a16:creationId xmlns:a16="http://schemas.microsoft.com/office/drawing/2014/main" id="{9935F254-3EEF-4C6E-8E1A-974C09DE7740}"/>
              </a:ext>
            </a:extLst>
          </p:cNvPr>
          <p:cNvSpPr>
            <a:spLocks noChangeArrowheads="1"/>
          </p:cNvSpPr>
          <p:nvPr/>
        </p:nvSpPr>
        <p:spPr bwMode="gray">
          <a:xfrm>
            <a:off x="3797911" y="238438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93" name="Oval 514">
            <a:extLst>
              <a:ext uri="{FF2B5EF4-FFF2-40B4-BE49-F238E27FC236}">
                <a16:creationId xmlns:a16="http://schemas.microsoft.com/office/drawing/2014/main" id="{D8D5C808-1F01-4444-955C-691F970941F1}"/>
              </a:ext>
            </a:extLst>
          </p:cNvPr>
          <p:cNvSpPr>
            <a:spLocks noChangeArrowheads="1"/>
          </p:cNvSpPr>
          <p:nvPr/>
        </p:nvSpPr>
        <p:spPr bwMode="gray">
          <a:xfrm>
            <a:off x="3850401" y="241659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94" name="Oval 515">
            <a:extLst>
              <a:ext uri="{FF2B5EF4-FFF2-40B4-BE49-F238E27FC236}">
                <a16:creationId xmlns:a16="http://schemas.microsoft.com/office/drawing/2014/main" id="{43591131-FACA-4185-B5EA-AD19E079D575}"/>
              </a:ext>
            </a:extLst>
          </p:cNvPr>
          <p:cNvSpPr>
            <a:spLocks noChangeArrowheads="1"/>
          </p:cNvSpPr>
          <p:nvPr/>
        </p:nvSpPr>
        <p:spPr bwMode="gray">
          <a:xfrm>
            <a:off x="3713211" y="246430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95" name="Oval 516">
            <a:extLst>
              <a:ext uri="{FF2B5EF4-FFF2-40B4-BE49-F238E27FC236}">
                <a16:creationId xmlns:a16="http://schemas.microsoft.com/office/drawing/2014/main" id="{1546314B-D8E7-4E96-B105-9CB5951C4D3C}"/>
              </a:ext>
            </a:extLst>
          </p:cNvPr>
          <p:cNvSpPr>
            <a:spLocks noChangeArrowheads="1"/>
          </p:cNvSpPr>
          <p:nvPr/>
        </p:nvSpPr>
        <p:spPr bwMode="gray">
          <a:xfrm>
            <a:off x="3845628" y="239631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96" name="Oval 517">
            <a:extLst>
              <a:ext uri="{FF2B5EF4-FFF2-40B4-BE49-F238E27FC236}">
                <a16:creationId xmlns:a16="http://schemas.microsoft.com/office/drawing/2014/main" id="{C80C2C68-296C-4B7A-968E-2D8ABF379A93}"/>
              </a:ext>
            </a:extLst>
          </p:cNvPr>
          <p:cNvSpPr>
            <a:spLocks noChangeArrowheads="1"/>
          </p:cNvSpPr>
          <p:nvPr/>
        </p:nvSpPr>
        <p:spPr bwMode="gray">
          <a:xfrm>
            <a:off x="1558721" y="326830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97" name="Oval 519">
            <a:extLst>
              <a:ext uri="{FF2B5EF4-FFF2-40B4-BE49-F238E27FC236}">
                <a16:creationId xmlns:a16="http://schemas.microsoft.com/office/drawing/2014/main" id="{1C51D13D-5AD2-48CF-B71D-4D0250A73D9E}"/>
              </a:ext>
            </a:extLst>
          </p:cNvPr>
          <p:cNvSpPr>
            <a:spLocks noChangeArrowheads="1"/>
          </p:cNvSpPr>
          <p:nvPr/>
        </p:nvSpPr>
        <p:spPr bwMode="gray">
          <a:xfrm>
            <a:off x="1656545" y="277684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98" name="Oval 522">
            <a:extLst>
              <a:ext uri="{FF2B5EF4-FFF2-40B4-BE49-F238E27FC236}">
                <a16:creationId xmlns:a16="http://schemas.microsoft.com/office/drawing/2014/main" id="{D5E9CEF1-FD3F-4621-883E-9AD97027D409}"/>
              </a:ext>
            </a:extLst>
          </p:cNvPr>
          <p:cNvSpPr>
            <a:spLocks noChangeArrowheads="1"/>
          </p:cNvSpPr>
          <p:nvPr/>
        </p:nvSpPr>
        <p:spPr bwMode="gray">
          <a:xfrm>
            <a:off x="1184131" y="276968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99" name="Oval 524">
            <a:extLst>
              <a:ext uri="{FF2B5EF4-FFF2-40B4-BE49-F238E27FC236}">
                <a16:creationId xmlns:a16="http://schemas.microsoft.com/office/drawing/2014/main" id="{195FBECC-691F-4191-B6EC-BEA6D28E1D6D}"/>
              </a:ext>
            </a:extLst>
          </p:cNvPr>
          <p:cNvSpPr>
            <a:spLocks noChangeArrowheads="1"/>
          </p:cNvSpPr>
          <p:nvPr/>
        </p:nvSpPr>
        <p:spPr bwMode="gray">
          <a:xfrm>
            <a:off x="3673843" y="236768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00" name="Oval 526">
            <a:extLst>
              <a:ext uri="{FF2B5EF4-FFF2-40B4-BE49-F238E27FC236}">
                <a16:creationId xmlns:a16="http://schemas.microsoft.com/office/drawing/2014/main" id="{C85D84F3-5AA6-4C8C-86A2-33FDE39CFEF6}"/>
              </a:ext>
            </a:extLst>
          </p:cNvPr>
          <p:cNvSpPr>
            <a:spLocks noChangeArrowheads="1"/>
          </p:cNvSpPr>
          <p:nvPr/>
        </p:nvSpPr>
        <p:spPr bwMode="gray">
          <a:xfrm>
            <a:off x="1577808" y="279354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01" name="Oval 527">
            <a:extLst>
              <a:ext uri="{FF2B5EF4-FFF2-40B4-BE49-F238E27FC236}">
                <a16:creationId xmlns:a16="http://schemas.microsoft.com/office/drawing/2014/main" id="{FDEF2063-CB21-442C-9CDC-F8C93AE5A5A0}"/>
              </a:ext>
            </a:extLst>
          </p:cNvPr>
          <p:cNvSpPr>
            <a:spLocks noChangeArrowheads="1"/>
          </p:cNvSpPr>
          <p:nvPr/>
        </p:nvSpPr>
        <p:spPr bwMode="gray">
          <a:xfrm>
            <a:off x="1531284" y="253110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02" name="Oval 528">
            <a:extLst>
              <a:ext uri="{FF2B5EF4-FFF2-40B4-BE49-F238E27FC236}">
                <a16:creationId xmlns:a16="http://schemas.microsoft.com/office/drawing/2014/main" id="{5076D3D7-D2E5-4D91-B803-1CA4B824B597}"/>
              </a:ext>
            </a:extLst>
          </p:cNvPr>
          <p:cNvSpPr>
            <a:spLocks noChangeArrowheads="1"/>
          </p:cNvSpPr>
          <p:nvPr/>
        </p:nvSpPr>
        <p:spPr bwMode="gray">
          <a:xfrm>
            <a:off x="3262270" y="186906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03" name="Oval 529">
            <a:extLst>
              <a:ext uri="{FF2B5EF4-FFF2-40B4-BE49-F238E27FC236}">
                <a16:creationId xmlns:a16="http://schemas.microsoft.com/office/drawing/2014/main" id="{4936B657-B4C7-4AB1-A31D-04B4AFA4E5F3}"/>
              </a:ext>
            </a:extLst>
          </p:cNvPr>
          <p:cNvSpPr>
            <a:spLocks noChangeArrowheads="1"/>
          </p:cNvSpPr>
          <p:nvPr/>
        </p:nvSpPr>
        <p:spPr bwMode="gray">
          <a:xfrm>
            <a:off x="3908857" y="240943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04" name="Oval 534">
            <a:extLst>
              <a:ext uri="{FF2B5EF4-FFF2-40B4-BE49-F238E27FC236}">
                <a16:creationId xmlns:a16="http://schemas.microsoft.com/office/drawing/2014/main" id="{38E272E3-C1D9-431C-BA8B-E21A6C37CAD1}"/>
              </a:ext>
            </a:extLst>
          </p:cNvPr>
          <p:cNvSpPr>
            <a:spLocks noChangeArrowheads="1"/>
          </p:cNvSpPr>
          <p:nvPr/>
        </p:nvSpPr>
        <p:spPr bwMode="gray">
          <a:xfrm>
            <a:off x="3892156" y="234263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05" name="Oval 541">
            <a:extLst>
              <a:ext uri="{FF2B5EF4-FFF2-40B4-BE49-F238E27FC236}">
                <a16:creationId xmlns:a16="http://schemas.microsoft.com/office/drawing/2014/main" id="{83F739E7-1B1E-4AF4-8E6F-BAB3702153DE}"/>
              </a:ext>
            </a:extLst>
          </p:cNvPr>
          <p:cNvSpPr>
            <a:spLocks noChangeArrowheads="1"/>
          </p:cNvSpPr>
          <p:nvPr/>
        </p:nvSpPr>
        <p:spPr bwMode="gray">
          <a:xfrm>
            <a:off x="3961348" y="240466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06" name="Oval 551">
            <a:extLst>
              <a:ext uri="{FF2B5EF4-FFF2-40B4-BE49-F238E27FC236}">
                <a16:creationId xmlns:a16="http://schemas.microsoft.com/office/drawing/2014/main" id="{A5526BD9-F848-4C01-A1FA-663506E424E3}"/>
              </a:ext>
            </a:extLst>
          </p:cNvPr>
          <p:cNvSpPr>
            <a:spLocks noChangeArrowheads="1"/>
          </p:cNvSpPr>
          <p:nvPr/>
        </p:nvSpPr>
        <p:spPr bwMode="gray">
          <a:xfrm>
            <a:off x="6187414" y="272554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07" name="Oval 565">
            <a:extLst>
              <a:ext uri="{FF2B5EF4-FFF2-40B4-BE49-F238E27FC236}">
                <a16:creationId xmlns:a16="http://schemas.microsoft.com/office/drawing/2014/main" id="{FBD34E72-FDB0-4E67-B2ED-387FBCC97BFC}"/>
              </a:ext>
            </a:extLst>
          </p:cNvPr>
          <p:cNvSpPr>
            <a:spLocks noChangeArrowheads="1"/>
          </p:cNvSpPr>
          <p:nvPr/>
        </p:nvSpPr>
        <p:spPr bwMode="gray">
          <a:xfrm>
            <a:off x="5948823" y="288539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08" name="Oval 574">
            <a:extLst>
              <a:ext uri="{FF2B5EF4-FFF2-40B4-BE49-F238E27FC236}">
                <a16:creationId xmlns:a16="http://schemas.microsoft.com/office/drawing/2014/main" id="{8798E625-7949-4630-8095-C6284B8BB7FE}"/>
              </a:ext>
            </a:extLst>
          </p:cNvPr>
          <p:cNvSpPr>
            <a:spLocks noChangeArrowheads="1"/>
          </p:cNvSpPr>
          <p:nvPr/>
        </p:nvSpPr>
        <p:spPr bwMode="gray">
          <a:xfrm>
            <a:off x="3842051" y="206946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09" name="Oval 576">
            <a:extLst>
              <a:ext uri="{FF2B5EF4-FFF2-40B4-BE49-F238E27FC236}">
                <a16:creationId xmlns:a16="http://schemas.microsoft.com/office/drawing/2014/main" id="{8D272452-3290-42F8-89BF-A4871AB03402}"/>
              </a:ext>
            </a:extLst>
          </p:cNvPr>
          <p:cNvSpPr>
            <a:spLocks noChangeArrowheads="1"/>
          </p:cNvSpPr>
          <p:nvPr/>
        </p:nvSpPr>
        <p:spPr bwMode="gray">
          <a:xfrm>
            <a:off x="3831314" y="209809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10" name="Oval 581">
            <a:extLst>
              <a:ext uri="{FF2B5EF4-FFF2-40B4-BE49-F238E27FC236}">
                <a16:creationId xmlns:a16="http://schemas.microsoft.com/office/drawing/2014/main" id="{72D72A17-2907-47C3-95E6-A8CDA1185E1E}"/>
              </a:ext>
            </a:extLst>
          </p:cNvPr>
          <p:cNvSpPr>
            <a:spLocks noChangeArrowheads="1"/>
          </p:cNvSpPr>
          <p:nvPr/>
        </p:nvSpPr>
        <p:spPr bwMode="gray">
          <a:xfrm>
            <a:off x="4232150" y="155772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11" name="Oval 583">
            <a:extLst>
              <a:ext uri="{FF2B5EF4-FFF2-40B4-BE49-F238E27FC236}">
                <a16:creationId xmlns:a16="http://schemas.microsoft.com/office/drawing/2014/main" id="{2AEF4E6D-724A-4D57-AAA8-AED0F6E72E4C}"/>
              </a:ext>
            </a:extLst>
          </p:cNvPr>
          <p:cNvSpPr>
            <a:spLocks noChangeArrowheads="1"/>
          </p:cNvSpPr>
          <p:nvPr/>
        </p:nvSpPr>
        <p:spPr bwMode="gray">
          <a:xfrm>
            <a:off x="6156399" y="363690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12" name="Oval 584">
            <a:extLst>
              <a:ext uri="{FF2B5EF4-FFF2-40B4-BE49-F238E27FC236}">
                <a16:creationId xmlns:a16="http://schemas.microsoft.com/office/drawing/2014/main" id="{9D28A281-543D-4F51-9579-24710CD93B90}"/>
              </a:ext>
            </a:extLst>
          </p:cNvPr>
          <p:cNvSpPr>
            <a:spLocks noChangeArrowheads="1"/>
          </p:cNvSpPr>
          <p:nvPr/>
        </p:nvSpPr>
        <p:spPr bwMode="gray">
          <a:xfrm>
            <a:off x="4665196" y="316452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13" name="Oval 586">
            <a:extLst>
              <a:ext uri="{FF2B5EF4-FFF2-40B4-BE49-F238E27FC236}">
                <a16:creationId xmlns:a16="http://schemas.microsoft.com/office/drawing/2014/main" id="{4179C434-86D7-4A03-8B35-5A658113E659}"/>
              </a:ext>
            </a:extLst>
          </p:cNvPr>
          <p:cNvSpPr>
            <a:spLocks noChangeArrowheads="1"/>
          </p:cNvSpPr>
          <p:nvPr/>
        </p:nvSpPr>
        <p:spPr bwMode="gray">
          <a:xfrm>
            <a:off x="4006680" y="252872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14" name="Oval 589">
            <a:extLst>
              <a:ext uri="{FF2B5EF4-FFF2-40B4-BE49-F238E27FC236}">
                <a16:creationId xmlns:a16="http://schemas.microsoft.com/office/drawing/2014/main" id="{00A108B1-FAC7-47D8-9663-72860FDD422A}"/>
              </a:ext>
            </a:extLst>
          </p:cNvPr>
          <p:cNvSpPr>
            <a:spLocks noChangeArrowheads="1"/>
          </p:cNvSpPr>
          <p:nvPr/>
        </p:nvSpPr>
        <p:spPr bwMode="gray">
          <a:xfrm>
            <a:off x="3518758" y="271958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15" name="Oval 594">
            <a:extLst>
              <a:ext uri="{FF2B5EF4-FFF2-40B4-BE49-F238E27FC236}">
                <a16:creationId xmlns:a16="http://schemas.microsoft.com/office/drawing/2014/main" id="{E3E32E56-AA4B-4436-8E6F-808E42BF8891}"/>
              </a:ext>
            </a:extLst>
          </p:cNvPr>
          <p:cNvSpPr>
            <a:spLocks noChangeArrowheads="1"/>
          </p:cNvSpPr>
          <p:nvPr/>
        </p:nvSpPr>
        <p:spPr bwMode="gray">
          <a:xfrm>
            <a:off x="3987592" y="239631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16" name="Oval 595">
            <a:extLst>
              <a:ext uri="{FF2B5EF4-FFF2-40B4-BE49-F238E27FC236}">
                <a16:creationId xmlns:a16="http://schemas.microsoft.com/office/drawing/2014/main" id="{9DA5082F-B2CF-481C-BC00-2C971B130FA6}"/>
              </a:ext>
            </a:extLst>
          </p:cNvPr>
          <p:cNvSpPr>
            <a:spLocks noChangeArrowheads="1"/>
          </p:cNvSpPr>
          <p:nvPr/>
        </p:nvSpPr>
        <p:spPr bwMode="gray">
          <a:xfrm>
            <a:off x="3806262" y="236768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17" name="Oval 596">
            <a:extLst>
              <a:ext uri="{FF2B5EF4-FFF2-40B4-BE49-F238E27FC236}">
                <a16:creationId xmlns:a16="http://schemas.microsoft.com/office/drawing/2014/main" id="{BB1C83D2-62CC-4009-997D-AA6FD32CDC4A}"/>
              </a:ext>
            </a:extLst>
          </p:cNvPr>
          <p:cNvSpPr>
            <a:spLocks noChangeArrowheads="1"/>
          </p:cNvSpPr>
          <p:nvPr/>
        </p:nvSpPr>
        <p:spPr bwMode="gray">
          <a:xfrm>
            <a:off x="3696510" y="232354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18" name="Oval 597">
            <a:extLst>
              <a:ext uri="{FF2B5EF4-FFF2-40B4-BE49-F238E27FC236}">
                <a16:creationId xmlns:a16="http://schemas.microsoft.com/office/drawing/2014/main" id="{4A6B5353-0018-4286-849D-50324DB046D4}"/>
              </a:ext>
            </a:extLst>
          </p:cNvPr>
          <p:cNvSpPr>
            <a:spLocks noChangeArrowheads="1"/>
          </p:cNvSpPr>
          <p:nvPr/>
        </p:nvSpPr>
        <p:spPr bwMode="gray">
          <a:xfrm>
            <a:off x="6310289" y="314186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19" name="Oval 598">
            <a:extLst>
              <a:ext uri="{FF2B5EF4-FFF2-40B4-BE49-F238E27FC236}">
                <a16:creationId xmlns:a16="http://schemas.microsoft.com/office/drawing/2014/main" id="{32E25147-FB87-4E28-8918-B3D053055B27}"/>
              </a:ext>
            </a:extLst>
          </p:cNvPr>
          <p:cNvSpPr>
            <a:spLocks noChangeArrowheads="1"/>
          </p:cNvSpPr>
          <p:nvPr/>
        </p:nvSpPr>
        <p:spPr bwMode="gray">
          <a:xfrm>
            <a:off x="6285237" y="293310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20" name="Oval 599">
            <a:extLst>
              <a:ext uri="{FF2B5EF4-FFF2-40B4-BE49-F238E27FC236}">
                <a16:creationId xmlns:a16="http://schemas.microsoft.com/office/drawing/2014/main" id="{B2F0CC35-62EA-4DDE-B64A-4739CDA9CB38}"/>
              </a:ext>
            </a:extLst>
          </p:cNvPr>
          <p:cNvSpPr>
            <a:spLocks noChangeArrowheads="1"/>
          </p:cNvSpPr>
          <p:nvPr/>
        </p:nvSpPr>
        <p:spPr bwMode="gray">
          <a:xfrm>
            <a:off x="6122995" y="281262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21" name="Oval 600">
            <a:extLst>
              <a:ext uri="{FF2B5EF4-FFF2-40B4-BE49-F238E27FC236}">
                <a16:creationId xmlns:a16="http://schemas.microsoft.com/office/drawing/2014/main" id="{31716039-5A49-42C7-BF21-EC7BAE8C5D39}"/>
              </a:ext>
            </a:extLst>
          </p:cNvPr>
          <p:cNvSpPr>
            <a:spLocks noChangeArrowheads="1"/>
          </p:cNvSpPr>
          <p:nvPr/>
        </p:nvSpPr>
        <p:spPr bwMode="gray">
          <a:xfrm>
            <a:off x="6256606" y="282336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22" name="Oval 601">
            <a:extLst>
              <a:ext uri="{FF2B5EF4-FFF2-40B4-BE49-F238E27FC236}">
                <a16:creationId xmlns:a16="http://schemas.microsoft.com/office/drawing/2014/main" id="{31C794E2-03D8-4A33-AF07-D9CE9A8A63B2}"/>
              </a:ext>
            </a:extLst>
          </p:cNvPr>
          <p:cNvSpPr>
            <a:spLocks noChangeArrowheads="1"/>
          </p:cNvSpPr>
          <p:nvPr/>
        </p:nvSpPr>
        <p:spPr bwMode="gray">
          <a:xfrm>
            <a:off x="3968504" y="240227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23" name="Oval 602">
            <a:extLst>
              <a:ext uri="{FF2B5EF4-FFF2-40B4-BE49-F238E27FC236}">
                <a16:creationId xmlns:a16="http://schemas.microsoft.com/office/drawing/2014/main" id="{7A873E2A-71C0-4E46-BDC9-F9BB297D0C59}"/>
              </a:ext>
            </a:extLst>
          </p:cNvPr>
          <p:cNvSpPr>
            <a:spLocks noChangeArrowheads="1"/>
          </p:cNvSpPr>
          <p:nvPr/>
        </p:nvSpPr>
        <p:spPr bwMode="gray">
          <a:xfrm>
            <a:off x="6937789" y="423333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24" name="Oval 604">
            <a:extLst>
              <a:ext uri="{FF2B5EF4-FFF2-40B4-BE49-F238E27FC236}">
                <a16:creationId xmlns:a16="http://schemas.microsoft.com/office/drawing/2014/main" id="{34E82AEC-0913-42AB-ABB9-FF390C45F3B5}"/>
              </a:ext>
            </a:extLst>
          </p:cNvPr>
          <p:cNvSpPr>
            <a:spLocks noChangeArrowheads="1"/>
          </p:cNvSpPr>
          <p:nvPr/>
        </p:nvSpPr>
        <p:spPr bwMode="gray">
          <a:xfrm>
            <a:off x="3848014" y="247265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25" name="Oval 612">
            <a:extLst>
              <a:ext uri="{FF2B5EF4-FFF2-40B4-BE49-F238E27FC236}">
                <a16:creationId xmlns:a16="http://schemas.microsoft.com/office/drawing/2014/main" id="{7F47C5FD-40A5-4D9A-B2B0-F3485235DC11}"/>
              </a:ext>
            </a:extLst>
          </p:cNvPr>
          <p:cNvSpPr>
            <a:spLocks noChangeArrowheads="1"/>
          </p:cNvSpPr>
          <p:nvPr/>
        </p:nvSpPr>
        <p:spPr bwMode="gray">
          <a:xfrm>
            <a:off x="6962841" y="422498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26" name="Oval 621">
            <a:extLst>
              <a:ext uri="{FF2B5EF4-FFF2-40B4-BE49-F238E27FC236}">
                <a16:creationId xmlns:a16="http://schemas.microsoft.com/office/drawing/2014/main" id="{F5843952-D29B-4A16-80CA-564DD930080C}"/>
              </a:ext>
            </a:extLst>
          </p:cNvPr>
          <p:cNvSpPr>
            <a:spLocks noChangeArrowheads="1"/>
          </p:cNvSpPr>
          <p:nvPr/>
        </p:nvSpPr>
        <p:spPr bwMode="gray">
          <a:xfrm>
            <a:off x="3700087" y="274224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27" name="Oval 622">
            <a:extLst>
              <a:ext uri="{FF2B5EF4-FFF2-40B4-BE49-F238E27FC236}">
                <a16:creationId xmlns:a16="http://schemas.microsoft.com/office/drawing/2014/main" id="{3FA2EC14-BE56-4569-A39E-0983CACE2058}"/>
              </a:ext>
            </a:extLst>
          </p:cNvPr>
          <p:cNvSpPr>
            <a:spLocks noChangeArrowheads="1"/>
          </p:cNvSpPr>
          <p:nvPr/>
        </p:nvSpPr>
        <p:spPr bwMode="gray">
          <a:xfrm>
            <a:off x="3552160" y="282932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28" name="Oval 626">
            <a:extLst>
              <a:ext uri="{FF2B5EF4-FFF2-40B4-BE49-F238E27FC236}">
                <a16:creationId xmlns:a16="http://schemas.microsoft.com/office/drawing/2014/main" id="{D6CBC95D-3B07-4008-A733-847EA9905E6F}"/>
              </a:ext>
            </a:extLst>
          </p:cNvPr>
          <p:cNvSpPr>
            <a:spLocks noChangeArrowheads="1"/>
          </p:cNvSpPr>
          <p:nvPr/>
        </p:nvSpPr>
        <p:spPr bwMode="gray">
          <a:xfrm>
            <a:off x="6390220" y="281024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29" name="Oval 628">
            <a:extLst>
              <a:ext uri="{FF2B5EF4-FFF2-40B4-BE49-F238E27FC236}">
                <a16:creationId xmlns:a16="http://schemas.microsoft.com/office/drawing/2014/main" id="{A39FD5C2-7678-4113-9BC7-D8AC68E47C55}"/>
              </a:ext>
            </a:extLst>
          </p:cNvPr>
          <p:cNvSpPr>
            <a:spLocks noChangeArrowheads="1"/>
          </p:cNvSpPr>
          <p:nvPr/>
        </p:nvSpPr>
        <p:spPr bwMode="gray">
          <a:xfrm>
            <a:off x="3688158" y="261222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30" name="Oval 630">
            <a:extLst>
              <a:ext uri="{FF2B5EF4-FFF2-40B4-BE49-F238E27FC236}">
                <a16:creationId xmlns:a16="http://schemas.microsoft.com/office/drawing/2014/main" id="{1D36B2EA-1DEF-41D7-8FCB-E2C0788866F8}"/>
              </a:ext>
            </a:extLst>
          </p:cNvPr>
          <p:cNvSpPr>
            <a:spLocks noChangeArrowheads="1"/>
          </p:cNvSpPr>
          <p:nvPr/>
        </p:nvSpPr>
        <p:spPr bwMode="gray">
          <a:xfrm>
            <a:off x="1231848" y="225555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33" name="Oval 652">
            <a:extLst>
              <a:ext uri="{FF2B5EF4-FFF2-40B4-BE49-F238E27FC236}">
                <a16:creationId xmlns:a16="http://schemas.microsoft.com/office/drawing/2014/main" id="{66A77BD4-68F8-43B5-A349-78AC6F376DFD}"/>
              </a:ext>
            </a:extLst>
          </p:cNvPr>
          <p:cNvSpPr>
            <a:spLocks noChangeArrowheads="1"/>
          </p:cNvSpPr>
          <p:nvPr/>
        </p:nvSpPr>
        <p:spPr bwMode="gray">
          <a:xfrm>
            <a:off x="6479689" y="403174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34" name="Oval 653">
            <a:extLst>
              <a:ext uri="{FF2B5EF4-FFF2-40B4-BE49-F238E27FC236}">
                <a16:creationId xmlns:a16="http://schemas.microsoft.com/office/drawing/2014/main" id="{CD240515-C752-4401-BC26-E3C7B2DCEF40}"/>
              </a:ext>
            </a:extLst>
          </p:cNvPr>
          <p:cNvSpPr>
            <a:spLocks noChangeArrowheads="1"/>
          </p:cNvSpPr>
          <p:nvPr/>
        </p:nvSpPr>
        <p:spPr bwMode="gray">
          <a:xfrm>
            <a:off x="6795825" y="454587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35" name="Oval 656">
            <a:extLst>
              <a:ext uri="{FF2B5EF4-FFF2-40B4-BE49-F238E27FC236}">
                <a16:creationId xmlns:a16="http://schemas.microsoft.com/office/drawing/2014/main" id="{90C7F732-98C1-4A79-BFDC-7672BE594E5B}"/>
              </a:ext>
            </a:extLst>
          </p:cNvPr>
          <p:cNvSpPr>
            <a:spLocks noChangeArrowheads="1"/>
          </p:cNvSpPr>
          <p:nvPr/>
        </p:nvSpPr>
        <p:spPr bwMode="gray">
          <a:xfrm>
            <a:off x="3881419" y="246669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36" name="Oval 657">
            <a:extLst>
              <a:ext uri="{FF2B5EF4-FFF2-40B4-BE49-F238E27FC236}">
                <a16:creationId xmlns:a16="http://schemas.microsoft.com/office/drawing/2014/main" id="{9D34CC49-8083-4CDB-9B7D-CAB71D3A5E47}"/>
              </a:ext>
            </a:extLst>
          </p:cNvPr>
          <p:cNvSpPr>
            <a:spLocks noChangeArrowheads="1"/>
          </p:cNvSpPr>
          <p:nvPr/>
        </p:nvSpPr>
        <p:spPr bwMode="gray">
          <a:xfrm>
            <a:off x="1578999" y="299036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37" name="Oval 659">
            <a:extLst>
              <a:ext uri="{FF2B5EF4-FFF2-40B4-BE49-F238E27FC236}">
                <a16:creationId xmlns:a16="http://schemas.microsoft.com/office/drawing/2014/main" id="{E7D9F224-486D-4F50-839D-C9556632A442}"/>
              </a:ext>
            </a:extLst>
          </p:cNvPr>
          <p:cNvSpPr>
            <a:spLocks noChangeArrowheads="1"/>
          </p:cNvSpPr>
          <p:nvPr/>
        </p:nvSpPr>
        <p:spPr bwMode="gray">
          <a:xfrm>
            <a:off x="3967312" y="231162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38" name="Oval 662">
            <a:extLst>
              <a:ext uri="{FF2B5EF4-FFF2-40B4-BE49-F238E27FC236}">
                <a16:creationId xmlns:a16="http://schemas.microsoft.com/office/drawing/2014/main" id="{316A4FED-28B0-4098-8A85-C511DE95C030}"/>
              </a:ext>
            </a:extLst>
          </p:cNvPr>
          <p:cNvSpPr>
            <a:spLocks noChangeArrowheads="1"/>
          </p:cNvSpPr>
          <p:nvPr/>
        </p:nvSpPr>
        <p:spPr bwMode="gray">
          <a:xfrm>
            <a:off x="3961348" y="240466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39" name="Oval 663">
            <a:extLst>
              <a:ext uri="{FF2B5EF4-FFF2-40B4-BE49-F238E27FC236}">
                <a16:creationId xmlns:a16="http://schemas.microsoft.com/office/drawing/2014/main" id="{81BEB0FB-A7EE-4851-A9A3-5BC83D805E9B}"/>
              </a:ext>
            </a:extLst>
          </p:cNvPr>
          <p:cNvSpPr>
            <a:spLocks noChangeArrowheads="1"/>
          </p:cNvSpPr>
          <p:nvPr/>
        </p:nvSpPr>
        <p:spPr bwMode="gray">
          <a:xfrm>
            <a:off x="3968504" y="240227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40" name="Oval 667">
            <a:extLst>
              <a:ext uri="{FF2B5EF4-FFF2-40B4-BE49-F238E27FC236}">
                <a16:creationId xmlns:a16="http://schemas.microsoft.com/office/drawing/2014/main" id="{2B07089D-EDD5-40EA-9821-03D316D4A1CA}"/>
              </a:ext>
            </a:extLst>
          </p:cNvPr>
          <p:cNvSpPr>
            <a:spLocks noChangeArrowheads="1"/>
          </p:cNvSpPr>
          <p:nvPr/>
        </p:nvSpPr>
        <p:spPr bwMode="gray">
          <a:xfrm>
            <a:off x="3892156" y="234263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41" name="Oval 668">
            <a:extLst>
              <a:ext uri="{FF2B5EF4-FFF2-40B4-BE49-F238E27FC236}">
                <a16:creationId xmlns:a16="http://schemas.microsoft.com/office/drawing/2014/main" id="{C325C3B0-EDB6-44B3-B974-B1FED650790D}"/>
              </a:ext>
            </a:extLst>
          </p:cNvPr>
          <p:cNvSpPr>
            <a:spLocks noChangeArrowheads="1"/>
          </p:cNvSpPr>
          <p:nvPr/>
        </p:nvSpPr>
        <p:spPr bwMode="gray">
          <a:xfrm>
            <a:off x="3904084" y="232354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42" name="Oval 669">
            <a:extLst>
              <a:ext uri="{FF2B5EF4-FFF2-40B4-BE49-F238E27FC236}">
                <a16:creationId xmlns:a16="http://schemas.microsoft.com/office/drawing/2014/main" id="{ABE78561-75F8-4F07-A10A-4366D8EDE202}"/>
              </a:ext>
            </a:extLst>
          </p:cNvPr>
          <p:cNvSpPr>
            <a:spLocks noChangeArrowheads="1"/>
          </p:cNvSpPr>
          <p:nvPr/>
        </p:nvSpPr>
        <p:spPr bwMode="gray">
          <a:xfrm>
            <a:off x="3877840" y="247146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43" name="Oval 670">
            <a:extLst>
              <a:ext uri="{FF2B5EF4-FFF2-40B4-BE49-F238E27FC236}">
                <a16:creationId xmlns:a16="http://schemas.microsoft.com/office/drawing/2014/main" id="{D80E975F-5D50-419E-846F-609F3BDAAA5E}"/>
              </a:ext>
            </a:extLst>
          </p:cNvPr>
          <p:cNvSpPr>
            <a:spLocks noChangeArrowheads="1"/>
          </p:cNvSpPr>
          <p:nvPr/>
        </p:nvSpPr>
        <p:spPr bwMode="gray">
          <a:xfrm>
            <a:off x="3976854" y="250844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44" name="Oval 671">
            <a:extLst>
              <a:ext uri="{FF2B5EF4-FFF2-40B4-BE49-F238E27FC236}">
                <a16:creationId xmlns:a16="http://schemas.microsoft.com/office/drawing/2014/main" id="{E8559AFF-5136-4E26-AF99-02BCFF4C7E38}"/>
              </a:ext>
            </a:extLst>
          </p:cNvPr>
          <p:cNvSpPr>
            <a:spLocks noChangeArrowheads="1"/>
          </p:cNvSpPr>
          <p:nvPr/>
        </p:nvSpPr>
        <p:spPr bwMode="gray">
          <a:xfrm>
            <a:off x="6072889" y="275656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45" name="Oval 672">
            <a:extLst>
              <a:ext uri="{FF2B5EF4-FFF2-40B4-BE49-F238E27FC236}">
                <a16:creationId xmlns:a16="http://schemas.microsoft.com/office/drawing/2014/main" id="{A04AEF7A-163F-471E-B3A0-2AF7E3F71204}"/>
              </a:ext>
            </a:extLst>
          </p:cNvPr>
          <p:cNvSpPr>
            <a:spLocks noChangeArrowheads="1"/>
          </p:cNvSpPr>
          <p:nvPr/>
        </p:nvSpPr>
        <p:spPr bwMode="gray">
          <a:xfrm>
            <a:off x="1150728" y="289493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46" name="Oval 673">
            <a:extLst>
              <a:ext uri="{FF2B5EF4-FFF2-40B4-BE49-F238E27FC236}">
                <a16:creationId xmlns:a16="http://schemas.microsoft.com/office/drawing/2014/main" id="{D8A7A76B-55A0-417C-B030-ABAF203ED574}"/>
              </a:ext>
            </a:extLst>
          </p:cNvPr>
          <p:cNvSpPr>
            <a:spLocks noChangeArrowheads="1"/>
          </p:cNvSpPr>
          <p:nvPr/>
        </p:nvSpPr>
        <p:spPr bwMode="gray">
          <a:xfrm>
            <a:off x="3939873" y="261580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47" name="Oval 680">
            <a:extLst>
              <a:ext uri="{FF2B5EF4-FFF2-40B4-BE49-F238E27FC236}">
                <a16:creationId xmlns:a16="http://schemas.microsoft.com/office/drawing/2014/main" id="{60831D87-4D2E-42FE-9FA1-1D0148ADCADA}"/>
              </a:ext>
            </a:extLst>
          </p:cNvPr>
          <p:cNvSpPr>
            <a:spLocks noChangeArrowheads="1"/>
          </p:cNvSpPr>
          <p:nvPr/>
        </p:nvSpPr>
        <p:spPr bwMode="gray">
          <a:xfrm>
            <a:off x="2131342" y="270884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48" name="Oval 683">
            <a:extLst>
              <a:ext uri="{FF2B5EF4-FFF2-40B4-BE49-F238E27FC236}">
                <a16:creationId xmlns:a16="http://schemas.microsoft.com/office/drawing/2014/main" id="{E4A58691-0468-4E21-A8A0-35DB1A312331}"/>
              </a:ext>
            </a:extLst>
          </p:cNvPr>
          <p:cNvSpPr>
            <a:spLocks noChangeArrowheads="1"/>
          </p:cNvSpPr>
          <p:nvPr/>
        </p:nvSpPr>
        <p:spPr bwMode="gray">
          <a:xfrm>
            <a:off x="1578999" y="299036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49" name="Oval 684">
            <a:extLst>
              <a:ext uri="{FF2B5EF4-FFF2-40B4-BE49-F238E27FC236}">
                <a16:creationId xmlns:a16="http://schemas.microsoft.com/office/drawing/2014/main" id="{FED09BA9-663F-4A68-A7D6-51BB8D166801}"/>
              </a:ext>
            </a:extLst>
          </p:cNvPr>
          <p:cNvSpPr>
            <a:spLocks noChangeArrowheads="1"/>
          </p:cNvSpPr>
          <p:nvPr/>
        </p:nvSpPr>
        <p:spPr bwMode="gray">
          <a:xfrm>
            <a:off x="1100624" y="264085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50" name="Oval 685">
            <a:extLst>
              <a:ext uri="{FF2B5EF4-FFF2-40B4-BE49-F238E27FC236}">
                <a16:creationId xmlns:a16="http://schemas.microsoft.com/office/drawing/2014/main" id="{6F000002-B0F8-483B-B64D-4989FDCE8B8E}"/>
              </a:ext>
            </a:extLst>
          </p:cNvPr>
          <p:cNvSpPr>
            <a:spLocks noChangeArrowheads="1"/>
          </p:cNvSpPr>
          <p:nvPr/>
        </p:nvSpPr>
        <p:spPr bwMode="gray">
          <a:xfrm>
            <a:off x="3624930" y="275059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51" name="Oval 686">
            <a:extLst>
              <a:ext uri="{FF2B5EF4-FFF2-40B4-BE49-F238E27FC236}">
                <a16:creationId xmlns:a16="http://schemas.microsoft.com/office/drawing/2014/main" id="{59FB2475-F592-4E12-BC64-A8D1C49DC54E}"/>
              </a:ext>
            </a:extLst>
          </p:cNvPr>
          <p:cNvSpPr>
            <a:spLocks noChangeArrowheads="1"/>
          </p:cNvSpPr>
          <p:nvPr/>
        </p:nvSpPr>
        <p:spPr bwMode="gray">
          <a:xfrm>
            <a:off x="7150136" y="221619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52" name="Oval 687">
            <a:extLst>
              <a:ext uri="{FF2B5EF4-FFF2-40B4-BE49-F238E27FC236}">
                <a16:creationId xmlns:a16="http://schemas.microsoft.com/office/drawing/2014/main" id="{E27BBC19-8087-4D0A-9AFF-47F12F5D20A0}"/>
              </a:ext>
            </a:extLst>
          </p:cNvPr>
          <p:cNvSpPr>
            <a:spLocks noChangeArrowheads="1"/>
          </p:cNvSpPr>
          <p:nvPr/>
        </p:nvSpPr>
        <p:spPr bwMode="gray">
          <a:xfrm>
            <a:off x="5726930" y="192274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53" name="Oval 688">
            <a:extLst>
              <a:ext uri="{FF2B5EF4-FFF2-40B4-BE49-F238E27FC236}">
                <a16:creationId xmlns:a16="http://schemas.microsoft.com/office/drawing/2014/main" id="{22E03EBC-DB36-4BD4-995D-6B28DDB3526B}"/>
              </a:ext>
            </a:extLst>
          </p:cNvPr>
          <p:cNvSpPr>
            <a:spLocks noChangeArrowheads="1"/>
          </p:cNvSpPr>
          <p:nvPr/>
        </p:nvSpPr>
        <p:spPr bwMode="gray">
          <a:xfrm>
            <a:off x="4568563" y="212076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54" name="Oval 689">
            <a:extLst>
              <a:ext uri="{FF2B5EF4-FFF2-40B4-BE49-F238E27FC236}">
                <a16:creationId xmlns:a16="http://schemas.microsoft.com/office/drawing/2014/main" id="{4A2E7EF3-EB2B-4C6E-9869-B859362E6B03}"/>
              </a:ext>
            </a:extLst>
          </p:cNvPr>
          <p:cNvSpPr>
            <a:spLocks noChangeArrowheads="1"/>
          </p:cNvSpPr>
          <p:nvPr/>
        </p:nvSpPr>
        <p:spPr bwMode="gray">
          <a:xfrm>
            <a:off x="3577214" y="265158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55" name="Oval 691">
            <a:extLst>
              <a:ext uri="{FF2B5EF4-FFF2-40B4-BE49-F238E27FC236}">
                <a16:creationId xmlns:a16="http://schemas.microsoft.com/office/drawing/2014/main" id="{E74642BC-B0D2-4AFD-BDAB-437F9C88F1BC}"/>
              </a:ext>
            </a:extLst>
          </p:cNvPr>
          <p:cNvSpPr>
            <a:spLocks noChangeArrowheads="1"/>
          </p:cNvSpPr>
          <p:nvPr/>
        </p:nvSpPr>
        <p:spPr bwMode="gray">
          <a:xfrm>
            <a:off x="3583177" y="285795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56" name="Oval 692">
            <a:extLst>
              <a:ext uri="{FF2B5EF4-FFF2-40B4-BE49-F238E27FC236}">
                <a16:creationId xmlns:a16="http://schemas.microsoft.com/office/drawing/2014/main" id="{CD4987BC-3664-49C8-9729-FF38735BD461}"/>
              </a:ext>
            </a:extLst>
          </p:cNvPr>
          <p:cNvSpPr>
            <a:spLocks noChangeArrowheads="1"/>
          </p:cNvSpPr>
          <p:nvPr/>
        </p:nvSpPr>
        <p:spPr bwMode="gray">
          <a:xfrm>
            <a:off x="3523530" y="265278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57" name="Oval 693">
            <a:extLst>
              <a:ext uri="{FF2B5EF4-FFF2-40B4-BE49-F238E27FC236}">
                <a16:creationId xmlns:a16="http://schemas.microsoft.com/office/drawing/2014/main" id="{0E5163F9-ACCA-41D6-8C0A-B7F0FCEF4573}"/>
              </a:ext>
            </a:extLst>
          </p:cNvPr>
          <p:cNvSpPr>
            <a:spLocks noChangeArrowheads="1"/>
          </p:cNvSpPr>
          <p:nvPr/>
        </p:nvSpPr>
        <p:spPr bwMode="gray">
          <a:xfrm>
            <a:off x="4839366" y="315856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58" name="Oval 699">
            <a:extLst>
              <a:ext uri="{FF2B5EF4-FFF2-40B4-BE49-F238E27FC236}">
                <a16:creationId xmlns:a16="http://schemas.microsoft.com/office/drawing/2014/main" id="{5B74AD5A-EED0-4D45-9997-8AFF13D87F74}"/>
              </a:ext>
            </a:extLst>
          </p:cNvPr>
          <p:cNvSpPr>
            <a:spLocks noChangeArrowheads="1"/>
          </p:cNvSpPr>
          <p:nvPr/>
        </p:nvSpPr>
        <p:spPr bwMode="gray">
          <a:xfrm>
            <a:off x="6956875" y="447907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59" name="Oval 700">
            <a:extLst>
              <a:ext uri="{FF2B5EF4-FFF2-40B4-BE49-F238E27FC236}">
                <a16:creationId xmlns:a16="http://schemas.microsoft.com/office/drawing/2014/main" id="{A18819EA-824C-48DC-A16E-9E0D230FCDBD}"/>
              </a:ext>
            </a:extLst>
          </p:cNvPr>
          <p:cNvSpPr>
            <a:spLocks noChangeArrowheads="1"/>
          </p:cNvSpPr>
          <p:nvPr/>
        </p:nvSpPr>
        <p:spPr bwMode="gray">
          <a:xfrm>
            <a:off x="4331166" y="310249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60" name="Oval 703">
            <a:extLst>
              <a:ext uri="{FF2B5EF4-FFF2-40B4-BE49-F238E27FC236}">
                <a16:creationId xmlns:a16="http://schemas.microsoft.com/office/drawing/2014/main" id="{633D86CB-D1B6-49BB-AF3A-E4CE008B1D16}"/>
              </a:ext>
            </a:extLst>
          </p:cNvPr>
          <p:cNvSpPr>
            <a:spLocks noChangeArrowheads="1"/>
          </p:cNvSpPr>
          <p:nvPr/>
        </p:nvSpPr>
        <p:spPr bwMode="gray">
          <a:xfrm>
            <a:off x="6072889" y="275656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61" name="Oval 704">
            <a:extLst>
              <a:ext uri="{FF2B5EF4-FFF2-40B4-BE49-F238E27FC236}">
                <a16:creationId xmlns:a16="http://schemas.microsoft.com/office/drawing/2014/main" id="{DA2D287B-66F9-4A03-9955-70E05861EFC4}"/>
              </a:ext>
            </a:extLst>
          </p:cNvPr>
          <p:cNvSpPr>
            <a:spLocks noChangeArrowheads="1"/>
          </p:cNvSpPr>
          <p:nvPr/>
        </p:nvSpPr>
        <p:spPr bwMode="gray">
          <a:xfrm>
            <a:off x="6071697" y="273389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62" name="Oval 707">
            <a:extLst>
              <a:ext uri="{FF2B5EF4-FFF2-40B4-BE49-F238E27FC236}">
                <a16:creationId xmlns:a16="http://schemas.microsoft.com/office/drawing/2014/main" id="{3EEC1E0D-B263-4067-8F02-2930710D9183}"/>
              </a:ext>
            </a:extLst>
          </p:cNvPr>
          <p:cNvSpPr>
            <a:spLocks noChangeArrowheads="1"/>
          </p:cNvSpPr>
          <p:nvPr/>
        </p:nvSpPr>
        <p:spPr bwMode="gray">
          <a:xfrm>
            <a:off x="4877543" y="317287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63" name="Oval 714">
            <a:extLst>
              <a:ext uri="{FF2B5EF4-FFF2-40B4-BE49-F238E27FC236}">
                <a16:creationId xmlns:a16="http://schemas.microsoft.com/office/drawing/2014/main" id="{627E0759-8694-42F6-BDC6-0091B2F4EB4F}"/>
              </a:ext>
            </a:extLst>
          </p:cNvPr>
          <p:cNvSpPr>
            <a:spLocks noChangeArrowheads="1"/>
          </p:cNvSpPr>
          <p:nvPr/>
        </p:nvSpPr>
        <p:spPr bwMode="gray">
          <a:xfrm>
            <a:off x="3541424" y="217682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64" name="Oval 716">
            <a:extLst>
              <a:ext uri="{FF2B5EF4-FFF2-40B4-BE49-F238E27FC236}">
                <a16:creationId xmlns:a16="http://schemas.microsoft.com/office/drawing/2014/main" id="{BBADC06E-767B-4F78-8B43-89D608FD90B1}"/>
              </a:ext>
            </a:extLst>
          </p:cNvPr>
          <p:cNvSpPr>
            <a:spLocks noChangeArrowheads="1"/>
          </p:cNvSpPr>
          <p:nvPr/>
        </p:nvSpPr>
        <p:spPr bwMode="gray">
          <a:xfrm>
            <a:off x="3646406" y="232832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65" name="Oval 720">
            <a:extLst>
              <a:ext uri="{FF2B5EF4-FFF2-40B4-BE49-F238E27FC236}">
                <a16:creationId xmlns:a16="http://schemas.microsoft.com/office/drawing/2014/main" id="{2426141B-3E1A-44DA-A453-B52E89BE3294}"/>
              </a:ext>
            </a:extLst>
          </p:cNvPr>
          <p:cNvSpPr>
            <a:spLocks noChangeArrowheads="1"/>
          </p:cNvSpPr>
          <p:nvPr/>
        </p:nvSpPr>
        <p:spPr bwMode="gray">
          <a:xfrm>
            <a:off x="4190395" y="261818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66" name="Oval 721">
            <a:extLst>
              <a:ext uri="{FF2B5EF4-FFF2-40B4-BE49-F238E27FC236}">
                <a16:creationId xmlns:a16="http://schemas.microsoft.com/office/drawing/2014/main" id="{781160A9-DE50-4A34-B3C7-72E8F942C0CD}"/>
              </a:ext>
            </a:extLst>
          </p:cNvPr>
          <p:cNvSpPr>
            <a:spLocks noChangeArrowheads="1"/>
          </p:cNvSpPr>
          <p:nvPr/>
        </p:nvSpPr>
        <p:spPr bwMode="gray">
          <a:xfrm>
            <a:off x="4240501" y="258478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67" name="Oval 722">
            <a:extLst>
              <a:ext uri="{FF2B5EF4-FFF2-40B4-BE49-F238E27FC236}">
                <a16:creationId xmlns:a16="http://schemas.microsoft.com/office/drawing/2014/main" id="{D177E2A5-1C7D-4EC0-8542-5636EB6A7CB2}"/>
              </a:ext>
            </a:extLst>
          </p:cNvPr>
          <p:cNvSpPr>
            <a:spLocks noChangeArrowheads="1"/>
          </p:cNvSpPr>
          <p:nvPr/>
        </p:nvSpPr>
        <p:spPr bwMode="gray">
          <a:xfrm>
            <a:off x="4310886" y="263250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68" name="Oval 724">
            <a:extLst>
              <a:ext uri="{FF2B5EF4-FFF2-40B4-BE49-F238E27FC236}">
                <a16:creationId xmlns:a16="http://schemas.microsoft.com/office/drawing/2014/main" id="{29A0DF0E-A901-4DA3-A772-A5DA44E60897}"/>
              </a:ext>
            </a:extLst>
          </p:cNvPr>
          <p:cNvSpPr>
            <a:spLocks noChangeArrowheads="1"/>
          </p:cNvSpPr>
          <p:nvPr/>
        </p:nvSpPr>
        <p:spPr bwMode="gray">
          <a:xfrm>
            <a:off x="4221413" y="260387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69" name="Oval 727">
            <a:extLst>
              <a:ext uri="{FF2B5EF4-FFF2-40B4-BE49-F238E27FC236}">
                <a16:creationId xmlns:a16="http://schemas.microsoft.com/office/drawing/2014/main" id="{1FC8C69D-76AA-45DD-9464-A19292EF7D66}"/>
              </a:ext>
            </a:extLst>
          </p:cNvPr>
          <p:cNvSpPr>
            <a:spLocks noChangeArrowheads="1"/>
          </p:cNvSpPr>
          <p:nvPr/>
        </p:nvSpPr>
        <p:spPr bwMode="gray">
          <a:xfrm>
            <a:off x="4068713" y="414148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70" name="Oval 732">
            <a:extLst>
              <a:ext uri="{FF2B5EF4-FFF2-40B4-BE49-F238E27FC236}">
                <a16:creationId xmlns:a16="http://schemas.microsoft.com/office/drawing/2014/main" id="{B1508199-8AB3-4CCF-AD62-92A13D1DB607}"/>
              </a:ext>
            </a:extLst>
          </p:cNvPr>
          <p:cNvSpPr>
            <a:spLocks noChangeArrowheads="1"/>
          </p:cNvSpPr>
          <p:nvPr/>
        </p:nvSpPr>
        <p:spPr bwMode="gray">
          <a:xfrm>
            <a:off x="6714705" y="287465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71" name="Oval 733">
            <a:extLst>
              <a:ext uri="{FF2B5EF4-FFF2-40B4-BE49-F238E27FC236}">
                <a16:creationId xmlns:a16="http://schemas.microsoft.com/office/drawing/2014/main" id="{A2C20BF2-643E-4191-B208-EC8822801065}"/>
              </a:ext>
            </a:extLst>
          </p:cNvPr>
          <p:cNvSpPr>
            <a:spLocks noChangeArrowheads="1"/>
          </p:cNvSpPr>
          <p:nvPr/>
        </p:nvSpPr>
        <p:spPr bwMode="gray">
          <a:xfrm>
            <a:off x="3908857" y="258717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72" name="Oval 734">
            <a:extLst>
              <a:ext uri="{FF2B5EF4-FFF2-40B4-BE49-F238E27FC236}">
                <a16:creationId xmlns:a16="http://schemas.microsoft.com/office/drawing/2014/main" id="{5EF98DE8-DB2A-4A27-9C1D-0907492F8E62}"/>
              </a:ext>
            </a:extLst>
          </p:cNvPr>
          <p:cNvSpPr>
            <a:spLocks noChangeArrowheads="1"/>
          </p:cNvSpPr>
          <p:nvPr/>
        </p:nvSpPr>
        <p:spPr bwMode="gray">
          <a:xfrm>
            <a:off x="3961348" y="258717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73" name="Oval 735">
            <a:extLst>
              <a:ext uri="{FF2B5EF4-FFF2-40B4-BE49-F238E27FC236}">
                <a16:creationId xmlns:a16="http://schemas.microsoft.com/office/drawing/2014/main" id="{B99D708F-8811-4E95-B930-666A7542F9EA}"/>
              </a:ext>
            </a:extLst>
          </p:cNvPr>
          <p:cNvSpPr>
            <a:spLocks noChangeArrowheads="1"/>
          </p:cNvSpPr>
          <p:nvPr/>
        </p:nvSpPr>
        <p:spPr bwMode="gray">
          <a:xfrm>
            <a:off x="3895734" y="259075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74" name="Oval 738">
            <a:extLst>
              <a:ext uri="{FF2B5EF4-FFF2-40B4-BE49-F238E27FC236}">
                <a16:creationId xmlns:a16="http://schemas.microsoft.com/office/drawing/2014/main" id="{EA7AF1E9-E36F-4BEB-BD6F-6623AA069BF9}"/>
              </a:ext>
            </a:extLst>
          </p:cNvPr>
          <p:cNvSpPr>
            <a:spLocks noChangeArrowheads="1"/>
          </p:cNvSpPr>
          <p:nvPr/>
        </p:nvSpPr>
        <p:spPr bwMode="gray">
          <a:xfrm>
            <a:off x="4050820" y="272316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75" name="Oval 742">
            <a:extLst>
              <a:ext uri="{FF2B5EF4-FFF2-40B4-BE49-F238E27FC236}">
                <a16:creationId xmlns:a16="http://schemas.microsoft.com/office/drawing/2014/main" id="{98046652-433B-42DD-A305-2E8A79169042}"/>
              </a:ext>
            </a:extLst>
          </p:cNvPr>
          <p:cNvSpPr>
            <a:spLocks noChangeArrowheads="1"/>
          </p:cNvSpPr>
          <p:nvPr/>
        </p:nvSpPr>
        <p:spPr bwMode="gray">
          <a:xfrm>
            <a:off x="3646406" y="232832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76" name="Oval 743">
            <a:extLst>
              <a:ext uri="{FF2B5EF4-FFF2-40B4-BE49-F238E27FC236}">
                <a16:creationId xmlns:a16="http://schemas.microsoft.com/office/drawing/2014/main" id="{1C046982-8C82-431F-AC8D-7CC8019FA2D9}"/>
              </a:ext>
            </a:extLst>
          </p:cNvPr>
          <p:cNvSpPr>
            <a:spLocks noChangeArrowheads="1"/>
          </p:cNvSpPr>
          <p:nvPr/>
        </p:nvSpPr>
        <p:spPr bwMode="gray">
          <a:xfrm>
            <a:off x="3856367" y="196210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77" name="Oval 744">
            <a:extLst>
              <a:ext uri="{FF2B5EF4-FFF2-40B4-BE49-F238E27FC236}">
                <a16:creationId xmlns:a16="http://schemas.microsoft.com/office/drawing/2014/main" id="{C38CBD9F-7E59-40D1-85C2-66D44A7547A0}"/>
              </a:ext>
            </a:extLst>
          </p:cNvPr>
          <p:cNvSpPr>
            <a:spLocks noChangeArrowheads="1"/>
          </p:cNvSpPr>
          <p:nvPr/>
        </p:nvSpPr>
        <p:spPr bwMode="gray">
          <a:xfrm>
            <a:off x="3870682" y="230327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78" name="Oval 745">
            <a:extLst>
              <a:ext uri="{FF2B5EF4-FFF2-40B4-BE49-F238E27FC236}">
                <a16:creationId xmlns:a16="http://schemas.microsoft.com/office/drawing/2014/main" id="{BFACFD63-29C5-45CD-BFEB-31AB1B55CE5F}"/>
              </a:ext>
            </a:extLst>
          </p:cNvPr>
          <p:cNvSpPr>
            <a:spLocks noChangeArrowheads="1"/>
          </p:cNvSpPr>
          <p:nvPr/>
        </p:nvSpPr>
        <p:spPr bwMode="gray">
          <a:xfrm>
            <a:off x="1957171" y="273032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79" name="Oval 747">
            <a:extLst>
              <a:ext uri="{FF2B5EF4-FFF2-40B4-BE49-F238E27FC236}">
                <a16:creationId xmlns:a16="http://schemas.microsoft.com/office/drawing/2014/main" id="{D1A779FC-FD05-4E23-8EAA-58FFD3BE138E}"/>
              </a:ext>
            </a:extLst>
          </p:cNvPr>
          <p:cNvSpPr>
            <a:spLocks noChangeArrowheads="1"/>
          </p:cNvSpPr>
          <p:nvPr/>
        </p:nvSpPr>
        <p:spPr bwMode="gray">
          <a:xfrm>
            <a:off x="6000119" y="280427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80" name="Oval 751">
            <a:extLst>
              <a:ext uri="{FF2B5EF4-FFF2-40B4-BE49-F238E27FC236}">
                <a16:creationId xmlns:a16="http://schemas.microsoft.com/office/drawing/2014/main" id="{16745D8C-4559-4B2F-8415-C1926758D7DA}"/>
              </a:ext>
            </a:extLst>
          </p:cNvPr>
          <p:cNvSpPr>
            <a:spLocks noChangeArrowheads="1"/>
          </p:cNvSpPr>
          <p:nvPr/>
        </p:nvSpPr>
        <p:spPr bwMode="gray">
          <a:xfrm>
            <a:off x="6052609" y="290805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81" name="Oval 753">
            <a:extLst>
              <a:ext uri="{FF2B5EF4-FFF2-40B4-BE49-F238E27FC236}">
                <a16:creationId xmlns:a16="http://schemas.microsoft.com/office/drawing/2014/main" id="{922BA78D-AB3A-4071-ACAD-61E338C5283A}"/>
              </a:ext>
            </a:extLst>
          </p:cNvPr>
          <p:cNvSpPr>
            <a:spLocks noChangeArrowheads="1"/>
          </p:cNvSpPr>
          <p:nvPr/>
        </p:nvSpPr>
        <p:spPr bwMode="gray">
          <a:xfrm>
            <a:off x="6046645" y="290567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82" name="Oval 759">
            <a:extLst>
              <a:ext uri="{FF2B5EF4-FFF2-40B4-BE49-F238E27FC236}">
                <a16:creationId xmlns:a16="http://schemas.microsoft.com/office/drawing/2014/main" id="{02800337-2DDF-4A2E-A41E-EECF33A29965}"/>
              </a:ext>
            </a:extLst>
          </p:cNvPr>
          <p:cNvSpPr>
            <a:spLocks noChangeArrowheads="1"/>
          </p:cNvSpPr>
          <p:nvPr/>
        </p:nvSpPr>
        <p:spPr bwMode="gray">
          <a:xfrm>
            <a:off x="1689946" y="301183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83" name="Oval 760">
            <a:extLst>
              <a:ext uri="{FF2B5EF4-FFF2-40B4-BE49-F238E27FC236}">
                <a16:creationId xmlns:a16="http://schemas.microsoft.com/office/drawing/2014/main" id="{8BD23D11-5D92-4BE4-BE48-B4B3FE605E9F}"/>
              </a:ext>
            </a:extLst>
          </p:cNvPr>
          <p:cNvSpPr>
            <a:spLocks noChangeArrowheads="1"/>
          </p:cNvSpPr>
          <p:nvPr/>
        </p:nvSpPr>
        <p:spPr bwMode="gray">
          <a:xfrm>
            <a:off x="3644019" y="237365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84" name="Oval 761">
            <a:extLst>
              <a:ext uri="{FF2B5EF4-FFF2-40B4-BE49-F238E27FC236}">
                <a16:creationId xmlns:a16="http://schemas.microsoft.com/office/drawing/2014/main" id="{97DB0075-CE76-427A-96DB-E7E620B29E16}"/>
              </a:ext>
            </a:extLst>
          </p:cNvPr>
          <p:cNvSpPr>
            <a:spLocks noChangeArrowheads="1"/>
          </p:cNvSpPr>
          <p:nvPr/>
        </p:nvSpPr>
        <p:spPr bwMode="gray">
          <a:xfrm>
            <a:off x="1798506" y="275059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85" name="Oval 762">
            <a:extLst>
              <a:ext uri="{FF2B5EF4-FFF2-40B4-BE49-F238E27FC236}">
                <a16:creationId xmlns:a16="http://schemas.microsoft.com/office/drawing/2014/main" id="{B94773FA-6A7D-4303-A4C4-9C1B54ED575B}"/>
              </a:ext>
            </a:extLst>
          </p:cNvPr>
          <p:cNvSpPr>
            <a:spLocks noChangeArrowheads="1"/>
          </p:cNvSpPr>
          <p:nvPr/>
        </p:nvSpPr>
        <p:spPr bwMode="gray">
          <a:xfrm>
            <a:off x="1735279" y="300945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86" name="Oval 763">
            <a:extLst>
              <a:ext uri="{FF2B5EF4-FFF2-40B4-BE49-F238E27FC236}">
                <a16:creationId xmlns:a16="http://schemas.microsoft.com/office/drawing/2014/main" id="{C6D19522-5A74-4B31-B701-DCDB76FC6EF2}"/>
              </a:ext>
            </a:extLst>
          </p:cNvPr>
          <p:cNvSpPr>
            <a:spLocks noChangeArrowheads="1"/>
          </p:cNvSpPr>
          <p:nvPr/>
        </p:nvSpPr>
        <p:spPr bwMode="gray">
          <a:xfrm>
            <a:off x="1587352" y="285199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87" name="Oval 764">
            <a:extLst>
              <a:ext uri="{FF2B5EF4-FFF2-40B4-BE49-F238E27FC236}">
                <a16:creationId xmlns:a16="http://schemas.microsoft.com/office/drawing/2014/main" id="{617C11FF-C93D-438E-8571-0F31093143BB}"/>
              </a:ext>
            </a:extLst>
          </p:cNvPr>
          <p:cNvSpPr>
            <a:spLocks noChangeArrowheads="1"/>
          </p:cNvSpPr>
          <p:nvPr/>
        </p:nvSpPr>
        <p:spPr bwMode="gray">
          <a:xfrm>
            <a:off x="1231849" y="225555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88" name="Oval 765">
            <a:extLst>
              <a:ext uri="{FF2B5EF4-FFF2-40B4-BE49-F238E27FC236}">
                <a16:creationId xmlns:a16="http://schemas.microsoft.com/office/drawing/2014/main" id="{B186B1B1-4A99-4315-8D34-4D98326AAC55}"/>
              </a:ext>
            </a:extLst>
          </p:cNvPr>
          <p:cNvSpPr>
            <a:spLocks noChangeArrowheads="1"/>
          </p:cNvSpPr>
          <p:nvPr/>
        </p:nvSpPr>
        <p:spPr bwMode="gray">
          <a:xfrm>
            <a:off x="3948224" y="214342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89" name="Oval 767">
            <a:extLst>
              <a:ext uri="{FF2B5EF4-FFF2-40B4-BE49-F238E27FC236}">
                <a16:creationId xmlns:a16="http://schemas.microsoft.com/office/drawing/2014/main" id="{99AC79B7-F88B-4097-B549-010AB7C55133}"/>
              </a:ext>
            </a:extLst>
          </p:cNvPr>
          <p:cNvSpPr>
            <a:spLocks noChangeArrowheads="1"/>
          </p:cNvSpPr>
          <p:nvPr/>
        </p:nvSpPr>
        <p:spPr bwMode="gray">
          <a:xfrm>
            <a:off x="3797911" y="238438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90" name="Oval 768">
            <a:extLst>
              <a:ext uri="{FF2B5EF4-FFF2-40B4-BE49-F238E27FC236}">
                <a16:creationId xmlns:a16="http://schemas.microsoft.com/office/drawing/2014/main" id="{ED9EB2F8-A030-4B11-867D-0BFB1C4553E4}"/>
              </a:ext>
            </a:extLst>
          </p:cNvPr>
          <p:cNvSpPr>
            <a:spLocks noChangeArrowheads="1"/>
          </p:cNvSpPr>
          <p:nvPr/>
        </p:nvSpPr>
        <p:spPr bwMode="gray">
          <a:xfrm>
            <a:off x="4875157" y="315259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91" name="Oval 769">
            <a:extLst>
              <a:ext uri="{FF2B5EF4-FFF2-40B4-BE49-F238E27FC236}">
                <a16:creationId xmlns:a16="http://schemas.microsoft.com/office/drawing/2014/main" id="{074F2AE6-18E6-4317-9E51-4C153C445B11}"/>
              </a:ext>
            </a:extLst>
          </p:cNvPr>
          <p:cNvSpPr>
            <a:spLocks noChangeArrowheads="1"/>
          </p:cNvSpPr>
          <p:nvPr/>
        </p:nvSpPr>
        <p:spPr bwMode="gray">
          <a:xfrm>
            <a:off x="6244678" y="284722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92" name="Oval 770">
            <a:extLst>
              <a:ext uri="{FF2B5EF4-FFF2-40B4-BE49-F238E27FC236}">
                <a16:creationId xmlns:a16="http://schemas.microsoft.com/office/drawing/2014/main" id="{764C1EBC-ED95-408E-8DD9-F246913A54A6}"/>
              </a:ext>
            </a:extLst>
          </p:cNvPr>
          <p:cNvSpPr>
            <a:spLocks noChangeArrowheads="1"/>
          </p:cNvSpPr>
          <p:nvPr/>
        </p:nvSpPr>
        <p:spPr bwMode="gray">
          <a:xfrm>
            <a:off x="3640440" y="233905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93" name="Oval 771">
            <a:extLst>
              <a:ext uri="{FF2B5EF4-FFF2-40B4-BE49-F238E27FC236}">
                <a16:creationId xmlns:a16="http://schemas.microsoft.com/office/drawing/2014/main" id="{C12C4F0D-0356-4394-9F9D-F065989A05C8}"/>
              </a:ext>
            </a:extLst>
          </p:cNvPr>
          <p:cNvSpPr>
            <a:spLocks noChangeArrowheads="1"/>
          </p:cNvSpPr>
          <p:nvPr/>
        </p:nvSpPr>
        <p:spPr bwMode="gray">
          <a:xfrm>
            <a:off x="1231849" y="225555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94" name="Oval 772">
            <a:extLst>
              <a:ext uri="{FF2B5EF4-FFF2-40B4-BE49-F238E27FC236}">
                <a16:creationId xmlns:a16="http://schemas.microsoft.com/office/drawing/2014/main" id="{109EDFF8-21EA-4A6A-A14F-CFB0004207CF}"/>
              </a:ext>
            </a:extLst>
          </p:cNvPr>
          <p:cNvSpPr>
            <a:spLocks noChangeArrowheads="1"/>
          </p:cNvSpPr>
          <p:nvPr/>
        </p:nvSpPr>
        <p:spPr bwMode="gray">
          <a:xfrm>
            <a:off x="1291496" y="218159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95" name="Oval 773">
            <a:extLst>
              <a:ext uri="{FF2B5EF4-FFF2-40B4-BE49-F238E27FC236}">
                <a16:creationId xmlns:a16="http://schemas.microsoft.com/office/drawing/2014/main" id="{1502F3E0-972F-4B5C-BBC8-B6433CBD4C4A}"/>
              </a:ext>
            </a:extLst>
          </p:cNvPr>
          <p:cNvSpPr>
            <a:spLocks noChangeArrowheads="1"/>
          </p:cNvSpPr>
          <p:nvPr/>
        </p:nvSpPr>
        <p:spPr bwMode="gray">
          <a:xfrm>
            <a:off x="5533671" y="259910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96" name="Oval 774">
            <a:extLst>
              <a:ext uri="{FF2B5EF4-FFF2-40B4-BE49-F238E27FC236}">
                <a16:creationId xmlns:a16="http://schemas.microsoft.com/office/drawing/2014/main" id="{66F39DDF-68E1-45FA-9636-0C326FB90F12}"/>
              </a:ext>
            </a:extLst>
          </p:cNvPr>
          <p:cNvSpPr>
            <a:spLocks noChangeArrowheads="1"/>
          </p:cNvSpPr>
          <p:nvPr/>
        </p:nvSpPr>
        <p:spPr bwMode="gray">
          <a:xfrm>
            <a:off x="6219624" y="284960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97" name="Oval 775">
            <a:extLst>
              <a:ext uri="{FF2B5EF4-FFF2-40B4-BE49-F238E27FC236}">
                <a16:creationId xmlns:a16="http://schemas.microsoft.com/office/drawing/2014/main" id="{5ADDDF82-DC18-42D5-9BC1-E9A302074595}"/>
              </a:ext>
            </a:extLst>
          </p:cNvPr>
          <p:cNvSpPr>
            <a:spLocks noChangeArrowheads="1"/>
          </p:cNvSpPr>
          <p:nvPr/>
        </p:nvSpPr>
        <p:spPr bwMode="gray">
          <a:xfrm>
            <a:off x="6429586" y="283767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98" name="Oval 779">
            <a:extLst>
              <a:ext uri="{FF2B5EF4-FFF2-40B4-BE49-F238E27FC236}">
                <a16:creationId xmlns:a16="http://schemas.microsoft.com/office/drawing/2014/main" id="{3A8029DF-D1A7-4877-B308-78E0C6753A39}"/>
              </a:ext>
            </a:extLst>
          </p:cNvPr>
          <p:cNvSpPr>
            <a:spLocks noChangeArrowheads="1"/>
          </p:cNvSpPr>
          <p:nvPr/>
        </p:nvSpPr>
        <p:spPr bwMode="gray">
          <a:xfrm>
            <a:off x="4844141" y="315856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99" name="Oval 780">
            <a:extLst>
              <a:ext uri="{FF2B5EF4-FFF2-40B4-BE49-F238E27FC236}">
                <a16:creationId xmlns:a16="http://schemas.microsoft.com/office/drawing/2014/main" id="{6BC65830-2E75-4D47-A61F-96A936C98EEE}"/>
              </a:ext>
            </a:extLst>
          </p:cNvPr>
          <p:cNvSpPr>
            <a:spLocks noChangeArrowheads="1"/>
          </p:cNvSpPr>
          <p:nvPr/>
        </p:nvSpPr>
        <p:spPr bwMode="gray">
          <a:xfrm>
            <a:off x="3933909" y="260387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00" name="Oval 781">
            <a:extLst>
              <a:ext uri="{FF2B5EF4-FFF2-40B4-BE49-F238E27FC236}">
                <a16:creationId xmlns:a16="http://schemas.microsoft.com/office/drawing/2014/main" id="{00310E86-D0B2-4757-8D3D-54F6BAA4B4F9}"/>
              </a:ext>
            </a:extLst>
          </p:cNvPr>
          <p:cNvSpPr>
            <a:spLocks noChangeArrowheads="1"/>
          </p:cNvSpPr>
          <p:nvPr/>
        </p:nvSpPr>
        <p:spPr bwMode="gray">
          <a:xfrm>
            <a:off x="1400057" y="288539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01" name="Oval 782">
            <a:extLst>
              <a:ext uri="{FF2B5EF4-FFF2-40B4-BE49-F238E27FC236}">
                <a16:creationId xmlns:a16="http://schemas.microsoft.com/office/drawing/2014/main" id="{2DDB3DE4-C588-4EE4-A20A-A15E06DC9A78}"/>
              </a:ext>
            </a:extLst>
          </p:cNvPr>
          <p:cNvSpPr>
            <a:spLocks noChangeArrowheads="1"/>
          </p:cNvSpPr>
          <p:nvPr/>
        </p:nvSpPr>
        <p:spPr bwMode="gray">
          <a:xfrm>
            <a:off x="3791947" y="237722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02" name="Oval 783">
            <a:extLst>
              <a:ext uri="{FF2B5EF4-FFF2-40B4-BE49-F238E27FC236}">
                <a16:creationId xmlns:a16="http://schemas.microsoft.com/office/drawing/2014/main" id="{0CA0D249-F338-4453-BAA0-37298229970E}"/>
              </a:ext>
            </a:extLst>
          </p:cNvPr>
          <p:cNvSpPr>
            <a:spLocks noChangeArrowheads="1"/>
          </p:cNvSpPr>
          <p:nvPr/>
        </p:nvSpPr>
        <p:spPr bwMode="gray">
          <a:xfrm>
            <a:off x="3644019" y="237365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03" name="Oval 785">
            <a:extLst>
              <a:ext uri="{FF2B5EF4-FFF2-40B4-BE49-F238E27FC236}">
                <a16:creationId xmlns:a16="http://schemas.microsoft.com/office/drawing/2014/main" id="{063D87CB-C5B6-4CDC-B04A-999ED81E4CE0}"/>
              </a:ext>
            </a:extLst>
          </p:cNvPr>
          <p:cNvSpPr>
            <a:spLocks noChangeArrowheads="1"/>
          </p:cNvSpPr>
          <p:nvPr/>
        </p:nvSpPr>
        <p:spPr bwMode="gray">
          <a:xfrm>
            <a:off x="5291499" y="323490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04" name="Oval 786">
            <a:extLst>
              <a:ext uri="{FF2B5EF4-FFF2-40B4-BE49-F238E27FC236}">
                <a16:creationId xmlns:a16="http://schemas.microsoft.com/office/drawing/2014/main" id="{DA940003-2997-4723-9F30-122F4DAA44B8}"/>
              </a:ext>
            </a:extLst>
          </p:cNvPr>
          <p:cNvSpPr>
            <a:spLocks noChangeArrowheads="1"/>
          </p:cNvSpPr>
          <p:nvPr/>
        </p:nvSpPr>
        <p:spPr bwMode="gray">
          <a:xfrm>
            <a:off x="4938383" y="320389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05" name="Oval 787">
            <a:extLst>
              <a:ext uri="{FF2B5EF4-FFF2-40B4-BE49-F238E27FC236}">
                <a16:creationId xmlns:a16="http://schemas.microsoft.com/office/drawing/2014/main" id="{1B2D4593-D5C8-43CA-806A-9646760E4C8C}"/>
              </a:ext>
            </a:extLst>
          </p:cNvPr>
          <p:cNvSpPr>
            <a:spLocks noChangeArrowheads="1"/>
          </p:cNvSpPr>
          <p:nvPr/>
        </p:nvSpPr>
        <p:spPr bwMode="gray">
          <a:xfrm>
            <a:off x="4397970" y="302376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06" name="Oval 790">
            <a:extLst>
              <a:ext uri="{FF2B5EF4-FFF2-40B4-BE49-F238E27FC236}">
                <a16:creationId xmlns:a16="http://schemas.microsoft.com/office/drawing/2014/main" id="{2A402E98-132A-48B3-9CAA-5343DDFEE653}"/>
              </a:ext>
            </a:extLst>
          </p:cNvPr>
          <p:cNvSpPr>
            <a:spLocks noChangeArrowheads="1"/>
          </p:cNvSpPr>
          <p:nvPr/>
        </p:nvSpPr>
        <p:spPr bwMode="gray">
          <a:xfrm>
            <a:off x="4271520" y="189292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07" name="Oval 791">
            <a:extLst>
              <a:ext uri="{FF2B5EF4-FFF2-40B4-BE49-F238E27FC236}">
                <a16:creationId xmlns:a16="http://schemas.microsoft.com/office/drawing/2014/main" id="{A3A7BAE3-63FE-4EDF-BD08-E24320E3D511}"/>
              </a:ext>
            </a:extLst>
          </p:cNvPr>
          <p:cNvSpPr>
            <a:spLocks noChangeArrowheads="1"/>
          </p:cNvSpPr>
          <p:nvPr/>
        </p:nvSpPr>
        <p:spPr bwMode="gray">
          <a:xfrm>
            <a:off x="4133134" y="174023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08" name="Oval 792">
            <a:extLst>
              <a:ext uri="{FF2B5EF4-FFF2-40B4-BE49-F238E27FC236}">
                <a16:creationId xmlns:a16="http://schemas.microsoft.com/office/drawing/2014/main" id="{DD9A9216-4F63-45D1-9903-78C5B0CE9B61}"/>
              </a:ext>
            </a:extLst>
          </p:cNvPr>
          <p:cNvSpPr>
            <a:spLocks noChangeArrowheads="1"/>
          </p:cNvSpPr>
          <p:nvPr/>
        </p:nvSpPr>
        <p:spPr bwMode="gray">
          <a:xfrm>
            <a:off x="3633282" y="212076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09" name="Oval 795">
            <a:extLst>
              <a:ext uri="{FF2B5EF4-FFF2-40B4-BE49-F238E27FC236}">
                <a16:creationId xmlns:a16="http://schemas.microsoft.com/office/drawing/2014/main" id="{B00F0A69-0637-4561-B466-FB0B8497FE28}"/>
              </a:ext>
            </a:extLst>
          </p:cNvPr>
          <p:cNvSpPr>
            <a:spLocks noChangeArrowheads="1"/>
          </p:cNvSpPr>
          <p:nvPr/>
        </p:nvSpPr>
        <p:spPr bwMode="gray">
          <a:xfrm>
            <a:off x="2192184" y="425719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10" name="Oval 796">
            <a:extLst>
              <a:ext uri="{FF2B5EF4-FFF2-40B4-BE49-F238E27FC236}">
                <a16:creationId xmlns:a16="http://schemas.microsoft.com/office/drawing/2014/main" id="{664225C4-426C-4556-BCC4-D0150A442707}"/>
              </a:ext>
            </a:extLst>
          </p:cNvPr>
          <p:cNvSpPr>
            <a:spLocks noChangeArrowheads="1"/>
          </p:cNvSpPr>
          <p:nvPr/>
        </p:nvSpPr>
        <p:spPr bwMode="gray">
          <a:xfrm>
            <a:off x="3607037" y="220426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11" name="Oval 797">
            <a:extLst>
              <a:ext uri="{FF2B5EF4-FFF2-40B4-BE49-F238E27FC236}">
                <a16:creationId xmlns:a16="http://schemas.microsoft.com/office/drawing/2014/main" id="{1BB3CA72-50BC-49D4-908E-3ED7E49436BB}"/>
              </a:ext>
            </a:extLst>
          </p:cNvPr>
          <p:cNvSpPr>
            <a:spLocks noChangeArrowheads="1"/>
          </p:cNvSpPr>
          <p:nvPr/>
        </p:nvSpPr>
        <p:spPr bwMode="gray">
          <a:xfrm>
            <a:off x="6525023" y="394108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12" name="Oval 798">
            <a:extLst>
              <a:ext uri="{FF2B5EF4-FFF2-40B4-BE49-F238E27FC236}">
                <a16:creationId xmlns:a16="http://schemas.microsoft.com/office/drawing/2014/main" id="{9DD1C44C-3973-41FD-806C-61CCC6400E79}"/>
              </a:ext>
            </a:extLst>
          </p:cNvPr>
          <p:cNvSpPr>
            <a:spLocks noChangeArrowheads="1"/>
          </p:cNvSpPr>
          <p:nvPr/>
        </p:nvSpPr>
        <p:spPr bwMode="gray">
          <a:xfrm>
            <a:off x="6794632" y="455541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13" name="Oval 799">
            <a:extLst>
              <a:ext uri="{FF2B5EF4-FFF2-40B4-BE49-F238E27FC236}">
                <a16:creationId xmlns:a16="http://schemas.microsoft.com/office/drawing/2014/main" id="{8D898AC9-8210-4504-9AC6-47D6F461AD24}"/>
              </a:ext>
            </a:extLst>
          </p:cNvPr>
          <p:cNvSpPr>
            <a:spLocks noChangeArrowheads="1"/>
          </p:cNvSpPr>
          <p:nvPr/>
        </p:nvSpPr>
        <p:spPr bwMode="gray">
          <a:xfrm>
            <a:off x="6974769" y="443732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14" name="Oval 800">
            <a:extLst>
              <a:ext uri="{FF2B5EF4-FFF2-40B4-BE49-F238E27FC236}">
                <a16:creationId xmlns:a16="http://schemas.microsoft.com/office/drawing/2014/main" id="{515FEEA4-7275-4EF7-AE64-B29841F3D7E4}"/>
              </a:ext>
            </a:extLst>
          </p:cNvPr>
          <p:cNvSpPr>
            <a:spLocks noChangeArrowheads="1"/>
          </p:cNvSpPr>
          <p:nvPr/>
        </p:nvSpPr>
        <p:spPr bwMode="gray">
          <a:xfrm>
            <a:off x="6770772" y="381821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15" name="Oval 802">
            <a:extLst>
              <a:ext uri="{FF2B5EF4-FFF2-40B4-BE49-F238E27FC236}">
                <a16:creationId xmlns:a16="http://schemas.microsoft.com/office/drawing/2014/main" id="{94D10878-437D-4EE6-9483-52B6E928A98D}"/>
              </a:ext>
            </a:extLst>
          </p:cNvPr>
          <p:cNvSpPr>
            <a:spLocks noChangeArrowheads="1"/>
          </p:cNvSpPr>
          <p:nvPr/>
        </p:nvSpPr>
        <p:spPr bwMode="gray">
          <a:xfrm>
            <a:off x="2814910" y="417130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16" name="Oval 807">
            <a:extLst>
              <a:ext uri="{FF2B5EF4-FFF2-40B4-BE49-F238E27FC236}">
                <a16:creationId xmlns:a16="http://schemas.microsoft.com/office/drawing/2014/main" id="{D185BB29-304F-4EF6-9E50-970E33EB7317}"/>
              </a:ext>
            </a:extLst>
          </p:cNvPr>
          <p:cNvSpPr>
            <a:spLocks noChangeArrowheads="1"/>
          </p:cNvSpPr>
          <p:nvPr/>
        </p:nvSpPr>
        <p:spPr bwMode="gray">
          <a:xfrm>
            <a:off x="3681000" y="271123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17" name="Oval 808">
            <a:extLst>
              <a:ext uri="{FF2B5EF4-FFF2-40B4-BE49-F238E27FC236}">
                <a16:creationId xmlns:a16="http://schemas.microsoft.com/office/drawing/2014/main" id="{6DE59B5A-C595-4565-A07D-0C744C478435}"/>
              </a:ext>
            </a:extLst>
          </p:cNvPr>
          <p:cNvSpPr>
            <a:spLocks noChangeArrowheads="1"/>
          </p:cNvSpPr>
          <p:nvPr/>
        </p:nvSpPr>
        <p:spPr bwMode="gray">
          <a:xfrm>
            <a:off x="3635668" y="273986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18" name="Oval 810">
            <a:extLst>
              <a:ext uri="{FF2B5EF4-FFF2-40B4-BE49-F238E27FC236}">
                <a16:creationId xmlns:a16="http://schemas.microsoft.com/office/drawing/2014/main" id="{EE6647B7-3BD4-4BE6-A4B4-BD0654BB45F7}"/>
              </a:ext>
            </a:extLst>
          </p:cNvPr>
          <p:cNvSpPr>
            <a:spLocks noChangeArrowheads="1"/>
          </p:cNvSpPr>
          <p:nvPr/>
        </p:nvSpPr>
        <p:spPr bwMode="gray">
          <a:xfrm>
            <a:off x="4052013" y="204918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19" name="Oval 811">
            <a:extLst>
              <a:ext uri="{FF2B5EF4-FFF2-40B4-BE49-F238E27FC236}">
                <a16:creationId xmlns:a16="http://schemas.microsoft.com/office/drawing/2014/main" id="{35F2C270-2331-4E10-B502-F42A56348D8A}"/>
              </a:ext>
            </a:extLst>
          </p:cNvPr>
          <p:cNvSpPr>
            <a:spLocks noChangeArrowheads="1"/>
          </p:cNvSpPr>
          <p:nvPr/>
        </p:nvSpPr>
        <p:spPr bwMode="gray">
          <a:xfrm>
            <a:off x="3796719" y="238438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20" name="Oval 812">
            <a:extLst>
              <a:ext uri="{FF2B5EF4-FFF2-40B4-BE49-F238E27FC236}">
                <a16:creationId xmlns:a16="http://schemas.microsoft.com/office/drawing/2014/main" id="{858A423A-21D8-4B4E-9FAA-7DF586B13EBF}"/>
              </a:ext>
            </a:extLst>
          </p:cNvPr>
          <p:cNvSpPr>
            <a:spLocks noChangeArrowheads="1"/>
          </p:cNvSpPr>
          <p:nvPr/>
        </p:nvSpPr>
        <p:spPr bwMode="gray">
          <a:xfrm>
            <a:off x="1547985" y="296770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21" name="Oval 813">
            <a:extLst>
              <a:ext uri="{FF2B5EF4-FFF2-40B4-BE49-F238E27FC236}">
                <a16:creationId xmlns:a16="http://schemas.microsoft.com/office/drawing/2014/main" id="{DEEB98D9-90E2-4B15-A81F-63DC5F26A69D}"/>
              </a:ext>
            </a:extLst>
          </p:cNvPr>
          <p:cNvSpPr>
            <a:spLocks noChangeArrowheads="1"/>
          </p:cNvSpPr>
          <p:nvPr/>
        </p:nvSpPr>
        <p:spPr bwMode="gray">
          <a:xfrm>
            <a:off x="6169519" y="286034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22" name="Oval 814">
            <a:extLst>
              <a:ext uri="{FF2B5EF4-FFF2-40B4-BE49-F238E27FC236}">
                <a16:creationId xmlns:a16="http://schemas.microsoft.com/office/drawing/2014/main" id="{A2033AFC-4170-4EAA-A90A-2AF3BF07C6F8}"/>
              </a:ext>
            </a:extLst>
          </p:cNvPr>
          <p:cNvSpPr>
            <a:spLocks noChangeArrowheads="1"/>
          </p:cNvSpPr>
          <p:nvPr/>
        </p:nvSpPr>
        <p:spPr bwMode="gray">
          <a:xfrm>
            <a:off x="4092574" y="160544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23" name="Oval 815">
            <a:extLst>
              <a:ext uri="{FF2B5EF4-FFF2-40B4-BE49-F238E27FC236}">
                <a16:creationId xmlns:a16="http://schemas.microsoft.com/office/drawing/2014/main" id="{793C1E89-D6A4-4BF4-A527-97B3AF428458}"/>
              </a:ext>
            </a:extLst>
          </p:cNvPr>
          <p:cNvSpPr>
            <a:spLocks noChangeArrowheads="1"/>
          </p:cNvSpPr>
          <p:nvPr/>
        </p:nvSpPr>
        <p:spPr bwMode="gray">
          <a:xfrm>
            <a:off x="3800297" y="241062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24" name="Oval 816">
            <a:extLst>
              <a:ext uri="{FF2B5EF4-FFF2-40B4-BE49-F238E27FC236}">
                <a16:creationId xmlns:a16="http://schemas.microsoft.com/office/drawing/2014/main" id="{1B3A1FB0-953F-40DF-8BFB-E7FC4E9C3A87}"/>
              </a:ext>
            </a:extLst>
          </p:cNvPr>
          <p:cNvSpPr>
            <a:spLocks noChangeArrowheads="1"/>
          </p:cNvSpPr>
          <p:nvPr/>
        </p:nvSpPr>
        <p:spPr bwMode="gray">
          <a:xfrm>
            <a:off x="4040083" y="194063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25" name="Oval 817">
            <a:extLst>
              <a:ext uri="{FF2B5EF4-FFF2-40B4-BE49-F238E27FC236}">
                <a16:creationId xmlns:a16="http://schemas.microsoft.com/office/drawing/2014/main" id="{D2F469D0-F06C-497D-BAF2-FBA11C616099}"/>
              </a:ext>
            </a:extLst>
          </p:cNvPr>
          <p:cNvSpPr>
            <a:spLocks noChangeArrowheads="1"/>
          </p:cNvSpPr>
          <p:nvPr/>
        </p:nvSpPr>
        <p:spPr bwMode="gray">
          <a:xfrm>
            <a:off x="3727527" y="272196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26" name="Oval 819">
            <a:extLst>
              <a:ext uri="{FF2B5EF4-FFF2-40B4-BE49-F238E27FC236}">
                <a16:creationId xmlns:a16="http://schemas.microsoft.com/office/drawing/2014/main" id="{E5B140E0-7912-4D7B-B472-B78D7F8C0C10}"/>
              </a:ext>
            </a:extLst>
          </p:cNvPr>
          <p:cNvSpPr>
            <a:spLocks noChangeArrowheads="1"/>
          </p:cNvSpPr>
          <p:nvPr/>
        </p:nvSpPr>
        <p:spPr bwMode="gray">
          <a:xfrm>
            <a:off x="3727527" y="272196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27" name="Oval 820">
            <a:extLst>
              <a:ext uri="{FF2B5EF4-FFF2-40B4-BE49-F238E27FC236}">
                <a16:creationId xmlns:a16="http://schemas.microsoft.com/office/drawing/2014/main" id="{CEC5A0EC-4638-4EF2-A41A-7932BCB146C5}"/>
              </a:ext>
            </a:extLst>
          </p:cNvPr>
          <p:cNvSpPr>
            <a:spLocks noChangeArrowheads="1"/>
          </p:cNvSpPr>
          <p:nvPr/>
        </p:nvSpPr>
        <p:spPr bwMode="gray">
          <a:xfrm>
            <a:off x="3613003" y="272554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28" name="Oval 821">
            <a:extLst>
              <a:ext uri="{FF2B5EF4-FFF2-40B4-BE49-F238E27FC236}">
                <a16:creationId xmlns:a16="http://schemas.microsoft.com/office/drawing/2014/main" id="{9DC4B9E6-2901-4043-AAA8-AA21B6D8CDA8}"/>
              </a:ext>
            </a:extLst>
          </p:cNvPr>
          <p:cNvSpPr>
            <a:spLocks noChangeArrowheads="1"/>
          </p:cNvSpPr>
          <p:nvPr/>
        </p:nvSpPr>
        <p:spPr bwMode="gray">
          <a:xfrm>
            <a:off x="3914822" y="219352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29" name="Oval 822">
            <a:extLst>
              <a:ext uri="{FF2B5EF4-FFF2-40B4-BE49-F238E27FC236}">
                <a16:creationId xmlns:a16="http://schemas.microsoft.com/office/drawing/2014/main" id="{FF90FAE9-0758-4ECE-A2D5-5B731D977A67}"/>
              </a:ext>
            </a:extLst>
          </p:cNvPr>
          <p:cNvSpPr>
            <a:spLocks noChangeArrowheads="1"/>
          </p:cNvSpPr>
          <p:nvPr/>
        </p:nvSpPr>
        <p:spPr bwMode="gray">
          <a:xfrm>
            <a:off x="6694424" y="438841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30" name="Oval 823">
            <a:extLst>
              <a:ext uri="{FF2B5EF4-FFF2-40B4-BE49-F238E27FC236}">
                <a16:creationId xmlns:a16="http://schemas.microsoft.com/office/drawing/2014/main" id="{1DB37BDD-60DF-42DF-B85B-7AD0425E54EC}"/>
              </a:ext>
            </a:extLst>
          </p:cNvPr>
          <p:cNvSpPr>
            <a:spLocks noChangeArrowheads="1"/>
          </p:cNvSpPr>
          <p:nvPr/>
        </p:nvSpPr>
        <p:spPr bwMode="gray">
          <a:xfrm>
            <a:off x="3781209" y="241301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31" name="Oval 824">
            <a:extLst>
              <a:ext uri="{FF2B5EF4-FFF2-40B4-BE49-F238E27FC236}">
                <a16:creationId xmlns:a16="http://schemas.microsoft.com/office/drawing/2014/main" id="{AD669FC8-98D5-4938-8955-6CAFFEB26A44}"/>
              </a:ext>
            </a:extLst>
          </p:cNvPr>
          <p:cNvSpPr>
            <a:spLocks noChangeArrowheads="1"/>
          </p:cNvSpPr>
          <p:nvPr/>
        </p:nvSpPr>
        <p:spPr bwMode="gray">
          <a:xfrm>
            <a:off x="4511302" y="240466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32" name="Oval 825">
            <a:extLst>
              <a:ext uri="{FF2B5EF4-FFF2-40B4-BE49-F238E27FC236}">
                <a16:creationId xmlns:a16="http://schemas.microsoft.com/office/drawing/2014/main" id="{4A84E4CE-4F5E-44B0-AF13-E31110B883E3}"/>
              </a:ext>
            </a:extLst>
          </p:cNvPr>
          <p:cNvSpPr>
            <a:spLocks noChangeArrowheads="1"/>
          </p:cNvSpPr>
          <p:nvPr/>
        </p:nvSpPr>
        <p:spPr bwMode="gray">
          <a:xfrm>
            <a:off x="3908857" y="235933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33" name="Oval 826">
            <a:extLst>
              <a:ext uri="{FF2B5EF4-FFF2-40B4-BE49-F238E27FC236}">
                <a16:creationId xmlns:a16="http://schemas.microsoft.com/office/drawing/2014/main" id="{71D4887E-D2E5-47BC-B67A-4BC19EA82FAA}"/>
              </a:ext>
            </a:extLst>
          </p:cNvPr>
          <p:cNvSpPr>
            <a:spLocks noChangeArrowheads="1"/>
          </p:cNvSpPr>
          <p:nvPr/>
        </p:nvSpPr>
        <p:spPr bwMode="gray">
          <a:xfrm>
            <a:off x="3894541" y="222215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34" name="Oval 827">
            <a:extLst>
              <a:ext uri="{FF2B5EF4-FFF2-40B4-BE49-F238E27FC236}">
                <a16:creationId xmlns:a16="http://schemas.microsoft.com/office/drawing/2014/main" id="{8331F064-7146-4701-A25D-4FB6B609C0C7}"/>
              </a:ext>
            </a:extLst>
          </p:cNvPr>
          <p:cNvSpPr>
            <a:spLocks noChangeArrowheads="1"/>
          </p:cNvSpPr>
          <p:nvPr/>
        </p:nvSpPr>
        <p:spPr bwMode="gray">
          <a:xfrm>
            <a:off x="3510408" y="280785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35" name="Oval 828">
            <a:extLst>
              <a:ext uri="{FF2B5EF4-FFF2-40B4-BE49-F238E27FC236}">
                <a16:creationId xmlns:a16="http://schemas.microsoft.com/office/drawing/2014/main" id="{84731384-1B07-4F29-AA0C-3FB078A6FA28}"/>
              </a:ext>
            </a:extLst>
          </p:cNvPr>
          <p:cNvSpPr>
            <a:spLocks noChangeArrowheads="1"/>
          </p:cNvSpPr>
          <p:nvPr/>
        </p:nvSpPr>
        <p:spPr bwMode="gray">
          <a:xfrm>
            <a:off x="3858753" y="236172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36" name="Oval 829">
            <a:extLst>
              <a:ext uri="{FF2B5EF4-FFF2-40B4-BE49-F238E27FC236}">
                <a16:creationId xmlns:a16="http://schemas.microsoft.com/office/drawing/2014/main" id="{26DDC346-9DB2-4C40-8B08-8DCD3EB8791F}"/>
              </a:ext>
            </a:extLst>
          </p:cNvPr>
          <p:cNvSpPr>
            <a:spLocks noChangeArrowheads="1"/>
          </p:cNvSpPr>
          <p:nvPr/>
        </p:nvSpPr>
        <p:spPr bwMode="gray">
          <a:xfrm>
            <a:off x="6139697" y="318122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37" name="Oval 830">
            <a:extLst>
              <a:ext uri="{FF2B5EF4-FFF2-40B4-BE49-F238E27FC236}">
                <a16:creationId xmlns:a16="http://schemas.microsoft.com/office/drawing/2014/main" id="{4EFE9039-3B00-43DF-8F32-F7877945FE69}"/>
              </a:ext>
            </a:extLst>
          </p:cNvPr>
          <p:cNvSpPr>
            <a:spLocks noChangeArrowheads="1"/>
          </p:cNvSpPr>
          <p:nvPr/>
        </p:nvSpPr>
        <p:spPr bwMode="gray">
          <a:xfrm>
            <a:off x="2013241" y="272196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38" name="Oval 832">
            <a:extLst>
              <a:ext uri="{FF2B5EF4-FFF2-40B4-BE49-F238E27FC236}">
                <a16:creationId xmlns:a16="http://schemas.microsoft.com/office/drawing/2014/main" id="{C8A729DD-7BF1-40EA-A7AF-44EF0A37523D}"/>
              </a:ext>
            </a:extLst>
          </p:cNvPr>
          <p:cNvSpPr>
            <a:spLocks noChangeArrowheads="1"/>
          </p:cNvSpPr>
          <p:nvPr/>
        </p:nvSpPr>
        <p:spPr bwMode="gray">
          <a:xfrm>
            <a:off x="3970892" y="236529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39" name="Oval 833">
            <a:extLst>
              <a:ext uri="{FF2B5EF4-FFF2-40B4-BE49-F238E27FC236}">
                <a16:creationId xmlns:a16="http://schemas.microsoft.com/office/drawing/2014/main" id="{70F55096-68E4-43AB-9740-85BD3B290C38}"/>
              </a:ext>
            </a:extLst>
          </p:cNvPr>
          <p:cNvSpPr>
            <a:spLocks noChangeArrowheads="1"/>
          </p:cNvSpPr>
          <p:nvPr/>
        </p:nvSpPr>
        <p:spPr bwMode="gray">
          <a:xfrm>
            <a:off x="3493705" y="300467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40" name="Oval 834">
            <a:extLst>
              <a:ext uri="{FF2B5EF4-FFF2-40B4-BE49-F238E27FC236}">
                <a16:creationId xmlns:a16="http://schemas.microsoft.com/office/drawing/2014/main" id="{73ED3C90-DBBD-43AC-A38C-E35D91AA0326}"/>
              </a:ext>
            </a:extLst>
          </p:cNvPr>
          <p:cNvSpPr>
            <a:spLocks noChangeArrowheads="1"/>
          </p:cNvSpPr>
          <p:nvPr/>
        </p:nvSpPr>
        <p:spPr bwMode="gray">
          <a:xfrm>
            <a:off x="3919593" y="240108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41" name="Oval 835">
            <a:extLst>
              <a:ext uri="{FF2B5EF4-FFF2-40B4-BE49-F238E27FC236}">
                <a16:creationId xmlns:a16="http://schemas.microsoft.com/office/drawing/2014/main" id="{0132395E-19CA-43B5-8A51-4C9CB2BB4F21}"/>
              </a:ext>
            </a:extLst>
          </p:cNvPr>
          <p:cNvSpPr>
            <a:spLocks noChangeArrowheads="1"/>
          </p:cNvSpPr>
          <p:nvPr/>
        </p:nvSpPr>
        <p:spPr bwMode="gray">
          <a:xfrm>
            <a:off x="4643722" y="312754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42" name="Oval 836">
            <a:extLst>
              <a:ext uri="{FF2B5EF4-FFF2-40B4-BE49-F238E27FC236}">
                <a16:creationId xmlns:a16="http://schemas.microsoft.com/office/drawing/2014/main" id="{D0B92EB0-9F6A-40B2-A210-9ACF4F31E506}"/>
              </a:ext>
            </a:extLst>
          </p:cNvPr>
          <p:cNvSpPr>
            <a:spLocks noChangeArrowheads="1"/>
          </p:cNvSpPr>
          <p:nvPr/>
        </p:nvSpPr>
        <p:spPr bwMode="gray">
          <a:xfrm>
            <a:off x="4687861" y="320985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43" name="Oval 837">
            <a:extLst>
              <a:ext uri="{FF2B5EF4-FFF2-40B4-BE49-F238E27FC236}">
                <a16:creationId xmlns:a16="http://schemas.microsoft.com/office/drawing/2014/main" id="{36E6EA99-7035-4B81-955E-5BE4B97569DC}"/>
              </a:ext>
            </a:extLst>
          </p:cNvPr>
          <p:cNvSpPr>
            <a:spLocks noChangeArrowheads="1"/>
          </p:cNvSpPr>
          <p:nvPr/>
        </p:nvSpPr>
        <p:spPr bwMode="gray">
          <a:xfrm>
            <a:off x="4838174" y="315856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44" name="Oval 838">
            <a:extLst>
              <a:ext uri="{FF2B5EF4-FFF2-40B4-BE49-F238E27FC236}">
                <a16:creationId xmlns:a16="http://schemas.microsoft.com/office/drawing/2014/main" id="{7A248669-6235-4394-99D3-1A3B64985260}"/>
              </a:ext>
            </a:extLst>
          </p:cNvPr>
          <p:cNvSpPr>
            <a:spLocks noChangeArrowheads="1"/>
          </p:cNvSpPr>
          <p:nvPr/>
        </p:nvSpPr>
        <p:spPr bwMode="gray">
          <a:xfrm>
            <a:off x="4883507" y="314424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45" name="Oval 839">
            <a:extLst>
              <a:ext uri="{FF2B5EF4-FFF2-40B4-BE49-F238E27FC236}">
                <a16:creationId xmlns:a16="http://schemas.microsoft.com/office/drawing/2014/main" id="{00BF27A2-17B4-48FE-ACF8-C0906D024B3A}"/>
              </a:ext>
            </a:extLst>
          </p:cNvPr>
          <p:cNvSpPr>
            <a:spLocks noChangeArrowheads="1"/>
          </p:cNvSpPr>
          <p:nvPr/>
        </p:nvSpPr>
        <p:spPr bwMode="gray">
          <a:xfrm>
            <a:off x="3806263" y="237722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46" name="Oval 840">
            <a:extLst>
              <a:ext uri="{FF2B5EF4-FFF2-40B4-BE49-F238E27FC236}">
                <a16:creationId xmlns:a16="http://schemas.microsoft.com/office/drawing/2014/main" id="{42ACC161-5AAC-4477-AC5D-1E0459783810}"/>
              </a:ext>
            </a:extLst>
          </p:cNvPr>
          <p:cNvSpPr>
            <a:spLocks noChangeArrowheads="1"/>
          </p:cNvSpPr>
          <p:nvPr/>
        </p:nvSpPr>
        <p:spPr bwMode="gray">
          <a:xfrm>
            <a:off x="3870682" y="208736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47" name="Oval 841">
            <a:extLst>
              <a:ext uri="{FF2B5EF4-FFF2-40B4-BE49-F238E27FC236}">
                <a16:creationId xmlns:a16="http://schemas.microsoft.com/office/drawing/2014/main" id="{DD92AA67-F973-4E50-80C2-EFE6237D428F}"/>
              </a:ext>
            </a:extLst>
          </p:cNvPr>
          <p:cNvSpPr>
            <a:spLocks noChangeArrowheads="1"/>
          </p:cNvSpPr>
          <p:nvPr/>
        </p:nvSpPr>
        <p:spPr bwMode="gray">
          <a:xfrm>
            <a:off x="4392007" y="299275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48" name="Oval 843">
            <a:extLst>
              <a:ext uri="{FF2B5EF4-FFF2-40B4-BE49-F238E27FC236}">
                <a16:creationId xmlns:a16="http://schemas.microsoft.com/office/drawing/2014/main" id="{B1AA5A25-AE0B-43A4-A702-32FD94C77CC1}"/>
              </a:ext>
            </a:extLst>
          </p:cNvPr>
          <p:cNvSpPr>
            <a:spLocks noChangeArrowheads="1"/>
          </p:cNvSpPr>
          <p:nvPr/>
        </p:nvSpPr>
        <p:spPr bwMode="gray">
          <a:xfrm>
            <a:off x="1675632" y="301183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49" name="Oval 845">
            <a:extLst>
              <a:ext uri="{FF2B5EF4-FFF2-40B4-BE49-F238E27FC236}">
                <a16:creationId xmlns:a16="http://schemas.microsoft.com/office/drawing/2014/main" id="{6540D82E-F9B0-4C00-A124-3568C51FA541}"/>
              </a:ext>
            </a:extLst>
          </p:cNvPr>
          <p:cNvSpPr>
            <a:spLocks noChangeArrowheads="1"/>
          </p:cNvSpPr>
          <p:nvPr/>
        </p:nvSpPr>
        <p:spPr bwMode="gray">
          <a:xfrm>
            <a:off x="2108677" y="273151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50" name="Oval 848">
            <a:extLst>
              <a:ext uri="{FF2B5EF4-FFF2-40B4-BE49-F238E27FC236}">
                <a16:creationId xmlns:a16="http://schemas.microsoft.com/office/drawing/2014/main" id="{4C5493AA-4B27-44CC-8415-10F9CC3DEF6E}"/>
              </a:ext>
            </a:extLst>
          </p:cNvPr>
          <p:cNvSpPr>
            <a:spLocks noChangeArrowheads="1"/>
          </p:cNvSpPr>
          <p:nvPr/>
        </p:nvSpPr>
        <p:spPr bwMode="gray">
          <a:xfrm>
            <a:off x="2106290" y="273389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51" name="Oval 849">
            <a:extLst>
              <a:ext uri="{FF2B5EF4-FFF2-40B4-BE49-F238E27FC236}">
                <a16:creationId xmlns:a16="http://schemas.microsoft.com/office/drawing/2014/main" id="{14830FC3-8D28-4381-8126-D9BC9D4D4480}"/>
              </a:ext>
            </a:extLst>
          </p:cNvPr>
          <p:cNvSpPr>
            <a:spLocks noChangeArrowheads="1"/>
          </p:cNvSpPr>
          <p:nvPr/>
        </p:nvSpPr>
        <p:spPr bwMode="gray">
          <a:xfrm>
            <a:off x="2088397" y="273151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52" name="Oval 850">
            <a:extLst>
              <a:ext uri="{FF2B5EF4-FFF2-40B4-BE49-F238E27FC236}">
                <a16:creationId xmlns:a16="http://schemas.microsoft.com/office/drawing/2014/main" id="{DA52D9CE-C2D5-47B9-AF43-554442FBD6FF}"/>
              </a:ext>
            </a:extLst>
          </p:cNvPr>
          <p:cNvSpPr>
            <a:spLocks noChangeArrowheads="1"/>
          </p:cNvSpPr>
          <p:nvPr/>
        </p:nvSpPr>
        <p:spPr bwMode="gray">
          <a:xfrm>
            <a:off x="5324904" y="309653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53" name="Oval 852">
            <a:extLst>
              <a:ext uri="{FF2B5EF4-FFF2-40B4-BE49-F238E27FC236}">
                <a16:creationId xmlns:a16="http://schemas.microsoft.com/office/drawing/2014/main" id="{5DB8930B-A313-476C-9C2B-D5B58278E470}"/>
              </a:ext>
            </a:extLst>
          </p:cNvPr>
          <p:cNvSpPr>
            <a:spLocks noChangeArrowheads="1"/>
          </p:cNvSpPr>
          <p:nvPr/>
        </p:nvSpPr>
        <p:spPr bwMode="gray">
          <a:xfrm>
            <a:off x="6714705" y="283529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54" name="Oval 855">
            <a:extLst>
              <a:ext uri="{FF2B5EF4-FFF2-40B4-BE49-F238E27FC236}">
                <a16:creationId xmlns:a16="http://schemas.microsoft.com/office/drawing/2014/main" id="{18E6B898-D21E-4796-B87F-AA8C4B1C3206}"/>
              </a:ext>
            </a:extLst>
          </p:cNvPr>
          <p:cNvSpPr>
            <a:spLocks noChangeArrowheads="1"/>
          </p:cNvSpPr>
          <p:nvPr/>
        </p:nvSpPr>
        <p:spPr bwMode="gray">
          <a:xfrm>
            <a:off x="1642228" y="302018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55" name="Oval 856">
            <a:extLst>
              <a:ext uri="{FF2B5EF4-FFF2-40B4-BE49-F238E27FC236}">
                <a16:creationId xmlns:a16="http://schemas.microsoft.com/office/drawing/2014/main" id="{CBBF5A0D-7EAF-4A1E-BB52-ACD7052F8872}"/>
              </a:ext>
            </a:extLst>
          </p:cNvPr>
          <p:cNvSpPr>
            <a:spLocks noChangeArrowheads="1"/>
          </p:cNvSpPr>
          <p:nvPr/>
        </p:nvSpPr>
        <p:spPr bwMode="gray">
          <a:xfrm>
            <a:off x="1815207" y="276729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56" name="Oval 857">
            <a:extLst>
              <a:ext uri="{FF2B5EF4-FFF2-40B4-BE49-F238E27FC236}">
                <a16:creationId xmlns:a16="http://schemas.microsoft.com/office/drawing/2014/main" id="{7212FD26-C681-46A8-A3B5-79EFB322F872}"/>
              </a:ext>
            </a:extLst>
          </p:cNvPr>
          <p:cNvSpPr>
            <a:spLocks noChangeArrowheads="1"/>
          </p:cNvSpPr>
          <p:nvPr/>
        </p:nvSpPr>
        <p:spPr bwMode="gray">
          <a:xfrm>
            <a:off x="3781209" y="241301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57" name="Oval 858">
            <a:extLst>
              <a:ext uri="{FF2B5EF4-FFF2-40B4-BE49-F238E27FC236}">
                <a16:creationId xmlns:a16="http://schemas.microsoft.com/office/drawing/2014/main" id="{731526BF-B463-4DEA-8B00-134CF64CFC48}"/>
              </a:ext>
            </a:extLst>
          </p:cNvPr>
          <p:cNvSpPr>
            <a:spLocks noChangeArrowheads="1"/>
          </p:cNvSpPr>
          <p:nvPr/>
        </p:nvSpPr>
        <p:spPr bwMode="gray">
          <a:xfrm>
            <a:off x="3604652" y="284125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58" name="Oval 859">
            <a:extLst>
              <a:ext uri="{FF2B5EF4-FFF2-40B4-BE49-F238E27FC236}">
                <a16:creationId xmlns:a16="http://schemas.microsoft.com/office/drawing/2014/main" id="{B7969693-F10B-4DEB-9929-C1DBFBF608F2}"/>
              </a:ext>
            </a:extLst>
          </p:cNvPr>
          <p:cNvSpPr>
            <a:spLocks noChangeArrowheads="1"/>
          </p:cNvSpPr>
          <p:nvPr/>
        </p:nvSpPr>
        <p:spPr bwMode="gray">
          <a:xfrm>
            <a:off x="3565284" y="265993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59" name="Oval 860">
            <a:extLst>
              <a:ext uri="{FF2B5EF4-FFF2-40B4-BE49-F238E27FC236}">
                <a16:creationId xmlns:a16="http://schemas.microsoft.com/office/drawing/2014/main" id="{04B3A85E-D414-4DD9-A9B7-BCF4A0AE8DED}"/>
              </a:ext>
            </a:extLst>
          </p:cNvPr>
          <p:cNvSpPr>
            <a:spLocks noChangeArrowheads="1"/>
          </p:cNvSpPr>
          <p:nvPr/>
        </p:nvSpPr>
        <p:spPr bwMode="gray">
          <a:xfrm>
            <a:off x="3581986" y="285557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60" name="Oval 861">
            <a:extLst>
              <a:ext uri="{FF2B5EF4-FFF2-40B4-BE49-F238E27FC236}">
                <a16:creationId xmlns:a16="http://schemas.microsoft.com/office/drawing/2014/main" id="{95B1086A-0C1E-436B-A187-59B0785DDD97}"/>
              </a:ext>
            </a:extLst>
          </p:cNvPr>
          <p:cNvSpPr>
            <a:spLocks noChangeArrowheads="1"/>
          </p:cNvSpPr>
          <p:nvPr/>
        </p:nvSpPr>
        <p:spPr bwMode="gray">
          <a:xfrm>
            <a:off x="1604053" y="291044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61" name="Oval 862">
            <a:extLst>
              <a:ext uri="{FF2B5EF4-FFF2-40B4-BE49-F238E27FC236}">
                <a16:creationId xmlns:a16="http://schemas.microsoft.com/office/drawing/2014/main" id="{60BF6730-5921-4A30-B2EE-14A8FDFB8253}"/>
              </a:ext>
            </a:extLst>
          </p:cNvPr>
          <p:cNvSpPr>
            <a:spLocks noChangeArrowheads="1"/>
          </p:cNvSpPr>
          <p:nvPr/>
        </p:nvSpPr>
        <p:spPr bwMode="gray">
          <a:xfrm>
            <a:off x="1262866" y="292595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62" name="Oval 863">
            <a:extLst>
              <a:ext uri="{FF2B5EF4-FFF2-40B4-BE49-F238E27FC236}">
                <a16:creationId xmlns:a16="http://schemas.microsoft.com/office/drawing/2014/main" id="{94D6F42B-EAC1-4641-87BD-2DB2D5B7A831}"/>
              </a:ext>
            </a:extLst>
          </p:cNvPr>
          <p:cNvSpPr>
            <a:spLocks noChangeArrowheads="1"/>
          </p:cNvSpPr>
          <p:nvPr/>
        </p:nvSpPr>
        <p:spPr bwMode="gray">
          <a:xfrm>
            <a:off x="1117324" y="252275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63" name="Oval 869">
            <a:extLst>
              <a:ext uri="{FF2B5EF4-FFF2-40B4-BE49-F238E27FC236}">
                <a16:creationId xmlns:a16="http://schemas.microsoft.com/office/drawing/2014/main" id="{D1B83823-3020-4716-906D-5CB5F7F96FCC}"/>
              </a:ext>
            </a:extLst>
          </p:cNvPr>
          <p:cNvSpPr>
            <a:spLocks noChangeArrowheads="1"/>
          </p:cNvSpPr>
          <p:nvPr/>
        </p:nvSpPr>
        <p:spPr bwMode="gray">
          <a:xfrm>
            <a:off x="6200538" y="441346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64" name="Oval 870">
            <a:extLst>
              <a:ext uri="{FF2B5EF4-FFF2-40B4-BE49-F238E27FC236}">
                <a16:creationId xmlns:a16="http://schemas.microsoft.com/office/drawing/2014/main" id="{94DEAAB2-DE05-4822-B009-3EBCD7996FB0}"/>
              </a:ext>
            </a:extLst>
          </p:cNvPr>
          <p:cNvSpPr>
            <a:spLocks noChangeArrowheads="1"/>
          </p:cNvSpPr>
          <p:nvPr/>
        </p:nvSpPr>
        <p:spPr bwMode="gray">
          <a:xfrm>
            <a:off x="4397970" y="302138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65" name="Oval 871">
            <a:extLst>
              <a:ext uri="{FF2B5EF4-FFF2-40B4-BE49-F238E27FC236}">
                <a16:creationId xmlns:a16="http://schemas.microsoft.com/office/drawing/2014/main" id="{8C77269A-E415-4FA5-BD1D-F33C87410E17}"/>
              </a:ext>
            </a:extLst>
          </p:cNvPr>
          <p:cNvSpPr>
            <a:spLocks noChangeArrowheads="1"/>
          </p:cNvSpPr>
          <p:nvPr/>
        </p:nvSpPr>
        <p:spPr bwMode="gray">
          <a:xfrm>
            <a:off x="6800599" y="416415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66" name="Oval 872">
            <a:extLst>
              <a:ext uri="{FF2B5EF4-FFF2-40B4-BE49-F238E27FC236}">
                <a16:creationId xmlns:a16="http://schemas.microsoft.com/office/drawing/2014/main" id="{BD0F1B34-180C-4B9C-BEDC-D2209507A151}"/>
              </a:ext>
            </a:extLst>
          </p:cNvPr>
          <p:cNvSpPr>
            <a:spLocks noChangeArrowheads="1"/>
          </p:cNvSpPr>
          <p:nvPr/>
        </p:nvSpPr>
        <p:spPr bwMode="gray">
          <a:xfrm>
            <a:off x="6965227" y="421663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67" name="Oval 873">
            <a:extLst>
              <a:ext uri="{FF2B5EF4-FFF2-40B4-BE49-F238E27FC236}">
                <a16:creationId xmlns:a16="http://schemas.microsoft.com/office/drawing/2014/main" id="{86DA56AC-C32F-403D-9866-3A35A07D258D}"/>
              </a:ext>
            </a:extLst>
          </p:cNvPr>
          <p:cNvSpPr>
            <a:spLocks noChangeArrowheads="1"/>
          </p:cNvSpPr>
          <p:nvPr/>
        </p:nvSpPr>
        <p:spPr bwMode="gray">
          <a:xfrm>
            <a:off x="6912737" y="428105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68" name="Oval 875">
            <a:extLst>
              <a:ext uri="{FF2B5EF4-FFF2-40B4-BE49-F238E27FC236}">
                <a16:creationId xmlns:a16="http://schemas.microsoft.com/office/drawing/2014/main" id="{629DD83C-2BEC-4D98-898C-FD29C5FEB841}"/>
              </a:ext>
            </a:extLst>
          </p:cNvPr>
          <p:cNvSpPr>
            <a:spLocks noChangeArrowheads="1"/>
          </p:cNvSpPr>
          <p:nvPr/>
        </p:nvSpPr>
        <p:spPr bwMode="gray">
          <a:xfrm>
            <a:off x="6974769" y="443732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69" name="Oval 876">
            <a:extLst>
              <a:ext uri="{FF2B5EF4-FFF2-40B4-BE49-F238E27FC236}">
                <a16:creationId xmlns:a16="http://schemas.microsoft.com/office/drawing/2014/main" id="{47522DB7-854A-4572-952A-D216D266F7BE}"/>
              </a:ext>
            </a:extLst>
          </p:cNvPr>
          <p:cNvSpPr>
            <a:spLocks noChangeArrowheads="1"/>
          </p:cNvSpPr>
          <p:nvPr/>
        </p:nvSpPr>
        <p:spPr bwMode="gray">
          <a:xfrm>
            <a:off x="1777031" y="300348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70" name="Oval 877">
            <a:extLst>
              <a:ext uri="{FF2B5EF4-FFF2-40B4-BE49-F238E27FC236}">
                <a16:creationId xmlns:a16="http://schemas.microsoft.com/office/drawing/2014/main" id="{9899CBDB-878E-4B34-9587-72593685BFDF}"/>
              </a:ext>
            </a:extLst>
          </p:cNvPr>
          <p:cNvSpPr>
            <a:spLocks noChangeArrowheads="1"/>
          </p:cNvSpPr>
          <p:nvPr/>
        </p:nvSpPr>
        <p:spPr bwMode="gray">
          <a:xfrm>
            <a:off x="2167132" y="501347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71" name="Oval 878">
            <a:extLst>
              <a:ext uri="{FF2B5EF4-FFF2-40B4-BE49-F238E27FC236}">
                <a16:creationId xmlns:a16="http://schemas.microsoft.com/office/drawing/2014/main" id="{AD466E23-C4B7-470F-92A3-80453F3399B6}"/>
              </a:ext>
            </a:extLst>
          </p:cNvPr>
          <p:cNvSpPr>
            <a:spLocks noChangeArrowheads="1"/>
          </p:cNvSpPr>
          <p:nvPr/>
        </p:nvSpPr>
        <p:spPr bwMode="gray">
          <a:xfrm>
            <a:off x="2154007" y="444209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72" name="Oval 879">
            <a:extLst>
              <a:ext uri="{FF2B5EF4-FFF2-40B4-BE49-F238E27FC236}">
                <a16:creationId xmlns:a16="http://schemas.microsoft.com/office/drawing/2014/main" id="{FA8BE2AE-F7F2-45E9-B38E-6E1C482C927D}"/>
              </a:ext>
            </a:extLst>
          </p:cNvPr>
          <p:cNvSpPr>
            <a:spLocks noChangeArrowheads="1"/>
          </p:cNvSpPr>
          <p:nvPr/>
        </p:nvSpPr>
        <p:spPr bwMode="gray">
          <a:xfrm>
            <a:off x="2181447" y="421186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73" name="Oval 880">
            <a:extLst>
              <a:ext uri="{FF2B5EF4-FFF2-40B4-BE49-F238E27FC236}">
                <a16:creationId xmlns:a16="http://schemas.microsoft.com/office/drawing/2014/main" id="{0AD68187-8973-4FE1-9733-6C655BA1841C}"/>
              </a:ext>
            </a:extLst>
          </p:cNvPr>
          <p:cNvSpPr>
            <a:spLocks noChangeArrowheads="1"/>
          </p:cNvSpPr>
          <p:nvPr/>
        </p:nvSpPr>
        <p:spPr bwMode="gray">
          <a:xfrm>
            <a:off x="2156395" y="444209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74" name="Oval 881">
            <a:extLst>
              <a:ext uri="{FF2B5EF4-FFF2-40B4-BE49-F238E27FC236}">
                <a16:creationId xmlns:a16="http://schemas.microsoft.com/office/drawing/2014/main" id="{34EE282B-A22A-42BE-BFC2-1E5E1E86C7B8}"/>
              </a:ext>
            </a:extLst>
          </p:cNvPr>
          <p:cNvSpPr>
            <a:spLocks noChangeArrowheads="1"/>
          </p:cNvSpPr>
          <p:nvPr/>
        </p:nvSpPr>
        <p:spPr bwMode="gray">
          <a:xfrm>
            <a:off x="2145658" y="455780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75" name="Oval 882">
            <a:extLst>
              <a:ext uri="{FF2B5EF4-FFF2-40B4-BE49-F238E27FC236}">
                <a16:creationId xmlns:a16="http://schemas.microsoft.com/office/drawing/2014/main" id="{8DF93B4E-59AF-43F1-B1B8-D86B8AE44285}"/>
              </a:ext>
            </a:extLst>
          </p:cNvPr>
          <p:cNvSpPr>
            <a:spLocks noChangeArrowheads="1"/>
          </p:cNvSpPr>
          <p:nvPr/>
        </p:nvSpPr>
        <p:spPr bwMode="gray">
          <a:xfrm>
            <a:off x="6950912" y="428701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76" name="Oval 883">
            <a:extLst>
              <a:ext uri="{FF2B5EF4-FFF2-40B4-BE49-F238E27FC236}">
                <a16:creationId xmlns:a16="http://schemas.microsoft.com/office/drawing/2014/main" id="{361A94C2-786C-42D1-9FB5-1E184B1FBA61}"/>
              </a:ext>
            </a:extLst>
          </p:cNvPr>
          <p:cNvSpPr>
            <a:spLocks noChangeArrowheads="1"/>
          </p:cNvSpPr>
          <p:nvPr/>
        </p:nvSpPr>
        <p:spPr bwMode="gray">
          <a:xfrm>
            <a:off x="1215149" y="285437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77" name="Oval 884">
            <a:extLst>
              <a:ext uri="{FF2B5EF4-FFF2-40B4-BE49-F238E27FC236}">
                <a16:creationId xmlns:a16="http://schemas.microsoft.com/office/drawing/2014/main" id="{4C65C6CA-5F55-4AD1-9307-80ACEABCEF50}"/>
              </a:ext>
            </a:extLst>
          </p:cNvPr>
          <p:cNvSpPr>
            <a:spLocks noChangeArrowheads="1"/>
          </p:cNvSpPr>
          <p:nvPr/>
        </p:nvSpPr>
        <p:spPr bwMode="gray">
          <a:xfrm>
            <a:off x="1771069" y="294264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78" name="Oval 885">
            <a:extLst>
              <a:ext uri="{FF2B5EF4-FFF2-40B4-BE49-F238E27FC236}">
                <a16:creationId xmlns:a16="http://schemas.microsoft.com/office/drawing/2014/main" id="{0A889D18-A9EB-422F-AB84-A2E20B0997EA}"/>
              </a:ext>
            </a:extLst>
          </p:cNvPr>
          <p:cNvSpPr>
            <a:spLocks noChangeArrowheads="1"/>
          </p:cNvSpPr>
          <p:nvPr/>
        </p:nvSpPr>
        <p:spPr bwMode="gray">
          <a:xfrm>
            <a:off x="1290305" y="294264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79" name="Oval 887">
            <a:extLst>
              <a:ext uri="{FF2B5EF4-FFF2-40B4-BE49-F238E27FC236}">
                <a16:creationId xmlns:a16="http://schemas.microsoft.com/office/drawing/2014/main" id="{E21E383A-A8F8-4C33-8C7E-2A967461500A}"/>
              </a:ext>
            </a:extLst>
          </p:cNvPr>
          <p:cNvSpPr>
            <a:spLocks noChangeArrowheads="1"/>
          </p:cNvSpPr>
          <p:nvPr/>
        </p:nvSpPr>
        <p:spPr bwMode="gray">
          <a:xfrm>
            <a:off x="1938084" y="299036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80" name="Oval 888">
            <a:extLst>
              <a:ext uri="{FF2B5EF4-FFF2-40B4-BE49-F238E27FC236}">
                <a16:creationId xmlns:a16="http://schemas.microsoft.com/office/drawing/2014/main" id="{47D90AEE-9026-43BB-9A2F-FC5061EC624D}"/>
              </a:ext>
            </a:extLst>
          </p:cNvPr>
          <p:cNvSpPr>
            <a:spLocks noChangeArrowheads="1"/>
          </p:cNvSpPr>
          <p:nvPr/>
        </p:nvSpPr>
        <p:spPr bwMode="gray">
          <a:xfrm>
            <a:off x="2038293" y="282455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81" name="Oval 889">
            <a:extLst>
              <a:ext uri="{FF2B5EF4-FFF2-40B4-BE49-F238E27FC236}">
                <a16:creationId xmlns:a16="http://schemas.microsoft.com/office/drawing/2014/main" id="{E9F2BA98-0D3A-4196-87B3-AA1BA12DA66B}"/>
              </a:ext>
            </a:extLst>
          </p:cNvPr>
          <p:cNvSpPr>
            <a:spLocks noChangeArrowheads="1"/>
          </p:cNvSpPr>
          <p:nvPr/>
        </p:nvSpPr>
        <p:spPr bwMode="gray">
          <a:xfrm>
            <a:off x="1935698" y="299871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82" name="Oval 890">
            <a:extLst>
              <a:ext uri="{FF2B5EF4-FFF2-40B4-BE49-F238E27FC236}">
                <a16:creationId xmlns:a16="http://schemas.microsoft.com/office/drawing/2014/main" id="{FBBBA43D-B5C1-457A-A246-1F74076F7D76}"/>
              </a:ext>
            </a:extLst>
          </p:cNvPr>
          <p:cNvSpPr>
            <a:spLocks noChangeArrowheads="1"/>
          </p:cNvSpPr>
          <p:nvPr/>
        </p:nvSpPr>
        <p:spPr bwMode="gray">
          <a:xfrm>
            <a:off x="1904681" y="270884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83" name="Oval 891">
            <a:extLst>
              <a:ext uri="{FF2B5EF4-FFF2-40B4-BE49-F238E27FC236}">
                <a16:creationId xmlns:a16="http://schemas.microsoft.com/office/drawing/2014/main" id="{89C2BCF1-6459-4550-9FF1-9A22BDEE8F31}"/>
              </a:ext>
            </a:extLst>
          </p:cNvPr>
          <p:cNvSpPr>
            <a:spLocks noChangeArrowheads="1"/>
          </p:cNvSpPr>
          <p:nvPr/>
        </p:nvSpPr>
        <p:spPr bwMode="gray">
          <a:xfrm>
            <a:off x="4944350" y="326353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84" name="Oval 892">
            <a:extLst>
              <a:ext uri="{FF2B5EF4-FFF2-40B4-BE49-F238E27FC236}">
                <a16:creationId xmlns:a16="http://schemas.microsoft.com/office/drawing/2014/main" id="{6E4823DB-C80D-480D-B01B-F887FC314C0E}"/>
              </a:ext>
            </a:extLst>
          </p:cNvPr>
          <p:cNvSpPr>
            <a:spLocks noChangeArrowheads="1"/>
          </p:cNvSpPr>
          <p:nvPr/>
        </p:nvSpPr>
        <p:spPr bwMode="gray">
          <a:xfrm>
            <a:off x="5377395" y="307744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85" name="Oval 893">
            <a:extLst>
              <a:ext uri="{FF2B5EF4-FFF2-40B4-BE49-F238E27FC236}">
                <a16:creationId xmlns:a16="http://schemas.microsoft.com/office/drawing/2014/main" id="{927CC3AB-545D-496D-A265-9D8A62A6C54F}"/>
              </a:ext>
            </a:extLst>
          </p:cNvPr>
          <p:cNvSpPr>
            <a:spLocks noChangeArrowheads="1"/>
          </p:cNvSpPr>
          <p:nvPr/>
        </p:nvSpPr>
        <p:spPr bwMode="gray">
          <a:xfrm>
            <a:off x="5360692" y="302973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86" name="Oval 894">
            <a:extLst>
              <a:ext uri="{FF2B5EF4-FFF2-40B4-BE49-F238E27FC236}">
                <a16:creationId xmlns:a16="http://schemas.microsoft.com/office/drawing/2014/main" id="{D5DE5E6B-599F-47F1-A0FE-A40E4369CC68}"/>
              </a:ext>
            </a:extLst>
          </p:cNvPr>
          <p:cNvSpPr>
            <a:spLocks noChangeArrowheads="1"/>
          </p:cNvSpPr>
          <p:nvPr/>
        </p:nvSpPr>
        <p:spPr bwMode="gray">
          <a:xfrm>
            <a:off x="5365465" y="314782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87" name="Oval 895">
            <a:extLst>
              <a:ext uri="{FF2B5EF4-FFF2-40B4-BE49-F238E27FC236}">
                <a16:creationId xmlns:a16="http://schemas.microsoft.com/office/drawing/2014/main" id="{D9C0A4A2-2797-4CE9-A307-BA2518482276}"/>
              </a:ext>
            </a:extLst>
          </p:cNvPr>
          <p:cNvSpPr>
            <a:spLocks noChangeArrowheads="1"/>
          </p:cNvSpPr>
          <p:nvPr/>
        </p:nvSpPr>
        <p:spPr bwMode="gray">
          <a:xfrm>
            <a:off x="5383358" y="317526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88" name="Oval 898">
            <a:extLst>
              <a:ext uri="{FF2B5EF4-FFF2-40B4-BE49-F238E27FC236}">
                <a16:creationId xmlns:a16="http://schemas.microsoft.com/office/drawing/2014/main" id="{FF833565-406E-46E6-889C-BAE47FB6622E}"/>
              </a:ext>
            </a:extLst>
          </p:cNvPr>
          <p:cNvSpPr>
            <a:spLocks noChangeArrowheads="1"/>
          </p:cNvSpPr>
          <p:nvPr/>
        </p:nvSpPr>
        <p:spPr bwMode="gray">
          <a:xfrm>
            <a:off x="6441515" y="283529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89" name="Oval 899">
            <a:extLst>
              <a:ext uri="{FF2B5EF4-FFF2-40B4-BE49-F238E27FC236}">
                <a16:creationId xmlns:a16="http://schemas.microsoft.com/office/drawing/2014/main" id="{DC47D0C1-E459-47FB-BF18-73724F2272A0}"/>
              </a:ext>
            </a:extLst>
          </p:cNvPr>
          <p:cNvSpPr>
            <a:spLocks noChangeArrowheads="1"/>
          </p:cNvSpPr>
          <p:nvPr/>
        </p:nvSpPr>
        <p:spPr bwMode="gray">
          <a:xfrm>
            <a:off x="6457024" y="289374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90" name="Oval 901">
            <a:extLst>
              <a:ext uri="{FF2B5EF4-FFF2-40B4-BE49-F238E27FC236}">
                <a16:creationId xmlns:a16="http://schemas.microsoft.com/office/drawing/2014/main" id="{27976D43-A07F-4C2B-B125-51D204C443AE}"/>
              </a:ext>
            </a:extLst>
          </p:cNvPr>
          <p:cNvSpPr>
            <a:spLocks noChangeArrowheads="1"/>
          </p:cNvSpPr>
          <p:nvPr/>
        </p:nvSpPr>
        <p:spPr bwMode="gray">
          <a:xfrm>
            <a:off x="6441515" y="288062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91" name="Oval 903">
            <a:extLst>
              <a:ext uri="{FF2B5EF4-FFF2-40B4-BE49-F238E27FC236}">
                <a16:creationId xmlns:a16="http://schemas.microsoft.com/office/drawing/2014/main" id="{12C4449D-573C-4118-A5A5-6DC3C353B9D5}"/>
              </a:ext>
            </a:extLst>
          </p:cNvPr>
          <p:cNvSpPr>
            <a:spLocks noChangeArrowheads="1"/>
          </p:cNvSpPr>
          <p:nvPr/>
        </p:nvSpPr>
        <p:spPr bwMode="gray">
          <a:xfrm>
            <a:off x="6281660" y="297247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92" name="Oval 904">
            <a:extLst>
              <a:ext uri="{FF2B5EF4-FFF2-40B4-BE49-F238E27FC236}">
                <a16:creationId xmlns:a16="http://schemas.microsoft.com/office/drawing/2014/main" id="{CE0FAF1E-1956-481E-950E-BA6334AB1244}"/>
              </a:ext>
            </a:extLst>
          </p:cNvPr>
          <p:cNvSpPr>
            <a:spLocks noChangeArrowheads="1"/>
          </p:cNvSpPr>
          <p:nvPr/>
        </p:nvSpPr>
        <p:spPr bwMode="gray">
          <a:xfrm>
            <a:off x="1552755" y="273151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93" name="Oval 905">
            <a:extLst>
              <a:ext uri="{FF2B5EF4-FFF2-40B4-BE49-F238E27FC236}">
                <a16:creationId xmlns:a16="http://schemas.microsoft.com/office/drawing/2014/main" id="{D0A186B9-DCED-4CCC-B092-623DAFC8F51F}"/>
              </a:ext>
            </a:extLst>
          </p:cNvPr>
          <p:cNvSpPr>
            <a:spLocks noChangeArrowheads="1"/>
          </p:cNvSpPr>
          <p:nvPr/>
        </p:nvSpPr>
        <p:spPr bwMode="gray">
          <a:xfrm>
            <a:off x="6204115" y="275656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94" name="Oval 906">
            <a:extLst>
              <a:ext uri="{FF2B5EF4-FFF2-40B4-BE49-F238E27FC236}">
                <a16:creationId xmlns:a16="http://schemas.microsoft.com/office/drawing/2014/main" id="{D47D81A3-81AE-4977-9284-9C6A5D1979FA}"/>
              </a:ext>
            </a:extLst>
          </p:cNvPr>
          <p:cNvSpPr>
            <a:spLocks noChangeArrowheads="1"/>
          </p:cNvSpPr>
          <p:nvPr/>
        </p:nvSpPr>
        <p:spPr bwMode="gray">
          <a:xfrm>
            <a:off x="1521740" y="287227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95" name="Oval 907">
            <a:extLst>
              <a:ext uri="{FF2B5EF4-FFF2-40B4-BE49-F238E27FC236}">
                <a16:creationId xmlns:a16="http://schemas.microsoft.com/office/drawing/2014/main" id="{8685572D-DF16-476E-85DF-90C2336B2628}"/>
              </a:ext>
            </a:extLst>
          </p:cNvPr>
          <p:cNvSpPr>
            <a:spLocks noChangeArrowheads="1"/>
          </p:cNvSpPr>
          <p:nvPr/>
        </p:nvSpPr>
        <p:spPr bwMode="gray">
          <a:xfrm>
            <a:off x="2340111" y="377527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96" name="Oval 911">
            <a:extLst>
              <a:ext uri="{FF2B5EF4-FFF2-40B4-BE49-F238E27FC236}">
                <a16:creationId xmlns:a16="http://schemas.microsoft.com/office/drawing/2014/main" id="{3FDD3911-E151-465C-AE12-499143D7C296}"/>
              </a:ext>
            </a:extLst>
          </p:cNvPr>
          <p:cNvSpPr>
            <a:spLocks noChangeArrowheads="1"/>
          </p:cNvSpPr>
          <p:nvPr/>
        </p:nvSpPr>
        <p:spPr bwMode="gray">
          <a:xfrm>
            <a:off x="1994152" y="266590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97" name="Oval 912">
            <a:extLst>
              <a:ext uri="{FF2B5EF4-FFF2-40B4-BE49-F238E27FC236}">
                <a16:creationId xmlns:a16="http://schemas.microsoft.com/office/drawing/2014/main" id="{2951EE8A-4FAB-40AA-B8FE-AEAD2F50FB4E}"/>
              </a:ext>
            </a:extLst>
          </p:cNvPr>
          <p:cNvSpPr>
            <a:spLocks noChangeArrowheads="1"/>
          </p:cNvSpPr>
          <p:nvPr/>
        </p:nvSpPr>
        <p:spPr bwMode="gray">
          <a:xfrm>
            <a:off x="1985802" y="262176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98" name="Oval 914">
            <a:extLst>
              <a:ext uri="{FF2B5EF4-FFF2-40B4-BE49-F238E27FC236}">
                <a16:creationId xmlns:a16="http://schemas.microsoft.com/office/drawing/2014/main" id="{129CC386-AC35-4099-8669-F9E726E249DF}"/>
              </a:ext>
            </a:extLst>
          </p:cNvPr>
          <p:cNvSpPr>
            <a:spLocks noChangeArrowheads="1"/>
          </p:cNvSpPr>
          <p:nvPr/>
        </p:nvSpPr>
        <p:spPr bwMode="gray">
          <a:xfrm>
            <a:off x="3515179" y="293668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999" name="Oval 915">
            <a:extLst>
              <a:ext uri="{FF2B5EF4-FFF2-40B4-BE49-F238E27FC236}">
                <a16:creationId xmlns:a16="http://schemas.microsoft.com/office/drawing/2014/main" id="{2409020B-6C17-4AD3-84D8-7EADF9116E31}"/>
              </a:ext>
            </a:extLst>
          </p:cNvPr>
          <p:cNvSpPr>
            <a:spLocks noChangeArrowheads="1"/>
          </p:cNvSpPr>
          <p:nvPr/>
        </p:nvSpPr>
        <p:spPr bwMode="gray">
          <a:xfrm>
            <a:off x="4068714" y="183327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00" name="Oval 917">
            <a:extLst>
              <a:ext uri="{FF2B5EF4-FFF2-40B4-BE49-F238E27FC236}">
                <a16:creationId xmlns:a16="http://schemas.microsoft.com/office/drawing/2014/main" id="{E4EF2117-FEA1-4E3E-A6D4-FF649C953AF3}"/>
              </a:ext>
            </a:extLst>
          </p:cNvPr>
          <p:cNvSpPr>
            <a:spLocks noChangeArrowheads="1"/>
          </p:cNvSpPr>
          <p:nvPr/>
        </p:nvSpPr>
        <p:spPr bwMode="gray">
          <a:xfrm>
            <a:off x="3608230" y="221022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01" name="Oval 919">
            <a:extLst>
              <a:ext uri="{FF2B5EF4-FFF2-40B4-BE49-F238E27FC236}">
                <a16:creationId xmlns:a16="http://schemas.microsoft.com/office/drawing/2014/main" id="{1FFF6F0C-789D-436B-8249-9A9F0C42E01B}"/>
              </a:ext>
            </a:extLst>
          </p:cNvPr>
          <p:cNvSpPr>
            <a:spLocks noChangeArrowheads="1"/>
          </p:cNvSpPr>
          <p:nvPr/>
        </p:nvSpPr>
        <p:spPr bwMode="gray">
          <a:xfrm>
            <a:off x="1229463" y="246072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02" name="Oval 920">
            <a:extLst>
              <a:ext uri="{FF2B5EF4-FFF2-40B4-BE49-F238E27FC236}">
                <a16:creationId xmlns:a16="http://schemas.microsoft.com/office/drawing/2014/main" id="{90E5509E-D3A4-46FC-8F62-2A08C2C6A5B6}"/>
              </a:ext>
            </a:extLst>
          </p:cNvPr>
          <p:cNvSpPr>
            <a:spLocks noChangeArrowheads="1"/>
          </p:cNvSpPr>
          <p:nvPr/>
        </p:nvSpPr>
        <p:spPr bwMode="gray">
          <a:xfrm>
            <a:off x="1488336" y="299633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03" name="Oval 921">
            <a:extLst>
              <a:ext uri="{FF2B5EF4-FFF2-40B4-BE49-F238E27FC236}">
                <a16:creationId xmlns:a16="http://schemas.microsoft.com/office/drawing/2014/main" id="{56A1C218-60E4-4FD3-B31D-AC82571F7C23}"/>
              </a:ext>
            </a:extLst>
          </p:cNvPr>
          <p:cNvSpPr>
            <a:spLocks noChangeArrowheads="1"/>
          </p:cNvSpPr>
          <p:nvPr/>
        </p:nvSpPr>
        <p:spPr bwMode="gray">
          <a:xfrm>
            <a:off x="1614789" y="277922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04" name="Oval 922">
            <a:extLst>
              <a:ext uri="{FF2B5EF4-FFF2-40B4-BE49-F238E27FC236}">
                <a16:creationId xmlns:a16="http://schemas.microsoft.com/office/drawing/2014/main" id="{4A859858-A55C-4FB9-80DD-9973A9D1DC73}"/>
              </a:ext>
            </a:extLst>
          </p:cNvPr>
          <p:cNvSpPr>
            <a:spLocks noChangeArrowheads="1"/>
          </p:cNvSpPr>
          <p:nvPr/>
        </p:nvSpPr>
        <p:spPr bwMode="gray">
          <a:xfrm>
            <a:off x="1740052" y="300945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05" name="Oval 923">
            <a:extLst>
              <a:ext uri="{FF2B5EF4-FFF2-40B4-BE49-F238E27FC236}">
                <a16:creationId xmlns:a16="http://schemas.microsoft.com/office/drawing/2014/main" id="{33398F2C-6E5A-4FE5-8A88-294B2CC697F0}"/>
              </a:ext>
            </a:extLst>
          </p:cNvPr>
          <p:cNvSpPr>
            <a:spLocks noChangeArrowheads="1"/>
          </p:cNvSpPr>
          <p:nvPr/>
        </p:nvSpPr>
        <p:spPr bwMode="gray">
          <a:xfrm>
            <a:off x="3510409" y="280785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06" name="Oval 925">
            <a:extLst>
              <a:ext uri="{FF2B5EF4-FFF2-40B4-BE49-F238E27FC236}">
                <a16:creationId xmlns:a16="http://schemas.microsoft.com/office/drawing/2014/main" id="{B63BADD9-9E97-4656-94A9-00A940DED905}"/>
              </a:ext>
            </a:extLst>
          </p:cNvPr>
          <p:cNvSpPr>
            <a:spLocks noChangeArrowheads="1"/>
          </p:cNvSpPr>
          <p:nvPr/>
        </p:nvSpPr>
        <p:spPr bwMode="gray">
          <a:xfrm>
            <a:off x="2781509" y="393512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07" name="Oval 926">
            <a:extLst>
              <a:ext uri="{FF2B5EF4-FFF2-40B4-BE49-F238E27FC236}">
                <a16:creationId xmlns:a16="http://schemas.microsoft.com/office/drawing/2014/main" id="{AD192F33-9CA4-474B-9B93-B95024FBFC01}"/>
              </a:ext>
            </a:extLst>
          </p:cNvPr>
          <p:cNvSpPr>
            <a:spLocks noChangeArrowheads="1"/>
          </p:cNvSpPr>
          <p:nvPr/>
        </p:nvSpPr>
        <p:spPr bwMode="gray">
          <a:xfrm>
            <a:off x="4108082" y="253468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08" name="Oval 929">
            <a:extLst>
              <a:ext uri="{FF2B5EF4-FFF2-40B4-BE49-F238E27FC236}">
                <a16:creationId xmlns:a16="http://schemas.microsoft.com/office/drawing/2014/main" id="{1C3DF9B1-A555-41A3-B1C9-0C74E72F1E3A}"/>
              </a:ext>
            </a:extLst>
          </p:cNvPr>
          <p:cNvSpPr>
            <a:spLocks noChangeArrowheads="1"/>
          </p:cNvSpPr>
          <p:nvPr/>
        </p:nvSpPr>
        <p:spPr bwMode="gray">
          <a:xfrm>
            <a:off x="1735279" y="300945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09" name="Oval 930">
            <a:extLst>
              <a:ext uri="{FF2B5EF4-FFF2-40B4-BE49-F238E27FC236}">
                <a16:creationId xmlns:a16="http://schemas.microsoft.com/office/drawing/2014/main" id="{B5068AF1-B468-4E7D-9F64-ED72BDE033F6}"/>
              </a:ext>
            </a:extLst>
          </p:cNvPr>
          <p:cNvSpPr>
            <a:spLocks noChangeArrowheads="1"/>
          </p:cNvSpPr>
          <p:nvPr/>
        </p:nvSpPr>
        <p:spPr bwMode="gray">
          <a:xfrm>
            <a:off x="3889770" y="234024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10" name="Oval 931">
            <a:extLst>
              <a:ext uri="{FF2B5EF4-FFF2-40B4-BE49-F238E27FC236}">
                <a16:creationId xmlns:a16="http://schemas.microsoft.com/office/drawing/2014/main" id="{3A3A896C-6FF0-47D6-9BED-0CA1C7CA6186}"/>
              </a:ext>
            </a:extLst>
          </p:cNvPr>
          <p:cNvSpPr>
            <a:spLocks noChangeArrowheads="1"/>
          </p:cNvSpPr>
          <p:nvPr/>
        </p:nvSpPr>
        <p:spPr bwMode="gray">
          <a:xfrm>
            <a:off x="3665493" y="233667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11" name="Oval 932">
            <a:extLst>
              <a:ext uri="{FF2B5EF4-FFF2-40B4-BE49-F238E27FC236}">
                <a16:creationId xmlns:a16="http://schemas.microsoft.com/office/drawing/2014/main" id="{81DB1E72-083E-48B5-A8D8-44CE7AF999EC}"/>
              </a:ext>
            </a:extLst>
          </p:cNvPr>
          <p:cNvSpPr>
            <a:spLocks noChangeArrowheads="1"/>
          </p:cNvSpPr>
          <p:nvPr/>
        </p:nvSpPr>
        <p:spPr bwMode="gray">
          <a:xfrm>
            <a:off x="3621353" y="237603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12" name="Oval 933">
            <a:extLst>
              <a:ext uri="{FF2B5EF4-FFF2-40B4-BE49-F238E27FC236}">
                <a16:creationId xmlns:a16="http://schemas.microsoft.com/office/drawing/2014/main" id="{804F32BC-A3BD-4582-B3F8-BD6D777A9D28}"/>
              </a:ext>
            </a:extLst>
          </p:cNvPr>
          <p:cNvSpPr>
            <a:spLocks noChangeArrowheads="1"/>
          </p:cNvSpPr>
          <p:nvPr/>
        </p:nvSpPr>
        <p:spPr bwMode="gray">
          <a:xfrm>
            <a:off x="3618967" y="237603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13" name="Oval 937">
            <a:extLst>
              <a:ext uri="{FF2B5EF4-FFF2-40B4-BE49-F238E27FC236}">
                <a16:creationId xmlns:a16="http://schemas.microsoft.com/office/drawing/2014/main" id="{FD739F1B-070A-4565-AFFD-35334215EDE9}"/>
              </a:ext>
            </a:extLst>
          </p:cNvPr>
          <p:cNvSpPr>
            <a:spLocks noChangeArrowheads="1"/>
          </p:cNvSpPr>
          <p:nvPr/>
        </p:nvSpPr>
        <p:spPr bwMode="gray">
          <a:xfrm>
            <a:off x="6179065" y="273031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14" name="Oval 938">
            <a:extLst>
              <a:ext uri="{FF2B5EF4-FFF2-40B4-BE49-F238E27FC236}">
                <a16:creationId xmlns:a16="http://schemas.microsoft.com/office/drawing/2014/main" id="{9B6F1217-32B7-4512-8AC9-5CE84035B6AD}"/>
              </a:ext>
            </a:extLst>
          </p:cNvPr>
          <p:cNvSpPr>
            <a:spLocks noChangeArrowheads="1"/>
          </p:cNvSpPr>
          <p:nvPr/>
        </p:nvSpPr>
        <p:spPr bwMode="gray">
          <a:xfrm>
            <a:off x="6204115" y="272554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15" name="Oval 939">
            <a:extLst>
              <a:ext uri="{FF2B5EF4-FFF2-40B4-BE49-F238E27FC236}">
                <a16:creationId xmlns:a16="http://schemas.microsoft.com/office/drawing/2014/main" id="{76D8A9D2-D917-42F7-907B-1CE64EF9E9EA}"/>
              </a:ext>
            </a:extLst>
          </p:cNvPr>
          <p:cNvSpPr>
            <a:spLocks noChangeArrowheads="1"/>
          </p:cNvSpPr>
          <p:nvPr/>
        </p:nvSpPr>
        <p:spPr bwMode="gray">
          <a:xfrm>
            <a:off x="6183835" y="286869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16" name="Oval 940">
            <a:extLst>
              <a:ext uri="{FF2B5EF4-FFF2-40B4-BE49-F238E27FC236}">
                <a16:creationId xmlns:a16="http://schemas.microsoft.com/office/drawing/2014/main" id="{11F8BC49-3ECE-4050-B847-20F20A2F96CC}"/>
              </a:ext>
            </a:extLst>
          </p:cNvPr>
          <p:cNvSpPr>
            <a:spLocks noChangeArrowheads="1"/>
          </p:cNvSpPr>
          <p:nvPr/>
        </p:nvSpPr>
        <p:spPr bwMode="gray">
          <a:xfrm>
            <a:off x="5825948" y="276133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17" name="Oval 941">
            <a:extLst>
              <a:ext uri="{FF2B5EF4-FFF2-40B4-BE49-F238E27FC236}">
                <a16:creationId xmlns:a16="http://schemas.microsoft.com/office/drawing/2014/main" id="{0DE54FF9-3C75-4B15-BD5F-9FB462F2B5DD}"/>
              </a:ext>
            </a:extLst>
          </p:cNvPr>
          <p:cNvSpPr>
            <a:spLocks noChangeArrowheads="1"/>
          </p:cNvSpPr>
          <p:nvPr/>
        </p:nvSpPr>
        <p:spPr bwMode="gray">
          <a:xfrm>
            <a:off x="6000120" y="280427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18" name="Oval 950">
            <a:extLst>
              <a:ext uri="{FF2B5EF4-FFF2-40B4-BE49-F238E27FC236}">
                <a16:creationId xmlns:a16="http://schemas.microsoft.com/office/drawing/2014/main" id="{B9FBA1E8-92D5-4D8A-AFD5-46FE9A415E0E}"/>
              </a:ext>
            </a:extLst>
          </p:cNvPr>
          <p:cNvSpPr>
            <a:spLocks noChangeArrowheads="1"/>
          </p:cNvSpPr>
          <p:nvPr/>
        </p:nvSpPr>
        <p:spPr bwMode="gray">
          <a:xfrm>
            <a:off x="3858753" y="236172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19" name="Oval 952">
            <a:extLst>
              <a:ext uri="{FF2B5EF4-FFF2-40B4-BE49-F238E27FC236}">
                <a16:creationId xmlns:a16="http://schemas.microsoft.com/office/drawing/2014/main" id="{7994D510-2A96-4793-8561-D9223DBC977D}"/>
              </a:ext>
            </a:extLst>
          </p:cNvPr>
          <p:cNvSpPr>
            <a:spLocks noChangeArrowheads="1"/>
          </p:cNvSpPr>
          <p:nvPr/>
        </p:nvSpPr>
        <p:spPr bwMode="gray">
          <a:xfrm>
            <a:off x="6477305" y="288300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20" name="Oval 953">
            <a:extLst>
              <a:ext uri="{FF2B5EF4-FFF2-40B4-BE49-F238E27FC236}">
                <a16:creationId xmlns:a16="http://schemas.microsoft.com/office/drawing/2014/main" id="{B77BA1DE-6B22-452F-B197-205B5DD02DA5}"/>
              </a:ext>
            </a:extLst>
          </p:cNvPr>
          <p:cNvSpPr>
            <a:spLocks noChangeArrowheads="1"/>
          </p:cNvSpPr>
          <p:nvPr/>
        </p:nvSpPr>
        <p:spPr bwMode="gray">
          <a:xfrm>
            <a:off x="6443902" y="286272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21" name="Oval 954">
            <a:extLst>
              <a:ext uri="{FF2B5EF4-FFF2-40B4-BE49-F238E27FC236}">
                <a16:creationId xmlns:a16="http://schemas.microsoft.com/office/drawing/2014/main" id="{D09199FA-D815-48F3-881A-D81B2E6B89DB}"/>
              </a:ext>
            </a:extLst>
          </p:cNvPr>
          <p:cNvSpPr>
            <a:spLocks noChangeArrowheads="1"/>
          </p:cNvSpPr>
          <p:nvPr/>
        </p:nvSpPr>
        <p:spPr bwMode="gray">
          <a:xfrm>
            <a:off x="6200538" y="441346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22" name="Oval 955">
            <a:extLst>
              <a:ext uri="{FF2B5EF4-FFF2-40B4-BE49-F238E27FC236}">
                <a16:creationId xmlns:a16="http://schemas.microsoft.com/office/drawing/2014/main" id="{59B2FE52-667B-449F-A72D-05F1B5B30D83}"/>
              </a:ext>
            </a:extLst>
          </p:cNvPr>
          <p:cNvSpPr>
            <a:spLocks noChangeArrowheads="1"/>
          </p:cNvSpPr>
          <p:nvPr/>
        </p:nvSpPr>
        <p:spPr bwMode="gray">
          <a:xfrm>
            <a:off x="5539636" y="266590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23" name="Oval 956">
            <a:extLst>
              <a:ext uri="{FF2B5EF4-FFF2-40B4-BE49-F238E27FC236}">
                <a16:creationId xmlns:a16="http://schemas.microsoft.com/office/drawing/2014/main" id="{013A4790-6F81-40C7-9CF9-D322E7FF5F00}"/>
              </a:ext>
            </a:extLst>
          </p:cNvPr>
          <p:cNvSpPr>
            <a:spLocks noChangeArrowheads="1"/>
          </p:cNvSpPr>
          <p:nvPr/>
        </p:nvSpPr>
        <p:spPr bwMode="gray">
          <a:xfrm>
            <a:off x="2342490" y="259910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24" name="Oval 247">
            <a:extLst>
              <a:ext uri="{FF2B5EF4-FFF2-40B4-BE49-F238E27FC236}">
                <a16:creationId xmlns:a16="http://schemas.microsoft.com/office/drawing/2014/main" id="{6F1BD69C-4619-4BAE-923A-80718FD0E5A7}"/>
              </a:ext>
            </a:extLst>
          </p:cNvPr>
          <p:cNvSpPr>
            <a:spLocks noChangeArrowheads="1"/>
          </p:cNvSpPr>
          <p:nvPr/>
        </p:nvSpPr>
        <p:spPr bwMode="gray">
          <a:xfrm>
            <a:off x="3864456" y="2534287"/>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25" name="Oval 254">
            <a:extLst>
              <a:ext uri="{FF2B5EF4-FFF2-40B4-BE49-F238E27FC236}">
                <a16:creationId xmlns:a16="http://schemas.microsoft.com/office/drawing/2014/main" id="{EF2F841B-19D4-438E-862C-A64BB2084096}"/>
              </a:ext>
            </a:extLst>
          </p:cNvPr>
          <p:cNvSpPr>
            <a:spLocks noChangeArrowheads="1"/>
          </p:cNvSpPr>
          <p:nvPr/>
        </p:nvSpPr>
        <p:spPr bwMode="gray">
          <a:xfrm>
            <a:off x="3841791" y="2332691"/>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26" name="Oval 255">
            <a:extLst>
              <a:ext uri="{FF2B5EF4-FFF2-40B4-BE49-F238E27FC236}">
                <a16:creationId xmlns:a16="http://schemas.microsoft.com/office/drawing/2014/main" id="{D6C4305C-A137-4C10-9175-E7440260D869}"/>
              </a:ext>
            </a:extLst>
          </p:cNvPr>
          <p:cNvSpPr>
            <a:spLocks noChangeArrowheads="1"/>
          </p:cNvSpPr>
          <p:nvPr/>
        </p:nvSpPr>
        <p:spPr bwMode="gray">
          <a:xfrm>
            <a:off x="3841791" y="2332691"/>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27" name="Oval 257">
            <a:extLst>
              <a:ext uri="{FF2B5EF4-FFF2-40B4-BE49-F238E27FC236}">
                <a16:creationId xmlns:a16="http://schemas.microsoft.com/office/drawing/2014/main" id="{CD4FC140-EAFA-4B4A-834E-7414B2160DE6}"/>
              </a:ext>
            </a:extLst>
          </p:cNvPr>
          <p:cNvSpPr>
            <a:spLocks noChangeArrowheads="1"/>
          </p:cNvSpPr>
          <p:nvPr/>
        </p:nvSpPr>
        <p:spPr bwMode="gray">
          <a:xfrm>
            <a:off x="3903822" y="2211017"/>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28" name="Oval 270">
            <a:extLst>
              <a:ext uri="{FF2B5EF4-FFF2-40B4-BE49-F238E27FC236}">
                <a16:creationId xmlns:a16="http://schemas.microsoft.com/office/drawing/2014/main" id="{B5876E5A-6E71-41B0-A543-F3CDC45CDA4F}"/>
              </a:ext>
            </a:extLst>
          </p:cNvPr>
          <p:cNvSpPr>
            <a:spLocks noChangeArrowheads="1"/>
          </p:cNvSpPr>
          <p:nvPr/>
        </p:nvSpPr>
        <p:spPr bwMode="gray">
          <a:xfrm>
            <a:off x="1109903" y="2848013"/>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29" name="Oval 271">
            <a:extLst>
              <a:ext uri="{FF2B5EF4-FFF2-40B4-BE49-F238E27FC236}">
                <a16:creationId xmlns:a16="http://schemas.microsoft.com/office/drawing/2014/main" id="{2BBD5580-7D7D-4402-A124-46B9DC4A39D3}"/>
              </a:ext>
            </a:extLst>
          </p:cNvPr>
          <p:cNvSpPr>
            <a:spLocks noChangeArrowheads="1"/>
          </p:cNvSpPr>
          <p:nvPr/>
        </p:nvSpPr>
        <p:spPr bwMode="gray">
          <a:xfrm>
            <a:off x="6110805" y="3185596"/>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30" name="Oval 272">
            <a:extLst>
              <a:ext uri="{FF2B5EF4-FFF2-40B4-BE49-F238E27FC236}">
                <a16:creationId xmlns:a16="http://schemas.microsoft.com/office/drawing/2014/main" id="{95235D9D-1691-4003-86A0-32EBA943CBA8}"/>
              </a:ext>
            </a:extLst>
          </p:cNvPr>
          <p:cNvSpPr>
            <a:spLocks noChangeArrowheads="1"/>
          </p:cNvSpPr>
          <p:nvPr/>
        </p:nvSpPr>
        <p:spPr bwMode="gray">
          <a:xfrm>
            <a:off x="3959893" y="2250382"/>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31" name="Oval 278">
            <a:extLst>
              <a:ext uri="{FF2B5EF4-FFF2-40B4-BE49-F238E27FC236}">
                <a16:creationId xmlns:a16="http://schemas.microsoft.com/office/drawing/2014/main" id="{BBCD903C-38E0-4B3F-B9FA-C290E32E314E}"/>
              </a:ext>
            </a:extLst>
          </p:cNvPr>
          <p:cNvSpPr>
            <a:spLocks noChangeArrowheads="1"/>
          </p:cNvSpPr>
          <p:nvPr/>
        </p:nvSpPr>
        <p:spPr bwMode="gray">
          <a:xfrm>
            <a:off x="3916946" y="1916378"/>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32" name="Oval 281">
            <a:extLst>
              <a:ext uri="{FF2B5EF4-FFF2-40B4-BE49-F238E27FC236}">
                <a16:creationId xmlns:a16="http://schemas.microsoft.com/office/drawing/2014/main" id="{53FFB6BD-6ECA-43D6-9818-74F8DBE6A99C}"/>
              </a:ext>
            </a:extLst>
          </p:cNvPr>
          <p:cNvSpPr>
            <a:spLocks noChangeArrowheads="1"/>
          </p:cNvSpPr>
          <p:nvPr/>
        </p:nvSpPr>
        <p:spPr bwMode="gray">
          <a:xfrm>
            <a:off x="4212802" y="2197897"/>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33" name="Oval 288">
            <a:extLst>
              <a:ext uri="{FF2B5EF4-FFF2-40B4-BE49-F238E27FC236}">
                <a16:creationId xmlns:a16="http://schemas.microsoft.com/office/drawing/2014/main" id="{5EA09159-392B-4D80-8B97-719053F9FCF0}"/>
              </a:ext>
            </a:extLst>
          </p:cNvPr>
          <p:cNvSpPr>
            <a:spLocks noChangeArrowheads="1"/>
          </p:cNvSpPr>
          <p:nvPr/>
        </p:nvSpPr>
        <p:spPr bwMode="gray">
          <a:xfrm>
            <a:off x="3853717" y="2554565"/>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34" name="Oval 295">
            <a:extLst>
              <a:ext uri="{FF2B5EF4-FFF2-40B4-BE49-F238E27FC236}">
                <a16:creationId xmlns:a16="http://schemas.microsoft.com/office/drawing/2014/main" id="{B6A78998-D8D5-4799-AD33-897248665BF7}"/>
              </a:ext>
            </a:extLst>
          </p:cNvPr>
          <p:cNvSpPr>
            <a:spLocks noChangeArrowheads="1"/>
          </p:cNvSpPr>
          <p:nvPr/>
        </p:nvSpPr>
        <p:spPr bwMode="gray">
          <a:xfrm>
            <a:off x="3841791" y="2343427"/>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35" name="Oval 300">
            <a:extLst>
              <a:ext uri="{FF2B5EF4-FFF2-40B4-BE49-F238E27FC236}">
                <a16:creationId xmlns:a16="http://schemas.microsoft.com/office/drawing/2014/main" id="{D4ACD748-2EF7-4F57-8FBD-2B3A38DF36B2}"/>
              </a:ext>
            </a:extLst>
          </p:cNvPr>
          <p:cNvSpPr>
            <a:spLocks noChangeArrowheads="1"/>
          </p:cNvSpPr>
          <p:nvPr/>
        </p:nvSpPr>
        <p:spPr bwMode="gray">
          <a:xfrm>
            <a:off x="3894280" y="2473450"/>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36" name="Oval 301">
            <a:extLst>
              <a:ext uri="{FF2B5EF4-FFF2-40B4-BE49-F238E27FC236}">
                <a16:creationId xmlns:a16="http://schemas.microsoft.com/office/drawing/2014/main" id="{3A01C0B2-0358-4C98-BCE1-29A9911144EC}"/>
              </a:ext>
            </a:extLst>
          </p:cNvPr>
          <p:cNvSpPr>
            <a:spLocks noChangeArrowheads="1"/>
          </p:cNvSpPr>
          <p:nvPr/>
        </p:nvSpPr>
        <p:spPr bwMode="gray">
          <a:xfrm>
            <a:off x="3877579" y="2447208"/>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37" name="Oval 307">
            <a:extLst>
              <a:ext uri="{FF2B5EF4-FFF2-40B4-BE49-F238E27FC236}">
                <a16:creationId xmlns:a16="http://schemas.microsoft.com/office/drawing/2014/main" id="{3C6C63ED-E935-4CD9-9D6F-6A50ECFA1C19}"/>
              </a:ext>
            </a:extLst>
          </p:cNvPr>
          <p:cNvSpPr>
            <a:spLocks noChangeArrowheads="1"/>
          </p:cNvSpPr>
          <p:nvPr/>
        </p:nvSpPr>
        <p:spPr bwMode="gray">
          <a:xfrm>
            <a:off x="6756197" y="2644030"/>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38" name="Oval 310">
            <a:extLst>
              <a:ext uri="{FF2B5EF4-FFF2-40B4-BE49-F238E27FC236}">
                <a16:creationId xmlns:a16="http://schemas.microsoft.com/office/drawing/2014/main" id="{4B67AD23-5ED9-4AA3-9128-0CB49D4BDA22}"/>
              </a:ext>
            </a:extLst>
          </p:cNvPr>
          <p:cNvSpPr>
            <a:spLocks noChangeArrowheads="1"/>
          </p:cNvSpPr>
          <p:nvPr/>
        </p:nvSpPr>
        <p:spPr bwMode="gray">
          <a:xfrm>
            <a:off x="3845368" y="2478222"/>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39" name="Oval 313">
            <a:extLst>
              <a:ext uri="{FF2B5EF4-FFF2-40B4-BE49-F238E27FC236}">
                <a16:creationId xmlns:a16="http://schemas.microsoft.com/office/drawing/2014/main" id="{C1E5D4FF-2D46-44F8-840F-54F3D2418414}"/>
              </a:ext>
            </a:extLst>
          </p:cNvPr>
          <p:cNvSpPr>
            <a:spLocks noChangeArrowheads="1"/>
          </p:cNvSpPr>
          <p:nvPr/>
        </p:nvSpPr>
        <p:spPr bwMode="gray">
          <a:xfrm>
            <a:off x="1109903" y="2848013"/>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40" name="Oval 318">
            <a:extLst>
              <a:ext uri="{FF2B5EF4-FFF2-40B4-BE49-F238E27FC236}">
                <a16:creationId xmlns:a16="http://schemas.microsoft.com/office/drawing/2014/main" id="{ACB2F7AD-FBD3-4FC5-92CC-63F1DE8332D9}"/>
              </a:ext>
            </a:extLst>
          </p:cNvPr>
          <p:cNvSpPr>
            <a:spLocks noChangeArrowheads="1"/>
          </p:cNvSpPr>
          <p:nvPr/>
        </p:nvSpPr>
        <p:spPr bwMode="gray">
          <a:xfrm>
            <a:off x="3883543" y="2289748"/>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41" name="Oval 319">
            <a:extLst>
              <a:ext uri="{FF2B5EF4-FFF2-40B4-BE49-F238E27FC236}">
                <a16:creationId xmlns:a16="http://schemas.microsoft.com/office/drawing/2014/main" id="{C27B7C6A-EA94-4569-B5AA-B8C8F22FBFE8}"/>
              </a:ext>
            </a:extLst>
          </p:cNvPr>
          <p:cNvSpPr>
            <a:spLocks noChangeArrowheads="1"/>
          </p:cNvSpPr>
          <p:nvPr/>
        </p:nvSpPr>
        <p:spPr bwMode="gray">
          <a:xfrm>
            <a:off x="3800037" y="2351778"/>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42" name="Oval 321">
            <a:extLst>
              <a:ext uri="{FF2B5EF4-FFF2-40B4-BE49-F238E27FC236}">
                <a16:creationId xmlns:a16="http://schemas.microsoft.com/office/drawing/2014/main" id="{12042805-1A8E-4B48-AB92-BDB09A8F5EFC}"/>
              </a:ext>
            </a:extLst>
          </p:cNvPr>
          <p:cNvSpPr>
            <a:spLocks noChangeArrowheads="1"/>
          </p:cNvSpPr>
          <p:nvPr/>
        </p:nvSpPr>
        <p:spPr bwMode="gray">
          <a:xfrm>
            <a:off x="6910088" y="4501334"/>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43" name="Oval 322">
            <a:extLst>
              <a:ext uri="{FF2B5EF4-FFF2-40B4-BE49-F238E27FC236}">
                <a16:creationId xmlns:a16="http://schemas.microsoft.com/office/drawing/2014/main" id="{C61DCC21-3D4E-436E-B4BA-7057575004DC}"/>
              </a:ext>
            </a:extLst>
          </p:cNvPr>
          <p:cNvSpPr>
            <a:spLocks noChangeArrowheads="1"/>
          </p:cNvSpPr>
          <p:nvPr/>
        </p:nvSpPr>
        <p:spPr bwMode="gray">
          <a:xfrm>
            <a:off x="3902631" y="2252768"/>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44" name="Oval 323">
            <a:extLst>
              <a:ext uri="{FF2B5EF4-FFF2-40B4-BE49-F238E27FC236}">
                <a16:creationId xmlns:a16="http://schemas.microsoft.com/office/drawing/2014/main" id="{A9F94802-276C-4337-83BB-4FDD23034343}"/>
              </a:ext>
            </a:extLst>
          </p:cNvPr>
          <p:cNvSpPr>
            <a:spLocks noChangeArrowheads="1"/>
          </p:cNvSpPr>
          <p:nvPr/>
        </p:nvSpPr>
        <p:spPr bwMode="gray">
          <a:xfrm>
            <a:off x="3902631" y="2252768"/>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45" name="Oval 331">
            <a:extLst>
              <a:ext uri="{FF2B5EF4-FFF2-40B4-BE49-F238E27FC236}">
                <a16:creationId xmlns:a16="http://schemas.microsoft.com/office/drawing/2014/main" id="{DF76E338-6E0F-4FDC-9635-721FA33D3758}"/>
              </a:ext>
            </a:extLst>
          </p:cNvPr>
          <p:cNvSpPr>
            <a:spLocks noChangeArrowheads="1"/>
          </p:cNvSpPr>
          <p:nvPr/>
        </p:nvSpPr>
        <p:spPr bwMode="gray">
          <a:xfrm>
            <a:off x="3844175" y="2401878"/>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46" name="Oval 334">
            <a:extLst>
              <a:ext uri="{FF2B5EF4-FFF2-40B4-BE49-F238E27FC236}">
                <a16:creationId xmlns:a16="http://schemas.microsoft.com/office/drawing/2014/main" id="{3CF6DADF-23AF-4804-95FE-6D88EB218BDE}"/>
              </a:ext>
            </a:extLst>
          </p:cNvPr>
          <p:cNvSpPr>
            <a:spLocks noChangeArrowheads="1"/>
          </p:cNvSpPr>
          <p:nvPr/>
        </p:nvSpPr>
        <p:spPr bwMode="gray">
          <a:xfrm>
            <a:off x="3648530" y="2546216"/>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47" name="Oval 345">
            <a:extLst>
              <a:ext uri="{FF2B5EF4-FFF2-40B4-BE49-F238E27FC236}">
                <a16:creationId xmlns:a16="http://schemas.microsoft.com/office/drawing/2014/main" id="{A2A397AD-7111-468F-B497-12EB3A25416D}"/>
              </a:ext>
            </a:extLst>
          </p:cNvPr>
          <p:cNvSpPr>
            <a:spLocks noChangeArrowheads="1"/>
          </p:cNvSpPr>
          <p:nvPr/>
        </p:nvSpPr>
        <p:spPr bwMode="gray">
          <a:xfrm>
            <a:off x="3696248" y="2633294"/>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48" name="Oval 351">
            <a:extLst>
              <a:ext uri="{FF2B5EF4-FFF2-40B4-BE49-F238E27FC236}">
                <a16:creationId xmlns:a16="http://schemas.microsoft.com/office/drawing/2014/main" id="{2DE6FB51-340C-4762-A753-5585D186E43C}"/>
              </a:ext>
            </a:extLst>
          </p:cNvPr>
          <p:cNvSpPr>
            <a:spLocks noChangeArrowheads="1"/>
          </p:cNvSpPr>
          <p:nvPr/>
        </p:nvSpPr>
        <p:spPr bwMode="gray">
          <a:xfrm>
            <a:off x="2449602" y="4250831"/>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49" name="Oval 363">
            <a:extLst>
              <a:ext uri="{FF2B5EF4-FFF2-40B4-BE49-F238E27FC236}">
                <a16:creationId xmlns:a16="http://schemas.microsoft.com/office/drawing/2014/main" id="{0E4CE0C4-23BD-48DA-B6B5-116CADEF53CD}"/>
              </a:ext>
            </a:extLst>
          </p:cNvPr>
          <p:cNvSpPr>
            <a:spLocks noChangeArrowheads="1"/>
          </p:cNvSpPr>
          <p:nvPr/>
        </p:nvSpPr>
        <p:spPr bwMode="gray">
          <a:xfrm>
            <a:off x="3629441" y="2660731"/>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50" name="Oval 370">
            <a:extLst>
              <a:ext uri="{FF2B5EF4-FFF2-40B4-BE49-F238E27FC236}">
                <a16:creationId xmlns:a16="http://schemas.microsoft.com/office/drawing/2014/main" id="{0DC3B279-C811-45CC-A57B-8A8B2568492B}"/>
              </a:ext>
            </a:extLst>
          </p:cNvPr>
          <p:cNvSpPr>
            <a:spLocks noChangeArrowheads="1"/>
          </p:cNvSpPr>
          <p:nvPr/>
        </p:nvSpPr>
        <p:spPr bwMode="gray">
          <a:xfrm>
            <a:off x="6203854" y="2754968"/>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51" name="Oval 376">
            <a:extLst>
              <a:ext uri="{FF2B5EF4-FFF2-40B4-BE49-F238E27FC236}">
                <a16:creationId xmlns:a16="http://schemas.microsoft.com/office/drawing/2014/main" id="{88D298BD-ED49-4333-B832-B80D7B72FB31}"/>
              </a:ext>
            </a:extLst>
          </p:cNvPr>
          <p:cNvSpPr>
            <a:spLocks noChangeArrowheads="1"/>
          </p:cNvSpPr>
          <p:nvPr/>
        </p:nvSpPr>
        <p:spPr bwMode="gray">
          <a:xfrm>
            <a:off x="3722492" y="2649995"/>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52" name="Oval 379">
            <a:extLst>
              <a:ext uri="{FF2B5EF4-FFF2-40B4-BE49-F238E27FC236}">
                <a16:creationId xmlns:a16="http://schemas.microsoft.com/office/drawing/2014/main" id="{37F8DD81-536C-4D4A-A9B5-D03E644A7476}"/>
              </a:ext>
            </a:extLst>
          </p:cNvPr>
          <p:cNvSpPr>
            <a:spLocks noChangeArrowheads="1"/>
          </p:cNvSpPr>
          <p:nvPr/>
        </p:nvSpPr>
        <p:spPr bwMode="gray">
          <a:xfrm>
            <a:off x="3796457" y="2422157"/>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53" name="Oval 382">
            <a:extLst>
              <a:ext uri="{FF2B5EF4-FFF2-40B4-BE49-F238E27FC236}">
                <a16:creationId xmlns:a16="http://schemas.microsoft.com/office/drawing/2014/main" id="{2A6B4E50-8AEC-431C-98BC-33B2A8125FAF}"/>
              </a:ext>
            </a:extLst>
          </p:cNvPr>
          <p:cNvSpPr>
            <a:spLocks noChangeArrowheads="1"/>
          </p:cNvSpPr>
          <p:nvPr/>
        </p:nvSpPr>
        <p:spPr bwMode="gray">
          <a:xfrm>
            <a:off x="3665232" y="2312413"/>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54" name="Oval 383">
            <a:extLst>
              <a:ext uri="{FF2B5EF4-FFF2-40B4-BE49-F238E27FC236}">
                <a16:creationId xmlns:a16="http://schemas.microsoft.com/office/drawing/2014/main" id="{DCF3CCB7-21E2-4ECE-8C3D-1A88A49134EF}"/>
              </a:ext>
            </a:extLst>
          </p:cNvPr>
          <p:cNvSpPr>
            <a:spLocks noChangeArrowheads="1"/>
          </p:cNvSpPr>
          <p:nvPr/>
        </p:nvSpPr>
        <p:spPr bwMode="gray">
          <a:xfrm>
            <a:off x="4043399" y="2509237"/>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55" name="Oval 2054">
            <a:extLst>
              <a:ext uri="{FF2B5EF4-FFF2-40B4-BE49-F238E27FC236}">
                <a16:creationId xmlns:a16="http://schemas.microsoft.com/office/drawing/2014/main" id="{FB6B66B4-E957-4F8B-B6BA-23C588A9D353}"/>
              </a:ext>
            </a:extLst>
          </p:cNvPr>
          <p:cNvSpPr>
            <a:spLocks noChangeArrowheads="1"/>
          </p:cNvSpPr>
          <p:nvPr/>
        </p:nvSpPr>
        <p:spPr bwMode="gray">
          <a:xfrm>
            <a:off x="3741581" y="2486571"/>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56" name="Oval 2055">
            <a:extLst>
              <a:ext uri="{FF2B5EF4-FFF2-40B4-BE49-F238E27FC236}">
                <a16:creationId xmlns:a16="http://schemas.microsoft.com/office/drawing/2014/main" id="{7467E482-1B7E-483E-920F-FC5DC9119D6C}"/>
              </a:ext>
            </a:extLst>
          </p:cNvPr>
          <p:cNvSpPr>
            <a:spLocks noChangeArrowheads="1"/>
          </p:cNvSpPr>
          <p:nvPr/>
        </p:nvSpPr>
        <p:spPr bwMode="gray">
          <a:xfrm>
            <a:off x="3689089" y="2397106"/>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57" name="Oval 389">
            <a:extLst>
              <a:ext uri="{FF2B5EF4-FFF2-40B4-BE49-F238E27FC236}">
                <a16:creationId xmlns:a16="http://schemas.microsoft.com/office/drawing/2014/main" id="{4F0C37DE-0131-4126-965A-FB547EE10DE1}"/>
              </a:ext>
            </a:extLst>
          </p:cNvPr>
          <p:cNvSpPr>
            <a:spLocks noChangeArrowheads="1"/>
          </p:cNvSpPr>
          <p:nvPr/>
        </p:nvSpPr>
        <p:spPr bwMode="gray">
          <a:xfrm>
            <a:off x="3900245" y="2410228"/>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58" name="Oval 392">
            <a:extLst>
              <a:ext uri="{FF2B5EF4-FFF2-40B4-BE49-F238E27FC236}">
                <a16:creationId xmlns:a16="http://schemas.microsoft.com/office/drawing/2014/main" id="{A66BB6E3-B60F-4E8B-B780-5C6CCC846CF8}"/>
              </a:ext>
            </a:extLst>
          </p:cNvPr>
          <p:cNvSpPr>
            <a:spLocks noChangeArrowheads="1"/>
          </p:cNvSpPr>
          <p:nvPr/>
        </p:nvSpPr>
        <p:spPr bwMode="gray">
          <a:xfrm>
            <a:off x="3800037" y="2036859"/>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59" name="Oval 396">
            <a:extLst>
              <a:ext uri="{FF2B5EF4-FFF2-40B4-BE49-F238E27FC236}">
                <a16:creationId xmlns:a16="http://schemas.microsoft.com/office/drawing/2014/main" id="{0F470AD9-B3FE-45A7-847A-F374B5ABB0BC}"/>
              </a:ext>
            </a:extLst>
          </p:cNvPr>
          <p:cNvSpPr>
            <a:spLocks noChangeArrowheads="1"/>
          </p:cNvSpPr>
          <p:nvPr/>
        </p:nvSpPr>
        <p:spPr bwMode="gray">
          <a:xfrm>
            <a:off x="4304659" y="4218623"/>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60" name="Oval 402">
            <a:extLst>
              <a:ext uri="{FF2B5EF4-FFF2-40B4-BE49-F238E27FC236}">
                <a16:creationId xmlns:a16="http://schemas.microsoft.com/office/drawing/2014/main" id="{851B2918-B5B4-47BC-9E05-E3C3552329A2}"/>
              </a:ext>
            </a:extLst>
          </p:cNvPr>
          <p:cNvSpPr>
            <a:spLocks noChangeArrowheads="1"/>
          </p:cNvSpPr>
          <p:nvPr/>
        </p:nvSpPr>
        <p:spPr bwMode="gray">
          <a:xfrm>
            <a:off x="3665232" y="2366092"/>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62" name="Oval 407">
            <a:extLst>
              <a:ext uri="{FF2B5EF4-FFF2-40B4-BE49-F238E27FC236}">
                <a16:creationId xmlns:a16="http://schemas.microsoft.com/office/drawing/2014/main" id="{F184847D-C0A8-4C38-B1DE-4BE9A3AA4573}"/>
              </a:ext>
            </a:extLst>
          </p:cNvPr>
          <p:cNvSpPr>
            <a:spLocks noChangeArrowheads="1"/>
          </p:cNvSpPr>
          <p:nvPr/>
        </p:nvSpPr>
        <p:spPr bwMode="gray">
          <a:xfrm>
            <a:off x="3754703" y="2432893"/>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63" name="Oval 415">
            <a:extLst>
              <a:ext uri="{FF2B5EF4-FFF2-40B4-BE49-F238E27FC236}">
                <a16:creationId xmlns:a16="http://schemas.microsoft.com/office/drawing/2014/main" id="{2759D2FA-04FF-4A90-8D4D-CB84F3D9C5F5}"/>
              </a:ext>
            </a:extLst>
          </p:cNvPr>
          <p:cNvSpPr>
            <a:spLocks noChangeArrowheads="1"/>
          </p:cNvSpPr>
          <p:nvPr/>
        </p:nvSpPr>
        <p:spPr bwMode="gray">
          <a:xfrm>
            <a:off x="3825088" y="2366092"/>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64" name="Oval 428">
            <a:extLst>
              <a:ext uri="{FF2B5EF4-FFF2-40B4-BE49-F238E27FC236}">
                <a16:creationId xmlns:a16="http://schemas.microsoft.com/office/drawing/2014/main" id="{1C9CBF6E-7BD0-4695-966D-05BD4DD91BF1}"/>
              </a:ext>
            </a:extLst>
          </p:cNvPr>
          <p:cNvSpPr>
            <a:spLocks noChangeArrowheads="1"/>
          </p:cNvSpPr>
          <p:nvPr/>
        </p:nvSpPr>
        <p:spPr bwMode="gray">
          <a:xfrm>
            <a:off x="6120347" y="3038871"/>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65" name="Oval 429">
            <a:extLst>
              <a:ext uri="{FF2B5EF4-FFF2-40B4-BE49-F238E27FC236}">
                <a16:creationId xmlns:a16="http://schemas.microsoft.com/office/drawing/2014/main" id="{11CC6C23-6244-43FD-A2FC-BE35E3E49340}"/>
              </a:ext>
            </a:extLst>
          </p:cNvPr>
          <p:cNvSpPr>
            <a:spLocks noChangeArrowheads="1"/>
          </p:cNvSpPr>
          <p:nvPr/>
        </p:nvSpPr>
        <p:spPr bwMode="gray">
          <a:xfrm>
            <a:off x="6306451" y="3020980"/>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66" name="Oval 433">
            <a:extLst>
              <a:ext uri="{FF2B5EF4-FFF2-40B4-BE49-F238E27FC236}">
                <a16:creationId xmlns:a16="http://schemas.microsoft.com/office/drawing/2014/main" id="{40A5F7FA-5E2F-4737-895E-6874013F34EE}"/>
              </a:ext>
            </a:extLst>
          </p:cNvPr>
          <p:cNvSpPr>
            <a:spLocks noChangeArrowheads="1"/>
          </p:cNvSpPr>
          <p:nvPr/>
        </p:nvSpPr>
        <p:spPr bwMode="gray">
          <a:xfrm>
            <a:off x="3747546" y="2556951"/>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67" name="Oval 434">
            <a:extLst>
              <a:ext uri="{FF2B5EF4-FFF2-40B4-BE49-F238E27FC236}">
                <a16:creationId xmlns:a16="http://schemas.microsoft.com/office/drawing/2014/main" id="{BB5EDFC1-2C82-4616-956D-397115AE1831}"/>
              </a:ext>
            </a:extLst>
          </p:cNvPr>
          <p:cNvSpPr>
            <a:spLocks noChangeArrowheads="1"/>
          </p:cNvSpPr>
          <p:nvPr/>
        </p:nvSpPr>
        <p:spPr bwMode="gray">
          <a:xfrm>
            <a:off x="4101856" y="1797091"/>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68" name="Oval 437">
            <a:extLst>
              <a:ext uri="{FF2B5EF4-FFF2-40B4-BE49-F238E27FC236}">
                <a16:creationId xmlns:a16="http://schemas.microsoft.com/office/drawing/2014/main" id="{8D43DABD-BC31-4678-B329-03421E7A28B8}"/>
              </a:ext>
            </a:extLst>
          </p:cNvPr>
          <p:cNvSpPr>
            <a:spLocks noChangeArrowheads="1"/>
          </p:cNvSpPr>
          <p:nvPr/>
        </p:nvSpPr>
        <p:spPr bwMode="gray">
          <a:xfrm>
            <a:off x="3906208" y="2469872"/>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69" name="Oval 446">
            <a:extLst>
              <a:ext uri="{FF2B5EF4-FFF2-40B4-BE49-F238E27FC236}">
                <a16:creationId xmlns:a16="http://schemas.microsoft.com/office/drawing/2014/main" id="{52D9BFD9-B9D6-4471-B3B5-72A55B0BBE12}"/>
              </a:ext>
            </a:extLst>
          </p:cNvPr>
          <p:cNvSpPr>
            <a:spLocks noChangeArrowheads="1"/>
          </p:cNvSpPr>
          <p:nvPr/>
        </p:nvSpPr>
        <p:spPr bwMode="gray">
          <a:xfrm>
            <a:off x="3925297" y="2076222"/>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70" name="Oval 448">
            <a:extLst>
              <a:ext uri="{FF2B5EF4-FFF2-40B4-BE49-F238E27FC236}">
                <a16:creationId xmlns:a16="http://schemas.microsoft.com/office/drawing/2014/main" id="{12DE5C51-998C-45C8-9F5E-A3A419ECCE5B}"/>
              </a:ext>
            </a:extLst>
          </p:cNvPr>
          <p:cNvSpPr>
            <a:spLocks noChangeArrowheads="1"/>
          </p:cNvSpPr>
          <p:nvPr/>
        </p:nvSpPr>
        <p:spPr bwMode="gray">
          <a:xfrm>
            <a:off x="6312415" y="2985192"/>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71" name="Oval 449">
            <a:extLst>
              <a:ext uri="{FF2B5EF4-FFF2-40B4-BE49-F238E27FC236}">
                <a16:creationId xmlns:a16="http://schemas.microsoft.com/office/drawing/2014/main" id="{551D9A0B-7709-4335-A379-0AD5D4D9D32B}"/>
              </a:ext>
            </a:extLst>
          </p:cNvPr>
          <p:cNvSpPr>
            <a:spLocks noChangeArrowheads="1"/>
          </p:cNvSpPr>
          <p:nvPr/>
        </p:nvSpPr>
        <p:spPr bwMode="gray">
          <a:xfrm>
            <a:off x="6312415" y="2985192"/>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72" name="Oval 450">
            <a:extLst>
              <a:ext uri="{FF2B5EF4-FFF2-40B4-BE49-F238E27FC236}">
                <a16:creationId xmlns:a16="http://schemas.microsoft.com/office/drawing/2014/main" id="{3BF76273-C1AE-46F9-A1D1-869CA6C98079}"/>
              </a:ext>
            </a:extLst>
          </p:cNvPr>
          <p:cNvSpPr>
            <a:spLocks noChangeArrowheads="1"/>
          </p:cNvSpPr>
          <p:nvPr/>
        </p:nvSpPr>
        <p:spPr bwMode="gray">
          <a:xfrm>
            <a:off x="6145400" y="2894534"/>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73" name="Oval 455">
            <a:extLst>
              <a:ext uri="{FF2B5EF4-FFF2-40B4-BE49-F238E27FC236}">
                <a16:creationId xmlns:a16="http://schemas.microsoft.com/office/drawing/2014/main" id="{F1840607-6211-415F-A690-FCA4B84A929A}"/>
              </a:ext>
            </a:extLst>
          </p:cNvPr>
          <p:cNvSpPr>
            <a:spLocks noChangeArrowheads="1"/>
          </p:cNvSpPr>
          <p:nvPr/>
        </p:nvSpPr>
        <p:spPr bwMode="gray">
          <a:xfrm>
            <a:off x="6424553" y="2895727"/>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74" name="Oval 458">
            <a:extLst>
              <a:ext uri="{FF2B5EF4-FFF2-40B4-BE49-F238E27FC236}">
                <a16:creationId xmlns:a16="http://schemas.microsoft.com/office/drawing/2014/main" id="{DFC81B99-A3C7-4529-A4FB-F3FCD886153A}"/>
              </a:ext>
            </a:extLst>
          </p:cNvPr>
          <p:cNvSpPr>
            <a:spLocks noChangeArrowheads="1"/>
          </p:cNvSpPr>
          <p:nvPr/>
        </p:nvSpPr>
        <p:spPr bwMode="gray">
          <a:xfrm>
            <a:off x="6381607" y="2811034"/>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75" name="Oval 459">
            <a:extLst>
              <a:ext uri="{FF2B5EF4-FFF2-40B4-BE49-F238E27FC236}">
                <a16:creationId xmlns:a16="http://schemas.microsoft.com/office/drawing/2014/main" id="{A9B4E9B8-3121-4362-9617-DDDE335B7907}"/>
              </a:ext>
            </a:extLst>
          </p:cNvPr>
          <p:cNvSpPr>
            <a:spLocks noChangeArrowheads="1"/>
          </p:cNvSpPr>
          <p:nvPr/>
        </p:nvSpPr>
        <p:spPr bwMode="gray">
          <a:xfrm>
            <a:off x="6483008" y="2875448"/>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76" name="Oval 460">
            <a:extLst>
              <a:ext uri="{FF2B5EF4-FFF2-40B4-BE49-F238E27FC236}">
                <a16:creationId xmlns:a16="http://schemas.microsoft.com/office/drawing/2014/main" id="{57D67556-9E84-478D-BFC8-E673D6DF4942}"/>
              </a:ext>
            </a:extLst>
          </p:cNvPr>
          <p:cNvSpPr>
            <a:spLocks noChangeArrowheads="1"/>
          </p:cNvSpPr>
          <p:nvPr/>
        </p:nvSpPr>
        <p:spPr bwMode="gray">
          <a:xfrm>
            <a:off x="3665232" y="2366092"/>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77" name="Oval 474">
            <a:extLst>
              <a:ext uri="{FF2B5EF4-FFF2-40B4-BE49-F238E27FC236}">
                <a16:creationId xmlns:a16="http://schemas.microsoft.com/office/drawing/2014/main" id="{7463974D-53BB-40B2-894B-79C5F16910EE}"/>
              </a:ext>
            </a:extLst>
          </p:cNvPr>
          <p:cNvSpPr>
            <a:spLocks noChangeArrowheads="1"/>
          </p:cNvSpPr>
          <p:nvPr/>
        </p:nvSpPr>
        <p:spPr bwMode="gray">
          <a:xfrm>
            <a:off x="3689089" y="2692938"/>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78" name="Oval 479">
            <a:extLst>
              <a:ext uri="{FF2B5EF4-FFF2-40B4-BE49-F238E27FC236}">
                <a16:creationId xmlns:a16="http://schemas.microsoft.com/office/drawing/2014/main" id="{75B6F404-5DA8-4CC4-B5A6-1A7D3F2DC54C}"/>
              </a:ext>
            </a:extLst>
          </p:cNvPr>
          <p:cNvSpPr>
            <a:spLocks noChangeArrowheads="1"/>
          </p:cNvSpPr>
          <p:nvPr/>
        </p:nvSpPr>
        <p:spPr bwMode="gray">
          <a:xfrm>
            <a:off x="3939613" y="2144218"/>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79" name="Oval 501">
            <a:extLst>
              <a:ext uri="{FF2B5EF4-FFF2-40B4-BE49-F238E27FC236}">
                <a16:creationId xmlns:a16="http://schemas.microsoft.com/office/drawing/2014/main" id="{4C995DD7-8DB6-4179-9317-F7A458B75534}"/>
              </a:ext>
            </a:extLst>
          </p:cNvPr>
          <p:cNvSpPr>
            <a:spLocks noChangeArrowheads="1"/>
          </p:cNvSpPr>
          <p:nvPr/>
        </p:nvSpPr>
        <p:spPr bwMode="gray">
          <a:xfrm>
            <a:off x="2108415" y="2587966"/>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80" name="Oval 502">
            <a:extLst>
              <a:ext uri="{FF2B5EF4-FFF2-40B4-BE49-F238E27FC236}">
                <a16:creationId xmlns:a16="http://schemas.microsoft.com/office/drawing/2014/main" id="{F7A7B9C2-92C8-4249-990F-19E57BC3A568}"/>
              </a:ext>
            </a:extLst>
          </p:cNvPr>
          <p:cNvSpPr>
            <a:spLocks noChangeArrowheads="1"/>
          </p:cNvSpPr>
          <p:nvPr/>
        </p:nvSpPr>
        <p:spPr bwMode="gray">
          <a:xfrm>
            <a:off x="2153748" y="2550987"/>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81" name="Oval 511">
            <a:extLst>
              <a:ext uri="{FF2B5EF4-FFF2-40B4-BE49-F238E27FC236}">
                <a16:creationId xmlns:a16="http://schemas.microsoft.com/office/drawing/2014/main" id="{D50BA369-054F-46DC-ADD2-A9B99870E90B}"/>
              </a:ext>
            </a:extLst>
          </p:cNvPr>
          <p:cNvSpPr>
            <a:spLocks noChangeArrowheads="1"/>
          </p:cNvSpPr>
          <p:nvPr/>
        </p:nvSpPr>
        <p:spPr bwMode="gray">
          <a:xfrm>
            <a:off x="5989121" y="2951791"/>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82" name="Oval 512">
            <a:extLst>
              <a:ext uri="{FF2B5EF4-FFF2-40B4-BE49-F238E27FC236}">
                <a16:creationId xmlns:a16="http://schemas.microsoft.com/office/drawing/2014/main" id="{733E2140-6615-4845-9AFC-ADE532BBF838}"/>
              </a:ext>
            </a:extLst>
          </p:cNvPr>
          <p:cNvSpPr>
            <a:spLocks noChangeArrowheads="1"/>
          </p:cNvSpPr>
          <p:nvPr/>
        </p:nvSpPr>
        <p:spPr bwMode="gray">
          <a:xfrm>
            <a:off x="2095291" y="2734688"/>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83" name="Oval 513">
            <a:extLst>
              <a:ext uri="{FF2B5EF4-FFF2-40B4-BE49-F238E27FC236}">
                <a16:creationId xmlns:a16="http://schemas.microsoft.com/office/drawing/2014/main" id="{B5396530-D617-4C54-B4D7-BF0AC7D94601}"/>
              </a:ext>
            </a:extLst>
          </p:cNvPr>
          <p:cNvSpPr>
            <a:spLocks noChangeArrowheads="1"/>
          </p:cNvSpPr>
          <p:nvPr/>
        </p:nvSpPr>
        <p:spPr bwMode="gray">
          <a:xfrm>
            <a:off x="3998067" y="2529515"/>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84" name="Oval 518">
            <a:extLst>
              <a:ext uri="{FF2B5EF4-FFF2-40B4-BE49-F238E27FC236}">
                <a16:creationId xmlns:a16="http://schemas.microsoft.com/office/drawing/2014/main" id="{67725C0F-7AD8-4283-8D29-62F52F9FE553}"/>
              </a:ext>
            </a:extLst>
          </p:cNvPr>
          <p:cNvSpPr>
            <a:spLocks noChangeArrowheads="1"/>
          </p:cNvSpPr>
          <p:nvPr/>
        </p:nvSpPr>
        <p:spPr bwMode="gray">
          <a:xfrm>
            <a:off x="3610354" y="2785984"/>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85" name="Oval 520">
            <a:extLst>
              <a:ext uri="{FF2B5EF4-FFF2-40B4-BE49-F238E27FC236}">
                <a16:creationId xmlns:a16="http://schemas.microsoft.com/office/drawing/2014/main" id="{AA729CBF-A9E3-4BAF-B2EB-61674F1551BF}"/>
              </a:ext>
            </a:extLst>
          </p:cNvPr>
          <p:cNvSpPr>
            <a:spLocks noChangeArrowheads="1"/>
          </p:cNvSpPr>
          <p:nvPr/>
        </p:nvSpPr>
        <p:spPr bwMode="gray">
          <a:xfrm>
            <a:off x="1142117" y="2895727"/>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86" name="Oval 523">
            <a:extLst>
              <a:ext uri="{FF2B5EF4-FFF2-40B4-BE49-F238E27FC236}">
                <a16:creationId xmlns:a16="http://schemas.microsoft.com/office/drawing/2014/main" id="{11469919-F4DA-4E9F-8175-4F990A17448A}"/>
              </a:ext>
            </a:extLst>
          </p:cNvPr>
          <p:cNvSpPr>
            <a:spLocks noChangeArrowheads="1"/>
          </p:cNvSpPr>
          <p:nvPr/>
        </p:nvSpPr>
        <p:spPr bwMode="gray">
          <a:xfrm>
            <a:off x="1570388" y="2991157"/>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87" name="Oval 531">
            <a:extLst>
              <a:ext uri="{FF2B5EF4-FFF2-40B4-BE49-F238E27FC236}">
                <a16:creationId xmlns:a16="http://schemas.microsoft.com/office/drawing/2014/main" id="{7DB94C8C-F9A9-43EB-A6FA-6A322878A909}"/>
              </a:ext>
            </a:extLst>
          </p:cNvPr>
          <p:cNvSpPr>
            <a:spLocks noChangeArrowheads="1"/>
          </p:cNvSpPr>
          <p:nvPr/>
        </p:nvSpPr>
        <p:spPr bwMode="gray">
          <a:xfrm>
            <a:off x="3897859" y="2112008"/>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88" name="Oval 540">
            <a:extLst>
              <a:ext uri="{FF2B5EF4-FFF2-40B4-BE49-F238E27FC236}">
                <a16:creationId xmlns:a16="http://schemas.microsoft.com/office/drawing/2014/main" id="{9464D2F1-009C-45ED-880B-05D73A7C621F}"/>
              </a:ext>
            </a:extLst>
          </p:cNvPr>
          <p:cNvSpPr>
            <a:spLocks noChangeArrowheads="1"/>
          </p:cNvSpPr>
          <p:nvPr/>
        </p:nvSpPr>
        <p:spPr bwMode="gray">
          <a:xfrm>
            <a:off x="3802424" y="2380406"/>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89" name="Oval 542">
            <a:extLst>
              <a:ext uri="{FF2B5EF4-FFF2-40B4-BE49-F238E27FC236}">
                <a16:creationId xmlns:a16="http://schemas.microsoft.com/office/drawing/2014/main" id="{17278DAC-425A-41EB-9E3D-BF747F9D542E}"/>
              </a:ext>
            </a:extLst>
          </p:cNvPr>
          <p:cNvSpPr>
            <a:spLocks noChangeArrowheads="1"/>
          </p:cNvSpPr>
          <p:nvPr/>
        </p:nvSpPr>
        <p:spPr bwMode="gray">
          <a:xfrm>
            <a:off x="3791686" y="2599895"/>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90" name="Oval 544">
            <a:extLst>
              <a:ext uri="{FF2B5EF4-FFF2-40B4-BE49-F238E27FC236}">
                <a16:creationId xmlns:a16="http://schemas.microsoft.com/office/drawing/2014/main" id="{40B96E49-A4B1-41D0-8BDE-42AB4065E646}"/>
              </a:ext>
            </a:extLst>
          </p:cNvPr>
          <p:cNvSpPr>
            <a:spLocks noChangeArrowheads="1"/>
          </p:cNvSpPr>
          <p:nvPr/>
        </p:nvSpPr>
        <p:spPr bwMode="gray">
          <a:xfrm>
            <a:off x="6178803" y="2726339"/>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91" name="Oval 549">
            <a:extLst>
              <a:ext uri="{FF2B5EF4-FFF2-40B4-BE49-F238E27FC236}">
                <a16:creationId xmlns:a16="http://schemas.microsoft.com/office/drawing/2014/main" id="{6CAAE814-E835-4CEF-AF3E-9273854211F3}"/>
              </a:ext>
            </a:extLst>
          </p:cNvPr>
          <p:cNvSpPr>
            <a:spLocks noChangeArrowheads="1"/>
          </p:cNvSpPr>
          <p:nvPr/>
        </p:nvSpPr>
        <p:spPr bwMode="gray">
          <a:xfrm>
            <a:off x="5458255" y="2703675"/>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92" name="Oval 557">
            <a:extLst>
              <a:ext uri="{FF2B5EF4-FFF2-40B4-BE49-F238E27FC236}">
                <a16:creationId xmlns:a16="http://schemas.microsoft.com/office/drawing/2014/main" id="{B69E34DF-6056-451E-95C4-220CBB6679CE}"/>
              </a:ext>
            </a:extLst>
          </p:cNvPr>
          <p:cNvSpPr>
            <a:spLocks noChangeArrowheads="1"/>
          </p:cNvSpPr>
          <p:nvPr/>
        </p:nvSpPr>
        <p:spPr bwMode="gray">
          <a:xfrm>
            <a:off x="6270661" y="2923164"/>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93" name="Oval 558">
            <a:extLst>
              <a:ext uri="{FF2B5EF4-FFF2-40B4-BE49-F238E27FC236}">
                <a16:creationId xmlns:a16="http://schemas.microsoft.com/office/drawing/2014/main" id="{6D224116-06CE-46DC-B311-2C11A83954DB}"/>
              </a:ext>
            </a:extLst>
          </p:cNvPr>
          <p:cNvSpPr>
            <a:spLocks noChangeArrowheads="1"/>
          </p:cNvSpPr>
          <p:nvPr/>
        </p:nvSpPr>
        <p:spPr bwMode="gray">
          <a:xfrm>
            <a:off x="6270661" y="2923164"/>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94" name="Oval 559">
            <a:extLst>
              <a:ext uri="{FF2B5EF4-FFF2-40B4-BE49-F238E27FC236}">
                <a16:creationId xmlns:a16="http://schemas.microsoft.com/office/drawing/2014/main" id="{FCD53B6E-7833-4C5F-AE82-4B9E428E06E6}"/>
              </a:ext>
            </a:extLst>
          </p:cNvPr>
          <p:cNvSpPr>
            <a:spLocks noChangeArrowheads="1"/>
          </p:cNvSpPr>
          <p:nvPr/>
        </p:nvSpPr>
        <p:spPr bwMode="gray">
          <a:xfrm>
            <a:off x="6114383" y="2819384"/>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95" name="Oval 560">
            <a:extLst>
              <a:ext uri="{FF2B5EF4-FFF2-40B4-BE49-F238E27FC236}">
                <a16:creationId xmlns:a16="http://schemas.microsoft.com/office/drawing/2014/main" id="{CC8CB7BD-62BE-4850-9E25-233704A2C516}"/>
              </a:ext>
            </a:extLst>
          </p:cNvPr>
          <p:cNvSpPr>
            <a:spLocks noChangeArrowheads="1"/>
          </p:cNvSpPr>
          <p:nvPr/>
        </p:nvSpPr>
        <p:spPr bwMode="gray">
          <a:xfrm>
            <a:off x="5908000" y="2997120"/>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96" name="Oval 561">
            <a:extLst>
              <a:ext uri="{FF2B5EF4-FFF2-40B4-BE49-F238E27FC236}">
                <a16:creationId xmlns:a16="http://schemas.microsoft.com/office/drawing/2014/main" id="{45F3A6FE-0254-4EB5-92EB-E1F0C9A747A9}"/>
              </a:ext>
            </a:extLst>
          </p:cNvPr>
          <p:cNvSpPr>
            <a:spLocks noChangeArrowheads="1"/>
          </p:cNvSpPr>
          <p:nvPr/>
        </p:nvSpPr>
        <p:spPr bwMode="gray">
          <a:xfrm>
            <a:off x="6233680" y="2621366"/>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97" name="Oval 562">
            <a:extLst>
              <a:ext uri="{FF2B5EF4-FFF2-40B4-BE49-F238E27FC236}">
                <a16:creationId xmlns:a16="http://schemas.microsoft.com/office/drawing/2014/main" id="{43B31FA1-23CE-4437-844C-636DEC34B6FF}"/>
              </a:ext>
            </a:extLst>
          </p:cNvPr>
          <p:cNvSpPr>
            <a:spLocks noChangeArrowheads="1"/>
          </p:cNvSpPr>
          <p:nvPr/>
        </p:nvSpPr>
        <p:spPr bwMode="gray">
          <a:xfrm>
            <a:off x="6127505" y="3165317"/>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98" name="Oval 563">
            <a:extLst>
              <a:ext uri="{FF2B5EF4-FFF2-40B4-BE49-F238E27FC236}">
                <a16:creationId xmlns:a16="http://schemas.microsoft.com/office/drawing/2014/main" id="{15B6BB9E-BA91-4BEB-8581-9825D4C085B3}"/>
              </a:ext>
            </a:extLst>
          </p:cNvPr>
          <p:cNvSpPr>
            <a:spLocks noChangeArrowheads="1"/>
          </p:cNvSpPr>
          <p:nvPr/>
        </p:nvSpPr>
        <p:spPr bwMode="gray">
          <a:xfrm>
            <a:off x="6135857" y="2751389"/>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99" name="Oval 564">
            <a:extLst>
              <a:ext uri="{FF2B5EF4-FFF2-40B4-BE49-F238E27FC236}">
                <a16:creationId xmlns:a16="http://schemas.microsoft.com/office/drawing/2014/main" id="{1341588F-3CAE-4593-A368-65C662E69350}"/>
              </a:ext>
            </a:extLst>
          </p:cNvPr>
          <p:cNvSpPr>
            <a:spLocks noChangeArrowheads="1"/>
          </p:cNvSpPr>
          <p:nvPr/>
        </p:nvSpPr>
        <p:spPr bwMode="gray">
          <a:xfrm>
            <a:off x="6158523" y="3001893"/>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00" name="Oval 571">
            <a:extLst>
              <a:ext uri="{FF2B5EF4-FFF2-40B4-BE49-F238E27FC236}">
                <a16:creationId xmlns:a16="http://schemas.microsoft.com/office/drawing/2014/main" id="{32946EB6-7C9E-4D64-85CB-59FC1578E5CF}"/>
              </a:ext>
            </a:extLst>
          </p:cNvPr>
          <p:cNvSpPr>
            <a:spLocks noChangeArrowheads="1"/>
          </p:cNvSpPr>
          <p:nvPr/>
        </p:nvSpPr>
        <p:spPr bwMode="gray">
          <a:xfrm>
            <a:off x="1695651" y="3001893"/>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01" name="Oval 573">
            <a:extLst>
              <a:ext uri="{FF2B5EF4-FFF2-40B4-BE49-F238E27FC236}">
                <a16:creationId xmlns:a16="http://schemas.microsoft.com/office/drawing/2014/main" id="{FD8B9857-59DF-42F4-9F94-013F10A943F9}"/>
              </a:ext>
            </a:extLst>
          </p:cNvPr>
          <p:cNvSpPr>
            <a:spLocks noChangeArrowheads="1"/>
          </p:cNvSpPr>
          <p:nvPr/>
        </p:nvSpPr>
        <p:spPr bwMode="gray">
          <a:xfrm>
            <a:off x="3796457" y="2049980"/>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02" name="Oval 575">
            <a:extLst>
              <a:ext uri="{FF2B5EF4-FFF2-40B4-BE49-F238E27FC236}">
                <a16:creationId xmlns:a16="http://schemas.microsoft.com/office/drawing/2014/main" id="{B2B74DBA-F2B5-417E-83E5-675A1F80BB3B}"/>
              </a:ext>
            </a:extLst>
          </p:cNvPr>
          <p:cNvSpPr>
            <a:spLocks noChangeArrowheads="1"/>
          </p:cNvSpPr>
          <p:nvPr/>
        </p:nvSpPr>
        <p:spPr bwMode="gray">
          <a:xfrm>
            <a:off x="3839404" y="1980793"/>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03" name="Oval 577">
            <a:extLst>
              <a:ext uri="{FF2B5EF4-FFF2-40B4-BE49-F238E27FC236}">
                <a16:creationId xmlns:a16="http://schemas.microsoft.com/office/drawing/2014/main" id="{AB3684F0-B481-4A56-9200-E41B5071B599}"/>
              </a:ext>
            </a:extLst>
          </p:cNvPr>
          <p:cNvSpPr>
            <a:spLocks noChangeArrowheads="1"/>
          </p:cNvSpPr>
          <p:nvPr/>
        </p:nvSpPr>
        <p:spPr bwMode="gray">
          <a:xfrm>
            <a:off x="6312415" y="2985192"/>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04" name="Oval 578">
            <a:extLst>
              <a:ext uri="{FF2B5EF4-FFF2-40B4-BE49-F238E27FC236}">
                <a16:creationId xmlns:a16="http://schemas.microsoft.com/office/drawing/2014/main" id="{E49F17E5-59C2-4089-B5F1-E2BC2922ED68}"/>
              </a:ext>
            </a:extLst>
          </p:cNvPr>
          <p:cNvSpPr>
            <a:spLocks noChangeArrowheads="1"/>
          </p:cNvSpPr>
          <p:nvPr/>
        </p:nvSpPr>
        <p:spPr bwMode="gray">
          <a:xfrm>
            <a:off x="5989121" y="3026943"/>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05" name="Oval 579">
            <a:extLst>
              <a:ext uri="{FF2B5EF4-FFF2-40B4-BE49-F238E27FC236}">
                <a16:creationId xmlns:a16="http://schemas.microsoft.com/office/drawing/2014/main" id="{4DB212B9-AB49-460C-B6AF-0D6F17E7A07A}"/>
              </a:ext>
            </a:extLst>
          </p:cNvPr>
          <p:cNvSpPr>
            <a:spLocks noChangeArrowheads="1"/>
          </p:cNvSpPr>
          <p:nvPr/>
        </p:nvSpPr>
        <p:spPr bwMode="gray">
          <a:xfrm>
            <a:off x="5908000" y="2997120"/>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06" name="Oval 580">
            <a:extLst>
              <a:ext uri="{FF2B5EF4-FFF2-40B4-BE49-F238E27FC236}">
                <a16:creationId xmlns:a16="http://schemas.microsoft.com/office/drawing/2014/main" id="{3EC252F0-AF13-4C14-9816-C8C6C4650197}"/>
              </a:ext>
            </a:extLst>
          </p:cNvPr>
          <p:cNvSpPr>
            <a:spLocks noChangeArrowheads="1"/>
          </p:cNvSpPr>
          <p:nvPr/>
        </p:nvSpPr>
        <p:spPr bwMode="gray">
          <a:xfrm>
            <a:off x="6279011" y="3038871"/>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07" name="Oval 582">
            <a:extLst>
              <a:ext uri="{FF2B5EF4-FFF2-40B4-BE49-F238E27FC236}">
                <a16:creationId xmlns:a16="http://schemas.microsoft.com/office/drawing/2014/main" id="{5457264A-F7E6-4ABA-9AD3-F1205C630A9D}"/>
              </a:ext>
            </a:extLst>
          </p:cNvPr>
          <p:cNvSpPr>
            <a:spLocks noChangeArrowheads="1"/>
          </p:cNvSpPr>
          <p:nvPr/>
        </p:nvSpPr>
        <p:spPr bwMode="gray">
          <a:xfrm>
            <a:off x="3881157" y="2472257"/>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08" name="Oval 585">
            <a:extLst>
              <a:ext uri="{FF2B5EF4-FFF2-40B4-BE49-F238E27FC236}">
                <a16:creationId xmlns:a16="http://schemas.microsoft.com/office/drawing/2014/main" id="{A95E6845-5D94-4E01-9EC6-6EF9C9BA73AD}"/>
              </a:ext>
            </a:extLst>
          </p:cNvPr>
          <p:cNvSpPr>
            <a:spLocks noChangeArrowheads="1"/>
          </p:cNvSpPr>
          <p:nvPr/>
        </p:nvSpPr>
        <p:spPr bwMode="gray">
          <a:xfrm>
            <a:off x="1139730" y="2912427"/>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09" name="Oval 588">
            <a:extLst>
              <a:ext uri="{FF2B5EF4-FFF2-40B4-BE49-F238E27FC236}">
                <a16:creationId xmlns:a16="http://schemas.microsoft.com/office/drawing/2014/main" id="{987EE422-62F2-4088-A7E2-63FA04392B63}"/>
              </a:ext>
            </a:extLst>
          </p:cNvPr>
          <p:cNvSpPr>
            <a:spLocks noChangeArrowheads="1"/>
          </p:cNvSpPr>
          <p:nvPr/>
        </p:nvSpPr>
        <p:spPr bwMode="gray">
          <a:xfrm>
            <a:off x="3506568" y="2734688"/>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10" name="Oval 590">
            <a:extLst>
              <a:ext uri="{FF2B5EF4-FFF2-40B4-BE49-F238E27FC236}">
                <a16:creationId xmlns:a16="http://schemas.microsoft.com/office/drawing/2014/main" id="{D56BE721-FCC2-42B2-9180-718F46B4234B}"/>
              </a:ext>
            </a:extLst>
          </p:cNvPr>
          <p:cNvSpPr>
            <a:spLocks noChangeArrowheads="1"/>
          </p:cNvSpPr>
          <p:nvPr/>
        </p:nvSpPr>
        <p:spPr bwMode="gray">
          <a:xfrm>
            <a:off x="4043399" y="2506851"/>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11" name="Oval 591">
            <a:extLst>
              <a:ext uri="{FF2B5EF4-FFF2-40B4-BE49-F238E27FC236}">
                <a16:creationId xmlns:a16="http://schemas.microsoft.com/office/drawing/2014/main" id="{A283CE9F-052A-423F-9D3A-D680D892A481}"/>
              </a:ext>
            </a:extLst>
          </p:cNvPr>
          <p:cNvSpPr>
            <a:spLocks noChangeArrowheads="1"/>
          </p:cNvSpPr>
          <p:nvPr/>
        </p:nvSpPr>
        <p:spPr bwMode="gray">
          <a:xfrm>
            <a:off x="3856106" y="2618980"/>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12" name="Oval 592">
            <a:extLst>
              <a:ext uri="{FF2B5EF4-FFF2-40B4-BE49-F238E27FC236}">
                <a16:creationId xmlns:a16="http://schemas.microsoft.com/office/drawing/2014/main" id="{B8A23CA2-67C5-45F4-AD67-4625933B7281}"/>
              </a:ext>
            </a:extLst>
          </p:cNvPr>
          <p:cNvSpPr>
            <a:spLocks noChangeArrowheads="1"/>
          </p:cNvSpPr>
          <p:nvPr/>
        </p:nvSpPr>
        <p:spPr bwMode="gray">
          <a:xfrm>
            <a:off x="3727266" y="2644030"/>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13" name="Oval 605">
            <a:extLst>
              <a:ext uri="{FF2B5EF4-FFF2-40B4-BE49-F238E27FC236}">
                <a16:creationId xmlns:a16="http://schemas.microsoft.com/office/drawing/2014/main" id="{3F2A7BF6-7763-4518-A02F-13961A77EAFC}"/>
              </a:ext>
            </a:extLst>
          </p:cNvPr>
          <p:cNvSpPr>
            <a:spLocks noChangeArrowheads="1"/>
          </p:cNvSpPr>
          <p:nvPr/>
        </p:nvSpPr>
        <p:spPr bwMode="gray">
          <a:xfrm>
            <a:off x="4241433" y="2194317"/>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14" name="Oval 606">
            <a:extLst>
              <a:ext uri="{FF2B5EF4-FFF2-40B4-BE49-F238E27FC236}">
                <a16:creationId xmlns:a16="http://schemas.microsoft.com/office/drawing/2014/main" id="{0BBB9BB4-986A-4B2D-B39C-6DB7A382F96D}"/>
              </a:ext>
            </a:extLst>
          </p:cNvPr>
          <p:cNvSpPr>
            <a:spLocks noChangeArrowheads="1"/>
          </p:cNvSpPr>
          <p:nvPr/>
        </p:nvSpPr>
        <p:spPr bwMode="gray">
          <a:xfrm>
            <a:off x="3796457" y="2422157"/>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15" name="Oval 607">
            <a:extLst>
              <a:ext uri="{FF2B5EF4-FFF2-40B4-BE49-F238E27FC236}">
                <a16:creationId xmlns:a16="http://schemas.microsoft.com/office/drawing/2014/main" id="{B85C6302-2C9F-4597-A42A-2606D7F21918}"/>
              </a:ext>
            </a:extLst>
          </p:cNvPr>
          <p:cNvSpPr>
            <a:spLocks noChangeArrowheads="1"/>
          </p:cNvSpPr>
          <p:nvPr/>
        </p:nvSpPr>
        <p:spPr bwMode="gray">
          <a:xfrm>
            <a:off x="3747546" y="2556951"/>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16" name="Oval 608">
            <a:extLst>
              <a:ext uri="{FF2B5EF4-FFF2-40B4-BE49-F238E27FC236}">
                <a16:creationId xmlns:a16="http://schemas.microsoft.com/office/drawing/2014/main" id="{B0BD290A-FED0-4DB2-97D8-8059B1CCC944}"/>
              </a:ext>
            </a:extLst>
          </p:cNvPr>
          <p:cNvSpPr>
            <a:spLocks noChangeArrowheads="1"/>
          </p:cNvSpPr>
          <p:nvPr/>
        </p:nvSpPr>
        <p:spPr bwMode="gray">
          <a:xfrm>
            <a:off x="3566215" y="2655958"/>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17" name="Oval 609">
            <a:extLst>
              <a:ext uri="{FF2B5EF4-FFF2-40B4-BE49-F238E27FC236}">
                <a16:creationId xmlns:a16="http://schemas.microsoft.com/office/drawing/2014/main" id="{B01FAFB9-5475-4ECB-90A9-4E5767C9B09D}"/>
              </a:ext>
            </a:extLst>
          </p:cNvPr>
          <p:cNvSpPr>
            <a:spLocks noChangeArrowheads="1"/>
          </p:cNvSpPr>
          <p:nvPr/>
        </p:nvSpPr>
        <p:spPr bwMode="gray">
          <a:xfrm>
            <a:off x="5937825" y="2999506"/>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18" name="Oval 616">
            <a:extLst>
              <a:ext uri="{FF2B5EF4-FFF2-40B4-BE49-F238E27FC236}">
                <a16:creationId xmlns:a16="http://schemas.microsoft.com/office/drawing/2014/main" id="{9ADB1F8D-ABB9-4988-A80A-AD630AA856BD}"/>
              </a:ext>
            </a:extLst>
          </p:cNvPr>
          <p:cNvSpPr>
            <a:spLocks noChangeArrowheads="1"/>
          </p:cNvSpPr>
          <p:nvPr/>
        </p:nvSpPr>
        <p:spPr bwMode="gray">
          <a:xfrm>
            <a:off x="6203854" y="2754968"/>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19" name="Oval 617">
            <a:extLst>
              <a:ext uri="{FF2B5EF4-FFF2-40B4-BE49-F238E27FC236}">
                <a16:creationId xmlns:a16="http://schemas.microsoft.com/office/drawing/2014/main" id="{45CC4A08-0203-48C5-A6D3-CA9709E56473}"/>
              </a:ext>
            </a:extLst>
          </p:cNvPr>
          <p:cNvSpPr>
            <a:spLocks noChangeArrowheads="1"/>
          </p:cNvSpPr>
          <p:nvPr/>
        </p:nvSpPr>
        <p:spPr bwMode="gray">
          <a:xfrm>
            <a:off x="6178803" y="2801490"/>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20" name="Oval 618">
            <a:extLst>
              <a:ext uri="{FF2B5EF4-FFF2-40B4-BE49-F238E27FC236}">
                <a16:creationId xmlns:a16="http://schemas.microsoft.com/office/drawing/2014/main" id="{D74AE257-F5F0-48B8-9DE8-DA0D12657BCD}"/>
              </a:ext>
            </a:extLst>
          </p:cNvPr>
          <p:cNvSpPr>
            <a:spLocks noChangeArrowheads="1"/>
          </p:cNvSpPr>
          <p:nvPr/>
        </p:nvSpPr>
        <p:spPr bwMode="gray">
          <a:xfrm>
            <a:off x="6233680" y="2852784"/>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21" name="Oval 619">
            <a:extLst>
              <a:ext uri="{FF2B5EF4-FFF2-40B4-BE49-F238E27FC236}">
                <a16:creationId xmlns:a16="http://schemas.microsoft.com/office/drawing/2014/main" id="{D1FB5DBC-2D9A-49DE-BF80-AE5B9AE8D8D1}"/>
              </a:ext>
            </a:extLst>
          </p:cNvPr>
          <p:cNvSpPr>
            <a:spLocks noChangeArrowheads="1"/>
          </p:cNvSpPr>
          <p:nvPr/>
        </p:nvSpPr>
        <p:spPr bwMode="gray">
          <a:xfrm>
            <a:off x="6144207" y="2917199"/>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22" name="Oval 620">
            <a:extLst>
              <a:ext uri="{FF2B5EF4-FFF2-40B4-BE49-F238E27FC236}">
                <a16:creationId xmlns:a16="http://schemas.microsoft.com/office/drawing/2014/main" id="{3581F3FE-C909-4636-9CD2-96D085BA5643}"/>
              </a:ext>
            </a:extLst>
          </p:cNvPr>
          <p:cNvSpPr>
            <a:spLocks noChangeArrowheads="1"/>
          </p:cNvSpPr>
          <p:nvPr/>
        </p:nvSpPr>
        <p:spPr bwMode="gray">
          <a:xfrm>
            <a:off x="6270661" y="2923164"/>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23" name="Oval 623">
            <a:extLst>
              <a:ext uri="{FF2B5EF4-FFF2-40B4-BE49-F238E27FC236}">
                <a16:creationId xmlns:a16="http://schemas.microsoft.com/office/drawing/2014/main" id="{666F9F77-A0D9-48BF-8843-667BC74643C9}"/>
              </a:ext>
            </a:extLst>
          </p:cNvPr>
          <p:cNvSpPr>
            <a:spLocks noChangeArrowheads="1"/>
          </p:cNvSpPr>
          <p:nvPr/>
        </p:nvSpPr>
        <p:spPr bwMode="gray">
          <a:xfrm>
            <a:off x="6381607" y="2811034"/>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24" name="Oval 624">
            <a:extLst>
              <a:ext uri="{FF2B5EF4-FFF2-40B4-BE49-F238E27FC236}">
                <a16:creationId xmlns:a16="http://schemas.microsoft.com/office/drawing/2014/main" id="{92BFFD55-58FB-4254-BB06-847294D83EF4}"/>
              </a:ext>
            </a:extLst>
          </p:cNvPr>
          <p:cNvSpPr>
            <a:spLocks noChangeArrowheads="1"/>
          </p:cNvSpPr>
          <p:nvPr/>
        </p:nvSpPr>
        <p:spPr bwMode="gray">
          <a:xfrm>
            <a:off x="6443641" y="2821770"/>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25" name="Oval 627">
            <a:extLst>
              <a:ext uri="{FF2B5EF4-FFF2-40B4-BE49-F238E27FC236}">
                <a16:creationId xmlns:a16="http://schemas.microsoft.com/office/drawing/2014/main" id="{F455CA1A-DDF5-4BC3-A42B-B025D14F46C0}"/>
              </a:ext>
            </a:extLst>
          </p:cNvPr>
          <p:cNvSpPr>
            <a:spLocks noChangeArrowheads="1"/>
          </p:cNvSpPr>
          <p:nvPr/>
        </p:nvSpPr>
        <p:spPr bwMode="gray">
          <a:xfrm>
            <a:off x="3841791" y="2525937"/>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26" name="Oval 629">
            <a:extLst>
              <a:ext uri="{FF2B5EF4-FFF2-40B4-BE49-F238E27FC236}">
                <a16:creationId xmlns:a16="http://schemas.microsoft.com/office/drawing/2014/main" id="{AD1B797E-B2F9-4906-8B8A-488172FB490C}"/>
              </a:ext>
            </a:extLst>
          </p:cNvPr>
          <p:cNvSpPr>
            <a:spLocks noChangeArrowheads="1"/>
          </p:cNvSpPr>
          <p:nvPr/>
        </p:nvSpPr>
        <p:spPr bwMode="gray">
          <a:xfrm>
            <a:off x="1243517" y="2326727"/>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27" name="Oval 632">
            <a:extLst>
              <a:ext uri="{FF2B5EF4-FFF2-40B4-BE49-F238E27FC236}">
                <a16:creationId xmlns:a16="http://schemas.microsoft.com/office/drawing/2014/main" id="{547789E1-BD99-40F5-AD78-783B8A0852DD}"/>
              </a:ext>
            </a:extLst>
          </p:cNvPr>
          <p:cNvSpPr>
            <a:spLocks noChangeArrowheads="1"/>
          </p:cNvSpPr>
          <p:nvPr/>
        </p:nvSpPr>
        <p:spPr bwMode="gray">
          <a:xfrm>
            <a:off x="1595442" y="2453170"/>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28" name="Oval 633">
            <a:extLst>
              <a:ext uri="{FF2B5EF4-FFF2-40B4-BE49-F238E27FC236}">
                <a16:creationId xmlns:a16="http://schemas.microsoft.com/office/drawing/2014/main" id="{EE276F6F-598D-475D-9901-E909FDA4A0D6}"/>
              </a:ext>
            </a:extLst>
          </p:cNvPr>
          <p:cNvSpPr>
            <a:spLocks noChangeArrowheads="1"/>
          </p:cNvSpPr>
          <p:nvPr/>
        </p:nvSpPr>
        <p:spPr bwMode="gray">
          <a:xfrm>
            <a:off x="1972416" y="2652381"/>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29" name="Oval 634">
            <a:extLst>
              <a:ext uri="{FF2B5EF4-FFF2-40B4-BE49-F238E27FC236}">
                <a16:creationId xmlns:a16="http://schemas.microsoft.com/office/drawing/2014/main" id="{278E7207-884A-4C80-8601-682DBAF21F6E}"/>
              </a:ext>
            </a:extLst>
          </p:cNvPr>
          <p:cNvSpPr>
            <a:spLocks noChangeArrowheads="1"/>
          </p:cNvSpPr>
          <p:nvPr/>
        </p:nvSpPr>
        <p:spPr bwMode="gray">
          <a:xfrm>
            <a:off x="1003731" y="2281397"/>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30" name="Oval 635">
            <a:extLst>
              <a:ext uri="{FF2B5EF4-FFF2-40B4-BE49-F238E27FC236}">
                <a16:creationId xmlns:a16="http://schemas.microsoft.com/office/drawing/2014/main" id="{ACEFEE15-1BAB-4294-8AFD-4607F6FD989E}"/>
              </a:ext>
            </a:extLst>
          </p:cNvPr>
          <p:cNvSpPr>
            <a:spLocks noChangeArrowheads="1"/>
          </p:cNvSpPr>
          <p:nvPr/>
        </p:nvSpPr>
        <p:spPr bwMode="gray">
          <a:xfrm>
            <a:off x="2054731" y="2599895"/>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31" name="Oval 636">
            <a:extLst>
              <a:ext uri="{FF2B5EF4-FFF2-40B4-BE49-F238E27FC236}">
                <a16:creationId xmlns:a16="http://schemas.microsoft.com/office/drawing/2014/main" id="{B50D6BBD-E734-4C5E-8CD5-F9D9F3592F38}"/>
              </a:ext>
            </a:extLst>
          </p:cNvPr>
          <p:cNvSpPr>
            <a:spLocks noChangeArrowheads="1"/>
          </p:cNvSpPr>
          <p:nvPr/>
        </p:nvSpPr>
        <p:spPr bwMode="gray">
          <a:xfrm>
            <a:off x="1041907" y="2469872"/>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32" name="Oval 637">
            <a:extLst>
              <a:ext uri="{FF2B5EF4-FFF2-40B4-BE49-F238E27FC236}">
                <a16:creationId xmlns:a16="http://schemas.microsoft.com/office/drawing/2014/main" id="{9DB4BB6C-77CA-46C2-8796-DA709D7E922F}"/>
              </a:ext>
            </a:extLst>
          </p:cNvPr>
          <p:cNvSpPr>
            <a:spLocks noChangeArrowheads="1"/>
          </p:cNvSpPr>
          <p:nvPr/>
        </p:nvSpPr>
        <p:spPr bwMode="gray">
          <a:xfrm>
            <a:off x="2153747" y="2550987"/>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33" name="Oval 638">
            <a:extLst>
              <a:ext uri="{FF2B5EF4-FFF2-40B4-BE49-F238E27FC236}">
                <a16:creationId xmlns:a16="http://schemas.microsoft.com/office/drawing/2014/main" id="{F7C4F787-EFE8-4A5E-B830-8903DA79B231}"/>
              </a:ext>
            </a:extLst>
          </p:cNvPr>
          <p:cNvSpPr>
            <a:spLocks noChangeArrowheads="1"/>
          </p:cNvSpPr>
          <p:nvPr/>
        </p:nvSpPr>
        <p:spPr bwMode="gray">
          <a:xfrm>
            <a:off x="1971224" y="2641646"/>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34" name="Oval 641">
            <a:extLst>
              <a:ext uri="{FF2B5EF4-FFF2-40B4-BE49-F238E27FC236}">
                <a16:creationId xmlns:a16="http://schemas.microsoft.com/office/drawing/2014/main" id="{2E44B10B-7F79-4A7B-8152-9F0D01E0A661}"/>
              </a:ext>
            </a:extLst>
          </p:cNvPr>
          <p:cNvSpPr>
            <a:spLocks noChangeArrowheads="1"/>
          </p:cNvSpPr>
          <p:nvPr/>
        </p:nvSpPr>
        <p:spPr bwMode="gray">
          <a:xfrm>
            <a:off x="6424553" y="2824155"/>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35" name="Oval 643">
            <a:extLst>
              <a:ext uri="{FF2B5EF4-FFF2-40B4-BE49-F238E27FC236}">
                <a16:creationId xmlns:a16="http://schemas.microsoft.com/office/drawing/2014/main" id="{6E5344A0-11CD-4594-9CA4-AA2F5D23F85C}"/>
              </a:ext>
            </a:extLst>
          </p:cNvPr>
          <p:cNvSpPr>
            <a:spLocks noChangeArrowheads="1"/>
          </p:cNvSpPr>
          <p:nvPr/>
        </p:nvSpPr>
        <p:spPr bwMode="gray">
          <a:xfrm>
            <a:off x="6479430" y="2824155"/>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36" name="Oval 645">
            <a:extLst>
              <a:ext uri="{FF2B5EF4-FFF2-40B4-BE49-F238E27FC236}">
                <a16:creationId xmlns:a16="http://schemas.microsoft.com/office/drawing/2014/main" id="{AAD5E79D-203D-45D4-856C-F112B7FABB41}"/>
              </a:ext>
            </a:extLst>
          </p:cNvPr>
          <p:cNvSpPr>
            <a:spLocks noChangeArrowheads="1"/>
          </p:cNvSpPr>
          <p:nvPr/>
        </p:nvSpPr>
        <p:spPr bwMode="gray">
          <a:xfrm>
            <a:off x="6468692" y="2883799"/>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37" name="Oval 647">
            <a:extLst>
              <a:ext uri="{FF2B5EF4-FFF2-40B4-BE49-F238E27FC236}">
                <a16:creationId xmlns:a16="http://schemas.microsoft.com/office/drawing/2014/main" id="{8746A163-F519-48B6-AEB2-47F0AEF3DD94}"/>
              </a:ext>
            </a:extLst>
          </p:cNvPr>
          <p:cNvSpPr>
            <a:spLocks noChangeArrowheads="1"/>
          </p:cNvSpPr>
          <p:nvPr/>
        </p:nvSpPr>
        <p:spPr bwMode="gray">
          <a:xfrm>
            <a:off x="6974508" y="4243673"/>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38" name="Oval 648">
            <a:extLst>
              <a:ext uri="{FF2B5EF4-FFF2-40B4-BE49-F238E27FC236}">
                <a16:creationId xmlns:a16="http://schemas.microsoft.com/office/drawing/2014/main" id="{A37EF23B-3FF4-46E3-8EA7-2659B4961F7E}"/>
              </a:ext>
            </a:extLst>
          </p:cNvPr>
          <p:cNvSpPr>
            <a:spLocks noChangeArrowheads="1"/>
          </p:cNvSpPr>
          <p:nvPr/>
        </p:nvSpPr>
        <p:spPr bwMode="gray">
          <a:xfrm>
            <a:off x="6268274" y="4167330"/>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39" name="Oval 650">
            <a:extLst>
              <a:ext uri="{FF2B5EF4-FFF2-40B4-BE49-F238E27FC236}">
                <a16:creationId xmlns:a16="http://schemas.microsoft.com/office/drawing/2014/main" id="{E724D3F6-B635-4895-84A4-3927EFC0CBB0}"/>
              </a:ext>
            </a:extLst>
          </p:cNvPr>
          <p:cNvSpPr>
            <a:spLocks noChangeArrowheads="1"/>
          </p:cNvSpPr>
          <p:nvPr/>
        </p:nvSpPr>
        <p:spPr bwMode="gray">
          <a:xfrm>
            <a:off x="6585602" y="4221008"/>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41" name="Oval 655">
            <a:extLst>
              <a:ext uri="{FF2B5EF4-FFF2-40B4-BE49-F238E27FC236}">
                <a16:creationId xmlns:a16="http://schemas.microsoft.com/office/drawing/2014/main" id="{D632ECDF-B6F9-4219-A219-AB9257FD2EF0}"/>
              </a:ext>
            </a:extLst>
          </p:cNvPr>
          <p:cNvSpPr>
            <a:spLocks noChangeArrowheads="1"/>
          </p:cNvSpPr>
          <p:nvPr/>
        </p:nvSpPr>
        <p:spPr bwMode="gray">
          <a:xfrm>
            <a:off x="6993596" y="4304509"/>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42" name="Oval 661">
            <a:extLst>
              <a:ext uri="{FF2B5EF4-FFF2-40B4-BE49-F238E27FC236}">
                <a16:creationId xmlns:a16="http://schemas.microsoft.com/office/drawing/2014/main" id="{50DFD97B-6EEA-4C10-9FFC-EA9C441EA7AC}"/>
              </a:ext>
            </a:extLst>
          </p:cNvPr>
          <p:cNvSpPr>
            <a:spLocks noChangeArrowheads="1"/>
          </p:cNvSpPr>
          <p:nvPr/>
        </p:nvSpPr>
        <p:spPr bwMode="gray">
          <a:xfrm>
            <a:off x="3612740" y="2740655"/>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43" name="Oval 674">
            <a:extLst>
              <a:ext uri="{FF2B5EF4-FFF2-40B4-BE49-F238E27FC236}">
                <a16:creationId xmlns:a16="http://schemas.microsoft.com/office/drawing/2014/main" id="{19F52DCC-355D-464A-84F3-001F68998C50}"/>
              </a:ext>
            </a:extLst>
          </p:cNvPr>
          <p:cNvSpPr>
            <a:spLocks noChangeArrowheads="1"/>
          </p:cNvSpPr>
          <p:nvPr/>
        </p:nvSpPr>
        <p:spPr bwMode="gray">
          <a:xfrm>
            <a:off x="4318974" y="1502451"/>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44" name="Oval 675">
            <a:extLst>
              <a:ext uri="{FF2B5EF4-FFF2-40B4-BE49-F238E27FC236}">
                <a16:creationId xmlns:a16="http://schemas.microsoft.com/office/drawing/2014/main" id="{1CB1C224-480E-42BD-A64E-FEEC6BC57F41}"/>
              </a:ext>
            </a:extLst>
          </p:cNvPr>
          <p:cNvSpPr>
            <a:spLocks noChangeArrowheads="1"/>
          </p:cNvSpPr>
          <p:nvPr/>
        </p:nvSpPr>
        <p:spPr bwMode="gray">
          <a:xfrm>
            <a:off x="3878772" y="2078609"/>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45" name="Oval 676">
            <a:extLst>
              <a:ext uri="{FF2B5EF4-FFF2-40B4-BE49-F238E27FC236}">
                <a16:creationId xmlns:a16="http://schemas.microsoft.com/office/drawing/2014/main" id="{EFD68C06-85ED-4784-9DD7-81CD104C53AF}"/>
              </a:ext>
            </a:extLst>
          </p:cNvPr>
          <p:cNvSpPr>
            <a:spLocks noChangeArrowheads="1"/>
          </p:cNvSpPr>
          <p:nvPr/>
        </p:nvSpPr>
        <p:spPr bwMode="gray">
          <a:xfrm>
            <a:off x="3841791" y="1947393"/>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46" name="Oval 679">
            <a:extLst>
              <a:ext uri="{FF2B5EF4-FFF2-40B4-BE49-F238E27FC236}">
                <a16:creationId xmlns:a16="http://schemas.microsoft.com/office/drawing/2014/main" id="{1E77D504-C948-45D8-B021-ED03EE5B2125}"/>
              </a:ext>
            </a:extLst>
          </p:cNvPr>
          <p:cNvSpPr>
            <a:spLocks noChangeArrowheads="1"/>
          </p:cNvSpPr>
          <p:nvPr/>
        </p:nvSpPr>
        <p:spPr bwMode="gray">
          <a:xfrm>
            <a:off x="4031470" y="2504465"/>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47" name="Oval 681">
            <a:extLst>
              <a:ext uri="{FF2B5EF4-FFF2-40B4-BE49-F238E27FC236}">
                <a16:creationId xmlns:a16="http://schemas.microsoft.com/office/drawing/2014/main" id="{125880FE-BABD-4FD7-B926-999D8F77B2F8}"/>
              </a:ext>
            </a:extLst>
          </p:cNvPr>
          <p:cNvSpPr>
            <a:spLocks noChangeArrowheads="1"/>
          </p:cNvSpPr>
          <p:nvPr/>
        </p:nvSpPr>
        <p:spPr bwMode="gray">
          <a:xfrm>
            <a:off x="2095290" y="2734688"/>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48" name="Oval 695">
            <a:extLst>
              <a:ext uri="{FF2B5EF4-FFF2-40B4-BE49-F238E27FC236}">
                <a16:creationId xmlns:a16="http://schemas.microsoft.com/office/drawing/2014/main" id="{389A8088-7E86-4B2C-860D-22E465697EE8}"/>
              </a:ext>
            </a:extLst>
          </p:cNvPr>
          <p:cNvSpPr>
            <a:spLocks noChangeArrowheads="1"/>
          </p:cNvSpPr>
          <p:nvPr/>
        </p:nvSpPr>
        <p:spPr bwMode="gray">
          <a:xfrm>
            <a:off x="1795860" y="2627331"/>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49" name="Oval 698">
            <a:extLst>
              <a:ext uri="{FF2B5EF4-FFF2-40B4-BE49-F238E27FC236}">
                <a16:creationId xmlns:a16="http://schemas.microsoft.com/office/drawing/2014/main" id="{4263C5A6-EA7F-4503-AFB8-3A9F20C413DF}"/>
              </a:ext>
            </a:extLst>
          </p:cNvPr>
          <p:cNvSpPr>
            <a:spLocks noChangeArrowheads="1"/>
          </p:cNvSpPr>
          <p:nvPr/>
        </p:nvSpPr>
        <p:spPr bwMode="gray">
          <a:xfrm>
            <a:off x="4095892" y="1923536"/>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50" name="Oval 705">
            <a:extLst>
              <a:ext uri="{FF2B5EF4-FFF2-40B4-BE49-F238E27FC236}">
                <a16:creationId xmlns:a16="http://schemas.microsoft.com/office/drawing/2014/main" id="{854CF5CF-DDA7-4F04-B09E-ED32EB8B5598}"/>
              </a:ext>
            </a:extLst>
          </p:cNvPr>
          <p:cNvSpPr>
            <a:spLocks noChangeArrowheads="1"/>
          </p:cNvSpPr>
          <p:nvPr/>
        </p:nvSpPr>
        <p:spPr bwMode="gray">
          <a:xfrm>
            <a:off x="3289449" y="1850771"/>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51" name="Oval 708">
            <a:extLst>
              <a:ext uri="{FF2B5EF4-FFF2-40B4-BE49-F238E27FC236}">
                <a16:creationId xmlns:a16="http://schemas.microsoft.com/office/drawing/2014/main" id="{3E225606-BC09-469D-8798-24460712E99F}"/>
              </a:ext>
            </a:extLst>
          </p:cNvPr>
          <p:cNvSpPr>
            <a:spLocks noChangeArrowheads="1"/>
          </p:cNvSpPr>
          <p:nvPr/>
        </p:nvSpPr>
        <p:spPr bwMode="gray">
          <a:xfrm>
            <a:off x="3900244" y="2521166"/>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52" name="Oval 710">
            <a:extLst>
              <a:ext uri="{FF2B5EF4-FFF2-40B4-BE49-F238E27FC236}">
                <a16:creationId xmlns:a16="http://schemas.microsoft.com/office/drawing/2014/main" id="{2A25E0AC-9FA1-484D-AE81-CEF1907FC6DE}"/>
              </a:ext>
            </a:extLst>
          </p:cNvPr>
          <p:cNvSpPr>
            <a:spLocks noChangeArrowheads="1"/>
          </p:cNvSpPr>
          <p:nvPr/>
        </p:nvSpPr>
        <p:spPr bwMode="gray">
          <a:xfrm>
            <a:off x="6289748" y="2861135"/>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53" name="Oval 713">
            <a:extLst>
              <a:ext uri="{FF2B5EF4-FFF2-40B4-BE49-F238E27FC236}">
                <a16:creationId xmlns:a16="http://schemas.microsoft.com/office/drawing/2014/main" id="{EE9C6281-228B-4765-9C78-6EB718BF8599}"/>
              </a:ext>
            </a:extLst>
          </p:cNvPr>
          <p:cNvSpPr>
            <a:spLocks noChangeArrowheads="1"/>
          </p:cNvSpPr>
          <p:nvPr/>
        </p:nvSpPr>
        <p:spPr bwMode="gray">
          <a:xfrm>
            <a:off x="6133469" y="3184403"/>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54" name="Oval 715">
            <a:extLst>
              <a:ext uri="{FF2B5EF4-FFF2-40B4-BE49-F238E27FC236}">
                <a16:creationId xmlns:a16="http://schemas.microsoft.com/office/drawing/2014/main" id="{0E7AFCD4-6454-4656-8317-41AE918671F3}"/>
              </a:ext>
            </a:extLst>
          </p:cNvPr>
          <p:cNvSpPr>
            <a:spLocks noChangeArrowheads="1"/>
          </p:cNvSpPr>
          <p:nvPr/>
        </p:nvSpPr>
        <p:spPr bwMode="gray">
          <a:xfrm>
            <a:off x="5937824" y="2999506"/>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55" name="Oval 719">
            <a:extLst>
              <a:ext uri="{FF2B5EF4-FFF2-40B4-BE49-F238E27FC236}">
                <a16:creationId xmlns:a16="http://schemas.microsoft.com/office/drawing/2014/main" id="{04DDBD1A-3EBA-41DD-AC95-37AAAA140558}"/>
              </a:ext>
            </a:extLst>
          </p:cNvPr>
          <p:cNvSpPr>
            <a:spLocks noChangeArrowheads="1"/>
          </p:cNvSpPr>
          <p:nvPr/>
        </p:nvSpPr>
        <p:spPr bwMode="gray">
          <a:xfrm>
            <a:off x="6170450" y="3069885"/>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56" name="Oval 736">
            <a:extLst>
              <a:ext uri="{FF2B5EF4-FFF2-40B4-BE49-F238E27FC236}">
                <a16:creationId xmlns:a16="http://schemas.microsoft.com/office/drawing/2014/main" id="{EE76B5CF-2B4A-4202-BAF7-EB51CA03254E}"/>
              </a:ext>
            </a:extLst>
          </p:cNvPr>
          <p:cNvSpPr>
            <a:spLocks noChangeArrowheads="1"/>
          </p:cNvSpPr>
          <p:nvPr/>
        </p:nvSpPr>
        <p:spPr bwMode="gray">
          <a:xfrm>
            <a:off x="3902630" y="2590352"/>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57" name="Oval 740">
            <a:extLst>
              <a:ext uri="{FF2B5EF4-FFF2-40B4-BE49-F238E27FC236}">
                <a16:creationId xmlns:a16="http://schemas.microsoft.com/office/drawing/2014/main" id="{D47E96A3-E0EA-4CA8-9AD7-D6B90F004208}"/>
              </a:ext>
            </a:extLst>
          </p:cNvPr>
          <p:cNvSpPr>
            <a:spLocks noChangeArrowheads="1"/>
          </p:cNvSpPr>
          <p:nvPr/>
        </p:nvSpPr>
        <p:spPr bwMode="gray">
          <a:xfrm>
            <a:off x="3992101" y="2691746"/>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58" name="Oval 748">
            <a:extLst>
              <a:ext uri="{FF2B5EF4-FFF2-40B4-BE49-F238E27FC236}">
                <a16:creationId xmlns:a16="http://schemas.microsoft.com/office/drawing/2014/main" id="{6EAB8338-6353-42E9-9081-147F5EC63BD6}"/>
              </a:ext>
            </a:extLst>
          </p:cNvPr>
          <p:cNvSpPr>
            <a:spLocks noChangeArrowheads="1"/>
          </p:cNvSpPr>
          <p:nvPr/>
        </p:nvSpPr>
        <p:spPr bwMode="gray">
          <a:xfrm>
            <a:off x="5989120" y="2951791"/>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59" name="Oval 750">
            <a:extLst>
              <a:ext uri="{FF2B5EF4-FFF2-40B4-BE49-F238E27FC236}">
                <a16:creationId xmlns:a16="http://schemas.microsoft.com/office/drawing/2014/main" id="{3C352EA8-BB05-4A14-9277-4D668D382C70}"/>
              </a:ext>
            </a:extLst>
          </p:cNvPr>
          <p:cNvSpPr>
            <a:spLocks noChangeArrowheads="1"/>
          </p:cNvSpPr>
          <p:nvPr/>
        </p:nvSpPr>
        <p:spPr bwMode="gray">
          <a:xfrm>
            <a:off x="6169260" y="2848013"/>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60" name="Oval 752">
            <a:extLst>
              <a:ext uri="{FF2B5EF4-FFF2-40B4-BE49-F238E27FC236}">
                <a16:creationId xmlns:a16="http://schemas.microsoft.com/office/drawing/2014/main" id="{0618650F-4603-4DF3-85B9-7E978404B23C}"/>
              </a:ext>
            </a:extLst>
          </p:cNvPr>
          <p:cNvSpPr>
            <a:spLocks noChangeArrowheads="1"/>
          </p:cNvSpPr>
          <p:nvPr/>
        </p:nvSpPr>
        <p:spPr bwMode="gray">
          <a:xfrm>
            <a:off x="5989120" y="2951791"/>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61" name="Oval 766">
            <a:extLst>
              <a:ext uri="{FF2B5EF4-FFF2-40B4-BE49-F238E27FC236}">
                <a16:creationId xmlns:a16="http://schemas.microsoft.com/office/drawing/2014/main" id="{BF720187-2270-466C-B8EA-1314E6E21E2A}"/>
              </a:ext>
            </a:extLst>
          </p:cNvPr>
          <p:cNvSpPr>
            <a:spLocks noChangeArrowheads="1"/>
          </p:cNvSpPr>
          <p:nvPr/>
        </p:nvSpPr>
        <p:spPr bwMode="gray">
          <a:xfrm>
            <a:off x="1035940" y="2473450"/>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62" name="Oval 804">
            <a:extLst>
              <a:ext uri="{FF2B5EF4-FFF2-40B4-BE49-F238E27FC236}">
                <a16:creationId xmlns:a16="http://schemas.microsoft.com/office/drawing/2014/main" id="{509BA146-E256-464D-A647-8BCA04D0EC57}"/>
              </a:ext>
            </a:extLst>
          </p:cNvPr>
          <p:cNvSpPr>
            <a:spLocks noChangeArrowheads="1"/>
          </p:cNvSpPr>
          <p:nvPr/>
        </p:nvSpPr>
        <p:spPr bwMode="gray">
          <a:xfrm>
            <a:off x="6191925" y="4417834"/>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63" name="Oval 805">
            <a:extLst>
              <a:ext uri="{FF2B5EF4-FFF2-40B4-BE49-F238E27FC236}">
                <a16:creationId xmlns:a16="http://schemas.microsoft.com/office/drawing/2014/main" id="{CAA75161-DA36-4705-A527-4918B1C301FF}"/>
              </a:ext>
            </a:extLst>
          </p:cNvPr>
          <p:cNvSpPr>
            <a:spLocks noChangeArrowheads="1"/>
          </p:cNvSpPr>
          <p:nvPr/>
        </p:nvSpPr>
        <p:spPr bwMode="gray">
          <a:xfrm>
            <a:off x="6616619" y="4204308"/>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64" name="Oval 809">
            <a:extLst>
              <a:ext uri="{FF2B5EF4-FFF2-40B4-BE49-F238E27FC236}">
                <a16:creationId xmlns:a16="http://schemas.microsoft.com/office/drawing/2014/main" id="{A05E7507-B47B-4794-A027-FC64F1A7EBFB}"/>
              </a:ext>
            </a:extLst>
          </p:cNvPr>
          <p:cNvSpPr>
            <a:spLocks noChangeArrowheads="1"/>
          </p:cNvSpPr>
          <p:nvPr/>
        </p:nvSpPr>
        <p:spPr bwMode="gray">
          <a:xfrm>
            <a:off x="3920525" y="1954549"/>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65" name="Oval 818">
            <a:extLst>
              <a:ext uri="{FF2B5EF4-FFF2-40B4-BE49-F238E27FC236}">
                <a16:creationId xmlns:a16="http://schemas.microsoft.com/office/drawing/2014/main" id="{7EE0DA7F-BAB4-4AC2-B6B9-F95BA161354F}"/>
              </a:ext>
            </a:extLst>
          </p:cNvPr>
          <p:cNvSpPr>
            <a:spLocks noChangeArrowheads="1"/>
          </p:cNvSpPr>
          <p:nvPr/>
        </p:nvSpPr>
        <p:spPr bwMode="gray">
          <a:xfrm>
            <a:off x="4871316" y="3151002"/>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66" name="Oval 831">
            <a:extLst>
              <a:ext uri="{FF2B5EF4-FFF2-40B4-BE49-F238E27FC236}">
                <a16:creationId xmlns:a16="http://schemas.microsoft.com/office/drawing/2014/main" id="{F6CC5CF8-FE63-4FD0-BFB3-AE1FBBAC3E1A}"/>
              </a:ext>
            </a:extLst>
          </p:cNvPr>
          <p:cNvSpPr>
            <a:spLocks noChangeArrowheads="1"/>
          </p:cNvSpPr>
          <p:nvPr/>
        </p:nvSpPr>
        <p:spPr bwMode="gray">
          <a:xfrm>
            <a:off x="3738002" y="2714410"/>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67" name="Oval 910">
            <a:extLst>
              <a:ext uri="{FF2B5EF4-FFF2-40B4-BE49-F238E27FC236}">
                <a16:creationId xmlns:a16="http://schemas.microsoft.com/office/drawing/2014/main" id="{16043FED-0D6C-427F-B43E-20F2C2474ABB}"/>
              </a:ext>
            </a:extLst>
          </p:cNvPr>
          <p:cNvSpPr>
            <a:spLocks noChangeArrowheads="1"/>
          </p:cNvSpPr>
          <p:nvPr/>
        </p:nvSpPr>
        <p:spPr bwMode="gray">
          <a:xfrm>
            <a:off x="3819124" y="2368478"/>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68" name="Oval 927">
            <a:extLst>
              <a:ext uri="{FF2B5EF4-FFF2-40B4-BE49-F238E27FC236}">
                <a16:creationId xmlns:a16="http://schemas.microsoft.com/office/drawing/2014/main" id="{79E0A320-1FC2-45F4-B5CA-84B159FF962D}"/>
              </a:ext>
            </a:extLst>
          </p:cNvPr>
          <p:cNvSpPr>
            <a:spLocks noChangeArrowheads="1"/>
          </p:cNvSpPr>
          <p:nvPr/>
        </p:nvSpPr>
        <p:spPr bwMode="gray">
          <a:xfrm>
            <a:off x="3864456" y="2148988"/>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69" name="Oval 928">
            <a:extLst>
              <a:ext uri="{FF2B5EF4-FFF2-40B4-BE49-F238E27FC236}">
                <a16:creationId xmlns:a16="http://schemas.microsoft.com/office/drawing/2014/main" id="{AABDDB59-1B54-4649-9D31-FD7E0C6A1880}"/>
              </a:ext>
            </a:extLst>
          </p:cNvPr>
          <p:cNvSpPr>
            <a:spLocks noChangeArrowheads="1"/>
          </p:cNvSpPr>
          <p:nvPr/>
        </p:nvSpPr>
        <p:spPr bwMode="gray">
          <a:xfrm>
            <a:off x="4014770" y="1749376"/>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70" name="Oval 935">
            <a:extLst>
              <a:ext uri="{FF2B5EF4-FFF2-40B4-BE49-F238E27FC236}">
                <a16:creationId xmlns:a16="http://schemas.microsoft.com/office/drawing/2014/main" id="{D91D713D-4767-465B-BB06-EFC709F86837}"/>
              </a:ext>
            </a:extLst>
          </p:cNvPr>
          <p:cNvSpPr>
            <a:spLocks noChangeArrowheads="1"/>
          </p:cNvSpPr>
          <p:nvPr/>
        </p:nvSpPr>
        <p:spPr bwMode="gray">
          <a:xfrm>
            <a:off x="3604389" y="2202667"/>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71" name="Oval 936">
            <a:extLst>
              <a:ext uri="{FF2B5EF4-FFF2-40B4-BE49-F238E27FC236}">
                <a16:creationId xmlns:a16="http://schemas.microsoft.com/office/drawing/2014/main" id="{A9FB9146-D66E-4099-ABDA-EA9BE375ADF5}"/>
              </a:ext>
            </a:extLst>
          </p:cNvPr>
          <p:cNvSpPr>
            <a:spLocks noChangeArrowheads="1"/>
          </p:cNvSpPr>
          <p:nvPr/>
        </p:nvSpPr>
        <p:spPr bwMode="gray">
          <a:xfrm>
            <a:off x="3656880" y="2284978"/>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72" name="Oval 945">
            <a:extLst>
              <a:ext uri="{FF2B5EF4-FFF2-40B4-BE49-F238E27FC236}">
                <a16:creationId xmlns:a16="http://schemas.microsoft.com/office/drawing/2014/main" id="{81FF6E4E-E59E-44C6-A340-A06C1EEF2B0A}"/>
              </a:ext>
            </a:extLst>
          </p:cNvPr>
          <p:cNvSpPr>
            <a:spLocks noChangeArrowheads="1"/>
          </p:cNvSpPr>
          <p:nvPr/>
        </p:nvSpPr>
        <p:spPr bwMode="gray">
          <a:xfrm>
            <a:off x="6644058" y="2864705"/>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73" name="Oval 948">
            <a:extLst>
              <a:ext uri="{FF2B5EF4-FFF2-40B4-BE49-F238E27FC236}">
                <a16:creationId xmlns:a16="http://schemas.microsoft.com/office/drawing/2014/main" id="{877A5733-561D-48B7-99DA-E280E33ACF3C}"/>
              </a:ext>
            </a:extLst>
          </p:cNvPr>
          <p:cNvSpPr>
            <a:spLocks noChangeArrowheads="1"/>
          </p:cNvSpPr>
          <p:nvPr/>
        </p:nvSpPr>
        <p:spPr bwMode="gray">
          <a:xfrm>
            <a:off x="6652415" y="2864713"/>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74" name="Oval 949">
            <a:extLst>
              <a:ext uri="{FF2B5EF4-FFF2-40B4-BE49-F238E27FC236}">
                <a16:creationId xmlns:a16="http://schemas.microsoft.com/office/drawing/2014/main" id="{800673E9-03DA-475D-92BB-E83D4D5344FD}"/>
              </a:ext>
            </a:extLst>
          </p:cNvPr>
          <p:cNvSpPr>
            <a:spLocks noChangeArrowheads="1"/>
          </p:cNvSpPr>
          <p:nvPr/>
        </p:nvSpPr>
        <p:spPr bwMode="gray">
          <a:xfrm>
            <a:off x="6610644" y="2881408"/>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75" name="Oval 248">
            <a:extLst>
              <a:ext uri="{FF2B5EF4-FFF2-40B4-BE49-F238E27FC236}">
                <a16:creationId xmlns:a16="http://schemas.microsoft.com/office/drawing/2014/main" id="{F10926E9-78A0-4A68-8965-8D27D3FF1933}"/>
              </a:ext>
            </a:extLst>
          </p:cNvPr>
          <p:cNvSpPr>
            <a:spLocks noChangeArrowheads="1"/>
          </p:cNvSpPr>
          <p:nvPr/>
        </p:nvSpPr>
        <p:spPr bwMode="gray">
          <a:xfrm>
            <a:off x="3915251" y="2324342"/>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76" name="Oval 258">
            <a:extLst>
              <a:ext uri="{FF2B5EF4-FFF2-40B4-BE49-F238E27FC236}">
                <a16:creationId xmlns:a16="http://schemas.microsoft.com/office/drawing/2014/main" id="{44B9A0C5-0264-49F1-B44B-D7FA519C2E60}"/>
              </a:ext>
            </a:extLst>
          </p:cNvPr>
          <p:cNvSpPr>
            <a:spLocks noChangeArrowheads="1"/>
          </p:cNvSpPr>
          <p:nvPr/>
        </p:nvSpPr>
        <p:spPr bwMode="gray">
          <a:xfrm>
            <a:off x="3968935" y="2245612"/>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77" name="Oval 296">
            <a:extLst>
              <a:ext uri="{FF2B5EF4-FFF2-40B4-BE49-F238E27FC236}">
                <a16:creationId xmlns:a16="http://schemas.microsoft.com/office/drawing/2014/main" id="{B210C7A5-7031-464D-B03E-8FC1518323B1}"/>
              </a:ext>
            </a:extLst>
          </p:cNvPr>
          <p:cNvSpPr>
            <a:spLocks noChangeArrowheads="1"/>
          </p:cNvSpPr>
          <p:nvPr/>
        </p:nvSpPr>
        <p:spPr bwMode="gray">
          <a:xfrm>
            <a:off x="3652799" y="2351778"/>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78" name="Oval 304">
            <a:extLst>
              <a:ext uri="{FF2B5EF4-FFF2-40B4-BE49-F238E27FC236}">
                <a16:creationId xmlns:a16="http://schemas.microsoft.com/office/drawing/2014/main" id="{9E022043-7BC5-40C8-95E1-BFB2B29B6D8D}"/>
              </a:ext>
            </a:extLst>
          </p:cNvPr>
          <p:cNvSpPr>
            <a:spLocks noChangeArrowheads="1"/>
          </p:cNvSpPr>
          <p:nvPr/>
        </p:nvSpPr>
        <p:spPr bwMode="gray">
          <a:xfrm>
            <a:off x="3915251" y="2324342"/>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79" name="Oval 333">
            <a:extLst>
              <a:ext uri="{FF2B5EF4-FFF2-40B4-BE49-F238E27FC236}">
                <a16:creationId xmlns:a16="http://schemas.microsoft.com/office/drawing/2014/main" id="{2D1D4DA6-C41C-4E44-9064-6E23FDD5593E}"/>
              </a:ext>
            </a:extLst>
          </p:cNvPr>
          <p:cNvSpPr>
            <a:spLocks noChangeArrowheads="1"/>
          </p:cNvSpPr>
          <p:nvPr/>
        </p:nvSpPr>
        <p:spPr bwMode="gray">
          <a:xfrm>
            <a:off x="3856796" y="2362513"/>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80" name="Oval 346">
            <a:extLst>
              <a:ext uri="{FF2B5EF4-FFF2-40B4-BE49-F238E27FC236}">
                <a16:creationId xmlns:a16="http://schemas.microsoft.com/office/drawing/2014/main" id="{9317392E-74C0-4B35-95FD-5E4822246499}"/>
              </a:ext>
            </a:extLst>
          </p:cNvPr>
          <p:cNvSpPr>
            <a:spLocks noChangeArrowheads="1"/>
          </p:cNvSpPr>
          <p:nvPr/>
        </p:nvSpPr>
        <p:spPr bwMode="gray">
          <a:xfrm>
            <a:off x="3792377" y="2376829"/>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81" name="Oval 390">
            <a:extLst>
              <a:ext uri="{FF2B5EF4-FFF2-40B4-BE49-F238E27FC236}">
                <a16:creationId xmlns:a16="http://schemas.microsoft.com/office/drawing/2014/main" id="{B3713A1B-1F4F-4285-A64E-B3BBB3ED3665}"/>
              </a:ext>
            </a:extLst>
          </p:cNvPr>
          <p:cNvSpPr>
            <a:spLocks noChangeArrowheads="1"/>
          </p:cNvSpPr>
          <p:nvPr/>
        </p:nvSpPr>
        <p:spPr bwMode="gray">
          <a:xfrm>
            <a:off x="1116560" y="2848013"/>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82" name="Oval 401">
            <a:extLst>
              <a:ext uri="{FF2B5EF4-FFF2-40B4-BE49-F238E27FC236}">
                <a16:creationId xmlns:a16="http://schemas.microsoft.com/office/drawing/2014/main" id="{988A49A5-FA7D-411F-8BA0-96BBC7192EC4}"/>
              </a:ext>
            </a:extLst>
          </p:cNvPr>
          <p:cNvSpPr>
            <a:spLocks noChangeArrowheads="1"/>
          </p:cNvSpPr>
          <p:nvPr/>
        </p:nvSpPr>
        <p:spPr bwMode="gray">
          <a:xfrm>
            <a:off x="1958793" y="2723955"/>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83" name="Oval 408">
            <a:extLst>
              <a:ext uri="{FF2B5EF4-FFF2-40B4-BE49-F238E27FC236}">
                <a16:creationId xmlns:a16="http://schemas.microsoft.com/office/drawing/2014/main" id="{20B26D02-62A8-4F16-9F8C-D893DFEB7DFE}"/>
              </a:ext>
            </a:extLst>
          </p:cNvPr>
          <p:cNvSpPr>
            <a:spLocks noChangeArrowheads="1"/>
          </p:cNvSpPr>
          <p:nvPr/>
        </p:nvSpPr>
        <p:spPr bwMode="gray">
          <a:xfrm>
            <a:off x="3794763" y="2382793"/>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84" name="Oval 409">
            <a:extLst>
              <a:ext uri="{FF2B5EF4-FFF2-40B4-BE49-F238E27FC236}">
                <a16:creationId xmlns:a16="http://schemas.microsoft.com/office/drawing/2014/main" id="{DC92C28F-720C-4227-9F66-BA0BD9ADB8F4}"/>
              </a:ext>
            </a:extLst>
          </p:cNvPr>
          <p:cNvSpPr>
            <a:spLocks noChangeArrowheads="1"/>
          </p:cNvSpPr>
          <p:nvPr/>
        </p:nvSpPr>
        <p:spPr bwMode="gray">
          <a:xfrm>
            <a:off x="1182174" y="2770474"/>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85" name="Oval 410">
            <a:extLst>
              <a:ext uri="{FF2B5EF4-FFF2-40B4-BE49-F238E27FC236}">
                <a16:creationId xmlns:a16="http://schemas.microsoft.com/office/drawing/2014/main" id="{102E41A7-3E8B-49E7-9110-48E0CB945B6F}"/>
              </a:ext>
            </a:extLst>
          </p:cNvPr>
          <p:cNvSpPr>
            <a:spLocks noChangeArrowheads="1"/>
          </p:cNvSpPr>
          <p:nvPr/>
        </p:nvSpPr>
        <p:spPr bwMode="gray">
          <a:xfrm>
            <a:off x="6431209" y="2824155"/>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86" name="Oval 411">
            <a:extLst>
              <a:ext uri="{FF2B5EF4-FFF2-40B4-BE49-F238E27FC236}">
                <a16:creationId xmlns:a16="http://schemas.microsoft.com/office/drawing/2014/main" id="{89FEE0FD-D836-4088-ADF2-7DBA7438AB91}"/>
              </a:ext>
            </a:extLst>
          </p:cNvPr>
          <p:cNvSpPr>
            <a:spLocks noChangeArrowheads="1"/>
          </p:cNvSpPr>
          <p:nvPr/>
        </p:nvSpPr>
        <p:spPr bwMode="gray">
          <a:xfrm>
            <a:off x="6319071" y="2985193"/>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87" name="Oval 412">
            <a:extLst>
              <a:ext uri="{FF2B5EF4-FFF2-40B4-BE49-F238E27FC236}">
                <a16:creationId xmlns:a16="http://schemas.microsoft.com/office/drawing/2014/main" id="{0151BD5D-95D4-449E-8105-F5A83FED7612}"/>
              </a:ext>
            </a:extLst>
          </p:cNvPr>
          <p:cNvSpPr>
            <a:spLocks noChangeArrowheads="1"/>
          </p:cNvSpPr>
          <p:nvPr/>
        </p:nvSpPr>
        <p:spPr bwMode="gray">
          <a:xfrm>
            <a:off x="6725871" y="2819385"/>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88" name="Oval 413">
            <a:extLst>
              <a:ext uri="{FF2B5EF4-FFF2-40B4-BE49-F238E27FC236}">
                <a16:creationId xmlns:a16="http://schemas.microsoft.com/office/drawing/2014/main" id="{B2D1A9A3-CBC0-49F5-A8BB-5569E9DB8280}"/>
              </a:ext>
            </a:extLst>
          </p:cNvPr>
          <p:cNvSpPr>
            <a:spLocks noChangeArrowheads="1"/>
          </p:cNvSpPr>
          <p:nvPr/>
        </p:nvSpPr>
        <p:spPr bwMode="gray">
          <a:xfrm>
            <a:off x="6463420" y="2840856"/>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89" name="Oval 414">
            <a:extLst>
              <a:ext uri="{FF2B5EF4-FFF2-40B4-BE49-F238E27FC236}">
                <a16:creationId xmlns:a16="http://schemas.microsoft.com/office/drawing/2014/main" id="{09045654-2757-460F-AD42-2791B1D564E1}"/>
              </a:ext>
            </a:extLst>
          </p:cNvPr>
          <p:cNvSpPr>
            <a:spLocks noChangeArrowheads="1"/>
          </p:cNvSpPr>
          <p:nvPr/>
        </p:nvSpPr>
        <p:spPr bwMode="gray">
          <a:xfrm>
            <a:off x="2090019" y="2681009"/>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90" name="Oval 416">
            <a:extLst>
              <a:ext uri="{FF2B5EF4-FFF2-40B4-BE49-F238E27FC236}">
                <a16:creationId xmlns:a16="http://schemas.microsoft.com/office/drawing/2014/main" id="{1627DE64-B171-4FFF-995C-B37874BB3D0F}"/>
              </a:ext>
            </a:extLst>
          </p:cNvPr>
          <p:cNvSpPr>
            <a:spLocks noChangeArrowheads="1"/>
          </p:cNvSpPr>
          <p:nvPr/>
        </p:nvSpPr>
        <p:spPr bwMode="gray">
          <a:xfrm>
            <a:off x="3923603" y="2376829"/>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91" name="Oval 427">
            <a:extLst>
              <a:ext uri="{FF2B5EF4-FFF2-40B4-BE49-F238E27FC236}">
                <a16:creationId xmlns:a16="http://schemas.microsoft.com/office/drawing/2014/main" id="{62F888DC-FB6F-42FD-AF63-7081E6C598D8}"/>
              </a:ext>
            </a:extLst>
          </p:cNvPr>
          <p:cNvSpPr>
            <a:spLocks noChangeArrowheads="1"/>
          </p:cNvSpPr>
          <p:nvPr/>
        </p:nvSpPr>
        <p:spPr bwMode="gray">
          <a:xfrm>
            <a:off x="3795955" y="2385179"/>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92" name="Oval 436">
            <a:extLst>
              <a:ext uri="{FF2B5EF4-FFF2-40B4-BE49-F238E27FC236}">
                <a16:creationId xmlns:a16="http://schemas.microsoft.com/office/drawing/2014/main" id="{732D0C0A-3333-4A2F-90E5-B7FC672CE05A}"/>
              </a:ext>
            </a:extLst>
          </p:cNvPr>
          <p:cNvSpPr>
            <a:spLocks noChangeArrowheads="1"/>
          </p:cNvSpPr>
          <p:nvPr/>
        </p:nvSpPr>
        <p:spPr bwMode="gray">
          <a:xfrm>
            <a:off x="6725871" y="2790754"/>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93" name="Oval 439">
            <a:extLst>
              <a:ext uri="{FF2B5EF4-FFF2-40B4-BE49-F238E27FC236}">
                <a16:creationId xmlns:a16="http://schemas.microsoft.com/office/drawing/2014/main" id="{A46CEBC0-D8B7-430B-84BD-FB1310425343}"/>
              </a:ext>
            </a:extLst>
          </p:cNvPr>
          <p:cNvSpPr>
            <a:spLocks noChangeArrowheads="1"/>
          </p:cNvSpPr>
          <p:nvPr/>
        </p:nvSpPr>
        <p:spPr bwMode="gray">
          <a:xfrm>
            <a:off x="1648622" y="3024559"/>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94" name="Oval 441">
            <a:extLst>
              <a:ext uri="{FF2B5EF4-FFF2-40B4-BE49-F238E27FC236}">
                <a16:creationId xmlns:a16="http://schemas.microsoft.com/office/drawing/2014/main" id="{33CB6C65-F4EA-469C-A489-4A5B932D13BD}"/>
              </a:ext>
            </a:extLst>
          </p:cNvPr>
          <p:cNvSpPr>
            <a:spLocks noChangeArrowheads="1"/>
          </p:cNvSpPr>
          <p:nvPr/>
        </p:nvSpPr>
        <p:spPr bwMode="gray">
          <a:xfrm>
            <a:off x="6489664" y="2875447"/>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95" name="Oval 442">
            <a:extLst>
              <a:ext uri="{FF2B5EF4-FFF2-40B4-BE49-F238E27FC236}">
                <a16:creationId xmlns:a16="http://schemas.microsoft.com/office/drawing/2014/main" id="{B4BB8D00-FA39-4A15-B65C-F5C68E6BF32F}"/>
              </a:ext>
            </a:extLst>
          </p:cNvPr>
          <p:cNvSpPr>
            <a:spLocks noChangeArrowheads="1"/>
          </p:cNvSpPr>
          <p:nvPr/>
        </p:nvSpPr>
        <p:spPr bwMode="gray">
          <a:xfrm>
            <a:off x="6475348" y="2883800"/>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96" name="Oval 443">
            <a:extLst>
              <a:ext uri="{FF2B5EF4-FFF2-40B4-BE49-F238E27FC236}">
                <a16:creationId xmlns:a16="http://schemas.microsoft.com/office/drawing/2014/main" id="{C529B3BE-E0A2-48BA-821B-4AB42F410333}"/>
              </a:ext>
            </a:extLst>
          </p:cNvPr>
          <p:cNvSpPr>
            <a:spLocks noChangeArrowheads="1"/>
          </p:cNvSpPr>
          <p:nvPr/>
        </p:nvSpPr>
        <p:spPr bwMode="gray">
          <a:xfrm>
            <a:off x="6285668" y="3038872"/>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97" name="Oval 465">
            <a:extLst>
              <a:ext uri="{FF2B5EF4-FFF2-40B4-BE49-F238E27FC236}">
                <a16:creationId xmlns:a16="http://schemas.microsoft.com/office/drawing/2014/main" id="{B100D1D3-3F61-4018-9656-20CFBC26CF6D}"/>
              </a:ext>
            </a:extLst>
          </p:cNvPr>
          <p:cNvSpPr>
            <a:spLocks noChangeArrowheads="1"/>
          </p:cNvSpPr>
          <p:nvPr/>
        </p:nvSpPr>
        <p:spPr bwMode="gray">
          <a:xfrm>
            <a:off x="3996373" y="2363707"/>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98" name="Oval 467">
            <a:extLst>
              <a:ext uri="{FF2B5EF4-FFF2-40B4-BE49-F238E27FC236}">
                <a16:creationId xmlns:a16="http://schemas.microsoft.com/office/drawing/2014/main" id="{CA2ECEA7-5132-45EF-9AF0-D13227AD2114}"/>
              </a:ext>
            </a:extLst>
          </p:cNvPr>
          <p:cNvSpPr>
            <a:spLocks noChangeArrowheads="1"/>
          </p:cNvSpPr>
          <p:nvPr/>
        </p:nvSpPr>
        <p:spPr bwMode="gray">
          <a:xfrm>
            <a:off x="4238544" y="2883800"/>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99" name="Oval 500">
            <a:extLst>
              <a:ext uri="{FF2B5EF4-FFF2-40B4-BE49-F238E27FC236}">
                <a16:creationId xmlns:a16="http://schemas.microsoft.com/office/drawing/2014/main" id="{16A2DB25-8378-4311-BA5C-0929154A6777}"/>
              </a:ext>
            </a:extLst>
          </p:cNvPr>
          <p:cNvSpPr>
            <a:spLocks noChangeArrowheads="1"/>
          </p:cNvSpPr>
          <p:nvPr/>
        </p:nvSpPr>
        <p:spPr bwMode="gray">
          <a:xfrm>
            <a:off x="3896164" y="2237263"/>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00" name="Oval 530">
            <a:extLst>
              <a:ext uri="{FF2B5EF4-FFF2-40B4-BE49-F238E27FC236}">
                <a16:creationId xmlns:a16="http://schemas.microsoft.com/office/drawing/2014/main" id="{C1959CD9-70E1-41D1-BA22-980BF1733A82}"/>
              </a:ext>
            </a:extLst>
          </p:cNvPr>
          <p:cNvSpPr>
            <a:spLocks noChangeArrowheads="1"/>
          </p:cNvSpPr>
          <p:nvPr/>
        </p:nvSpPr>
        <p:spPr bwMode="gray">
          <a:xfrm>
            <a:off x="6431209" y="2824155"/>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01" name="Oval 543">
            <a:extLst>
              <a:ext uri="{FF2B5EF4-FFF2-40B4-BE49-F238E27FC236}">
                <a16:creationId xmlns:a16="http://schemas.microsoft.com/office/drawing/2014/main" id="{36039B91-BAB7-4C1E-AC54-BD7C0C081DB3}"/>
              </a:ext>
            </a:extLst>
          </p:cNvPr>
          <p:cNvSpPr>
            <a:spLocks noChangeArrowheads="1"/>
          </p:cNvSpPr>
          <p:nvPr/>
        </p:nvSpPr>
        <p:spPr bwMode="gray">
          <a:xfrm>
            <a:off x="6185458" y="2726340"/>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02" name="Oval 546">
            <a:extLst>
              <a:ext uri="{FF2B5EF4-FFF2-40B4-BE49-F238E27FC236}">
                <a16:creationId xmlns:a16="http://schemas.microsoft.com/office/drawing/2014/main" id="{2F72FD10-8794-4ABC-8EEC-864F0A250ABD}"/>
              </a:ext>
            </a:extLst>
          </p:cNvPr>
          <p:cNvSpPr>
            <a:spLocks noChangeArrowheads="1"/>
          </p:cNvSpPr>
          <p:nvPr/>
        </p:nvSpPr>
        <p:spPr bwMode="gray">
          <a:xfrm>
            <a:off x="6268967" y="2844435"/>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03" name="Oval 548">
            <a:extLst>
              <a:ext uri="{FF2B5EF4-FFF2-40B4-BE49-F238E27FC236}">
                <a16:creationId xmlns:a16="http://schemas.microsoft.com/office/drawing/2014/main" id="{0C98839C-EA45-4023-A30D-1376526A165B}"/>
              </a:ext>
            </a:extLst>
          </p:cNvPr>
          <p:cNvSpPr>
            <a:spLocks noChangeArrowheads="1"/>
          </p:cNvSpPr>
          <p:nvPr/>
        </p:nvSpPr>
        <p:spPr bwMode="gray">
          <a:xfrm>
            <a:off x="6179494" y="3086586"/>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04" name="Oval 550">
            <a:extLst>
              <a:ext uri="{FF2B5EF4-FFF2-40B4-BE49-F238E27FC236}">
                <a16:creationId xmlns:a16="http://schemas.microsoft.com/office/drawing/2014/main" id="{29B196C8-31C8-420C-9890-F10D061A8DE2}"/>
              </a:ext>
            </a:extLst>
          </p:cNvPr>
          <p:cNvSpPr>
            <a:spLocks noChangeArrowheads="1"/>
          </p:cNvSpPr>
          <p:nvPr/>
        </p:nvSpPr>
        <p:spPr bwMode="gray">
          <a:xfrm>
            <a:off x="5914656" y="2997121"/>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05" name="Oval 552">
            <a:extLst>
              <a:ext uri="{FF2B5EF4-FFF2-40B4-BE49-F238E27FC236}">
                <a16:creationId xmlns:a16="http://schemas.microsoft.com/office/drawing/2014/main" id="{66A552DF-43A4-48A5-94A5-17A4A897CCD0}"/>
              </a:ext>
            </a:extLst>
          </p:cNvPr>
          <p:cNvSpPr>
            <a:spLocks noChangeArrowheads="1"/>
          </p:cNvSpPr>
          <p:nvPr/>
        </p:nvSpPr>
        <p:spPr bwMode="gray">
          <a:xfrm>
            <a:off x="6134161" y="3165316"/>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06" name="Oval 554">
            <a:extLst>
              <a:ext uri="{FF2B5EF4-FFF2-40B4-BE49-F238E27FC236}">
                <a16:creationId xmlns:a16="http://schemas.microsoft.com/office/drawing/2014/main" id="{FDCEA339-98E3-4872-998B-8861D281D3BA}"/>
              </a:ext>
            </a:extLst>
          </p:cNvPr>
          <p:cNvSpPr>
            <a:spLocks noChangeArrowheads="1"/>
          </p:cNvSpPr>
          <p:nvPr/>
        </p:nvSpPr>
        <p:spPr bwMode="gray">
          <a:xfrm>
            <a:off x="6391842" y="2604668"/>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07" name="Oval 555">
            <a:extLst>
              <a:ext uri="{FF2B5EF4-FFF2-40B4-BE49-F238E27FC236}">
                <a16:creationId xmlns:a16="http://schemas.microsoft.com/office/drawing/2014/main" id="{1649A400-B881-4EFC-B756-C3C7B601A2B0}"/>
              </a:ext>
            </a:extLst>
          </p:cNvPr>
          <p:cNvSpPr>
            <a:spLocks noChangeArrowheads="1"/>
          </p:cNvSpPr>
          <p:nvPr/>
        </p:nvSpPr>
        <p:spPr bwMode="gray">
          <a:xfrm>
            <a:off x="6185458" y="2801491"/>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08" name="Oval 556">
            <a:extLst>
              <a:ext uri="{FF2B5EF4-FFF2-40B4-BE49-F238E27FC236}">
                <a16:creationId xmlns:a16="http://schemas.microsoft.com/office/drawing/2014/main" id="{18801ED0-108F-42EE-95FD-07EE5F7EA193}"/>
              </a:ext>
            </a:extLst>
          </p:cNvPr>
          <p:cNvSpPr>
            <a:spLocks noChangeArrowheads="1"/>
          </p:cNvSpPr>
          <p:nvPr/>
        </p:nvSpPr>
        <p:spPr bwMode="gray">
          <a:xfrm>
            <a:off x="6185458" y="2801491"/>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09" name="Oval 566">
            <a:extLst>
              <a:ext uri="{FF2B5EF4-FFF2-40B4-BE49-F238E27FC236}">
                <a16:creationId xmlns:a16="http://schemas.microsoft.com/office/drawing/2014/main" id="{3472542E-6D86-49B3-9181-9D69D95E9DB0}"/>
              </a:ext>
            </a:extLst>
          </p:cNvPr>
          <p:cNvSpPr>
            <a:spLocks noChangeArrowheads="1"/>
          </p:cNvSpPr>
          <p:nvPr/>
        </p:nvSpPr>
        <p:spPr bwMode="gray">
          <a:xfrm>
            <a:off x="6121039" y="2819385"/>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10" name="Oval 567">
            <a:extLst>
              <a:ext uri="{FF2B5EF4-FFF2-40B4-BE49-F238E27FC236}">
                <a16:creationId xmlns:a16="http://schemas.microsoft.com/office/drawing/2014/main" id="{8AD772A5-95F7-43C0-8E6A-CF776253DD0A}"/>
              </a:ext>
            </a:extLst>
          </p:cNvPr>
          <p:cNvSpPr>
            <a:spLocks noChangeArrowheads="1"/>
          </p:cNvSpPr>
          <p:nvPr/>
        </p:nvSpPr>
        <p:spPr bwMode="gray">
          <a:xfrm>
            <a:off x="3873498" y="2326727"/>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11" name="Oval 572">
            <a:extLst>
              <a:ext uri="{FF2B5EF4-FFF2-40B4-BE49-F238E27FC236}">
                <a16:creationId xmlns:a16="http://schemas.microsoft.com/office/drawing/2014/main" id="{6BB1BC0C-54A2-4ECB-AC20-6AB348BE0B94}"/>
              </a:ext>
            </a:extLst>
          </p:cNvPr>
          <p:cNvSpPr>
            <a:spLocks noChangeArrowheads="1"/>
          </p:cNvSpPr>
          <p:nvPr/>
        </p:nvSpPr>
        <p:spPr bwMode="gray">
          <a:xfrm>
            <a:off x="1987424" y="2641646"/>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12" name="Oval 593">
            <a:extLst>
              <a:ext uri="{FF2B5EF4-FFF2-40B4-BE49-F238E27FC236}">
                <a16:creationId xmlns:a16="http://schemas.microsoft.com/office/drawing/2014/main" id="{3AF34E3A-6818-447F-BF4D-2C29BC27779E}"/>
              </a:ext>
            </a:extLst>
          </p:cNvPr>
          <p:cNvSpPr>
            <a:spLocks noChangeArrowheads="1"/>
          </p:cNvSpPr>
          <p:nvPr/>
        </p:nvSpPr>
        <p:spPr bwMode="gray">
          <a:xfrm>
            <a:off x="6156828" y="2697710"/>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13" name="Oval 614">
            <a:extLst>
              <a:ext uri="{FF2B5EF4-FFF2-40B4-BE49-F238E27FC236}">
                <a16:creationId xmlns:a16="http://schemas.microsoft.com/office/drawing/2014/main" id="{97CCF37D-F24F-403B-B13C-7D13B5BC0568}"/>
              </a:ext>
            </a:extLst>
          </p:cNvPr>
          <p:cNvSpPr>
            <a:spLocks noChangeArrowheads="1"/>
          </p:cNvSpPr>
          <p:nvPr/>
        </p:nvSpPr>
        <p:spPr bwMode="gray">
          <a:xfrm>
            <a:off x="4054829" y="2509237"/>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14" name="Oval 615">
            <a:extLst>
              <a:ext uri="{FF2B5EF4-FFF2-40B4-BE49-F238E27FC236}">
                <a16:creationId xmlns:a16="http://schemas.microsoft.com/office/drawing/2014/main" id="{63D490A5-C199-4882-B920-29809A7BD0F0}"/>
              </a:ext>
            </a:extLst>
          </p:cNvPr>
          <p:cNvSpPr>
            <a:spLocks noChangeArrowheads="1"/>
          </p:cNvSpPr>
          <p:nvPr/>
        </p:nvSpPr>
        <p:spPr bwMode="gray">
          <a:xfrm>
            <a:off x="3966548" y="2250383"/>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15" name="Oval 625">
            <a:extLst>
              <a:ext uri="{FF2B5EF4-FFF2-40B4-BE49-F238E27FC236}">
                <a16:creationId xmlns:a16="http://schemas.microsoft.com/office/drawing/2014/main" id="{D5F9C4F1-6B1E-4562-9585-D3AD8B9FDE38}"/>
              </a:ext>
            </a:extLst>
          </p:cNvPr>
          <p:cNvSpPr>
            <a:spLocks noChangeArrowheads="1"/>
          </p:cNvSpPr>
          <p:nvPr/>
        </p:nvSpPr>
        <p:spPr bwMode="gray">
          <a:xfrm>
            <a:off x="6388263" y="2811033"/>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16" name="Oval 642">
            <a:extLst>
              <a:ext uri="{FF2B5EF4-FFF2-40B4-BE49-F238E27FC236}">
                <a16:creationId xmlns:a16="http://schemas.microsoft.com/office/drawing/2014/main" id="{F9C8C3C0-4D08-4EB8-B4F0-AE251F93DD73}"/>
              </a:ext>
            </a:extLst>
          </p:cNvPr>
          <p:cNvSpPr>
            <a:spLocks noChangeArrowheads="1"/>
          </p:cNvSpPr>
          <p:nvPr/>
        </p:nvSpPr>
        <p:spPr bwMode="gray">
          <a:xfrm>
            <a:off x="6469384" y="2821770"/>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17" name="Oval 664">
            <a:extLst>
              <a:ext uri="{FF2B5EF4-FFF2-40B4-BE49-F238E27FC236}">
                <a16:creationId xmlns:a16="http://schemas.microsoft.com/office/drawing/2014/main" id="{C2E5190F-9B50-4681-80A8-EB4E23FC20B9}"/>
              </a:ext>
            </a:extLst>
          </p:cNvPr>
          <p:cNvSpPr>
            <a:spLocks noChangeArrowheads="1"/>
          </p:cNvSpPr>
          <p:nvPr/>
        </p:nvSpPr>
        <p:spPr bwMode="gray">
          <a:xfrm>
            <a:off x="3915251" y="2324342"/>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18" name="Oval 665">
            <a:extLst>
              <a:ext uri="{FF2B5EF4-FFF2-40B4-BE49-F238E27FC236}">
                <a16:creationId xmlns:a16="http://schemas.microsoft.com/office/drawing/2014/main" id="{BA8D2CDD-A92E-4259-B2E1-D598B01D8F3B}"/>
              </a:ext>
            </a:extLst>
          </p:cNvPr>
          <p:cNvSpPr>
            <a:spLocks noChangeArrowheads="1"/>
          </p:cNvSpPr>
          <p:nvPr/>
        </p:nvSpPr>
        <p:spPr bwMode="gray">
          <a:xfrm>
            <a:off x="3881849" y="2253963"/>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19" name="Oval 666">
            <a:extLst>
              <a:ext uri="{FF2B5EF4-FFF2-40B4-BE49-F238E27FC236}">
                <a16:creationId xmlns:a16="http://schemas.microsoft.com/office/drawing/2014/main" id="{8DF98656-7E94-414E-96A2-C825DF5115A7}"/>
              </a:ext>
            </a:extLst>
          </p:cNvPr>
          <p:cNvSpPr>
            <a:spLocks noChangeArrowheads="1"/>
          </p:cNvSpPr>
          <p:nvPr/>
        </p:nvSpPr>
        <p:spPr bwMode="gray">
          <a:xfrm>
            <a:off x="3829359" y="2456750"/>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20" name="Oval 697">
            <a:extLst>
              <a:ext uri="{FF2B5EF4-FFF2-40B4-BE49-F238E27FC236}">
                <a16:creationId xmlns:a16="http://schemas.microsoft.com/office/drawing/2014/main" id="{46CCAA8D-A54B-4DD4-926C-0012487F7E3E}"/>
              </a:ext>
            </a:extLst>
          </p:cNvPr>
          <p:cNvSpPr>
            <a:spLocks noChangeArrowheads="1"/>
          </p:cNvSpPr>
          <p:nvPr/>
        </p:nvSpPr>
        <p:spPr bwMode="gray">
          <a:xfrm>
            <a:off x="1116560" y="2848013"/>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21" name="Oval 706">
            <a:extLst>
              <a:ext uri="{FF2B5EF4-FFF2-40B4-BE49-F238E27FC236}">
                <a16:creationId xmlns:a16="http://schemas.microsoft.com/office/drawing/2014/main" id="{863A53D0-5E25-4B17-80EE-9206562EB28B}"/>
              </a:ext>
            </a:extLst>
          </p:cNvPr>
          <p:cNvSpPr>
            <a:spLocks noChangeArrowheads="1"/>
          </p:cNvSpPr>
          <p:nvPr/>
        </p:nvSpPr>
        <p:spPr bwMode="gray">
          <a:xfrm>
            <a:off x="3496523" y="2399494"/>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22" name="Oval 717">
            <a:extLst>
              <a:ext uri="{FF2B5EF4-FFF2-40B4-BE49-F238E27FC236}">
                <a16:creationId xmlns:a16="http://schemas.microsoft.com/office/drawing/2014/main" id="{ED1DE966-B95C-41F6-A6F6-A50389D66AED}"/>
              </a:ext>
            </a:extLst>
          </p:cNvPr>
          <p:cNvSpPr>
            <a:spLocks noChangeArrowheads="1"/>
          </p:cNvSpPr>
          <p:nvPr/>
        </p:nvSpPr>
        <p:spPr bwMode="gray">
          <a:xfrm>
            <a:off x="5998163" y="3097322"/>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23" name="Oval 718">
            <a:extLst>
              <a:ext uri="{FF2B5EF4-FFF2-40B4-BE49-F238E27FC236}">
                <a16:creationId xmlns:a16="http://schemas.microsoft.com/office/drawing/2014/main" id="{D4EECD2F-C28A-4C1E-ABB5-13C67B853735}"/>
              </a:ext>
            </a:extLst>
          </p:cNvPr>
          <p:cNvSpPr>
            <a:spLocks noChangeArrowheads="1"/>
          </p:cNvSpPr>
          <p:nvPr/>
        </p:nvSpPr>
        <p:spPr bwMode="gray">
          <a:xfrm>
            <a:off x="6240335" y="2621367"/>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24" name="Oval 730">
            <a:extLst>
              <a:ext uri="{FF2B5EF4-FFF2-40B4-BE49-F238E27FC236}">
                <a16:creationId xmlns:a16="http://schemas.microsoft.com/office/drawing/2014/main" id="{684A0630-C1BF-4C48-A57A-571A6EA07BAC}"/>
              </a:ext>
            </a:extLst>
          </p:cNvPr>
          <p:cNvSpPr>
            <a:spLocks noChangeArrowheads="1"/>
          </p:cNvSpPr>
          <p:nvPr/>
        </p:nvSpPr>
        <p:spPr bwMode="gray">
          <a:xfrm>
            <a:off x="6685309" y="2858748"/>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25" name="Oval 731">
            <a:extLst>
              <a:ext uri="{FF2B5EF4-FFF2-40B4-BE49-F238E27FC236}">
                <a16:creationId xmlns:a16="http://schemas.microsoft.com/office/drawing/2014/main" id="{D304C12B-85B1-45AA-B85D-561D12560C54}"/>
              </a:ext>
            </a:extLst>
          </p:cNvPr>
          <p:cNvSpPr>
            <a:spLocks noChangeArrowheads="1"/>
          </p:cNvSpPr>
          <p:nvPr/>
        </p:nvSpPr>
        <p:spPr bwMode="gray">
          <a:xfrm>
            <a:off x="5939709" y="3662744"/>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26" name="Oval 737">
            <a:extLst>
              <a:ext uri="{FF2B5EF4-FFF2-40B4-BE49-F238E27FC236}">
                <a16:creationId xmlns:a16="http://schemas.microsoft.com/office/drawing/2014/main" id="{7EB3429B-F3E4-4DE8-B8C4-F1678BC712A9}"/>
              </a:ext>
            </a:extLst>
          </p:cNvPr>
          <p:cNvSpPr>
            <a:spLocks noChangeArrowheads="1"/>
          </p:cNvSpPr>
          <p:nvPr/>
        </p:nvSpPr>
        <p:spPr bwMode="gray">
          <a:xfrm>
            <a:off x="3948655" y="2602280"/>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27" name="Oval 739">
            <a:extLst>
              <a:ext uri="{FF2B5EF4-FFF2-40B4-BE49-F238E27FC236}">
                <a16:creationId xmlns:a16="http://schemas.microsoft.com/office/drawing/2014/main" id="{A52463BA-BEFC-4E7E-9723-A368C7684511}"/>
              </a:ext>
            </a:extLst>
          </p:cNvPr>
          <p:cNvSpPr>
            <a:spLocks noChangeArrowheads="1"/>
          </p:cNvSpPr>
          <p:nvPr/>
        </p:nvSpPr>
        <p:spPr bwMode="gray">
          <a:xfrm>
            <a:off x="4027389" y="2743040"/>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28" name="Oval 847">
            <a:extLst>
              <a:ext uri="{FF2B5EF4-FFF2-40B4-BE49-F238E27FC236}">
                <a16:creationId xmlns:a16="http://schemas.microsoft.com/office/drawing/2014/main" id="{D6E03B3E-C108-46B3-A766-8071963F3693}"/>
              </a:ext>
            </a:extLst>
          </p:cNvPr>
          <p:cNvSpPr>
            <a:spLocks noChangeArrowheads="1"/>
          </p:cNvSpPr>
          <p:nvPr/>
        </p:nvSpPr>
        <p:spPr bwMode="gray">
          <a:xfrm>
            <a:off x="1961179" y="2861135"/>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29" name="Oval 854">
            <a:extLst>
              <a:ext uri="{FF2B5EF4-FFF2-40B4-BE49-F238E27FC236}">
                <a16:creationId xmlns:a16="http://schemas.microsoft.com/office/drawing/2014/main" id="{CAE28685-48CB-4B13-96B3-5E8114D8837E}"/>
              </a:ext>
            </a:extLst>
          </p:cNvPr>
          <p:cNvSpPr>
            <a:spLocks noChangeArrowheads="1"/>
          </p:cNvSpPr>
          <p:nvPr/>
        </p:nvSpPr>
        <p:spPr bwMode="gray">
          <a:xfrm>
            <a:off x="1084353" y="2799104"/>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30" name="Oval 886">
            <a:extLst>
              <a:ext uri="{FF2B5EF4-FFF2-40B4-BE49-F238E27FC236}">
                <a16:creationId xmlns:a16="http://schemas.microsoft.com/office/drawing/2014/main" id="{A47A7CFF-2FE2-4CF6-AC10-0AE7C215CED0}"/>
              </a:ext>
            </a:extLst>
          </p:cNvPr>
          <p:cNvSpPr>
            <a:spLocks noChangeArrowheads="1"/>
          </p:cNvSpPr>
          <p:nvPr/>
        </p:nvSpPr>
        <p:spPr bwMode="gray">
          <a:xfrm>
            <a:off x="1146387" y="2912428"/>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31" name="Oval 897">
            <a:extLst>
              <a:ext uri="{FF2B5EF4-FFF2-40B4-BE49-F238E27FC236}">
                <a16:creationId xmlns:a16="http://schemas.microsoft.com/office/drawing/2014/main" id="{1AF8B35B-7E20-4690-91BD-637ED064C5D3}"/>
              </a:ext>
            </a:extLst>
          </p:cNvPr>
          <p:cNvSpPr>
            <a:spLocks noChangeArrowheads="1"/>
          </p:cNvSpPr>
          <p:nvPr/>
        </p:nvSpPr>
        <p:spPr bwMode="gray">
          <a:xfrm>
            <a:off x="5495928" y="3303691"/>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32" name="Oval 902">
            <a:extLst>
              <a:ext uri="{FF2B5EF4-FFF2-40B4-BE49-F238E27FC236}">
                <a16:creationId xmlns:a16="http://schemas.microsoft.com/office/drawing/2014/main" id="{1751A71D-6B9A-4AF8-80BF-7BBC96E639B4}"/>
              </a:ext>
            </a:extLst>
          </p:cNvPr>
          <p:cNvSpPr>
            <a:spLocks noChangeArrowheads="1"/>
          </p:cNvSpPr>
          <p:nvPr/>
        </p:nvSpPr>
        <p:spPr bwMode="gray">
          <a:xfrm>
            <a:off x="5939710" y="3662744"/>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33" name="Oval 913">
            <a:extLst>
              <a:ext uri="{FF2B5EF4-FFF2-40B4-BE49-F238E27FC236}">
                <a16:creationId xmlns:a16="http://schemas.microsoft.com/office/drawing/2014/main" id="{A4D27FF6-A57B-4109-AEAB-949B7CAF72B0}"/>
              </a:ext>
            </a:extLst>
          </p:cNvPr>
          <p:cNvSpPr>
            <a:spLocks noChangeArrowheads="1"/>
          </p:cNvSpPr>
          <p:nvPr/>
        </p:nvSpPr>
        <p:spPr bwMode="gray">
          <a:xfrm>
            <a:off x="3996373" y="1954552"/>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34" name="Oval 924">
            <a:extLst>
              <a:ext uri="{FF2B5EF4-FFF2-40B4-BE49-F238E27FC236}">
                <a16:creationId xmlns:a16="http://schemas.microsoft.com/office/drawing/2014/main" id="{EABA3DC5-EE92-404E-9B26-9062D02381FC}"/>
              </a:ext>
            </a:extLst>
          </p:cNvPr>
          <p:cNvSpPr>
            <a:spLocks noChangeArrowheads="1"/>
          </p:cNvSpPr>
          <p:nvPr/>
        </p:nvSpPr>
        <p:spPr bwMode="gray">
          <a:xfrm>
            <a:off x="3794764" y="2382794"/>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35" name="Oval 934">
            <a:extLst>
              <a:ext uri="{FF2B5EF4-FFF2-40B4-BE49-F238E27FC236}">
                <a16:creationId xmlns:a16="http://schemas.microsoft.com/office/drawing/2014/main" id="{B8D39663-2468-4902-8374-9088C70AE8A1}"/>
              </a:ext>
            </a:extLst>
          </p:cNvPr>
          <p:cNvSpPr>
            <a:spLocks noChangeArrowheads="1"/>
          </p:cNvSpPr>
          <p:nvPr/>
        </p:nvSpPr>
        <p:spPr bwMode="gray">
          <a:xfrm>
            <a:off x="3664729" y="2276628"/>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36" name="Oval 942">
            <a:extLst>
              <a:ext uri="{FF2B5EF4-FFF2-40B4-BE49-F238E27FC236}">
                <a16:creationId xmlns:a16="http://schemas.microsoft.com/office/drawing/2014/main" id="{F794A3DE-5EC1-435F-9424-9272125CB1E0}"/>
              </a:ext>
            </a:extLst>
          </p:cNvPr>
          <p:cNvSpPr>
            <a:spLocks noChangeArrowheads="1"/>
          </p:cNvSpPr>
          <p:nvPr/>
        </p:nvSpPr>
        <p:spPr bwMode="gray">
          <a:xfrm>
            <a:off x="6710362" y="2871870"/>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37" name="Oval 943">
            <a:extLst>
              <a:ext uri="{FF2B5EF4-FFF2-40B4-BE49-F238E27FC236}">
                <a16:creationId xmlns:a16="http://schemas.microsoft.com/office/drawing/2014/main" id="{FBF5A662-B063-4F64-92E7-D90B262FCBBF}"/>
              </a:ext>
            </a:extLst>
          </p:cNvPr>
          <p:cNvSpPr>
            <a:spLocks noChangeArrowheads="1"/>
          </p:cNvSpPr>
          <p:nvPr/>
        </p:nvSpPr>
        <p:spPr bwMode="gray">
          <a:xfrm>
            <a:off x="6727075" y="2842049"/>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38" name="Oval 944">
            <a:extLst>
              <a:ext uri="{FF2B5EF4-FFF2-40B4-BE49-F238E27FC236}">
                <a16:creationId xmlns:a16="http://schemas.microsoft.com/office/drawing/2014/main" id="{A8480EC2-C7A5-41B7-B328-28510661D922}"/>
              </a:ext>
            </a:extLst>
          </p:cNvPr>
          <p:cNvSpPr>
            <a:spLocks noChangeArrowheads="1"/>
          </p:cNvSpPr>
          <p:nvPr/>
        </p:nvSpPr>
        <p:spPr bwMode="gray">
          <a:xfrm>
            <a:off x="6619695" y="2889762"/>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39" name="Oval 946">
            <a:extLst>
              <a:ext uri="{FF2B5EF4-FFF2-40B4-BE49-F238E27FC236}">
                <a16:creationId xmlns:a16="http://schemas.microsoft.com/office/drawing/2014/main" id="{2BE75530-0DCC-46F4-B38A-7D6BC444BC09}"/>
              </a:ext>
            </a:extLst>
          </p:cNvPr>
          <p:cNvSpPr>
            <a:spLocks noChangeArrowheads="1"/>
          </p:cNvSpPr>
          <p:nvPr/>
        </p:nvSpPr>
        <p:spPr bwMode="gray">
          <a:xfrm>
            <a:off x="6727055" y="2861134"/>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40" name="Oval 947">
            <a:extLst>
              <a:ext uri="{FF2B5EF4-FFF2-40B4-BE49-F238E27FC236}">
                <a16:creationId xmlns:a16="http://schemas.microsoft.com/office/drawing/2014/main" id="{DD596D25-2F44-4722-9E9D-35C9DF6F61B7}"/>
              </a:ext>
            </a:extLst>
          </p:cNvPr>
          <p:cNvSpPr>
            <a:spLocks noChangeArrowheads="1"/>
          </p:cNvSpPr>
          <p:nvPr/>
        </p:nvSpPr>
        <p:spPr bwMode="gray">
          <a:xfrm>
            <a:off x="6629242" y="2894539"/>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41" name="Oval 951">
            <a:extLst>
              <a:ext uri="{FF2B5EF4-FFF2-40B4-BE49-F238E27FC236}">
                <a16:creationId xmlns:a16="http://schemas.microsoft.com/office/drawing/2014/main" id="{F43E0101-AF11-46E2-BBF8-A09DFC583BAB}"/>
              </a:ext>
            </a:extLst>
          </p:cNvPr>
          <p:cNvSpPr>
            <a:spLocks noChangeArrowheads="1"/>
          </p:cNvSpPr>
          <p:nvPr/>
        </p:nvSpPr>
        <p:spPr bwMode="gray">
          <a:xfrm>
            <a:off x="6704381" y="2815805"/>
            <a:ext cx="135229" cy="135220"/>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42" name="Oval 252">
            <a:extLst>
              <a:ext uri="{FF2B5EF4-FFF2-40B4-BE49-F238E27FC236}">
                <a16:creationId xmlns:a16="http://schemas.microsoft.com/office/drawing/2014/main" id="{382DF2CB-81E2-45B1-98BA-B912A97E8891}"/>
              </a:ext>
            </a:extLst>
          </p:cNvPr>
          <p:cNvSpPr>
            <a:spLocks noChangeArrowheads="1"/>
          </p:cNvSpPr>
          <p:nvPr/>
        </p:nvSpPr>
        <p:spPr bwMode="gray">
          <a:xfrm>
            <a:off x="3750621" y="241380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43" name="Oval 261">
            <a:extLst>
              <a:ext uri="{FF2B5EF4-FFF2-40B4-BE49-F238E27FC236}">
                <a16:creationId xmlns:a16="http://schemas.microsoft.com/office/drawing/2014/main" id="{89FB8707-B225-44C7-989B-F4028429677A}"/>
              </a:ext>
            </a:extLst>
          </p:cNvPr>
          <p:cNvSpPr>
            <a:spLocks noChangeArrowheads="1"/>
          </p:cNvSpPr>
          <p:nvPr/>
        </p:nvSpPr>
        <p:spPr bwMode="gray">
          <a:xfrm>
            <a:off x="6873798" y="438920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44" name="Oval 262">
            <a:extLst>
              <a:ext uri="{FF2B5EF4-FFF2-40B4-BE49-F238E27FC236}">
                <a16:creationId xmlns:a16="http://schemas.microsoft.com/office/drawing/2014/main" id="{C7D393DA-EA6C-4AEF-9AED-33B9C49256CE}"/>
              </a:ext>
            </a:extLst>
          </p:cNvPr>
          <p:cNvSpPr>
            <a:spLocks noChangeArrowheads="1"/>
          </p:cNvSpPr>
          <p:nvPr/>
        </p:nvSpPr>
        <p:spPr bwMode="gray">
          <a:xfrm>
            <a:off x="6681729" y="445123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45" name="Oval 268">
            <a:extLst>
              <a:ext uri="{FF2B5EF4-FFF2-40B4-BE49-F238E27FC236}">
                <a16:creationId xmlns:a16="http://schemas.microsoft.com/office/drawing/2014/main" id="{0056815B-9F5C-4BAF-8803-EAF86F9A1F25}"/>
              </a:ext>
            </a:extLst>
          </p:cNvPr>
          <p:cNvSpPr>
            <a:spLocks noChangeArrowheads="1"/>
          </p:cNvSpPr>
          <p:nvPr/>
        </p:nvSpPr>
        <p:spPr bwMode="gray">
          <a:xfrm>
            <a:off x="4007109" y="250446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46" name="Oval 269">
            <a:extLst>
              <a:ext uri="{FF2B5EF4-FFF2-40B4-BE49-F238E27FC236}">
                <a16:creationId xmlns:a16="http://schemas.microsoft.com/office/drawing/2014/main" id="{555DFC15-5173-4CE2-92A0-7A6D5CC46B9B}"/>
              </a:ext>
            </a:extLst>
          </p:cNvPr>
          <p:cNvSpPr>
            <a:spLocks noChangeArrowheads="1"/>
          </p:cNvSpPr>
          <p:nvPr/>
        </p:nvSpPr>
        <p:spPr bwMode="gray">
          <a:xfrm>
            <a:off x="3646835" y="284085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47" name="Oval 273">
            <a:extLst>
              <a:ext uri="{FF2B5EF4-FFF2-40B4-BE49-F238E27FC236}">
                <a16:creationId xmlns:a16="http://schemas.microsoft.com/office/drawing/2014/main" id="{863FBD4E-9518-4E88-8B1D-533896AEDC04}"/>
              </a:ext>
            </a:extLst>
          </p:cNvPr>
          <p:cNvSpPr>
            <a:spLocks noChangeArrowheads="1"/>
          </p:cNvSpPr>
          <p:nvPr/>
        </p:nvSpPr>
        <p:spPr bwMode="gray">
          <a:xfrm>
            <a:off x="6742572" y="282415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48" name="Oval 275">
            <a:extLst>
              <a:ext uri="{FF2B5EF4-FFF2-40B4-BE49-F238E27FC236}">
                <a16:creationId xmlns:a16="http://schemas.microsoft.com/office/drawing/2014/main" id="{E24C8E18-C12F-40C1-A161-2BC2E1AFC8FA}"/>
              </a:ext>
            </a:extLst>
          </p:cNvPr>
          <p:cNvSpPr>
            <a:spLocks noChangeArrowheads="1"/>
          </p:cNvSpPr>
          <p:nvPr/>
        </p:nvSpPr>
        <p:spPr bwMode="gray">
          <a:xfrm>
            <a:off x="6804605" y="266192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49" name="Oval 282">
            <a:extLst>
              <a:ext uri="{FF2B5EF4-FFF2-40B4-BE49-F238E27FC236}">
                <a16:creationId xmlns:a16="http://schemas.microsoft.com/office/drawing/2014/main" id="{F38D29C2-7C34-46E3-B56E-BBE69612D225}"/>
              </a:ext>
            </a:extLst>
          </p:cNvPr>
          <p:cNvSpPr>
            <a:spLocks noChangeArrowheads="1"/>
          </p:cNvSpPr>
          <p:nvPr/>
        </p:nvSpPr>
        <p:spPr bwMode="gray">
          <a:xfrm>
            <a:off x="1846654" y="239949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50" name="Oval 283">
            <a:extLst>
              <a:ext uri="{FF2B5EF4-FFF2-40B4-BE49-F238E27FC236}">
                <a16:creationId xmlns:a16="http://schemas.microsoft.com/office/drawing/2014/main" id="{00CFE2B8-B76B-4C4D-8678-7AE8FCA4F966}"/>
              </a:ext>
            </a:extLst>
          </p:cNvPr>
          <p:cNvSpPr>
            <a:spLocks noChangeArrowheads="1"/>
          </p:cNvSpPr>
          <p:nvPr/>
        </p:nvSpPr>
        <p:spPr bwMode="gray">
          <a:xfrm>
            <a:off x="3896163" y="231479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51" name="Oval 284">
            <a:extLst>
              <a:ext uri="{FF2B5EF4-FFF2-40B4-BE49-F238E27FC236}">
                <a16:creationId xmlns:a16="http://schemas.microsoft.com/office/drawing/2014/main" id="{A86F1343-4955-4A1F-8A0F-889E03E6B6A4}"/>
              </a:ext>
            </a:extLst>
          </p:cNvPr>
          <p:cNvSpPr>
            <a:spLocks noChangeArrowheads="1"/>
          </p:cNvSpPr>
          <p:nvPr/>
        </p:nvSpPr>
        <p:spPr bwMode="gray">
          <a:xfrm>
            <a:off x="3877075" y="244840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52" name="Oval 285">
            <a:extLst>
              <a:ext uri="{FF2B5EF4-FFF2-40B4-BE49-F238E27FC236}">
                <a16:creationId xmlns:a16="http://schemas.microsoft.com/office/drawing/2014/main" id="{DD02A27A-63CF-456B-88B7-9BA70618897C}"/>
              </a:ext>
            </a:extLst>
          </p:cNvPr>
          <p:cNvSpPr>
            <a:spLocks noChangeArrowheads="1"/>
          </p:cNvSpPr>
          <p:nvPr/>
        </p:nvSpPr>
        <p:spPr bwMode="gray">
          <a:xfrm>
            <a:off x="6690081" y="449060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53" name="Oval 286">
            <a:extLst>
              <a:ext uri="{FF2B5EF4-FFF2-40B4-BE49-F238E27FC236}">
                <a16:creationId xmlns:a16="http://schemas.microsoft.com/office/drawing/2014/main" id="{15FADBAA-C4E1-467E-81B1-BFF3ABF84F74}"/>
              </a:ext>
            </a:extLst>
          </p:cNvPr>
          <p:cNvSpPr>
            <a:spLocks noChangeArrowheads="1"/>
          </p:cNvSpPr>
          <p:nvPr/>
        </p:nvSpPr>
        <p:spPr bwMode="gray">
          <a:xfrm>
            <a:off x="3638483" y="233984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54" name="Oval 290">
            <a:extLst>
              <a:ext uri="{FF2B5EF4-FFF2-40B4-BE49-F238E27FC236}">
                <a16:creationId xmlns:a16="http://schemas.microsoft.com/office/drawing/2014/main" id="{EF1D1FA8-6B13-49DD-8727-89627E7E0223}"/>
              </a:ext>
            </a:extLst>
          </p:cNvPr>
          <p:cNvSpPr>
            <a:spLocks noChangeArrowheads="1"/>
          </p:cNvSpPr>
          <p:nvPr/>
        </p:nvSpPr>
        <p:spPr bwMode="gray">
          <a:xfrm>
            <a:off x="4336366" y="153227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55" name="Oval 293">
            <a:extLst>
              <a:ext uri="{FF2B5EF4-FFF2-40B4-BE49-F238E27FC236}">
                <a16:creationId xmlns:a16="http://schemas.microsoft.com/office/drawing/2014/main" id="{0A96B30D-3135-463D-ABC4-1C8561441C59}"/>
              </a:ext>
            </a:extLst>
          </p:cNvPr>
          <p:cNvSpPr>
            <a:spLocks noChangeArrowheads="1"/>
          </p:cNvSpPr>
          <p:nvPr/>
        </p:nvSpPr>
        <p:spPr bwMode="gray">
          <a:xfrm>
            <a:off x="4048863" y="272395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56" name="Oval 297">
            <a:extLst>
              <a:ext uri="{FF2B5EF4-FFF2-40B4-BE49-F238E27FC236}">
                <a16:creationId xmlns:a16="http://schemas.microsoft.com/office/drawing/2014/main" id="{A309D80E-8346-4FFC-9A9F-565FC9008EF2}"/>
              </a:ext>
            </a:extLst>
          </p:cNvPr>
          <p:cNvSpPr>
            <a:spLocks noChangeArrowheads="1"/>
          </p:cNvSpPr>
          <p:nvPr/>
        </p:nvSpPr>
        <p:spPr bwMode="gray">
          <a:xfrm>
            <a:off x="3671886" y="236609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57" name="Oval 298">
            <a:extLst>
              <a:ext uri="{FF2B5EF4-FFF2-40B4-BE49-F238E27FC236}">
                <a16:creationId xmlns:a16="http://schemas.microsoft.com/office/drawing/2014/main" id="{562C5D2C-4C1D-440B-BEEE-4B0DFE122DD5}"/>
              </a:ext>
            </a:extLst>
          </p:cNvPr>
          <p:cNvSpPr>
            <a:spLocks noChangeArrowheads="1"/>
          </p:cNvSpPr>
          <p:nvPr/>
        </p:nvSpPr>
        <p:spPr bwMode="gray">
          <a:xfrm>
            <a:off x="3646835" y="231002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58" name="Oval 299">
            <a:extLst>
              <a:ext uri="{FF2B5EF4-FFF2-40B4-BE49-F238E27FC236}">
                <a16:creationId xmlns:a16="http://schemas.microsoft.com/office/drawing/2014/main" id="{5BF4418E-FEE8-4417-B4B3-53E771A7EF88}"/>
              </a:ext>
            </a:extLst>
          </p:cNvPr>
          <p:cNvSpPr>
            <a:spLocks noChangeArrowheads="1"/>
          </p:cNvSpPr>
          <p:nvPr/>
        </p:nvSpPr>
        <p:spPr bwMode="gray">
          <a:xfrm>
            <a:off x="3630132" y="211320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59" name="Oval 306">
            <a:extLst>
              <a:ext uri="{FF2B5EF4-FFF2-40B4-BE49-F238E27FC236}">
                <a16:creationId xmlns:a16="http://schemas.microsoft.com/office/drawing/2014/main" id="{8F314BA3-ABFA-427C-BBBF-098EB4DD8097}"/>
              </a:ext>
            </a:extLst>
          </p:cNvPr>
          <p:cNvSpPr>
            <a:spLocks noChangeArrowheads="1"/>
          </p:cNvSpPr>
          <p:nvPr/>
        </p:nvSpPr>
        <p:spPr bwMode="gray">
          <a:xfrm>
            <a:off x="3925988" y="244720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60" name="Oval 312">
            <a:extLst>
              <a:ext uri="{FF2B5EF4-FFF2-40B4-BE49-F238E27FC236}">
                <a16:creationId xmlns:a16="http://schemas.microsoft.com/office/drawing/2014/main" id="{6D92098D-C059-4E1E-B59A-18E89D83EB52}"/>
              </a:ext>
            </a:extLst>
          </p:cNvPr>
          <p:cNvSpPr>
            <a:spLocks noChangeArrowheads="1"/>
          </p:cNvSpPr>
          <p:nvPr/>
        </p:nvSpPr>
        <p:spPr bwMode="gray">
          <a:xfrm>
            <a:off x="3865146" y="252951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61" name="Oval 317">
            <a:extLst>
              <a:ext uri="{FF2B5EF4-FFF2-40B4-BE49-F238E27FC236}">
                <a16:creationId xmlns:a16="http://schemas.microsoft.com/office/drawing/2014/main" id="{3941B468-5B1B-4F02-A1B7-0DBFD2F893BE}"/>
              </a:ext>
            </a:extLst>
          </p:cNvPr>
          <p:cNvSpPr>
            <a:spLocks noChangeArrowheads="1"/>
          </p:cNvSpPr>
          <p:nvPr/>
        </p:nvSpPr>
        <p:spPr bwMode="gray">
          <a:xfrm>
            <a:off x="6823692" y="456932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62" name="Oval 320">
            <a:extLst>
              <a:ext uri="{FF2B5EF4-FFF2-40B4-BE49-F238E27FC236}">
                <a16:creationId xmlns:a16="http://schemas.microsoft.com/office/drawing/2014/main" id="{F5942D6B-A290-4317-AD9A-F09FC1638589}"/>
              </a:ext>
            </a:extLst>
          </p:cNvPr>
          <p:cNvSpPr>
            <a:spLocks noChangeArrowheads="1"/>
          </p:cNvSpPr>
          <p:nvPr/>
        </p:nvSpPr>
        <p:spPr bwMode="gray">
          <a:xfrm>
            <a:off x="4007109" y="236609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63" name="Oval 330">
            <a:extLst>
              <a:ext uri="{FF2B5EF4-FFF2-40B4-BE49-F238E27FC236}">
                <a16:creationId xmlns:a16="http://schemas.microsoft.com/office/drawing/2014/main" id="{B2EBDBDC-A059-4B5A-9E70-E0F0F5DAE09B}"/>
              </a:ext>
            </a:extLst>
          </p:cNvPr>
          <p:cNvSpPr>
            <a:spLocks noChangeArrowheads="1"/>
          </p:cNvSpPr>
          <p:nvPr/>
        </p:nvSpPr>
        <p:spPr bwMode="gray">
          <a:xfrm>
            <a:off x="3850830" y="240187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64" name="Oval 338">
            <a:extLst>
              <a:ext uri="{FF2B5EF4-FFF2-40B4-BE49-F238E27FC236}">
                <a16:creationId xmlns:a16="http://schemas.microsoft.com/office/drawing/2014/main" id="{654E8F7A-2BC3-4D72-9388-E27554D0A800}"/>
              </a:ext>
            </a:extLst>
          </p:cNvPr>
          <p:cNvSpPr>
            <a:spLocks noChangeArrowheads="1"/>
          </p:cNvSpPr>
          <p:nvPr/>
        </p:nvSpPr>
        <p:spPr bwMode="gray">
          <a:xfrm>
            <a:off x="3761359" y="240784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65" name="Oval 344">
            <a:extLst>
              <a:ext uri="{FF2B5EF4-FFF2-40B4-BE49-F238E27FC236}">
                <a16:creationId xmlns:a16="http://schemas.microsoft.com/office/drawing/2014/main" id="{0E89C2D2-34DC-41C6-8C45-8818E34AEE6E}"/>
              </a:ext>
            </a:extLst>
          </p:cNvPr>
          <p:cNvSpPr>
            <a:spLocks noChangeArrowheads="1"/>
          </p:cNvSpPr>
          <p:nvPr/>
        </p:nvSpPr>
        <p:spPr bwMode="gray">
          <a:xfrm>
            <a:off x="3843672" y="233507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66" name="Oval 355">
            <a:extLst>
              <a:ext uri="{FF2B5EF4-FFF2-40B4-BE49-F238E27FC236}">
                <a16:creationId xmlns:a16="http://schemas.microsoft.com/office/drawing/2014/main" id="{E43885E6-48EF-444C-98FD-34B65AA66D3E}"/>
              </a:ext>
            </a:extLst>
          </p:cNvPr>
          <p:cNvSpPr>
            <a:spLocks noChangeArrowheads="1"/>
          </p:cNvSpPr>
          <p:nvPr/>
        </p:nvSpPr>
        <p:spPr bwMode="gray">
          <a:xfrm>
            <a:off x="3915250" y="232434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67" name="Oval 364">
            <a:extLst>
              <a:ext uri="{FF2B5EF4-FFF2-40B4-BE49-F238E27FC236}">
                <a16:creationId xmlns:a16="http://schemas.microsoft.com/office/drawing/2014/main" id="{73157FEA-B915-4792-8F83-59F316EBE1AA}"/>
              </a:ext>
            </a:extLst>
          </p:cNvPr>
          <p:cNvSpPr>
            <a:spLocks noChangeArrowheads="1"/>
          </p:cNvSpPr>
          <p:nvPr/>
        </p:nvSpPr>
        <p:spPr bwMode="gray">
          <a:xfrm>
            <a:off x="3965355" y="231241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68" name="Oval 365">
            <a:extLst>
              <a:ext uri="{FF2B5EF4-FFF2-40B4-BE49-F238E27FC236}">
                <a16:creationId xmlns:a16="http://schemas.microsoft.com/office/drawing/2014/main" id="{A0C852EC-CF84-4FAE-9BBC-23C235AFCE4F}"/>
              </a:ext>
            </a:extLst>
          </p:cNvPr>
          <p:cNvSpPr>
            <a:spLocks noChangeArrowheads="1"/>
          </p:cNvSpPr>
          <p:nvPr/>
        </p:nvSpPr>
        <p:spPr bwMode="gray">
          <a:xfrm>
            <a:off x="3954618" y="240187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69" name="Oval 372">
            <a:extLst>
              <a:ext uri="{FF2B5EF4-FFF2-40B4-BE49-F238E27FC236}">
                <a16:creationId xmlns:a16="http://schemas.microsoft.com/office/drawing/2014/main" id="{39C0D153-CCDF-45F8-B219-D5B5911EEA56}"/>
              </a:ext>
            </a:extLst>
          </p:cNvPr>
          <p:cNvSpPr>
            <a:spLocks noChangeArrowheads="1"/>
          </p:cNvSpPr>
          <p:nvPr/>
        </p:nvSpPr>
        <p:spPr bwMode="gray">
          <a:xfrm>
            <a:off x="1623570" y="271798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70" name="Oval 378">
            <a:extLst>
              <a:ext uri="{FF2B5EF4-FFF2-40B4-BE49-F238E27FC236}">
                <a16:creationId xmlns:a16="http://schemas.microsoft.com/office/drawing/2014/main" id="{1950D207-346B-410B-81A8-D8B1DA20318F}"/>
              </a:ext>
            </a:extLst>
          </p:cNvPr>
          <p:cNvSpPr>
            <a:spLocks noChangeArrowheads="1"/>
          </p:cNvSpPr>
          <p:nvPr/>
        </p:nvSpPr>
        <p:spPr bwMode="gray">
          <a:xfrm>
            <a:off x="6710360" y="287306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71" name="Oval 388">
            <a:extLst>
              <a:ext uri="{FF2B5EF4-FFF2-40B4-BE49-F238E27FC236}">
                <a16:creationId xmlns:a16="http://schemas.microsoft.com/office/drawing/2014/main" id="{0214442F-9D8B-47C1-8F02-4A8A744DF12D}"/>
              </a:ext>
            </a:extLst>
          </p:cNvPr>
          <p:cNvSpPr>
            <a:spLocks noChangeArrowheads="1"/>
          </p:cNvSpPr>
          <p:nvPr/>
        </p:nvSpPr>
        <p:spPr bwMode="gray">
          <a:xfrm>
            <a:off x="3606274" y="223964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72" name="Oval 391">
            <a:extLst>
              <a:ext uri="{FF2B5EF4-FFF2-40B4-BE49-F238E27FC236}">
                <a16:creationId xmlns:a16="http://schemas.microsoft.com/office/drawing/2014/main" id="{8D016E16-5628-40AC-9E16-B4D28671329C}"/>
              </a:ext>
            </a:extLst>
          </p:cNvPr>
          <p:cNvSpPr>
            <a:spLocks noChangeArrowheads="1"/>
          </p:cNvSpPr>
          <p:nvPr/>
        </p:nvSpPr>
        <p:spPr bwMode="gray">
          <a:xfrm>
            <a:off x="3957005" y="244720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73" name="Oval 399">
            <a:extLst>
              <a:ext uri="{FF2B5EF4-FFF2-40B4-BE49-F238E27FC236}">
                <a16:creationId xmlns:a16="http://schemas.microsoft.com/office/drawing/2014/main" id="{0FE77093-5106-4AE0-8579-CA74D1CF5CEE}"/>
              </a:ext>
            </a:extLst>
          </p:cNvPr>
          <p:cNvSpPr>
            <a:spLocks noChangeArrowheads="1"/>
          </p:cNvSpPr>
          <p:nvPr/>
        </p:nvSpPr>
        <p:spPr bwMode="gray">
          <a:xfrm>
            <a:off x="3754201" y="276331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74" name="Oval 400">
            <a:extLst>
              <a:ext uri="{FF2B5EF4-FFF2-40B4-BE49-F238E27FC236}">
                <a16:creationId xmlns:a16="http://schemas.microsoft.com/office/drawing/2014/main" id="{980EB25E-E09C-4455-85C4-C36B653E70EC}"/>
              </a:ext>
            </a:extLst>
          </p:cNvPr>
          <p:cNvSpPr>
            <a:spLocks noChangeArrowheads="1"/>
          </p:cNvSpPr>
          <p:nvPr/>
        </p:nvSpPr>
        <p:spPr bwMode="gray">
          <a:xfrm>
            <a:off x="3825778" y="236370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75" name="Oval 421">
            <a:extLst>
              <a:ext uri="{FF2B5EF4-FFF2-40B4-BE49-F238E27FC236}">
                <a16:creationId xmlns:a16="http://schemas.microsoft.com/office/drawing/2014/main" id="{00E5FDB3-8CD4-45F2-B25A-D52183C5A6DA}"/>
              </a:ext>
            </a:extLst>
          </p:cNvPr>
          <p:cNvSpPr>
            <a:spLocks noChangeArrowheads="1"/>
          </p:cNvSpPr>
          <p:nvPr/>
        </p:nvSpPr>
        <p:spPr bwMode="gray">
          <a:xfrm>
            <a:off x="3850830" y="255218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76" name="Oval 423">
            <a:extLst>
              <a:ext uri="{FF2B5EF4-FFF2-40B4-BE49-F238E27FC236}">
                <a16:creationId xmlns:a16="http://schemas.microsoft.com/office/drawing/2014/main" id="{28E53B02-3E9E-4B15-9BE6-FE6D700C6D68}"/>
              </a:ext>
            </a:extLst>
          </p:cNvPr>
          <p:cNvSpPr>
            <a:spLocks noChangeArrowheads="1"/>
          </p:cNvSpPr>
          <p:nvPr/>
        </p:nvSpPr>
        <p:spPr bwMode="gray">
          <a:xfrm>
            <a:off x="3658764" y="217403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77" name="Oval 424">
            <a:extLst>
              <a:ext uri="{FF2B5EF4-FFF2-40B4-BE49-F238E27FC236}">
                <a16:creationId xmlns:a16="http://schemas.microsoft.com/office/drawing/2014/main" id="{BC1676F8-52A5-403D-83CC-C39DBAAD914B}"/>
              </a:ext>
            </a:extLst>
          </p:cNvPr>
          <p:cNvSpPr>
            <a:spLocks noChangeArrowheads="1"/>
          </p:cNvSpPr>
          <p:nvPr/>
        </p:nvSpPr>
        <p:spPr bwMode="gray">
          <a:xfrm>
            <a:off x="3712447" y="239949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78" name="Oval 426">
            <a:extLst>
              <a:ext uri="{FF2B5EF4-FFF2-40B4-BE49-F238E27FC236}">
                <a16:creationId xmlns:a16="http://schemas.microsoft.com/office/drawing/2014/main" id="{460ABC94-F002-41D8-8760-EC9E63380B3F}"/>
              </a:ext>
            </a:extLst>
          </p:cNvPr>
          <p:cNvSpPr>
            <a:spLocks noChangeArrowheads="1"/>
          </p:cNvSpPr>
          <p:nvPr/>
        </p:nvSpPr>
        <p:spPr bwMode="gray">
          <a:xfrm>
            <a:off x="3795954" y="238517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79" name="Oval 432">
            <a:extLst>
              <a:ext uri="{FF2B5EF4-FFF2-40B4-BE49-F238E27FC236}">
                <a16:creationId xmlns:a16="http://schemas.microsoft.com/office/drawing/2014/main" id="{0AD1D61D-ACEB-4542-A030-1F9255E74B03}"/>
              </a:ext>
            </a:extLst>
          </p:cNvPr>
          <p:cNvSpPr>
            <a:spLocks noChangeArrowheads="1"/>
          </p:cNvSpPr>
          <p:nvPr/>
        </p:nvSpPr>
        <p:spPr bwMode="gray">
          <a:xfrm>
            <a:off x="6692467" y="287187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80" name="Oval 453">
            <a:extLst>
              <a:ext uri="{FF2B5EF4-FFF2-40B4-BE49-F238E27FC236}">
                <a16:creationId xmlns:a16="http://schemas.microsoft.com/office/drawing/2014/main" id="{E691BCD9-4829-46D8-9FD0-E8A851EA22A5}"/>
              </a:ext>
            </a:extLst>
          </p:cNvPr>
          <p:cNvSpPr>
            <a:spLocks noChangeArrowheads="1"/>
          </p:cNvSpPr>
          <p:nvPr/>
        </p:nvSpPr>
        <p:spPr bwMode="gray">
          <a:xfrm>
            <a:off x="6433593" y="286351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81" name="Oval 454">
            <a:extLst>
              <a:ext uri="{FF2B5EF4-FFF2-40B4-BE49-F238E27FC236}">
                <a16:creationId xmlns:a16="http://schemas.microsoft.com/office/drawing/2014/main" id="{85E4ECF4-2EEF-4FBD-9821-AD8246A01D12}"/>
              </a:ext>
            </a:extLst>
          </p:cNvPr>
          <p:cNvSpPr>
            <a:spLocks noChangeArrowheads="1"/>
          </p:cNvSpPr>
          <p:nvPr/>
        </p:nvSpPr>
        <p:spPr bwMode="gray">
          <a:xfrm>
            <a:off x="6433593" y="286351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82" name="Oval 466">
            <a:extLst>
              <a:ext uri="{FF2B5EF4-FFF2-40B4-BE49-F238E27FC236}">
                <a16:creationId xmlns:a16="http://schemas.microsoft.com/office/drawing/2014/main" id="{6510F87B-2654-415E-B02E-A640374B6972}"/>
              </a:ext>
            </a:extLst>
          </p:cNvPr>
          <p:cNvSpPr>
            <a:spLocks noChangeArrowheads="1"/>
          </p:cNvSpPr>
          <p:nvPr/>
        </p:nvSpPr>
        <p:spPr bwMode="gray">
          <a:xfrm>
            <a:off x="4217071" y="281342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83" name="Oval 477">
            <a:extLst>
              <a:ext uri="{FF2B5EF4-FFF2-40B4-BE49-F238E27FC236}">
                <a16:creationId xmlns:a16="http://schemas.microsoft.com/office/drawing/2014/main" id="{C77AA804-0CE0-42AB-85BF-B9EEF015D577}"/>
              </a:ext>
            </a:extLst>
          </p:cNvPr>
          <p:cNvSpPr>
            <a:spLocks noChangeArrowheads="1"/>
          </p:cNvSpPr>
          <p:nvPr/>
        </p:nvSpPr>
        <p:spPr bwMode="gray">
          <a:xfrm>
            <a:off x="3915250" y="232434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84" name="Oval 478">
            <a:extLst>
              <a:ext uri="{FF2B5EF4-FFF2-40B4-BE49-F238E27FC236}">
                <a16:creationId xmlns:a16="http://schemas.microsoft.com/office/drawing/2014/main" id="{535B348B-E388-4A2E-8A4E-F34DE9E1925F}"/>
              </a:ext>
            </a:extLst>
          </p:cNvPr>
          <p:cNvSpPr>
            <a:spLocks noChangeArrowheads="1"/>
          </p:cNvSpPr>
          <p:nvPr/>
        </p:nvSpPr>
        <p:spPr bwMode="gray">
          <a:xfrm>
            <a:off x="3669500" y="241738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85" name="Oval 482">
            <a:extLst>
              <a:ext uri="{FF2B5EF4-FFF2-40B4-BE49-F238E27FC236}">
                <a16:creationId xmlns:a16="http://schemas.microsoft.com/office/drawing/2014/main" id="{B64132EA-D2CD-4FDC-9386-AF95CCAF78E9}"/>
              </a:ext>
            </a:extLst>
          </p:cNvPr>
          <p:cNvSpPr>
            <a:spLocks noChangeArrowheads="1"/>
          </p:cNvSpPr>
          <p:nvPr/>
        </p:nvSpPr>
        <p:spPr bwMode="gray">
          <a:xfrm>
            <a:off x="3803112" y="236847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86" name="Oval 499">
            <a:extLst>
              <a:ext uri="{FF2B5EF4-FFF2-40B4-BE49-F238E27FC236}">
                <a16:creationId xmlns:a16="http://schemas.microsoft.com/office/drawing/2014/main" id="{1FFF0CE5-4758-4687-B9A6-83A58F5A7E8A}"/>
              </a:ext>
            </a:extLst>
          </p:cNvPr>
          <p:cNvSpPr>
            <a:spLocks noChangeArrowheads="1"/>
          </p:cNvSpPr>
          <p:nvPr/>
        </p:nvSpPr>
        <p:spPr bwMode="gray">
          <a:xfrm>
            <a:off x="3655185" y="254621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87" name="Oval 509">
            <a:extLst>
              <a:ext uri="{FF2B5EF4-FFF2-40B4-BE49-F238E27FC236}">
                <a16:creationId xmlns:a16="http://schemas.microsoft.com/office/drawing/2014/main" id="{DEBBE732-2845-46C5-A768-1B3E23DAB439}"/>
              </a:ext>
            </a:extLst>
          </p:cNvPr>
          <p:cNvSpPr>
            <a:spLocks noChangeArrowheads="1"/>
          </p:cNvSpPr>
          <p:nvPr/>
        </p:nvSpPr>
        <p:spPr bwMode="gray">
          <a:xfrm>
            <a:off x="3806691" y="243885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88" name="Oval 525">
            <a:extLst>
              <a:ext uri="{FF2B5EF4-FFF2-40B4-BE49-F238E27FC236}">
                <a16:creationId xmlns:a16="http://schemas.microsoft.com/office/drawing/2014/main" id="{64ED6D06-3A48-43DD-8151-8A3C3EEA1118}"/>
              </a:ext>
            </a:extLst>
          </p:cNvPr>
          <p:cNvSpPr>
            <a:spLocks noChangeArrowheads="1"/>
          </p:cNvSpPr>
          <p:nvPr/>
        </p:nvSpPr>
        <p:spPr bwMode="gray">
          <a:xfrm>
            <a:off x="3644448" y="232911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89" name="Oval 532">
            <a:extLst>
              <a:ext uri="{FF2B5EF4-FFF2-40B4-BE49-F238E27FC236}">
                <a16:creationId xmlns:a16="http://schemas.microsoft.com/office/drawing/2014/main" id="{1F501D2F-4FC1-4303-8B3F-3F069DF802AF}"/>
              </a:ext>
            </a:extLst>
          </p:cNvPr>
          <p:cNvSpPr>
            <a:spLocks noChangeArrowheads="1"/>
          </p:cNvSpPr>
          <p:nvPr/>
        </p:nvSpPr>
        <p:spPr bwMode="gray">
          <a:xfrm>
            <a:off x="3617009" y="223964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90" name="Oval 533">
            <a:extLst>
              <a:ext uri="{FF2B5EF4-FFF2-40B4-BE49-F238E27FC236}">
                <a16:creationId xmlns:a16="http://schemas.microsoft.com/office/drawing/2014/main" id="{34999BFA-5F86-4D9E-9552-08F9D59CFA70}"/>
              </a:ext>
            </a:extLst>
          </p:cNvPr>
          <p:cNvSpPr>
            <a:spLocks noChangeArrowheads="1"/>
          </p:cNvSpPr>
          <p:nvPr/>
        </p:nvSpPr>
        <p:spPr bwMode="gray">
          <a:xfrm>
            <a:off x="3959391" y="230644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91" name="Oval 536">
            <a:extLst>
              <a:ext uri="{FF2B5EF4-FFF2-40B4-BE49-F238E27FC236}">
                <a16:creationId xmlns:a16="http://schemas.microsoft.com/office/drawing/2014/main" id="{B5300683-50C3-427E-9B34-4392F0E5A1F6}"/>
              </a:ext>
            </a:extLst>
          </p:cNvPr>
          <p:cNvSpPr>
            <a:spLocks noChangeArrowheads="1"/>
          </p:cNvSpPr>
          <p:nvPr/>
        </p:nvSpPr>
        <p:spPr bwMode="gray">
          <a:xfrm>
            <a:off x="3650414" y="232911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92" name="Oval 539">
            <a:extLst>
              <a:ext uri="{FF2B5EF4-FFF2-40B4-BE49-F238E27FC236}">
                <a16:creationId xmlns:a16="http://schemas.microsoft.com/office/drawing/2014/main" id="{5E24F3AF-ED86-4A7E-951F-A607F9AA455A}"/>
              </a:ext>
            </a:extLst>
          </p:cNvPr>
          <p:cNvSpPr>
            <a:spLocks noChangeArrowheads="1"/>
          </p:cNvSpPr>
          <p:nvPr/>
        </p:nvSpPr>
        <p:spPr bwMode="gray">
          <a:xfrm>
            <a:off x="3893776" y="221340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93" name="Oval 545">
            <a:extLst>
              <a:ext uri="{FF2B5EF4-FFF2-40B4-BE49-F238E27FC236}">
                <a16:creationId xmlns:a16="http://schemas.microsoft.com/office/drawing/2014/main" id="{8D3CB8F9-8AF9-433D-9E87-3BE18AE1A79B}"/>
              </a:ext>
            </a:extLst>
          </p:cNvPr>
          <p:cNvSpPr>
            <a:spLocks noChangeArrowheads="1"/>
          </p:cNvSpPr>
          <p:nvPr/>
        </p:nvSpPr>
        <p:spPr bwMode="gray">
          <a:xfrm>
            <a:off x="6137740" y="306988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94" name="Oval 547">
            <a:extLst>
              <a:ext uri="{FF2B5EF4-FFF2-40B4-BE49-F238E27FC236}">
                <a16:creationId xmlns:a16="http://schemas.microsoft.com/office/drawing/2014/main" id="{DDFC523D-FB2B-410B-A35D-8E9DD1DA7678}"/>
              </a:ext>
            </a:extLst>
          </p:cNvPr>
          <p:cNvSpPr>
            <a:spLocks noChangeArrowheads="1"/>
          </p:cNvSpPr>
          <p:nvPr/>
        </p:nvSpPr>
        <p:spPr bwMode="gray">
          <a:xfrm>
            <a:off x="6121038" y="281938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95" name="Oval 587">
            <a:extLst>
              <a:ext uri="{FF2B5EF4-FFF2-40B4-BE49-F238E27FC236}">
                <a16:creationId xmlns:a16="http://schemas.microsoft.com/office/drawing/2014/main" id="{D0231999-05C4-4FB1-BF3E-64C7101105BA}"/>
              </a:ext>
            </a:extLst>
          </p:cNvPr>
          <p:cNvSpPr>
            <a:spLocks noChangeArrowheads="1"/>
          </p:cNvSpPr>
          <p:nvPr/>
        </p:nvSpPr>
        <p:spPr bwMode="gray">
          <a:xfrm>
            <a:off x="5833533" y="328102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96" name="Oval 603">
            <a:extLst>
              <a:ext uri="{FF2B5EF4-FFF2-40B4-BE49-F238E27FC236}">
                <a16:creationId xmlns:a16="http://schemas.microsoft.com/office/drawing/2014/main" id="{2C32CD8D-BE64-4C9A-A830-ECA06C3192FB}"/>
              </a:ext>
            </a:extLst>
          </p:cNvPr>
          <p:cNvSpPr>
            <a:spLocks noChangeArrowheads="1"/>
          </p:cNvSpPr>
          <p:nvPr/>
        </p:nvSpPr>
        <p:spPr bwMode="gray">
          <a:xfrm>
            <a:off x="4183668" y="248657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97" name="Oval 610">
            <a:extLst>
              <a:ext uri="{FF2B5EF4-FFF2-40B4-BE49-F238E27FC236}">
                <a16:creationId xmlns:a16="http://schemas.microsoft.com/office/drawing/2014/main" id="{538DBE67-5BC9-4723-AC1B-91591DC8848D}"/>
              </a:ext>
            </a:extLst>
          </p:cNvPr>
          <p:cNvSpPr>
            <a:spLocks noChangeArrowheads="1"/>
          </p:cNvSpPr>
          <p:nvPr/>
        </p:nvSpPr>
        <p:spPr bwMode="gray">
          <a:xfrm>
            <a:off x="6193808" y="436653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98" name="Oval 611">
            <a:extLst>
              <a:ext uri="{FF2B5EF4-FFF2-40B4-BE49-F238E27FC236}">
                <a16:creationId xmlns:a16="http://schemas.microsoft.com/office/drawing/2014/main" id="{228030F0-6F76-4753-827D-ECD97B4B26BD}"/>
              </a:ext>
            </a:extLst>
          </p:cNvPr>
          <p:cNvSpPr>
            <a:spLocks noChangeArrowheads="1"/>
          </p:cNvSpPr>
          <p:nvPr/>
        </p:nvSpPr>
        <p:spPr bwMode="gray">
          <a:xfrm>
            <a:off x="6866639" y="452399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299" name="Oval 631">
            <a:extLst>
              <a:ext uri="{FF2B5EF4-FFF2-40B4-BE49-F238E27FC236}">
                <a16:creationId xmlns:a16="http://schemas.microsoft.com/office/drawing/2014/main" id="{59E9AC79-D1BF-4B1F-BD0F-367EED592CC8}"/>
              </a:ext>
            </a:extLst>
          </p:cNvPr>
          <p:cNvSpPr>
            <a:spLocks noChangeArrowheads="1"/>
          </p:cNvSpPr>
          <p:nvPr/>
        </p:nvSpPr>
        <p:spPr bwMode="gray">
          <a:xfrm>
            <a:off x="2160403" y="2550986"/>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00" name="Oval 640">
            <a:extLst>
              <a:ext uri="{FF2B5EF4-FFF2-40B4-BE49-F238E27FC236}">
                <a16:creationId xmlns:a16="http://schemas.microsoft.com/office/drawing/2014/main" id="{F874A729-C49E-4091-9D34-4BCCBAF4D72F}"/>
              </a:ext>
            </a:extLst>
          </p:cNvPr>
          <p:cNvSpPr>
            <a:spLocks noChangeArrowheads="1"/>
          </p:cNvSpPr>
          <p:nvPr/>
        </p:nvSpPr>
        <p:spPr bwMode="gray">
          <a:xfrm>
            <a:off x="6455068" y="284681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01" name="Oval 644">
            <a:extLst>
              <a:ext uri="{FF2B5EF4-FFF2-40B4-BE49-F238E27FC236}">
                <a16:creationId xmlns:a16="http://schemas.microsoft.com/office/drawing/2014/main" id="{6DB0A038-138B-4A7D-B80B-5B8972166D74}"/>
              </a:ext>
            </a:extLst>
          </p:cNvPr>
          <p:cNvSpPr>
            <a:spLocks noChangeArrowheads="1"/>
          </p:cNvSpPr>
          <p:nvPr/>
        </p:nvSpPr>
        <p:spPr bwMode="gray">
          <a:xfrm>
            <a:off x="6489662" y="286113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02" name="Oval 677">
            <a:extLst>
              <a:ext uri="{FF2B5EF4-FFF2-40B4-BE49-F238E27FC236}">
                <a16:creationId xmlns:a16="http://schemas.microsoft.com/office/drawing/2014/main" id="{2021B59F-F613-4C9F-AF3A-516A5BA5F043}"/>
              </a:ext>
            </a:extLst>
          </p:cNvPr>
          <p:cNvSpPr>
            <a:spLocks noChangeArrowheads="1"/>
          </p:cNvSpPr>
          <p:nvPr/>
        </p:nvSpPr>
        <p:spPr bwMode="gray">
          <a:xfrm>
            <a:off x="3679042" y="281938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03" name="Oval 678">
            <a:extLst>
              <a:ext uri="{FF2B5EF4-FFF2-40B4-BE49-F238E27FC236}">
                <a16:creationId xmlns:a16="http://schemas.microsoft.com/office/drawing/2014/main" id="{97A64020-F748-4D40-8E94-146E74770A95}"/>
              </a:ext>
            </a:extLst>
          </p:cNvPr>
          <p:cNvSpPr>
            <a:spLocks noChangeArrowheads="1"/>
          </p:cNvSpPr>
          <p:nvPr/>
        </p:nvSpPr>
        <p:spPr bwMode="gray">
          <a:xfrm>
            <a:off x="3340242" y="306034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04" name="Oval 682">
            <a:extLst>
              <a:ext uri="{FF2B5EF4-FFF2-40B4-BE49-F238E27FC236}">
                <a16:creationId xmlns:a16="http://schemas.microsoft.com/office/drawing/2014/main" id="{1C13F034-9C29-4931-9C66-3FAB5E94F68C}"/>
              </a:ext>
            </a:extLst>
          </p:cNvPr>
          <p:cNvSpPr>
            <a:spLocks noChangeArrowheads="1"/>
          </p:cNvSpPr>
          <p:nvPr/>
        </p:nvSpPr>
        <p:spPr bwMode="gray">
          <a:xfrm>
            <a:off x="2206929" y="259989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05" name="Oval 694">
            <a:extLst>
              <a:ext uri="{FF2B5EF4-FFF2-40B4-BE49-F238E27FC236}">
                <a16:creationId xmlns:a16="http://schemas.microsoft.com/office/drawing/2014/main" id="{52D4AC17-BCF4-41C2-8C54-36C79504696C}"/>
              </a:ext>
            </a:extLst>
          </p:cNvPr>
          <p:cNvSpPr>
            <a:spLocks noChangeArrowheads="1"/>
          </p:cNvSpPr>
          <p:nvPr/>
        </p:nvSpPr>
        <p:spPr bwMode="gray">
          <a:xfrm>
            <a:off x="4936427" y="320468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06" name="Oval 696">
            <a:extLst>
              <a:ext uri="{FF2B5EF4-FFF2-40B4-BE49-F238E27FC236}">
                <a16:creationId xmlns:a16="http://schemas.microsoft.com/office/drawing/2014/main" id="{FE832BCE-E891-4BD1-90BB-B98F1DD2A7CF}"/>
              </a:ext>
            </a:extLst>
          </p:cNvPr>
          <p:cNvSpPr>
            <a:spLocks noChangeArrowheads="1"/>
          </p:cNvSpPr>
          <p:nvPr/>
        </p:nvSpPr>
        <p:spPr bwMode="gray">
          <a:xfrm>
            <a:off x="1042597" y="263687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07" name="Oval 701">
            <a:extLst>
              <a:ext uri="{FF2B5EF4-FFF2-40B4-BE49-F238E27FC236}">
                <a16:creationId xmlns:a16="http://schemas.microsoft.com/office/drawing/2014/main" id="{A70C02E0-949D-4E39-9811-AB0A68CE51D9}"/>
              </a:ext>
            </a:extLst>
          </p:cNvPr>
          <p:cNvSpPr>
            <a:spLocks noChangeArrowheads="1"/>
          </p:cNvSpPr>
          <p:nvPr/>
        </p:nvSpPr>
        <p:spPr bwMode="gray">
          <a:xfrm>
            <a:off x="2154438" y="443691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08" name="Oval 711">
            <a:extLst>
              <a:ext uri="{FF2B5EF4-FFF2-40B4-BE49-F238E27FC236}">
                <a16:creationId xmlns:a16="http://schemas.microsoft.com/office/drawing/2014/main" id="{83140C0C-7138-4EA2-9046-8029F16D41D8}"/>
              </a:ext>
            </a:extLst>
          </p:cNvPr>
          <p:cNvSpPr>
            <a:spLocks noChangeArrowheads="1"/>
          </p:cNvSpPr>
          <p:nvPr/>
        </p:nvSpPr>
        <p:spPr bwMode="gray">
          <a:xfrm>
            <a:off x="6710360" y="287544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09" name="Oval 712">
            <a:extLst>
              <a:ext uri="{FF2B5EF4-FFF2-40B4-BE49-F238E27FC236}">
                <a16:creationId xmlns:a16="http://schemas.microsoft.com/office/drawing/2014/main" id="{6FFD2E09-5973-4A4D-8521-67F818AE4B56}"/>
              </a:ext>
            </a:extLst>
          </p:cNvPr>
          <p:cNvSpPr>
            <a:spLocks noChangeArrowheads="1"/>
          </p:cNvSpPr>
          <p:nvPr/>
        </p:nvSpPr>
        <p:spPr bwMode="gray">
          <a:xfrm>
            <a:off x="6323841" y="2697709"/>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10" name="Oval 725">
            <a:extLst>
              <a:ext uri="{FF2B5EF4-FFF2-40B4-BE49-F238E27FC236}">
                <a16:creationId xmlns:a16="http://schemas.microsoft.com/office/drawing/2014/main" id="{23DA052D-F223-49A3-BA25-FFBD586C0AAA}"/>
              </a:ext>
            </a:extLst>
          </p:cNvPr>
          <p:cNvSpPr>
            <a:spLocks noChangeArrowheads="1"/>
          </p:cNvSpPr>
          <p:nvPr/>
        </p:nvSpPr>
        <p:spPr bwMode="gray">
          <a:xfrm>
            <a:off x="3892583" y="2923164"/>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11" name="Oval 726">
            <a:extLst>
              <a:ext uri="{FF2B5EF4-FFF2-40B4-BE49-F238E27FC236}">
                <a16:creationId xmlns:a16="http://schemas.microsoft.com/office/drawing/2014/main" id="{72C15843-A6F5-4865-9F33-00C6632C1D01}"/>
              </a:ext>
            </a:extLst>
          </p:cNvPr>
          <p:cNvSpPr>
            <a:spLocks noChangeArrowheads="1"/>
          </p:cNvSpPr>
          <p:nvPr/>
        </p:nvSpPr>
        <p:spPr bwMode="gray">
          <a:xfrm>
            <a:off x="3770901" y="306750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12" name="Oval 728">
            <a:extLst>
              <a:ext uri="{FF2B5EF4-FFF2-40B4-BE49-F238E27FC236}">
                <a16:creationId xmlns:a16="http://schemas.microsoft.com/office/drawing/2014/main" id="{0FEDCA58-1D85-4525-9C6C-78F9651C169C}"/>
              </a:ext>
            </a:extLst>
          </p:cNvPr>
          <p:cNvSpPr>
            <a:spLocks noChangeArrowheads="1"/>
          </p:cNvSpPr>
          <p:nvPr/>
        </p:nvSpPr>
        <p:spPr bwMode="gray">
          <a:xfrm>
            <a:off x="3686202" y="237802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13" name="Oval 729">
            <a:extLst>
              <a:ext uri="{FF2B5EF4-FFF2-40B4-BE49-F238E27FC236}">
                <a16:creationId xmlns:a16="http://schemas.microsoft.com/office/drawing/2014/main" id="{74EAD7C3-AB82-42AB-8DC0-D6A409E331B3}"/>
              </a:ext>
            </a:extLst>
          </p:cNvPr>
          <p:cNvSpPr>
            <a:spLocks noChangeArrowheads="1"/>
          </p:cNvSpPr>
          <p:nvPr/>
        </p:nvSpPr>
        <p:spPr bwMode="gray">
          <a:xfrm>
            <a:off x="3671886" y="2366092"/>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14" name="Oval 741">
            <a:extLst>
              <a:ext uri="{FF2B5EF4-FFF2-40B4-BE49-F238E27FC236}">
                <a16:creationId xmlns:a16="http://schemas.microsoft.com/office/drawing/2014/main" id="{8FBB1AA9-9294-4C04-918D-A0F0797242F7}"/>
              </a:ext>
            </a:extLst>
          </p:cNvPr>
          <p:cNvSpPr>
            <a:spLocks noChangeArrowheads="1"/>
          </p:cNvSpPr>
          <p:nvPr/>
        </p:nvSpPr>
        <p:spPr bwMode="gray">
          <a:xfrm>
            <a:off x="3644448" y="220028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15" name="Oval 746">
            <a:extLst>
              <a:ext uri="{FF2B5EF4-FFF2-40B4-BE49-F238E27FC236}">
                <a16:creationId xmlns:a16="http://schemas.microsoft.com/office/drawing/2014/main" id="{6E8DAFF1-2EA9-4511-8E6A-8FA5A313060A}"/>
              </a:ext>
            </a:extLst>
          </p:cNvPr>
          <p:cNvSpPr>
            <a:spLocks noChangeArrowheads="1"/>
          </p:cNvSpPr>
          <p:nvPr/>
        </p:nvSpPr>
        <p:spPr bwMode="gray">
          <a:xfrm>
            <a:off x="6291631" y="291839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16" name="Oval 749">
            <a:extLst>
              <a:ext uri="{FF2B5EF4-FFF2-40B4-BE49-F238E27FC236}">
                <a16:creationId xmlns:a16="http://schemas.microsoft.com/office/drawing/2014/main" id="{19092854-88AE-4DCB-AD31-0738EE92E4AE}"/>
              </a:ext>
            </a:extLst>
          </p:cNvPr>
          <p:cNvSpPr>
            <a:spLocks noChangeArrowheads="1"/>
          </p:cNvSpPr>
          <p:nvPr/>
        </p:nvSpPr>
        <p:spPr bwMode="gray">
          <a:xfrm>
            <a:off x="6210508" y="275496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17" name="Oval 754">
            <a:extLst>
              <a:ext uri="{FF2B5EF4-FFF2-40B4-BE49-F238E27FC236}">
                <a16:creationId xmlns:a16="http://schemas.microsoft.com/office/drawing/2014/main" id="{61653A2B-6297-4948-AFCE-68FA1AD0DA4E}"/>
              </a:ext>
            </a:extLst>
          </p:cNvPr>
          <p:cNvSpPr>
            <a:spLocks noChangeArrowheads="1"/>
          </p:cNvSpPr>
          <p:nvPr/>
        </p:nvSpPr>
        <p:spPr bwMode="gray">
          <a:xfrm>
            <a:off x="3627746" y="222533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18" name="Oval 789">
            <a:extLst>
              <a:ext uri="{FF2B5EF4-FFF2-40B4-BE49-F238E27FC236}">
                <a16:creationId xmlns:a16="http://schemas.microsoft.com/office/drawing/2014/main" id="{75FBBD1D-F0B9-4B78-B8E8-D102960742FF}"/>
              </a:ext>
            </a:extLst>
          </p:cNvPr>
          <p:cNvSpPr>
            <a:spLocks noChangeArrowheads="1"/>
          </p:cNvSpPr>
          <p:nvPr/>
        </p:nvSpPr>
        <p:spPr bwMode="gray">
          <a:xfrm>
            <a:off x="4197982" y="189848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19" name="Oval 801">
            <a:extLst>
              <a:ext uri="{FF2B5EF4-FFF2-40B4-BE49-F238E27FC236}">
                <a16:creationId xmlns:a16="http://schemas.microsoft.com/office/drawing/2014/main" id="{C7B73761-471B-46B0-B1C7-61C456E13AC6}"/>
              </a:ext>
            </a:extLst>
          </p:cNvPr>
          <p:cNvSpPr>
            <a:spLocks noChangeArrowheads="1"/>
          </p:cNvSpPr>
          <p:nvPr/>
        </p:nvSpPr>
        <p:spPr bwMode="gray">
          <a:xfrm>
            <a:off x="5314595" y="318440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20" name="Oval 803">
            <a:extLst>
              <a:ext uri="{FF2B5EF4-FFF2-40B4-BE49-F238E27FC236}">
                <a16:creationId xmlns:a16="http://schemas.microsoft.com/office/drawing/2014/main" id="{62764101-E492-4141-B780-7937EBF16EC2}"/>
              </a:ext>
            </a:extLst>
          </p:cNvPr>
          <p:cNvSpPr>
            <a:spLocks noChangeArrowheads="1"/>
          </p:cNvSpPr>
          <p:nvPr/>
        </p:nvSpPr>
        <p:spPr bwMode="gray">
          <a:xfrm>
            <a:off x="2846357" y="3809468"/>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21" name="Oval 806">
            <a:extLst>
              <a:ext uri="{FF2B5EF4-FFF2-40B4-BE49-F238E27FC236}">
                <a16:creationId xmlns:a16="http://schemas.microsoft.com/office/drawing/2014/main" id="{1B4B7C3F-41BF-4D15-89F4-D2D072CBCDC6}"/>
              </a:ext>
            </a:extLst>
          </p:cNvPr>
          <p:cNvSpPr>
            <a:spLocks noChangeArrowheads="1"/>
          </p:cNvSpPr>
          <p:nvPr/>
        </p:nvSpPr>
        <p:spPr bwMode="gray">
          <a:xfrm>
            <a:off x="4484294" y="2988770"/>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22" name="Oval 844">
            <a:extLst>
              <a:ext uri="{FF2B5EF4-FFF2-40B4-BE49-F238E27FC236}">
                <a16:creationId xmlns:a16="http://schemas.microsoft.com/office/drawing/2014/main" id="{D32FD561-61E8-4351-B39E-62FE8156E737}"/>
              </a:ext>
            </a:extLst>
          </p:cNvPr>
          <p:cNvSpPr>
            <a:spLocks noChangeArrowheads="1"/>
          </p:cNvSpPr>
          <p:nvPr/>
        </p:nvSpPr>
        <p:spPr bwMode="gray">
          <a:xfrm>
            <a:off x="1948054" y="274542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23" name="Oval 846">
            <a:extLst>
              <a:ext uri="{FF2B5EF4-FFF2-40B4-BE49-F238E27FC236}">
                <a16:creationId xmlns:a16="http://schemas.microsoft.com/office/drawing/2014/main" id="{08470490-5B11-435F-BBC4-EC999C75F4BE}"/>
              </a:ext>
            </a:extLst>
          </p:cNvPr>
          <p:cNvSpPr>
            <a:spLocks noChangeArrowheads="1"/>
          </p:cNvSpPr>
          <p:nvPr/>
        </p:nvSpPr>
        <p:spPr bwMode="gray">
          <a:xfrm>
            <a:off x="1939705" y="2908851"/>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24" name="Oval 853">
            <a:extLst>
              <a:ext uri="{FF2B5EF4-FFF2-40B4-BE49-F238E27FC236}">
                <a16:creationId xmlns:a16="http://schemas.microsoft.com/office/drawing/2014/main" id="{5B1A2D3F-E270-4D4E-A98A-EDC5E9D95967}"/>
              </a:ext>
            </a:extLst>
          </p:cNvPr>
          <p:cNvSpPr>
            <a:spLocks noChangeArrowheads="1"/>
          </p:cNvSpPr>
          <p:nvPr/>
        </p:nvSpPr>
        <p:spPr bwMode="gray">
          <a:xfrm>
            <a:off x="6614920" y="289453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25" name="Oval 900">
            <a:extLst>
              <a:ext uri="{FF2B5EF4-FFF2-40B4-BE49-F238E27FC236}">
                <a16:creationId xmlns:a16="http://schemas.microsoft.com/office/drawing/2014/main" id="{4B835EE5-EEC5-48E3-9AA8-9DA00B18A304}"/>
              </a:ext>
            </a:extLst>
          </p:cNvPr>
          <p:cNvSpPr>
            <a:spLocks noChangeArrowheads="1"/>
          </p:cNvSpPr>
          <p:nvPr/>
        </p:nvSpPr>
        <p:spPr bwMode="gray">
          <a:xfrm>
            <a:off x="6486064" y="2873057"/>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26" name="Oval 658">
            <a:extLst>
              <a:ext uri="{FF2B5EF4-FFF2-40B4-BE49-F238E27FC236}">
                <a16:creationId xmlns:a16="http://schemas.microsoft.com/office/drawing/2014/main" id="{5A915E19-09BF-40C8-A6B2-863BC4FCB6DC}"/>
              </a:ext>
            </a:extLst>
          </p:cNvPr>
          <p:cNvSpPr>
            <a:spLocks noChangeArrowheads="1"/>
          </p:cNvSpPr>
          <p:nvPr/>
        </p:nvSpPr>
        <p:spPr bwMode="gray">
          <a:xfrm>
            <a:off x="3987387" y="4233461"/>
            <a:ext cx="217790" cy="217773"/>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27" name="Oval 605">
            <a:extLst>
              <a:ext uri="{FF2B5EF4-FFF2-40B4-BE49-F238E27FC236}">
                <a16:creationId xmlns:a16="http://schemas.microsoft.com/office/drawing/2014/main" id="{F2D548AE-E914-428D-95C6-319B5C09A5DF}"/>
              </a:ext>
            </a:extLst>
          </p:cNvPr>
          <p:cNvSpPr>
            <a:spLocks noChangeArrowheads="1"/>
          </p:cNvSpPr>
          <p:nvPr/>
        </p:nvSpPr>
        <p:spPr bwMode="gray">
          <a:xfrm>
            <a:off x="4195221" y="1980795"/>
            <a:ext cx="135230" cy="135221"/>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28" name="Oval 605">
            <a:extLst>
              <a:ext uri="{FF2B5EF4-FFF2-40B4-BE49-F238E27FC236}">
                <a16:creationId xmlns:a16="http://schemas.microsoft.com/office/drawing/2014/main" id="{EDB3D049-16B2-4A15-A684-C3A553A15AF4}"/>
              </a:ext>
            </a:extLst>
          </p:cNvPr>
          <p:cNvSpPr>
            <a:spLocks noChangeArrowheads="1"/>
          </p:cNvSpPr>
          <p:nvPr/>
        </p:nvSpPr>
        <p:spPr bwMode="gray">
          <a:xfrm>
            <a:off x="4220214" y="2032057"/>
            <a:ext cx="135230" cy="135221"/>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29" name="Oval 605">
            <a:extLst>
              <a:ext uri="{FF2B5EF4-FFF2-40B4-BE49-F238E27FC236}">
                <a16:creationId xmlns:a16="http://schemas.microsoft.com/office/drawing/2014/main" id="{3C601496-1A8F-4B35-8A37-BB7E46DB266F}"/>
              </a:ext>
            </a:extLst>
          </p:cNvPr>
          <p:cNvSpPr>
            <a:spLocks noChangeArrowheads="1"/>
          </p:cNvSpPr>
          <p:nvPr/>
        </p:nvSpPr>
        <p:spPr bwMode="gray">
          <a:xfrm>
            <a:off x="4202367" y="2006523"/>
            <a:ext cx="135230" cy="135221"/>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30" name="Oval 2329">
            <a:extLst>
              <a:ext uri="{FF2B5EF4-FFF2-40B4-BE49-F238E27FC236}">
                <a16:creationId xmlns:a16="http://schemas.microsoft.com/office/drawing/2014/main" id="{83017E6F-425F-4C99-9032-E1A81F065ADB}"/>
              </a:ext>
            </a:extLst>
          </p:cNvPr>
          <p:cNvSpPr>
            <a:spLocks noChangeArrowheads="1"/>
          </p:cNvSpPr>
          <p:nvPr/>
        </p:nvSpPr>
        <p:spPr bwMode="auto">
          <a:xfrm>
            <a:off x="3828430" y="2337550"/>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31" name="Oval 2330">
            <a:extLst>
              <a:ext uri="{FF2B5EF4-FFF2-40B4-BE49-F238E27FC236}">
                <a16:creationId xmlns:a16="http://schemas.microsoft.com/office/drawing/2014/main" id="{34575542-AF96-433B-9F32-AE03463CBB1D}"/>
              </a:ext>
            </a:extLst>
          </p:cNvPr>
          <p:cNvSpPr>
            <a:spLocks noChangeArrowheads="1"/>
          </p:cNvSpPr>
          <p:nvPr/>
        </p:nvSpPr>
        <p:spPr bwMode="auto">
          <a:xfrm>
            <a:off x="4879441" y="3226905"/>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32" name="Oval 2331">
            <a:extLst>
              <a:ext uri="{FF2B5EF4-FFF2-40B4-BE49-F238E27FC236}">
                <a16:creationId xmlns:a16="http://schemas.microsoft.com/office/drawing/2014/main" id="{F784F065-0A1A-4030-A3EC-4894743EBB44}"/>
              </a:ext>
            </a:extLst>
          </p:cNvPr>
          <p:cNvSpPr>
            <a:spLocks noChangeArrowheads="1"/>
          </p:cNvSpPr>
          <p:nvPr/>
        </p:nvSpPr>
        <p:spPr bwMode="auto">
          <a:xfrm>
            <a:off x="1234807" y="2215481"/>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33" name="Oval 2332">
            <a:extLst>
              <a:ext uri="{FF2B5EF4-FFF2-40B4-BE49-F238E27FC236}">
                <a16:creationId xmlns:a16="http://schemas.microsoft.com/office/drawing/2014/main" id="{2981424E-CF24-4FAF-AAF5-40A44001D7AA}"/>
              </a:ext>
            </a:extLst>
          </p:cNvPr>
          <p:cNvSpPr>
            <a:spLocks noChangeArrowheads="1"/>
          </p:cNvSpPr>
          <p:nvPr/>
        </p:nvSpPr>
        <p:spPr bwMode="auto">
          <a:xfrm>
            <a:off x="2202757" y="4195051"/>
            <a:ext cx="180305"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34" name="Oval 2333">
            <a:extLst>
              <a:ext uri="{FF2B5EF4-FFF2-40B4-BE49-F238E27FC236}">
                <a16:creationId xmlns:a16="http://schemas.microsoft.com/office/drawing/2014/main" id="{8DA1E074-E4F4-448F-952B-0FC011573C8D}"/>
              </a:ext>
            </a:extLst>
          </p:cNvPr>
          <p:cNvSpPr>
            <a:spLocks noChangeArrowheads="1"/>
          </p:cNvSpPr>
          <p:nvPr/>
        </p:nvSpPr>
        <p:spPr bwMode="auto">
          <a:xfrm>
            <a:off x="2173937" y="4201709"/>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35" name="Oval 2334">
            <a:extLst>
              <a:ext uri="{FF2B5EF4-FFF2-40B4-BE49-F238E27FC236}">
                <a16:creationId xmlns:a16="http://schemas.microsoft.com/office/drawing/2014/main" id="{66CCF84C-BB62-4939-85E7-BE99D505665F}"/>
              </a:ext>
            </a:extLst>
          </p:cNvPr>
          <p:cNvSpPr>
            <a:spLocks noChangeArrowheads="1"/>
          </p:cNvSpPr>
          <p:nvPr/>
        </p:nvSpPr>
        <p:spPr bwMode="auto">
          <a:xfrm>
            <a:off x="3663998" y="2679341"/>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36" name="Oval 2335">
            <a:extLst>
              <a:ext uri="{FF2B5EF4-FFF2-40B4-BE49-F238E27FC236}">
                <a16:creationId xmlns:a16="http://schemas.microsoft.com/office/drawing/2014/main" id="{1D2AD48B-2B70-40A9-8F4E-1CF9CC7065BC}"/>
              </a:ext>
            </a:extLst>
          </p:cNvPr>
          <p:cNvSpPr>
            <a:spLocks noChangeArrowheads="1"/>
          </p:cNvSpPr>
          <p:nvPr/>
        </p:nvSpPr>
        <p:spPr bwMode="auto">
          <a:xfrm>
            <a:off x="1733190" y="2984828"/>
            <a:ext cx="180305"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37" name="Oval 2336">
            <a:extLst>
              <a:ext uri="{FF2B5EF4-FFF2-40B4-BE49-F238E27FC236}">
                <a16:creationId xmlns:a16="http://schemas.microsoft.com/office/drawing/2014/main" id="{0D9E7DE3-4C2E-4BD6-8905-81A30267DADD}"/>
              </a:ext>
            </a:extLst>
          </p:cNvPr>
          <p:cNvSpPr>
            <a:spLocks noChangeArrowheads="1"/>
          </p:cNvSpPr>
          <p:nvPr/>
        </p:nvSpPr>
        <p:spPr bwMode="auto">
          <a:xfrm>
            <a:off x="2173937" y="4186015"/>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38" name="Oval 2337">
            <a:extLst>
              <a:ext uri="{FF2B5EF4-FFF2-40B4-BE49-F238E27FC236}">
                <a16:creationId xmlns:a16="http://schemas.microsoft.com/office/drawing/2014/main" id="{D8BDC4B3-8668-417B-BB76-84E35A82FA89}"/>
              </a:ext>
            </a:extLst>
          </p:cNvPr>
          <p:cNvSpPr>
            <a:spLocks noChangeArrowheads="1"/>
          </p:cNvSpPr>
          <p:nvPr/>
        </p:nvSpPr>
        <p:spPr bwMode="auto">
          <a:xfrm>
            <a:off x="3470749" y="2353560"/>
            <a:ext cx="180305"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39" name="Oval 2338">
            <a:extLst>
              <a:ext uri="{FF2B5EF4-FFF2-40B4-BE49-F238E27FC236}">
                <a16:creationId xmlns:a16="http://schemas.microsoft.com/office/drawing/2014/main" id="{FE9AC58C-848C-471D-8704-30D15742732C}"/>
              </a:ext>
            </a:extLst>
          </p:cNvPr>
          <p:cNvSpPr>
            <a:spLocks noChangeArrowheads="1"/>
          </p:cNvSpPr>
          <p:nvPr/>
        </p:nvSpPr>
        <p:spPr bwMode="auto">
          <a:xfrm>
            <a:off x="4030158" y="4324095"/>
            <a:ext cx="180305"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40" name="Oval 2339">
            <a:extLst>
              <a:ext uri="{FF2B5EF4-FFF2-40B4-BE49-F238E27FC236}">
                <a16:creationId xmlns:a16="http://schemas.microsoft.com/office/drawing/2014/main" id="{08E93E9F-0B1A-47D8-8D7A-40AA0078D03B}"/>
              </a:ext>
            </a:extLst>
          </p:cNvPr>
          <p:cNvSpPr>
            <a:spLocks noChangeArrowheads="1"/>
          </p:cNvSpPr>
          <p:nvPr/>
        </p:nvSpPr>
        <p:spPr bwMode="auto">
          <a:xfrm>
            <a:off x="3940310" y="2367195"/>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41" name="Oval 2340">
            <a:extLst>
              <a:ext uri="{FF2B5EF4-FFF2-40B4-BE49-F238E27FC236}">
                <a16:creationId xmlns:a16="http://schemas.microsoft.com/office/drawing/2014/main" id="{5634D30D-7B05-4F14-ADF6-29CA43F9A043}"/>
              </a:ext>
            </a:extLst>
          </p:cNvPr>
          <p:cNvSpPr>
            <a:spLocks noChangeArrowheads="1"/>
          </p:cNvSpPr>
          <p:nvPr/>
        </p:nvSpPr>
        <p:spPr bwMode="auto">
          <a:xfrm>
            <a:off x="3753841" y="2360218"/>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42" name="Oval 2341">
            <a:extLst>
              <a:ext uri="{FF2B5EF4-FFF2-40B4-BE49-F238E27FC236}">
                <a16:creationId xmlns:a16="http://schemas.microsoft.com/office/drawing/2014/main" id="{D669DC6E-2C4A-4901-83EF-240EFC690899}"/>
              </a:ext>
            </a:extLst>
          </p:cNvPr>
          <p:cNvSpPr>
            <a:spLocks noChangeArrowheads="1"/>
          </p:cNvSpPr>
          <p:nvPr/>
        </p:nvSpPr>
        <p:spPr bwMode="auto">
          <a:xfrm>
            <a:off x="6838757" y="4118004"/>
            <a:ext cx="182621"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43" name="Oval 2342">
            <a:extLst>
              <a:ext uri="{FF2B5EF4-FFF2-40B4-BE49-F238E27FC236}">
                <a16:creationId xmlns:a16="http://schemas.microsoft.com/office/drawing/2014/main" id="{A6703979-7BE6-406A-8054-B0A0F8963AA2}"/>
              </a:ext>
            </a:extLst>
          </p:cNvPr>
          <p:cNvSpPr>
            <a:spLocks noChangeArrowheads="1"/>
          </p:cNvSpPr>
          <p:nvPr/>
        </p:nvSpPr>
        <p:spPr bwMode="auto">
          <a:xfrm>
            <a:off x="3545336" y="2817421"/>
            <a:ext cx="180305"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44" name="Oval 2343">
            <a:extLst>
              <a:ext uri="{FF2B5EF4-FFF2-40B4-BE49-F238E27FC236}">
                <a16:creationId xmlns:a16="http://schemas.microsoft.com/office/drawing/2014/main" id="{F6926B92-5538-4548-924A-C73E3CF94C7D}"/>
              </a:ext>
            </a:extLst>
          </p:cNvPr>
          <p:cNvSpPr>
            <a:spLocks noChangeArrowheads="1"/>
          </p:cNvSpPr>
          <p:nvPr/>
        </p:nvSpPr>
        <p:spPr bwMode="auto">
          <a:xfrm>
            <a:off x="3560592" y="2640976"/>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45" name="Oval 2344">
            <a:extLst>
              <a:ext uri="{FF2B5EF4-FFF2-40B4-BE49-F238E27FC236}">
                <a16:creationId xmlns:a16="http://schemas.microsoft.com/office/drawing/2014/main" id="{DED6C8BA-9A05-4FD8-BD26-5E8EEA3DF5DC}"/>
              </a:ext>
            </a:extLst>
          </p:cNvPr>
          <p:cNvSpPr>
            <a:spLocks noChangeArrowheads="1"/>
          </p:cNvSpPr>
          <p:nvPr/>
        </p:nvSpPr>
        <p:spPr bwMode="auto">
          <a:xfrm>
            <a:off x="2836751" y="3783188"/>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46" name="Oval 2345">
            <a:extLst>
              <a:ext uri="{FF2B5EF4-FFF2-40B4-BE49-F238E27FC236}">
                <a16:creationId xmlns:a16="http://schemas.microsoft.com/office/drawing/2014/main" id="{538B86A4-D101-4E80-9F8B-B0ABFB113545}"/>
              </a:ext>
            </a:extLst>
          </p:cNvPr>
          <p:cNvSpPr>
            <a:spLocks noChangeArrowheads="1"/>
          </p:cNvSpPr>
          <p:nvPr/>
        </p:nvSpPr>
        <p:spPr bwMode="auto">
          <a:xfrm>
            <a:off x="3545336" y="2353560"/>
            <a:ext cx="180305"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47" name="Oval 2346">
            <a:extLst>
              <a:ext uri="{FF2B5EF4-FFF2-40B4-BE49-F238E27FC236}">
                <a16:creationId xmlns:a16="http://schemas.microsoft.com/office/drawing/2014/main" id="{84841114-1D28-4A57-ADA1-4FCAD742A284}"/>
              </a:ext>
            </a:extLst>
          </p:cNvPr>
          <p:cNvSpPr>
            <a:spLocks noChangeArrowheads="1"/>
          </p:cNvSpPr>
          <p:nvPr/>
        </p:nvSpPr>
        <p:spPr bwMode="auto">
          <a:xfrm>
            <a:off x="3536550" y="2367195"/>
            <a:ext cx="182621"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48" name="Oval 2347">
            <a:extLst>
              <a:ext uri="{FF2B5EF4-FFF2-40B4-BE49-F238E27FC236}">
                <a16:creationId xmlns:a16="http://schemas.microsoft.com/office/drawing/2014/main" id="{5EBFFBCF-90CD-447C-967C-53F1C5ABDB80}"/>
              </a:ext>
            </a:extLst>
          </p:cNvPr>
          <p:cNvSpPr>
            <a:spLocks noChangeArrowheads="1"/>
          </p:cNvSpPr>
          <p:nvPr/>
        </p:nvSpPr>
        <p:spPr bwMode="auto">
          <a:xfrm>
            <a:off x="6213544" y="2656672"/>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49" name="Oval 2348">
            <a:extLst>
              <a:ext uri="{FF2B5EF4-FFF2-40B4-BE49-F238E27FC236}">
                <a16:creationId xmlns:a16="http://schemas.microsoft.com/office/drawing/2014/main" id="{2498CB84-BA78-4395-8DCA-1D7A4A712F07}"/>
              </a:ext>
            </a:extLst>
          </p:cNvPr>
          <p:cNvSpPr>
            <a:spLocks noChangeArrowheads="1"/>
          </p:cNvSpPr>
          <p:nvPr/>
        </p:nvSpPr>
        <p:spPr bwMode="auto">
          <a:xfrm>
            <a:off x="2105115" y="4529868"/>
            <a:ext cx="180305"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50" name="Oval 2349">
            <a:extLst>
              <a:ext uri="{FF2B5EF4-FFF2-40B4-BE49-F238E27FC236}">
                <a16:creationId xmlns:a16="http://schemas.microsoft.com/office/drawing/2014/main" id="{25183269-4DB1-4F02-B181-EC699C8E1172}"/>
              </a:ext>
            </a:extLst>
          </p:cNvPr>
          <p:cNvSpPr>
            <a:spLocks noChangeArrowheads="1"/>
          </p:cNvSpPr>
          <p:nvPr/>
        </p:nvSpPr>
        <p:spPr bwMode="auto">
          <a:xfrm>
            <a:off x="3940310" y="2199787"/>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51" name="Oval 2350">
            <a:extLst>
              <a:ext uri="{FF2B5EF4-FFF2-40B4-BE49-F238E27FC236}">
                <a16:creationId xmlns:a16="http://schemas.microsoft.com/office/drawing/2014/main" id="{9378EE2C-8E0B-442B-AFCA-0CDFC6B7CEAF}"/>
              </a:ext>
            </a:extLst>
          </p:cNvPr>
          <p:cNvSpPr>
            <a:spLocks noChangeArrowheads="1"/>
          </p:cNvSpPr>
          <p:nvPr/>
        </p:nvSpPr>
        <p:spPr bwMode="auto">
          <a:xfrm>
            <a:off x="3477528" y="2360218"/>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52" name="Oval 2351">
            <a:extLst>
              <a:ext uri="{FF2B5EF4-FFF2-40B4-BE49-F238E27FC236}">
                <a16:creationId xmlns:a16="http://schemas.microsoft.com/office/drawing/2014/main" id="{740F66DF-C121-4587-9996-2AA1DF26E372}"/>
              </a:ext>
            </a:extLst>
          </p:cNvPr>
          <p:cNvSpPr>
            <a:spLocks noChangeArrowheads="1"/>
          </p:cNvSpPr>
          <p:nvPr/>
        </p:nvSpPr>
        <p:spPr bwMode="auto">
          <a:xfrm>
            <a:off x="3775879" y="2222456"/>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53" name="Oval 2352">
            <a:extLst>
              <a:ext uri="{FF2B5EF4-FFF2-40B4-BE49-F238E27FC236}">
                <a16:creationId xmlns:a16="http://schemas.microsoft.com/office/drawing/2014/main" id="{78239C8D-BF79-4FB2-B280-85BB5D596BD1}"/>
              </a:ext>
            </a:extLst>
          </p:cNvPr>
          <p:cNvSpPr>
            <a:spLocks noChangeArrowheads="1"/>
          </p:cNvSpPr>
          <p:nvPr/>
        </p:nvSpPr>
        <p:spPr bwMode="auto">
          <a:xfrm>
            <a:off x="4774030" y="3106898"/>
            <a:ext cx="182619"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54" name="Oval 2353">
            <a:extLst>
              <a:ext uri="{FF2B5EF4-FFF2-40B4-BE49-F238E27FC236}">
                <a16:creationId xmlns:a16="http://schemas.microsoft.com/office/drawing/2014/main" id="{64A7A3AD-78F1-4CB6-B67B-CAC91AC9B435}"/>
              </a:ext>
            </a:extLst>
          </p:cNvPr>
          <p:cNvSpPr>
            <a:spLocks noChangeArrowheads="1"/>
          </p:cNvSpPr>
          <p:nvPr/>
        </p:nvSpPr>
        <p:spPr bwMode="auto">
          <a:xfrm>
            <a:off x="3813173" y="2306160"/>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55" name="Oval 2354">
            <a:extLst>
              <a:ext uri="{FF2B5EF4-FFF2-40B4-BE49-F238E27FC236}">
                <a16:creationId xmlns:a16="http://schemas.microsoft.com/office/drawing/2014/main" id="{ED580E69-167D-4791-A5D4-E05293CEB74E}"/>
              </a:ext>
            </a:extLst>
          </p:cNvPr>
          <p:cNvSpPr>
            <a:spLocks noChangeArrowheads="1"/>
          </p:cNvSpPr>
          <p:nvPr/>
        </p:nvSpPr>
        <p:spPr bwMode="auto">
          <a:xfrm>
            <a:off x="6309861" y="4414457"/>
            <a:ext cx="182621"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56" name="Oval 2355">
            <a:extLst>
              <a:ext uri="{FF2B5EF4-FFF2-40B4-BE49-F238E27FC236}">
                <a16:creationId xmlns:a16="http://schemas.microsoft.com/office/drawing/2014/main" id="{A96CA229-5F8C-40E4-86A1-B11BE4B58126}"/>
              </a:ext>
            </a:extLst>
          </p:cNvPr>
          <p:cNvSpPr>
            <a:spLocks noChangeArrowheads="1"/>
          </p:cNvSpPr>
          <p:nvPr/>
        </p:nvSpPr>
        <p:spPr bwMode="auto">
          <a:xfrm>
            <a:off x="3723020" y="2376233"/>
            <a:ext cx="182619"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57" name="Oval 2356">
            <a:extLst>
              <a:ext uri="{FF2B5EF4-FFF2-40B4-BE49-F238E27FC236}">
                <a16:creationId xmlns:a16="http://schemas.microsoft.com/office/drawing/2014/main" id="{1E0C2FF8-4D18-4498-A156-82B73565A7A3}"/>
              </a:ext>
            </a:extLst>
          </p:cNvPr>
          <p:cNvSpPr>
            <a:spLocks noChangeArrowheads="1"/>
          </p:cNvSpPr>
          <p:nvPr/>
        </p:nvSpPr>
        <p:spPr bwMode="auto">
          <a:xfrm>
            <a:off x="4901478" y="3235942"/>
            <a:ext cx="180305"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58" name="Oval 2357">
            <a:extLst>
              <a:ext uri="{FF2B5EF4-FFF2-40B4-BE49-F238E27FC236}">
                <a16:creationId xmlns:a16="http://schemas.microsoft.com/office/drawing/2014/main" id="{CFE14D5F-71F3-40E4-B3C0-C8C00E379D53}"/>
              </a:ext>
            </a:extLst>
          </p:cNvPr>
          <p:cNvSpPr>
            <a:spLocks noChangeArrowheads="1"/>
          </p:cNvSpPr>
          <p:nvPr/>
        </p:nvSpPr>
        <p:spPr bwMode="auto">
          <a:xfrm>
            <a:off x="1568452" y="3045864"/>
            <a:ext cx="182619"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59" name="Oval 2358">
            <a:extLst>
              <a:ext uri="{FF2B5EF4-FFF2-40B4-BE49-F238E27FC236}">
                <a16:creationId xmlns:a16="http://schemas.microsoft.com/office/drawing/2014/main" id="{0D035883-984D-443E-8E93-A9BF4541333A}"/>
              </a:ext>
            </a:extLst>
          </p:cNvPr>
          <p:cNvSpPr>
            <a:spLocks noChangeArrowheads="1"/>
          </p:cNvSpPr>
          <p:nvPr/>
        </p:nvSpPr>
        <p:spPr bwMode="auto">
          <a:xfrm>
            <a:off x="4363796" y="2953123"/>
            <a:ext cx="182621"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60" name="Oval 2359">
            <a:extLst>
              <a:ext uri="{FF2B5EF4-FFF2-40B4-BE49-F238E27FC236}">
                <a16:creationId xmlns:a16="http://schemas.microsoft.com/office/drawing/2014/main" id="{62081F30-9FDF-449B-BF87-28867CEA6CEF}"/>
              </a:ext>
            </a:extLst>
          </p:cNvPr>
          <p:cNvSpPr>
            <a:spLocks noChangeArrowheads="1"/>
          </p:cNvSpPr>
          <p:nvPr/>
        </p:nvSpPr>
        <p:spPr bwMode="auto">
          <a:xfrm>
            <a:off x="1256847" y="2283491"/>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61" name="Oval 2360">
            <a:extLst>
              <a:ext uri="{FF2B5EF4-FFF2-40B4-BE49-F238E27FC236}">
                <a16:creationId xmlns:a16="http://schemas.microsoft.com/office/drawing/2014/main" id="{EE7939C7-C075-4D5E-AD42-86241BA5C7A5}"/>
              </a:ext>
            </a:extLst>
          </p:cNvPr>
          <p:cNvSpPr>
            <a:spLocks noChangeArrowheads="1"/>
          </p:cNvSpPr>
          <p:nvPr/>
        </p:nvSpPr>
        <p:spPr bwMode="auto">
          <a:xfrm>
            <a:off x="3819645" y="2292528"/>
            <a:ext cx="182619"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62" name="Oval 2361">
            <a:extLst>
              <a:ext uri="{FF2B5EF4-FFF2-40B4-BE49-F238E27FC236}">
                <a16:creationId xmlns:a16="http://schemas.microsoft.com/office/drawing/2014/main" id="{1E40C0E8-E37B-42E0-AEE0-D4FCC857AFAC}"/>
              </a:ext>
            </a:extLst>
          </p:cNvPr>
          <p:cNvSpPr>
            <a:spLocks noChangeArrowheads="1"/>
          </p:cNvSpPr>
          <p:nvPr/>
        </p:nvSpPr>
        <p:spPr bwMode="auto">
          <a:xfrm>
            <a:off x="3611138" y="2292528"/>
            <a:ext cx="182619"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63" name="Oval 2362">
            <a:extLst>
              <a:ext uri="{FF2B5EF4-FFF2-40B4-BE49-F238E27FC236}">
                <a16:creationId xmlns:a16="http://schemas.microsoft.com/office/drawing/2014/main" id="{C2A4C5C7-218D-4CDA-848F-98931C182FFA}"/>
              </a:ext>
            </a:extLst>
          </p:cNvPr>
          <p:cNvSpPr>
            <a:spLocks noChangeArrowheads="1"/>
          </p:cNvSpPr>
          <p:nvPr/>
        </p:nvSpPr>
        <p:spPr bwMode="auto">
          <a:xfrm>
            <a:off x="3856940" y="2215481"/>
            <a:ext cx="182621"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64" name="Oval 2363">
            <a:extLst>
              <a:ext uri="{FF2B5EF4-FFF2-40B4-BE49-F238E27FC236}">
                <a16:creationId xmlns:a16="http://schemas.microsoft.com/office/drawing/2014/main" id="{5CA54382-5CED-4D29-9FB0-D6E9A7FDA7CC}"/>
              </a:ext>
            </a:extLst>
          </p:cNvPr>
          <p:cNvSpPr>
            <a:spLocks noChangeArrowheads="1"/>
          </p:cNvSpPr>
          <p:nvPr/>
        </p:nvSpPr>
        <p:spPr bwMode="auto">
          <a:xfrm>
            <a:off x="3856941" y="2208823"/>
            <a:ext cx="182619"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65" name="Oval 2364">
            <a:extLst>
              <a:ext uri="{FF2B5EF4-FFF2-40B4-BE49-F238E27FC236}">
                <a16:creationId xmlns:a16="http://schemas.microsoft.com/office/drawing/2014/main" id="{4E9C74E0-1B03-4289-A574-8E17F61027EA}"/>
              </a:ext>
            </a:extLst>
          </p:cNvPr>
          <p:cNvSpPr>
            <a:spLocks noChangeArrowheads="1"/>
          </p:cNvSpPr>
          <p:nvPr/>
        </p:nvSpPr>
        <p:spPr bwMode="auto">
          <a:xfrm>
            <a:off x="3843687" y="2292528"/>
            <a:ext cx="180305"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66" name="Oval 2365">
            <a:extLst>
              <a:ext uri="{FF2B5EF4-FFF2-40B4-BE49-F238E27FC236}">
                <a16:creationId xmlns:a16="http://schemas.microsoft.com/office/drawing/2014/main" id="{88D594EF-9A44-446C-A2C4-7EAC18165FC6}"/>
              </a:ext>
            </a:extLst>
          </p:cNvPr>
          <p:cNvSpPr>
            <a:spLocks noChangeArrowheads="1"/>
          </p:cNvSpPr>
          <p:nvPr/>
        </p:nvSpPr>
        <p:spPr bwMode="auto">
          <a:xfrm>
            <a:off x="6608521" y="4437127"/>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67" name="Oval 2366">
            <a:extLst>
              <a:ext uri="{FF2B5EF4-FFF2-40B4-BE49-F238E27FC236}">
                <a16:creationId xmlns:a16="http://schemas.microsoft.com/office/drawing/2014/main" id="{F95692C7-B28D-41FF-AC9F-58D29B16FDA0}"/>
              </a:ext>
            </a:extLst>
          </p:cNvPr>
          <p:cNvSpPr>
            <a:spLocks noChangeArrowheads="1"/>
          </p:cNvSpPr>
          <p:nvPr/>
        </p:nvSpPr>
        <p:spPr bwMode="auto">
          <a:xfrm>
            <a:off x="3880982" y="2208823"/>
            <a:ext cx="180305"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68" name="Oval 2367">
            <a:extLst>
              <a:ext uri="{FF2B5EF4-FFF2-40B4-BE49-F238E27FC236}">
                <a16:creationId xmlns:a16="http://schemas.microsoft.com/office/drawing/2014/main" id="{4314B6D9-B75F-484F-A074-B735A8C9007F}"/>
              </a:ext>
            </a:extLst>
          </p:cNvPr>
          <p:cNvSpPr>
            <a:spLocks noChangeArrowheads="1"/>
          </p:cNvSpPr>
          <p:nvPr/>
        </p:nvSpPr>
        <p:spPr bwMode="auto">
          <a:xfrm>
            <a:off x="6169469" y="4224379"/>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69" name="Oval 2368">
            <a:extLst>
              <a:ext uri="{FF2B5EF4-FFF2-40B4-BE49-F238E27FC236}">
                <a16:creationId xmlns:a16="http://schemas.microsoft.com/office/drawing/2014/main" id="{9AD3D0A1-643C-4EF4-BA18-867582E6498F}"/>
              </a:ext>
            </a:extLst>
          </p:cNvPr>
          <p:cNvSpPr>
            <a:spLocks noChangeArrowheads="1"/>
          </p:cNvSpPr>
          <p:nvPr/>
        </p:nvSpPr>
        <p:spPr bwMode="auto">
          <a:xfrm>
            <a:off x="6123392" y="4324095"/>
            <a:ext cx="182619"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70" name="Oval 2369">
            <a:extLst>
              <a:ext uri="{FF2B5EF4-FFF2-40B4-BE49-F238E27FC236}">
                <a16:creationId xmlns:a16="http://schemas.microsoft.com/office/drawing/2014/main" id="{74B7B680-281A-4D47-BDD5-97A2E309398E}"/>
              </a:ext>
            </a:extLst>
          </p:cNvPr>
          <p:cNvSpPr>
            <a:spLocks noChangeArrowheads="1"/>
          </p:cNvSpPr>
          <p:nvPr/>
        </p:nvSpPr>
        <p:spPr bwMode="auto">
          <a:xfrm>
            <a:off x="6123392" y="4324095"/>
            <a:ext cx="182619"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71" name="Oval 2370">
            <a:extLst>
              <a:ext uri="{FF2B5EF4-FFF2-40B4-BE49-F238E27FC236}">
                <a16:creationId xmlns:a16="http://schemas.microsoft.com/office/drawing/2014/main" id="{648F13AB-5AAD-470E-BDF3-85B734C423E8}"/>
              </a:ext>
            </a:extLst>
          </p:cNvPr>
          <p:cNvSpPr>
            <a:spLocks noChangeArrowheads="1"/>
          </p:cNvSpPr>
          <p:nvPr/>
        </p:nvSpPr>
        <p:spPr bwMode="auto">
          <a:xfrm>
            <a:off x="6900093" y="4217720"/>
            <a:ext cx="180305"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72" name="Oval 2371">
            <a:extLst>
              <a:ext uri="{FF2B5EF4-FFF2-40B4-BE49-F238E27FC236}">
                <a16:creationId xmlns:a16="http://schemas.microsoft.com/office/drawing/2014/main" id="{8F7F4914-F5B5-45A4-9C5B-D9F0A32D8ABD}"/>
              </a:ext>
            </a:extLst>
          </p:cNvPr>
          <p:cNvSpPr>
            <a:spLocks noChangeArrowheads="1"/>
          </p:cNvSpPr>
          <p:nvPr/>
        </p:nvSpPr>
        <p:spPr bwMode="auto">
          <a:xfrm>
            <a:off x="6900093" y="4217720"/>
            <a:ext cx="180305"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73" name="Oval 2372">
            <a:extLst>
              <a:ext uri="{FF2B5EF4-FFF2-40B4-BE49-F238E27FC236}">
                <a16:creationId xmlns:a16="http://schemas.microsoft.com/office/drawing/2014/main" id="{629F4491-4AD7-4A5C-88A9-61ACA64432C5}"/>
              </a:ext>
            </a:extLst>
          </p:cNvPr>
          <p:cNvSpPr>
            <a:spLocks noChangeArrowheads="1"/>
          </p:cNvSpPr>
          <p:nvPr/>
        </p:nvSpPr>
        <p:spPr bwMode="auto">
          <a:xfrm>
            <a:off x="3819645" y="2292528"/>
            <a:ext cx="182619"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74" name="Oval 2373">
            <a:extLst>
              <a:ext uri="{FF2B5EF4-FFF2-40B4-BE49-F238E27FC236}">
                <a16:creationId xmlns:a16="http://schemas.microsoft.com/office/drawing/2014/main" id="{BC75A45D-9DA4-4F5D-9712-01FC166315D9}"/>
              </a:ext>
            </a:extLst>
          </p:cNvPr>
          <p:cNvSpPr>
            <a:spLocks noChangeArrowheads="1"/>
          </p:cNvSpPr>
          <p:nvPr/>
        </p:nvSpPr>
        <p:spPr bwMode="auto">
          <a:xfrm>
            <a:off x="3455492" y="3023194"/>
            <a:ext cx="180305"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75" name="Oval 2374">
            <a:extLst>
              <a:ext uri="{FF2B5EF4-FFF2-40B4-BE49-F238E27FC236}">
                <a16:creationId xmlns:a16="http://schemas.microsoft.com/office/drawing/2014/main" id="{914B22FA-F628-414C-A8C2-4B6EEA01C8D0}"/>
              </a:ext>
            </a:extLst>
          </p:cNvPr>
          <p:cNvSpPr>
            <a:spLocks noChangeArrowheads="1"/>
          </p:cNvSpPr>
          <p:nvPr/>
        </p:nvSpPr>
        <p:spPr bwMode="auto">
          <a:xfrm>
            <a:off x="5193050" y="3152238"/>
            <a:ext cx="180305"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76" name="Oval 2375">
            <a:extLst>
              <a:ext uri="{FF2B5EF4-FFF2-40B4-BE49-F238E27FC236}">
                <a16:creationId xmlns:a16="http://schemas.microsoft.com/office/drawing/2014/main" id="{EB98560B-CD2E-4E34-B152-BB4508582AE5}"/>
              </a:ext>
            </a:extLst>
          </p:cNvPr>
          <p:cNvSpPr>
            <a:spLocks noChangeArrowheads="1"/>
          </p:cNvSpPr>
          <p:nvPr/>
        </p:nvSpPr>
        <p:spPr bwMode="auto">
          <a:xfrm>
            <a:off x="1667079" y="2998463"/>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77" name="Oval 2376">
            <a:extLst>
              <a:ext uri="{FF2B5EF4-FFF2-40B4-BE49-F238E27FC236}">
                <a16:creationId xmlns:a16="http://schemas.microsoft.com/office/drawing/2014/main" id="{8A4F947D-FDEA-4DA2-9B1D-E1918FEE6810}"/>
              </a:ext>
            </a:extLst>
          </p:cNvPr>
          <p:cNvSpPr>
            <a:spLocks noChangeArrowheads="1"/>
          </p:cNvSpPr>
          <p:nvPr/>
        </p:nvSpPr>
        <p:spPr bwMode="auto">
          <a:xfrm>
            <a:off x="3880982" y="2292528"/>
            <a:ext cx="180305"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78" name="Oval 2377">
            <a:extLst>
              <a:ext uri="{FF2B5EF4-FFF2-40B4-BE49-F238E27FC236}">
                <a16:creationId xmlns:a16="http://schemas.microsoft.com/office/drawing/2014/main" id="{C8976475-0491-486C-8EDC-32009D3A356B}"/>
              </a:ext>
            </a:extLst>
          </p:cNvPr>
          <p:cNvSpPr>
            <a:spLocks noChangeArrowheads="1"/>
          </p:cNvSpPr>
          <p:nvPr/>
        </p:nvSpPr>
        <p:spPr bwMode="auto">
          <a:xfrm>
            <a:off x="1643037" y="2991487"/>
            <a:ext cx="182621"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79" name="Oval 2378">
            <a:extLst>
              <a:ext uri="{FF2B5EF4-FFF2-40B4-BE49-F238E27FC236}">
                <a16:creationId xmlns:a16="http://schemas.microsoft.com/office/drawing/2014/main" id="{E8F12D23-7823-4E22-A4CC-3911D7138B98}"/>
              </a:ext>
            </a:extLst>
          </p:cNvPr>
          <p:cNvSpPr>
            <a:spLocks noChangeArrowheads="1"/>
          </p:cNvSpPr>
          <p:nvPr/>
        </p:nvSpPr>
        <p:spPr bwMode="auto">
          <a:xfrm>
            <a:off x="3530080" y="2794752"/>
            <a:ext cx="180305"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80" name="Oval 2379">
            <a:extLst>
              <a:ext uri="{FF2B5EF4-FFF2-40B4-BE49-F238E27FC236}">
                <a16:creationId xmlns:a16="http://schemas.microsoft.com/office/drawing/2014/main" id="{6469705E-898F-4DF5-95B1-DF81C9777B72}"/>
              </a:ext>
            </a:extLst>
          </p:cNvPr>
          <p:cNvSpPr>
            <a:spLocks noChangeArrowheads="1"/>
          </p:cNvSpPr>
          <p:nvPr/>
        </p:nvSpPr>
        <p:spPr bwMode="auto">
          <a:xfrm>
            <a:off x="3679255" y="2292528"/>
            <a:ext cx="180305"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81" name="Oval 2380">
            <a:extLst>
              <a:ext uri="{FF2B5EF4-FFF2-40B4-BE49-F238E27FC236}">
                <a16:creationId xmlns:a16="http://schemas.microsoft.com/office/drawing/2014/main" id="{5976F742-38B0-405E-B28A-EA99D4BFF4B4}"/>
              </a:ext>
            </a:extLst>
          </p:cNvPr>
          <p:cNvSpPr>
            <a:spLocks noChangeArrowheads="1"/>
          </p:cNvSpPr>
          <p:nvPr/>
        </p:nvSpPr>
        <p:spPr bwMode="auto">
          <a:xfrm>
            <a:off x="3856940" y="2177118"/>
            <a:ext cx="182621"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82" name="Oval 2381">
            <a:extLst>
              <a:ext uri="{FF2B5EF4-FFF2-40B4-BE49-F238E27FC236}">
                <a16:creationId xmlns:a16="http://schemas.microsoft.com/office/drawing/2014/main" id="{12AC4456-9E11-433C-BD82-50ECA1272F34}"/>
              </a:ext>
            </a:extLst>
          </p:cNvPr>
          <p:cNvSpPr>
            <a:spLocks noChangeArrowheads="1"/>
          </p:cNvSpPr>
          <p:nvPr/>
        </p:nvSpPr>
        <p:spPr bwMode="auto">
          <a:xfrm>
            <a:off x="5355476" y="3143202"/>
            <a:ext cx="182621"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83" name="Oval 2382">
            <a:extLst>
              <a:ext uri="{FF2B5EF4-FFF2-40B4-BE49-F238E27FC236}">
                <a16:creationId xmlns:a16="http://schemas.microsoft.com/office/drawing/2014/main" id="{AD1E51F1-E197-47B7-AAB9-DCD9494720CC}"/>
              </a:ext>
            </a:extLst>
          </p:cNvPr>
          <p:cNvSpPr>
            <a:spLocks noChangeArrowheads="1"/>
          </p:cNvSpPr>
          <p:nvPr/>
        </p:nvSpPr>
        <p:spPr bwMode="auto">
          <a:xfrm>
            <a:off x="5379518" y="3120530"/>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84" name="Oval 2383">
            <a:extLst>
              <a:ext uri="{FF2B5EF4-FFF2-40B4-BE49-F238E27FC236}">
                <a16:creationId xmlns:a16="http://schemas.microsoft.com/office/drawing/2014/main" id="{BC319B47-6257-4DE4-AD21-8F62E88C46E3}"/>
              </a:ext>
            </a:extLst>
          </p:cNvPr>
          <p:cNvSpPr>
            <a:spLocks noChangeArrowheads="1"/>
          </p:cNvSpPr>
          <p:nvPr/>
        </p:nvSpPr>
        <p:spPr bwMode="auto">
          <a:xfrm>
            <a:off x="6191507" y="2579942"/>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85" name="Oval 63">
            <a:extLst>
              <a:ext uri="{FF2B5EF4-FFF2-40B4-BE49-F238E27FC236}">
                <a16:creationId xmlns:a16="http://schemas.microsoft.com/office/drawing/2014/main" id="{B6B9C614-9B67-4ADD-B847-C62C4BE68924}"/>
              </a:ext>
            </a:extLst>
          </p:cNvPr>
          <p:cNvSpPr>
            <a:spLocks noChangeArrowheads="1"/>
          </p:cNvSpPr>
          <p:nvPr/>
        </p:nvSpPr>
        <p:spPr bwMode="auto">
          <a:xfrm>
            <a:off x="6654292" y="2831054"/>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86" name="Oval 64">
            <a:extLst>
              <a:ext uri="{FF2B5EF4-FFF2-40B4-BE49-F238E27FC236}">
                <a16:creationId xmlns:a16="http://schemas.microsoft.com/office/drawing/2014/main" id="{7C9CA55F-A543-4169-88EE-1B6C1D7E1CC2}"/>
              </a:ext>
            </a:extLst>
          </p:cNvPr>
          <p:cNvSpPr>
            <a:spLocks noChangeArrowheads="1"/>
          </p:cNvSpPr>
          <p:nvPr/>
        </p:nvSpPr>
        <p:spPr bwMode="auto">
          <a:xfrm>
            <a:off x="6108137" y="4301425"/>
            <a:ext cx="182619"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87" name="Oval 65">
            <a:extLst>
              <a:ext uri="{FF2B5EF4-FFF2-40B4-BE49-F238E27FC236}">
                <a16:creationId xmlns:a16="http://schemas.microsoft.com/office/drawing/2014/main" id="{4B329306-BCA9-405E-B485-1F76C8869E1D}"/>
              </a:ext>
            </a:extLst>
          </p:cNvPr>
          <p:cNvSpPr>
            <a:spLocks noChangeArrowheads="1"/>
          </p:cNvSpPr>
          <p:nvPr/>
        </p:nvSpPr>
        <p:spPr bwMode="auto">
          <a:xfrm>
            <a:off x="5289675" y="3358010"/>
            <a:ext cx="180305"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88" name="Oval 66">
            <a:extLst>
              <a:ext uri="{FF2B5EF4-FFF2-40B4-BE49-F238E27FC236}">
                <a16:creationId xmlns:a16="http://schemas.microsoft.com/office/drawing/2014/main" id="{F7EFE057-0F48-4754-881E-92CB642A533D}"/>
              </a:ext>
            </a:extLst>
          </p:cNvPr>
          <p:cNvSpPr>
            <a:spLocks noChangeArrowheads="1"/>
          </p:cNvSpPr>
          <p:nvPr/>
        </p:nvSpPr>
        <p:spPr bwMode="auto">
          <a:xfrm>
            <a:off x="4192585" y="2695034"/>
            <a:ext cx="182621"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89" name="Oval 67">
            <a:extLst>
              <a:ext uri="{FF2B5EF4-FFF2-40B4-BE49-F238E27FC236}">
                <a16:creationId xmlns:a16="http://schemas.microsoft.com/office/drawing/2014/main" id="{3BF24ECB-32CC-4E08-8192-D50E78D8D58F}"/>
              </a:ext>
            </a:extLst>
          </p:cNvPr>
          <p:cNvSpPr>
            <a:spLocks noChangeArrowheads="1"/>
          </p:cNvSpPr>
          <p:nvPr/>
        </p:nvSpPr>
        <p:spPr bwMode="auto">
          <a:xfrm>
            <a:off x="3834902" y="2299185"/>
            <a:ext cx="182621"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90" name="Oval 68">
            <a:extLst>
              <a:ext uri="{FF2B5EF4-FFF2-40B4-BE49-F238E27FC236}">
                <a16:creationId xmlns:a16="http://schemas.microsoft.com/office/drawing/2014/main" id="{F3B7AE9B-9B5B-4B59-9CD4-FA9EE6A78F10}"/>
              </a:ext>
            </a:extLst>
          </p:cNvPr>
          <p:cNvSpPr>
            <a:spLocks noChangeArrowheads="1"/>
          </p:cNvSpPr>
          <p:nvPr/>
        </p:nvSpPr>
        <p:spPr bwMode="auto">
          <a:xfrm>
            <a:off x="3828430" y="2321855"/>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91" name="Oval 69">
            <a:extLst>
              <a:ext uri="{FF2B5EF4-FFF2-40B4-BE49-F238E27FC236}">
                <a16:creationId xmlns:a16="http://schemas.microsoft.com/office/drawing/2014/main" id="{E3824DC7-13B9-4F6A-84D9-A6C21360D1E5}"/>
              </a:ext>
            </a:extLst>
          </p:cNvPr>
          <p:cNvSpPr>
            <a:spLocks noChangeArrowheads="1"/>
          </p:cNvSpPr>
          <p:nvPr/>
        </p:nvSpPr>
        <p:spPr bwMode="auto">
          <a:xfrm>
            <a:off x="3962349" y="2260821"/>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92" name="Oval 70">
            <a:extLst>
              <a:ext uri="{FF2B5EF4-FFF2-40B4-BE49-F238E27FC236}">
                <a16:creationId xmlns:a16="http://schemas.microsoft.com/office/drawing/2014/main" id="{5602A13D-CFCA-4797-8248-23784150DB73}"/>
              </a:ext>
            </a:extLst>
          </p:cNvPr>
          <p:cNvSpPr>
            <a:spLocks noChangeArrowheads="1"/>
          </p:cNvSpPr>
          <p:nvPr/>
        </p:nvSpPr>
        <p:spPr bwMode="auto">
          <a:xfrm>
            <a:off x="2112601" y="5016080"/>
            <a:ext cx="182621"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93" name="Oval 71">
            <a:extLst>
              <a:ext uri="{FF2B5EF4-FFF2-40B4-BE49-F238E27FC236}">
                <a16:creationId xmlns:a16="http://schemas.microsoft.com/office/drawing/2014/main" id="{297CBFBA-3938-49B5-A87D-F09092B69F83}"/>
              </a:ext>
            </a:extLst>
          </p:cNvPr>
          <p:cNvSpPr>
            <a:spLocks noChangeArrowheads="1"/>
          </p:cNvSpPr>
          <p:nvPr/>
        </p:nvSpPr>
        <p:spPr bwMode="auto">
          <a:xfrm>
            <a:off x="2136641" y="5016080"/>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94" name="Oval 72">
            <a:extLst>
              <a:ext uri="{FF2B5EF4-FFF2-40B4-BE49-F238E27FC236}">
                <a16:creationId xmlns:a16="http://schemas.microsoft.com/office/drawing/2014/main" id="{EE6ABADD-B430-4432-AA3C-C776789617A9}"/>
              </a:ext>
            </a:extLst>
          </p:cNvPr>
          <p:cNvSpPr>
            <a:spLocks noChangeArrowheads="1"/>
          </p:cNvSpPr>
          <p:nvPr/>
        </p:nvSpPr>
        <p:spPr bwMode="auto">
          <a:xfrm>
            <a:off x="4767558" y="2611331"/>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95" name="Oval 73">
            <a:extLst>
              <a:ext uri="{FF2B5EF4-FFF2-40B4-BE49-F238E27FC236}">
                <a16:creationId xmlns:a16="http://schemas.microsoft.com/office/drawing/2014/main" id="{C1FEC125-5A93-42FF-88B9-B4F8AA5F3441}"/>
              </a:ext>
            </a:extLst>
          </p:cNvPr>
          <p:cNvSpPr>
            <a:spLocks noChangeArrowheads="1"/>
          </p:cNvSpPr>
          <p:nvPr/>
        </p:nvSpPr>
        <p:spPr bwMode="auto">
          <a:xfrm>
            <a:off x="1629786" y="3023194"/>
            <a:ext cx="180305"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96" name="Oval 74">
            <a:extLst>
              <a:ext uri="{FF2B5EF4-FFF2-40B4-BE49-F238E27FC236}">
                <a16:creationId xmlns:a16="http://schemas.microsoft.com/office/drawing/2014/main" id="{62F955F0-689B-48BD-8440-F64F932A645B}"/>
              </a:ext>
            </a:extLst>
          </p:cNvPr>
          <p:cNvSpPr>
            <a:spLocks noChangeArrowheads="1"/>
          </p:cNvSpPr>
          <p:nvPr/>
        </p:nvSpPr>
        <p:spPr bwMode="auto">
          <a:xfrm>
            <a:off x="3336828" y="3258294"/>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97" name="Oval 75">
            <a:extLst>
              <a:ext uri="{FF2B5EF4-FFF2-40B4-BE49-F238E27FC236}">
                <a16:creationId xmlns:a16="http://schemas.microsoft.com/office/drawing/2014/main" id="{58E7DC86-FDE3-4374-83FA-57FDDFA9750A}"/>
              </a:ext>
            </a:extLst>
          </p:cNvPr>
          <p:cNvSpPr>
            <a:spLocks noChangeArrowheads="1"/>
          </p:cNvSpPr>
          <p:nvPr/>
        </p:nvSpPr>
        <p:spPr bwMode="auto">
          <a:xfrm>
            <a:off x="3962351" y="2269857"/>
            <a:ext cx="180305"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98" name="Oval 76">
            <a:extLst>
              <a:ext uri="{FF2B5EF4-FFF2-40B4-BE49-F238E27FC236}">
                <a16:creationId xmlns:a16="http://schemas.microsoft.com/office/drawing/2014/main" id="{8D6E9864-16FF-4816-84A1-AD2804C5FAB0}"/>
              </a:ext>
            </a:extLst>
          </p:cNvPr>
          <p:cNvSpPr>
            <a:spLocks noChangeArrowheads="1"/>
          </p:cNvSpPr>
          <p:nvPr/>
        </p:nvSpPr>
        <p:spPr bwMode="auto">
          <a:xfrm>
            <a:off x="4208150" y="2550298"/>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399" name="Oval 77">
            <a:extLst>
              <a:ext uri="{FF2B5EF4-FFF2-40B4-BE49-F238E27FC236}">
                <a16:creationId xmlns:a16="http://schemas.microsoft.com/office/drawing/2014/main" id="{04EA83BA-6464-4F6B-AD8F-5DC7EE7E6A04}"/>
              </a:ext>
            </a:extLst>
          </p:cNvPr>
          <p:cNvSpPr>
            <a:spLocks noChangeArrowheads="1"/>
          </p:cNvSpPr>
          <p:nvPr/>
        </p:nvSpPr>
        <p:spPr bwMode="auto">
          <a:xfrm>
            <a:off x="4431913" y="3029852"/>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00" name="Oval 78">
            <a:extLst>
              <a:ext uri="{FF2B5EF4-FFF2-40B4-BE49-F238E27FC236}">
                <a16:creationId xmlns:a16="http://schemas.microsoft.com/office/drawing/2014/main" id="{698DAE3D-B6E8-4DB9-ADB8-4B694C5F7D6A}"/>
              </a:ext>
            </a:extLst>
          </p:cNvPr>
          <p:cNvSpPr>
            <a:spLocks noChangeArrowheads="1"/>
          </p:cNvSpPr>
          <p:nvPr/>
        </p:nvSpPr>
        <p:spPr bwMode="auto">
          <a:xfrm>
            <a:off x="3782351" y="2328831"/>
            <a:ext cx="182621"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01" name="Oval 79">
            <a:extLst>
              <a:ext uri="{FF2B5EF4-FFF2-40B4-BE49-F238E27FC236}">
                <a16:creationId xmlns:a16="http://schemas.microsoft.com/office/drawing/2014/main" id="{077093C7-234E-4692-AF79-3EBED442B0D6}"/>
              </a:ext>
            </a:extLst>
          </p:cNvPr>
          <p:cNvSpPr>
            <a:spLocks noChangeArrowheads="1"/>
          </p:cNvSpPr>
          <p:nvPr/>
        </p:nvSpPr>
        <p:spPr bwMode="auto">
          <a:xfrm>
            <a:off x="6810249" y="4446164"/>
            <a:ext cx="180305"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02" name="Oval 80">
            <a:extLst>
              <a:ext uri="{FF2B5EF4-FFF2-40B4-BE49-F238E27FC236}">
                <a16:creationId xmlns:a16="http://schemas.microsoft.com/office/drawing/2014/main" id="{3C7B972E-952D-4F32-AD6D-78090D2789DE}"/>
              </a:ext>
            </a:extLst>
          </p:cNvPr>
          <p:cNvSpPr>
            <a:spLocks noChangeArrowheads="1"/>
          </p:cNvSpPr>
          <p:nvPr/>
        </p:nvSpPr>
        <p:spPr bwMode="auto">
          <a:xfrm>
            <a:off x="6900092" y="4208684"/>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03" name="Oval 81">
            <a:extLst>
              <a:ext uri="{FF2B5EF4-FFF2-40B4-BE49-F238E27FC236}">
                <a16:creationId xmlns:a16="http://schemas.microsoft.com/office/drawing/2014/main" id="{122E1943-408F-442A-A994-C67625FC5A7C}"/>
              </a:ext>
            </a:extLst>
          </p:cNvPr>
          <p:cNvSpPr>
            <a:spLocks noChangeArrowheads="1"/>
          </p:cNvSpPr>
          <p:nvPr/>
        </p:nvSpPr>
        <p:spPr bwMode="auto">
          <a:xfrm>
            <a:off x="1531156" y="2496238"/>
            <a:ext cx="182621"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04" name="Oval 82">
            <a:extLst>
              <a:ext uri="{FF2B5EF4-FFF2-40B4-BE49-F238E27FC236}">
                <a16:creationId xmlns:a16="http://schemas.microsoft.com/office/drawing/2014/main" id="{EAB15003-E3BA-4131-84F1-524710575E98}"/>
              </a:ext>
            </a:extLst>
          </p:cNvPr>
          <p:cNvSpPr>
            <a:spLocks noChangeArrowheads="1"/>
          </p:cNvSpPr>
          <p:nvPr/>
        </p:nvSpPr>
        <p:spPr bwMode="auto">
          <a:xfrm>
            <a:off x="3470749" y="3235942"/>
            <a:ext cx="180305"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05" name="Oval 83">
            <a:extLst>
              <a:ext uri="{FF2B5EF4-FFF2-40B4-BE49-F238E27FC236}">
                <a16:creationId xmlns:a16="http://schemas.microsoft.com/office/drawing/2014/main" id="{BD24B0B8-2C32-4E37-B3D1-505AEB574A9A}"/>
              </a:ext>
            </a:extLst>
          </p:cNvPr>
          <p:cNvSpPr>
            <a:spLocks noChangeArrowheads="1"/>
          </p:cNvSpPr>
          <p:nvPr/>
        </p:nvSpPr>
        <p:spPr bwMode="auto">
          <a:xfrm>
            <a:off x="3856940" y="2283491"/>
            <a:ext cx="182621"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06" name="Oval 84">
            <a:extLst>
              <a:ext uri="{FF2B5EF4-FFF2-40B4-BE49-F238E27FC236}">
                <a16:creationId xmlns:a16="http://schemas.microsoft.com/office/drawing/2014/main" id="{763F0573-477D-45C4-96BC-D88D5E4C1980}"/>
              </a:ext>
            </a:extLst>
          </p:cNvPr>
          <p:cNvSpPr>
            <a:spLocks noChangeArrowheads="1"/>
          </p:cNvSpPr>
          <p:nvPr/>
        </p:nvSpPr>
        <p:spPr bwMode="auto">
          <a:xfrm>
            <a:off x="3641959" y="2321855"/>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07" name="Oval 85">
            <a:extLst>
              <a:ext uri="{FF2B5EF4-FFF2-40B4-BE49-F238E27FC236}">
                <a16:creationId xmlns:a16="http://schemas.microsoft.com/office/drawing/2014/main" id="{6E11C730-D815-4D13-94CA-C9DD150F683D}"/>
              </a:ext>
            </a:extLst>
          </p:cNvPr>
          <p:cNvSpPr>
            <a:spLocks noChangeArrowheads="1"/>
          </p:cNvSpPr>
          <p:nvPr/>
        </p:nvSpPr>
        <p:spPr bwMode="auto">
          <a:xfrm>
            <a:off x="3850467" y="2186153"/>
            <a:ext cx="180305"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08" name="Oval 86">
            <a:extLst>
              <a:ext uri="{FF2B5EF4-FFF2-40B4-BE49-F238E27FC236}">
                <a16:creationId xmlns:a16="http://schemas.microsoft.com/office/drawing/2014/main" id="{98D2C781-DA82-4F70-99C1-2A1AECBAF234}"/>
              </a:ext>
            </a:extLst>
          </p:cNvPr>
          <p:cNvSpPr>
            <a:spLocks noChangeArrowheads="1"/>
          </p:cNvSpPr>
          <p:nvPr/>
        </p:nvSpPr>
        <p:spPr bwMode="auto">
          <a:xfrm>
            <a:off x="2314636" y="2588662"/>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09" name="Oval 87">
            <a:extLst>
              <a:ext uri="{FF2B5EF4-FFF2-40B4-BE49-F238E27FC236}">
                <a16:creationId xmlns:a16="http://schemas.microsoft.com/office/drawing/2014/main" id="{5AD34480-8A4F-4A86-B0E4-81F0A75A22FA}"/>
              </a:ext>
            </a:extLst>
          </p:cNvPr>
          <p:cNvSpPr>
            <a:spLocks noChangeArrowheads="1"/>
          </p:cNvSpPr>
          <p:nvPr/>
        </p:nvSpPr>
        <p:spPr bwMode="auto">
          <a:xfrm>
            <a:off x="6145432" y="4407799"/>
            <a:ext cx="182619"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10" name="Oval 88">
            <a:extLst>
              <a:ext uri="{FF2B5EF4-FFF2-40B4-BE49-F238E27FC236}">
                <a16:creationId xmlns:a16="http://schemas.microsoft.com/office/drawing/2014/main" id="{FA509609-8939-4384-840A-206FDB3FBF62}"/>
              </a:ext>
            </a:extLst>
          </p:cNvPr>
          <p:cNvSpPr>
            <a:spLocks noChangeArrowheads="1"/>
          </p:cNvSpPr>
          <p:nvPr/>
        </p:nvSpPr>
        <p:spPr bwMode="auto">
          <a:xfrm>
            <a:off x="6220017" y="4156688"/>
            <a:ext cx="182619"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11" name="Oval 89">
            <a:extLst>
              <a:ext uri="{FF2B5EF4-FFF2-40B4-BE49-F238E27FC236}">
                <a16:creationId xmlns:a16="http://schemas.microsoft.com/office/drawing/2014/main" id="{55BDCF24-5979-4368-8F29-19B240008FF9}"/>
              </a:ext>
            </a:extLst>
          </p:cNvPr>
          <p:cNvSpPr>
            <a:spLocks noChangeArrowheads="1"/>
          </p:cNvSpPr>
          <p:nvPr/>
        </p:nvSpPr>
        <p:spPr bwMode="auto">
          <a:xfrm>
            <a:off x="4223406" y="4452821"/>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12" name="Oval 90">
            <a:extLst>
              <a:ext uri="{FF2B5EF4-FFF2-40B4-BE49-F238E27FC236}">
                <a16:creationId xmlns:a16="http://schemas.microsoft.com/office/drawing/2014/main" id="{F91AA26D-3DD9-40A3-9243-59605213BC72}"/>
              </a:ext>
            </a:extLst>
          </p:cNvPr>
          <p:cNvSpPr>
            <a:spLocks noChangeArrowheads="1"/>
          </p:cNvSpPr>
          <p:nvPr/>
        </p:nvSpPr>
        <p:spPr bwMode="auto">
          <a:xfrm>
            <a:off x="4164074" y="4346449"/>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13" name="Oval 91">
            <a:extLst>
              <a:ext uri="{FF2B5EF4-FFF2-40B4-BE49-F238E27FC236}">
                <a16:creationId xmlns:a16="http://schemas.microsoft.com/office/drawing/2014/main" id="{CEFCD90F-9D8C-48CB-928E-47C5E921E52B}"/>
              </a:ext>
            </a:extLst>
          </p:cNvPr>
          <p:cNvSpPr>
            <a:spLocks noChangeArrowheads="1"/>
          </p:cNvSpPr>
          <p:nvPr/>
        </p:nvSpPr>
        <p:spPr bwMode="auto">
          <a:xfrm>
            <a:off x="6244059" y="2824080"/>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14" name="Oval 92">
            <a:extLst>
              <a:ext uri="{FF2B5EF4-FFF2-40B4-BE49-F238E27FC236}">
                <a16:creationId xmlns:a16="http://schemas.microsoft.com/office/drawing/2014/main" id="{5819DE95-08AF-486E-BD98-FC5F610C7CC2}"/>
              </a:ext>
            </a:extLst>
          </p:cNvPr>
          <p:cNvSpPr>
            <a:spLocks noChangeArrowheads="1"/>
          </p:cNvSpPr>
          <p:nvPr/>
        </p:nvSpPr>
        <p:spPr bwMode="auto">
          <a:xfrm>
            <a:off x="2261777" y="2405558"/>
            <a:ext cx="182621"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15" name="Oval 93">
            <a:extLst>
              <a:ext uri="{FF2B5EF4-FFF2-40B4-BE49-F238E27FC236}">
                <a16:creationId xmlns:a16="http://schemas.microsoft.com/office/drawing/2014/main" id="{FA6F25E2-0DF4-4344-9AE7-FA7534F417D2}"/>
              </a:ext>
            </a:extLst>
          </p:cNvPr>
          <p:cNvSpPr>
            <a:spLocks noChangeArrowheads="1"/>
          </p:cNvSpPr>
          <p:nvPr/>
        </p:nvSpPr>
        <p:spPr bwMode="auto">
          <a:xfrm>
            <a:off x="6757696" y="4186015"/>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16" name="Oval 94">
            <a:extLst>
              <a:ext uri="{FF2B5EF4-FFF2-40B4-BE49-F238E27FC236}">
                <a16:creationId xmlns:a16="http://schemas.microsoft.com/office/drawing/2014/main" id="{F52214DF-88B0-418B-9557-F27646D2CC45}"/>
              </a:ext>
            </a:extLst>
          </p:cNvPr>
          <p:cNvSpPr>
            <a:spLocks noChangeArrowheads="1"/>
          </p:cNvSpPr>
          <p:nvPr/>
        </p:nvSpPr>
        <p:spPr bwMode="auto">
          <a:xfrm>
            <a:off x="3856940" y="2192811"/>
            <a:ext cx="182621"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17" name="Oval 95">
            <a:extLst>
              <a:ext uri="{FF2B5EF4-FFF2-40B4-BE49-F238E27FC236}">
                <a16:creationId xmlns:a16="http://schemas.microsoft.com/office/drawing/2014/main" id="{D59558BB-155A-40C0-ADC7-295F117C666A}"/>
              </a:ext>
            </a:extLst>
          </p:cNvPr>
          <p:cNvSpPr>
            <a:spLocks noChangeArrowheads="1"/>
          </p:cNvSpPr>
          <p:nvPr/>
        </p:nvSpPr>
        <p:spPr bwMode="auto">
          <a:xfrm>
            <a:off x="2255306" y="4613572"/>
            <a:ext cx="180305"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18" name="Oval 96">
            <a:extLst>
              <a:ext uri="{FF2B5EF4-FFF2-40B4-BE49-F238E27FC236}">
                <a16:creationId xmlns:a16="http://schemas.microsoft.com/office/drawing/2014/main" id="{2BF95047-DE83-4957-BF3E-93623E63FFEF}"/>
              </a:ext>
            </a:extLst>
          </p:cNvPr>
          <p:cNvSpPr>
            <a:spLocks noChangeArrowheads="1"/>
          </p:cNvSpPr>
          <p:nvPr/>
        </p:nvSpPr>
        <p:spPr bwMode="auto">
          <a:xfrm>
            <a:off x="3931528" y="2269857"/>
            <a:ext cx="182619"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19" name="Oval 97">
            <a:extLst>
              <a:ext uri="{FF2B5EF4-FFF2-40B4-BE49-F238E27FC236}">
                <a16:creationId xmlns:a16="http://schemas.microsoft.com/office/drawing/2014/main" id="{B99A171B-D742-498D-BB2F-F59E7786B122}"/>
              </a:ext>
            </a:extLst>
          </p:cNvPr>
          <p:cNvSpPr>
            <a:spLocks noChangeArrowheads="1"/>
          </p:cNvSpPr>
          <p:nvPr/>
        </p:nvSpPr>
        <p:spPr bwMode="auto">
          <a:xfrm>
            <a:off x="3931527" y="2260821"/>
            <a:ext cx="182621"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20" name="Oval 98">
            <a:extLst>
              <a:ext uri="{FF2B5EF4-FFF2-40B4-BE49-F238E27FC236}">
                <a16:creationId xmlns:a16="http://schemas.microsoft.com/office/drawing/2014/main" id="{C57A11B6-E307-4C44-9369-FA06CA8CC352}"/>
              </a:ext>
            </a:extLst>
          </p:cNvPr>
          <p:cNvSpPr>
            <a:spLocks noChangeArrowheads="1"/>
          </p:cNvSpPr>
          <p:nvPr/>
        </p:nvSpPr>
        <p:spPr bwMode="auto">
          <a:xfrm>
            <a:off x="2187188" y="5016080"/>
            <a:ext cx="182621"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21" name="Oval 99">
            <a:extLst>
              <a:ext uri="{FF2B5EF4-FFF2-40B4-BE49-F238E27FC236}">
                <a16:creationId xmlns:a16="http://schemas.microsoft.com/office/drawing/2014/main" id="{146D5ECE-6E16-4229-93A9-489A59711970}"/>
              </a:ext>
            </a:extLst>
          </p:cNvPr>
          <p:cNvSpPr>
            <a:spLocks noChangeArrowheads="1"/>
          </p:cNvSpPr>
          <p:nvPr/>
        </p:nvSpPr>
        <p:spPr bwMode="auto">
          <a:xfrm>
            <a:off x="3663998" y="2283491"/>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22" name="Oval 100">
            <a:extLst>
              <a:ext uri="{FF2B5EF4-FFF2-40B4-BE49-F238E27FC236}">
                <a16:creationId xmlns:a16="http://schemas.microsoft.com/office/drawing/2014/main" id="{1FA528FC-811A-48CA-A0F6-0101A3BAA85C}"/>
              </a:ext>
            </a:extLst>
          </p:cNvPr>
          <p:cNvSpPr>
            <a:spLocks noChangeArrowheads="1"/>
          </p:cNvSpPr>
          <p:nvPr/>
        </p:nvSpPr>
        <p:spPr bwMode="auto">
          <a:xfrm>
            <a:off x="3648434" y="2018745"/>
            <a:ext cx="182619"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23" name="Oval 101">
            <a:extLst>
              <a:ext uri="{FF2B5EF4-FFF2-40B4-BE49-F238E27FC236}">
                <a16:creationId xmlns:a16="http://schemas.microsoft.com/office/drawing/2014/main" id="{2ADE67DE-B536-4B44-A8B3-591B27544BE6}"/>
              </a:ext>
            </a:extLst>
          </p:cNvPr>
          <p:cNvSpPr>
            <a:spLocks noChangeArrowheads="1"/>
          </p:cNvSpPr>
          <p:nvPr/>
        </p:nvSpPr>
        <p:spPr bwMode="auto">
          <a:xfrm>
            <a:off x="3486004" y="2778738"/>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24" name="Oval 102">
            <a:extLst>
              <a:ext uri="{FF2B5EF4-FFF2-40B4-BE49-F238E27FC236}">
                <a16:creationId xmlns:a16="http://schemas.microsoft.com/office/drawing/2014/main" id="{FF7DF036-A322-43A4-9A0D-9CD6273E6A47}"/>
              </a:ext>
            </a:extLst>
          </p:cNvPr>
          <p:cNvSpPr>
            <a:spLocks noChangeArrowheads="1"/>
          </p:cNvSpPr>
          <p:nvPr/>
        </p:nvSpPr>
        <p:spPr bwMode="auto">
          <a:xfrm>
            <a:off x="2127858" y="4588841"/>
            <a:ext cx="182621"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25" name="Oval 103">
            <a:extLst>
              <a:ext uri="{FF2B5EF4-FFF2-40B4-BE49-F238E27FC236}">
                <a16:creationId xmlns:a16="http://schemas.microsoft.com/office/drawing/2014/main" id="{9B4A0916-C14A-40EA-84FE-15D3245EBBE2}"/>
              </a:ext>
            </a:extLst>
          </p:cNvPr>
          <p:cNvSpPr>
            <a:spLocks noChangeArrowheads="1"/>
          </p:cNvSpPr>
          <p:nvPr/>
        </p:nvSpPr>
        <p:spPr bwMode="auto">
          <a:xfrm>
            <a:off x="3843686" y="2109107"/>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26" name="Oval 104">
            <a:extLst>
              <a:ext uri="{FF2B5EF4-FFF2-40B4-BE49-F238E27FC236}">
                <a16:creationId xmlns:a16="http://schemas.microsoft.com/office/drawing/2014/main" id="{1EEA0626-073A-4FA9-9CAD-BDD595E3A745}"/>
              </a:ext>
            </a:extLst>
          </p:cNvPr>
          <p:cNvSpPr>
            <a:spLocks noChangeArrowheads="1"/>
          </p:cNvSpPr>
          <p:nvPr/>
        </p:nvSpPr>
        <p:spPr bwMode="auto">
          <a:xfrm>
            <a:off x="3611138" y="2724681"/>
            <a:ext cx="182621"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27" name="Oval 105">
            <a:extLst>
              <a:ext uri="{FF2B5EF4-FFF2-40B4-BE49-F238E27FC236}">
                <a16:creationId xmlns:a16="http://schemas.microsoft.com/office/drawing/2014/main" id="{EBD2D8F7-3706-45A4-8BF3-7297D03D44D5}"/>
              </a:ext>
            </a:extLst>
          </p:cNvPr>
          <p:cNvSpPr>
            <a:spLocks noChangeArrowheads="1"/>
          </p:cNvSpPr>
          <p:nvPr/>
        </p:nvSpPr>
        <p:spPr bwMode="auto">
          <a:xfrm>
            <a:off x="4363796" y="2991487"/>
            <a:ext cx="182621"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28" name="Oval 106">
            <a:extLst>
              <a:ext uri="{FF2B5EF4-FFF2-40B4-BE49-F238E27FC236}">
                <a16:creationId xmlns:a16="http://schemas.microsoft.com/office/drawing/2014/main" id="{6B942109-30C3-4811-BC67-A490835E7B66}"/>
              </a:ext>
            </a:extLst>
          </p:cNvPr>
          <p:cNvSpPr>
            <a:spLocks noChangeArrowheads="1"/>
          </p:cNvSpPr>
          <p:nvPr/>
        </p:nvSpPr>
        <p:spPr bwMode="auto">
          <a:xfrm>
            <a:off x="6235275" y="3882905"/>
            <a:ext cx="182619"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29" name="Oval 107">
            <a:extLst>
              <a:ext uri="{FF2B5EF4-FFF2-40B4-BE49-F238E27FC236}">
                <a16:creationId xmlns:a16="http://schemas.microsoft.com/office/drawing/2014/main" id="{330C80F5-0BBD-4AF1-AA96-0AAF12AFDD04}"/>
              </a:ext>
            </a:extLst>
          </p:cNvPr>
          <p:cNvSpPr>
            <a:spLocks noChangeArrowheads="1"/>
          </p:cNvSpPr>
          <p:nvPr/>
        </p:nvSpPr>
        <p:spPr bwMode="auto">
          <a:xfrm>
            <a:off x="5355476" y="3425703"/>
            <a:ext cx="182621"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30" name="Oval 108">
            <a:extLst>
              <a:ext uri="{FF2B5EF4-FFF2-40B4-BE49-F238E27FC236}">
                <a16:creationId xmlns:a16="http://schemas.microsoft.com/office/drawing/2014/main" id="{5B502E82-7ED9-4AFF-BA34-3CC88BD16F79}"/>
              </a:ext>
            </a:extLst>
          </p:cNvPr>
          <p:cNvSpPr>
            <a:spLocks noChangeArrowheads="1"/>
          </p:cNvSpPr>
          <p:nvPr/>
        </p:nvSpPr>
        <p:spPr bwMode="auto">
          <a:xfrm>
            <a:off x="3440235" y="3023194"/>
            <a:ext cx="180305"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33" name="Oval 111">
            <a:extLst>
              <a:ext uri="{FF2B5EF4-FFF2-40B4-BE49-F238E27FC236}">
                <a16:creationId xmlns:a16="http://schemas.microsoft.com/office/drawing/2014/main" id="{12C6699F-2DE6-4A15-98E1-E7CD81541671}"/>
              </a:ext>
            </a:extLst>
          </p:cNvPr>
          <p:cNvSpPr>
            <a:spLocks noChangeArrowheads="1"/>
          </p:cNvSpPr>
          <p:nvPr/>
        </p:nvSpPr>
        <p:spPr bwMode="auto">
          <a:xfrm>
            <a:off x="3648433" y="2245125"/>
            <a:ext cx="182621"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34" name="Oval 112">
            <a:extLst>
              <a:ext uri="{FF2B5EF4-FFF2-40B4-BE49-F238E27FC236}">
                <a16:creationId xmlns:a16="http://schemas.microsoft.com/office/drawing/2014/main" id="{0CAA69A5-929F-4149-8F06-9C080865BB14}"/>
              </a:ext>
            </a:extLst>
          </p:cNvPr>
          <p:cNvSpPr>
            <a:spLocks noChangeArrowheads="1"/>
          </p:cNvSpPr>
          <p:nvPr/>
        </p:nvSpPr>
        <p:spPr bwMode="auto">
          <a:xfrm>
            <a:off x="2233267" y="5084088"/>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35" name="Oval 113">
            <a:extLst>
              <a:ext uri="{FF2B5EF4-FFF2-40B4-BE49-F238E27FC236}">
                <a16:creationId xmlns:a16="http://schemas.microsoft.com/office/drawing/2014/main" id="{25E88950-4D19-4F76-8DA7-3A2EC3FD148F}"/>
              </a:ext>
            </a:extLst>
          </p:cNvPr>
          <p:cNvSpPr>
            <a:spLocks noChangeArrowheads="1"/>
          </p:cNvSpPr>
          <p:nvPr/>
        </p:nvSpPr>
        <p:spPr bwMode="auto">
          <a:xfrm>
            <a:off x="3999644" y="4278756"/>
            <a:ext cx="180305"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36" name="Oval 114">
            <a:extLst>
              <a:ext uri="{FF2B5EF4-FFF2-40B4-BE49-F238E27FC236}">
                <a16:creationId xmlns:a16="http://schemas.microsoft.com/office/drawing/2014/main" id="{1C12D2A3-EF47-4CA4-A39D-AF0B0458DA04}"/>
              </a:ext>
            </a:extLst>
          </p:cNvPr>
          <p:cNvSpPr>
            <a:spLocks noChangeArrowheads="1"/>
          </p:cNvSpPr>
          <p:nvPr/>
        </p:nvSpPr>
        <p:spPr bwMode="auto">
          <a:xfrm>
            <a:off x="4192585" y="2756071"/>
            <a:ext cx="182621"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37" name="Oval 115">
            <a:extLst>
              <a:ext uri="{FF2B5EF4-FFF2-40B4-BE49-F238E27FC236}">
                <a16:creationId xmlns:a16="http://schemas.microsoft.com/office/drawing/2014/main" id="{2158CC35-0426-4529-9929-9CECE00910B2}"/>
              </a:ext>
            </a:extLst>
          </p:cNvPr>
          <p:cNvSpPr>
            <a:spLocks noChangeArrowheads="1"/>
          </p:cNvSpPr>
          <p:nvPr/>
        </p:nvSpPr>
        <p:spPr bwMode="auto">
          <a:xfrm>
            <a:off x="1555197" y="2878456"/>
            <a:ext cx="180305"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38" name="Oval 116">
            <a:extLst>
              <a:ext uri="{FF2B5EF4-FFF2-40B4-BE49-F238E27FC236}">
                <a16:creationId xmlns:a16="http://schemas.microsoft.com/office/drawing/2014/main" id="{799C1E01-E6A0-4649-8791-BD96E3F20FFD}"/>
              </a:ext>
            </a:extLst>
          </p:cNvPr>
          <p:cNvSpPr>
            <a:spLocks noChangeArrowheads="1"/>
          </p:cNvSpPr>
          <p:nvPr/>
        </p:nvSpPr>
        <p:spPr bwMode="auto">
          <a:xfrm>
            <a:off x="3850466" y="2283491"/>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39" name="Oval 117">
            <a:extLst>
              <a:ext uri="{FF2B5EF4-FFF2-40B4-BE49-F238E27FC236}">
                <a16:creationId xmlns:a16="http://schemas.microsoft.com/office/drawing/2014/main" id="{2007F865-3F16-40B8-A775-B461AEA5EF45}"/>
              </a:ext>
            </a:extLst>
          </p:cNvPr>
          <p:cNvSpPr>
            <a:spLocks noChangeArrowheads="1"/>
          </p:cNvSpPr>
          <p:nvPr/>
        </p:nvSpPr>
        <p:spPr bwMode="auto">
          <a:xfrm>
            <a:off x="4490936" y="3129569"/>
            <a:ext cx="182619" cy="18310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40" name="Oval 118">
            <a:extLst>
              <a:ext uri="{FF2B5EF4-FFF2-40B4-BE49-F238E27FC236}">
                <a16:creationId xmlns:a16="http://schemas.microsoft.com/office/drawing/2014/main" id="{5FAEE626-59DB-4030-A33B-87ABA5E429AD}"/>
              </a:ext>
            </a:extLst>
          </p:cNvPr>
          <p:cNvSpPr>
            <a:spLocks noChangeArrowheads="1"/>
          </p:cNvSpPr>
          <p:nvPr/>
        </p:nvSpPr>
        <p:spPr bwMode="auto">
          <a:xfrm>
            <a:off x="3819645" y="2299185"/>
            <a:ext cx="182621"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41" name="Oval 119">
            <a:extLst>
              <a:ext uri="{FF2B5EF4-FFF2-40B4-BE49-F238E27FC236}">
                <a16:creationId xmlns:a16="http://schemas.microsoft.com/office/drawing/2014/main" id="{66DF7686-DBEE-42B0-AE31-80DE47F96D3E}"/>
              </a:ext>
            </a:extLst>
          </p:cNvPr>
          <p:cNvSpPr>
            <a:spLocks noChangeArrowheads="1"/>
          </p:cNvSpPr>
          <p:nvPr/>
        </p:nvSpPr>
        <p:spPr bwMode="auto">
          <a:xfrm>
            <a:off x="3808397" y="2409681"/>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42" name="Oval 120">
            <a:extLst>
              <a:ext uri="{FF2B5EF4-FFF2-40B4-BE49-F238E27FC236}">
                <a16:creationId xmlns:a16="http://schemas.microsoft.com/office/drawing/2014/main" id="{AF12189A-3040-4199-97E9-B45A316DD776}"/>
              </a:ext>
            </a:extLst>
          </p:cNvPr>
          <p:cNvSpPr>
            <a:spLocks noChangeArrowheads="1"/>
          </p:cNvSpPr>
          <p:nvPr/>
        </p:nvSpPr>
        <p:spPr bwMode="auto">
          <a:xfrm>
            <a:off x="2213235" y="4226440"/>
            <a:ext cx="101711" cy="104631"/>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43" name="Oval 121">
            <a:extLst>
              <a:ext uri="{FF2B5EF4-FFF2-40B4-BE49-F238E27FC236}">
                <a16:creationId xmlns:a16="http://schemas.microsoft.com/office/drawing/2014/main" id="{F22C2BAE-0A1E-426C-90BF-723975CF87FF}"/>
              </a:ext>
            </a:extLst>
          </p:cNvPr>
          <p:cNvSpPr>
            <a:spLocks noChangeArrowheads="1"/>
          </p:cNvSpPr>
          <p:nvPr/>
        </p:nvSpPr>
        <p:spPr bwMode="auto">
          <a:xfrm>
            <a:off x="6187039" y="4448224"/>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44" name="Oval 122">
            <a:extLst>
              <a:ext uri="{FF2B5EF4-FFF2-40B4-BE49-F238E27FC236}">
                <a16:creationId xmlns:a16="http://schemas.microsoft.com/office/drawing/2014/main" id="{954857FB-CD4A-43E6-9E3C-98F37C724365}"/>
              </a:ext>
            </a:extLst>
          </p:cNvPr>
          <p:cNvSpPr>
            <a:spLocks noChangeArrowheads="1"/>
          </p:cNvSpPr>
          <p:nvPr/>
        </p:nvSpPr>
        <p:spPr bwMode="auto">
          <a:xfrm>
            <a:off x="6187039" y="2979915"/>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45" name="Oval 123">
            <a:extLst>
              <a:ext uri="{FF2B5EF4-FFF2-40B4-BE49-F238E27FC236}">
                <a16:creationId xmlns:a16="http://schemas.microsoft.com/office/drawing/2014/main" id="{2CAF89FF-6A53-4529-852E-793C256F67E8}"/>
              </a:ext>
            </a:extLst>
          </p:cNvPr>
          <p:cNvSpPr>
            <a:spLocks noChangeArrowheads="1"/>
          </p:cNvSpPr>
          <p:nvPr/>
        </p:nvSpPr>
        <p:spPr bwMode="auto">
          <a:xfrm>
            <a:off x="3979610" y="2249249"/>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46" name="Oval 124">
            <a:extLst>
              <a:ext uri="{FF2B5EF4-FFF2-40B4-BE49-F238E27FC236}">
                <a16:creationId xmlns:a16="http://schemas.microsoft.com/office/drawing/2014/main" id="{18BAFFC7-250E-4116-9369-1197A87C43CB}"/>
              </a:ext>
            </a:extLst>
          </p:cNvPr>
          <p:cNvSpPr>
            <a:spLocks noChangeArrowheads="1"/>
          </p:cNvSpPr>
          <p:nvPr/>
        </p:nvSpPr>
        <p:spPr bwMode="auto">
          <a:xfrm>
            <a:off x="4234194" y="1792363"/>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47" name="Oval 125">
            <a:extLst>
              <a:ext uri="{FF2B5EF4-FFF2-40B4-BE49-F238E27FC236}">
                <a16:creationId xmlns:a16="http://schemas.microsoft.com/office/drawing/2014/main" id="{D4D3A2A9-4C21-4A71-ADAB-0219D71BABD1}"/>
              </a:ext>
            </a:extLst>
          </p:cNvPr>
          <p:cNvSpPr>
            <a:spLocks noChangeArrowheads="1"/>
          </p:cNvSpPr>
          <p:nvPr/>
        </p:nvSpPr>
        <p:spPr bwMode="auto">
          <a:xfrm>
            <a:off x="3913805" y="2325976"/>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48" name="Oval 126">
            <a:extLst>
              <a:ext uri="{FF2B5EF4-FFF2-40B4-BE49-F238E27FC236}">
                <a16:creationId xmlns:a16="http://schemas.microsoft.com/office/drawing/2014/main" id="{79A32EB1-901F-4063-9532-82AC48F77169}"/>
              </a:ext>
            </a:extLst>
          </p:cNvPr>
          <p:cNvSpPr>
            <a:spLocks noChangeArrowheads="1"/>
          </p:cNvSpPr>
          <p:nvPr/>
        </p:nvSpPr>
        <p:spPr bwMode="auto">
          <a:xfrm>
            <a:off x="3913805" y="2310283"/>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49" name="Oval 127">
            <a:extLst>
              <a:ext uri="{FF2B5EF4-FFF2-40B4-BE49-F238E27FC236}">
                <a16:creationId xmlns:a16="http://schemas.microsoft.com/office/drawing/2014/main" id="{36833204-6F98-4621-AEDF-6DB89E371800}"/>
              </a:ext>
            </a:extLst>
          </p:cNvPr>
          <p:cNvSpPr>
            <a:spLocks noChangeArrowheads="1"/>
          </p:cNvSpPr>
          <p:nvPr/>
        </p:nvSpPr>
        <p:spPr bwMode="auto">
          <a:xfrm>
            <a:off x="1162531" y="2857847"/>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50" name="Oval 128">
            <a:extLst>
              <a:ext uri="{FF2B5EF4-FFF2-40B4-BE49-F238E27FC236}">
                <a16:creationId xmlns:a16="http://schemas.microsoft.com/office/drawing/2014/main" id="{4984EF3C-DF78-4D75-8216-D853F7600D9F}"/>
              </a:ext>
            </a:extLst>
          </p:cNvPr>
          <p:cNvSpPr>
            <a:spLocks noChangeArrowheads="1"/>
          </p:cNvSpPr>
          <p:nvPr/>
        </p:nvSpPr>
        <p:spPr bwMode="auto">
          <a:xfrm>
            <a:off x="1162531" y="2857847"/>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51" name="Oval 129">
            <a:extLst>
              <a:ext uri="{FF2B5EF4-FFF2-40B4-BE49-F238E27FC236}">
                <a16:creationId xmlns:a16="http://schemas.microsoft.com/office/drawing/2014/main" id="{13A678AF-9735-4146-ABF9-CAA3663E5473}"/>
              </a:ext>
            </a:extLst>
          </p:cNvPr>
          <p:cNvSpPr>
            <a:spLocks noChangeArrowheads="1"/>
          </p:cNvSpPr>
          <p:nvPr/>
        </p:nvSpPr>
        <p:spPr bwMode="auto">
          <a:xfrm>
            <a:off x="1155751" y="2864507"/>
            <a:ext cx="99401" cy="104631"/>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52" name="Oval 130">
            <a:extLst>
              <a:ext uri="{FF2B5EF4-FFF2-40B4-BE49-F238E27FC236}">
                <a16:creationId xmlns:a16="http://schemas.microsoft.com/office/drawing/2014/main" id="{509BD491-F03E-49D6-BB3E-8B341C5937F0}"/>
              </a:ext>
            </a:extLst>
          </p:cNvPr>
          <p:cNvSpPr>
            <a:spLocks noChangeArrowheads="1"/>
          </p:cNvSpPr>
          <p:nvPr/>
        </p:nvSpPr>
        <p:spPr bwMode="auto">
          <a:xfrm>
            <a:off x="6463353" y="2887176"/>
            <a:ext cx="99401" cy="104631"/>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53" name="Oval 131">
            <a:extLst>
              <a:ext uri="{FF2B5EF4-FFF2-40B4-BE49-F238E27FC236}">
                <a16:creationId xmlns:a16="http://schemas.microsoft.com/office/drawing/2014/main" id="{B39B46E3-12BC-4770-B6D7-1ED7470C2256}"/>
              </a:ext>
            </a:extLst>
          </p:cNvPr>
          <p:cNvSpPr>
            <a:spLocks noChangeArrowheads="1"/>
          </p:cNvSpPr>
          <p:nvPr/>
        </p:nvSpPr>
        <p:spPr bwMode="auto">
          <a:xfrm>
            <a:off x="6634565" y="2896212"/>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54" name="Oval 132">
            <a:extLst>
              <a:ext uri="{FF2B5EF4-FFF2-40B4-BE49-F238E27FC236}">
                <a16:creationId xmlns:a16="http://schemas.microsoft.com/office/drawing/2014/main" id="{B7563F29-2167-42C4-9B7E-2C9C166C9D5F}"/>
              </a:ext>
            </a:extLst>
          </p:cNvPr>
          <p:cNvSpPr>
            <a:spLocks noChangeArrowheads="1"/>
          </p:cNvSpPr>
          <p:nvPr/>
        </p:nvSpPr>
        <p:spPr bwMode="auto">
          <a:xfrm>
            <a:off x="3979610" y="2242273"/>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55" name="Oval 133">
            <a:extLst>
              <a:ext uri="{FF2B5EF4-FFF2-40B4-BE49-F238E27FC236}">
                <a16:creationId xmlns:a16="http://schemas.microsoft.com/office/drawing/2014/main" id="{EBDFFD06-3403-4D03-BC1B-621B14EDFE6F}"/>
              </a:ext>
            </a:extLst>
          </p:cNvPr>
          <p:cNvSpPr>
            <a:spLocks noChangeArrowheads="1"/>
          </p:cNvSpPr>
          <p:nvPr/>
        </p:nvSpPr>
        <p:spPr bwMode="auto">
          <a:xfrm>
            <a:off x="3518830" y="2400962"/>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56" name="Oval 134">
            <a:extLst>
              <a:ext uri="{FF2B5EF4-FFF2-40B4-BE49-F238E27FC236}">
                <a16:creationId xmlns:a16="http://schemas.microsoft.com/office/drawing/2014/main" id="{A0296910-4B6B-438A-9002-31627762747B}"/>
              </a:ext>
            </a:extLst>
          </p:cNvPr>
          <p:cNvSpPr>
            <a:spLocks noChangeArrowheads="1"/>
          </p:cNvSpPr>
          <p:nvPr/>
        </p:nvSpPr>
        <p:spPr bwMode="auto">
          <a:xfrm>
            <a:off x="4247448" y="2896212"/>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57" name="Oval 135">
            <a:extLst>
              <a:ext uri="{FF2B5EF4-FFF2-40B4-BE49-F238E27FC236}">
                <a16:creationId xmlns:a16="http://schemas.microsoft.com/office/drawing/2014/main" id="{9EC2F807-A911-4A73-8B3B-9AB04B7A429A}"/>
              </a:ext>
            </a:extLst>
          </p:cNvPr>
          <p:cNvSpPr>
            <a:spLocks noChangeArrowheads="1"/>
          </p:cNvSpPr>
          <p:nvPr/>
        </p:nvSpPr>
        <p:spPr bwMode="auto">
          <a:xfrm>
            <a:off x="4047725" y="2455021"/>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58" name="Oval 136">
            <a:extLst>
              <a:ext uri="{FF2B5EF4-FFF2-40B4-BE49-F238E27FC236}">
                <a16:creationId xmlns:a16="http://schemas.microsoft.com/office/drawing/2014/main" id="{96390F73-1392-4CE9-8668-4CF52AB97952}"/>
              </a:ext>
            </a:extLst>
          </p:cNvPr>
          <p:cNvSpPr>
            <a:spLocks noChangeArrowheads="1"/>
          </p:cNvSpPr>
          <p:nvPr/>
        </p:nvSpPr>
        <p:spPr bwMode="auto">
          <a:xfrm>
            <a:off x="6417276" y="2842152"/>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59" name="Oval 137">
            <a:extLst>
              <a:ext uri="{FF2B5EF4-FFF2-40B4-BE49-F238E27FC236}">
                <a16:creationId xmlns:a16="http://schemas.microsoft.com/office/drawing/2014/main" id="{42C8559E-1A34-4AF2-86BB-95BE1BBD85B6}"/>
              </a:ext>
            </a:extLst>
          </p:cNvPr>
          <p:cNvSpPr>
            <a:spLocks noChangeArrowheads="1"/>
          </p:cNvSpPr>
          <p:nvPr/>
        </p:nvSpPr>
        <p:spPr bwMode="auto">
          <a:xfrm>
            <a:off x="3898549" y="2256224"/>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60" name="Oval 138">
            <a:extLst>
              <a:ext uri="{FF2B5EF4-FFF2-40B4-BE49-F238E27FC236}">
                <a16:creationId xmlns:a16="http://schemas.microsoft.com/office/drawing/2014/main" id="{6FDACD29-355C-4D1A-9D1D-80AC62DA3E3D}"/>
              </a:ext>
            </a:extLst>
          </p:cNvPr>
          <p:cNvSpPr>
            <a:spLocks noChangeArrowheads="1"/>
          </p:cNvSpPr>
          <p:nvPr/>
        </p:nvSpPr>
        <p:spPr bwMode="auto">
          <a:xfrm>
            <a:off x="4122312" y="2181238"/>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61" name="Oval 139">
            <a:extLst>
              <a:ext uri="{FF2B5EF4-FFF2-40B4-BE49-F238E27FC236}">
                <a16:creationId xmlns:a16="http://schemas.microsoft.com/office/drawing/2014/main" id="{458D8DEA-1524-4FF0-86C4-A897D4C13E78}"/>
              </a:ext>
            </a:extLst>
          </p:cNvPr>
          <p:cNvSpPr>
            <a:spLocks noChangeArrowheads="1"/>
          </p:cNvSpPr>
          <p:nvPr/>
        </p:nvSpPr>
        <p:spPr bwMode="auto">
          <a:xfrm>
            <a:off x="4240668" y="2059171"/>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62" name="Oval 140">
            <a:extLst>
              <a:ext uri="{FF2B5EF4-FFF2-40B4-BE49-F238E27FC236}">
                <a16:creationId xmlns:a16="http://schemas.microsoft.com/office/drawing/2014/main" id="{6BA8EE5B-3AF2-4803-85F8-85EE29FDA8F4}"/>
              </a:ext>
            </a:extLst>
          </p:cNvPr>
          <p:cNvSpPr>
            <a:spLocks noChangeArrowheads="1"/>
          </p:cNvSpPr>
          <p:nvPr/>
        </p:nvSpPr>
        <p:spPr bwMode="auto">
          <a:xfrm>
            <a:off x="3815178" y="2660793"/>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63" name="Oval 141">
            <a:extLst>
              <a:ext uri="{FF2B5EF4-FFF2-40B4-BE49-F238E27FC236}">
                <a16:creationId xmlns:a16="http://schemas.microsoft.com/office/drawing/2014/main" id="{28FB23F0-9FA5-4F03-BB30-88FBF249570C}"/>
              </a:ext>
            </a:extLst>
          </p:cNvPr>
          <p:cNvSpPr>
            <a:spLocks noChangeArrowheads="1"/>
          </p:cNvSpPr>
          <p:nvPr/>
        </p:nvSpPr>
        <p:spPr bwMode="auto">
          <a:xfrm>
            <a:off x="3823962" y="2660793"/>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64" name="Oval 142">
            <a:extLst>
              <a:ext uri="{FF2B5EF4-FFF2-40B4-BE49-F238E27FC236}">
                <a16:creationId xmlns:a16="http://schemas.microsoft.com/office/drawing/2014/main" id="{29F93A2B-938F-4A21-B9B0-206BE9BBB4B2}"/>
              </a:ext>
            </a:extLst>
          </p:cNvPr>
          <p:cNvSpPr>
            <a:spLocks noChangeArrowheads="1"/>
          </p:cNvSpPr>
          <p:nvPr/>
        </p:nvSpPr>
        <p:spPr bwMode="auto">
          <a:xfrm>
            <a:off x="3830435" y="2416655"/>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65" name="Oval 143">
            <a:extLst>
              <a:ext uri="{FF2B5EF4-FFF2-40B4-BE49-F238E27FC236}">
                <a16:creationId xmlns:a16="http://schemas.microsoft.com/office/drawing/2014/main" id="{07D40BC0-3906-4033-AC8D-550FAC84000C}"/>
              </a:ext>
            </a:extLst>
          </p:cNvPr>
          <p:cNvSpPr>
            <a:spLocks noChangeArrowheads="1"/>
          </p:cNvSpPr>
          <p:nvPr/>
        </p:nvSpPr>
        <p:spPr bwMode="auto">
          <a:xfrm>
            <a:off x="3801923" y="2393987"/>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66" name="Oval 144">
            <a:extLst>
              <a:ext uri="{FF2B5EF4-FFF2-40B4-BE49-F238E27FC236}">
                <a16:creationId xmlns:a16="http://schemas.microsoft.com/office/drawing/2014/main" id="{F94E4092-8B6A-44BF-AF46-489D8A87A910}"/>
              </a:ext>
            </a:extLst>
          </p:cNvPr>
          <p:cNvSpPr>
            <a:spLocks noChangeArrowheads="1"/>
          </p:cNvSpPr>
          <p:nvPr/>
        </p:nvSpPr>
        <p:spPr bwMode="auto">
          <a:xfrm>
            <a:off x="6127708" y="3176968"/>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67" name="Oval 145">
            <a:extLst>
              <a:ext uri="{FF2B5EF4-FFF2-40B4-BE49-F238E27FC236}">
                <a16:creationId xmlns:a16="http://schemas.microsoft.com/office/drawing/2014/main" id="{90931B0F-FA4A-4111-AD21-34F142D84CDB}"/>
              </a:ext>
            </a:extLst>
          </p:cNvPr>
          <p:cNvSpPr>
            <a:spLocks noChangeArrowheads="1"/>
          </p:cNvSpPr>
          <p:nvPr/>
        </p:nvSpPr>
        <p:spPr bwMode="auto">
          <a:xfrm>
            <a:off x="5991785" y="3108959"/>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68" name="Oval 146">
            <a:extLst>
              <a:ext uri="{FF2B5EF4-FFF2-40B4-BE49-F238E27FC236}">
                <a16:creationId xmlns:a16="http://schemas.microsoft.com/office/drawing/2014/main" id="{9C57FB14-3F46-42EA-9C25-B3D9A0334BDE}"/>
              </a:ext>
            </a:extLst>
          </p:cNvPr>
          <p:cNvSpPr>
            <a:spLocks noChangeArrowheads="1"/>
          </p:cNvSpPr>
          <p:nvPr/>
        </p:nvSpPr>
        <p:spPr bwMode="auto">
          <a:xfrm>
            <a:off x="3927059" y="2325976"/>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69" name="Oval 147">
            <a:extLst>
              <a:ext uri="{FF2B5EF4-FFF2-40B4-BE49-F238E27FC236}">
                <a16:creationId xmlns:a16="http://schemas.microsoft.com/office/drawing/2014/main" id="{F963EEF7-7272-4CBB-B177-2F2596E6E4F4}"/>
              </a:ext>
            </a:extLst>
          </p:cNvPr>
          <p:cNvSpPr>
            <a:spLocks noChangeArrowheads="1"/>
          </p:cNvSpPr>
          <p:nvPr/>
        </p:nvSpPr>
        <p:spPr bwMode="auto">
          <a:xfrm>
            <a:off x="3927059" y="2325976"/>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70" name="Oval 148">
            <a:extLst>
              <a:ext uri="{FF2B5EF4-FFF2-40B4-BE49-F238E27FC236}">
                <a16:creationId xmlns:a16="http://schemas.microsoft.com/office/drawing/2014/main" id="{9C654743-4BB4-4AA7-A439-926CE6BDD57F}"/>
              </a:ext>
            </a:extLst>
          </p:cNvPr>
          <p:cNvSpPr>
            <a:spLocks noChangeArrowheads="1"/>
          </p:cNvSpPr>
          <p:nvPr/>
        </p:nvSpPr>
        <p:spPr bwMode="auto">
          <a:xfrm>
            <a:off x="3927059" y="2325976"/>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71" name="Oval 149">
            <a:extLst>
              <a:ext uri="{FF2B5EF4-FFF2-40B4-BE49-F238E27FC236}">
                <a16:creationId xmlns:a16="http://schemas.microsoft.com/office/drawing/2014/main" id="{08937F3A-3867-45E4-A2BA-8000B8E5CA39}"/>
              </a:ext>
            </a:extLst>
          </p:cNvPr>
          <p:cNvSpPr>
            <a:spLocks noChangeArrowheads="1"/>
          </p:cNvSpPr>
          <p:nvPr/>
        </p:nvSpPr>
        <p:spPr bwMode="auto">
          <a:xfrm>
            <a:off x="3882983" y="2301247"/>
            <a:ext cx="101711" cy="104631"/>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72" name="Oval 150">
            <a:extLst>
              <a:ext uri="{FF2B5EF4-FFF2-40B4-BE49-F238E27FC236}">
                <a16:creationId xmlns:a16="http://schemas.microsoft.com/office/drawing/2014/main" id="{39D09934-7DDB-4A40-8A0A-C4CF16C142E0}"/>
              </a:ext>
            </a:extLst>
          </p:cNvPr>
          <p:cNvSpPr>
            <a:spLocks noChangeArrowheads="1"/>
          </p:cNvSpPr>
          <p:nvPr/>
        </p:nvSpPr>
        <p:spPr bwMode="auto">
          <a:xfrm>
            <a:off x="6230806" y="2622429"/>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73" name="Oval 151">
            <a:extLst>
              <a:ext uri="{FF2B5EF4-FFF2-40B4-BE49-F238E27FC236}">
                <a16:creationId xmlns:a16="http://schemas.microsoft.com/office/drawing/2014/main" id="{5DABF819-A23A-45AC-9C71-781250ABDD7C}"/>
              </a:ext>
            </a:extLst>
          </p:cNvPr>
          <p:cNvSpPr>
            <a:spLocks noChangeArrowheads="1"/>
          </p:cNvSpPr>
          <p:nvPr/>
        </p:nvSpPr>
        <p:spPr bwMode="auto">
          <a:xfrm>
            <a:off x="6417276" y="2835177"/>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74" name="Oval 152">
            <a:extLst>
              <a:ext uri="{FF2B5EF4-FFF2-40B4-BE49-F238E27FC236}">
                <a16:creationId xmlns:a16="http://schemas.microsoft.com/office/drawing/2014/main" id="{869DAF8C-DD2B-4529-A9AC-DD3D67C65912}"/>
              </a:ext>
            </a:extLst>
          </p:cNvPr>
          <p:cNvSpPr>
            <a:spLocks noChangeArrowheads="1"/>
          </p:cNvSpPr>
          <p:nvPr/>
        </p:nvSpPr>
        <p:spPr bwMode="auto">
          <a:xfrm>
            <a:off x="6417276" y="2835177"/>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75" name="Oval 153">
            <a:extLst>
              <a:ext uri="{FF2B5EF4-FFF2-40B4-BE49-F238E27FC236}">
                <a16:creationId xmlns:a16="http://schemas.microsoft.com/office/drawing/2014/main" id="{C347AF6E-6242-4C35-8A65-30210C306480}"/>
              </a:ext>
            </a:extLst>
          </p:cNvPr>
          <p:cNvSpPr>
            <a:spLocks noChangeArrowheads="1"/>
          </p:cNvSpPr>
          <p:nvPr/>
        </p:nvSpPr>
        <p:spPr bwMode="auto">
          <a:xfrm>
            <a:off x="6700370" y="2873540"/>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76" name="Oval 154">
            <a:extLst>
              <a:ext uri="{FF2B5EF4-FFF2-40B4-BE49-F238E27FC236}">
                <a16:creationId xmlns:a16="http://schemas.microsoft.com/office/drawing/2014/main" id="{7149DC61-0E92-438D-8420-EB39F163031E}"/>
              </a:ext>
            </a:extLst>
          </p:cNvPr>
          <p:cNvSpPr>
            <a:spLocks noChangeArrowheads="1"/>
          </p:cNvSpPr>
          <p:nvPr/>
        </p:nvSpPr>
        <p:spPr bwMode="auto">
          <a:xfrm>
            <a:off x="6693897" y="2850872"/>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77" name="Oval 155">
            <a:extLst>
              <a:ext uri="{FF2B5EF4-FFF2-40B4-BE49-F238E27FC236}">
                <a16:creationId xmlns:a16="http://schemas.microsoft.com/office/drawing/2014/main" id="{71D774FD-3717-40F4-90AD-5F057689F691}"/>
              </a:ext>
            </a:extLst>
          </p:cNvPr>
          <p:cNvSpPr>
            <a:spLocks noChangeArrowheads="1"/>
          </p:cNvSpPr>
          <p:nvPr/>
        </p:nvSpPr>
        <p:spPr bwMode="auto">
          <a:xfrm>
            <a:off x="6671860" y="2864507"/>
            <a:ext cx="99401" cy="104631"/>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78" name="Oval 156">
            <a:extLst>
              <a:ext uri="{FF2B5EF4-FFF2-40B4-BE49-F238E27FC236}">
                <a16:creationId xmlns:a16="http://schemas.microsoft.com/office/drawing/2014/main" id="{82FDA6F1-997A-4E8E-AB3E-41B606DFFD6A}"/>
              </a:ext>
            </a:extLst>
          </p:cNvPr>
          <p:cNvSpPr>
            <a:spLocks noChangeArrowheads="1"/>
          </p:cNvSpPr>
          <p:nvPr/>
        </p:nvSpPr>
        <p:spPr bwMode="auto">
          <a:xfrm>
            <a:off x="6693897" y="2873540"/>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79" name="Oval 157">
            <a:extLst>
              <a:ext uri="{FF2B5EF4-FFF2-40B4-BE49-F238E27FC236}">
                <a16:creationId xmlns:a16="http://schemas.microsoft.com/office/drawing/2014/main" id="{74B5EAF8-09EC-49E6-8567-A063AB219D05}"/>
              </a:ext>
            </a:extLst>
          </p:cNvPr>
          <p:cNvSpPr>
            <a:spLocks noChangeArrowheads="1"/>
          </p:cNvSpPr>
          <p:nvPr/>
        </p:nvSpPr>
        <p:spPr bwMode="auto">
          <a:xfrm>
            <a:off x="6693897" y="2873540"/>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80" name="Oval 158">
            <a:extLst>
              <a:ext uri="{FF2B5EF4-FFF2-40B4-BE49-F238E27FC236}">
                <a16:creationId xmlns:a16="http://schemas.microsoft.com/office/drawing/2014/main" id="{6F4F9F29-1EDD-4B5E-B1A4-4CEEAFA2FF50}"/>
              </a:ext>
            </a:extLst>
          </p:cNvPr>
          <p:cNvSpPr>
            <a:spLocks noChangeArrowheads="1"/>
          </p:cNvSpPr>
          <p:nvPr/>
        </p:nvSpPr>
        <p:spPr bwMode="auto">
          <a:xfrm>
            <a:off x="6693897" y="2873540"/>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81" name="Oval 159">
            <a:extLst>
              <a:ext uri="{FF2B5EF4-FFF2-40B4-BE49-F238E27FC236}">
                <a16:creationId xmlns:a16="http://schemas.microsoft.com/office/drawing/2014/main" id="{74BD476E-B366-4E05-A4CA-611A53BC100E}"/>
              </a:ext>
            </a:extLst>
          </p:cNvPr>
          <p:cNvSpPr>
            <a:spLocks noChangeArrowheads="1"/>
          </p:cNvSpPr>
          <p:nvPr/>
        </p:nvSpPr>
        <p:spPr bwMode="auto">
          <a:xfrm>
            <a:off x="6693897" y="2873540"/>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82" name="Oval 160">
            <a:extLst>
              <a:ext uri="{FF2B5EF4-FFF2-40B4-BE49-F238E27FC236}">
                <a16:creationId xmlns:a16="http://schemas.microsoft.com/office/drawing/2014/main" id="{575A6E3D-B2AE-48C5-98B4-5BA7B37A6E40}"/>
              </a:ext>
            </a:extLst>
          </p:cNvPr>
          <p:cNvSpPr>
            <a:spLocks noChangeArrowheads="1"/>
          </p:cNvSpPr>
          <p:nvPr/>
        </p:nvSpPr>
        <p:spPr bwMode="auto">
          <a:xfrm>
            <a:off x="6619309" y="2918881"/>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83" name="Oval 161">
            <a:extLst>
              <a:ext uri="{FF2B5EF4-FFF2-40B4-BE49-F238E27FC236}">
                <a16:creationId xmlns:a16="http://schemas.microsoft.com/office/drawing/2014/main" id="{579B6B0E-F421-48E4-90A7-3917D39243AC}"/>
              </a:ext>
            </a:extLst>
          </p:cNvPr>
          <p:cNvSpPr>
            <a:spLocks noChangeArrowheads="1"/>
          </p:cNvSpPr>
          <p:nvPr/>
        </p:nvSpPr>
        <p:spPr bwMode="auto">
          <a:xfrm>
            <a:off x="1684647" y="3031914"/>
            <a:ext cx="99401" cy="104631"/>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84" name="Oval 162">
            <a:extLst>
              <a:ext uri="{FF2B5EF4-FFF2-40B4-BE49-F238E27FC236}">
                <a16:creationId xmlns:a16="http://schemas.microsoft.com/office/drawing/2014/main" id="{87DF365F-A94A-416B-8AD7-B4EE4ECEFAC5}"/>
              </a:ext>
            </a:extLst>
          </p:cNvPr>
          <p:cNvSpPr>
            <a:spLocks noChangeArrowheads="1"/>
          </p:cNvSpPr>
          <p:nvPr/>
        </p:nvSpPr>
        <p:spPr bwMode="auto">
          <a:xfrm>
            <a:off x="1684647" y="3031914"/>
            <a:ext cx="99401" cy="104631"/>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85" name="Oval 163">
            <a:extLst>
              <a:ext uri="{FF2B5EF4-FFF2-40B4-BE49-F238E27FC236}">
                <a16:creationId xmlns:a16="http://schemas.microsoft.com/office/drawing/2014/main" id="{DD80CC1B-B454-4D21-B166-768CB5D6FEE1}"/>
              </a:ext>
            </a:extLst>
          </p:cNvPr>
          <p:cNvSpPr>
            <a:spLocks noChangeArrowheads="1"/>
          </p:cNvSpPr>
          <p:nvPr/>
        </p:nvSpPr>
        <p:spPr bwMode="auto">
          <a:xfrm>
            <a:off x="1191042" y="2925856"/>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86" name="Oval 164">
            <a:extLst>
              <a:ext uri="{FF2B5EF4-FFF2-40B4-BE49-F238E27FC236}">
                <a16:creationId xmlns:a16="http://schemas.microsoft.com/office/drawing/2014/main" id="{22EB2210-E4D7-47AC-8CAB-B16CF5C40198}"/>
              </a:ext>
            </a:extLst>
          </p:cNvPr>
          <p:cNvSpPr>
            <a:spLocks noChangeArrowheads="1"/>
          </p:cNvSpPr>
          <p:nvPr/>
        </p:nvSpPr>
        <p:spPr bwMode="auto">
          <a:xfrm>
            <a:off x="3823962" y="2591040"/>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87" name="Oval 165">
            <a:extLst>
              <a:ext uri="{FF2B5EF4-FFF2-40B4-BE49-F238E27FC236}">
                <a16:creationId xmlns:a16="http://schemas.microsoft.com/office/drawing/2014/main" id="{D4B0AF7A-5BEC-49EE-8500-3307BF3515C0}"/>
              </a:ext>
            </a:extLst>
          </p:cNvPr>
          <p:cNvSpPr>
            <a:spLocks noChangeArrowheads="1"/>
          </p:cNvSpPr>
          <p:nvPr/>
        </p:nvSpPr>
        <p:spPr bwMode="auto">
          <a:xfrm>
            <a:off x="2020292" y="2645100"/>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88" name="Oval 166">
            <a:extLst>
              <a:ext uri="{FF2B5EF4-FFF2-40B4-BE49-F238E27FC236}">
                <a16:creationId xmlns:a16="http://schemas.microsoft.com/office/drawing/2014/main" id="{BFDAE02D-9F01-417F-9DEE-E7CE7D4DB2BC}"/>
              </a:ext>
            </a:extLst>
          </p:cNvPr>
          <p:cNvSpPr>
            <a:spLocks noChangeArrowheads="1"/>
          </p:cNvSpPr>
          <p:nvPr/>
        </p:nvSpPr>
        <p:spPr bwMode="auto">
          <a:xfrm>
            <a:off x="3808397" y="2697099"/>
            <a:ext cx="101711" cy="104631"/>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89" name="Oval 167">
            <a:extLst>
              <a:ext uri="{FF2B5EF4-FFF2-40B4-BE49-F238E27FC236}">
                <a16:creationId xmlns:a16="http://schemas.microsoft.com/office/drawing/2014/main" id="{1B0C1991-313B-40C2-AA24-48C325513735}"/>
              </a:ext>
            </a:extLst>
          </p:cNvPr>
          <p:cNvSpPr>
            <a:spLocks noChangeArrowheads="1"/>
          </p:cNvSpPr>
          <p:nvPr/>
        </p:nvSpPr>
        <p:spPr bwMode="auto">
          <a:xfrm>
            <a:off x="1691120" y="2561395"/>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90" name="Oval 168">
            <a:extLst>
              <a:ext uri="{FF2B5EF4-FFF2-40B4-BE49-F238E27FC236}">
                <a16:creationId xmlns:a16="http://schemas.microsoft.com/office/drawing/2014/main" id="{FB6805E6-AAC1-49A3-B5B5-09BE364299DA}"/>
              </a:ext>
            </a:extLst>
          </p:cNvPr>
          <p:cNvSpPr>
            <a:spLocks noChangeArrowheads="1"/>
          </p:cNvSpPr>
          <p:nvPr/>
        </p:nvSpPr>
        <p:spPr bwMode="auto">
          <a:xfrm>
            <a:off x="2518366" y="4524953"/>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91" name="Oval 169">
            <a:extLst>
              <a:ext uri="{FF2B5EF4-FFF2-40B4-BE49-F238E27FC236}">
                <a16:creationId xmlns:a16="http://schemas.microsoft.com/office/drawing/2014/main" id="{3C3195CF-A1BF-4A8B-BEAE-03230F28B5E7}"/>
              </a:ext>
            </a:extLst>
          </p:cNvPr>
          <p:cNvSpPr>
            <a:spLocks noChangeArrowheads="1"/>
          </p:cNvSpPr>
          <p:nvPr/>
        </p:nvSpPr>
        <p:spPr bwMode="auto">
          <a:xfrm>
            <a:off x="1996253" y="2728804"/>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92" name="Oval 170">
            <a:extLst>
              <a:ext uri="{FF2B5EF4-FFF2-40B4-BE49-F238E27FC236}">
                <a16:creationId xmlns:a16="http://schemas.microsoft.com/office/drawing/2014/main" id="{F77F6CF9-37CD-45FB-B940-2560B58A52F2}"/>
              </a:ext>
            </a:extLst>
          </p:cNvPr>
          <p:cNvSpPr>
            <a:spLocks noChangeArrowheads="1"/>
          </p:cNvSpPr>
          <p:nvPr/>
        </p:nvSpPr>
        <p:spPr bwMode="auto">
          <a:xfrm>
            <a:off x="3845690" y="2371316"/>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93" name="Oval 171">
            <a:extLst>
              <a:ext uri="{FF2B5EF4-FFF2-40B4-BE49-F238E27FC236}">
                <a16:creationId xmlns:a16="http://schemas.microsoft.com/office/drawing/2014/main" id="{3FB32119-1D28-4B3B-9023-ED131FC83317}"/>
              </a:ext>
            </a:extLst>
          </p:cNvPr>
          <p:cNvSpPr>
            <a:spLocks noChangeArrowheads="1"/>
          </p:cNvSpPr>
          <p:nvPr/>
        </p:nvSpPr>
        <p:spPr bwMode="auto">
          <a:xfrm>
            <a:off x="3808397" y="2371316"/>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94" name="Oval 172">
            <a:extLst>
              <a:ext uri="{FF2B5EF4-FFF2-40B4-BE49-F238E27FC236}">
                <a16:creationId xmlns:a16="http://schemas.microsoft.com/office/drawing/2014/main" id="{6A000239-415B-4D8F-B21B-FBA13E0D358D}"/>
              </a:ext>
            </a:extLst>
          </p:cNvPr>
          <p:cNvSpPr>
            <a:spLocks noChangeArrowheads="1"/>
          </p:cNvSpPr>
          <p:nvPr/>
        </p:nvSpPr>
        <p:spPr bwMode="auto">
          <a:xfrm>
            <a:off x="3845690" y="2409681"/>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95" name="Oval 173">
            <a:extLst>
              <a:ext uri="{FF2B5EF4-FFF2-40B4-BE49-F238E27FC236}">
                <a16:creationId xmlns:a16="http://schemas.microsoft.com/office/drawing/2014/main" id="{F839952D-908B-4775-A524-6EEC67D21EAB}"/>
              </a:ext>
            </a:extLst>
          </p:cNvPr>
          <p:cNvSpPr>
            <a:spLocks noChangeArrowheads="1"/>
          </p:cNvSpPr>
          <p:nvPr/>
        </p:nvSpPr>
        <p:spPr bwMode="auto">
          <a:xfrm>
            <a:off x="6939390" y="4502283"/>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96" name="Oval 174">
            <a:extLst>
              <a:ext uri="{FF2B5EF4-FFF2-40B4-BE49-F238E27FC236}">
                <a16:creationId xmlns:a16="http://schemas.microsoft.com/office/drawing/2014/main" id="{E22C195C-382E-4804-AF10-6B32EFBB3D96}"/>
              </a:ext>
            </a:extLst>
          </p:cNvPr>
          <p:cNvSpPr>
            <a:spLocks noChangeArrowheads="1"/>
          </p:cNvSpPr>
          <p:nvPr/>
        </p:nvSpPr>
        <p:spPr bwMode="auto">
          <a:xfrm>
            <a:off x="2057585" y="2880517"/>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97" name="Oval 175">
            <a:extLst>
              <a:ext uri="{FF2B5EF4-FFF2-40B4-BE49-F238E27FC236}">
                <a16:creationId xmlns:a16="http://schemas.microsoft.com/office/drawing/2014/main" id="{8CA7EDBD-CED9-4E69-918B-E34CB61E66A7}"/>
              </a:ext>
            </a:extLst>
          </p:cNvPr>
          <p:cNvSpPr>
            <a:spLocks noChangeArrowheads="1"/>
          </p:cNvSpPr>
          <p:nvPr/>
        </p:nvSpPr>
        <p:spPr bwMode="auto">
          <a:xfrm>
            <a:off x="3703295" y="2294588"/>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98" name="Oval 176">
            <a:extLst>
              <a:ext uri="{FF2B5EF4-FFF2-40B4-BE49-F238E27FC236}">
                <a16:creationId xmlns:a16="http://schemas.microsoft.com/office/drawing/2014/main" id="{6293925C-1EC6-4EF6-93DA-1C8EC8AC01AB}"/>
              </a:ext>
            </a:extLst>
          </p:cNvPr>
          <p:cNvSpPr>
            <a:spLocks noChangeArrowheads="1"/>
          </p:cNvSpPr>
          <p:nvPr/>
        </p:nvSpPr>
        <p:spPr bwMode="auto">
          <a:xfrm>
            <a:off x="4001648" y="2362281"/>
            <a:ext cx="101711" cy="104631"/>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99" name="Oval 177">
            <a:extLst>
              <a:ext uri="{FF2B5EF4-FFF2-40B4-BE49-F238E27FC236}">
                <a16:creationId xmlns:a16="http://schemas.microsoft.com/office/drawing/2014/main" id="{F6B2F45E-25D5-4E84-9FE3-62F39FF09EC2}"/>
              </a:ext>
            </a:extLst>
          </p:cNvPr>
          <p:cNvSpPr>
            <a:spLocks noChangeArrowheads="1"/>
          </p:cNvSpPr>
          <p:nvPr/>
        </p:nvSpPr>
        <p:spPr bwMode="auto">
          <a:xfrm>
            <a:off x="2132175" y="2667768"/>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00" name="Oval 178">
            <a:extLst>
              <a:ext uri="{FF2B5EF4-FFF2-40B4-BE49-F238E27FC236}">
                <a16:creationId xmlns:a16="http://schemas.microsoft.com/office/drawing/2014/main" id="{9D25FC63-42CC-437C-AB70-0C2F6CD2EEFC}"/>
              </a:ext>
            </a:extLst>
          </p:cNvPr>
          <p:cNvSpPr>
            <a:spLocks noChangeArrowheads="1"/>
          </p:cNvSpPr>
          <p:nvPr/>
        </p:nvSpPr>
        <p:spPr bwMode="auto">
          <a:xfrm>
            <a:off x="3876510" y="2400962"/>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01" name="Oval 179">
            <a:extLst>
              <a:ext uri="{FF2B5EF4-FFF2-40B4-BE49-F238E27FC236}">
                <a16:creationId xmlns:a16="http://schemas.microsoft.com/office/drawing/2014/main" id="{E4DFA34B-8813-4E6B-99D1-2F87C06C447D}"/>
              </a:ext>
            </a:extLst>
          </p:cNvPr>
          <p:cNvSpPr>
            <a:spLocks noChangeArrowheads="1"/>
          </p:cNvSpPr>
          <p:nvPr/>
        </p:nvSpPr>
        <p:spPr bwMode="auto">
          <a:xfrm>
            <a:off x="3801923" y="2194873"/>
            <a:ext cx="99401" cy="104631"/>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02" name="Oval 180">
            <a:extLst>
              <a:ext uri="{FF2B5EF4-FFF2-40B4-BE49-F238E27FC236}">
                <a16:creationId xmlns:a16="http://schemas.microsoft.com/office/drawing/2014/main" id="{F754BF21-D0F2-44B8-86CE-754D9B0C6541}"/>
              </a:ext>
            </a:extLst>
          </p:cNvPr>
          <p:cNvSpPr>
            <a:spLocks noChangeArrowheads="1"/>
          </p:cNvSpPr>
          <p:nvPr/>
        </p:nvSpPr>
        <p:spPr bwMode="auto">
          <a:xfrm>
            <a:off x="3808397" y="2384951"/>
            <a:ext cx="101711" cy="104631"/>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03" name="Oval 181">
            <a:extLst>
              <a:ext uri="{FF2B5EF4-FFF2-40B4-BE49-F238E27FC236}">
                <a16:creationId xmlns:a16="http://schemas.microsoft.com/office/drawing/2014/main" id="{884390C2-A784-4ACB-9A5D-A9B5EA421E5E}"/>
              </a:ext>
            </a:extLst>
          </p:cNvPr>
          <p:cNvSpPr>
            <a:spLocks noChangeArrowheads="1"/>
          </p:cNvSpPr>
          <p:nvPr/>
        </p:nvSpPr>
        <p:spPr bwMode="auto">
          <a:xfrm>
            <a:off x="6454569" y="2828201"/>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04" name="Oval 182">
            <a:extLst>
              <a:ext uri="{FF2B5EF4-FFF2-40B4-BE49-F238E27FC236}">
                <a16:creationId xmlns:a16="http://schemas.microsoft.com/office/drawing/2014/main" id="{F0A9B417-DADA-44C9-A79C-2009F5E47382}"/>
              </a:ext>
            </a:extLst>
          </p:cNvPr>
          <p:cNvSpPr>
            <a:spLocks noChangeArrowheads="1"/>
          </p:cNvSpPr>
          <p:nvPr/>
        </p:nvSpPr>
        <p:spPr bwMode="auto">
          <a:xfrm>
            <a:off x="3808397" y="2378291"/>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05" name="Oval 183">
            <a:extLst>
              <a:ext uri="{FF2B5EF4-FFF2-40B4-BE49-F238E27FC236}">
                <a16:creationId xmlns:a16="http://schemas.microsoft.com/office/drawing/2014/main" id="{453D54BD-540F-4342-81ED-31BFD2596D5A}"/>
              </a:ext>
            </a:extLst>
          </p:cNvPr>
          <p:cNvSpPr>
            <a:spLocks noChangeArrowheads="1"/>
          </p:cNvSpPr>
          <p:nvPr/>
        </p:nvSpPr>
        <p:spPr bwMode="auto">
          <a:xfrm>
            <a:off x="3808397" y="2384951"/>
            <a:ext cx="101711" cy="104631"/>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06" name="Oval 184">
            <a:extLst>
              <a:ext uri="{FF2B5EF4-FFF2-40B4-BE49-F238E27FC236}">
                <a16:creationId xmlns:a16="http://schemas.microsoft.com/office/drawing/2014/main" id="{60F11D4F-6680-477F-A9A6-91AA4ABEE2C3}"/>
              </a:ext>
            </a:extLst>
          </p:cNvPr>
          <p:cNvSpPr>
            <a:spLocks noChangeArrowheads="1"/>
          </p:cNvSpPr>
          <p:nvPr/>
        </p:nvSpPr>
        <p:spPr bwMode="auto">
          <a:xfrm>
            <a:off x="3815178" y="2384951"/>
            <a:ext cx="101711" cy="104631"/>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07" name="Oval 185">
            <a:extLst>
              <a:ext uri="{FF2B5EF4-FFF2-40B4-BE49-F238E27FC236}">
                <a16:creationId xmlns:a16="http://schemas.microsoft.com/office/drawing/2014/main" id="{2C98A649-34CF-4175-9153-C75AAEEF7978}"/>
              </a:ext>
            </a:extLst>
          </p:cNvPr>
          <p:cNvSpPr>
            <a:spLocks noChangeArrowheads="1"/>
          </p:cNvSpPr>
          <p:nvPr/>
        </p:nvSpPr>
        <p:spPr bwMode="auto">
          <a:xfrm>
            <a:off x="3808397" y="2384951"/>
            <a:ext cx="101711" cy="104631"/>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08" name="Oval 186">
            <a:extLst>
              <a:ext uri="{FF2B5EF4-FFF2-40B4-BE49-F238E27FC236}">
                <a16:creationId xmlns:a16="http://schemas.microsoft.com/office/drawing/2014/main" id="{E9F44A9C-9E56-419F-A158-12300EC7FE5F}"/>
              </a:ext>
            </a:extLst>
          </p:cNvPr>
          <p:cNvSpPr>
            <a:spLocks noChangeArrowheads="1"/>
          </p:cNvSpPr>
          <p:nvPr/>
        </p:nvSpPr>
        <p:spPr bwMode="auto">
          <a:xfrm>
            <a:off x="3808397" y="2384951"/>
            <a:ext cx="101711" cy="104631"/>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09" name="Oval 187">
            <a:extLst>
              <a:ext uri="{FF2B5EF4-FFF2-40B4-BE49-F238E27FC236}">
                <a16:creationId xmlns:a16="http://schemas.microsoft.com/office/drawing/2014/main" id="{ED4D7537-3E92-4266-B882-F2F890F5C589}"/>
              </a:ext>
            </a:extLst>
          </p:cNvPr>
          <p:cNvSpPr>
            <a:spLocks noChangeArrowheads="1"/>
          </p:cNvSpPr>
          <p:nvPr/>
        </p:nvSpPr>
        <p:spPr bwMode="auto">
          <a:xfrm>
            <a:off x="3808397" y="2384951"/>
            <a:ext cx="101711" cy="104631"/>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10" name="Oval 188">
            <a:extLst>
              <a:ext uri="{FF2B5EF4-FFF2-40B4-BE49-F238E27FC236}">
                <a16:creationId xmlns:a16="http://schemas.microsoft.com/office/drawing/2014/main" id="{2ABCCDBA-641D-42C5-B251-80A7F4F886E0}"/>
              </a:ext>
            </a:extLst>
          </p:cNvPr>
          <p:cNvSpPr>
            <a:spLocks noChangeArrowheads="1"/>
          </p:cNvSpPr>
          <p:nvPr/>
        </p:nvSpPr>
        <p:spPr bwMode="auto">
          <a:xfrm>
            <a:off x="3808397" y="2384951"/>
            <a:ext cx="101711" cy="104631"/>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11" name="Oval 189">
            <a:extLst>
              <a:ext uri="{FF2B5EF4-FFF2-40B4-BE49-F238E27FC236}">
                <a16:creationId xmlns:a16="http://schemas.microsoft.com/office/drawing/2014/main" id="{452582D0-2136-462B-B5E3-0253F07D9375}"/>
              </a:ext>
            </a:extLst>
          </p:cNvPr>
          <p:cNvSpPr>
            <a:spLocks noChangeArrowheads="1"/>
          </p:cNvSpPr>
          <p:nvPr/>
        </p:nvSpPr>
        <p:spPr bwMode="auto">
          <a:xfrm>
            <a:off x="3808397" y="2384951"/>
            <a:ext cx="101711" cy="104631"/>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12" name="Oval 190">
            <a:extLst>
              <a:ext uri="{FF2B5EF4-FFF2-40B4-BE49-F238E27FC236}">
                <a16:creationId xmlns:a16="http://schemas.microsoft.com/office/drawing/2014/main" id="{3613D474-BE73-45A9-AA8C-D28320C7458A}"/>
              </a:ext>
            </a:extLst>
          </p:cNvPr>
          <p:cNvSpPr>
            <a:spLocks noChangeArrowheads="1"/>
          </p:cNvSpPr>
          <p:nvPr/>
        </p:nvSpPr>
        <p:spPr bwMode="auto">
          <a:xfrm>
            <a:off x="4010430" y="2362281"/>
            <a:ext cx="99401" cy="104631"/>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13" name="Oval 191">
            <a:extLst>
              <a:ext uri="{FF2B5EF4-FFF2-40B4-BE49-F238E27FC236}">
                <a16:creationId xmlns:a16="http://schemas.microsoft.com/office/drawing/2014/main" id="{83890440-21C5-4B7C-AB68-0A624A3393C8}"/>
              </a:ext>
            </a:extLst>
          </p:cNvPr>
          <p:cNvSpPr>
            <a:spLocks noChangeArrowheads="1"/>
          </p:cNvSpPr>
          <p:nvPr/>
        </p:nvSpPr>
        <p:spPr bwMode="auto">
          <a:xfrm>
            <a:off x="3845690" y="2461996"/>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14" name="Oval 192">
            <a:extLst>
              <a:ext uri="{FF2B5EF4-FFF2-40B4-BE49-F238E27FC236}">
                <a16:creationId xmlns:a16="http://schemas.microsoft.com/office/drawing/2014/main" id="{B0ADFBE1-D6AF-41DE-AAEA-B1E6A51EF441}"/>
              </a:ext>
            </a:extLst>
          </p:cNvPr>
          <p:cNvSpPr>
            <a:spLocks noChangeArrowheads="1"/>
          </p:cNvSpPr>
          <p:nvPr/>
        </p:nvSpPr>
        <p:spPr bwMode="auto">
          <a:xfrm>
            <a:off x="3964353" y="2384951"/>
            <a:ext cx="101711" cy="104631"/>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15" name="Oval 193">
            <a:extLst>
              <a:ext uri="{FF2B5EF4-FFF2-40B4-BE49-F238E27FC236}">
                <a16:creationId xmlns:a16="http://schemas.microsoft.com/office/drawing/2014/main" id="{43A252C9-B5EE-4A27-9EB3-068E628E9E6D}"/>
              </a:ext>
            </a:extLst>
          </p:cNvPr>
          <p:cNvSpPr>
            <a:spLocks noChangeArrowheads="1"/>
          </p:cNvSpPr>
          <p:nvPr/>
        </p:nvSpPr>
        <p:spPr bwMode="auto">
          <a:xfrm>
            <a:off x="3920279" y="2111168"/>
            <a:ext cx="101711" cy="104631"/>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16" name="Oval 194">
            <a:extLst>
              <a:ext uri="{FF2B5EF4-FFF2-40B4-BE49-F238E27FC236}">
                <a16:creationId xmlns:a16="http://schemas.microsoft.com/office/drawing/2014/main" id="{28C1E535-6127-4CD1-9825-583B7C2973D8}"/>
              </a:ext>
            </a:extLst>
          </p:cNvPr>
          <p:cNvSpPr>
            <a:spLocks noChangeArrowheads="1"/>
          </p:cNvSpPr>
          <p:nvPr/>
        </p:nvSpPr>
        <p:spPr bwMode="auto">
          <a:xfrm>
            <a:off x="4069763" y="2516055"/>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17" name="Oval 195">
            <a:extLst>
              <a:ext uri="{FF2B5EF4-FFF2-40B4-BE49-F238E27FC236}">
                <a16:creationId xmlns:a16="http://schemas.microsoft.com/office/drawing/2014/main" id="{0ECC95AF-AC9D-40E6-BE31-0DAC16220F34}"/>
              </a:ext>
            </a:extLst>
          </p:cNvPr>
          <p:cNvSpPr>
            <a:spLocks noChangeArrowheads="1"/>
          </p:cNvSpPr>
          <p:nvPr/>
        </p:nvSpPr>
        <p:spPr bwMode="auto">
          <a:xfrm>
            <a:off x="6305394" y="2995610"/>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18" name="Oval 196">
            <a:extLst>
              <a:ext uri="{FF2B5EF4-FFF2-40B4-BE49-F238E27FC236}">
                <a16:creationId xmlns:a16="http://schemas.microsoft.com/office/drawing/2014/main" id="{C1540537-24C0-48FD-B14C-7CD790840645}"/>
              </a:ext>
            </a:extLst>
          </p:cNvPr>
          <p:cNvSpPr>
            <a:spLocks noChangeArrowheads="1"/>
          </p:cNvSpPr>
          <p:nvPr/>
        </p:nvSpPr>
        <p:spPr bwMode="auto">
          <a:xfrm>
            <a:off x="5932455" y="3687913"/>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19" name="Oval 197">
            <a:extLst>
              <a:ext uri="{FF2B5EF4-FFF2-40B4-BE49-F238E27FC236}">
                <a16:creationId xmlns:a16="http://schemas.microsoft.com/office/drawing/2014/main" id="{9A4D0A81-0891-4A84-98AC-5D26B5383854}"/>
              </a:ext>
            </a:extLst>
          </p:cNvPr>
          <p:cNvSpPr>
            <a:spLocks noChangeArrowheads="1"/>
          </p:cNvSpPr>
          <p:nvPr/>
        </p:nvSpPr>
        <p:spPr bwMode="auto">
          <a:xfrm>
            <a:off x="5932455" y="3679194"/>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20" name="Oval 198">
            <a:extLst>
              <a:ext uri="{FF2B5EF4-FFF2-40B4-BE49-F238E27FC236}">
                <a16:creationId xmlns:a16="http://schemas.microsoft.com/office/drawing/2014/main" id="{E1C937BB-F203-4093-8AF7-DB03A1F66612}"/>
              </a:ext>
            </a:extLst>
          </p:cNvPr>
          <p:cNvSpPr>
            <a:spLocks noChangeArrowheads="1"/>
          </p:cNvSpPr>
          <p:nvPr/>
        </p:nvSpPr>
        <p:spPr bwMode="auto">
          <a:xfrm>
            <a:off x="6426058" y="2812508"/>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21" name="Oval 199">
            <a:extLst>
              <a:ext uri="{FF2B5EF4-FFF2-40B4-BE49-F238E27FC236}">
                <a16:creationId xmlns:a16="http://schemas.microsoft.com/office/drawing/2014/main" id="{309445B0-ABC3-4B25-B4CD-6F9A420F14CD}"/>
              </a:ext>
            </a:extLst>
          </p:cNvPr>
          <p:cNvSpPr>
            <a:spLocks noChangeArrowheads="1"/>
          </p:cNvSpPr>
          <p:nvPr/>
        </p:nvSpPr>
        <p:spPr bwMode="auto">
          <a:xfrm>
            <a:off x="3889766" y="2371316"/>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22" name="Oval 200">
            <a:extLst>
              <a:ext uri="{FF2B5EF4-FFF2-40B4-BE49-F238E27FC236}">
                <a16:creationId xmlns:a16="http://schemas.microsoft.com/office/drawing/2014/main" id="{CAAEEFBC-9CEE-4199-A3DC-39E188BBDF2A}"/>
              </a:ext>
            </a:extLst>
          </p:cNvPr>
          <p:cNvSpPr>
            <a:spLocks noChangeArrowheads="1"/>
          </p:cNvSpPr>
          <p:nvPr/>
        </p:nvSpPr>
        <p:spPr bwMode="auto">
          <a:xfrm>
            <a:off x="1526687" y="2979915"/>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23" name="Oval 201">
            <a:extLst>
              <a:ext uri="{FF2B5EF4-FFF2-40B4-BE49-F238E27FC236}">
                <a16:creationId xmlns:a16="http://schemas.microsoft.com/office/drawing/2014/main" id="{74A94186-B1D3-4276-8D63-F14BFA3653E3}"/>
              </a:ext>
            </a:extLst>
          </p:cNvPr>
          <p:cNvSpPr>
            <a:spLocks noChangeArrowheads="1"/>
          </p:cNvSpPr>
          <p:nvPr/>
        </p:nvSpPr>
        <p:spPr bwMode="auto">
          <a:xfrm>
            <a:off x="6476607" y="2880517"/>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24" name="Oval 202">
            <a:extLst>
              <a:ext uri="{FF2B5EF4-FFF2-40B4-BE49-F238E27FC236}">
                <a16:creationId xmlns:a16="http://schemas.microsoft.com/office/drawing/2014/main" id="{2B86D068-7EC4-41BF-9F50-A496C7C1EB6F}"/>
              </a:ext>
            </a:extLst>
          </p:cNvPr>
          <p:cNvSpPr>
            <a:spLocks noChangeArrowheads="1"/>
          </p:cNvSpPr>
          <p:nvPr/>
        </p:nvSpPr>
        <p:spPr bwMode="auto">
          <a:xfrm>
            <a:off x="6476607" y="2880517"/>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25" name="Oval 203">
            <a:extLst>
              <a:ext uri="{FF2B5EF4-FFF2-40B4-BE49-F238E27FC236}">
                <a16:creationId xmlns:a16="http://schemas.microsoft.com/office/drawing/2014/main" id="{4E60C702-2F17-457D-AD9A-A873D0131B52}"/>
              </a:ext>
            </a:extLst>
          </p:cNvPr>
          <p:cNvSpPr>
            <a:spLocks noChangeArrowheads="1"/>
          </p:cNvSpPr>
          <p:nvPr/>
        </p:nvSpPr>
        <p:spPr bwMode="auto">
          <a:xfrm>
            <a:off x="4010430" y="2561395"/>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26" name="Oval 204">
            <a:extLst>
              <a:ext uri="{FF2B5EF4-FFF2-40B4-BE49-F238E27FC236}">
                <a16:creationId xmlns:a16="http://schemas.microsoft.com/office/drawing/2014/main" id="{D004C203-A1DD-460C-BC1F-93AC9CFE8E78}"/>
              </a:ext>
            </a:extLst>
          </p:cNvPr>
          <p:cNvSpPr>
            <a:spLocks noChangeArrowheads="1"/>
          </p:cNvSpPr>
          <p:nvPr/>
        </p:nvSpPr>
        <p:spPr bwMode="auto">
          <a:xfrm>
            <a:off x="4181644" y="2751473"/>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27" name="Oval 205">
            <a:extLst>
              <a:ext uri="{FF2B5EF4-FFF2-40B4-BE49-F238E27FC236}">
                <a16:creationId xmlns:a16="http://schemas.microsoft.com/office/drawing/2014/main" id="{8E6430FA-86FD-4FAD-A857-BA35E6AD044D}"/>
              </a:ext>
            </a:extLst>
          </p:cNvPr>
          <p:cNvSpPr>
            <a:spLocks noChangeArrowheads="1"/>
          </p:cNvSpPr>
          <p:nvPr/>
        </p:nvSpPr>
        <p:spPr bwMode="auto">
          <a:xfrm>
            <a:off x="3889766" y="2325976"/>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28" name="Oval 206">
            <a:extLst>
              <a:ext uri="{FF2B5EF4-FFF2-40B4-BE49-F238E27FC236}">
                <a16:creationId xmlns:a16="http://schemas.microsoft.com/office/drawing/2014/main" id="{BD078C4D-3C7E-4B49-9A13-1E7FD066AB5E}"/>
              </a:ext>
            </a:extLst>
          </p:cNvPr>
          <p:cNvSpPr>
            <a:spLocks noChangeArrowheads="1"/>
          </p:cNvSpPr>
          <p:nvPr/>
        </p:nvSpPr>
        <p:spPr bwMode="auto">
          <a:xfrm>
            <a:off x="6178254" y="2735778"/>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29" name="Oval 207">
            <a:extLst>
              <a:ext uri="{FF2B5EF4-FFF2-40B4-BE49-F238E27FC236}">
                <a16:creationId xmlns:a16="http://schemas.microsoft.com/office/drawing/2014/main" id="{4F0DC4AF-7D41-4EAA-A195-45A8740B8347}"/>
              </a:ext>
            </a:extLst>
          </p:cNvPr>
          <p:cNvSpPr>
            <a:spLocks noChangeArrowheads="1"/>
          </p:cNvSpPr>
          <p:nvPr/>
        </p:nvSpPr>
        <p:spPr bwMode="auto">
          <a:xfrm>
            <a:off x="6276883" y="3047924"/>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30" name="Oval 208">
            <a:extLst>
              <a:ext uri="{FF2B5EF4-FFF2-40B4-BE49-F238E27FC236}">
                <a16:creationId xmlns:a16="http://schemas.microsoft.com/office/drawing/2014/main" id="{FEEFF999-0BF5-48FA-BCCE-394DC46EEBCE}"/>
              </a:ext>
            </a:extLst>
          </p:cNvPr>
          <p:cNvSpPr>
            <a:spLocks noChangeArrowheads="1"/>
          </p:cNvSpPr>
          <p:nvPr/>
        </p:nvSpPr>
        <p:spPr bwMode="auto">
          <a:xfrm>
            <a:off x="3681259" y="2728804"/>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31" name="Oval 209">
            <a:extLst>
              <a:ext uri="{FF2B5EF4-FFF2-40B4-BE49-F238E27FC236}">
                <a16:creationId xmlns:a16="http://schemas.microsoft.com/office/drawing/2014/main" id="{1D2D9F0E-A51B-4AD5-95B2-80C0E7889FCA}"/>
              </a:ext>
            </a:extLst>
          </p:cNvPr>
          <p:cNvSpPr>
            <a:spLocks noChangeArrowheads="1"/>
          </p:cNvSpPr>
          <p:nvPr/>
        </p:nvSpPr>
        <p:spPr bwMode="auto">
          <a:xfrm>
            <a:off x="6671860" y="4524953"/>
            <a:ext cx="9940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32" name="Oval 210">
            <a:extLst>
              <a:ext uri="{FF2B5EF4-FFF2-40B4-BE49-F238E27FC236}">
                <a16:creationId xmlns:a16="http://schemas.microsoft.com/office/drawing/2014/main" id="{183E5C75-E98C-40B8-8546-EDC7950EF4DC}"/>
              </a:ext>
            </a:extLst>
          </p:cNvPr>
          <p:cNvSpPr>
            <a:spLocks noChangeArrowheads="1"/>
          </p:cNvSpPr>
          <p:nvPr/>
        </p:nvSpPr>
        <p:spPr bwMode="auto">
          <a:xfrm>
            <a:off x="3584634" y="2667768"/>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33" name="Oval 211">
            <a:extLst>
              <a:ext uri="{FF2B5EF4-FFF2-40B4-BE49-F238E27FC236}">
                <a16:creationId xmlns:a16="http://schemas.microsoft.com/office/drawing/2014/main" id="{7DCB8B81-D46B-4765-9111-4B726A611906}"/>
              </a:ext>
            </a:extLst>
          </p:cNvPr>
          <p:cNvSpPr>
            <a:spLocks noChangeArrowheads="1"/>
          </p:cNvSpPr>
          <p:nvPr/>
        </p:nvSpPr>
        <p:spPr bwMode="auto">
          <a:xfrm>
            <a:off x="6202295" y="2758447"/>
            <a:ext cx="9940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34" name="Oval 212">
            <a:extLst>
              <a:ext uri="{FF2B5EF4-FFF2-40B4-BE49-F238E27FC236}">
                <a16:creationId xmlns:a16="http://schemas.microsoft.com/office/drawing/2014/main" id="{30BDCF09-E3FE-40AF-8AB8-70D1019DA517}"/>
              </a:ext>
            </a:extLst>
          </p:cNvPr>
          <p:cNvSpPr>
            <a:spLocks noChangeArrowheads="1"/>
          </p:cNvSpPr>
          <p:nvPr/>
        </p:nvSpPr>
        <p:spPr bwMode="auto">
          <a:xfrm>
            <a:off x="3674785" y="2552358"/>
            <a:ext cx="99401" cy="104631"/>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35" name="Oval 213">
            <a:extLst>
              <a:ext uri="{FF2B5EF4-FFF2-40B4-BE49-F238E27FC236}">
                <a16:creationId xmlns:a16="http://schemas.microsoft.com/office/drawing/2014/main" id="{B9CFA996-8F25-489E-90A8-829092BD53FD}"/>
              </a:ext>
            </a:extLst>
          </p:cNvPr>
          <p:cNvSpPr>
            <a:spLocks noChangeArrowheads="1"/>
          </p:cNvSpPr>
          <p:nvPr/>
        </p:nvSpPr>
        <p:spPr bwMode="auto">
          <a:xfrm>
            <a:off x="3913805" y="2310283"/>
            <a:ext cx="9940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36" name="Oval 214">
            <a:extLst>
              <a:ext uri="{FF2B5EF4-FFF2-40B4-BE49-F238E27FC236}">
                <a16:creationId xmlns:a16="http://schemas.microsoft.com/office/drawing/2014/main" id="{4832E10A-5DC0-422B-BAB5-02EC8AAB2514}"/>
              </a:ext>
            </a:extLst>
          </p:cNvPr>
          <p:cNvSpPr>
            <a:spLocks noChangeArrowheads="1"/>
          </p:cNvSpPr>
          <p:nvPr/>
        </p:nvSpPr>
        <p:spPr bwMode="auto">
          <a:xfrm>
            <a:off x="1199827" y="2934576"/>
            <a:ext cx="9940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37" name="Oval 215">
            <a:extLst>
              <a:ext uri="{FF2B5EF4-FFF2-40B4-BE49-F238E27FC236}">
                <a16:creationId xmlns:a16="http://schemas.microsoft.com/office/drawing/2014/main" id="{ECE97318-3DFA-4F64-9690-D8FC1AD571A1}"/>
              </a:ext>
            </a:extLst>
          </p:cNvPr>
          <p:cNvSpPr>
            <a:spLocks noChangeArrowheads="1"/>
          </p:cNvSpPr>
          <p:nvPr/>
        </p:nvSpPr>
        <p:spPr bwMode="auto">
          <a:xfrm>
            <a:off x="3360871" y="3070596"/>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38" name="Oval 216">
            <a:extLst>
              <a:ext uri="{FF2B5EF4-FFF2-40B4-BE49-F238E27FC236}">
                <a16:creationId xmlns:a16="http://schemas.microsoft.com/office/drawing/2014/main" id="{26174485-C14E-4D09-A2F7-D25D4D5E3C72}"/>
              </a:ext>
            </a:extLst>
          </p:cNvPr>
          <p:cNvSpPr>
            <a:spLocks noChangeArrowheads="1"/>
          </p:cNvSpPr>
          <p:nvPr/>
        </p:nvSpPr>
        <p:spPr bwMode="auto">
          <a:xfrm>
            <a:off x="2876049" y="3816958"/>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39" name="Oval 217">
            <a:extLst>
              <a:ext uri="{FF2B5EF4-FFF2-40B4-BE49-F238E27FC236}">
                <a16:creationId xmlns:a16="http://schemas.microsoft.com/office/drawing/2014/main" id="{317A6C97-7342-4DDA-A7F5-A890A8931BD2}"/>
              </a:ext>
            </a:extLst>
          </p:cNvPr>
          <p:cNvSpPr>
            <a:spLocks noChangeArrowheads="1"/>
          </p:cNvSpPr>
          <p:nvPr/>
        </p:nvSpPr>
        <p:spPr bwMode="auto">
          <a:xfrm>
            <a:off x="6283355" y="2925856"/>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40" name="Oval 218">
            <a:extLst>
              <a:ext uri="{FF2B5EF4-FFF2-40B4-BE49-F238E27FC236}">
                <a16:creationId xmlns:a16="http://schemas.microsoft.com/office/drawing/2014/main" id="{02682399-2AEB-4352-83C4-30706219F873}"/>
              </a:ext>
            </a:extLst>
          </p:cNvPr>
          <p:cNvSpPr>
            <a:spLocks noChangeArrowheads="1"/>
          </p:cNvSpPr>
          <p:nvPr/>
        </p:nvSpPr>
        <p:spPr bwMode="auto">
          <a:xfrm>
            <a:off x="3652747" y="2339928"/>
            <a:ext cx="9940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41" name="Oval 219">
            <a:extLst>
              <a:ext uri="{FF2B5EF4-FFF2-40B4-BE49-F238E27FC236}">
                <a16:creationId xmlns:a16="http://schemas.microsoft.com/office/drawing/2014/main" id="{33D28013-6D6C-4BED-8CB1-DAD8941A2E40}"/>
              </a:ext>
            </a:extLst>
          </p:cNvPr>
          <p:cNvSpPr>
            <a:spLocks noChangeArrowheads="1"/>
          </p:cNvSpPr>
          <p:nvPr/>
        </p:nvSpPr>
        <p:spPr bwMode="auto">
          <a:xfrm>
            <a:off x="6439313" y="2850872"/>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42" name="Oval 220">
            <a:extLst>
              <a:ext uri="{FF2B5EF4-FFF2-40B4-BE49-F238E27FC236}">
                <a16:creationId xmlns:a16="http://schemas.microsoft.com/office/drawing/2014/main" id="{73551F34-53D1-4489-9BF7-6CDF2D8FF6E4}"/>
              </a:ext>
            </a:extLst>
          </p:cNvPr>
          <p:cNvSpPr>
            <a:spLocks noChangeArrowheads="1"/>
          </p:cNvSpPr>
          <p:nvPr/>
        </p:nvSpPr>
        <p:spPr bwMode="auto">
          <a:xfrm>
            <a:off x="3905023" y="2697099"/>
            <a:ext cx="101711" cy="104631"/>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43" name="Oval 221">
            <a:extLst>
              <a:ext uri="{FF2B5EF4-FFF2-40B4-BE49-F238E27FC236}">
                <a16:creationId xmlns:a16="http://schemas.microsoft.com/office/drawing/2014/main" id="{D5099D93-42AB-4BB9-AEC2-20D86E82AE99}"/>
              </a:ext>
            </a:extLst>
          </p:cNvPr>
          <p:cNvSpPr>
            <a:spLocks noChangeArrowheads="1"/>
          </p:cNvSpPr>
          <p:nvPr/>
        </p:nvSpPr>
        <p:spPr bwMode="auto">
          <a:xfrm>
            <a:off x="3703295" y="2378291"/>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44" name="Oval 222">
            <a:extLst>
              <a:ext uri="{FF2B5EF4-FFF2-40B4-BE49-F238E27FC236}">
                <a16:creationId xmlns:a16="http://schemas.microsoft.com/office/drawing/2014/main" id="{1FC82223-7D83-4EF1-A9C8-30BC7481F214}"/>
              </a:ext>
            </a:extLst>
          </p:cNvPr>
          <p:cNvSpPr>
            <a:spLocks noChangeArrowheads="1"/>
          </p:cNvSpPr>
          <p:nvPr/>
        </p:nvSpPr>
        <p:spPr bwMode="auto">
          <a:xfrm>
            <a:off x="6663076" y="4486589"/>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45" name="Oval 223">
            <a:extLst>
              <a:ext uri="{FF2B5EF4-FFF2-40B4-BE49-F238E27FC236}">
                <a16:creationId xmlns:a16="http://schemas.microsoft.com/office/drawing/2014/main" id="{35B2E9E3-353E-4DCD-B5FB-50A1A6E4B6FE}"/>
              </a:ext>
            </a:extLst>
          </p:cNvPr>
          <p:cNvSpPr>
            <a:spLocks noChangeArrowheads="1"/>
          </p:cNvSpPr>
          <p:nvPr/>
        </p:nvSpPr>
        <p:spPr bwMode="auto">
          <a:xfrm>
            <a:off x="4620387" y="3450434"/>
            <a:ext cx="101711" cy="104631"/>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46" name="Oval 224">
            <a:extLst>
              <a:ext uri="{FF2B5EF4-FFF2-40B4-BE49-F238E27FC236}">
                <a16:creationId xmlns:a16="http://schemas.microsoft.com/office/drawing/2014/main" id="{E49FF76F-2EBD-4655-960C-92524E26BAA2}"/>
              </a:ext>
            </a:extLst>
          </p:cNvPr>
          <p:cNvSpPr>
            <a:spLocks noChangeArrowheads="1"/>
          </p:cNvSpPr>
          <p:nvPr/>
        </p:nvSpPr>
        <p:spPr bwMode="auto">
          <a:xfrm>
            <a:off x="1662610" y="2719768"/>
            <a:ext cx="99401" cy="104631"/>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47" name="Oval 225">
            <a:extLst>
              <a:ext uri="{FF2B5EF4-FFF2-40B4-BE49-F238E27FC236}">
                <a16:creationId xmlns:a16="http://schemas.microsoft.com/office/drawing/2014/main" id="{B8B14851-E0DB-4088-91EB-A30EF3C564E1}"/>
              </a:ext>
            </a:extLst>
          </p:cNvPr>
          <p:cNvSpPr>
            <a:spLocks noChangeArrowheads="1"/>
          </p:cNvSpPr>
          <p:nvPr/>
        </p:nvSpPr>
        <p:spPr bwMode="auto">
          <a:xfrm>
            <a:off x="3637492" y="2242273"/>
            <a:ext cx="9940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48" name="Oval 226">
            <a:extLst>
              <a:ext uri="{FF2B5EF4-FFF2-40B4-BE49-F238E27FC236}">
                <a16:creationId xmlns:a16="http://schemas.microsoft.com/office/drawing/2014/main" id="{925CB47A-C060-4CBA-9F9C-8990BBCE7CF5}"/>
              </a:ext>
            </a:extLst>
          </p:cNvPr>
          <p:cNvSpPr>
            <a:spLocks noChangeArrowheads="1"/>
          </p:cNvSpPr>
          <p:nvPr/>
        </p:nvSpPr>
        <p:spPr bwMode="auto">
          <a:xfrm>
            <a:off x="1737196" y="2941551"/>
            <a:ext cx="9940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49" name="Oval 227">
            <a:extLst>
              <a:ext uri="{FF2B5EF4-FFF2-40B4-BE49-F238E27FC236}">
                <a16:creationId xmlns:a16="http://schemas.microsoft.com/office/drawing/2014/main" id="{A8707232-049B-431C-951A-AA84CE3A5007}"/>
              </a:ext>
            </a:extLst>
          </p:cNvPr>
          <p:cNvSpPr>
            <a:spLocks noChangeArrowheads="1"/>
          </p:cNvSpPr>
          <p:nvPr/>
        </p:nvSpPr>
        <p:spPr bwMode="auto">
          <a:xfrm>
            <a:off x="3696515" y="2828201"/>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50" name="Oval 228">
            <a:extLst>
              <a:ext uri="{FF2B5EF4-FFF2-40B4-BE49-F238E27FC236}">
                <a16:creationId xmlns:a16="http://schemas.microsoft.com/office/drawing/2014/main" id="{ACE1C399-0FC9-49B8-BB38-EEE09B7AA26A}"/>
              </a:ext>
            </a:extLst>
          </p:cNvPr>
          <p:cNvSpPr>
            <a:spLocks noChangeArrowheads="1"/>
          </p:cNvSpPr>
          <p:nvPr/>
        </p:nvSpPr>
        <p:spPr bwMode="auto">
          <a:xfrm>
            <a:off x="1087945" y="2645100"/>
            <a:ext cx="9940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51" name="Oval 229">
            <a:extLst>
              <a:ext uri="{FF2B5EF4-FFF2-40B4-BE49-F238E27FC236}">
                <a16:creationId xmlns:a16="http://schemas.microsoft.com/office/drawing/2014/main" id="{FFC67D42-55F0-43BC-8F01-EA4CF1F3677B}"/>
              </a:ext>
            </a:extLst>
          </p:cNvPr>
          <p:cNvSpPr>
            <a:spLocks noChangeArrowheads="1"/>
          </p:cNvSpPr>
          <p:nvPr/>
        </p:nvSpPr>
        <p:spPr bwMode="auto">
          <a:xfrm>
            <a:off x="4016904" y="2362281"/>
            <a:ext cx="101711" cy="104631"/>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52" name="Oval 230">
            <a:extLst>
              <a:ext uri="{FF2B5EF4-FFF2-40B4-BE49-F238E27FC236}">
                <a16:creationId xmlns:a16="http://schemas.microsoft.com/office/drawing/2014/main" id="{012204CE-0F77-44A5-9170-562F4777B5D7}"/>
              </a:ext>
            </a:extLst>
          </p:cNvPr>
          <p:cNvSpPr>
            <a:spLocks noChangeArrowheads="1"/>
          </p:cNvSpPr>
          <p:nvPr/>
        </p:nvSpPr>
        <p:spPr bwMode="auto">
          <a:xfrm>
            <a:off x="1302923" y="2317257"/>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53" name="Oval 231">
            <a:extLst>
              <a:ext uri="{FF2B5EF4-FFF2-40B4-BE49-F238E27FC236}">
                <a16:creationId xmlns:a16="http://schemas.microsoft.com/office/drawing/2014/main" id="{1F849303-C090-4C2C-BCC3-85B0D684B459}"/>
              </a:ext>
            </a:extLst>
          </p:cNvPr>
          <p:cNvSpPr>
            <a:spLocks noChangeArrowheads="1"/>
          </p:cNvSpPr>
          <p:nvPr/>
        </p:nvSpPr>
        <p:spPr bwMode="auto">
          <a:xfrm>
            <a:off x="6314176" y="2706132"/>
            <a:ext cx="9940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54" name="Oval 232">
            <a:extLst>
              <a:ext uri="{FF2B5EF4-FFF2-40B4-BE49-F238E27FC236}">
                <a16:creationId xmlns:a16="http://schemas.microsoft.com/office/drawing/2014/main" id="{BF098FD8-C797-4112-AF06-32DED503AEF2}"/>
              </a:ext>
            </a:extLst>
          </p:cNvPr>
          <p:cNvSpPr>
            <a:spLocks noChangeArrowheads="1"/>
          </p:cNvSpPr>
          <p:nvPr/>
        </p:nvSpPr>
        <p:spPr bwMode="auto">
          <a:xfrm>
            <a:off x="3905023" y="2934576"/>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55" name="Oval 233">
            <a:extLst>
              <a:ext uri="{FF2B5EF4-FFF2-40B4-BE49-F238E27FC236}">
                <a16:creationId xmlns:a16="http://schemas.microsoft.com/office/drawing/2014/main" id="{6C72D7F4-095B-48A8-BEBA-DD3E3E9607D2}"/>
              </a:ext>
            </a:extLst>
          </p:cNvPr>
          <p:cNvSpPr>
            <a:spLocks noChangeArrowheads="1"/>
          </p:cNvSpPr>
          <p:nvPr/>
        </p:nvSpPr>
        <p:spPr bwMode="auto">
          <a:xfrm>
            <a:off x="3621928" y="2242273"/>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56" name="Oval 234">
            <a:extLst>
              <a:ext uri="{FF2B5EF4-FFF2-40B4-BE49-F238E27FC236}">
                <a16:creationId xmlns:a16="http://schemas.microsoft.com/office/drawing/2014/main" id="{8525E43F-3C92-47B5-93B2-39AF774F99DF}"/>
              </a:ext>
            </a:extLst>
          </p:cNvPr>
          <p:cNvSpPr>
            <a:spLocks noChangeArrowheads="1"/>
          </p:cNvSpPr>
          <p:nvPr/>
        </p:nvSpPr>
        <p:spPr bwMode="auto">
          <a:xfrm>
            <a:off x="3659221" y="2194873"/>
            <a:ext cx="101711" cy="104631"/>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57" name="Oval 235">
            <a:extLst>
              <a:ext uri="{FF2B5EF4-FFF2-40B4-BE49-F238E27FC236}">
                <a16:creationId xmlns:a16="http://schemas.microsoft.com/office/drawing/2014/main" id="{1F6087CC-3B42-4C61-9C60-F8BE34C2575A}"/>
              </a:ext>
            </a:extLst>
          </p:cNvPr>
          <p:cNvSpPr>
            <a:spLocks noChangeArrowheads="1"/>
          </p:cNvSpPr>
          <p:nvPr/>
        </p:nvSpPr>
        <p:spPr bwMode="auto">
          <a:xfrm>
            <a:off x="1177789" y="2264943"/>
            <a:ext cx="9940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58" name="Oval 236">
            <a:extLst>
              <a:ext uri="{FF2B5EF4-FFF2-40B4-BE49-F238E27FC236}">
                <a16:creationId xmlns:a16="http://schemas.microsoft.com/office/drawing/2014/main" id="{4DE4791E-A67B-4DE7-9054-6106A0EC8552}"/>
              </a:ext>
            </a:extLst>
          </p:cNvPr>
          <p:cNvSpPr>
            <a:spLocks noChangeArrowheads="1"/>
          </p:cNvSpPr>
          <p:nvPr/>
        </p:nvSpPr>
        <p:spPr bwMode="auto">
          <a:xfrm>
            <a:off x="3867728" y="2552358"/>
            <a:ext cx="101711" cy="104631"/>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59" name="Oval 237">
            <a:extLst>
              <a:ext uri="{FF2B5EF4-FFF2-40B4-BE49-F238E27FC236}">
                <a16:creationId xmlns:a16="http://schemas.microsoft.com/office/drawing/2014/main" id="{E1D06910-DD84-4F81-B4AA-6881733C7E1F}"/>
              </a:ext>
            </a:extLst>
          </p:cNvPr>
          <p:cNvSpPr>
            <a:spLocks noChangeArrowheads="1"/>
          </p:cNvSpPr>
          <p:nvPr/>
        </p:nvSpPr>
        <p:spPr bwMode="auto">
          <a:xfrm>
            <a:off x="2586481" y="2516055"/>
            <a:ext cx="9940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60" name="Oval 238">
            <a:extLst>
              <a:ext uri="{FF2B5EF4-FFF2-40B4-BE49-F238E27FC236}">
                <a16:creationId xmlns:a16="http://schemas.microsoft.com/office/drawing/2014/main" id="{B4E44D81-7C9D-493F-BC3A-2D3D377AEAFD}"/>
              </a:ext>
            </a:extLst>
          </p:cNvPr>
          <p:cNvSpPr>
            <a:spLocks noChangeArrowheads="1"/>
          </p:cNvSpPr>
          <p:nvPr/>
        </p:nvSpPr>
        <p:spPr bwMode="auto">
          <a:xfrm>
            <a:off x="3927059" y="2325976"/>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61" name="Oval 239">
            <a:extLst>
              <a:ext uri="{FF2B5EF4-FFF2-40B4-BE49-F238E27FC236}">
                <a16:creationId xmlns:a16="http://schemas.microsoft.com/office/drawing/2014/main" id="{206496FA-409D-4F56-8501-A116892B6185}"/>
              </a:ext>
            </a:extLst>
          </p:cNvPr>
          <p:cNvSpPr>
            <a:spLocks noChangeArrowheads="1"/>
          </p:cNvSpPr>
          <p:nvPr/>
        </p:nvSpPr>
        <p:spPr bwMode="auto">
          <a:xfrm>
            <a:off x="1982999" y="2751473"/>
            <a:ext cx="9940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62" name="Oval 240">
            <a:extLst>
              <a:ext uri="{FF2B5EF4-FFF2-40B4-BE49-F238E27FC236}">
                <a16:creationId xmlns:a16="http://schemas.microsoft.com/office/drawing/2014/main" id="{12AF27FA-8123-41C2-BCFC-8D819B1D9150}"/>
              </a:ext>
            </a:extLst>
          </p:cNvPr>
          <p:cNvSpPr>
            <a:spLocks noChangeArrowheads="1"/>
          </p:cNvSpPr>
          <p:nvPr/>
        </p:nvSpPr>
        <p:spPr bwMode="auto">
          <a:xfrm>
            <a:off x="3935844" y="2445986"/>
            <a:ext cx="99401" cy="104631"/>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64" name="Oval 242">
            <a:extLst>
              <a:ext uri="{FF2B5EF4-FFF2-40B4-BE49-F238E27FC236}">
                <a16:creationId xmlns:a16="http://schemas.microsoft.com/office/drawing/2014/main" id="{89589836-1A00-45FE-94AA-79C15A89086E}"/>
              </a:ext>
            </a:extLst>
          </p:cNvPr>
          <p:cNvSpPr>
            <a:spLocks noChangeArrowheads="1"/>
          </p:cNvSpPr>
          <p:nvPr/>
        </p:nvSpPr>
        <p:spPr bwMode="auto">
          <a:xfrm>
            <a:off x="3867728" y="2400962"/>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65" name="Oval 243">
            <a:extLst>
              <a:ext uri="{FF2B5EF4-FFF2-40B4-BE49-F238E27FC236}">
                <a16:creationId xmlns:a16="http://schemas.microsoft.com/office/drawing/2014/main" id="{F08BA823-11DA-4BA7-819F-3C2FBD0E74B0}"/>
              </a:ext>
            </a:extLst>
          </p:cNvPr>
          <p:cNvSpPr>
            <a:spLocks noChangeArrowheads="1"/>
          </p:cNvSpPr>
          <p:nvPr/>
        </p:nvSpPr>
        <p:spPr bwMode="auto">
          <a:xfrm>
            <a:off x="5366266" y="3063619"/>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66" name="Oval 244">
            <a:extLst>
              <a:ext uri="{FF2B5EF4-FFF2-40B4-BE49-F238E27FC236}">
                <a16:creationId xmlns:a16="http://schemas.microsoft.com/office/drawing/2014/main" id="{6DBB87F8-98E6-47AA-B4DC-FE5B37E67165}"/>
              </a:ext>
            </a:extLst>
          </p:cNvPr>
          <p:cNvSpPr>
            <a:spLocks noChangeArrowheads="1"/>
          </p:cNvSpPr>
          <p:nvPr/>
        </p:nvSpPr>
        <p:spPr bwMode="auto">
          <a:xfrm>
            <a:off x="3733809" y="2400962"/>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67" name="Oval 245">
            <a:extLst>
              <a:ext uri="{FF2B5EF4-FFF2-40B4-BE49-F238E27FC236}">
                <a16:creationId xmlns:a16="http://schemas.microsoft.com/office/drawing/2014/main" id="{D95715C4-AF16-4305-9AE0-B6195EFB37C6}"/>
              </a:ext>
            </a:extLst>
          </p:cNvPr>
          <p:cNvSpPr>
            <a:spLocks noChangeArrowheads="1"/>
          </p:cNvSpPr>
          <p:nvPr/>
        </p:nvSpPr>
        <p:spPr bwMode="auto">
          <a:xfrm>
            <a:off x="4032161" y="2706132"/>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68" name="Oval 246">
            <a:extLst>
              <a:ext uri="{FF2B5EF4-FFF2-40B4-BE49-F238E27FC236}">
                <a16:creationId xmlns:a16="http://schemas.microsoft.com/office/drawing/2014/main" id="{8915EF70-6064-4758-A316-EC554F90A899}"/>
              </a:ext>
            </a:extLst>
          </p:cNvPr>
          <p:cNvSpPr>
            <a:spLocks noChangeArrowheads="1"/>
          </p:cNvSpPr>
          <p:nvPr/>
        </p:nvSpPr>
        <p:spPr bwMode="auto">
          <a:xfrm>
            <a:off x="4508505" y="2986892"/>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69" name="Oval 247">
            <a:extLst>
              <a:ext uri="{FF2B5EF4-FFF2-40B4-BE49-F238E27FC236}">
                <a16:creationId xmlns:a16="http://schemas.microsoft.com/office/drawing/2014/main" id="{D29EA831-8886-4F54-80F3-DE486E9381CA}"/>
              </a:ext>
            </a:extLst>
          </p:cNvPr>
          <p:cNvSpPr>
            <a:spLocks noChangeArrowheads="1"/>
          </p:cNvSpPr>
          <p:nvPr/>
        </p:nvSpPr>
        <p:spPr bwMode="auto">
          <a:xfrm>
            <a:off x="6693897" y="2880517"/>
            <a:ext cx="9940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70" name="Oval 248">
            <a:extLst>
              <a:ext uri="{FF2B5EF4-FFF2-40B4-BE49-F238E27FC236}">
                <a16:creationId xmlns:a16="http://schemas.microsoft.com/office/drawing/2014/main" id="{DA9894A3-0F51-4848-BCA0-1D0A93E1A1A0}"/>
              </a:ext>
            </a:extLst>
          </p:cNvPr>
          <p:cNvSpPr>
            <a:spLocks noChangeArrowheads="1"/>
          </p:cNvSpPr>
          <p:nvPr/>
        </p:nvSpPr>
        <p:spPr bwMode="auto">
          <a:xfrm>
            <a:off x="4210156" y="1891762"/>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71" name="Oval 249">
            <a:extLst>
              <a:ext uri="{FF2B5EF4-FFF2-40B4-BE49-F238E27FC236}">
                <a16:creationId xmlns:a16="http://schemas.microsoft.com/office/drawing/2014/main" id="{4835FA38-AF6D-412B-909B-84C940767ECE}"/>
              </a:ext>
            </a:extLst>
          </p:cNvPr>
          <p:cNvSpPr>
            <a:spLocks noChangeArrowheads="1"/>
          </p:cNvSpPr>
          <p:nvPr/>
        </p:nvSpPr>
        <p:spPr bwMode="auto">
          <a:xfrm>
            <a:off x="3979610" y="2310283"/>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72" name="Oval 250">
            <a:extLst>
              <a:ext uri="{FF2B5EF4-FFF2-40B4-BE49-F238E27FC236}">
                <a16:creationId xmlns:a16="http://schemas.microsoft.com/office/drawing/2014/main" id="{65A2A060-3E7E-4BA1-A7EB-94E9655E4A53}"/>
              </a:ext>
            </a:extLst>
          </p:cNvPr>
          <p:cNvSpPr>
            <a:spLocks noChangeArrowheads="1"/>
          </p:cNvSpPr>
          <p:nvPr/>
        </p:nvSpPr>
        <p:spPr bwMode="auto">
          <a:xfrm>
            <a:off x="3964353" y="2400962"/>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73" name="Oval 251">
            <a:extLst>
              <a:ext uri="{FF2B5EF4-FFF2-40B4-BE49-F238E27FC236}">
                <a16:creationId xmlns:a16="http://schemas.microsoft.com/office/drawing/2014/main" id="{D3847ADD-D620-4D24-854F-171823A210AF}"/>
              </a:ext>
            </a:extLst>
          </p:cNvPr>
          <p:cNvSpPr>
            <a:spLocks noChangeArrowheads="1"/>
          </p:cNvSpPr>
          <p:nvPr/>
        </p:nvSpPr>
        <p:spPr bwMode="auto">
          <a:xfrm>
            <a:off x="3643964" y="2226578"/>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74" name="Oval 252">
            <a:extLst>
              <a:ext uri="{FF2B5EF4-FFF2-40B4-BE49-F238E27FC236}">
                <a16:creationId xmlns:a16="http://schemas.microsoft.com/office/drawing/2014/main" id="{AAF3419C-E14E-423A-9340-138334F4A489}"/>
              </a:ext>
            </a:extLst>
          </p:cNvPr>
          <p:cNvSpPr>
            <a:spLocks noChangeArrowheads="1"/>
          </p:cNvSpPr>
          <p:nvPr/>
        </p:nvSpPr>
        <p:spPr bwMode="auto">
          <a:xfrm>
            <a:off x="4016904" y="2507336"/>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75" name="Oval 253">
            <a:extLst>
              <a:ext uri="{FF2B5EF4-FFF2-40B4-BE49-F238E27FC236}">
                <a16:creationId xmlns:a16="http://schemas.microsoft.com/office/drawing/2014/main" id="{8BEC96B3-37B7-4ABF-B21C-FE81AC9BD0B0}"/>
              </a:ext>
            </a:extLst>
          </p:cNvPr>
          <p:cNvSpPr>
            <a:spLocks noChangeArrowheads="1"/>
          </p:cNvSpPr>
          <p:nvPr/>
        </p:nvSpPr>
        <p:spPr bwMode="auto">
          <a:xfrm>
            <a:off x="2235272" y="2606735"/>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76" name="Oval 254">
            <a:extLst>
              <a:ext uri="{FF2B5EF4-FFF2-40B4-BE49-F238E27FC236}">
                <a16:creationId xmlns:a16="http://schemas.microsoft.com/office/drawing/2014/main" id="{D0639B1C-E8A9-49AF-9C76-33A57CA084AD}"/>
              </a:ext>
            </a:extLst>
          </p:cNvPr>
          <p:cNvSpPr>
            <a:spLocks noChangeArrowheads="1"/>
          </p:cNvSpPr>
          <p:nvPr/>
        </p:nvSpPr>
        <p:spPr bwMode="auto">
          <a:xfrm>
            <a:off x="3889766" y="2455021"/>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77" name="Oval 255">
            <a:extLst>
              <a:ext uri="{FF2B5EF4-FFF2-40B4-BE49-F238E27FC236}">
                <a16:creationId xmlns:a16="http://schemas.microsoft.com/office/drawing/2014/main" id="{D722DA53-77AC-412C-94C7-9DDBCC90A090}"/>
              </a:ext>
            </a:extLst>
          </p:cNvPr>
          <p:cNvSpPr>
            <a:spLocks noChangeArrowheads="1"/>
          </p:cNvSpPr>
          <p:nvPr/>
        </p:nvSpPr>
        <p:spPr bwMode="auto">
          <a:xfrm>
            <a:off x="3771103" y="2774142"/>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78" name="Oval 256">
            <a:extLst>
              <a:ext uri="{FF2B5EF4-FFF2-40B4-BE49-F238E27FC236}">
                <a16:creationId xmlns:a16="http://schemas.microsoft.com/office/drawing/2014/main" id="{5C380475-B68A-4EEA-B5BF-0EC484710A1A}"/>
              </a:ext>
            </a:extLst>
          </p:cNvPr>
          <p:cNvSpPr>
            <a:spLocks noChangeArrowheads="1"/>
          </p:cNvSpPr>
          <p:nvPr/>
        </p:nvSpPr>
        <p:spPr bwMode="auto">
          <a:xfrm>
            <a:off x="3830435" y="2584064"/>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79" name="Oval 257">
            <a:extLst>
              <a:ext uri="{FF2B5EF4-FFF2-40B4-BE49-F238E27FC236}">
                <a16:creationId xmlns:a16="http://schemas.microsoft.com/office/drawing/2014/main" id="{DDEAEC4E-EC2A-4254-B2C4-223FC478BA6F}"/>
              </a:ext>
            </a:extLst>
          </p:cNvPr>
          <p:cNvSpPr>
            <a:spLocks noChangeArrowheads="1"/>
          </p:cNvSpPr>
          <p:nvPr/>
        </p:nvSpPr>
        <p:spPr bwMode="auto">
          <a:xfrm>
            <a:off x="3786667" y="3079313"/>
            <a:ext cx="9940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80" name="Oval 258">
            <a:extLst>
              <a:ext uri="{FF2B5EF4-FFF2-40B4-BE49-F238E27FC236}">
                <a16:creationId xmlns:a16="http://schemas.microsoft.com/office/drawing/2014/main" id="{28756F3F-0E0A-4FD1-A9CC-7DFE58191F4A}"/>
              </a:ext>
            </a:extLst>
          </p:cNvPr>
          <p:cNvSpPr>
            <a:spLocks noChangeArrowheads="1"/>
          </p:cNvSpPr>
          <p:nvPr/>
        </p:nvSpPr>
        <p:spPr bwMode="auto">
          <a:xfrm>
            <a:off x="3690041" y="2362281"/>
            <a:ext cx="99401" cy="104631"/>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81" name="Oval 259">
            <a:extLst>
              <a:ext uri="{FF2B5EF4-FFF2-40B4-BE49-F238E27FC236}">
                <a16:creationId xmlns:a16="http://schemas.microsoft.com/office/drawing/2014/main" id="{3C51B620-48D0-4B26-9783-23FDA6E6ABFB}"/>
              </a:ext>
            </a:extLst>
          </p:cNvPr>
          <p:cNvSpPr>
            <a:spLocks noChangeArrowheads="1"/>
          </p:cNvSpPr>
          <p:nvPr/>
        </p:nvSpPr>
        <p:spPr bwMode="auto">
          <a:xfrm>
            <a:off x="6722406" y="2828201"/>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82" name="Oval 260">
            <a:extLst>
              <a:ext uri="{FF2B5EF4-FFF2-40B4-BE49-F238E27FC236}">
                <a16:creationId xmlns:a16="http://schemas.microsoft.com/office/drawing/2014/main" id="{31140FC7-1388-4448-887D-067DA7AFF1EA}"/>
              </a:ext>
            </a:extLst>
          </p:cNvPr>
          <p:cNvSpPr>
            <a:spLocks noChangeArrowheads="1"/>
          </p:cNvSpPr>
          <p:nvPr/>
        </p:nvSpPr>
        <p:spPr bwMode="auto">
          <a:xfrm>
            <a:off x="3690041" y="2362281"/>
            <a:ext cx="99401" cy="104631"/>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83" name="Oval 261">
            <a:extLst>
              <a:ext uri="{FF2B5EF4-FFF2-40B4-BE49-F238E27FC236}">
                <a16:creationId xmlns:a16="http://schemas.microsoft.com/office/drawing/2014/main" id="{0AA67944-F076-44CF-8641-B14F30A0CE3D}"/>
              </a:ext>
            </a:extLst>
          </p:cNvPr>
          <p:cNvSpPr>
            <a:spLocks noChangeArrowheads="1"/>
          </p:cNvSpPr>
          <p:nvPr/>
        </p:nvSpPr>
        <p:spPr bwMode="auto">
          <a:xfrm>
            <a:off x="3628709" y="2310283"/>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84" name="Oval 262">
            <a:extLst>
              <a:ext uri="{FF2B5EF4-FFF2-40B4-BE49-F238E27FC236}">
                <a16:creationId xmlns:a16="http://schemas.microsoft.com/office/drawing/2014/main" id="{A4025D62-E384-4D3D-94C6-E4517D902E64}"/>
              </a:ext>
            </a:extLst>
          </p:cNvPr>
          <p:cNvSpPr>
            <a:spLocks noChangeArrowheads="1"/>
          </p:cNvSpPr>
          <p:nvPr/>
        </p:nvSpPr>
        <p:spPr bwMode="auto">
          <a:xfrm>
            <a:off x="3815178" y="2371316"/>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85" name="Oval 263">
            <a:extLst>
              <a:ext uri="{FF2B5EF4-FFF2-40B4-BE49-F238E27FC236}">
                <a16:creationId xmlns:a16="http://schemas.microsoft.com/office/drawing/2014/main" id="{21F6938C-D1DA-44B5-8668-513882F77A2A}"/>
              </a:ext>
            </a:extLst>
          </p:cNvPr>
          <p:cNvSpPr>
            <a:spLocks noChangeArrowheads="1"/>
          </p:cNvSpPr>
          <p:nvPr/>
        </p:nvSpPr>
        <p:spPr bwMode="auto">
          <a:xfrm>
            <a:off x="4940775" y="3215332"/>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86" name="Oval 264">
            <a:extLst>
              <a:ext uri="{FF2B5EF4-FFF2-40B4-BE49-F238E27FC236}">
                <a16:creationId xmlns:a16="http://schemas.microsoft.com/office/drawing/2014/main" id="{54B4EE0E-AF0B-4DA0-8C28-A37165F91F8C}"/>
              </a:ext>
            </a:extLst>
          </p:cNvPr>
          <p:cNvSpPr>
            <a:spLocks noChangeArrowheads="1"/>
          </p:cNvSpPr>
          <p:nvPr/>
        </p:nvSpPr>
        <p:spPr bwMode="auto">
          <a:xfrm>
            <a:off x="1884370" y="2400962"/>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87" name="Oval 265">
            <a:extLst>
              <a:ext uri="{FF2B5EF4-FFF2-40B4-BE49-F238E27FC236}">
                <a16:creationId xmlns:a16="http://schemas.microsoft.com/office/drawing/2014/main" id="{8C9290C2-DC38-453B-9411-DF925DD5FA67}"/>
              </a:ext>
            </a:extLst>
          </p:cNvPr>
          <p:cNvSpPr>
            <a:spLocks noChangeArrowheads="1"/>
          </p:cNvSpPr>
          <p:nvPr/>
        </p:nvSpPr>
        <p:spPr bwMode="auto">
          <a:xfrm>
            <a:off x="3839218" y="2362281"/>
            <a:ext cx="99401" cy="104631"/>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88" name="Oval 266">
            <a:extLst>
              <a:ext uri="{FF2B5EF4-FFF2-40B4-BE49-F238E27FC236}">
                <a16:creationId xmlns:a16="http://schemas.microsoft.com/office/drawing/2014/main" id="{F7C48F97-8404-4196-91DD-BFF69CCD9D25}"/>
              </a:ext>
            </a:extLst>
          </p:cNvPr>
          <p:cNvSpPr>
            <a:spLocks noChangeArrowheads="1"/>
          </p:cNvSpPr>
          <p:nvPr/>
        </p:nvSpPr>
        <p:spPr bwMode="auto">
          <a:xfrm>
            <a:off x="3643964" y="2111168"/>
            <a:ext cx="101711" cy="104631"/>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89" name="Oval 267">
            <a:extLst>
              <a:ext uri="{FF2B5EF4-FFF2-40B4-BE49-F238E27FC236}">
                <a16:creationId xmlns:a16="http://schemas.microsoft.com/office/drawing/2014/main" id="{846E105E-6EC4-42B5-8BF4-F477B1128993}"/>
              </a:ext>
            </a:extLst>
          </p:cNvPr>
          <p:cNvSpPr>
            <a:spLocks noChangeArrowheads="1"/>
          </p:cNvSpPr>
          <p:nvPr/>
        </p:nvSpPr>
        <p:spPr bwMode="auto">
          <a:xfrm>
            <a:off x="6476607" y="2864507"/>
            <a:ext cx="101711" cy="104631"/>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90" name="Oval 268">
            <a:extLst>
              <a:ext uri="{FF2B5EF4-FFF2-40B4-BE49-F238E27FC236}">
                <a16:creationId xmlns:a16="http://schemas.microsoft.com/office/drawing/2014/main" id="{1038F724-07ED-40E4-BE82-757C5BACFEA0}"/>
              </a:ext>
            </a:extLst>
          </p:cNvPr>
          <p:cNvSpPr>
            <a:spLocks noChangeArrowheads="1"/>
          </p:cNvSpPr>
          <p:nvPr/>
        </p:nvSpPr>
        <p:spPr bwMode="auto">
          <a:xfrm>
            <a:off x="3740588" y="2384951"/>
            <a:ext cx="101711" cy="104631"/>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91" name="Oval 269">
            <a:extLst>
              <a:ext uri="{FF2B5EF4-FFF2-40B4-BE49-F238E27FC236}">
                <a16:creationId xmlns:a16="http://schemas.microsoft.com/office/drawing/2014/main" id="{1D2299D9-CF82-437A-A795-FAA2353D4DB7}"/>
              </a:ext>
            </a:extLst>
          </p:cNvPr>
          <p:cNvSpPr>
            <a:spLocks noChangeArrowheads="1"/>
          </p:cNvSpPr>
          <p:nvPr/>
        </p:nvSpPr>
        <p:spPr bwMode="auto">
          <a:xfrm>
            <a:off x="1191042" y="2934576"/>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92" name="Oval 270">
            <a:extLst>
              <a:ext uri="{FF2B5EF4-FFF2-40B4-BE49-F238E27FC236}">
                <a16:creationId xmlns:a16="http://schemas.microsoft.com/office/drawing/2014/main" id="{5CCA47A9-8677-4EB0-8989-976D80941C53}"/>
              </a:ext>
            </a:extLst>
          </p:cNvPr>
          <p:cNvSpPr>
            <a:spLocks noChangeArrowheads="1"/>
          </p:cNvSpPr>
          <p:nvPr/>
        </p:nvSpPr>
        <p:spPr bwMode="auto">
          <a:xfrm>
            <a:off x="1684647" y="2864507"/>
            <a:ext cx="99401" cy="104631"/>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93" name="Oval 271">
            <a:extLst>
              <a:ext uri="{FF2B5EF4-FFF2-40B4-BE49-F238E27FC236}">
                <a16:creationId xmlns:a16="http://schemas.microsoft.com/office/drawing/2014/main" id="{634362EF-2AFA-429C-8A89-C4FA31F909CC}"/>
              </a:ext>
            </a:extLst>
          </p:cNvPr>
          <p:cNvSpPr>
            <a:spLocks noChangeArrowheads="1"/>
          </p:cNvSpPr>
          <p:nvPr/>
        </p:nvSpPr>
        <p:spPr bwMode="auto">
          <a:xfrm>
            <a:off x="4062982" y="2728804"/>
            <a:ext cx="9940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94" name="Oval 272">
            <a:extLst>
              <a:ext uri="{FF2B5EF4-FFF2-40B4-BE49-F238E27FC236}">
                <a16:creationId xmlns:a16="http://schemas.microsoft.com/office/drawing/2014/main" id="{FE271286-DBEE-44B3-819F-DF1E77EA67B8}"/>
              </a:ext>
            </a:extLst>
          </p:cNvPr>
          <p:cNvSpPr>
            <a:spLocks noChangeArrowheads="1"/>
          </p:cNvSpPr>
          <p:nvPr/>
        </p:nvSpPr>
        <p:spPr bwMode="auto">
          <a:xfrm>
            <a:off x="2191505" y="2552358"/>
            <a:ext cx="99401" cy="104631"/>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95" name="Oval 273">
            <a:extLst>
              <a:ext uri="{FF2B5EF4-FFF2-40B4-BE49-F238E27FC236}">
                <a16:creationId xmlns:a16="http://schemas.microsoft.com/office/drawing/2014/main" id="{0658F0C8-21C8-419B-A6DC-13DFB4CCB5AB}"/>
              </a:ext>
            </a:extLst>
          </p:cNvPr>
          <p:cNvSpPr>
            <a:spLocks noChangeArrowheads="1"/>
          </p:cNvSpPr>
          <p:nvPr/>
        </p:nvSpPr>
        <p:spPr bwMode="auto">
          <a:xfrm>
            <a:off x="2191505" y="4470894"/>
            <a:ext cx="9940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96" name="Oval 274">
            <a:extLst>
              <a:ext uri="{FF2B5EF4-FFF2-40B4-BE49-F238E27FC236}">
                <a16:creationId xmlns:a16="http://schemas.microsoft.com/office/drawing/2014/main" id="{93371EA9-54EB-43F1-9235-6549A6FAC692}"/>
              </a:ext>
            </a:extLst>
          </p:cNvPr>
          <p:cNvSpPr>
            <a:spLocks noChangeArrowheads="1"/>
          </p:cNvSpPr>
          <p:nvPr/>
        </p:nvSpPr>
        <p:spPr bwMode="auto">
          <a:xfrm>
            <a:off x="3808397" y="2384951"/>
            <a:ext cx="101711" cy="104631"/>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97" name="Oval 275">
            <a:extLst>
              <a:ext uri="{FF2B5EF4-FFF2-40B4-BE49-F238E27FC236}">
                <a16:creationId xmlns:a16="http://schemas.microsoft.com/office/drawing/2014/main" id="{1B1DDD7C-2C0C-48C6-9920-7F59F30C1887}"/>
              </a:ext>
            </a:extLst>
          </p:cNvPr>
          <p:cNvSpPr>
            <a:spLocks noChangeArrowheads="1"/>
          </p:cNvSpPr>
          <p:nvPr/>
        </p:nvSpPr>
        <p:spPr bwMode="auto">
          <a:xfrm>
            <a:off x="6417276" y="2873540"/>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98" name="Oval 276">
            <a:extLst>
              <a:ext uri="{FF2B5EF4-FFF2-40B4-BE49-F238E27FC236}">
                <a16:creationId xmlns:a16="http://schemas.microsoft.com/office/drawing/2014/main" id="{2EECC2B6-F72F-475B-9640-657B3333385F}"/>
              </a:ext>
            </a:extLst>
          </p:cNvPr>
          <p:cNvSpPr>
            <a:spLocks noChangeArrowheads="1"/>
          </p:cNvSpPr>
          <p:nvPr/>
        </p:nvSpPr>
        <p:spPr bwMode="auto">
          <a:xfrm>
            <a:off x="6417276" y="2873540"/>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99" name="Oval 277">
            <a:extLst>
              <a:ext uri="{FF2B5EF4-FFF2-40B4-BE49-F238E27FC236}">
                <a16:creationId xmlns:a16="http://schemas.microsoft.com/office/drawing/2014/main" id="{54C36AC5-918D-4770-B55E-718CF664D4AF}"/>
              </a:ext>
            </a:extLst>
          </p:cNvPr>
          <p:cNvSpPr>
            <a:spLocks noChangeArrowheads="1"/>
          </p:cNvSpPr>
          <p:nvPr/>
        </p:nvSpPr>
        <p:spPr bwMode="auto">
          <a:xfrm>
            <a:off x="3643964" y="2226578"/>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00" name="Oval 278">
            <a:extLst>
              <a:ext uri="{FF2B5EF4-FFF2-40B4-BE49-F238E27FC236}">
                <a16:creationId xmlns:a16="http://schemas.microsoft.com/office/drawing/2014/main" id="{1B4EFBBE-C5EC-46C0-B338-CD2E8E3A5A96}"/>
              </a:ext>
            </a:extLst>
          </p:cNvPr>
          <p:cNvSpPr>
            <a:spLocks noChangeArrowheads="1"/>
          </p:cNvSpPr>
          <p:nvPr/>
        </p:nvSpPr>
        <p:spPr bwMode="auto">
          <a:xfrm>
            <a:off x="6314176" y="3002586"/>
            <a:ext cx="9940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01" name="Oval 279">
            <a:extLst>
              <a:ext uri="{FF2B5EF4-FFF2-40B4-BE49-F238E27FC236}">
                <a16:creationId xmlns:a16="http://schemas.microsoft.com/office/drawing/2014/main" id="{482AD6C6-CE22-492C-8D2F-1782A98AE224}"/>
              </a:ext>
            </a:extLst>
          </p:cNvPr>
          <p:cNvSpPr>
            <a:spLocks noChangeArrowheads="1"/>
          </p:cNvSpPr>
          <p:nvPr/>
        </p:nvSpPr>
        <p:spPr bwMode="auto">
          <a:xfrm>
            <a:off x="6112451" y="2828201"/>
            <a:ext cx="9940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02" name="Oval 280">
            <a:extLst>
              <a:ext uri="{FF2B5EF4-FFF2-40B4-BE49-F238E27FC236}">
                <a16:creationId xmlns:a16="http://schemas.microsoft.com/office/drawing/2014/main" id="{66C8252D-AE36-4AF6-916D-CE0C5722DA61}"/>
              </a:ext>
            </a:extLst>
          </p:cNvPr>
          <p:cNvSpPr>
            <a:spLocks noChangeArrowheads="1"/>
          </p:cNvSpPr>
          <p:nvPr/>
        </p:nvSpPr>
        <p:spPr bwMode="auto">
          <a:xfrm>
            <a:off x="3525611" y="2819482"/>
            <a:ext cx="9940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03" name="Oval 281">
            <a:extLst>
              <a:ext uri="{FF2B5EF4-FFF2-40B4-BE49-F238E27FC236}">
                <a16:creationId xmlns:a16="http://schemas.microsoft.com/office/drawing/2014/main" id="{1BC3DEDF-656A-47F4-B337-AB451572472B}"/>
              </a:ext>
            </a:extLst>
          </p:cNvPr>
          <p:cNvSpPr>
            <a:spLocks noChangeArrowheads="1"/>
          </p:cNvSpPr>
          <p:nvPr/>
        </p:nvSpPr>
        <p:spPr bwMode="auto">
          <a:xfrm>
            <a:off x="3905023" y="2210883"/>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04" name="Oval 282">
            <a:extLst>
              <a:ext uri="{FF2B5EF4-FFF2-40B4-BE49-F238E27FC236}">
                <a16:creationId xmlns:a16="http://schemas.microsoft.com/office/drawing/2014/main" id="{7EE361A3-0516-46E4-9B74-8DD04D65F725}"/>
              </a:ext>
            </a:extLst>
          </p:cNvPr>
          <p:cNvSpPr>
            <a:spLocks noChangeArrowheads="1"/>
          </p:cNvSpPr>
          <p:nvPr/>
        </p:nvSpPr>
        <p:spPr bwMode="auto">
          <a:xfrm>
            <a:off x="2005035" y="2925856"/>
            <a:ext cx="9940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05" name="Oval 283">
            <a:extLst>
              <a:ext uri="{FF2B5EF4-FFF2-40B4-BE49-F238E27FC236}">
                <a16:creationId xmlns:a16="http://schemas.microsoft.com/office/drawing/2014/main" id="{F58C8040-7444-409B-A5E1-A0FD346FA28D}"/>
              </a:ext>
            </a:extLst>
          </p:cNvPr>
          <p:cNvSpPr>
            <a:spLocks noChangeArrowheads="1"/>
          </p:cNvSpPr>
          <p:nvPr/>
        </p:nvSpPr>
        <p:spPr bwMode="auto">
          <a:xfrm>
            <a:off x="4054197" y="2744497"/>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06" name="Oval 284">
            <a:extLst>
              <a:ext uri="{FF2B5EF4-FFF2-40B4-BE49-F238E27FC236}">
                <a16:creationId xmlns:a16="http://schemas.microsoft.com/office/drawing/2014/main" id="{77098479-3AF1-448F-B6CF-849CD1322D6A}"/>
              </a:ext>
            </a:extLst>
          </p:cNvPr>
          <p:cNvSpPr>
            <a:spLocks noChangeArrowheads="1"/>
          </p:cNvSpPr>
          <p:nvPr/>
        </p:nvSpPr>
        <p:spPr bwMode="auto">
          <a:xfrm>
            <a:off x="3690041" y="2416655"/>
            <a:ext cx="9940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07" name="Oval 285">
            <a:extLst>
              <a:ext uri="{FF2B5EF4-FFF2-40B4-BE49-F238E27FC236}">
                <a16:creationId xmlns:a16="http://schemas.microsoft.com/office/drawing/2014/main" id="{A43B693D-33E5-4432-91F9-D07242192977}"/>
              </a:ext>
            </a:extLst>
          </p:cNvPr>
          <p:cNvSpPr>
            <a:spLocks noChangeArrowheads="1"/>
          </p:cNvSpPr>
          <p:nvPr/>
        </p:nvSpPr>
        <p:spPr bwMode="auto">
          <a:xfrm>
            <a:off x="3674785" y="2172519"/>
            <a:ext cx="9940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08" name="Oval 286">
            <a:extLst>
              <a:ext uri="{FF2B5EF4-FFF2-40B4-BE49-F238E27FC236}">
                <a16:creationId xmlns:a16="http://schemas.microsoft.com/office/drawing/2014/main" id="{C1BB56E0-FBD2-4957-BA5F-E7304119645A}"/>
              </a:ext>
            </a:extLst>
          </p:cNvPr>
          <p:cNvSpPr>
            <a:spLocks noChangeArrowheads="1"/>
          </p:cNvSpPr>
          <p:nvPr/>
        </p:nvSpPr>
        <p:spPr bwMode="auto">
          <a:xfrm>
            <a:off x="3830435" y="2074865"/>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09" name="Oval 287">
            <a:extLst>
              <a:ext uri="{FF2B5EF4-FFF2-40B4-BE49-F238E27FC236}">
                <a16:creationId xmlns:a16="http://schemas.microsoft.com/office/drawing/2014/main" id="{37535CED-C2E4-480B-A9F6-E756A461A356}"/>
              </a:ext>
            </a:extLst>
          </p:cNvPr>
          <p:cNvSpPr>
            <a:spLocks noChangeArrowheads="1"/>
          </p:cNvSpPr>
          <p:nvPr/>
        </p:nvSpPr>
        <p:spPr bwMode="auto">
          <a:xfrm>
            <a:off x="3690041" y="2287613"/>
            <a:ext cx="9940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10" name="Oval 288">
            <a:extLst>
              <a:ext uri="{FF2B5EF4-FFF2-40B4-BE49-F238E27FC236}">
                <a16:creationId xmlns:a16="http://schemas.microsoft.com/office/drawing/2014/main" id="{EEEEC27F-762D-42A8-B15D-08F7020BDEBE}"/>
              </a:ext>
            </a:extLst>
          </p:cNvPr>
          <p:cNvSpPr>
            <a:spLocks noChangeArrowheads="1"/>
          </p:cNvSpPr>
          <p:nvPr/>
        </p:nvSpPr>
        <p:spPr bwMode="auto">
          <a:xfrm>
            <a:off x="1588022" y="2986892"/>
            <a:ext cx="9940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11" name="Oval 289">
            <a:extLst>
              <a:ext uri="{FF2B5EF4-FFF2-40B4-BE49-F238E27FC236}">
                <a16:creationId xmlns:a16="http://schemas.microsoft.com/office/drawing/2014/main" id="{A95CC3E0-0243-484D-97B4-6110FDDC1710}"/>
              </a:ext>
            </a:extLst>
          </p:cNvPr>
          <p:cNvSpPr>
            <a:spLocks noChangeArrowheads="1"/>
          </p:cNvSpPr>
          <p:nvPr/>
        </p:nvSpPr>
        <p:spPr bwMode="auto">
          <a:xfrm>
            <a:off x="4196901" y="2484666"/>
            <a:ext cx="9940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12" name="Oval 290">
            <a:extLst>
              <a:ext uri="{FF2B5EF4-FFF2-40B4-BE49-F238E27FC236}">
                <a16:creationId xmlns:a16="http://schemas.microsoft.com/office/drawing/2014/main" id="{CAC3B06E-DEAA-4C96-8D17-2323610A3D59}"/>
              </a:ext>
            </a:extLst>
          </p:cNvPr>
          <p:cNvSpPr>
            <a:spLocks noChangeArrowheads="1"/>
          </p:cNvSpPr>
          <p:nvPr/>
        </p:nvSpPr>
        <p:spPr bwMode="auto">
          <a:xfrm>
            <a:off x="6476607" y="2880517"/>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13" name="Oval 291">
            <a:extLst>
              <a:ext uri="{FF2B5EF4-FFF2-40B4-BE49-F238E27FC236}">
                <a16:creationId xmlns:a16="http://schemas.microsoft.com/office/drawing/2014/main" id="{A26AF3D3-4E3F-4590-A699-BE6EEF3973B7}"/>
              </a:ext>
            </a:extLst>
          </p:cNvPr>
          <p:cNvSpPr>
            <a:spLocks noChangeArrowheads="1"/>
          </p:cNvSpPr>
          <p:nvPr/>
        </p:nvSpPr>
        <p:spPr bwMode="auto">
          <a:xfrm>
            <a:off x="4346076" y="1518582"/>
            <a:ext cx="9940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14" name="Oval 292">
            <a:extLst>
              <a:ext uri="{FF2B5EF4-FFF2-40B4-BE49-F238E27FC236}">
                <a16:creationId xmlns:a16="http://schemas.microsoft.com/office/drawing/2014/main" id="{14EC15C5-34D9-459A-A5FE-31637E3C6EB9}"/>
              </a:ext>
            </a:extLst>
          </p:cNvPr>
          <p:cNvSpPr>
            <a:spLocks noChangeArrowheads="1"/>
          </p:cNvSpPr>
          <p:nvPr/>
        </p:nvSpPr>
        <p:spPr bwMode="auto">
          <a:xfrm>
            <a:off x="4188116" y="2500360"/>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15" name="Oval 293">
            <a:extLst>
              <a:ext uri="{FF2B5EF4-FFF2-40B4-BE49-F238E27FC236}">
                <a16:creationId xmlns:a16="http://schemas.microsoft.com/office/drawing/2014/main" id="{A2873B57-9ACA-4991-8EBD-D7377FB316BF}"/>
              </a:ext>
            </a:extLst>
          </p:cNvPr>
          <p:cNvSpPr>
            <a:spLocks noChangeArrowheads="1"/>
          </p:cNvSpPr>
          <p:nvPr/>
        </p:nvSpPr>
        <p:spPr bwMode="auto">
          <a:xfrm>
            <a:off x="3823962" y="2439327"/>
            <a:ext cx="9940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16" name="Oval 294">
            <a:extLst>
              <a:ext uri="{FF2B5EF4-FFF2-40B4-BE49-F238E27FC236}">
                <a16:creationId xmlns:a16="http://schemas.microsoft.com/office/drawing/2014/main" id="{C4A030DE-4987-48CA-BBBB-1CBB0349BCDD}"/>
              </a:ext>
            </a:extLst>
          </p:cNvPr>
          <p:cNvSpPr>
            <a:spLocks noChangeArrowheads="1"/>
          </p:cNvSpPr>
          <p:nvPr/>
        </p:nvSpPr>
        <p:spPr bwMode="auto">
          <a:xfrm>
            <a:off x="6187039" y="4402885"/>
            <a:ext cx="9940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17" name="Oval 295">
            <a:extLst>
              <a:ext uri="{FF2B5EF4-FFF2-40B4-BE49-F238E27FC236}">
                <a16:creationId xmlns:a16="http://schemas.microsoft.com/office/drawing/2014/main" id="{825E4653-BA49-4565-8193-03B1ACCEDDC9}"/>
              </a:ext>
            </a:extLst>
          </p:cNvPr>
          <p:cNvSpPr>
            <a:spLocks noChangeArrowheads="1"/>
          </p:cNvSpPr>
          <p:nvPr/>
        </p:nvSpPr>
        <p:spPr bwMode="auto">
          <a:xfrm>
            <a:off x="6849546" y="4554599"/>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18" name="Oval 296">
            <a:extLst>
              <a:ext uri="{FF2B5EF4-FFF2-40B4-BE49-F238E27FC236}">
                <a16:creationId xmlns:a16="http://schemas.microsoft.com/office/drawing/2014/main" id="{CF231C7D-CB44-464F-A9E6-3C5B85176415}"/>
              </a:ext>
            </a:extLst>
          </p:cNvPr>
          <p:cNvSpPr>
            <a:spLocks noChangeArrowheads="1"/>
          </p:cNvSpPr>
          <p:nvPr/>
        </p:nvSpPr>
        <p:spPr bwMode="auto">
          <a:xfrm>
            <a:off x="3973137" y="2445986"/>
            <a:ext cx="99401" cy="104631"/>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19" name="Oval 297">
            <a:extLst>
              <a:ext uri="{FF2B5EF4-FFF2-40B4-BE49-F238E27FC236}">
                <a16:creationId xmlns:a16="http://schemas.microsoft.com/office/drawing/2014/main" id="{3F1665E4-25BC-4A69-BEE1-E8E81E1D158F}"/>
              </a:ext>
            </a:extLst>
          </p:cNvPr>
          <p:cNvSpPr>
            <a:spLocks noChangeArrowheads="1"/>
          </p:cNvSpPr>
          <p:nvPr/>
        </p:nvSpPr>
        <p:spPr bwMode="auto">
          <a:xfrm>
            <a:off x="3882983" y="2529690"/>
            <a:ext cx="101711" cy="104631"/>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20" name="Oval 298">
            <a:extLst>
              <a:ext uri="{FF2B5EF4-FFF2-40B4-BE49-F238E27FC236}">
                <a16:creationId xmlns:a16="http://schemas.microsoft.com/office/drawing/2014/main" id="{5777D41D-28F1-4367-8697-F5169347AED8}"/>
              </a:ext>
            </a:extLst>
          </p:cNvPr>
          <p:cNvSpPr>
            <a:spLocks noChangeArrowheads="1"/>
          </p:cNvSpPr>
          <p:nvPr/>
        </p:nvSpPr>
        <p:spPr bwMode="auto">
          <a:xfrm>
            <a:off x="6678333" y="2880517"/>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21" name="Oval 299">
            <a:extLst>
              <a:ext uri="{FF2B5EF4-FFF2-40B4-BE49-F238E27FC236}">
                <a16:creationId xmlns:a16="http://schemas.microsoft.com/office/drawing/2014/main" id="{DD27EEA8-AB4A-494F-9FF7-2425B4679FAA}"/>
              </a:ext>
            </a:extLst>
          </p:cNvPr>
          <p:cNvSpPr>
            <a:spLocks noChangeArrowheads="1"/>
          </p:cNvSpPr>
          <p:nvPr/>
        </p:nvSpPr>
        <p:spPr bwMode="auto">
          <a:xfrm>
            <a:off x="6693897" y="2880517"/>
            <a:ext cx="9940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22" name="Oval 300">
            <a:extLst>
              <a:ext uri="{FF2B5EF4-FFF2-40B4-BE49-F238E27FC236}">
                <a16:creationId xmlns:a16="http://schemas.microsoft.com/office/drawing/2014/main" id="{A72569A1-A6C0-4F70-96B2-F036B517DA1A}"/>
              </a:ext>
            </a:extLst>
          </p:cNvPr>
          <p:cNvSpPr>
            <a:spLocks noChangeArrowheads="1"/>
          </p:cNvSpPr>
          <p:nvPr/>
        </p:nvSpPr>
        <p:spPr bwMode="auto">
          <a:xfrm>
            <a:off x="3786667" y="2409681"/>
            <a:ext cx="9940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23" name="Oval 301">
            <a:extLst>
              <a:ext uri="{FF2B5EF4-FFF2-40B4-BE49-F238E27FC236}">
                <a16:creationId xmlns:a16="http://schemas.microsoft.com/office/drawing/2014/main" id="{0C226034-D949-4051-83D9-734D2E5E1D2E}"/>
              </a:ext>
            </a:extLst>
          </p:cNvPr>
          <p:cNvSpPr>
            <a:spLocks noChangeArrowheads="1"/>
          </p:cNvSpPr>
          <p:nvPr/>
        </p:nvSpPr>
        <p:spPr bwMode="auto">
          <a:xfrm>
            <a:off x="6127708" y="3079313"/>
            <a:ext cx="9940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24" name="Oval 302">
            <a:extLst>
              <a:ext uri="{FF2B5EF4-FFF2-40B4-BE49-F238E27FC236}">
                <a16:creationId xmlns:a16="http://schemas.microsoft.com/office/drawing/2014/main" id="{F1010FCB-A08E-489B-9BAE-29147BB8602D}"/>
              </a:ext>
            </a:extLst>
          </p:cNvPr>
          <p:cNvSpPr>
            <a:spLocks noChangeArrowheads="1"/>
          </p:cNvSpPr>
          <p:nvPr/>
        </p:nvSpPr>
        <p:spPr bwMode="auto">
          <a:xfrm>
            <a:off x="6230806" y="285784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25" name="Oval 303">
            <a:extLst>
              <a:ext uri="{FF2B5EF4-FFF2-40B4-BE49-F238E27FC236}">
                <a16:creationId xmlns:a16="http://schemas.microsoft.com/office/drawing/2014/main" id="{2320EA99-9B01-4866-A5DA-5E9E3C7AFC8D}"/>
              </a:ext>
            </a:extLst>
          </p:cNvPr>
          <p:cNvSpPr>
            <a:spLocks noChangeArrowheads="1"/>
          </p:cNvSpPr>
          <p:nvPr/>
        </p:nvSpPr>
        <p:spPr bwMode="auto">
          <a:xfrm>
            <a:off x="3920279" y="227191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26" name="Oval 304">
            <a:extLst>
              <a:ext uri="{FF2B5EF4-FFF2-40B4-BE49-F238E27FC236}">
                <a16:creationId xmlns:a16="http://schemas.microsoft.com/office/drawing/2014/main" id="{CD6A2BCB-0FA0-4668-9365-8B90F2E5AB78}"/>
              </a:ext>
            </a:extLst>
          </p:cNvPr>
          <p:cNvSpPr>
            <a:spLocks noChangeArrowheads="1"/>
          </p:cNvSpPr>
          <p:nvPr/>
        </p:nvSpPr>
        <p:spPr bwMode="auto">
          <a:xfrm>
            <a:off x="3927059" y="2194873"/>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27" name="Oval 305">
            <a:extLst>
              <a:ext uri="{FF2B5EF4-FFF2-40B4-BE49-F238E27FC236}">
                <a16:creationId xmlns:a16="http://schemas.microsoft.com/office/drawing/2014/main" id="{752CE0D1-1958-41F6-9528-E54531E4EDEC}"/>
              </a:ext>
            </a:extLst>
          </p:cNvPr>
          <p:cNvSpPr>
            <a:spLocks noChangeArrowheads="1"/>
          </p:cNvSpPr>
          <p:nvPr/>
        </p:nvSpPr>
        <p:spPr bwMode="auto">
          <a:xfrm>
            <a:off x="3666002" y="2188215"/>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28" name="Oval 306">
            <a:extLst>
              <a:ext uri="{FF2B5EF4-FFF2-40B4-BE49-F238E27FC236}">
                <a16:creationId xmlns:a16="http://schemas.microsoft.com/office/drawing/2014/main" id="{7980A235-FDF5-4338-B59F-48498CC8D867}"/>
              </a:ext>
            </a:extLst>
          </p:cNvPr>
          <p:cNvSpPr>
            <a:spLocks noChangeArrowheads="1"/>
          </p:cNvSpPr>
          <p:nvPr/>
        </p:nvSpPr>
        <p:spPr bwMode="auto">
          <a:xfrm>
            <a:off x="3935844" y="1882726"/>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29" name="Oval 307">
            <a:extLst>
              <a:ext uri="{FF2B5EF4-FFF2-40B4-BE49-F238E27FC236}">
                <a16:creationId xmlns:a16="http://schemas.microsoft.com/office/drawing/2014/main" id="{5E133BC3-D02C-4EED-8672-C29915B26A78}"/>
              </a:ext>
            </a:extLst>
          </p:cNvPr>
          <p:cNvSpPr>
            <a:spLocks noChangeArrowheads="1"/>
          </p:cNvSpPr>
          <p:nvPr/>
        </p:nvSpPr>
        <p:spPr bwMode="auto">
          <a:xfrm>
            <a:off x="4405407" y="3031914"/>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30" name="Oval 308">
            <a:extLst>
              <a:ext uri="{FF2B5EF4-FFF2-40B4-BE49-F238E27FC236}">
                <a16:creationId xmlns:a16="http://schemas.microsoft.com/office/drawing/2014/main" id="{FC1AAF6F-C3E8-450D-8E83-E3C554C67B78}"/>
              </a:ext>
            </a:extLst>
          </p:cNvPr>
          <p:cNvSpPr>
            <a:spLocks noChangeArrowheads="1"/>
          </p:cNvSpPr>
          <p:nvPr/>
        </p:nvSpPr>
        <p:spPr bwMode="auto">
          <a:xfrm>
            <a:off x="4405407" y="3040948"/>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31" name="Oval 309">
            <a:extLst>
              <a:ext uri="{FF2B5EF4-FFF2-40B4-BE49-F238E27FC236}">
                <a16:creationId xmlns:a16="http://schemas.microsoft.com/office/drawing/2014/main" id="{FAB841CB-9A06-49FE-8A1F-65060B7F6579}"/>
              </a:ext>
            </a:extLst>
          </p:cNvPr>
          <p:cNvSpPr>
            <a:spLocks noChangeArrowheads="1"/>
          </p:cNvSpPr>
          <p:nvPr/>
        </p:nvSpPr>
        <p:spPr bwMode="auto">
          <a:xfrm>
            <a:off x="4405407" y="3031914"/>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32" name="Oval 310">
            <a:extLst>
              <a:ext uri="{FF2B5EF4-FFF2-40B4-BE49-F238E27FC236}">
                <a16:creationId xmlns:a16="http://schemas.microsoft.com/office/drawing/2014/main" id="{A67C3620-D19D-4B4D-9851-DD7DD435F299}"/>
              </a:ext>
            </a:extLst>
          </p:cNvPr>
          <p:cNvSpPr>
            <a:spLocks noChangeArrowheads="1"/>
          </p:cNvSpPr>
          <p:nvPr/>
        </p:nvSpPr>
        <p:spPr bwMode="auto">
          <a:xfrm>
            <a:off x="4844151" y="3169993"/>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33" name="Oval 311">
            <a:extLst>
              <a:ext uri="{FF2B5EF4-FFF2-40B4-BE49-F238E27FC236}">
                <a16:creationId xmlns:a16="http://schemas.microsoft.com/office/drawing/2014/main" id="{50E89B0B-47DD-446D-B111-620C7113E61F}"/>
              </a:ext>
            </a:extLst>
          </p:cNvPr>
          <p:cNvSpPr>
            <a:spLocks noChangeArrowheads="1"/>
          </p:cNvSpPr>
          <p:nvPr/>
        </p:nvSpPr>
        <p:spPr bwMode="auto">
          <a:xfrm>
            <a:off x="4844151" y="3169993"/>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34" name="Oval 312">
            <a:extLst>
              <a:ext uri="{FF2B5EF4-FFF2-40B4-BE49-F238E27FC236}">
                <a16:creationId xmlns:a16="http://schemas.microsoft.com/office/drawing/2014/main" id="{DC880233-2517-46B2-928E-67C4C19E8A4B}"/>
              </a:ext>
            </a:extLst>
          </p:cNvPr>
          <p:cNvSpPr>
            <a:spLocks noChangeArrowheads="1"/>
          </p:cNvSpPr>
          <p:nvPr/>
        </p:nvSpPr>
        <p:spPr bwMode="auto">
          <a:xfrm>
            <a:off x="4844151" y="3169993"/>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35" name="Oval 313">
            <a:extLst>
              <a:ext uri="{FF2B5EF4-FFF2-40B4-BE49-F238E27FC236}">
                <a16:creationId xmlns:a16="http://schemas.microsoft.com/office/drawing/2014/main" id="{EE5BEA48-8741-4C66-94F1-20EEEE0A184C}"/>
              </a:ext>
            </a:extLst>
          </p:cNvPr>
          <p:cNvSpPr>
            <a:spLocks noChangeArrowheads="1"/>
          </p:cNvSpPr>
          <p:nvPr/>
        </p:nvSpPr>
        <p:spPr bwMode="auto">
          <a:xfrm>
            <a:off x="3556123" y="2796813"/>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36" name="Oval 314">
            <a:extLst>
              <a:ext uri="{FF2B5EF4-FFF2-40B4-BE49-F238E27FC236}">
                <a16:creationId xmlns:a16="http://schemas.microsoft.com/office/drawing/2014/main" id="{4D1E33CD-F790-43A4-AED1-F40DD3B4B6A9}"/>
              </a:ext>
            </a:extLst>
          </p:cNvPr>
          <p:cNvSpPr>
            <a:spLocks noChangeArrowheads="1"/>
          </p:cNvSpPr>
          <p:nvPr/>
        </p:nvSpPr>
        <p:spPr bwMode="auto">
          <a:xfrm>
            <a:off x="2138647" y="2683464"/>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37" name="Oval 315">
            <a:extLst>
              <a:ext uri="{FF2B5EF4-FFF2-40B4-BE49-F238E27FC236}">
                <a16:creationId xmlns:a16="http://schemas.microsoft.com/office/drawing/2014/main" id="{CCA617E7-5048-4A04-A5A2-ED2C13A2D614}"/>
              </a:ext>
            </a:extLst>
          </p:cNvPr>
          <p:cNvSpPr>
            <a:spLocks noChangeArrowheads="1"/>
          </p:cNvSpPr>
          <p:nvPr/>
        </p:nvSpPr>
        <p:spPr bwMode="auto">
          <a:xfrm>
            <a:off x="1274414" y="2256224"/>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38" name="Oval 316">
            <a:extLst>
              <a:ext uri="{FF2B5EF4-FFF2-40B4-BE49-F238E27FC236}">
                <a16:creationId xmlns:a16="http://schemas.microsoft.com/office/drawing/2014/main" id="{37A3A114-645F-4585-B507-D8B48560EA5A}"/>
              </a:ext>
            </a:extLst>
          </p:cNvPr>
          <p:cNvSpPr>
            <a:spLocks noChangeArrowheads="1"/>
          </p:cNvSpPr>
          <p:nvPr/>
        </p:nvSpPr>
        <p:spPr bwMode="auto">
          <a:xfrm>
            <a:off x="1274414" y="2256224"/>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39" name="Oval 317">
            <a:extLst>
              <a:ext uri="{FF2B5EF4-FFF2-40B4-BE49-F238E27FC236}">
                <a16:creationId xmlns:a16="http://schemas.microsoft.com/office/drawing/2014/main" id="{554D4DB1-00AA-47E2-A334-74C7CDB1EF2A}"/>
              </a:ext>
            </a:extLst>
          </p:cNvPr>
          <p:cNvSpPr>
            <a:spLocks noChangeArrowheads="1"/>
          </p:cNvSpPr>
          <p:nvPr/>
        </p:nvSpPr>
        <p:spPr bwMode="auto">
          <a:xfrm>
            <a:off x="3712080" y="2317257"/>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40" name="Oval 318">
            <a:extLst>
              <a:ext uri="{FF2B5EF4-FFF2-40B4-BE49-F238E27FC236}">
                <a16:creationId xmlns:a16="http://schemas.microsoft.com/office/drawing/2014/main" id="{EFEDE7FA-E54F-444E-98BF-7057C1140C82}"/>
              </a:ext>
            </a:extLst>
          </p:cNvPr>
          <p:cNvSpPr>
            <a:spLocks noChangeArrowheads="1"/>
          </p:cNvSpPr>
          <p:nvPr/>
        </p:nvSpPr>
        <p:spPr bwMode="auto">
          <a:xfrm>
            <a:off x="3600198" y="2864507"/>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41" name="Oval 319">
            <a:extLst>
              <a:ext uri="{FF2B5EF4-FFF2-40B4-BE49-F238E27FC236}">
                <a16:creationId xmlns:a16="http://schemas.microsoft.com/office/drawing/2014/main" id="{AD57CE0E-6052-4646-AB55-AC5C479AD390}"/>
              </a:ext>
            </a:extLst>
          </p:cNvPr>
          <p:cNvSpPr>
            <a:spLocks noChangeArrowheads="1"/>
          </p:cNvSpPr>
          <p:nvPr/>
        </p:nvSpPr>
        <p:spPr bwMode="auto">
          <a:xfrm>
            <a:off x="3666002" y="283517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42" name="Oval 320">
            <a:extLst>
              <a:ext uri="{FF2B5EF4-FFF2-40B4-BE49-F238E27FC236}">
                <a16:creationId xmlns:a16="http://schemas.microsoft.com/office/drawing/2014/main" id="{856043D5-DE3A-4DDD-8837-7411B12350BB}"/>
              </a:ext>
            </a:extLst>
          </p:cNvPr>
          <p:cNvSpPr>
            <a:spLocks noChangeArrowheads="1"/>
          </p:cNvSpPr>
          <p:nvPr/>
        </p:nvSpPr>
        <p:spPr bwMode="auto">
          <a:xfrm>
            <a:off x="2540404" y="4287475"/>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43" name="Oval 321">
            <a:extLst>
              <a:ext uri="{FF2B5EF4-FFF2-40B4-BE49-F238E27FC236}">
                <a16:creationId xmlns:a16="http://schemas.microsoft.com/office/drawing/2014/main" id="{74B5B84C-D01E-4361-8367-8EE887ABBCDA}"/>
              </a:ext>
            </a:extLst>
          </p:cNvPr>
          <p:cNvSpPr>
            <a:spLocks noChangeArrowheads="1"/>
          </p:cNvSpPr>
          <p:nvPr/>
        </p:nvSpPr>
        <p:spPr bwMode="auto">
          <a:xfrm>
            <a:off x="5991785" y="2774142"/>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44" name="Oval 322">
            <a:extLst>
              <a:ext uri="{FF2B5EF4-FFF2-40B4-BE49-F238E27FC236}">
                <a16:creationId xmlns:a16="http://schemas.microsoft.com/office/drawing/2014/main" id="{51A8D275-B9D7-40B8-816D-34E5796EE310}"/>
              </a:ext>
            </a:extLst>
          </p:cNvPr>
          <p:cNvSpPr>
            <a:spLocks noChangeArrowheads="1"/>
          </p:cNvSpPr>
          <p:nvPr/>
        </p:nvSpPr>
        <p:spPr bwMode="auto">
          <a:xfrm>
            <a:off x="3659221" y="266776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45" name="Oval 323">
            <a:extLst>
              <a:ext uri="{FF2B5EF4-FFF2-40B4-BE49-F238E27FC236}">
                <a16:creationId xmlns:a16="http://schemas.microsoft.com/office/drawing/2014/main" id="{049B33CD-6734-4136-9381-59C31B4EEE04}"/>
              </a:ext>
            </a:extLst>
          </p:cNvPr>
          <p:cNvSpPr>
            <a:spLocks noChangeArrowheads="1"/>
          </p:cNvSpPr>
          <p:nvPr/>
        </p:nvSpPr>
        <p:spPr bwMode="auto">
          <a:xfrm>
            <a:off x="3823962" y="2371316"/>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46" name="Oval 324">
            <a:extLst>
              <a:ext uri="{FF2B5EF4-FFF2-40B4-BE49-F238E27FC236}">
                <a16:creationId xmlns:a16="http://schemas.microsoft.com/office/drawing/2014/main" id="{C2094FDA-BA7F-4F90-85A2-C2980718E132}"/>
              </a:ext>
            </a:extLst>
          </p:cNvPr>
          <p:cNvSpPr>
            <a:spLocks noChangeArrowheads="1"/>
          </p:cNvSpPr>
          <p:nvPr/>
        </p:nvSpPr>
        <p:spPr bwMode="auto">
          <a:xfrm>
            <a:off x="3823962" y="2371316"/>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47" name="Oval 325">
            <a:extLst>
              <a:ext uri="{FF2B5EF4-FFF2-40B4-BE49-F238E27FC236}">
                <a16:creationId xmlns:a16="http://schemas.microsoft.com/office/drawing/2014/main" id="{652F5B96-A029-4534-B638-BED05CCF0C09}"/>
              </a:ext>
            </a:extLst>
          </p:cNvPr>
          <p:cNvSpPr>
            <a:spLocks noChangeArrowheads="1"/>
          </p:cNvSpPr>
          <p:nvPr/>
        </p:nvSpPr>
        <p:spPr bwMode="auto">
          <a:xfrm>
            <a:off x="3823962" y="2371316"/>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48" name="Oval 326">
            <a:extLst>
              <a:ext uri="{FF2B5EF4-FFF2-40B4-BE49-F238E27FC236}">
                <a16:creationId xmlns:a16="http://schemas.microsoft.com/office/drawing/2014/main" id="{1CF2748A-5814-4550-92EC-9696675DB20E}"/>
              </a:ext>
            </a:extLst>
          </p:cNvPr>
          <p:cNvSpPr>
            <a:spLocks noChangeArrowheads="1"/>
          </p:cNvSpPr>
          <p:nvPr/>
        </p:nvSpPr>
        <p:spPr bwMode="auto">
          <a:xfrm>
            <a:off x="2213235" y="4242452"/>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49" name="Oval 327">
            <a:extLst>
              <a:ext uri="{FF2B5EF4-FFF2-40B4-BE49-F238E27FC236}">
                <a16:creationId xmlns:a16="http://schemas.microsoft.com/office/drawing/2014/main" id="{CDBFA1A4-2795-47F9-88BC-1D9BFBB59C4C}"/>
              </a:ext>
            </a:extLst>
          </p:cNvPr>
          <p:cNvSpPr>
            <a:spLocks noChangeArrowheads="1"/>
          </p:cNvSpPr>
          <p:nvPr/>
        </p:nvSpPr>
        <p:spPr bwMode="auto">
          <a:xfrm>
            <a:off x="3808397" y="2409681"/>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50" name="Oval 328">
            <a:extLst>
              <a:ext uri="{FF2B5EF4-FFF2-40B4-BE49-F238E27FC236}">
                <a16:creationId xmlns:a16="http://schemas.microsoft.com/office/drawing/2014/main" id="{C098140E-C68A-4887-AEA7-67FB8CF575CD}"/>
              </a:ext>
            </a:extLst>
          </p:cNvPr>
          <p:cNvSpPr>
            <a:spLocks noChangeArrowheads="1"/>
          </p:cNvSpPr>
          <p:nvPr/>
        </p:nvSpPr>
        <p:spPr bwMode="auto">
          <a:xfrm>
            <a:off x="6156218" y="2864507"/>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51" name="Oval 329">
            <a:extLst>
              <a:ext uri="{FF2B5EF4-FFF2-40B4-BE49-F238E27FC236}">
                <a16:creationId xmlns:a16="http://schemas.microsoft.com/office/drawing/2014/main" id="{21011410-6AC7-4D9D-8EC4-6AC0CF4C288D}"/>
              </a:ext>
            </a:extLst>
          </p:cNvPr>
          <p:cNvSpPr>
            <a:spLocks noChangeArrowheads="1"/>
          </p:cNvSpPr>
          <p:nvPr/>
        </p:nvSpPr>
        <p:spPr bwMode="auto">
          <a:xfrm>
            <a:off x="1989472" y="273577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52" name="Oval 330">
            <a:extLst>
              <a:ext uri="{FF2B5EF4-FFF2-40B4-BE49-F238E27FC236}">
                <a16:creationId xmlns:a16="http://schemas.microsoft.com/office/drawing/2014/main" id="{A0EAEF2A-713A-4956-9131-DCC92816E176}"/>
              </a:ext>
            </a:extLst>
          </p:cNvPr>
          <p:cNvSpPr>
            <a:spLocks noChangeArrowheads="1"/>
          </p:cNvSpPr>
          <p:nvPr/>
        </p:nvSpPr>
        <p:spPr bwMode="auto">
          <a:xfrm>
            <a:off x="3703295" y="2719768"/>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53" name="Oval 331">
            <a:extLst>
              <a:ext uri="{FF2B5EF4-FFF2-40B4-BE49-F238E27FC236}">
                <a16:creationId xmlns:a16="http://schemas.microsoft.com/office/drawing/2014/main" id="{0168C83E-0074-4744-8B0A-B1ADCE681FA5}"/>
              </a:ext>
            </a:extLst>
          </p:cNvPr>
          <p:cNvSpPr>
            <a:spLocks noChangeArrowheads="1"/>
          </p:cNvSpPr>
          <p:nvPr/>
        </p:nvSpPr>
        <p:spPr bwMode="auto">
          <a:xfrm>
            <a:off x="3532083" y="266776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54" name="Oval 332">
            <a:extLst>
              <a:ext uri="{FF2B5EF4-FFF2-40B4-BE49-F238E27FC236}">
                <a16:creationId xmlns:a16="http://schemas.microsoft.com/office/drawing/2014/main" id="{A2BFF41E-0DBC-4914-AF09-D34EFD9D350E}"/>
              </a:ext>
            </a:extLst>
          </p:cNvPr>
          <p:cNvSpPr>
            <a:spLocks noChangeArrowheads="1"/>
          </p:cNvSpPr>
          <p:nvPr/>
        </p:nvSpPr>
        <p:spPr bwMode="auto">
          <a:xfrm>
            <a:off x="1772488" y="3025255"/>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55" name="Oval 333">
            <a:extLst>
              <a:ext uri="{FF2B5EF4-FFF2-40B4-BE49-F238E27FC236}">
                <a16:creationId xmlns:a16="http://schemas.microsoft.com/office/drawing/2014/main" id="{368E69BB-A3AF-4CC1-94E6-93DE39628177}"/>
              </a:ext>
            </a:extLst>
          </p:cNvPr>
          <p:cNvSpPr>
            <a:spLocks noChangeArrowheads="1"/>
          </p:cNvSpPr>
          <p:nvPr/>
        </p:nvSpPr>
        <p:spPr bwMode="auto">
          <a:xfrm>
            <a:off x="3584634" y="2660793"/>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56" name="Oval 334">
            <a:extLst>
              <a:ext uri="{FF2B5EF4-FFF2-40B4-BE49-F238E27FC236}">
                <a16:creationId xmlns:a16="http://schemas.microsoft.com/office/drawing/2014/main" id="{72693384-4ADC-4F6B-BC85-DBCF9E81216D}"/>
              </a:ext>
            </a:extLst>
          </p:cNvPr>
          <p:cNvSpPr>
            <a:spLocks noChangeArrowheads="1"/>
          </p:cNvSpPr>
          <p:nvPr/>
        </p:nvSpPr>
        <p:spPr bwMode="auto">
          <a:xfrm>
            <a:off x="2489855" y="4280816"/>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57" name="Oval 335">
            <a:extLst>
              <a:ext uri="{FF2B5EF4-FFF2-40B4-BE49-F238E27FC236}">
                <a16:creationId xmlns:a16="http://schemas.microsoft.com/office/drawing/2014/main" id="{BDEF9FB5-07C9-4605-8952-06FBF67A4A0E}"/>
              </a:ext>
            </a:extLst>
          </p:cNvPr>
          <p:cNvSpPr>
            <a:spLocks noChangeArrowheads="1"/>
          </p:cNvSpPr>
          <p:nvPr/>
        </p:nvSpPr>
        <p:spPr bwMode="auto">
          <a:xfrm>
            <a:off x="2244055" y="4251171"/>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58" name="Oval 336">
            <a:extLst>
              <a:ext uri="{FF2B5EF4-FFF2-40B4-BE49-F238E27FC236}">
                <a16:creationId xmlns:a16="http://schemas.microsoft.com/office/drawing/2014/main" id="{317B1280-5C02-48AA-8036-3D4E2D66815E}"/>
              </a:ext>
            </a:extLst>
          </p:cNvPr>
          <p:cNvSpPr>
            <a:spLocks noChangeArrowheads="1"/>
          </p:cNvSpPr>
          <p:nvPr/>
        </p:nvSpPr>
        <p:spPr bwMode="auto">
          <a:xfrm>
            <a:off x="2213235" y="4226440"/>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59" name="Oval 337">
            <a:extLst>
              <a:ext uri="{FF2B5EF4-FFF2-40B4-BE49-F238E27FC236}">
                <a16:creationId xmlns:a16="http://schemas.microsoft.com/office/drawing/2014/main" id="{70944A6D-260A-433F-A63B-03FB2AE70A7E}"/>
              </a:ext>
            </a:extLst>
          </p:cNvPr>
          <p:cNvSpPr>
            <a:spLocks noChangeArrowheads="1"/>
          </p:cNvSpPr>
          <p:nvPr/>
        </p:nvSpPr>
        <p:spPr bwMode="auto">
          <a:xfrm>
            <a:off x="4038942" y="283517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60" name="Oval 338">
            <a:extLst>
              <a:ext uri="{FF2B5EF4-FFF2-40B4-BE49-F238E27FC236}">
                <a16:creationId xmlns:a16="http://schemas.microsoft.com/office/drawing/2014/main" id="{9B1BE943-EEF6-45E7-AC4A-0C745E01C8E3}"/>
              </a:ext>
            </a:extLst>
          </p:cNvPr>
          <p:cNvSpPr>
            <a:spLocks noChangeArrowheads="1"/>
          </p:cNvSpPr>
          <p:nvPr/>
        </p:nvSpPr>
        <p:spPr bwMode="auto">
          <a:xfrm>
            <a:off x="3979610" y="2249249"/>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61" name="Oval 339">
            <a:extLst>
              <a:ext uri="{FF2B5EF4-FFF2-40B4-BE49-F238E27FC236}">
                <a16:creationId xmlns:a16="http://schemas.microsoft.com/office/drawing/2014/main" id="{2A90075F-D016-40FD-A7A3-0B1887C6C991}"/>
              </a:ext>
            </a:extLst>
          </p:cNvPr>
          <p:cNvSpPr>
            <a:spLocks noChangeArrowheads="1"/>
          </p:cNvSpPr>
          <p:nvPr/>
        </p:nvSpPr>
        <p:spPr bwMode="auto">
          <a:xfrm>
            <a:off x="5991785" y="3489116"/>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62" name="Oval 340">
            <a:extLst>
              <a:ext uri="{FF2B5EF4-FFF2-40B4-BE49-F238E27FC236}">
                <a16:creationId xmlns:a16="http://schemas.microsoft.com/office/drawing/2014/main" id="{6167D909-3BA3-4970-84D5-09901B9C4145}"/>
              </a:ext>
            </a:extLst>
          </p:cNvPr>
          <p:cNvSpPr>
            <a:spLocks noChangeArrowheads="1"/>
          </p:cNvSpPr>
          <p:nvPr/>
        </p:nvSpPr>
        <p:spPr bwMode="auto">
          <a:xfrm>
            <a:off x="2825500" y="3975328"/>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63" name="Oval 341">
            <a:extLst>
              <a:ext uri="{FF2B5EF4-FFF2-40B4-BE49-F238E27FC236}">
                <a16:creationId xmlns:a16="http://schemas.microsoft.com/office/drawing/2014/main" id="{01BC72C7-5EC8-4686-BC50-5A0E9C7E6EC7}"/>
              </a:ext>
            </a:extLst>
          </p:cNvPr>
          <p:cNvSpPr>
            <a:spLocks noChangeArrowheads="1"/>
          </p:cNvSpPr>
          <p:nvPr/>
        </p:nvSpPr>
        <p:spPr bwMode="auto">
          <a:xfrm>
            <a:off x="2384447" y="463132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64" name="Oval 342">
            <a:extLst>
              <a:ext uri="{FF2B5EF4-FFF2-40B4-BE49-F238E27FC236}">
                <a16:creationId xmlns:a16="http://schemas.microsoft.com/office/drawing/2014/main" id="{CEF684C0-988A-46FE-A505-BF4D7563FD16}"/>
              </a:ext>
            </a:extLst>
          </p:cNvPr>
          <p:cNvSpPr>
            <a:spLocks noChangeArrowheads="1"/>
          </p:cNvSpPr>
          <p:nvPr/>
        </p:nvSpPr>
        <p:spPr bwMode="auto">
          <a:xfrm>
            <a:off x="2384447" y="463132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65" name="Oval 343">
            <a:extLst>
              <a:ext uri="{FF2B5EF4-FFF2-40B4-BE49-F238E27FC236}">
                <a16:creationId xmlns:a16="http://schemas.microsoft.com/office/drawing/2014/main" id="{31A9A513-560A-4093-9D47-B58F8FFD2E31}"/>
              </a:ext>
            </a:extLst>
          </p:cNvPr>
          <p:cNvSpPr>
            <a:spLocks noChangeArrowheads="1"/>
          </p:cNvSpPr>
          <p:nvPr/>
        </p:nvSpPr>
        <p:spPr bwMode="auto">
          <a:xfrm>
            <a:off x="1169006" y="2896212"/>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66" name="Oval 344">
            <a:extLst>
              <a:ext uri="{FF2B5EF4-FFF2-40B4-BE49-F238E27FC236}">
                <a16:creationId xmlns:a16="http://schemas.microsoft.com/office/drawing/2014/main" id="{66171FA1-767B-4926-83E9-484F6050393F}"/>
              </a:ext>
            </a:extLst>
          </p:cNvPr>
          <p:cNvSpPr>
            <a:spLocks noChangeArrowheads="1"/>
          </p:cNvSpPr>
          <p:nvPr/>
        </p:nvSpPr>
        <p:spPr bwMode="auto">
          <a:xfrm>
            <a:off x="1177789" y="2887176"/>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67" name="Oval 345">
            <a:extLst>
              <a:ext uri="{FF2B5EF4-FFF2-40B4-BE49-F238E27FC236}">
                <a16:creationId xmlns:a16="http://schemas.microsoft.com/office/drawing/2014/main" id="{A7BF1598-8CDE-4A41-84F9-022C8E71649D}"/>
              </a:ext>
            </a:extLst>
          </p:cNvPr>
          <p:cNvSpPr>
            <a:spLocks noChangeArrowheads="1"/>
          </p:cNvSpPr>
          <p:nvPr/>
        </p:nvSpPr>
        <p:spPr bwMode="auto">
          <a:xfrm>
            <a:off x="6059593" y="274449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68" name="Oval 346">
            <a:extLst>
              <a:ext uri="{FF2B5EF4-FFF2-40B4-BE49-F238E27FC236}">
                <a16:creationId xmlns:a16="http://schemas.microsoft.com/office/drawing/2014/main" id="{701AFE0C-0E56-4966-AFF8-294FB0672CD0}"/>
              </a:ext>
            </a:extLst>
          </p:cNvPr>
          <p:cNvSpPr>
            <a:spLocks noChangeArrowheads="1"/>
          </p:cNvSpPr>
          <p:nvPr/>
        </p:nvSpPr>
        <p:spPr bwMode="auto">
          <a:xfrm>
            <a:off x="4001648" y="3900660"/>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69" name="Oval 347">
            <a:extLst>
              <a:ext uri="{FF2B5EF4-FFF2-40B4-BE49-F238E27FC236}">
                <a16:creationId xmlns:a16="http://schemas.microsoft.com/office/drawing/2014/main" id="{FA73A5D1-C7F3-42C1-84F4-DE9B88077B67}"/>
              </a:ext>
            </a:extLst>
          </p:cNvPr>
          <p:cNvSpPr>
            <a:spLocks noChangeArrowheads="1"/>
          </p:cNvSpPr>
          <p:nvPr/>
        </p:nvSpPr>
        <p:spPr bwMode="auto">
          <a:xfrm>
            <a:off x="2138647" y="3556808"/>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70" name="Oval 348">
            <a:extLst>
              <a:ext uri="{FF2B5EF4-FFF2-40B4-BE49-F238E27FC236}">
                <a16:creationId xmlns:a16="http://schemas.microsoft.com/office/drawing/2014/main" id="{885D63A8-2916-48E4-B8D2-2B2BB73E8C76}"/>
              </a:ext>
            </a:extLst>
          </p:cNvPr>
          <p:cNvSpPr>
            <a:spLocks noChangeArrowheads="1"/>
          </p:cNvSpPr>
          <p:nvPr/>
        </p:nvSpPr>
        <p:spPr bwMode="auto">
          <a:xfrm>
            <a:off x="3643964" y="2301247"/>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71" name="Oval 349">
            <a:extLst>
              <a:ext uri="{FF2B5EF4-FFF2-40B4-BE49-F238E27FC236}">
                <a16:creationId xmlns:a16="http://schemas.microsoft.com/office/drawing/2014/main" id="{264AFBCE-BF60-4A42-9F1A-D5B286480460}"/>
              </a:ext>
            </a:extLst>
          </p:cNvPr>
          <p:cNvSpPr>
            <a:spLocks noChangeArrowheads="1"/>
          </p:cNvSpPr>
          <p:nvPr/>
        </p:nvSpPr>
        <p:spPr bwMode="auto">
          <a:xfrm>
            <a:off x="3957572" y="2493385"/>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72" name="Oval 350">
            <a:extLst>
              <a:ext uri="{FF2B5EF4-FFF2-40B4-BE49-F238E27FC236}">
                <a16:creationId xmlns:a16="http://schemas.microsoft.com/office/drawing/2014/main" id="{4267D9C6-8D7A-4701-99C2-7D3984C4D3DE}"/>
              </a:ext>
            </a:extLst>
          </p:cNvPr>
          <p:cNvSpPr>
            <a:spLocks noChangeArrowheads="1"/>
          </p:cNvSpPr>
          <p:nvPr/>
        </p:nvSpPr>
        <p:spPr bwMode="auto">
          <a:xfrm>
            <a:off x="1706683" y="3025255"/>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73" name="Oval 351">
            <a:extLst>
              <a:ext uri="{FF2B5EF4-FFF2-40B4-BE49-F238E27FC236}">
                <a16:creationId xmlns:a16="http://schemas.microsoft.com/office/drawing/2014/main" id="{5AEE1427-BA02-4F44-865A-98854C593979}"/>
              </a:ext>
            </a:extLst>
          </p:cNvPr>
          <p:cNvSpPr>
            <a:spLocks noChangeArrowheads="1"/>
          </p:cNvSpPr>
          <p:nvPr/>
        </p:nvSpPr>
        <p:spPr bwMode="auto">
          <a:xfrm>
            <a:off x="1706683" y="3025255"/>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74" name="Oval 352">
            <a:extLst>
              <a:ext uri="{FF2B5EF4-FFF2-40B4-BE49-F238E27FC236}">
                <a16:creationId xmlns:a16="http://schemas.microsoft.com/office/drawing/2014/main" id="{919FC149-C9C6-4DB0-BB5F-9593BE4DBE3B}"/>
              </a:ext>
            </a:extLst>
          </p:cNvPr>
          <p:cNvSpPr>
            <a:spLocks noChangeArrowheads="1"/>
          </p:cNvSpPr>
          <p:nvPr/>
        </p:nvSpPr>
        <p:spPr bwMode="auto">
          <a:xfrm>
            <a:off x="1706683" y="3025255"/>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75" name="Oval 353">
            <a:extLst>
              <a:ext uri="{FF2B5EF4-FFF2-40B4-BE49-F238E27FC236}">
                <a16:creationId xmlns:a16="http://schemas.microsoft.com/office/drawing/2014/main" id="{82FFAE72-0604-4C9E-97A4-C0932ABBE87C}"/>
              </a:ext>
            </a:extLst>
          </p:cNvPr>
          <p:cNvSpPr>
            <a:spLocks noChangeArrowheads="1"/>
          </p:cNvSpPr>
          <p:nvPr/>
        </p:nvSpPr>
        <p:spPr bwMode="auto">
          <a:xfrm>
            <a:off x="6202295" y="2767168"/>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76" name="Oval 354">
            <a:extLst>
              <a:ext uri="{FF2B5EF4-FFF2-40B4-BE49-F238E27FC236}">
                <a16:creationId xmlns:a16="http://schemas.microsoft.com/office/drawing/2014/main" id="{A0B61DFF-186A-4268-ACDF-23615877C9E1}"/>
              </a:ext>
            </a:extLst>
          </p:cNvPr>
          <p:cNvSpPr>
            <a:spLocks noChangeArrowheads="1"/>
          </p:cNvSpPr>
          <p:nvPr/>
        </p:nvSpPr>
        <p:spPr bwMode="auto">
          <a:xfrm>
            <a:off x="5985005" y="3489116"/>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77" name="Oval 355">
            <a:extLst>
              <a:ext uri="{FF2B5EF4-FFF2-40B4-BE49-F238E27FC236}">
                <a16:creationId xmlns:a16="http://schemas.microsoft.com/office/drawing/2014/main" id="{3D8E9793-5D6C-4A3D-9B72-8CC11178CF39}"/>
              </a:ext>
            </a:extLst>
          </p:cNvPr>
          <p:cNvSpPr>
            <a:spLocks noChangeArrowheads="1"/>
          </p:cNvSpPr>
          <p:nvPr/>
        </p:nvSpPr>
        <p:spPr bwMode="auto">
          <a:xfrm>
            <a:off x="3861256" y="2416655"/>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78" name="Oval 356">
            <a:extLst>
              <a:ext uri="{FF2B5EF4-FFF2-40B4-BE49-F238E27FC236}">
                <a16:creationId xmlns:a16="http://schemas.microsoft.com/office/drawing/2014/main" id="{1C1DBB95-A257-44E7-9A16-C57A11415AAA}"/>
              </a:ext>
            </a:extLst>
          </p:cNvPr>
          <p:cNvSpPr>
            <a:spLocks noChangeArrowheads="1"/>
          </p:cNvSpPr>
          <p:nvPr/>
        </p:nvSpPr>
        <p:spPr bwMode="auto">
          <a:xfrm>
            <a:off x="3652747" y="2667768"/>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79" name="Oval 357">
            <a:extLst>
              <a:ext uri="{FF2B5EF4-FFF2-40B4-BE49-F238E27FC236}">
                <a16:creationId xmlns:a16="http://schemas.microsoft.com/office/drawing/2014/main" id="{10CF807C-C74A-4099-923A-78EF905ACB7D}"/>
              </a:ext>
            </a:extLst>
          </p:cNvPr>
          <p:cNvSpPr>
            <a:spLocks noChangeArrowheads="1"/>
          </p:cNvSpPr>
          <p:nvPr/>
        </p:nvSpPr>
        <p:spPr bwMode="auto">
          <a:xfrm>
            <a:off x="2182722" y="459993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80" name="Oval 358">
            <a:extLst>
              <a:ext uri="{FF2B5EF4-FFF2-40B4-BE49-F238E27FC236}">
                <a16:creationId xmlns:a16="http://schemas.microsoft.com/office/drawing/2014/main" id="{ABE93F9A-5D27-4FEE-95D8-D1D5842FF8B8}"/>
              </a:ext>
            </a:extLst>
          </p:cNvPr>
          <p:cNvSpPr>
            <a:spLocks noChangeArrowheads="1"/>
          </p:cNvSpPr>
          <p:nvPr/>
        </p:nvSpPr>
        <p:spPr bwMode="auto">
          <a:xfrm>
            <a:off x="1333437" y="218123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81" name="Oval 359">
            <a:extLst>
              <a:ext uri="{FF2B5EF4-FFF2-40B4-BE49-F238E27FC236}">
                <a16:creationId xmlns:a16="http://schemas.microsoft.com/office/drawing/2014/main" id="{92D51046-EBD2-44E1-8481-B9F878397EC2}"/>
              </a:ext>
            </a:extLst>
          </p:cNvPr>
          <p:cNvSpPr>
            <a:spLocks noChangeArrowheads="1"/>
          </p:cNvSpPr>
          <p:nvPr/>
        </p:nvSpPr>
        <p:spPr bwMode="auto">
          <a:xfrm>
            <a:off x="4188116" y="1799022"/>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82" name="Oval 360">
            <a:extLst>
              <a:ext uri="{FF2B5EF4-FFF2-40B4-BE49-F238E27FC236}">
                <a16:creationId xmlns:a16="http://schemas.microsoft.com/office/drawing/2014/main" id="{3D5BE155-5A10-48AA-8F61-4BBD77BA973A}"/>
              </a:ext>
            </a:extLst>
          </p:cNvPr>
          <p:cNvSpPr>
            <a:spLocks noChangeArrowheads="1"/>
          </p:cNvSpPr>
          <p:nvPr/>
        </p:nvSpPr>
        <p:spPr bwMode="auto">
          <a:xfrm>
            <a:off x="3703295" y="2613393"/>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83" name="Oval 361">
            <a:extLst>
              <a:ext uri="{FF2B5EF4-FFF2-40B4-BE49-F238E27FC236}">
                <a16:creationId xmlns:a16="http://schemas.microsoft.com/office/drawing/2014/main" id="{1A239573-DA09-4493-8639-B18D8FAB61A7}"/>
              </a:ext>
            </a:extLst>
          </p:cNvPr>
          <p:cNvSpPr>
            <a:spLocks noChangeArrowheads="1"/>
          </p:cNvSpPr>
          <p:nvPr/>
        </p:nvSpPr>
        <p:spPr bwMode="auto">
          <a:xfrm>
            <a:off x="1228336" y="2941551"/>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84" name="Oval 362">
            <a:extLst>
              <a:ext uri="{FF2B5EF4-FFF2-40B4-BE49-F238E27FC236}">
                <a16:creationId xmlns:a16="http://schemas.microsoft.com/office/drawing/2014/main" id="{68490AEF-87B4-4577-97C3-1DEC4BA27645}"/>
              </a:ext>
            </a:extLst>
          </p:cNvPr>
          <p:cNvSpPr>
            <a:spLocks noChangeArrowheads="1"/>
          </p:cNvSpPr>
          <p:nvPr/>
        </p:nvSpPr>
        <p:spPr bwMode="auto">
          <a:xfrm>
            <a:off x="6417276" y="2864507"/>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85" name="Oval 363">
            <a:extLst>
              <a:ext uri="{FF2B5EF4-FFF2-40B4-BE49-F238E27FC236}">
                <a16:creationId xmlns:a16="http://schemas.microsoft.com/office/drawing/2014/main" id="{47337C42-D4D8-4847-8294-74E818050889}"/>
              </a:ext>
            </a:extLst>
          </p:cNvPr>
          <p:cNvSpPr>
            <a:spLocks noChangeArrowheads="1"/>
          </p:cNvSpPr>
          <p:nvPr/>
        </p:nvSpPr>
        <p:spPr bwMode="auto">
          <a:xfrm>
            <a:off x="1467356" y="275844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86" name="Oval 364">
            <a:extLst>
              <a:ext uri="{FF2B5EF4-FFF2-40B4-BE49-F238E27FC236}">
                <a16:creationId xmlns:a16="http://schemas.microsoft.com/office/drawing/2014/main" id="{64BB5B47-FE32-4FAD-B887-C12D154D11A8}"/>
              </a:ext>
            </a:extLst>
          </p:cNvPr>
          <p:cNvSpPr>
            <a:spLocks noChangeArrowheads="1"/>
          </p:cNvSpPr>
          <p:nvPr/>
        </p:nvSpPr>
        <p:spPr bwMode="auto">
          <a:xfrm>
            <a:off x="3994866" y="2371316"/>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87" name="Oval 365">
            <a:extLst>
              <a:ext uri="{FF2B5EF4-FFF2-40B4-BE49-F238E27FC236}">
                <a16:creationId xmlns:a16="http://schemas.microsoft.com/office/drawing/2014/main" id="{B2E11D1B-92B8-494C-B006-65B19C0ACE47}"/>
              </a:ext>
            </a:extLst>
          </p:cNvPr>
          <p:cNvSpPr>
            <a:spLocks noChangeArrowheads="1"/>
          </p:cNvSpPr>
          <p:nvPr/>
        </p:nvSpPr>
        <p:spPr bwMode="auto">
          <a:xfrm>
            <a:off x="3905023" y="233992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88" name="Oval 366">
            <a:extLst>
              <a:ext uri="{FF2B5EF4-FFF2-40B4-BE49-F238E27FC236}">
                <a16:creationId xmlns:a16="http://schemas.microsoft.com/office/drawing/2014/main" id="{A656909B-3B38-4BF0-916D-6066FC09C4E7}"/>
              </a:ext>
            </a:extLst>
          </p:cNvPr>
          <p:cNvSpPr>
            <a:spLocks noChangeArrowheads="1"/>
          </p:cNvSpPr>
          <p:nvPr/>
        </p:nvSpPr>
        <p:spPr bwMode="auto">
          <a:xfrm>
            <a:off x="3905023" y="233992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89" name="Oval 367">
            <a:extLst>
              <a:ext uri="{FF2B5EF4-FFF2-40B4-BE49-F238E27FC236}">
                <a16:creationId xmlns:a16="http://schemas.microsoft.com/office/drawing/2014/main" id="{14032765-E80E-4031-89B3-50C77975B387}"/>
              </a:ext>
            </a:extLst>
          </p:cNvPr>
          <p:cNvSpPr>
            <a:spLocks noChangeArrowheads="1"/>
          </p:cNvSpPr>
          <p:nvPr/>
        </p:nvSpPr>
        <p:spPr bwMode="auto">
          <a:xfrm>
            <a:off x="3905023" y="233992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90" name="Oval 368">
            <a:extLst>
              <a:ext uri="{FF2B5EF4-FFF2-40B4-BE49-F238E27FC236}">
                <a16:creationId xmlns:a16="http://schemas.microsoft.com/office/drawing/2014/main" id="{182DCF51-A9B2-4C9E-832B-02D318F16988}"/>
              </a:ext>
            </a:extLst>
          </p:cNvPr>
          <p:cNvSpPr>
            <a:spLocks noChangeArrowheads="1"/>
          </p:cNvSpPr>
          <p:nvPr/>
        </p:nvSpPr>
        <p:spPr bwMode="auto">
          <a:xfrm>
            <a:off x="1280888" y="2934576"/>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91" name="Oval 369">
            <a:extLst>
              <a:ext uri="{FF2B5EF4-FFF2-40B4-BE49-F238E27FC236}">
                <a16:creationId xmlns:a16="http://schemas.microsoft.com/office/drawing/2014/main" id="{CA67CF05-2FE0-44CC-B2A7-E54566221417}"/>
              </a:ext>
            </a:extLst>
          </p:cNvPr>
          <p:cNvSpPr>
            <a:spLocks noChangeArrowheads="1"/>
          </p:cNvSpPr>
          <p:nvPr/>
        </p:nvSpPr>
        <p:spPr bwMode="auto">
          <a:xfrm>
            <a:off x="4100275" y="2744497"/>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92" name="Oval 370">
            <a:extLst>
              <a:ext uri="{FF2B5EF4-FFF2-40B4-BE49-F238E27FC236}">
                <a16:creationId xmlns:a16="http://schemas.microsoft.com/office/drawing/2014/main" id="{70064525-4914-4619-A6FE-37F5A1F1711D}"/>
              </a:ext>
            </a:extLst>
          </p:cNvPr>
          <p:cNvSpPr>
            <a:spLocks noChangeArrowheads="1"/>
          </p:cNvSpPr>
          <p:nvPr/>
        </p:nvSpPr>
        <p:spPr bwMode="auto">
          <a:xfrm>
            <a:off x="1974214" y="2636063"/>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93" name="Oval 371">
            <a:extLst>
              <a:ext uri="{FF2B5EF4-FFF2-40B4-BE49-F238E27FC236}">
                <a16:creationId xmlns:a16="http://schemas.microsoft.com/office/drawing/2014/main" id="{E060B687-B24F-42B7-A8D3-A36ABB7733A6}"/>
              </a:ext>
            </a:extLst>
          </p:cNvPr>
          <p:cNvSpPr>
            <a:spLocks noChangeArrowheads="1"/>
          </p:cNvSpPr>
          <p:nvPr/>
        </p:nvSpPr>
        <p:spPr bwMode="auto">
          <a:xfrm>
            <a:off x="3889766" y="2529690"/>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94" name="Oval 372">
            <a:extLst>
              <a:ext uri="{FF2B5EF4-FFF2-40B4-BE49-F238E27FC236}">
                <a16:creationId xmlns:a16="http://schemas.microsoft.com/office/drawing/2014/main" id="{838ADCBE-714E-4E56-B030-5A3318B75DFD}"/>
              </a:ext>
            </a:extLst>
          </p:cNvPr>
          <p:cNvSpPr>
            <a:spLocks noChangeArrowheads="1"/>
          </p:cNvSpPr>
          <p:nvPr/>
        </p:nvSpPr>
        <p:spPr bwMode="auto">
          <a:xfrm>
            <a:off x="3913805" y="2310283"/>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95" name="Oval 373">
            <a:extLst>
              <a:ext uri="{FF2B5EF4-FFF2-40B4-BE49-F238E27FC236}">
                <a16:creationId xmlns:a16="http://schemas.microsoft.com/office/drawing/2014/main" id="{E7E59427-64C7-44F9-AC05-A325E8A477D2}"/>
              </a:ext>
            </a:extLst>
          </p:cNvPr>
          <p:cNvSpPr>
            <a:spLocks noChangeArrowheads="1"/>
          </p:cNvSpPr>
          <p:nvPr/>
        </p:nvSpPr>
        <p:spPr bwMode="auto">
          <a:xfrm>
            <a:off x="3913805" y="2310283"/>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96" name="Oval 374">
            <a:extLst>
              <a:ext uri="{FF2B5EF4-FFF2-40B4-BE49-F238E27FC236}">
                <a16:creationId xmlns:a16="http://schemas.microsoft.com/office/drawing/2014/main" id="{F165CB22-5ED0-484D-9580-D879430C9F88}"/>
              </a:ext>
            </a:extLst>
          </p:cNvPr>
          <p:cNvSpPr>
            <a:spLocks noChangeArrowheads="1"/>
          </p:cNvSpPr>
          <p:nvPr/>
        </p:nvSpPr>
        <p:spPr bwMode="auto">
          <a:xfrm>
            <a:off x="4062982" y="2545701"/>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97" name="Oval 375">
            <a:extLst>
              <a:ext uri="{FF2B5EF4-FFF2-40B4-BE49-F238E27FC236}">
                <a16:creationId xmlns:a16="http://schemas.microsoft.com/office/drawing/2014/main" id="{1B17360D-F1F6-480B-B60D-7235F7FB80AA}"/>
              </a:ext>
            </a:extLst>
          </p:cNvPr>
          <p:cNvSpPr>
            <a:spLocks noChangeArrowheads="1"/>
          </p:cNvSpPr>
          <p:nvPr/>
        </p:nvSpPr>
        <p:spPr bwMode="auto">
          <a:xfrm>
            <a:off x="3988393" y="2516055"/>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98" name="Oval 376">
            <a:extLst>
              <a:ext uri="{FF2B5EF4-FFF2-40B4-BE49-F238E27FC236}">
                <a16:creationId xmlns:a16="http://schemas.microsoft.com/office/drawing/2014/main" id="{03D8768E-7B9B-40F8-AE54-0F8410BAE409}"/>
              </a:ext>
            </a:extLst>
          </p:cNvPr>
          <p:cNvSpPr>
            <a:spLocks noChangeArrowheads="1"/>
          </p:cNvSpPr>
          <p:nvPr/>
        </p:nvSpPr>
        <p:spPr bwMode="auto">
          <a:xfrm>
            <a:off x="1087945" y="2477691"/>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699" name="Oval 377">
            <a:extLst>
              <a:ext uri="{FF2B5EF4-FFF2-40B4-BE49-F238E27FC236}">
                <a16:creationId xmlns:a16="http://schemas.microsoft.com/office/drawing/2014/main" id="{959879F2-B9E7-448D-8B0F-2A7AA4BB1629}"/>
              </a:ext>
            </a:extLst>
          </p:cNvPr>
          <p:cNvSpPr>
            <a:spLocks noChangeArrowheads="1"/>
          </p:cNvSpPr>
          <p:nvPr/>
        </p:nvSpPr>
        <p:spPr bwMode="auto">
          <a:xfrm>
            <a:off x="3591414" y="2850872"/>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00" name="Oval 378">
            <a:extLst>
              <a:ext uri="{FF2B5EF4-FFF2-40B4-BE49-F238E27FC236}">
                <a16:creationId xmlns:a16="http://schemas.microsoft.com/office/drawing/2014/main" id="{0882F064-F953-4259-8B13-9D3CA303D302}"/>
              </a:ext>
            </a:extLst>
          </p:cNvPr>
          <p:cNvSpPr>
            <a:spLocks noChangeArrowheads="1"/>
          </p:cNvSpPr>
          <p:nvPr/>
        </p:nvSpPr>
        <p:spPr bwMode="auto">
          <a:xfrm>
            <a:off x="1691120" y="2789836"/>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01" name="Oval 379">
            <a:extLst>
              <a:ext uri="{FF2B5EF4-FFF2-40B4-BE49-F238E27FC236}">
                <a16:creationId xmlns:a16="http://schemas.microsoft.com/office/drawing/2014/main" id="{34BFDAC3-E1B9-4D24-9C81-0169C802A299}"/>
              </a:ext>
            </a:extLst>
          </p:cNvPr>
          <p:cNvSpPr>
            <a:spLocks noChangeArrowheads="1"/>
          </p:cNvSpPr>
          <p:nvPr/>
        </p:nvSpPr>
        <p:spPr bwMode="auto">
          <a:xfrm>
            <a:off x="1675863" y="2828201"/>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02" name="Oval 380">
            <a:extLst>
              <a:ext uri="{FF2B5EF4-FFF2-40B4-BE49-F238E27FC236}">
                <a16:creationId xmlns:a16="http://schemas.microsoft.com/office/drawing/2014/main" id="{225B8958-1C20-4107-A7E6-853B299DE5D4}"/>
              </a:ext>
            </a:extLst>
          </p:cNvPr>
          <p:cNvSpPr>
            <a:spLocks noChangeArrowheads="1"/>
          </p:cNvSpPr>
          <p:nvPr/>
        </p:nvSpPr>
        <p:spPr bwMode="auto">
          <a:xfrm>
            <a:off x="2900089" y="3991339"/>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03" name="Oval 381">
            <a:extLst>
              <a:ext uri="{FF2B5EF4-FFF2-40B4-BE49-F238E27FC236}">
                <a16:creationId xmlns:a16="http://schemas.microsoft.com/office/drawing/2014/main" id="{D7C2168F-8E6F-4C74-ACC0-640983B74A83}"/>
              </a:ext>
            </a:extLst>
          </p:cNvPr>
          <p:cNvSpPr>
            <a:spLocks noChangeArrowheads="1"/>
          </p:cNvSpPr>
          <p:nvPr/>
        </p:nvSpPr>
        <p:spPr bwMode="auto">
          <a:xfrm>
            <a:off x="1974214" y="3002586"/>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04" name="Oval 382">
            <a:extLst>
              <a:ext uri="{FF2B5EF4-FFF2-40B4-BE49-F238E27FC236}">
                <a16:creationId xmlns:a16="http://schemas.microsoft.com/office/drawing/2014/main" id="{962A06BF-520F-4BB8-A805-546978F72EE9}"/>
              </a:ext>
            </a:extLst>
          </p:cNvPr>
          <p:cNvSpPr>
            <a:spLocks noChangeArrowheads="1"/>
          </p:cNvSpPr>
          <p:nvPr/>
        </p:nvSpPr>
        <p:spPr bwMode="auto">
          <a:xfrm>
            <a:off x="3696515" y="2828201"/>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05" name="Oval 383">
            <a:extLst>
              <a:ext uri="{FF2B5EF4-FFF2-40B4-BE49-F238E27FC236}">
                <a16:creationId xmlns:a16="http://schemas.microsoft.com/office/drawing/2014/main" id="{BE7F90B6-19C5-4FA2-BBC7-52E133A05149}"/>
              </a:ext>
            </a:extLst>
          </p:cNvPr>
          <p:cNvSpPr>
            <a:spLocks noChangeArrowheads="1"/>
          </p:cNvSpPr>
          <p:nvPr/>
        </p:nvSpPr>
        <p:spPr bwMode="auto">
          <a:xfrm>
            <a:off x="2101353" y="3482140"/>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06" name="Oval 384">
            <a:extLst>
              <a:ext uri="{FF2B5EF4-FFF2-40B4-BE49-F238E27FC236}">
                <a16:creationId xmlns:a16="http://schemas.microsoft.com/office/drawing/2014/main" id="{628BAE95-7355-4F5B-8BDE-7E118A734888}"/>
              </a:ext>
            </a:extLst>
          </p:cNvPr>
          <p:cNvSpPr>
            <a:spLocks noChangeArrowheads="1"/>
          </p:cNvSpPr>
          <p:nvPr/>
        </p:nvSpPr>
        <p:spPr bwMode="auto">
          <a:xfrm>
            <a:off x="3696515" y="2828201"/>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07" name="Oval 385">
            <a:extLst>
              <a:ext uri="{FF2B5EF4-FFF2-40B4-BE49-F238E27FC236}">
                <a16:creationId xmlns:a16="http://schemas.microsoft.com/office/drawing/2014/main" id="{05B023DD-AC1F-42FA-A272-FD104F9FBD88}"/>
              </a:ext>
            </a:extLst>
          </p:cNvPr>
          <p:cNvSpPr>
            <a:spLocks noChangeArrowheads="1"/>
          </p:cNvSpPr>
          <p:nvPr/>
        </p:nvSpPr>
        <p:spPr bwMode="auto">
          <a:xfrm>
            <a:off x="1326964" y="2948209"/>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08" name="Oval 386">
            <a:extLst>
              <a:ext uri="{FF2B5EF4-FFF2-40B4-BE49-F238E27FC236}">
                <a16:creationId xmlns:a16="http://schemas.microsoft.com/office/drawing/2014/main" id="{DAA567A7-54E3-46C2-8996-917738822E7D}"/>
              </a:ext>
            </a:extLst>
          </p:cNvPr>
          <p:cNvSpPr>
            <a:spLocks noChangeArrowheads="1"/>
          </p:cNvSpPr>
          <p:nvPr/>
        </p:nvSpPr>
        <p:spPr bwMode="auto">
          <a:xfrm>
            <a:off x="3718553" y="2751473"/>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09" name="Oval 387">
            <a:extLst>
              <a:ext uri="{FF2B5EF4-FFF2-40B4-BE49-F238E27FC236}">
                <a16:creationId xmlns:a16="http://schemas.microsoft.com/office/drawing/2014/main" id="{5E2EF8A1-475E-408E-B62E-59D05BD13B02}"/>
              </a:ext>
            </a:extLst>
          </p:cNvPr>
          <p:cNvSpPr>
            <a:spLocks noChangeArrowheads="1"/>
          </p:cNvSpPr>
          <p:nvPr/>
        </p:nvSpPr>
        <p:spPr bwMode="auto">
          <a:xfrm>
            <a:off x="3718553" y="275844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10" name="Oval 388">
            <a:extLst>
              <a:ext uri="{FF2B5EF4-FFF2-40B4-BE49-F238E27FC236}">
                <a16:creationId xmlns:a16="http://schemas.microsoft.com/office/drawing/2014/main" id="{B058F34C-45EC-4299-9C41-4F8D5FD08F2A}"/>
              </a:ext>
            </a:extLst>
          </p:cNvPr>
          <p:cNvSpPr>
            <a:spLocks noChangeArrowheads="1"/>
          </p:cNvSpPr>
          <p:nvPr/>
        </p:nvSpPr>
        <p:spPr bwMode="auto">
          <a:xfrm>
            <a:off x="2884834" y="3794285"/>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11" name="Oval 389">
            <a:extLst>
              <a:ext uri="{FF2B5EF4-FFF2-40B4-BE49-F238E27FC236}">
                <a16:creationId xmlns:a16="http://schemas.microsoft.com/office/drawing/2014/main" id="{0AB14084-1C07-47DD-9151-9EB2A4298D82}"/>
              </a:ext>
            </a:extLst>
          </p:cNvPr>
          <p:cNvSpPr>
            <a:spLocks noChangeArrowheads="1"/>
          </p:cNvSpPr>
          <p:nvPr/>
        </p:nvSpPr>
        <p:spPr bwMode="auto">
          <a:xfrm>
            <a:off x="2884834" y="3794285"/>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12" name="Oval 390">
            <a:extLst>
              <a:ext uri="{FF2B5EF4-FFF2-40B4-BE49-F238E27FC236}">
                <a16:creationId xmlns:a16="http://schemas.microsoft.com/office/drawing/2014/main" id="{286B0F2B-6706-4CF8-A9D6-5D7D8F8D8FD5}"/>
              </a:ext>
            </a:extLst>
          </p:cNvPr>
          <p:cNvSpPr>
            <a:spLocks noChangeArrowheads="1"/>
          </p:cNvSpPr>
          <p:nvPr/>
        </p:nvSpPr>
        <p:spPr bwMode="auto">
          <a:xfrm>
            <a:off x="2884834" y="3794285"/>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13" name="Oval 391">
            <a:extLst>
              <a:ext uri="{FF2B5EF4-FFF2-40B4-BE49-F238E27FC236}">
                <a16:creationId xmlns:a16="http://schemas.microsoft.com/office/drawing/2014/main" id="{F355FFA8-4153-441B-BB6B-E75090B32E22}"/>
              </a:ext>
            </a:extLst>
          </p:cNvPr>
          <p:cNvSpPr>
            <a:spLocks noChangeArrowheads="1"/>
          </p:cNvSpPr>
          <p:nvPr/>
        </p:nvSpPr>
        <p:spPr bwMode="auto">
          <a:xfrm>
            <a:off x="2884834" y="3794285"/>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14" name="Oval 392">
            <a:extLst>
              <a:ext uri="{FF2B5EF4-FFF2-40B4-BE49-F238E27FC236}">
                <a16:creationId xmlns:a16="http://schemas.microsoft.com/office/drawing/2014/main" id="{E86BCD81-306E-449A-A2DC-C274423EB733}"/>
              </a:ext>
            </a:extLst>
          </p:cNvPr>
          <p:cNvSpPr>
            <a:spLocks noChangeArrowheads="1"/>
          </p:cNvSpPr>
          <p:nvPr/>
        </p:nvSpPr>
        <p:spPr bwMode="auto">
          <a:xfrm>
            <a:off x="1274414" y="2256224"/>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15" name="Oval 393">
            <a:extLst>
              <a:ext uri="{FF2B5EF4-FFF2-40B4-BE49-F238E27FC236}">
                <a16:creationId xmlns:a16="http://schemas.microsoft.com/office/drawing/2014/main" id="{7409FAEF-BC1A-482F-B005-4907970AC748}"/>
              </a:ext>
            </a:extLst>
          </p:cNvPr>
          <p:cNvSpPr>
            <a:spLocks noChangeArrowheads="1"/>
          </p:cNvSpPr>
          <p:nvPr/>
        </p:nvSpPr>
        <p:spPr bwMode="auto">
          <a:xfrm>
            <a:off x="1094417" y="2561395"/>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16" name="Oval 394">
            <a:extLst>
              <a:ext uri="{FF2B5EF4-FFF2-40B4-BE49-F238E27FC236}">
                <a16:creationId xmlns:a16="http://schemas.microsoft.com/office/drawing/2014/main" id="{9A53CF21-B4B9-486D-A24D-0ABA51D84426}"/>
              </a:ext>
            </a:extLst>
          </p:cNvPr>
          <p:cNvSpPr>
            <a:spLocks noChangeArrowheads="1"/>
          </p:cNvSpPr>
          <p:nvPr/>
        </p:nvSpPr>
        <p:spPr bwMode="auto">
          <a:xfrm>
            <a:off x="4054197" y="2719768"/>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17" name="Oval 395">
            <a:extLst>
              <a:ext uri="{FF2B5EF4-FFF2-40B4-BE49-F238E27FC236}">
                <a16:creationId xmlns:a16="http://schemas.microsoft.com/office/drawing/2014/main" id="{EFD0056B-4E0A-4E90-8492-15E9E4C0E663}"/>
              </a:ext>
            </a:extLst>
          </p:cNvPr>
          <p:cNvSpPr>
            <a:spLocks noChangeArrowheads="1"/>
          </p:cNvSpPr>
          <p:nvPr/>
        </p:nvSpPr>
        <p:spPr bwMode="auto">
          <a:xfrm>
            <a:off x="6208769" y="285784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18" name="Oval 396">
            <a:extLst>
              <a:ext uri="{FF2B5EF4-FFF2-40B4-BE49-F238E27FC236}">
                <a16:creationId xmlns:a16="http://schemas.microsoft.com/office/drawing/2014/main" id="{4481D300-0338-426F-91A1-3F6A0F48FA1D}"/>
              </a:ext>
            </a:extLst>
          </p:cNvPr>
          <p:cNvSpPr>
            <a:spLocks noChangeArrowheads="1"/>
          </p:cNvSpPr>
          <p:nvPr/>
        </p:nvSpPr>
        <p:spPr bwMode="auto">
          <a:xfrm>
            <a:off x="6463353" y="2887176"/>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19" name="Oval 397">
            <a:extLst>
              <a:ext uri="{FF2B5EF4-FFF2-40B4-BE49-F238E27FC236}">
                <a16:creationId xmlns:a16="http://schemas.microsoft.com/office/drawing/2014/main" id="{A5314008-9CDF-41C0-B9DD-1F7BE65604F3}"/>
              </a:ext>
            </a:extLst>
          </p:cNvPr>
          <p:cNvSpPr>
            <a:spLocks noChangeArrowheads="1"/>
          </p:cNvSpPr>
          <p:nvPr/>
        </p:nvSpPr>
        <p:spPr bwMode="auto">
          <a:xfrm>
            <a:off x="6463353" y="2887176"/>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20" name="Oval 398">
            <a:extLst>
              <a:ext uri="{FF2B5EF4-FFF2-40B4-BE49-F238E27FC236}">
                <a16:creationId xmlns:a16="http://schemas.microsoft.com/office/drawing/2014/main" id="{FA5E58E3-73EA-4F4B-8B5D-4BA8D2CCE111}"/>
              </a:ext>
            </a:extLst>
          </p:cNvPr>
          <p:cNvSpPr>
            <a:spLocks noChangeArrowheads="1"/>
          </p:cNvSpPr>
          <p:nvPr/>
        </p:nvSpPr>
        <p:spPr bwMode="auto">
          <a:xfrm>
            <a:off x="6096886" y="2896212"/>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21" name="Oval 399">
            <a:extLst>
              <a:ext uri="{FF2B5EF4-FFF2-40B4-BE49-F238E27FC236}">
                <a16:creationId xmlns:a16="http://schemas.microsoft.com/office/drawing/2014/main" id="{234613D3-3849-4188-A4EE-FC32DB5D7B27}"/>
              </a:ext>
            </a:extLst>
          </p:cNvPr>
          <p:cNvSpPr>
            <a:spLocks noChangeArrowheads="1"/>
          </p:cNvSpPr>
          <p:nvPr/>
        </p:nvSpPr>
        <p:spPr bwMode="auto">
          <a:xfrm>
            <a:off x="2070840" y="283517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22" name="Oval 400">
            <a:extLst>
              <a:ext uri="{FF2B5EF4-FFF2-40B4-BE49-F238E27FC236}">
                <a16:creationId xmlns:a16="http://schemas.microsoft.com/office/drawing/2014/main" id="{156226AA-5FA7-4CB3-8CB4-FCF28E7AE931}"/>
              </a:ext>
            </a:extLst>
          </p:cNvPr>
          <p:cNvSpPr>
            <a:spLocks noChangeArrowheads="1"/>
          </p:cNvSpPr>
          <p:nvPr/>
        </p:nvSpPr>
        <p:spPr bwMode="auto">
          <a:xfrm>
            <a:off x="3823962" y="2660793"/>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23" name="Oval 401">
            <a:extLst>
              <a:ext uri="{FF2B5EF4-FFF2-40B4-BE49-F238E27FC236}">
                <a16:creationId xmlns:a16="http://schemas.microsoft.com/office/drawing/2014/main" id="{B9A3C2E1-DF19-4B86-9441-50CC6F1FCEF4}"/>
              </a:ext>
            </a:extLst>
          </p:cNvPr>
          <p:cNvSpPr>
            <a:spLocks noChangeArrowheads="1"/>
          </p:cNvSpPr>
          <p:nvPr/>
        </p:nvSpPr>
        <p:spPr bwMode="auto">
          <a:xfrm>
            <a:off x="3652747" y="2339928"/>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24" name="Oval 402">
            <a:extLst>
              <a:ext uri="{FF2B5EF4-FFF2-40B4-BE49-F238E27FC236}">
                <a16:creationId xmlns:a16="http://schemas.microsoft.com/office/drawing/2014/main" id="{1AF7CBA7-FA89-4B29-81F5-5CA82B8B8734}"/>
              </a:ext>
            </a:extLst>
          </p:cNvPr>
          <p:cNvSpPr>
            <a:spLocks noChangeArrowheads="1"/>
          </p:cNvSpPr>
          <p:nvPr/>
        </p:nvSpPr>
        <p:spPr bwMode="auto">
          <a:xfrm>
            <a:off x="1118459" y="2242273"/>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25" name="Oval 403">
            <a:extLst>
              <a:ext uri="{FF2B5EF4-FFF2-40B4-BE49-F238E27FC236}">
                <a16:creationId xmlns:a16="http://schemas.microsoft.com/office/drawing/2014/main" id="{7890DD66-2685-474E-9B8B-BEB7D8B71426}"/>
              </a:ext>
            </a:extLst>
          </p:cNvPr>
          <p:cNvSpPr>
            <a:spLocks noChangeArrowheads="1"/>
          </p:cNvSpPr>
          <p:nvPr/>
        </p:nvSpPr>
        <p:spPr bwMode="auto">
          <a:xfrm>
            <a:off x="6187039" y="2735778"/>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26" name="Oval 404">
            <a:extLst>
              <a:ext uri="{FF2B5EF4-FFF2-40B4-BE49-F238E27FC236}">
                <a16:creationId xmlns:a16="http://schemas.microsoft.com/office/drawing/2014/main" id="{A301436A-1AFF-418F-8D58-8C84A862B401}"/>
              </a:ext>
            </a:extLst>
          </p:cNvPr>
          <p:cNvSpPr>
            <a:spLocks noChangeArrowheads="1"/>
          </p:cNvSpPr>
          <p:nvPr/>
        </p:nvSpPr>
        <p:spPr bwMode="auto">
          <a:xfrm>
            <a:off x="2220016" y="4310145"/>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27" name="Oval 405">
            <a:extLst>
              <a:ext uri="{FF2B5EF4-FFF2-40B4-BE49-F238E27FC236}">
                <a16:creationId xmlns:a16="http://schemas.microsoft.com/office/drawing/2014/main" id="{4C24F0FF-7D19-431B-99E4-05A7417D4AB3}"/>
              </a:ext>
            </a:extLst>
          </p:cNvPr>
          <p:cNvSpPr>
            <a:spLocks noChangeArrowheads="1"/>
          </p:cNvSpPr>
          <p:nvPr/>
        </p:nvSpPr>
        <p:spPr bwMode="auto">
          <a:xfrm>
            <a:off x="2175942" y="4570293"/>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28" name="Oval 406">
            <a:extLst>
              <a:ext uri="{FF2B5EF4-FFF2-40B4-BE49-F238E27FC236}">
                <a16:creationId xmlns:a16="http://schemas.microsoft.com/office/drawing/2014/main" id="{952574BB-E5A3-4EA0-ADB6-D3B2284458FA}"/>
              </a:ext>
            </a:extLst>
          </p:cNvPr>
          <p:cNvSpPr>
            <a:spLocks noChangeArrowheads="1"/>
          </p:cNvSpPr>
          <p:nvPr/>
        </p:nvSpPr>
        <p:spPr bwMode="auto">
          <a:xfrm>
            <a:off x="1638569" y="2957245"/>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29" name="Oval 407">
            <a:extLst>
              <a:ext uri="{FF2B5EF4-FFF2-40B4-BE49-F238E27FC236}">
                <a16:creationId xmlns:a16="http://schemas.microsoft.com/office/drawing/2014/main" id="{E8043BAF-B18F-42B6-8303-4A7162FF97A8}"/>
              </a:ext>
            </a:extLst>
          </p:cNvPr>
          <p:cNvSpPr>
            <a:spLocks noChangeArrowheads="1"/>
          </p:cNvSpPr>
          <p:nvPr/>
        </p:nvSpPr>
        <p:spPr bwMode="auto">
          <a:xfrm>
            <a:off x="3861256" y="2416655"/>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30" name="Oval 408">
            <a:extLst>
              <a:ext uri="{FF2B5EF4-FFF2-40B4-BE49-F238E27FC236}">
                <a16:creationId xmlns:a16="http://schemas.microsoft.com/office/drawing/2014/main" id="{C7370DDE-EEA1-42B2-9CE9-CE2AA49DDC6A}"/>
              </a:ext>
            </a:extLst>
          </p:cNvPr>
          <p:cNvSpPr>
            <a:spLocks noChangeArrowheads="1"/>
          </p:cNvSpPr>
          <p:nvPr/>
        </p:nvSpPr>
        <p:spPr bwMode="auto">
          <a:xfrm>
            <a:off x="3578160" y="2683464"/>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31" name="Oval 409">
            <a:extLst>
              <a:ext uri="{FF2B5EF4-FFF2-40B4-BE49-F238E27FC236}">
                <a16:creationId xmlns:a16="http://schemas.microsoft.com/office/drawing/2014/main" id="{7F7F736A-62E6-487C-B027-09FAAD5763A5}"/>
              </a:ext>
            </a:extLst>
          </p:cNvPr>
          <p:cNvSpPr>
            <a:spLocks noChangeArrowheads="1"/>
          </p:cNvSpPr>
          <p:nvPr/>
        </p:nvSpPr>
        <p:spPr bwMode="auto">
          <a:xfrm>
            <a:off x="2160684" y="271310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32" name="Oval 410">
            <a:extLst>
              <a:ext uri="{FF2B5EF4-FFF2-40B4-BE49-F238E27FC236}">
                <a16:creationId xmlns:a16="http://schemas.microsoft.com/office/drawing/2014/main" id="{3C80CCA2-507B-4113-96D7-C9E64F2E6BF9}"/>
              </a:ext>
            </a:extLst>
          </p:cNvPr>
          <p:cNvSpPr>
            <a:spLocks noChangeArrowheads="1"/>
          </p:cNvSpPr>
          <p:nvPr/>
        </p:nvSpPr>
        <p:spPr bwMode="auto">
          <a:xfrm>
            <a:off x="4322035" y="2636063"/>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33" name="Oval 411">
            <a:extLst>
              <a:ext uri="{FF2B5EF4-FFF2-40B4-BE49-F238E27FC236}">
                <a16:creationId xmlns:a16="http://schemas.microsoft.com/office/drawing/2014/main" id="{3720FC03-CD30-4405-A229-0F080D413747}"/>
              </a:ext>
            </a:extLst>
          </p:cNvPr>
          <p:cNvSpPr>
            <a:spLocks noChangeArrowheads="1"/>
          </p:cNvSpPr>
          <p:nvPr/>
        </p:nvSpPr>
        <p:spPr bwMode="auto">
          <a:xfrm>
            <a:off x="3615455" y="2819482"/>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34" name="Oval 412">
            <a:extLst>
              <a:ext uri="{FF2B5EF4-FFF2-40B4-BE49-F238E27FC236}">
                <a16:creationId xmlns:a16="http://schemas.microsoft.com/office/drawing/2014/main" id="{43083B35-6A3F-414E-8D24-A01BD4D51B04}"/>
              </a:ext>
            </a:extLst>
          </p:cNvPr>
          <p:cNvSpPr>
            <a:spLocks noChangeArrowheads="1"/>
          </p:cNvSpPr>
          <p:nvPr/>
        </p:nvSpPr>
        <p:spPr bwMode="auto">
          <a:xfrm>
            <a:off x="1638569" y="3086289"/>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35" name="Oval 413">
            <a:extLst>
              <a:ext uri="{FF2B5EF4-FFF2-40B4-BE49-F238E27FC236}">
                <a16:creationId xmlns:a16="http://schemas.microsoft.com/office/drawing/2014/main" id="{162C49E5-B5DD-428A-A8C0-2B5BADD593AB}"/>
              </a:ext>
            </a:extLst>
          </p:cNvPr>
          <p:cNvSpPr>
            <a:spLocks noChangeArrowheads="1"/>
          </p:cNvSpPr>
          <p:nvPr/>
        </p:nvSpPr>
        <p:spPr bwMode="auto">
          <a:xfrm>
            <a:off x="1638569" y="3086289"/>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36" name="Oval 414">
            <a:extLst>
              <a:ext uri="{FF2B5EF4-FFF2-40B4-BE49-F238E27FC236}">
                <a16:creationId xmlns:a16="http://schemas.microsoft.com/office/drawing/2014/main" id="{22447C48-A711-4939-92AC-7244E29616EB}"/>
              </a:ext>
            </a:extLst>
          </p:cNvPr>
          <p:cNvSpPr>
            <a:spLocks noChangeArrowheads="1"/>
          </p:cNvSpPr>
          <p:nvPr/>
        </p:nvSpPr>
        <p:spPr bwMode="auto">
          <a:xfrm>
            <a:off x="3801923" y="2165544"/>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37" name="Oval 415">
            <a:extLst>
              <a:ext uri="{FF2B5EF4-FFF2-40B4-BE49-F238E27FC236}">
                <a16:creationId xmlns:a16="http://schemas.microsoft.com/office/drawing/2014/main" id="{DB181D8F-1BB7-4877-9466-F06498A77CE1}"/>
              </a:ext>
            </a:extLst>
          </p:cNvPr>
          <p:cNvSpPr>
            <a:spLocks noChangeArrowheads="1"/>
          </p:cNvSpPr>
          <p:nvPr/>
        </p:nvSpPr>
        <p:spPr bwMode="auto">
          <a:xfrm>
            <a:off x="1274414" y="2461996"/>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38" name="Oval 416">
            <a:extLst>
              <a:ext uri="{FF2B5EF4-FFF2-40B4-BE49-F238E27FC236}">
                <a16:creationId xmlns:a16="http://schemas.microsoft.com/office/drawing/2014/main" id="{BB684566-BA20-499A-9948-36F8A2C86C29}"/>
              </a:ext>
            </a:extLst>
          </p:cNvPr>
          <p:cNvSpPr>
            <a:spLocks noChangeArrowheads="1"/>
          </p:cNvSpPr>
          <p:nvPr/>
        </p:nvSpPr>
        <p:spPr bwMode="auto">
          <a:xfrm>
            <a:off x="2169468" y="4007034"/>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39" name="Oval 417">
            <a:extLst>
              <a:ext uri="{FF2B5EF4-FFF2-40B4-BE49-F238E27FC236}">
                <a16:creationId xmlns:a16="http://schemas.microsoft.com/office/drawing/2014/main" id="{ED0C36FB-6113-470F-B2BA-15A98EE1A919}"/>
              </a:ext>
            </a:extLst>
          </p:cNvPr>
          <p:cNvSpPr>
            <a:spLocks noChangeArrowheads="1"/>
          </p:cNvSpPr>
          <p:nvPr/>
        </p:nvSpPr>
        <p:spPr bwMode="auto">
          <a:xfrm>
            <a:off x="6410803" y="2842152"/>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40" name="Oval 418">
            <a:extLst>
              <a:ext uri="{FF2B5EF4-FFF2-40B4-BE49-F238E27FC236}">
                <a16:creationId xmlns:a16="http://schemas.microsoft.com/office/drawing/2014/main" id="{B252E133-2E1E-459D-8C69-BEB31C1C74FD}"/>
              </a:ext>
            </a:extLst>
          </p:cNvPr>
          <p:cNvSpPr>
            <a:spLocks noChangeArrowheads="1"/>
          </p:cNvSpPr>
          <p:nvPr/>
        </p:nvSpPr>
        <p:spPr bwMode="auto">
          <a:xfrm>
            <a:off x="5263166" y="3231027"/>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41" name="Oval 419">
            <a:extLst>
              <a:ext uri="{FF2B5EF4-FFF2-40B4-BE49-F238E27FC236}">
                <a16:creationId xmlns:a16="http://schemas.microsoft.com/office/drawing/2014/main" id="{90A4ADFA-CB8B-46C7-83AF-A1E41ECD18D5}"/>
              </a:ext>
            </a:extLst>
          </p:cNvPr>
          <p:cNvSpPr>
            <a:spLocks noChangeArrowheads="1"/>
          </p:cNvSpPr>
          <p:nvPr/>
        </p:nvSpPr>
        <p:spPr bwMode="auto">
          <a:xfrm>
            <a:off x="3920279" y="2591040"/>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42" name="Oval 420">
            <a:extLst>
              <a:ext uri="{FF2B5EF4-FFF2-40B4-BE49-F238E27FC236}">
                <a16:creationId xmlns:a16="http://schemas.microsoft.com/office/drawing/2014/main" id="{FDBB9F88-D499-43EE-AC1C-24FFF09D59A6}"/>
              </a:ext>
            </a:extLst>
          </p:cNvPr>
          <p:cNvSpPr>
            <a:spLocks noChangeArrowheads="1"/>
          </p:cNvSpPr>
          <p:nvPr/>
        </p:nvSpPr>
        <p:spPr bwMode="auto">
          <a:xfrm>
            <a:off x="6507427" y="3984365"/>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43" name="Oval 421">
            <a:extLst>
              <a:ext uri="{FF2B5EF4-FFF2-40B4-BE49-F238E27FC236}">
                <a16:creationId xmlns:a16="http://schemas.microsoft.com/office/drawing/2014/main" id="{132378DF-7F01-4B88-A2E5-C14A7BA26262}"/>
              </a:ext>
            </a:extLst>
          </p:cNvPr>
          <p:cNvSpPr>
            <a:spLocks noChangeArrowheads="1"/>
          </p:cNvSpPr>
          <p:nvPr/>
        </p:nvSpPr>
        <p:spPr bwMode="auto">
          <a:xfrm>
            <a:off x="4038942" y="418141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44" name="Oval 422">
            <a:extLst>
              <a:ext uri="{FF2B5EF4-FFF2-40B4-BE49-F238E27FC236}">
                <a16:creationId xmlns:a16="http://schemas.microsoft.com/office/drawing/2014/main" id="{ADF7FB5C-6D63-4B7B-8CF7-51B01C83C69F}"/>
              </a:ext>
            </a:extLst>
          </p:cNvPr>
          <p:cNvSpPr>
            <a:spLocks noChangeArrowheads="1"/>
          </p:cNvSpPr>
          <p:nvPr/>
        </p:nvSpPr>
        <p:spPr bwMode="auto">
          <a:xfrm>
            <a:off x="3861256" y="2332953"/>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45" name="Oval 423">
            <a:extLst>
              <a:ext uri="{FF2B5EF4-FFF2-40B4-BE49-F238E27FC236}">
                <a16:creationId xmlns:a16="http://schemas.microsoft.com/office/drawing/2014/main" id="{0F6E20E0-9434-423E-9F49-8A69AAF6667B}"/>
              </a:ext>
            </a:extLst>
          </p:cNvPr>
          <p:cNvSpPr>
            <a:spLocks noChangeArrowheads="1"/>
          </p:cNvSpPr>
          <p:nvPr/>
        </p:nvSpPr>
        <p:spPr bwMode="auto">
          <a:xfrm>
            <a:off x="3861256" y="2332953"/>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46" name="Oval 424">
            <a:extLst>
              <a:ext uri="{FF2B5EF4-FFF2-40B4-BE49-F238E27FC236}">
                <a16:creationId xmlns:a16="http://schemas.microsoft.com/office/drawing/2014/main" id="{0EB6E03F-20EF-4B5C-A887-A8BFC463BFF4}"/>
              </a:ext>
            </a:extLst>
          </p:cNvPr>
          <p:cNvSpPr>
            <a:spLocks noChangeArrowheads="1"/>
          </p:cNvSpPr>
          <p:nvPr/>
        </p:nvSpPr>
        <p:spPr bwMode="auto">
          <a:xfrm>
            <a:off x="1311708" y="2780803"/>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47" name="Oval 425">
            <a:extLst>
              <a:ext uri="{FF2B5EF4-FFF2-40B4-BE49-F238E27FC236}">
                <a16:creationId xmlns:a16="http://schemas.microsoft.com/office/drawing/2014/main" id="{5F8368D5-BC55-4F7D-BA62-8C5BF51A9831}"/>
              </a:ext>
            </a:extLst>
          </p:cNvPr>
          <p:cNvSpPr>
            <a:spLocks noChangeArrowheads="1"/>
          </p:cNvSpPr>
          <p:nvPr/>
        </p:nvSpPr>
        <p:spPr bwMode="auto">
          <a:xfrm>
            <a:off x="1311708" y="2780803"/>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48" name="Oval 426">
            <a:extLst>
              <a:ext uri="{FF2B5EF4-FFF2-40B4-BE49-F238E27FC236}">
                <a16:creationId xmlns:a16="http://schemas.microsoft.com/office/drawing/2014/main" id="{817C29B9-98BA-49A6-8762-71DAF0A3E53A}"/>
              </a:ext>
            </a:extLst>
          </p:cNvPr>
          <p:cNvSpPr>
            <a:spLocks noChangeArrowheads="1"/>
          </p:cNvSpPr>
          <p:nvPr/>
        </p:nvSpPr>
        <p:spPr bwMode="auto">
          <a:xfrm>
            <a:off x="3898549" y="2538725"/>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49" name="Oval 427">
            <a:extLst>
              <a:ext uri="{FF2B5EF4-FFF2-40B4-BE49-F238E27FC236}">
                <a16:creationId xmlns:a16="http://schemas.microsoft.com/office/drawing/2014/main" id="{CA6D1A4B-83F1-4EE2-8033-8BFCDAC5B524}"/>
              </a:ext>
            </a:extLst>
          </p:cNvPr>
          <p:cNvSpPr>
            <a:spLocks noChangeArrowheads="1"/>
          </p:cNvSpPr>
          <p:nvPr/>
        </p:nvSpPr>
        <p:spPr bwMode="auto">
          <a:xfrm>
            <a:off x="3861256" y="2468654"/>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50" name="Oval 428">
            <a:extLst>
              <a:ext uri="{FF2B5EF4-FFF2-40B4-BE49-F238E27FC236}">
                <a16:creationId xmlns:a16="http://schemas.microsoft.com/office/drawing/2014/main" id="{D84C6E80-3819-40D0-8474-7819015C2999}"/>
              </a:ext>
            </a:extLst>
          </p:cNvPr>
          <p:cNvSpPr>
            <a:spLocks noChangeArrowheads="1"/>
          </p:cNvSpPr>
          <p:nvPr/>
        </p:nvSpPr>
        <p:spPr bwMode="auto">
          <a:xfrm>
            <a:off x="4247448" y="2591040"/>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51" name="Oval 429">
            <a:extLst>
              <a:ext uri="{FF2B5EF4-FFF2-40B4-BE49-F238E27FC236}">
                <a16:creationId xmlns:a16="http://schemas.microsoft.com/office/drawing/2014/main" id="{90F94F81-7B49-458D-A6B1-05CEB1ADE450}"/>
              </a:ext>
            </a:extLst>
          </p:cNvPr>
          <p:cNvSpPr>
            <a:spLocks noChangeArrowheads="1"/>
          </p:cNvSpPr>
          <p:nvPr/>
        </p:nvSpPr>
        <p:spPr bwMode="auto">
          <a:xfrm>
            <a:off x="1772488" y="3025255"/>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52" name="Oval 430">
            <a:extLst>
              <a:ext uri="{FF2B5EF4-FFF2-40B4-BE49-F238E27FC236}">
                <a16:creationId xmlns:a16="http://schemas.microsoft.com/office/drawing/2014/main" id="{5DC04991-54DD-4A0F-B6F5-631FB897447A}"/>
              </a:ext>
            </a:extLst>
          </p:cNvPr>
          <p:cNvSpPr>
            <a:spLocks noChangeArrowheads="1"/>
          </p:cNvSpPr>
          <p:nvPr/>
        </p:nvSpPr>
        <p:spPr bwMode="auto">
          <a:xfrm>
            <a:off x="1162531" y="2523031"/>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53" name="Oval 431">
            <a:extLst>
              <a:ext uri="{FF2B5EF4-FFF2-40B4-BE49-F238E27FC236}">
                <a16:creationId xmlns:a16="http://schemas.microsoft.com/office/drawing/2014/main" id="{2FCC1FB2-7190-4CC9-95B2-5B6D30BDF844}"/>
              </a:ext>
            </a:extLst>
          </p:cNvPr>
          <p:cNvSpPr>
            <a:spLocks noChangeArrowheads="1"/>
          </p:cNvSpPr>
          <p:nvPr/>
        </p:nvSpPr>
        <p:spPr bwMode="auto">
          <a:xfrm>
            <a:off x="4896701" y="3147324"/>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54" name="Oval 432">
            <a:extLst>
              <a:ext uri="{FF2B5EF4-FFF2-40B4-BE49-F238E27FC236}">
                <a16:creationId xmlns:a16="http://schemas.microsoft.com/office/drawing/2014/main" id="{21CF7587-263E-4D9E-9552-1D0CCE0C9F3F}"/>
              </a:ext>
            </a:extLst>
          </p:cNvPr>
          <p:cNvSpPr>
            <a:spLocks noChangeArrowheads="1"/>
          </p:cNvSpPr>
          <p:nvPr/>
        </p:nvSpPr>
        <p:spPr bwMode="auto">
          <a:xfrm>
            <a:off x="3861256" y="2400962"/>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55" name="Oval 433">
            <a:extLst>
              <a:ext uri="{FF2B5EF4-FFF2-40B4-BE49-F238E27FC236}">
                <a16:creationId xmlns:a16="http://schemas.microsoft.com/office/drawing/2014/main" id="{35B08C72-A3FC-4C36-B15A-DEB26C5BDCD6}"/>
              </a:ext>
            </a:extLst>
          </p:cNvPr>
          <p:cNvSpPr>
            <a:spLocks noChangeArrowheads="1"/>
          </p:cNvSpPr>
          <p:nvPr/>
        </p:nvSpPr>
        <p:spPr bwMode="auto">
          <a:xfrm>
            <a:off x="3861256" y="2400962"/>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56" name="Oval 434">
            <a:extLst>
              <a:ext uri="{FF2B5EF4-FFF2-40B4-BE49-F238E27FC236}">
                <a16:creationId xmlns:a16="http://schemas.microsoft.com/office/drawing/2014/main" id="{E41B324C-B76E-467F-8548-6E9989174125}"/>
              </a:ext>
            </a:extLst>
          </p:cNvPr>
          <p:cNvSpPr>
            <a:spLocks noChangeArrowheads="1"/>
          </p:cNvSpPr>
          <p:nvPr/>
        </p:nvSpPr>
        <p:spPr bwMode="auto">
          <a:xfrm>
            <a:off x="3764630" y="2416655"/>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57" name="Oval 435">
            <a:extLst>
              <a:ext uri="{FF2B5EF4-FFF2-40B4-BE49-F238E27FC236}">
                <a16:creationId xmlns:a16="http://schemas.microsoft.com/office/drawing/2014/main" id="{26BFBC3D-DD0B-4E50-AA6F-3B970708E266}"/>
              </a:ext>
            </a:extLst>
          </p:cNvPr>
          <p:cNvSpPr>
            <a:spLocks noChangeArrowheads="1"/>
          </p:cNvSpPr>
          <p:nvPr/>
        </p:nvSpPr>
        <p:spPr bwMode="auto">
          <a:xfrm>
            <a:off x="3764630" y="2416655"/>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58" name="Oval 436">
            <a:extLst>
              <a:ext uri="{FF2B5EF4-FFF2-40B4-BE49-F238E27FC236}">
                <a16:creationId xmlns:a16="http://schemas.microsoft.com/office/drawing/2014/main" id="{CB7F9FBB-AB78-4EF7-A11D-40EA7276163D}"/>
              </a:ext>
            </a:extLst>
          </p:cNvPr>
          <p:cNvSpPr>
            <a:spLocks noChangeArrowheads="1"/>
          </p:cNvSpPr>
          <p:nvPr/>
        </p:nvSpPr>
        <p:spPr bwMode="auto">
          <a:xfrm>
            <a:off x="3764630" y="2416655"/>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59" name="Oval 437">
            <a:extLst>
              <a:ext uri="{FF2B5EF4-FFF2-40B4-BE49-F238E27FC236}">
                <a16:creationId xmlns:a16="http://schemas.microsoft.com/office/drawing/2014/main" id="{1B448385-6060-4DA8-84E7-7AA4CA38D585}"/>
              </a:ext>
            </a:extLst>
          </p:cNvPr>
          <p:cNvSpPr>
            <a:spLocks noChangeArrowheads="1"/>
          </p:cNvSpPr>
          <p:nvPr/>
        </p:nvSpPr>
        <p:spPr bwMode="auto">
          <a:xfrm>
            <a:off x="4949559" y="3276368"/>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60" name="Oval 438">
            <a:extLst>
              <a:ext uri="{FF2B5EF4-FFF2-40B4-BE49-F238E27FC236}">
                <a16:creationId xmlns:a16="http://schemas.microsoft.com/office/drawing/2014/main" id="{F12110B4-0A94-4971-9C5C-26CA58558183}"/>
              </a:ext>
            </a:extLst>
          </p:cNvPr>
          <p:cNvSpPr>
            <a:spLocks noChangeArrowheads="1"/>
          </p:cNvSpPr>
          <p:nvPr/>
        </p:nvSpPr>
        <p:spPr bwMode="auto">
          <a:xfrm>
            <a:off x="4940775" y="327636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61" name="Oval 439">
            <a:extLst>
              <a:ext uri="{FF2B5EF4-FFF2-40B4-BE49-F238E27FC236}">
                <a16:creationId xmlns:a16="http://schemas.microsoft.com/office/drawing/2014/main" id="{4D79CBD9-CC89-46E6-802B-E2C68005FB2E}"/>
              </a:ext>
            </a:extLst>
          </p:cNvPr>
          <p:cNvSpPr>
            <a:spLocks noChangeArrowheads="1"/>
          </p:cNvSpPr>
          <p:nvPr/>
        </p:nvSpPr>
        <p:spPr bwMode="auto">
          <a:xfrm>
            <a:off x="1594495" y="3283026"/>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62" name="Oval 440">
            <a:extLst>
              <a:ext uri="{FF2B5EF4-FFF2-40B4-BE49-F238E27FC236}">
                <a16:creationId xmlns:a16="http://schemas.microsoft.com/office/drawing/2014/main" id="{A378229F-C9DB-4712-A3EC-234D5A42297D}"/>
              </a:ext>
            </a:extLst>
          </p:cNvPr>
          <p:cNvSpPr>
            <a:spLocks noChangeArrowheads="1"/>
          </p:cNvSpPr>
          <p:nvPr/>
        </p:nvSpPr>
        <p:spPr bwMode="auto">
          <a:xfrm>
            <a:off x="3861256" y="2409681"/>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63" name="Oval 441">
            <a:extLst>
              <a:ext uri="{FF2B5EF4-FFF2-40B4-BE49-F238E27FC236}">
                <a16:creationId xmlns:a16="http://schemas.microsoft.com/office/drawing/2014/main" id="{2608F879-2871-4FA8-9972-E15544ED96CE}"/>
              </a:ext>
            </a:extLst>
          </p:cNvPr>
          <p:cNvSpPr>
            <a:spLocks noChangeArrowheads="1"/>
          </p:cNvSpPr>
          <p:nvPr/>
        </p:nvSpPr>
        <p:spPr bwMode="auto">
          <a:xfrm>
            <a:off x="1296143" y="2325976"/>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64" name="Oval 442">
            <a:extLst>
              <a:ext uri="{FF2B5EF4-FFF2-40B4-BE49-F238E27FC236}">
                <a16:creationId xmlns:a16="http://schemas.microsoft.com/office/drawing/2014/main" id="{A34CBB2E-86F9-41E8-81C9-973AB1654038}"/>
              </a:ext>
            </a:extLst>
          </p:cNvPr>
          <p:cNvSpPr>
            <a:spLocks noChangeArrowheads="1"/>
          </p:cNvSpPr>
          <p:nvPr/>
        </p:nvSpPr>
        <p:spPr bwMode="auto">
          <a:xfrm>
            <a:off x="3861256" y="2332953"/>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65" name="Oval 443">
            <a:extLst>
              <a:ext uri="{FF2B5EF4-FFF2-40B4-BE49-F238E27FC236}">
                <a16:creationId xmlns:a16="http://schemas.microsoft.com/office/drawing/2014/main" id="{0C9E1EE5-FF8C-4CB5-B45F-F08458E9D16B}"/>
              </a:ext>
            </a:extLst>
          </p:cNvPr>
          <p:cNvSpPr>
            <a:spLocks noChangeArrowheads="1"/>
          </p:cNvSpPr>
          <p:nvPr/>
        </p:nvSpPr>
        <p:spPr bwMode="auto">
          <a:xfrm>
            <a:off x="3861256" y="2332953"/>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66" name="Oval 444">
            <a:extLst>
              <a:ext uri="{FF2B5EF4-FFF2-40B4-BE49-F238E27FC236}">
                <a16:creationId xmlns:a16="http://schemas.microsoft.com/office/drawing/2014/main" id="{9F31BFA5-2D70-4C25-B791-15DE8D556ED7}"/>
              </a:ext>
            </a:extLst>
          </p:cNvPr>
          <p:cNvSpPr>
            <a:spLocks noChangeArrowheads="1"/>
          </p:cNvSpPr>
          <p:nvPr/>
        </p:nvSpPr>
        <p:spPr bwMode="auto">
          <a:xfrm>
            <a:off x="3861256" y="2332953"/>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67" name="Oval 445">
            <a:extLst>
              <a:ext uri="{FF2B5EF4-FFF2-40B4-BE49-F238E27FC236}">
                <a16:creationId xmlns:a16="http://schemas.microsoft.com/office/drawing/2014/main" id="{AA420DBF-D7C0-4510-A7D8-A000C9E651DB}"/>
              </a:ext>
            </a:extLst>
          </p:cNvPr>
          <p:cNvSpPr>
            <a:spLocks noChangeArrowheads="1"/>
          </p:cNvSpPr>
          <p:nvPr/>
        </p:nvSpPr>
        <p:spPr bwMode="auto">
          <a:xfrm>
            <a:off x="4337291" y="3115618"/>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68" name="Oval 446">
            <a:extLst>
              <a:ext uri="{FF2B5EF4-FFF2-40B4-BE49-F238E27FC236}">
                <a16:creationId xmlns:a16="http://schemas.microsoft.com/office/drawing/2014/main" id="{48803443-EF15-4D7A-82E1-AE77B08CDBC9}"/>
              </a:ext>
            </a:extLst>
          </p:cNvPr>
          <p:cNvSpPr>
            <a:spLocks noChangeArrowheads="1"/>
          </p:cNvSpPr>
          <p:nvPr/>
        </p:nvSpPr>
        <p:spPr bwMode="auto">
          <a:xfrm>
            <a:off x="1370731" y="318568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69" name="Oval 447">
            <a:extLst>
              <a:ext uri="{FF2B5EF4-FFF2-40B4-BE49-F238E27FC236}">
                <a16:creationId xmlns:a16="http://schemas.microsoft.com/office/drawing/2014/main" id="{6FDE022C-6F11-44C4-809D-7B8C1D9F4990}"/>
              </a:ext>
            </a:extLst>
          </p:cNvPr>
          <p:cNvSpPr>
            <a:spLocks noChangeArrowheads="1"/>
          </p:cNvSpPr>
          <p:nvPr/>
        </p:nvSpPr>
        <p:spPr bwMode="auto">
          <a:xfrm>
            <a:off x="3867728" y="2332953"/>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70" name="Oval 448">
            <a:extLst>
              <a:ext uri="{FF2B5EF4-FFF2-40B4-BE49-F238E27FC236}">
                <a16:creationId xmlns:a16="http://schemas.microsoft.com/office/drawing/2014/main" id="{40403925-38BB-4E75-A975-E5D7462F244E}"/>
              </a:ext>
            </a:extLst>
          </p:cNvPr>
          <p:cNvSpPr>
            <a:spLocks noChangeArrowheads="1"/>
          </p:cNvSpPr>
          <p:nvPr/>
        </p:nvSpPr>
        <p:spPr bwMode="auto">
          <a:xfrm>
            <a:off x="1625315" y="2857847"/>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71" name="Oval 449">
            <a:extLst>
              <a:ext uri="{FF2B5EF4-FFF2-40B4-BE49-F238E27FC236}">
                <a16:creationId xmlns:a16="http://schemas.microsoft.com/office/drawing/2014/main" id="{6F71DABE-37A8-4285-9F73-C9345BA98208}"/>
              </a:ext>
            </a:extLst>
          </p:cNvPr>
          <p:cNvSpPr>
            <a:spLocks noChangeArrowheads="1"/>
          </p:cNvSpPr>
          <p:nvPr/>
        </p:nvSpPr>
        <p:spPr bwMode="auto">
          <a:xfrm>
            <a:off x="6439313" y="2842152"/>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72" name="Oval 450">
            <a:extLst>
              <a:ext uri="{FF2B5EF4-FFF2-40B4-BE49-F238E27FC236}">
                <a16:creationId xmlns:a16="http://schemas.microsoft.com/office/drawing/2014/main" id="{AB5668FF-AF7A-4245-97AE-DE2C36750EFC}"/>
              </a:ext>
            </a:extLst>
          </p:cNvPr>
          <p:cNvSpPr>
            <a:spLocks noChangeArrowheads="1"/>
          </p:cNvSpPr>
          <p:nvPr/>
        </p:nvSpPr>
        <p:spPr bwMode="auto">
          <a:xfrm>
            <a:off x="1349002" y="2728804"/>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73" name="Oval 451">
            <a:extLst>
              <a:ext uri="{FF2B5EF4-FFF2-40B4-BE49-F238E27FC236}">
                <a16:creationId xmlns:a16="http://schemas.microsoft.com/office/drawing/2014/main" id="{43F83CA4-CB78-45F1-91B4-7B2EF72A4E90}"/>
              </a:ext>
            </a:extLst>
          </p:cNvPr>
          <p:cNvSpPr>
            <a:spLocks noChangeArrowheads="1"/>
          </p:cNvSpPr>
          <p:nvPr/>
        </p:nvSpPr>
        <p:spPr bwMode="auto">
          <a:xfrm>
            <a:off x="1349002" y="2728804"/>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74" name="Oval 452">
            <a:extLst>
              <a:ext uri="{FF2B5EF4-FFF2-40B4-BE49-F238E27FC236}">
                <a16:creationId xmlns:a16="http://schemas.microsoft.com/office/drawing/2014/main" id="{24006A76-72BE-4DBB-B2B2-7AC01091E0AE}"/>
              </a:ext>
            </a:extLst>
          </p:cNvPr>
          <p:cNvSpPr>
            <a:spLocks noChangeArrowheads="1"/>
          </p:cNvSpPr>
          <p:nvPr/>
        </p:nvSpPr>
        <p:spPr bwMode="auto">
          <a:xfrm>
            <a:off x="3540866" y="2660793"/>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75" name="Oval 453">
            <a:extLst>
              <a:ext uri="{FF2B5EF4-FFF2-40B4-BE49-F238E27FC236}">
                <a16:creationId xmlns:a16="http://schemas.microsoft.com/office/drawing/2014/main" id="{065A2899-1887-468F-8B2D-4F64129C6CD0}"/>
              </a:ext>
            </a:extLst>
          </p:cNvPr>
          <p:cNvSpPr>
            <a:spLocks noChangeArrowheads="1"/>
          </p:cNvSpPr>
          <p:nvPr/>
        </p:nvSpPr>
        <p:spPr bwMode="auto">
          <a:xfrm>
            <a:off x="4100275" y="1595310"/>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76" name="Oval 454">
            <a:extLst>
              <a:ext uri="{FF2B5EF4-FFF2-40B4-BE49-F238E27FC236}">
                <a16:creationId xmlns:a16="http://schemas.microsoft.com/office/drawing/2014/main" id="{15C84BAB-B1A8-40B3-9DB1-5348EC89235F}"/>
              </a:ext>
            </a:extLst>
          </p:cNvPr>
          <p:cNvSpPr>
            <a:spLocks noChangeArrowheads="1"/>
          </p:cNvSpPr>
          <p:nvPr/>
        </p:nvSpPr>
        <p:spPr bwMode="auto">
          <a:xfrm>
            <a:off x="4240668" y="1547910"/>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77" name="Oval 455">
            <a:extLst>
              <a:ext uri="{FF2B5EF4-FFF2-40B4-BE49-F238E27FC236}">
                <a16:creationId xmlns:a16="http://schemas.microsoft.com/office/drawing/2014/main" id="{EB1E0E84-15BC-4F27-8596-01E01B6F77AA}"/>
              </a:ext>
            </a:extLst>
          </p:cNvPr>
          <p:cNvSpPr>
            <a:spLocks noChangeArrowheads="1"/>
          </p:cNvSpPr>
          <p:nvPr/>
        </p:nvSpPr>
        <p:spPr bwMode="auto">
          <a:xfrm>
            <a:off x="4271489" y="1518582"/>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78" name="Oval 456">
            <a:extLst>
              <a:ext uri="{FF2B5EF4-FFF2-40B4-BE49-F238E27FC236}">
                <a16:creationId xmlns:a16="http://schemas.microsoft.com/office/drawing/2014/main" id="{54C65E2C-9C6F-4008-89AB-5D6B817FF4ED}"/>
              </a:ext>
            </a:extLst>
          </p:cNvPr>
          <p:cNvSpPr>
            <a:spLocks noChangeArrowheads="1"/>
          </p:cNvSpPr>
          <p:nvPr/>
        </p:nvSpPr>
        <p:spPr bwMode="auto">
          <a:xfrm>
            <a:off x="3808397" y="2416655"/>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79" name="Oval 457">
            <a:extLst>
              <a:ext uri="{FF2B5EF4-FFF2-40B4-BE49-F238E27FC236}">
                <a16:creationId xmlns:a16="http://schemas.microsoft.com/office/drawing/2014/main" id="{F5C05A5D-5B59-477D-92BD-D1CEE0CF3B38}"/>
              </a:ext>
            </a:extLst>
          </p:cNvPr>
          <p:cNvSpPr>
            <a:spLocks noChangeArrowheads="1"/>
          </p:cNvSpPr>
          <p:nvPr/>
        </p:nvSpPr>
        <p:spPr bwMode="auto">
          <a:xfrm>
            <a:off x="3808397" y="2409681"/>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80" name="Oval 458">
            <a:extLst>
              <a:ext uri="{FF2B5EF4-FFF2-40B4-BE49-F238E27FC236}">
                <a16:creationId xmlns:a16="http://schemas.microsoft.com/office/drawing/2014/main" id="{4776EDBB-58F5-489F-8799-950AD495BC3A}"/>
              </a:ext>
            </a:extLst>
          </p:cNvPr>
          <p:cNvSpPr>
            <a:spLocks noChangeArrowheads="1"/>
          </p:cNvSpPr>
          <p:nvPr/>
        </p:nvSpPr>
        <p:spPr bwMode="auto">
          <a:xfrm>
            <a:off x="3652747" y="2120205"/>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81" name="Oval 459">
            <a:extLst>
              <a:ext uri="{FF2B5EF4-FFF2-40B4-BE49-F238E27FC236}">
                <a16:creationId xmlns:a16="http://schemas.microsoft.com/office/drawing/2014/main" id="{44E17C10-D360-4351-B653-26135BB77DE3}"/>
              </a:ext>
            </a:extLst>
          </p:cNvPr>
          <p:cNvSpPr>
            <a:spLocks noChangeArrowheads="1"/>
          </p:cNvSpPr>
          <p:nvPr/>
        </p:nvSpPr>
        <p:spPr bwMode="auto">
          <a:xfrm>
            <a:off x="4100275" y="2050135"/>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82" name="Oval 460">
            <a:extLst>
              <a:ext uri="{FF2B5EF4-FFF2-40B4-BE49-F238E27FC236}">
                <a16:creationId xmlns:a16="http://schemas.microsoft.com/office/drawing/2014/main" id="{C3FD5382-7BB3-4412-AA56-73CF768DF5CC}"/>
              </a:ext>
            </a:extLst>
          </p:cNvPr>
          <p:cNvSpPr>
            <a:spLocks noChangeArrowheads="1"/>
          </p:cNvSpPr>
          <p:nvPr/>
        </p:nvSpPr>
        <p:spPr bwMode="auto">
          <a:xfrm>
            <a:off x="1610059" y="2948209"/>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83" name="Oval 461">
            <a:extLst>
              <a:ext uri="{FF2B5EF4-FFF2-40B4-BE49-F238E27FC236}">
                <a16:creationId xmlns:a16="http://schemas.microsoft.com/office/drawing/2014/main" id="{192B721B-7265-48EE-9B4F-E17651E72D6D}"/>
              </a:ext>
            </a:extLst>
          </p:cNvPr>
          <p:cNvSpPr>
            <a:spLocks noChangeArrowheads="1"/>
          </p:cNvSpPr>
          <p:nvPr/>
        </p:nvSpPr>
        <p:spPr bwMode="auto">
          <a:xfrm>
            <a:off x="3823962" y="2660793"/>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84" name="Oval 462">
            <a:extLst>
              <a:ext uri="{FF2B5EF4-FFF2-40B4-BE49-F238E27FC236}">
                <a16:creationId xmlns:a16="http://schemas.microsoft.com/office/drawing/2014/main" id="{F9C6D996-A6AB-4BDC-84EA-FDF521B41EF9}"/>
              </a:ext>
            </a:extLst>
          </p:cNvPr>
          <p:cNvSpPr>
            <a:spLocks noChangeArrowheads="1"/>
          </p:cNvSpPr>
          <p:nvPr/>
        </p:nvSpPr>
        <p:spPr bwMode="auto">
          <a:xfrm>
            <a:off x="6127708" y="3199322"/>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85" name="Oval 463">
            <a:extLst>
              <a:ext uri="{FF2B5EF4-FFF2-40B4-BE49-F238E27FC236}">
                <a16:creationId xmlns:a16="http://schemas.microsoft.com/office/drawing/2014/main" id="{D362FACE-2BC0-414B-8C97-6891483E3A19}"/>
              </a:ext>
            </a:extLst>
          </p:cNvPr>
          <p:cNvSpPr>
            <a:spLocks noChangeArrowheads="1"/>
          </p:cNvSpPr>
          <p:nvPr/>
        </p:nvSpPr>
        <p:spPr bwMode="auto">
          <a:xfrm>
            <a:off x="3905023" y="2545701"/>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86" name="Oval 464">
            <a:extLst>
              <a:ext uri="{FF2B5EF4-FFF2-40B4-BE49-F238E27FC236}">
                <a16:creationId xmlns:a16="http://schemas.microsoft.com/office/drawing/2014/main" id="{6B2036B5-A5BA-4136-B5BA-C6F33787B362}"/>
              </a:ext>
            </a:extLst>
          </p:cNvPr>
          <p:cNvSpPr>
            <a:spLocks noChangeArrowheads="1"/>
          </p:cNvSpPr>
          <p:nvPr/>
        </p:nvSpPr>
        <p:spPr bwMode="auto">
          <a:xfrm>
            <a:off x="1155751" y="2850872"/>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87" name="Oval 465">
            <a:extLst>
              <a:ext uri="{FF2B5EF4-FFF2-40B4-BE49-F238E27FC236}">
                <a16:creationId xmlns:a16="http://schemas.microsoft.com/office/drawing/2014/main" id="{B060AD98-FAC9-4CE0-ADC3-BCDBC58A9269}"/>
              </a:ext>
            </a:extLst>
          </p:cNvPr>
          <p:cNvSpPr>
            <a:spLocks noChangeArrowheads="1"/>
          </p:cNvSpPr>
          <p:nvPr/>
        </p:nvSpPr>
        <p:spPr bwMode="auto">
          <a:xfrm>
            <a:off x="5941237" y="2896212"/>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88" name="Oval 466">
            <a:extLst>
              <a:ext uri="{FF2B5EF4-FFF2-40B4-BE49-F238E27FC236}">
                <a16:creationId xmlns:a16="http://schemas.microsoft.com/office/drawing/2014/main" id="{879100B9-BAE8-44F3-A2CD-F6010F9F9270}"/>
              </a:ext>
            </a:extLst>
          </p:cNvPr>
          <p:cNvSpPr>
            <a:spLocks noChangeArrowheads="1"/>
          </p:cNvSpPr>
          <p:nvPr/>
        </p:nvSpPr>
        <p:spPr bwMode="auto">
          <a:xfrm>
            <a:off x="1713155" y="266776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89" name="Oval 467">
            <a:extLst>
              <a:ext uri="{FF2B5EF4-FFF2-40B4-BE49-F238E27FC236}">
                <a16:creationId xmlns:a16="http://schemas.microsoft.com/office/drawing/2014/main" id="{05CCBE3A-99BB-4301-8DF2-DFB35537B68B}"/>
              </a:ext>
            </a:extLst>
          </p:cNvPr>
          <p:cNvSpPr>
            <a:spLocks noChangeArrowheads="1"/>
          </p:cNvSpPr>
          <p:nvPr/>
        </p:nvSpPr>
        <p:spPr bwMode="auto">
          <a:xfrm>
            <a:off x="4113529" y="229458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90" name="Oval 468">
            <a:extLst>
              <a:ext uri="{FF2B5EF4-FFF2-40B4-BE49-F238E27FC236}">
                <a16:creationId xmlns:a16="http://schemas.microsoft.com/office/drawing/2014/main" id="{71E3F221-49FF-4FAD-853B-CE81DF636CFE}"/>
              </a:ext>
            </a:extLst>
          </p:cNvPr>
          <p:cNvSpPr>
            <a:spLocks noChangeArrowheads="1"/>
          </p:cNvSpPr>
          <p:nvPr/>
        </p:nvSpPr>
        <p:spPr bwMode="auto">
          <a:xfrm>
            <a:off x="1772488" y="3025255"/>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91" name="Oval 469">
            <a:extLst>
              <a:ext uri="{FF2B5EF4-FFF2-40B4-BE49-F238E27FC236}">
                <a16:creationId xmlns:a16="http://schemas.microsoft.com/office/drawing/2014/main" id="{92B18D24-C2D2-4244-829A-203815BCEF68}"/>
              </a:ext>
            </a:extLst>
          </p:cNvPr>
          <p:cNvSpPr>
            <a:spLocks noChangeArrowheads="1"/>
          </p:cNvSpPr>
          <p:nvPr/>
        </p:nvSpPr>
        <p:spPr bwMode="auto">
          <a:xfrm>
            <a:off x="2138647" y="274449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92" name="Oval 470">
            <a:extLst>
              <a:ext uri="{FF2B5EF4-FFF2-40B4-BE49-F238E27FC236}">
                <a16:creationId xmlns:a16="http://schemas.microsoft.com/office/drawing/2014/main" id="{482F12A6-BD33-4C70-9B45-2C608111FFFA}"/>
              </a:ext>
            </a:extLst>
          </p:cNvPr>
          <p:cNvSpPr>
            <a:spLocks noChangeArrowheads="1"/>
          </p:cNvSpPr>
          <p:nvPr/>
        </p:nvSpPr>
        <p:spPr bwMode="auto">
          <a:xfrm>
            <a:off x="3920279" y="2409681"/>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93" name="Oval 471">
            <a:extLst>
              <a:ext uri="{FF2B5EF4-FFF2-40B4-BE49-F238E27FC236}">
                <a16:creationId xmlns:a16="http://schemas.microsoft.com/office/drawing/2014/main" id="{0A5C828F-C23E-46DD-8F0F-CCF90D13AA89}"/>
              </a:ext>
            </a:extLst>
          </p:cNvPr>
          <p:cNvSpPr>
            <a:spLocks noChangeArrowheads="1"/>
          </p:cNvSpPr>
          <p:nvPr/>
        </p:nvSpPr>
        <p:spPr bwMode="auto">
          <a:xfrm>
            <a:off x="4113529" y="2310283"/>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94" name="Oval 472">
            <a:extLst>
              <a:ext uri="{FF2B5EF4-FFF2-40B4-BE49-F238E27FC236}">
                <a16:creationId xmlns:a16="http://schemas.microsoft.com/office/drawing/2014/main" id="{9DC0F962-7F41-4A4A-8B39-56E3264C0ABB}"/>
              </a:ext>
            </a:extLst>
          </p:cNvPr>
          <p:cNvSpPr>
            <a:spLocks noChangeArrowheads="1"/>
          </p:cNvSpPr>
          <p:nvPr/>
        </p:nvSpPr>
        <p:spPr bwMode="auto">
          <a:xfrm>
            <a:off x="3793141" y="2416655"/>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95" name="Oval 473">
            <a:extLst>
              <a:ext uri="{FF2B5EF4-FFF2-40B4-BE49-F238E27FC236}">
                <a16:creationId xmlns:a16="http://schemas.microsoft.com/office/drawing/2014/main" id="{AA4010EB-9BDB-4E9C-BA0C-91340AE8CFC4}"/>
              </a:ext>
            </a:extLst>
          </p:cNvPr>
          <p:cNvSpPr>
            <a:spLocks noChangeArrowheads="1"/>
          </p:cNvSpPr>
          <p:nvPr/>
        </p:nvSpPr>
        <p:spPr bwMode="auto">
          <a:xfrm>
            <a:off x="3793141" y="2416655"/>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96" name="Oval 474">
            <a:extLst>
              <a:ext uri="{FF2B5EF4-FFF2-40B4-BE49-F238E27FC236}">
                <a16:creationId xmlns:a16="http://schemas.microsoft.com/office/drawing/2014/main" id="{0FFAE8FE-D9E1-4799-9F51-85235B67375C}"/>
              </a:ext>
            </a:extLst>
          </p:cNvPr>
          <p:cNvSpPr>
            <a:spLocks noChangeArrowheads="1"/>
          </p:cNvSpPr>
          <p:nvPr/>
        </p:nvSpPr>
        <p:spPr bwMode="auto">
          <a:xfrm>
            <a:off x="1772488" y="3018280"/>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97" name="Oval 475">
            <a:extLst>
              <a:ext uri="{FF2B5EF4-FFF2-40B4-BE49-F238E27FC236}">
                <a16:creationId xmlns:a16="http://schemas.microsoft.com/office/drawing/2014/main" id="{22E975F1-F541-4EC8-9CFD-647EC2D52362}"/>
              </a:ext>
            </a:extLst>
          </p:cNvPr>
          <p:cNvSpPr>
            <a:spLocks noChangeArrowheads="1"/>
          </p:cNvSpPr>
          <p:nvPr/>
        </p:nvSpPr>
        <p:spPr bwMode="auto">
          <a:xfrm>
            <a:off x="6939390" y="4258146"/>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98" name="Oval 476">
            <a:extLst>
              <a:ext uri="{FF2B5EF4-FFF2-40B4-BE49-F238E27FC236}">
                <a16:creationId xmlns:a16="http://schemas.microsoft.com/office/drawing/2014/main" id="{ED2BF87C-710B-4DB4-A56F-05025B1AE86C}"/>
              </a:ext>
            </a:extLst>
          </p:cNvPr>
          <p:cNvSpPr>
            <a:spLocks noChangeArrowheads="1"/>
          </p:cNvSpPr>
          <p:nvPr/>
        </p:nvSpPr>
        <p:spPr bwMode="auto">
          <a:xfrm>
            <a:off x="3562902" y="2172519"/>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799" name="Oval 477">
            <a:extLst>
              <a:ext uri="{FF2B5EF4-FFF2-40B4-BE49-F238E27FC236}">
                <a16:creationId xmlns:a16="http://schemas.microsoft.com/office/drawing/2014/main" id="{C6014B8B-1436-4004-8FCF-D74FA596D92D}"/>
              </a:ext>
            </a:extLst>
          </p:cNvPr>
          <p:cNvSpPr>
            <a:spLocks noChangeArrowheads="1"/>
          </p:cNvSpPr>
          <p:nvPr/>
        </p:nvSpPr>
        <p:spPr bwMode="auto">
          <a:xfrm>
            <a:off x="3376127" y="3079313"/>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00" name="Oval 478">
            <a:extLst>
              <a:ext uri="{FF2B5EF4-FFF2-40B4-BE49-F238E27FC236}">
                <a16:creationId xmlns:a16="http://schemas.microsoft.com/office/drawing/2014/main" id="{F6DC4380-4E9A-44FE-847E-F22FA3362436}"/>
              </a:ext>
            </a:extLst>
          </p:cNvPr>
          <p:cNvSpPr>
            <a:spLocks noChangeArrowheads="1"/>
          </p:cNvSpPr>
          <p:nvPr/>
        </p:nvSpPr>
        <p:spPr bwMode="auto">
          <a:xfrm>
            <a:off x="3845690" y="2477691"/>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01" name="Oval 479">
            <a:extLst>
              <a:ext uri="{FF2B5EF4-FFF2-40B4-BE49-F238E27FC236}">
                <a16:creationId xmlns:a16="http://schemas.microsoft.com/office/drawing/2014/main" id="{94F1C662-45B0-47B8-BD85-15E192EE4187}"/>
              </a:ext>
            </a:extLst>
          </p:cNvPr>
          <p:cNvSpPr>
            <a:spLocks noChangeArrowheads="1"/>
          </p:cNvSpPr>
          <p:nvPr/>
        </p:nvSpPr>
        <p:spPr bwMode="auto">
          <a:xfrm>
            <a:off x="3637492" y="2233554"/>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02" name="Oval 480">
            <a:extLst>
              <a:ext uri="{FF2B5EF4-FFF2-40B4-BE49-F238E27FC236}">
                <a16:creationId xmlns:a16="http://schemas.microsoft.com/office/drawing/2014/main" id="{24BFD70D-625D-40E4-B5F6-AC438F79B37F}"/>
              </a:ext>
            </a:extLst>
          </p:cNvPr>
          <p:cNvSpPr>
            <a:spLocks noChangeArrowheads="1"/>
          </p:cNvSpPr>
          <p:nvPr/>
        </p:nvSpPr>
        <p:spPr bwMode="auto">
          <a:xfrm>
            <a:off x="1340217" y="2529690"/>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03" name="Oval 481">
            <a:extLst>
              <a:ext uri="{FF2B5EF4-FFF2-40B4-BE49-F238E27FC236}">
                <a16:creationId xmlns:a16="http://schemas.microsoft.com/office/drawing/2014/main" id="{ED8E26E8-9B6E-4B72-8D75-9AA5B7BA64BA}"/>
              </a:ext>
            </a:extLst>
          </p:cNvPr>
          <p:cNvSpPr>
            <a:spLocks noChangeArrowheads="1"/>
          </p:cNvSpPr>
          <p:nvPr/>
        </p:nvSpPr>
        <p:spPr bwMode="auto">
          <a:xfrm>
            <a:off x="3852471" y="233992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04" name="Oval 482">
            <a:extLst>
              <a:ext uri="{FF2B5EF4-FFF2-40B4-BE49-F238E27FC236}">
                <a16:creationId xmlns:a16="http://schemas.microsoft.com/office/drawing/2014/main" id="{F6F85904-136D-4514-A039-0F41A72FD23D}"/>
              </a:ext>
            </a:extLst>
          </p:cNvPr>
          <p:cNvSpPr>
            <a:spLocks noChangeArrowheads="1"/>
          </p:cNvSpPr>
          <p:nvPr/>
        </p:nvSpPr>
        <p:spPr bwMode="auto">
          <a:xfrm>
            <a:off x="1557201" y="3246722"/>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05" name="Oval 483">
            <a:extLst>
              <a:ext uri="{FF2B5EF4-FFF2-40B4-BE49-F238E27FC236}">
                <a16:creationId xmlns:a16="http://schemas.microsoft.com/office/drawing/2014/main" id="{2CDCC8D4-F284-4E34-9627-864873EF5A28}"/>
              </a:ext>
            </a:extLst>
          </p:cNvPr>
          <p:cNvSpPr>
            <a:spLocks noChangeArrowheads="1"/>
          </p:cNvSpPr>
          <p:nvPr/>
        </p:nvSpPr>
        <p:spPr bwMode="auto">
          <a:xfrm>
            <a:off x="4517288" y="2409681"/>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06" name="Oval 484">
            <a:extLst>
              <a:ext uri="{FF2B5EF4-FFF2-40B4-BE49-F238E27FC236}">
                <a16:creationId xmlns:a16="http://schemas.microsoft.com/office/drawing/2014/main" id="{76EED449-4C7D-4EE7-93CF-216222275648}"/>
              </a:ext>
            </a:extLst>
          </p:cNvPr>
          <p:cNvSpPr>
            <a:spLocks noChangeArrowheads="1"/>
          </p:cNvSpPr>
          <p:nvPr/>
        </p:nvSpPr>
        <p:spPr bwMode="auto">
          <a:xfrm>
            <a:off x="1871116" y="3009560"/>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07" name="Oval 485">
            <a:extLst>
              <a:ext uri="{FF2B5EF4-FFF2-40B4-BE49-F238E27FC236}">
                <a16:creationId xmlns:a16="http://schemas.microsoft.com/office/drawing/2014/main" id="{7AB95505-4D82-4DF7-A2F9-A27C9CEC9035}"/>
              </a:ext>
            </a:extLst>
          </p:cNvPr>
          <p:cNvSpPr>
            <a:spLocks noChangeArrowheads="1"/>
          </p:cNvSpPr>
          <p:nvPr/>
        </p:nvSpPr>
        <p:spPr bwMode="auto">
          <a:xfrm>
            <a:off x="1675863" y="3031914"/>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08" name="Oval 486">
            <a:extLst>
              <a:ext uri="{FF2B5EF4-FFF2-40B4-BE49-F238E27FC236}">
                <a16:creationId xmlns:a16="http://schemas.microsoft.com/office/drawing/2014/main" id="{DFC5C6DA-6089-468A-B833-3CDE2D7BE765}"/>
              </a:ext>
            </a:extLst>
          </p:cNvPr>
          <p:cNvSpPr>
            <a:spLocks noChangeArrowheads="1"/>
          </p:cNvSpPr>
          <p:nvPr/>
        </p:nvSpPr>
        <p:spPr bwMode="auto">
          <a:xfrm>
            <a:off x="1713155" y="3031914"/>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09" name="Oval 487">
            <a:extLst>
              <a:ext uri="{FF2B5EF4-FFF2-40B4-BE49-F238E27FC236}">
                <a16:creationId xmlns:a16="http://schemas.microsoft.com/office/drawing/2014/main" id="{5A7E6659-0518-4958-B567-CEC6AE366A09}"/>
              </a:ext>
            </a:extLst>
          </p:cNvPr>
          <p:cNvSpPr>
            <a:spLocks noChangeArrowheads="1"/>
          </p:cNvSpPr>
          <p:nvPr/>
        </p:nvSpPr>
        <p:spPr bwMode="auto">
          <a:xfrm>
            <a:off x="1706683" y="3040948"/>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10" name="Oval 488">
            <a:extLst>
              <a:ext uri="{FF2B5EF4-FFF2-40B4-BE49-F238E27FC236}">
                <a16:creationId xmlns:a16="http://schemas.microsoft.com/office/drawing/2014/main" id="{A39CADB4-9391-43D8-86B4-295DC370DFE4}"/>
              </a:ext>
            </a:extLst>
          </p:cNvPr>
          <p:cNvSpPr>
            <a:spLocks noChangeArrowheads="1"/>
          </p:cNvSpPr>
          <p:nvPr/>
        </p:nvSpPr>
        <p:spPr bwMode="auto">
          <a:xfrm>
            <a:off x="6417276" y="2934576"/>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11" name="Oval 489">
            <a:extLst>
              <a:ext uri="{FF2B5EF4-FFF2-40B4-BE49-F238E27FC236}">
                <a16:creationId xmlns:a16="http://schemas.microsoft.com/office/drawing/2014/main" id="{5C621D24-FCE4-472B-8CF8-276D1FB28406}"/>
              </a:ext>
            </a:extLst>
          </p:cNvPr>
          <p:cNvSpPr>
            <a:spLocks noChangeArrowheads="1"/>
          </p:cNvSpPr>
          <p:nvPr/>
        </p:nvSpPr>
        <p:spPr bwMode="auto">
          <a:xfrm>
            <a:off x="4196901" y="2622429"/>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12" name="Oval 490">
            <a:extLst>
              <a:ext uri="{FF2B5EF4-FFF2-40B4-BE49-F238E27FC236}">
                <a16:creationId xmlns:a16="http://schemas.microsoft.com/office/drawing/2014/main" id="{320F843D-16C0-4E50-B60F-C73494CE9092}"/>
              </a:ext>
            </a:extLst>
          </p:cNvPr>
          <p:cNvSpPr>
            <a:spLocks noChangeArrowheads="1"/>
          </p:cNvSpPr>
          <p:nvPr/>
        </p:nvSpPr>
        <p:spPr bwMode="auto">
          <a:xfrm>
            <a:off x="1588022" y="2719768"/>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13" name="Oval 491">
            <a:extLst>
              <a:ext uri="{FF2B5EF4-FFF2-40B4-BE49-F238E27FC236}">
                <a16:creationId xmlns:a16="http://schemas.microsoft.com/office/drawing/2014/main" id="{1FD74572-122C-4FB2-BC57-12877DD1F9D6}"/>
              </a:ext>
            </a:extLst>
          </p:cNvPr>
          <p:cNvSpPr>
            <a:spLocks noChangeArrowheads="1"/>
          </p:cNvSpPr>
          <p:nvPr/>
        </p:nvSpPr>
        <p:spPr bwMode="auto">
          <a:xfrm>
            <a:off x="3927059" y="2325976"/>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14" name="Oval 492">
            <a:extLst>
              <a:ext uri="{FF2B5EF4-FFF2-40B4-BE49-F238E27FC236}">
                <a16:creationId xmlns:a16="http://schemas.microsoft.com/office/drawing/2014/main" id="{C0B1853A-27E3-44EA-8273-22DA933A4A2A}"/>
              </a:ext>
            </a:extLst>
          </p:cNvPr>
          <p:cNvSpPr>
            <a:spLocks noChangeArrowheads="1"/>
          </p:cNvSpPr>
          <p:nvPr/>
        </p:nvSpPr>
        <p:spPr bwMode="auto">
          <a:xfrm>
            <a:off x="3927059" y="2325976"/>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15" name="Oval 493">
            <a:extLst>
              <a:ext uri="{FF2B5EF4-FFF2-40B4-BE49-F238E27FC236}">
                <a16:creationId xmlns:a16="http://schemas.microsoft.com/office/drawing/2014/main" id="{528D1879-3B7D-4FF5-AD9F-43AFD7FE1305}"/>
              </a:ext>
            </a:extLst>
          </p:cNvPr>
          <p:cNvSpPr>
            <a:spLocks noChangeArrowheads="1"/>
          </p:cNvSpPr>
          <p:nvPr/>
        </p:nvSpPr>
        <p:spPr bwMode="auto">
          <a:xfrm>
            <a:off x="3927059" y="2325976"/>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16" name="Oval 494">
            <a:extLst>
              <a:ext uri="{FF2B5EF4-FFF2-40B4-BE49-F238E27FC236}">
                <a16:creationId xmlns:a16="http://schemas.microsoft.com/office/drawing/2014/main" id="{B0493CF6-02B7-4E41-944C-977193044013}"/>
              </a:ext>
            </a:extLst>
          </p:cNvPr>
          <p:cNvSpPr>
            <a:spLocks noChangeArrowheads="1"/>
          </p:cNvSpPr>
          <p:nvPr/>
        </p:nvSpPr>
        <p:spPr bwMode="auto">
          <a:xfrm>
            <a:off x="3920279" y="243932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17" name="Oval 495">
            <a:extLst>
              <a:ext uri="{FF2B5EF4-FFF2-40B4-BE49-F238E27FC236}">
                <a16:creationId xmlns:a16="http://schemas.microsoft.com/office/drawing/2014/main" id="{487A7ED4-6A75-4E4A-B70D-05E95A9672E2}"/>
              </a:ext>
            </a:extLst>
          </p:cNvPr>
          <p:cNvSpPr>
            <a:spLocks noChangeArrowheads="1"/>
          </p:cNvSpPr>
          <p:nvPr/>
        </p:nvSpPr>
        <p:spPr bwMode="auto">
          <a:xfrm>
            <a:off x="1989472" y="276716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18" name="Oval 496">
            <a:extLst>
              <a:ext uri="{FF2B5EF4-FFF2-40B4-BE49-F238E27FC236}">
                <a16:creationId xmlns:a16="http://schemas.microsoft.com/office/drawing/2014/main" id="{0645B79F-6A7F-45A0-8017-5498C705B575}"/>
              </a:ext>
            </a:extLst>
          </p:cNvPr>
          <p:cNvSpPr>
            <a:spLocks noChangeArrowheads="1"/>
          </p:cNvSpPr>
          <p:nvPr/>
        </p:nvSpPr>
        <p:spPr bwMode="auto">
          <a:xfrm>
            <a:off x="4188116" y="2013831"/>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19" name="Oval 497">
            <a:extLst>
              <a:ext uri="{FF2B5EF4-FFF2-40B4-BE49-F238E27FC236}">
                <a16:creationId xmlns:a16="http://schemas.microsoft.com/office/drawing/2014/main" id="{864A029A-A4AA-4605-90FB-CE107180C3CF}"/>
              </a:ext>
            </a:extLst>
          </p:cNvPr>
          <p:cNvSpPr>
            <a:spLocks noChangeArrowheads="1"/>
          </p:cNvSpPr>
          <p:nvPr/>
        </p:nvSpPr>
        <p:spPr bwMode="auto">
          <a:xfrm>
            <a:off x="6178254" y="2803471"/>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20" name="Oval 498">
            <a:extLst>
              <a:ext uri="{FF2B5EF4-FFF2-40B4-BE49-F238E27FC236}">
                <a16:creationId xmlns:a16="http://schemas.microsoft.com/office/drawing/2014/main" id="{E7153981-9817-4CF5-AB7F-C62BE75203DD}"/>
              </a:ext>
            </a:extLst>
          </p:cNvPr>
          <p:cNvSpPr>
            <a:spLocks noChangeArrowheads="1"/>
          </p:cNvSpPr>
          <p:nvPr/>
        </p:nvSpPr>
        <p:spPr bwMode="auto">
          <a:xfrm>
            <a:off x="6178254" y="2774142"/>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21" name="Oval 499">
            <a:extLst>
              <a:ext uri="{FF2B5EF4-FFF2-40B4-BE49-F238E27FC236}">
                <a16:creationId xmlns:a16="http://schemas.microsoft.com/office/drawing/2014/main" id="{4F55F095-3889-4DCE-8A7A-06E1C58F4896}"/>
              </a:ext>
            </a:extLst>
          </p:cNvPr>
          <p:cNvSpPr>
            <a:spLocks noChangeArrowheads="1"/>
          </p:cNvSpPr>
          <p:nvPr/>
        </p:nvSpPr>
        <p:spPr bwMode="auto">
          <a:xfrm>
            <a:off x="6454569" y="2545701"/>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22" name="Oval 500">
            <a:extLst>
              <a:ext uri="{FF2B5EF4-FFF2-40B4-BE49-F238E27FC236}">
                <a16:creationId xmlns:a16="http://schemas.microsoft.com/office/drawing/2014/main" id="{6C9535BA-B35C-4206-84BD-8C6F7F9F538E}"/>
              </a:ext>
            </a:extLst>
          </p:cNvPr>
          <p:cNvSpPr>
            <a:spLocks noChangeArrowheads="1"/>
          </p:cNvSpPr>
          <p:nvPr/>
        </p:nvSpPr>
        <p:spPr bwMode="auto">
          <a:xfrm>
            <a:off x="3882983" y="2301247"/>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23" name="Oval 501">
            <a:extLst>
              <a:ext uri="{FF2B5EF4-FFF2-40B4-BE49-F238E27FC236}">
                <a16:creationId xmlns:a16="http://schemas.microsoft.com/office/drawing/2014/main" id="{30116855-2FF9-43BB-B9F7-2CF5285CFFDD}"/>
              </a:ext>
            </a:extLst>
          </p:cNvPr>
          <p:cNvSpPr>
            <a:spLocks noChangeArrowheads="1"/>
          </p:cNvSpPr>
          <p:nvPr/>
        </p:nvSpPr>
        <p:spPr bwMode="auto">
          <a:xfrm>
            <a:off x="3882983" y="2301247"/>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24" name="Oval 502">
            <a:extLst>
              <a:ext uri="{FF2B5EF4-FFF2-40B4-BE49-F238E27FC236}">
                <a16:creationId xmlns:a16="http://schemas.microsoft.com/office/drawing/2014/main" id="{86A15B5E-373C-40C0-97D7-1F72EEFBC0DA}"/>
              </a:ext>
            </a:extLst>
          </p:cNvPr>
          <p:cNvSpPr>
            <a:spLocks noChangeArrowheads="1"/>
          </p:cNvSpPr>
          <p:nvPr/>
        </p:nvSpPr>
        <p:spPr bwMode="auto">
          <a:xfrm>
            <a:off x="3920279" y="2005112"/>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25" name="Oval 503">
            <a:extLst>
              <a:ext uri="{FF2B5EF4-FFF2-40B4-BE49-F238E27FC236}">
                <a16:creationId xmlns:a16="http://schemas.microsoft.com/office/drawing/2014/main" id="{E38FED91-EA82-4E96-BD2F-F689CC4DFE32}"/>
              </a:ext>
            </a:extLst>
          </p:cNvPr>
          <p:cNvSpPr>
            <a:spLocks noChangeArrowheads="1"/>
          </p:cNvSpPr>
          <p:nvPr/>
        </p:nvSpPr>
        <p:spPr bwMode="auto">
          <a:xfrm>
            <a:off x="3920279" y="2371316"/>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26" name="Oval 504">
            <a:extLst>
              <a:ext uri="{FF2B5EF4-FFF2-40B4-BE49-F238E27FC236}">
                <a16:creationId xmlns:a16="http://schemas.microsoft.com/office/drawing/2014/main" id="{0D8D8F12-1F04-43E2-9A06-18C4F1126A9C}"/>
              </a:ext>
            </a:extLst>
          </p:cNvPr>
          <p:cNvSpPr>
            <a:spLocks noChangeArrowheads="1"/>
          </p:cNvSpPr>
          <p:nvPr/>
        </p:nvSpPr>
        <p:spPr bwMode="auto">
          <a:xfrm>
            <a:off x="3951100" y="2461996"/>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27" name="Oval 505">
            <a:extLst>
              <a:ext uri="{FF2B5EF4-FFF2-40B4-BE49-F238E27FC236}">
                <a16:creationId xmlns:a16="http://schemas.microsoft.com/office/drawing/2014/main" id="{EE8753A0-44EF-496B-AB81-6A6467FBC54D}"/>
              </a:ext>
            </a:extLst>
          </p:cNvPr>
          <p:cNvSpPr>
            <a:spLocks noChangeArrowheads="1"/>
          </p:cNvSpPr>
          <p:nvPr/>
        </p:nvSpPr>
        <p:spPr bwMode="auto">
          <a:xfrm>
            <a:off x="3652747" y="2310283"/>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28" name="Oval 506">
            <a:extLst>
              <a:ext uri="{FF2B5EF4-FFF2-40B4-BE49-F238E27FC236}">
                <a16:creationId xmlns:a16="http://schemas.microsoft.com/office/drawing/2014/main" id="{BD0B82F4-0CFF-495A-B511-DBCA43B2A798}"/>
              </a:ext>
            </a:extLst>
          </p:cNvPr>
          <p:cNvSpPr>
            <a:spLocks noChangeArrowheads="1"/>
          </p:cNvSpPr>
          <p:nvPr/>
        </p:nvSpPr>
        <p:spPr bwMode="auto">
          <a:xfrm>
            <a:off x="6588488" y="290318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29" name="Oval 507">
            <a:extLst>
              <a:ext uri="{FF2B5EF4-FFF2-40B4-BE49-F238E27FC236}">
                <a16:creationId xmlns:a16="http://schemas.microsoft.com/office/drawing/2014/main" id="{89461D99-53E1-4626-A289-FACF0282DEA5}"/>
              </a:ext>
            </a:extLst>
          </p:cNvPr>
          <p:cNvSpPr>
            <a:spLocks noChangeArrowheads="1"/>
          </p:cNvSpPr>
          <p:nvPr/>
        </p:nvSpPr>
        <p:spPr bwMode="auto">
          <a:xfrm>
            <a:off x="3927059" y="2210883"/>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30" name="Oval 508">
            <a:extLst>
              <a:ext uri="{FF2B5EF4-FFF2-40B4-BE49-F238E27FC236}">
                <a16:creationId xmlns:a16="http://schemas.microsoft.com/office/drawing/2014/main" id="{1A9774CB-DB04-47C7-81F0-FF8C20B1D1A5}"/>
              </a:ext>
            </a:extLst>
          </p:cNvPr>
          <p:cNvSpPr>
            <a:spLocks noChangeArrowheads="1"/>
          </p:cNvSpPr>
          <p:nvPr/>
        </p:nvSpPr>
        <p:spPr bwMode="auto">
          <a:xfrm>
            <a:off x="4062982" y="2043474"/>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31" name="Oval 509">
            <a:extLst>
              <a:ext uri="{FF2B5EF4-FFF2-40B4-BE49-F238E27FC236}">
                <a16:creationId xmlns:a16="http://schemas.microsoft.com/office/drawing/2014/main" id="{0AFA4C54-A728-4CF3-BF60-FB90982B08FE}"/>
              </a:ext>
            </a:extLst>
          </p:cNvPr>
          <p:cNvSpPr>
            <a:spLocks noChangeArrowheads="1"/>
          </p:cNvSpPr>
          <p:nvPr/>
        </p:nvSpPr>
        <p:spPr bwMode="auto">
          <a:xfrm>
            <a:off x="6470134" y="2887176"/>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32" name="Oval 510">
            <a:extLst>
              <a:ext uri="{FF2B5EF4-FFF2-40B4-BE49-F238E27FC236}">
                <a16:creationId xmlns:a16="http://schemas.microsoft.com/office/drawing/2014/main" id="{0BC86D1A-A008-4F89-9FC7-646DD5DCF191}"/>
              </a:ext>
            </a:extLst>
          </p:cNvPr>
          <p:cNvSpPr>
            <a:spLocks noChangeArrowheads="1"/>
          </p:cNvSpPr>
          <p:nvPr/>
        </p:nvSpPr>
        <p:spPr bwMode="auto">
          <a:xfrm>
            <a:off x="1684647" y="3031914"/>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33" name="Oval 511">
            <a:extLst>
              <a:ext uri="{FF2B5EF4-FFF2-40B4-BE49-F238E27FC236}">
                <a16:creationId xmlns:a16="http://schemas.microsoft.com/office/drawing/2014/main" id="{D8FC714E-A409-4978-822C-7FCFB957119A}"/>
              </a:ext>
            </a:extLst>
          </p:cNvPr>
          <p:cNvSpPr>
            <a:spLocks noChangeArrowheads="1"/>
          </p:cNvSpPr>
          <p:nvPr/>
        </p:nvSpPr>
        <p:spPr bwMode="auto">
          <a:xfrm>
            <a:off x="3569377" y="2828201"/>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34" name="Oval 512">
            <a:extLst>
              <a:ext uri="{FF2B5EF4-FFF2-40B4-BE49-F238E27FC236}">
                <a16:creationId xmlns:a16="http://schemas.microsoft.com/office/drawing/2014/main" id="{B09DD96F-BDE7-47DB-9F73-93628537C09B}"/>
              </a:ext>
            </a:extLst>
          </p:cNvPr>
          <p:cNvSpPr>
            <a:spLocks noChangeArrowheads="1"/>
          </p:cNvSpPr>
          <p:nvPr/>
        </p:nvSpPr>
        <p:spPr bwMode="auto">
          <a:xfrm>
            <a:off x="3712080" y="2317257"/>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35" name="Oval 513">
            <a:extLst>
              <a:ext uri="{FF2B5EF4-FFF2-40B4-BE49-F238E27FC236}">
                <a16:creationId xmlns:a16="http://schemas.microsoft.com/office/drawing/2014/main" id="{E1EF7A9F-8004-4DCB-B114-4CB1388F703D}"/>
              </a:ext>
            </a:extLst>
          </p:cNvPr>
          <p:cNvSpPr>
            <a:spLocks noChangeArrowheads="1"/>
          </p:cNvSpPr>
          <p:nvPr/>
        </p:nvSpPr>
        <p:spPr bwMode="auto">
          <a:xfrm>
            <a:off x="3712080" y="2325976"/>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36" name="Oval 514">
            <a:extLst>
              <a:ext uri="{FF2B5EF4-FFF2-40B4-BE49-F238E27FC236}">
                <a16:creationId xmlns:a16="http://schemas.microsoft.com/office/drawing/2014/main" id="{A3B4B018-61B9-44EF-8F46-DCD9CF4E87DB}"/>
              </a:ext>
            </a:extLst>
          </p:cNvPr>
          <p:cNvSpPr>
            <a:spLocks noChangeArrowheads="1"/>
          </p:cNvSpPr>
          <p:nvPr/>
        </p:nvSpPr>
        <p:spPr bwMode="auto">
          <a:xfrm>
            <a:off x="3659221" y="2378291"/>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37" name="Oval 515">
            <a:extLst>
              <a:ext uri="{FF2B5EF4-FFF2-40B4-BE49-F238E27FC236}">
                <a16:creationId xmlns:a16="http://schemas.microsoft.com/office/drawing/2014/main" id="{3870DD49-51FD-4021-864D-AAE04925D696}"/>
              </a:ext>
            </a:extLst>
          </p:cNvPr>
          <p:cNvSpPr>
            <a:spLocks noChangeArrowheads="1"/>
          </p:cNvSpPr>
          <p:nvPr/>
        </p:nvSpPr>
        <p:spPr bwMode="auto">
          <a:xfrm>
            <a:off x="3898549" y="2339928"/>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38" name="Oval 516">
            <a:extLst>
              <a:ext uri="{FF2B5EF4-FFF2-40B4-BE49-F238E27FC236}">
                <a16:creationId xmlns:a16="http://schemas.microsoft.com/office/drawing/2014/main" id="{E3D35438-B4FF-4A4C-9413-C8B6832BFBAD}"/>
              </a:ext>
            </a:extLst>
          </p:cNvPr>
          <p:cNvSpPr>
            <a:spLocks noChangeArrowheads="1"/>
          </p:cNvSpPr>
          <p:nvPr/>
        </p:nvSpPr>
        <p:spPr bwMode="auto">
          <a:xfrm>
            <a:off x="3643964" y="2774142"/>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39" name="Oval 517">
            <a:extLst>
              <a:ext uri="{FF2B5EF4-FFF2-40B4-BE49-F238E27FC236}">
                <a16:creationId xmlns:a16="http://schemas.microsoft.com/office/drawing/2014/main" id="{B4216816-6C35-4E41-BA51-661039A9A7F2}"/>
              </a:ext>
            </a:extLst>
          </p:cNvPr>
          <p:cNvSpPr>
            <a:spLocks noChangeArrowheads="1"/>
          </p:cNvSpPr>
          <p:nvPr/>
        </p:nvSpPr>
        <p:spPr bwMode="auto">
          <a:xfrm>
            <a:off x="3718553" y="2325976"/>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40" name="Oval 518">
            <a:extLst>
              <a:ext uri="{FF2B5EF4-FFF2-40B4-BE49-F238E27FC236}">
                <a16:creationId xmlns:a16="http://schemas.microsoft.com/office/drawing/2014/main" id="{97812803-B2D5-4190-927E-D3A22AE27A6D}"/>
              </a:ext>
            </a:extLst>
          </p:cNvPr>
          <p:cNvSpPr>
            <a:spLocks noChangeArrowheads="1"/>
          </p:cNvSpPr>
          <p:nvPr/>
        </p:nvSpPr>
        <p:spPr bwMode="auto">
          <a:xfrm>
            <a:off x="6112451" y="3862297"/>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41" name="Oval 519">
            <a:extLst>
              <a:ext uri="{FF2B5EF4-FFF2-40B4-BE49-F238E27FC236}">
                <a16:creationId xmlns:a16="http://schemas.microsoft.com/office/drawing/2014/main" id="{DF778830-8218-4522-8614-A8130716B044}"/>
              </a:ext>
            </a:extLst>
          </p:cNvPr>
          <p:cNvSpPr>
            <a:spLocks noChangeArrowheads="1"/>
          </p:cNvSpPr>
          <p:nvPr/>
        </p:nvSpPr>
        <p:spPr bwMode="auto">
          <a:xfrm>
            <a:off x="4225411" y="206614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42" name="Oval 520">
            <a:extLst>
              <a:ext uri="{FF2B5EF4-FFF2-40B4-BE49-F238E27FC236}">
                <a16:creationId xmlns:a16="http://schemas.microsoft.com/office/drawing/2014/main" id="{E0C751AE-03F2-48C0-A482-FB91477F71ED}"/>
              </a:ext>
            </a:extLst>
          </p:cNvPr>
          <p:cNvSpPr>
            <a:spLocks noChangeArrowheads="1"/>
          </p:cNvSpPr>
          <p:nvPr/>
        </p:nvSpPr>
        <p:spPr bwMode="auto">
          <a:xfrm>
            <a:off x="6118924" y="2697099"/>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43" name="Oval 521">
            <a:extLst>
              <a:ext uri="{FF2B5EF4-FFF2-40B4-BE49-F238E27FC236}">
                <a16:creationId xmlns:a16="http://schemas.microsoft.com/office/drawing/2014/main" id="{765FBEAA-735D-4971-AB75-32BBE4DABF21}"/>
              </a:ext>
            </a:extLst>
          </p:cNvPr>
          <p:cNvSpPr>
            <a:spLocks noChangeArrowheads="1"/>
          </p:cNvSpPr>
          <p:nvPr/>
        </p:nvSpPr>
        <p:spPr bwMode="auto">
          <a:xfrm>
            <a:off x="6112451" y="2706132"/>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44" name="Oval 522">
            <a:extLst>
              <a:ext uri="{FF2B5EF4-FFF2-40B4-BE49-F238E27FC236}">
                <a16:creationId xmlns:a16="http://schemas.microsoft.com/office/drawing/2014/main" id="{CA927F56-B64B-40FF-8984-4EC44DA9FF82}"/>
              </a:ext>
            </a:extLst>
          </p:cNvPr>
          <p:cNvSpPr>
            <a:spLocks noChangeArrowheads="1"/>
          </p:cNvSpPr>
          <p:nvPr/>
        </p:nvSpPr>
        <p:spPr bwMode="auto">
          <a:xfrm>
            <a:off x="6090413" y="2713108"/>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45" name="Oval 523">
            <a:extLst>
              <a:ext uri="{FF2B5EF4-FFF2-40B4-BE49-F238E27FC236}">
                <a16:creationId xmlns:a16="http://schemas.microsoft.com/office/drawing/2014/main" id="{6C736523-6E04-4A8A-B8DC-CAC1F847FFA7}"/>
              </a:ext>
            </a:extLst>
          </p:cNvPr>
          <p:cNvSpPr>
            <a:spLocks noChangeArrowheads="1"/>
          </p:cNvSpPr>
          <p:nvPr/>
        </p:nvSpPr>
        <p:spPr bwMode="auto">
          <a:xfrm>
            <a:off x="6090413" y="2751473"/>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46" name="Oval 524">
            <a:extLst>
              <a:ext uri="{FF2B5EF4-FFF2-40B4-BE49-F238E27FC236}">
                <a16:creationId xmlns:a16="http://schemas.microsoft.com/office/drawing/2014/main" id="{6E27DCC4-A781-4FF7-AAA8-BFC74D2E3077}"/>
              </a:ext>
            </a:extLst>
          </p:cNvPr>
          <p:cNvSpPr>
            <a:spLocks noChangeArrowheads="1"/>
          </p:cNvSpPr>
          <p:nvPr/>
        </p:nvSpPr>
        <p:spPr bwMode="auto">
          <a:xfrm>
            <a:off x="1765709" y="274449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47" name="Oval 525">
            <a:extLst>
              <a:ext uri="{FF2B5EF4-FFF2-40B4-BE49-F238E27FC236}">
                <a16:creationId xmlns:a16="http://schemas.microsoft.com/office/drawing/2014/main" id="{5B2CBFDB-3B7D-49B3-934A-43FD5A41DA53}"/>
              </a:ext>
            </a:extLst>
          </p:cNvPr>
          <p:cNvSpPr>
            <a:spLocks noChangeArrowheads="1"/>
          </p:cNvSpPr>
          <p:nvPr/>
        </p:nvSpPr>
        <p:spPr bwMode="auto">
          <a:xfrm>
            <a:off x="4457957" y="2970880"/>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48" name="Oval 526">
            <a:extLst>
              <a:ext uri="{FF2B5EF4-FFF2-40B4-BE49-F238E27FC236}">
                <a16:creationId xmlns:a16="http://schemas.microsoft.com/office/drawing/2014/main" id="{3BA05452-71AF-48DA-ACE6-0A670C7F36C6}"/>
              </a:ext>
            </a:extLst>
          </p:cNvPr>
          <p:cNvSpPr>
            <a:spLocks noChangeArrowheads="1"/>
          </p:cNvSpPr>
          <p:nvPr/>
        </p:nvSpPr>
        <p:spPr bwMode="auto">
          <a:xfrm>
            <a:off x="2549187" y="4287475"/>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49" name="Oval 527">
            <a:extLst>
              <a:ext uri="{FF2B5EF4-FFF2-40B4-BE49-F238E27FC236}">
                <a16:creationId xmlns:a16="http://schemas.microsoft.com/office/drawing/2014/main" id="{85035041-6F87-4C2C-9238-58948A766548}"/>
              </a:ext>
            </a:extLst>
          </p:cNvPr>
          <p:cNvSpPr>
            <a:spLocks noChangeArrowheads="1"/>
          </p:cNvSpPr>
          <p:nvPr/>
        </p:nvSpPr>
        <p:spPr bwMode="auto">
          <a:xfrm>
            <a:off x="3951100" y="2622429"/>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50" name="Oval 528">
            <a:extLst>
              <a:ext uri="{FF2B5EF4-FFF2-40B4-BE49-F238E27FC236}">
                <a16:creationId xmlns:a16="http://schemas.microsoft.com/office/drawing/2014/main" id="{DF62FDAF-5C33-420D-9014-250B85F63318}"/>
              </a:ext>
            </a:extLst>
          </p:cNvPr>
          <p:cNvSpPr>
            <a:spLocks noChangeArrowheads="1"/>
          </p:cNvSpPr>
          <p:nvPr/>
        </p:nvSpPr>
        <p:spPr bwMode="auto">
          <a:xfrm>
            <a:off x="3951100" y="2622429"/>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51" name="Oval 529">
            <a:extLst>
              <a:ext uri="{FF2B5EF4-FFF2-40B4-BE49-F238E27FC236}">
                <a16:creationId xmlns:a16="http://schemas.microsoft.com/office/drawing/2014/main" id="{07A83D3C-23F9-4859-A05D-B52A08CC321E}"/>
              </a:ext>
            </a:extLst>
          </p:cNvPr>
          <p:cNvSpPr>
            <a:spLocks noChangeArrowheads="1"/>
          </p:cNvSpPr>
          <p:nvPr/>
        </p:nvSpPr>
        <p:spPr bwMode="auto">
          <a:xfrm>
            <a:off x="3951100" y="2622429"/>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52" name="Oval 530">
            <a:extLst>
              <a:ext uri="{FF2B5EF4-FFF2-40B4-BE49-F238E27FC236}">
                <a16:creationId xmlns:a16="http://schemas.microsoft.com/office/drawing/2014/main" id="{35A857C1-85DF-4CC8-9EB0-C2FBC9A7FB31}"/>
              </a:ext>
            </a:extLst>
          </p:cNvPr>
          <p:cNvSpPr>
            <a:spLocks noChangeArrowheads="1"/>
          </p:cNvSpPr>
          <p:nvPr/>
        </p:nvSpPr>
        <p:spPr bwMode="auto">
          <a:xfrm>
            <a:off x="4025687" y="2384951"/>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53" name="Oval 531">
            <a:extLst>
              <a:ext uri="{FF2B5EF4-FFF2-40B4-BE49-F238E27FC236}">
                <a16:creationId xmlns:a16="http://schemas.microsoft.com/office/drawing/2014/main" id="{74DF6F08-7335-486A-AA21-FA2F54F8EA70}"/>
              </a:ext>
            </a:extLst>
          </p:cNvPr>
          <p:cNvSpPr>
            <a:spLocks noChangeArrowheads="1"/>
          </p:cNvSpPr>
          <p:nvPr/>
        </p:nvSpPr>
        <p:spPr bwMode="auto">
          <a:xfrm>
            <a:off x="6671860" y="2864507"/>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54" name="Oval 532">
            <a:extLst>
              <a:ext uri="{FF2B5EF4-FFF2-40B4-BE49-F238E27FC236}">
                <a16:creationId xmlns:a16="http://schemas.microsoft.com/office/drawing/2014/main" id="{2A56E287-F42F-4EEE-819A-F179E63A721E}"/>
              </a:ext>
            </a:extLst>
          </p:cNvPr>
          <p:cNvSpPr>
            <a:spLocks noChangeArrowheads="1"/>
          </p:cNvSpPr>
          <p:nvPr/>
        </p:nvSpPr>
        <p:spPr bwMode="auto">
          <a:xfrm>
            <a:off x="6693897" y="2850872"/>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55" name="Oval 533">
            <a:extLst>
              <a:ext uri="{FF2B5EF4-FFF2-40B4-BE49-F238E27FC236}">
                <a16:creationId xmlns:a16="http://schemas.microsoft.com/office/drawing/2014/main" id="{42A15AA8-DBFA-46A1-A73B-F4103630D389}"/>
              </a:ext>
            </a:extLst>
          </p:cNvPr>
          <p:cNvSpPr>
            <a:spLocks noChangeArrowheads="1"/>
          </p:cNvSpPr>
          <p:nvPr/>
        </p:nvSpPr>
        <p:spPr bwMode="auto">
          <a:xfrm>
            <a:off x="6671860" y="2864507"/>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56" name="Oval 534">
            <a:extLst>
              <a:ext uri="{FF2B5EF4-FFF2-40B4-BE49-F238E27FC236}">
                <a16:creationId xmlns:a16="http://schemas.microsoft.com/office/drawing/2014/main" id="{946AAB93-BDF9-4C60-841C-7AE403DB0E8A}"/>
              </a:ext>
            </a:extLst>
          </p:cNvPr>
          <p:cNvSpPr>
            <a:spLocks noChangeArrowheads="1"/>
          </p:cNvSpPr>
          <p:nvPr/>
        </p:nvSpPr>
        <p:spPr bwMode="auto">
          <a:xfrm>
            <a:off x="6700370" y="2873540"/>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57" name="Oval 535">
            <a:extLst>
              <a:ext uri="{FF2B5EF4-FFF2-40B4-BE49-F238E27FC236}">
                <a16:creationId xmlns:a16="http://schemas.microsoft.com/office/drawing/2014/main" id="{596E9FDA-43D2-4F24-ADD6-8A3F00DDC969}"/>
              </a:ext>
            </a:extLst>
          </p:cNvPr>
          <p:cNvSpPr>
            <a:spLocks noChangeArrowheads="1"/>
          </p:cNvSpPr>
          <p:nvPr/>
        </p:nvSpPr>
        <p:spPr bwMode="auto">
          <a:xfrm>
            <a:off x="6588488" y="290318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58" name="Oval 536">
            <a:extLst>
              <a:ext uri="{FF2B5EF4-FFF2-40B4-BE49-F238E27FC236}">
                <a16:creationId xmlns:a16="http://schemas.microsoft.com/office/drawing/2014/main" id="{EE4F27CB-5F0A-4D82-A83D-F747C982F5E4}"/>
              </a:ext>
            </a:extLst>
          </p:cNvPr>
          <p:cNvSpPr>
            <a:spLocks noChangeArrowheads="1"/>
          </p:cNvSpPr>
          <p:nvPr/>
        </p:nvSpPr>
        <p:spPr bwMode="auto">
          <a:xfrm>
            <a:off x="6417276" y="266776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59" name="Oval 537">
            <a:extLst>
              <a:ext uri="{FF2B5EF4-FFF2-40B4-BE49-F238E27FC236}">
                <a16:creationId xmlns:a16="http://schemas.microsoft.com/office/drawing/2014/main" id="{52F86C6B-1AEF-4990-87E8-337FFCDBF695}"/>
              </a:ext>
            </a:extLst>
          </p:cNvPr>
          <p:cNvSpPr>
            <a:spLocks noChangeArrowheads="1"/>
          </p:cNvSpPr>
          <p:nvPr/>
        </p:nvSpPr>
        <p:spPr bwMode="auto">
          <a:xfrm>
            <a:off x="5820573" y="276716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60" name="Oval 538">
            <a:extLst>
              <a:ext uri="{FF2B5EF4-FFF2-40B4-BE49-F238E27FC236}">
                <a16:creationId xmlns:a16="http://schemas.microsoft.com/office/drawing/2014/main" id="{7707E351-2C2D-4007-B30C-06583E1DA136}"/>
              </a:ext>
            </a:extLst>
          </p:cNvPr>
          <p:cNvSpPr>
            <a:spLocks noChangeArrowheads="1"/>
          </p:cNvSpPr>
          <p:nvPr/>
        </p:nvSpPr>
        <p:spPr bwMode="auto">
          <a:xfrm>
            <a:off x="4315254" y="4303486"/>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61" name="Oval 539">
            <a:extLst>
              <a:ext uri="{FF2B5EF4-FFF2-40B4-BE49-F238E27FC236}">
                <a16:creationId xmlns:a16="http://schemas.microsoft.com/office/drawing/2014/main" id="{ABF858FD-EA70-475D-AAC5-3008A8D27FFB}"/>
              </a:ext>
            </a:extLst>
          </p:cNvPr>
          <p:cNvSpPr>
            <a:spLocks noChangeArrowheads="1"/>
          </p:cNvSpPr>
          <p:nvPr/>
        </p:nvSpPr>
        <p:spPr bwMode="auto">
          <a:xfrm>
            <a:off x="3532083" y="2948209"/>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62" name="Oval 540">
            <a:extLst>
              <a:ext uri="{FF2B5EF4-FFF2-40B4-BE49-F238E27FC236}">
                <a16:creationId xmlns:a16="http://schemas.microsoft.com/office/drawing/2014/main" id="{F3CD1C31-05CE-475F-8D09-7E2A98F8B67A}"/>
              </a:ext>
            </a:extLst>
          </p:cNvPr>
          <p:cNvSpPr>
            <a:spLocks noChangeArrowheads="1"/>
          </p:cNvSpPr>
          <p:nvPr/>
        </p:nvSpPr>
        <p:spPr bwMode="auto">
          <a:xfrm>
            <a:off x="3532083" y="2948209"/>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63" name="Oval 541">
            <a:extLst>
              <a:ext uri="{FF2B5EF4-FFF2-40B4-BE49-F238E27FC236}">
                <a16:creationId xmlns:a16="http://schemas.microsoft.com/office/drawing/2014/main" id="{E3F59C7B-6B03-49AB-96C8-FFD363983AFB}"/>
              </a:ext>
            </a:extLst>
          </p:cNvPr>
          <p:cNvSpPr>
            <a:spLocks noChangeArrowheads="1"/>
          </p:cNvSpPr>
          <p:nvPr/>
        </p:nvSpPr>
        <p:spPr bwMode="auto">
          <a:xfrm>
            <a:off x="4464431" y="2529690"/>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64" name="Oval 542">
            <a:extLst>
              <a:ext uri="{FF2B5EF4-FFF2-40B4-BE49-F238E27FC236}">
                <a16:creationId xmlns:a16="http://schemas.microsoft.com/office/drawing/2014/main" id="{E039CF9B-19EE-4EA6-A49E-4D667378A4FC}"/>
              </a:ext>
            </a:extLst>
          </p:cNvPr>
          <p:cNvSpPr>
            <a:spLocks noChangeArrowheads="1"/>
          </p:cNvSpPr>
          <p:nvPr/>
        </p:nvSpPr>
        <p:spPr bwMode="auto">
          <a:xfrm>
            <a:off x="7126167" y="2217542"/>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65" name="Oval 543">
            <a:extLst>
              <a:ext uri="{FF2B5EF4-FFF2-40B4-BE49-F238E27FC236}">
                <a16:creationId xmlns:a16="http://schemas.microsoft.com/office/drawing/2014/main" id="{180600FA-1075-407C-B0D7-DC73949F1AA9}"/>
              </a:ext>
            </a:extLst>
          </p:cNvPr>
          <p:cNvSpPr>
            <a:spLocks noChangeArrowheads="1"/>
          </p:cNvSpPr>
          <p:nvPr/>
        </p:nvSpPr>
        <p:spPr bwMode="auto">
          <a:xfrm>
            <a:off x="1616532" y="2803471"/>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66" name="Oval 544">
            <a:extLst>
              <a:ext uri="{FF2B5EF4-FFF2-40B4-BE49-F238E27FC236}">
                <a16:creationId xmlns:a16="http://schemas.microsoft.com/office/drawing/2014/main" id="{4A7E3767-5077-45CE-B71D-41CB53A84E8A}"/>
              </a:ext>
            </a:extLst>
          </p:cNvPr>
          <p:cNvSpPr>
            <a:spLocks noChangeArrowheads="1"/>
          </p:cNvSpPr>
          <p:nvPr/>
        </p:nvSpPr>
        <p:spPr bwMode="auto">
          <a:xfrm>
            <a:off x="5531004" y="2606735"/>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67" name="Oval 545">
            <a:extLst>
              <a:ext uri="{FF2B5EF4-FFF2-40B4-BE49-F238E27FC236}">
                <a16:creationId xmlns:a16="http://schemas.microsoft.com/office/drawing/2014/main" id="{A5E23232-72D9-438B-A289-753F921D390A}"/>
              </a:ext>
            </a:extLst>
          </p:cNvPr>
          <p:cNvSpPr>
            <a:spLocks noChangeArrowheads="1"/>
          </p:cNvSpPr>
          <p:nvPr/>
        </p:nvSpPr>
        <p:spPr bwMode="auto">
          <a:xfrm>
            <a:off x="5925982" y="3611183"/>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68" name="Oval 546">
            <a:extLst>
              <a:ext uri="{FF2B5EF4-FFF2-40B4-BE49-F238E27FC236}">
                <a16:creationId xmlns:a16="http://schemas.microsoft.com/office/drawing/2014/main" id="{BF9388C1-3A3B-4913-A8CB-36C9C1BE4F51}"/>
              </a:ext>
            </a:extLst>
          </p:cNvPr>
          <p:cNvSpPr>
            <a:spLocks noChangeArrowheads="1"/>
          </p:cNvSpPr>
          <p:nvPr/>
        </p:nvSpPr>
        <p:spPr bwMode="auto">
          <a:xfrm>
            <a:off x="4881446" y="3154300"/>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69" name="Oval 547">
            <a:extLst>
              <a:ext uri="{FF2B5EF4-FFF2-40B4-BE49-F238E27FC236}">
                <a16:creationId xmlns:a16="http://schemas.microsoft.com/office/drawing/2014/main" id="{3A221D3C-6CEC-484C-A6DF-FE307B38CDA1}"/>
              </a:ext>
            </a:extLst>
          </p:cNvPr>
          <p:cNvSpPr>
            <a:spLocks noChangeArrowheads="1"/>
          </p:cNvSpPr>
          <p:nvPr/>
        </p:nvSpPr>
        <p:spPr bwMode="auto">
          <a:xfrm>
            <a:off x="4881446" y="3154300"/>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70" name="Oval 548">
            <a:extLst>
              <a:ext uri="{FF2B5EF4-FFF2-40B4-BE49-F238E27FC236}">
                <a16:creationId xmlns:a16="http://schemas.microsoft.com/office/drawing/2014/main" id="{6109A4E4-2DE1-45BA-A209-4493AAEA06D2}"/>
              </a:ext>
            </a:extLst>
          </p:cNvPr>
          <p:cNvSpPr>
            <a:spLocks noChangeArrowheads="1"/>
          </p:cNvSpPr>
          <p:nvPr/>
        </p:nvSpPr>
        <p:spPr bwMode="auto">
          <a:xfrm>
            <a:off x="6597273" y="2903187"/>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71" name="Oval 549">
            <a:extLst>
              <a:ext uri="{FF2B5EF4-FFF2-40B4-BE49-F238E27FC236}">
                <a16:creationId xmlns:a16="http://schemas.microsoft.com/office/drawing/2014/main" id="{FC6B9654-AA09-49D4-B328-B3EDAE4F32DC}"/>
              </a:ext>
            </a:extLst>
          </p:cNvPr>
          <p:cNvSpPr>
            <a:spLocks noChangeArrowheads="1"/>
          </p:cNvSpPr>
          <p:nvPr/>
        </p:nvSpPr>
        <p:spPr bwMode="auto">
          <a:xfrm>
            <a:off x="4210156" y="1891762"/>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72" name="Oval 550">
            <a:extLst>
              <a:ext uri="{FF2B5EF4-FFF2-40B4-BE49-F238E27FC236}">
                <a16:creationId xmlns:a16="http://schemas.microsoft.com/office/drawing/2014/main" id="{9B12E033-ADE5-485E-99BD-E27CF4E8435D}"/>
              </a:ext>
            </a:extLst>
          </p:cNvPr>
          <p:cNvSpPr>
            <a:spLocks noChangeArrowheads="1"/>
          </p:cNvSpPr>
          <p:nvPr/>
        </p:nvSpPr>
        <p:spPr bwMode="auto">
          <a:xfrm>
            <a:off x="3861256" y="2416655"/>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73" name="Oval 551">
            <a:extLst>
              <a:ext uri="{FF2B5EF4-FFF2-40B4-BE49-F238E27FC236}">
                <a16:creationId xmlns:a16="http://schemas.microsoft.com/office/drawing/2014/main" id="{DAD214FD-BA11-4160-906D-74AE01B9D0B3}"/>
              </a:ext>
            </a:extLst>
          </p:cNvPr>
          <p:cNvSpPr>
            <a:spLocks noChangeArrowheads="1"/>
          </p:cNvSpPr>
          <p:nvPr/>
        </p:nvSpPr>
        <p:spPr bwMode="auto">
          <a:xfrm>
            <a:off x="4107054" y="2371316"/>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74" name="Oval 552">
            <a:extLst>
              <a:ext uri="{FF2B5EF4-FFF2-40B4-BE49-F238E27FC236}">
                <a16:creationId xmlns:a16="http://schemas.microsoft.com/office/drawing/2014/main" id="{DECD3A2F-2A72-4F3D-AE6A-56B10749CB76}"/>
              </a:ext>
            </a:extLst>
          </p:cNvPr>
          <p:cNvSpPr>
            <a:spLocks noChangeArrowheads="1"/>
          </p:cNvSpPr>
          <p:nvPr/>
        </p:nvSpPr>
        <p:spPr bwMode="auto">
          <a:xfrm>
            <a:off x="3882983" y="2149851"/>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75" name="Oval 553">
            <a:extLst>
              <a:ext uri="{FF2B5EF4-FFF2-40B4-BE49-F238E27FC236}">
                <a16:creationId xmlns:a16="http://schemas.microsoft.com/office/drawing/2014/main" id="{EA8B8EC2-4BB3-4792-8A67-52E3144DED66}"/>
              </a:ext>
            </a:extLst>
          </p:cNvPr>
          <p:cNvSpPr>
            <a:spLocks noChangeArrowheads="1"/>
          </p:cNvSpPr>
          <p:nvPr/>
        </p:nvSpPr>
        <p:spPr bwMode="auto">
          <a:xfrm>
            <a:off x="6463353" y="4059032"/>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76" name="Oval 554">
            <a:extLst>
              <a:ext uri="{FF2B5EF4-FFF2-40B4-BE49-F238E27FC236}">
                <a16:creationId xmlns:a16="http://schemas.microsoft.com/office/drawing/2014/main" id="{CE42785E-A6AF-4927-98EB-C74ABE05A4FB}"/>
              </a:ext>
            </a:extLst>
          </p:cNvPr>
          <p:cNvSpPr>
            <a:spLocks noChangeArrowheads="1"/>
          </p:cNvSpPr>
          <p:nvPr/>
        </p:nvSpPr>
        <p:spPr bwMode="auto">
          <a:xfrm>
            <a:off x="1728415" y="3025255"/>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77" name="Oval 555">
            <a:extLst>
              <a:ext uri="{FF2B5EF4-FFF2-40B4-BE49-F238E27FC236}">
                <a16:creationId xmlns:a16="http://schemas.microsoft.com/office/drawing/2014/main" id="{FA845B38-ABDA-4CB5-9F04-FFA702351C3B}"/>
              </a:ext>
            </a:extLst>
          </p:cNvPr>
          <p:cNvSpPr>
            <a:spLocks noChangeArrowheads="1"/>
          </p:cNvSpPr>
          <p:nvPr/>
        </p:nvSpPr>
        <p:spPr bwMode="auto">
          <a:xfrm>
            <a:off x="5881906" y="3389400"/>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78" name="Oval 556">
            <a:extLst>
              <a:ext uri="{FF2B5EF4-FFF2-40B4-BE49-F238E27FC236}">
                <a16:creationId xmlns:a16="http://schemas.microsoft.com/office/drawing/2014/main" id="{E0F84E5E-D3EF-415D-BB0C-8CBAF1471F5D}"/>
              </a:ext>
            </a:extLst>
          </p:cNvPr>
          <p:cNvSpPr>
            <a:spLocks noChangeArrowheads="1"/>
          </p:cNvSpPr>
          <p:nvPr/>
        </p:nvSpPr>
        <p:spPr bwMode="auto">
          <a:xfrm>
            <a:off x="1191042" y="290318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79" name="Oval 557">
            <a:extLst>
              <a:ext uri="{FF2B5EF4-FFF2-40B4-BE49-F238E27FC236}">
                <a16:creationId xmlns:a16="http://schemas.microsoft.com/office/drawing/2014/main" id="{7B2987C5-0439-4792-9D32-BDDAEB7F1E42}"/>
              </a:ext>
            </a:extLst>
          </p:cNvPr>
          <p:cNvSpPr>
            <a:spLocks noChangeArrowheads="1"/>
          </p:cNvSpPr>
          <p:nvPr/>
        </p:nvSpPr>
        <p:spPr bwMode="auto">
          <a:xfrm>
            <a:off x="1191042" y="290318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80" name="Oval 558">
            <a:extLst>
              <a:ext uri="{FF2B5EF4-FFF2-40B4-BE49-F238E27FC236}">
                <a16:creationId xmlns:a16="http://schemas.microsoft.com/office/drawing/2014/main" id="{FF705D93-DFAB-4D2F-87F7-9EA7B788BDBD}"/>
              </a:ext>
            </a:extLst>
          </p:cNvPr>
          <p:cNvSpPr>
            <a:spLocks noChangeArrowheads="1"/>
          </p:cNvSpPr>
          <p:nvPr/>
        </p:nvSpPr>
        <p:spPr bwMode="auto">
          <a:xfrm>
            <a:off x="4234194" y="2194873"/>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81" name="Oval 559">
            <a:extLst>
              <a:ext uri="{FF2B5EF4-FFF2-40B4-BE49-F238E27FC236}">
                <a16:creationId xmlns:a16="http://schemas.microsoft.com/office/drawing/2014/main" id="{0AFC027C-9C4A-4412-9DCB-EDF397A70619}"/>
              </a:ext>
            </a:extLst>
          </p:cNvPr>
          <p:cNvSpPr>
            <a:spLocks noChangeArrowheads="1"/>
          </p:cNvSpPr>
          <p:nvPr/>
        </p:nvSpPr>
        <p:spPr bwMode="auto">
          <a:xfrm>
            <a:off x="4001648" y="2400962"/>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82" name="Oval 560">
            <a:extLst>
              <a:ext uri="{FF2B5EF4-FFF2-40B4-BE49-F238E27FC236}">
                <a16:creationId xmlns:a16="http://schemas.microsoft.com/office/drawing/2014/main" id="{97CA77F8-68B2-42D9-9BB8-97D824967C24}"/>
              </a:ext>
            </a:extLst>
          </p:cNvPr>
          <p:cNvSpPr>
            <a:spLocks noChangeArrowheads="1"/>
          </p:cNvSpPr>
          <p:nvPr/>
        </p:nvSpPr>
        <p:spPr bwMode="auto">
          <a:xfrm>
            <a:off x="1765709" y="274449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83" name="Oval 561">
            <a:extLst>
              <a:ext uri="{FF2B5EF4-FFF2-40B4-BE49-F238E27FC236}">
                <a16:creationId xmlns:a16="http://schemas.microsoft.com/office/drawing/2014/main" id="{5A590A87-C75B-4EC5-883C-E0B7132F33C6}"/>
              </a:ext>
            </a:extLst>
          </p:cNvPr>
          <p:cNvSpPr>
            <a:spLocks noChangeArrowheads="1"/>
          </p:cNvSpPr>
          <p:nvPr/>
        </p:nvSpPr>
        <p:spPr bwMode="auto">
          <a:xfrm>
            <a:off x="3979610" y="2400962"/>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84" name="Oval 562">
            <a:extLst>
              <a:ext uri="{FF2B5EF4-FFF2-40B4-BE49-F238E27FC236}">
                <a16:creationId xmlns:a16="http://schemas.microsoft.com/office/drawing/2014/main" id="{60FA6278-95AD-4446-A42A-F3AF8D270DA1}"/>
              </a:ext>
            </a:extLst>
          </p:cNvPr>
          <p:cNvSpPr>
            <a:spLocks noChangeArrowheads="1"/>
          </p:cNvSpPr>
          <p:nvPr/>
        </p:nvSpPr>
        <p:spPr bwMode="auto">
          <a:xfrm>
            <a:off x="3979610" y="2400962"/>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85" name="Oval 563">
            <a:extLst>
              <a:ext uri="{FF2B5EF4-FFF2-40B4-BE49-F238E27FC236}">
                <a16:creationId xmlns:a16="http://schemas.microsoft.com/office/drawing/2014/main" id="{53398C27-9C2A-4F7F-90E9-DB8DDB5F858D}"/>
              </a:ext>
            </a:extLst>
          </p:cNvPr>
          <p:cNvSpPr>
            <a:spLocks noChangeArrowheads="1"/>
          </p:cNvSpPr>
          <p:nvPr/>
        </p:nvSpPr>
        <p:spPr bwMode="auto">
          <a:xfrm>
            <a:off x="3584634" y="2683464"/>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86" name="Oval 564">
            <a:extLst>
              <a:ext uri="{FF2B5EF4-FFF2-40B4-BE49-F238E27FC236}">
                <a16:creationId xmlns:a16="http://schemas.microsoft.com/office/drawing/2014/main" id="{FBA52DB5-BEF7-4064-8053-79E8BACDE941}"/>
              </a:ext>
            </a:extLst>
          </p:cNvPr>
          <p:cNvSpPr>
            <a:spLocks noChangeArrowheads="1"/>
          </p:cNvSpPr>
          <p:nvPr/>
        </p:nvSpPr>
        <p:spPr bwMode="auto">
          <a:xfrm>
            <a:off x="3973137" y="2409681"/>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87" name="Oval 565">
            <a:extLst>
              <a:ext uri="{FF2B5EF4-FFF2-40B4-BE49-F238E27FC236}">
                <a16:creationId xmlns:a16="http://schemas.microsoft.com/office/drawing/2014/main" id="{81A4D340-CFB4-4A96-B96C-18B80B31EA13}"/>
              </a:ext>
            </a:extLst>
          </p:cNvPr>
          <p:cNvSpPr>
            <a:spLocks noChangeArrowheads="1"/>
          </p:cNvSpPr>
          <p:nvPr/>
        </p:nvSpPr>
        <p:spPr bwMode="auto">
          <a:xfrm>
            <a:off x="3973137" y="2409681"/>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88" name="Oval 566">
            <a:extLst>
              <a:ext uri="{FF2B5EF4-FFF2-40B4-BE49-F238E27FC236}">
                <a16:creationId xmlns:a16="http://schemas.microsoft.com/office/drawing/2014/main" id="{2668B7EA-B72B-4140-B423-C01585670D00}"/>
              </a:ext>
            </a:extLst>
          </p:cNvPr>
          <p:cNvSpPr>
            <a:spLocks noChangeArrowheads="1"/>
          </p:cNvSpPr>
          <p:nvPr/>
        </p:nvSpPr>
        <p:spPr bwMode="auto">
          <a:xfrm>
            <a:off x="3973137" y="2409681"/>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89" name="Oval 567">
            <a:extLst>
              <a:ext uri="{FF2B5EF4-FFF2-40B4-BE49-F238E27FC236}">
                <a16:creationId xmlns:a16="http://schemas.microsoft.com/office/drawing/2014/main" id="{65FB6201-E614-4B98-96C0-309577F9FE34}"/>
              </a:ext>
            </a:extLst>
          </p:cNvPr>
          <p:cNvSpPr>
            <a:spLocks noChangeArrowheads="1"/>
          </p:cNvSpPr>
          <p:nvPr/>
        </p:nvSpPr>
        <p:spPr bwMode="auto">
          <a:xfrm>
            <a:off x="6342688" y="271310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90" name="Oval 568">
            <a:extLst>
              <a:ext uri="{FF2B5EF4-FFF2-40B4-BE49-F238E27FC236}">
                <a16:creationId xmlns:a16="http://schemas.microsoft.com/office/drawing/2014/main" id="{8B03783B-3880-43AD-A65A-52756DFD6126}"/>
              </a:ext>
            </a:extLst>
          </p:cNvPr>
          <p:cNvSpPr>
            <a:spLocks noChangeArrowheads="1"/>
          </p:cNvSpPr>
          <p:nvPr/>
        </p:nvSpPr>
        <p:spPr bwMode="auto">
          <a:xfrm>
            <a:off x="3867728" y="2362281"/>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91" name="Oval 569">
            <a:extLst>
              <a:ext uri="{FF2B5EF4-FFF2-40B4-BE49-F238E27FC236}">
                <a16:creationId xmlns:a16="http://schemas.microsoft.com/office/drawing/2014/main" id="{78E9AADA-41CC-4A10-8AAB-4B4D2522A8EC}"/>
              </a:ext>
            </a:extLst>
          </p:cNvPr>
          <p:cNvSpPr>
            <a:spLocks noChangeArrowheads="1"/>
          </p:cNvSpPr>
          <p:nvPr/>
        </p:nvSpPr>
        <p:spPr bwMode="auto">
          <a:xfrm>
            <a:off x="3876510" y="2362281"/>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92" name="Oval 570">
            <a:extLst>
              <a:ext uri="{FF2B5EF4-FFF2-40B4-BE49-F238E27FC236}">
                <a16:creationId xmlns:a16="http://schemas.microsoft.com/office/drawing/2014/main" id="{61D61D2F-B338-4057-AC1A-9194214324B9}"/>
              </a:ext>
            </a:extLst>
          </p:cNvPr>
          <p:cNvSpPr>
            <a:spLocks noChangeArrowheads="1"/>
          </p:cNvSpPr>
          <p:nvPr/>
        </p:nvSpPr>
        <p:spPr bwMode="auto">
          <a:xfrm>
            <a:off x="3867728" y="2362281"/>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93" name="Oval 571">
            <a:extLst>
              <a:ext uri="{FF2B5EF4-FFF2-40B4-BE49-F238E27FC236}">
                <a16:creationId xmlns:a16="http://schemas.microsoft.com/office/drawing/2014/main" id="{77BB1B9C-492E-40DF-AD44-7F87BD0AA24C}"/>
              </a:ext>
            </a:extLst>
          </p:cNvPr>
          <p:cNvSpPr>
            <a:spLocks noChangeArrowheads="1"/>
          </p:cNvSpPr>
          <p:nvPr/>
        </p:nvSpPr>
        <p:spPr bwMode="auto">
          <a:xfrm>
            <a:off x="3979610" y="2409681"/>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94" name="Oval 572">
            <a:extLst>
              <a:ext uri="{FF2B5EF4-FFF2-40B4-BE49-F238E27FC236}">
                <a16:creationId xmlns:a16="http://schemas.microsoft.com/office/drawing/2014/main" id="{A93710C3-B1F1-4344-B845-6FBD8E2F8F08}"/>
              </a:ext>
            </a:extLst>
          </p:cNvPr>
          <p:cNvSpPr>
            <a:spLocks noChangeArrowheads="1"/>
          </p:cNvSpPr>
          <p:nvPr/>
        </p:nvSpPr>
        <p:spPr bwMode="auto">
          <a:xfrm>
            <a:off x="3957572" y="2142874"/>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95" name="Oval 573">
            <a:extLst>
              <a:ext uri="{FF2B5EF4-FFF2-40B4-BE49-F238E27FC236}">
                <a16:creationId xmlns:a16="http://schemas.microsoft.com/office/drawing/2014/main" id="{A2FCA412-F953-429A-B747-93C2C4E70789}"/>
              </a:ext>
            </a:extLst>
          </p:cNvPr>
          <p:cNvSpPr>
            <a:spLocks noChangeArrowheads="1"/>
          </p:cNvSpPr>
          <p:nvPr/>
        </p:nvSpPr>
        <p:spPr bwMode="auto">
          <a:xfrm>
            <a:off x="4001648" y="2432350"/>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96" name="Oval 574">
            <a:extLst>
              <a:ext uri="{FF2B5EF4-FFF2-40B4-BE49-F238E27FC236}">
                <a16:creationId xmlns:a16="http://schemas.microsoft.com/office/drawing/2014/main" id="{D6BAB227-D9B7-42D7-8A9D-8F424ADEC1AE}"/>
              </a:ext>
            </a:extLst>
          </p:cNvPr>
          <p:cNvSpPr>
            <a:spLocks noChangeArrowheads="1"/>
          </p:cNvSpPr>
          <p:nvPr/>
        </p:nvSpPr>
        <p:spPr bwMode="auto">
          <a:xfrm>
            <a:off x="1191042" y="2918881"/>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97" name="Oval 575">
            <a:extLst>
              <a:ext uri="{FF2B5EF4-FFF2-40B4-BE49-F238E27FC236}">
                <a16:creationId xmlns:a16="http://schemas.microsoft.com/office/drawing/2014/main" id="{857D1731-0C57-42D6-87B3-023CA3D4D885}"/>
              </a:ext>
            </a:extLst>
          </p:cNvPr>
          <p:cNvSpPr>
            <a:spLocks noChangeArrowheads="1"/>
          </p:cNvSpPr>
          <p:nvPr/>
        </p:nvSpPr>
        <p:spPr bwMode="auto">
          <a:xfrm>
            <a:off x="3600198" y="2864507"/>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98" name="Oval 576">
            <a:extLst>
              <a:ext uri="{FF2B5EF4-FFF2-40B4-BE49-F238E27FC236}">
                <a16:creationId xmlns:a16="http://schemas.microsoft.com/office/drawing/2014/main" id="{231CF900-7E5C-4244-BF3D-EC95EA920A52}"/>
              </a:ext>
            </a:extLst>
          </p:cNvPr>
          <p:cNvSpPr>
            <a:spLocks noChangeArrowheads="1"/>
          </p:cNvSpPr>
          <p:nvPr/>
        </p:nvSpPr>
        <p:spPr bwMode="auto">
          <a:xfrm>
            <a:off x="3898549" y="2468654"/>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899" name="Oval 577">
            <a:extLst>
              <a:ext uri="{FF2B5EF4-FFF2-40B4-BE49-F238E27FC236}">
                <a16:creationId xmlns:a16="http://schemas.microsoft.com/office/drawing/2014/main" id="{29330FA1-13D6-453D-92C7-8E7BC5309376}"/>
              </a:ext>
            </a:extLst>
          </p:cNvPr>
          <p:cNvSpPr>
            <a:spLocks noChangeArrowheads="1"/>
          </p:cNvSpPr>
          <p:nvPr/>
        </p:nvSpPr>
        <p:spPr bwMode="auto">
          <a:xfrm>
            <a:off x="3898549" y="2468654"/>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00" name="Oval 578">
            <a:extLst>
              <a:ext uri="{FF2B5EF4-FFF2-40B4-BE49-F238E27FC236}">
                <a16:creationId xmlns:a16="http://schemas.microsoft.com/office/drawing/2014/main" id="{08AB8421-76EF-4F53-84AE-E192962BEBEB}"/>
              </a:ext>
            </a:extLst>
          </p:cNvPr>
          <p:cNvSpPr>
            <a:spLocks noChangeArrowheads="1"/>
          </p:cNvSpPr>
          <p:nvPr/>
        </p:nvSpPr>
        <p:spPr bwMode="auto">
          <a:xfrm>
            <a:off x="4188116" y="1799022"/>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01" name="Oval 579">
            <a:extLst>
              <a:ext uri="{FF2B5EF4-FFF2-40B4-BE49-F238E27FC236}">
                <a16:creationId xmlns:a16="http://schemas.microsoft.com/office/drawing/2014/main" id="{0A19A863-F714-4510-ACFE-8258098C63D4}"/>
              </a:ext>
            </a:extLst>
          </p:cNvPr>
          <p:cNvSpPr>
            <a:spLocks noChangeArrowheads="1"/>
          </p:cNvSpPr>
          <p:nvPr/>
        </p:nvSpPr>
        <p:spPr bwMode="auto">
          <a:xfrm>
            <a:off x="4188116" y="1799022"/>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02" name="Oval 580">
            <a:extLst>
              <a:ext uri="{FF2B5EF4-FFF2-40B4-BE49-F238E27FC236}">
                <a16:creationId xmlns:a16="http://schemas.microsoft.com/office/drawing/2014/main" id="{6B627724-9902-4094-B50B-2AF8F85DF261}"/>
              </a:ext>
            </a:extLst>
          </p:cNvPr>
          <p:cNvSpPr>
            <a:spLocks noChangeArrowheads="1"/>
          </p:cNvSpPr>
          <p:nvPr/>
        </p:nvSpPr>
        <p:spPr bwMode="auto">
          <a:xfrm>
            <a:off x="6336215" y="3694887"/>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03" name="Oval 581">
            <a:extLst>
              <a:ext uri="{FF2B5EF4-FFF2-40B4-BE49-F238E27FC236}">
                <a16:creationId xmlns:a16="http://schemas.microsoft.com/office/drawing/2014/main" id="{E8D23DEE-F45E-43B3-8AF0-3B39ECAE9D8D}"/>
              </a:ext>
            </a:extLst>
          </p:cNvPr>
          <p:cNvSpPr>
            <a:spLocks noChangeArrowheads="1"/>
          </p:cNvSpPr>
          <p:nvPr/>
        </p:nvSpPr>
        <p:spPr bwMode="auto">
          <a:xfrm>
            <a:off x="3815178" y="2591040"/>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04" name="Oval 582">
            <a:extLst>
              <a:ext uri="{FF2B5EF4-FFF2-40B4-BE49-F238E27FC236}">
                <a16:creationId xmlns:a16="http://schemas.microsoft.com/office/drawing/2014/main" id="{FF74057A-8081-4BE8-8123-FFE9B77DDD7D}"/>
              </a:ext>
            </a:extLst>
          </p:cNvPr>
          <p:cNvSpPr>
            <a:spLocks noChangeArrowheads="1"/>
          </p:cNvSpPr>
          <p:nvPr/>
        </p:nvSpPr>
        <p:spPr bwMode="auto">
          <a:xfrm>
            <a:off x="2220016" y="5133551"/>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05" name="Oval 583">
            <a:extLst>
              <a:ext uri="{FF2B5EF4-FFF2-40B4-BE49-F238E27FC236}">
                <a16:creationId xmlns:a16="http://schemas.microsoft.com/office/drawing/2014/main" id="{11252FFC-D2FB-4E0F-916D-6A0D61BB0325}"/>
              </a:ext>
            </a:extLst>
          </p:cNvPr>
          <p:cNvSpPr>
            <a:spLocks noChangeArrowheads="1"/>
          </p:cNvSpPr>
          <p:nvPr/>
        </p:nvSpPr>
        <p:spPr bwMode="auto">
          <a:xfrm>
            <a:off x="3771103" y="2774142"/>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06" name="Oval 584">
            <a:extLst>
              <a:ext uri="{FF2B5EF4-FFF2-40B4-BE49-F238E27FC236}">
                <a16:creationId xmlns:a16="http://schemas.microsoft.com/office/drawing/2014/main" id="{93D4C4A5-C24D-4593-B79A-8FAFAF7AFA2B}"/>
              </a:ext>
            </a:extLst>
          </p:cNvPr>
          <p:cNvSpPr>
            <a:spLocks noChangeArrowheads="1"/>
          </p:cNvSpPr>
          <p:nvPr/>
        </p:nvSpPr>
        <p:spPr bwMode="auto">
          <a:xfrm>
            <a:off x="3621928" y="2850872"/>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07" name="Oval 585">
            <a:extLst>
              <a:ext uri="{FF2B5EF4-FFF2-40B4-BE49-F238E27FC236}">
                <a16:creationId xmlns:a16="http://schemas.microsoft.com/office/drawing/2014/main" id="{697A1867-5EDE-4CA1-BEDC-0B0ACE181C2D}"/>
              </a:ext>
            </a:extLst>
          </p:cNvPr>
          <p:cNvSpPr>
            <a:spLocks noChangeArrowheads="1"/>
          </p:cNvSpPr>
          <p:nvPr/>
        </p:nvSpPr>
        <p:spPr bwMode="auto">
          <a:xfrm>
            <a:off x="3666002" y="2332953"/>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08" name="Oval 586">
            <a:extLst>
              <a:ext uri="{FF2B5EF4-FFF2-40B4-BE49-F238E27FC236}">
                <a16:creationId xmlns:a16="http://schemas.microsoft.com/office/drawing/2014/main" id="{3A11C655-4A7E-4672-804F-5C8CD4D5711D}"/>
              </a:ext>
            </a:extLst>
          </p:cNvPr>
          <p:cNvSpPr>
            <a:spLocks noChangeArrowheads="1"/>
          </p:cNvSpPr>
          <p:nvPr/>
        </p:nvSpPr>
        <p:spPr bwMode="auto">
          <a:xfrm>
            <a:off x="4218937" y="2812508"/>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09" name="Oval 587">
            <a:extLst>
              <a:ext uri="{FF2B5EF4-FFF2-40B4-BE49-F238E27FC236}">
                <a16:creationId xmlns:a16="http://schemas.microsoft.com/office/drawing/2014/main" id="{C84A3572-570B-4DFE-A660-34CEFE0D3C56}"/>
              </a:ext>
            </a:extLst>
          </p:cNvPr>
          <p:cNvSpPr>
            <a:spLocks noChangeArrowheads="1"/>
          </p:cNvSpPr>
          <p:nvPr/>
        </p:nvSpPr>
        <p:spPr bwMode="auto">
          <a:xfrm>
            <a:off x="4069763" y="2516055"/>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10" name="Oval 588">
            <a:extLst>
              <a:ext uri="{FF2B5EF4-FFF2-40B4-BE49-F238E27FC236}">
                <a16:creationId xmlns:a16="http://schemas.microsoft.com/office/drawing/2014/main" id="{C97A44E1-D5C5-4549-9CDB-4483FE87FBA9}"/>
              </a:ext>
            </a:extLst>
          </p:cNvPr>
          <p:cNvSpPr>
            <a:spLocks noChangeArrowheads="1"/>
          </p:cNvSpPr>
          <p:nvPr/>
        </p:nvSpPr>
        <p:spPr bwMode="auto">
          <a:xfrm>
            <a:off x="3942316" y="2606735"/>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11" name="Oval 589">
            <a:extLst>
              <a:ext uri="{FF2B5EF4-FFF2-40B4-BE49-F238E27FC236}">
                <a16:creationId xmlns:a16="http://schemas.microsoft.com/office/drawing/2014/main" id="{F46BC019-60FF-4245-8D12-9C5B495173DB}"/>
              </a:ext>
            </a:extLst>
          </p:cNvPr>
          <p:cNvSpPr>
            <a:spLocks noChangeArrowheads="1"/>
          </p:cNvSpPr>
          <p:nvPr/>
        </p:nvSpPr>
        <p:spPr bwMode="auto">
          <a:xfrm>
            <a:off x="3951100" y="2629405"/>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12" name="Oval 590">
            <a:extLst>
              <a:ext uri="{FF2B5EF4-FFF2-40B4-BE49-F238E27FC236}">
                <a16:creationId xmlns:a16="http://schemas.microsoft.com/office/drawing/2014/main" id="{0123806F-1034-4048-A88C-16C3A6FEDBEF}"/>
              </a:ext>
            </a:extLst>
          </p:cNvPr>
          <p:cNvSpPr>
            <a:spLocks noChangeArrowheads="1"/>
          </p:cNvSpPr>
          <p:nvPr/>
        </p:nvSpPr>
        <p:spPr bwMode="auto">
          <a:xfrm>
            <a:off x="3927059" y="2203909"/>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13" name="Oval 591">
            <a:extLst>
              <a:ext uri="{FF2B5EF4-FFF2-40B4-BE49-F238E27FC236}">
                <a16:creationId xmlns:a16="http://schemas.microsoft.com/office/drawing/2014/main" id="{20682BA8-D105-4C28-9CAF-E67E54569475}"/>
              </a:ext>
            </a:extLst>
          </p:cNvPr>
          <p:cNvSpPr>
            <a:spLocks noChangeArrowheads="1"/>
          </p:cNvSpPr>
          <p:nvPr/>
        </p:nvSpPr>
        <p:spPr bwMode="auto">
          <a:xfrm>
            <a:off x="3830435" y="266776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14" name="Oval 592">
            <a:extLst>
              <a:ext uri="{FF2B5EF4-FFF2-40B4-BE49-F238E27FC236}">
                <a16:creationId xmlns:a16="http://schemas.microsoft.com/office/drawing/2014/main" id="{1802AD66-7D4C-4A5E-9602-AB6C1607F00F}"/>
              </a:ext>
            </a:extLst>
          </p:cNvPr>
          <p:cNvSpPr>
            <a:spLocks noChangeArrowheads="1"/>
          </p:cNvSpPr>
          <p:nvPr/>
        </p:nvSpPr>
        <p:spPr bwMode="auto">
          <a:xfrm>
            <a:off x="2116917" y="2613393"/>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15" name="Oval 593">
            <a:extLst>
              <a:ext uri="{FF2B5EF4-FFF2-40B4-BE49-F238E27FC236}">
                <a16:creationId xmlns:a16="http://schemas.microsoft.com/office/drawing/2014/main" id="{0B2FE09A-79BF-4446-8166-7D5CFAF2EE22}"/>
              </a:ext>
            </a:extLst>
          </p:cNvPr>
          <p:cNvSpPr>
            <a:spLocks noChangeArrowheads="1"/>
          </p:cNvSpPr>
          <p:nvPr/>
        </p:nvSpPr>
        <p:spPr bwMode="auto">
          <a:xfrm>
            <a:off x="5373045" y="3086289"/>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16" name="Oval 594">
            <a:extLst>
              <a:ext uri="{FF2B5EF4-FFF2-40B4-BE49-F238E27FC236}">
                <a16:creationId xmlns:a16="http://schemas.microsoft.com/office/drawing/2014/main" id="{09DE0E6F-2F2B-4921-AE61-B633057EF15C}"/>
              </a:ext>
            </a:extLst>
          </p:cNvPr>
          <p:cNvSpPr>
            <a:spLocks noChangeArrowheads="1"/>
          </p:cNvSpPr>
          <p:nvPr/>
        </p:nvSpPr>
        <p:spPr bwMode="auto">
          <a:xfrm>
            <a:off x="3532083" y="266776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17" name="Oval 595">
            <a:extLst>
              <a:ext uri="{FF2B5EF4-FFF2-40B4-BE49-F238E27FC236}">
                <a16:creationId xmlns:a16="http://schemas.microsoft.com/office/drawing/2014/main" id="{8F2FE929-DF74-4109-8322-AE26C8A8E825}"/>
              </a:ext>
            </a:extLst>
          </p:cNvPr>
          <p:cNvSpPr>
            <a:spLocks noChangeArrowheads="1"/>
          </p:cNvSpPr>
          <p:nvPr/>
        </p:nvSpPr>
        <p:spPr bwMode="auto">
          <a:xfrm>
            <a:off x="3532083" y="266776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18" name="Oval 596">
            <a:extLst>
              <a:ext uri="{FF2B5EF4-FFF2-40B4-BE49-F238E27FC236}">
                <a16:creationId xmlns:a16="http://schemas.microsoft.com/office/drawing/2014/main" id="{E7FD06E0-1324-4528-8C42-95E7FBBA9CAA}"/>
              </a:ext>
            </a:extLst>
          </p:cNvPr>
          <p:cNvSpPr>
            <a:spLocks noChangeArrowheads="1"/>
          </p:cNvSpPr>
          <p:nvPr/>
        </p:nvSpPr>
        <p:spPr bwMode="auto">
          <a:xfrm>
            <a:off x="3964353" y="1914432"/>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19" name="Oval 597">
            <a:extLst>
              <a:ext uri="{FF2B5EF4-FFF2-40B4-BE49-F238E27FC236}">
                <a16:creationId xmlns:a16="http://schemas.microsoft.com/office/drawing/2014/main" id="{C11E585D-8533-4937-88F5-54A27CE98EE9}"/>
              </a:ext>
            </a:extLst>
          </p:cNvPr>
          <p:cNvSpPr>
            <a:spLocks noChangeArrowheads="1"/>
          </p:cNvSpPr>
          <p:nvPr/>
        </p:nvSpPr>
        <p:spPr bwMode="auto">
          <a:xfrm>
            <a:off x="3830435" y="2660793"/>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20" name="Oval 598">
            <a:extLst>
              <a:ext uri="{FF2B5EF4-FFF2-40B4-BE49-F238E27FC236}">
                <a16:creationId xmlns:a16="http://schemas.microsoft.com/office/drawing/2014/main" id="{98E2A181-6C32-4487-AD4D-7A5025607D13}"/>
              </a:ext>
            </a:extLst>
          </p:cNvPr>
          <p:cNvSpPr>
            <a:spLocks noChangeArrowheads="1"/>
          </p:cNvSpPr>
          <p:nvPr/>
        </p:nvSpPr>
        <p:spPr bwMode="auto">
          <a:xfrm>
            <a:off x="1721941" y="2613393"/>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21" name="Oval 599">
            <a:extLst>
              <a:ext uri="{FF2B5EF4-FFF2-40B4-BE49-F238E27FC236}">
                <a16:creationId xmlns:a16="http://schemas.microsoft.com/office/drawing/2014/main" id="{2FE15130-57E3-4C88-B12E-86E05CD9F9D3}"/>
              </a:ext>
            </a:extLst>
          </p:cNvPr>
          <p:cNvSpPr>
            <a:spLocks noChangeArrowheads="1"/>
          </p:cNvSpPr>
          <p:nvPr/>
        </p:nvSpPr>
        <p:spPr bwMode="auto">
          <a:xfrm>
            <a:off x="1803003" y="2934576"/>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22" name="Oval 600">
            <a:extLst>
              <a:ext uri="{FF2B5EF4-FFF2-40B4-BE49-F238E27FC236}">
                <a16:creationId xmlns:a16="http://schemas.microsoft.com/office/drawing/2014/main" id="{272FBF3F-0C88-450B-9DD3-B053DC718668}"/>
              </a:ext>
            </a:extLst>
          </p:cNvPr>
          <p:cNvSpPr>
            <a:spLocks noChangeArrowheads="1"/>
          </p:cNvSpPr>
          <p:nvPr/>
        </p:nvSpPr>
        <p:spPr bwMode="auto">
          <a:xfrm>
            <a:off x="4016904" y="1762719"/>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23" name="Oval 601">
            <a:extLst>
              <a:ext uri="{FF2B5EF4-FFF2-40B4-BE49-F238E27FC236}">
                <a16:creationId xmlns:a16="http://schemas.microsoft.com/office/drawing/2014/main" id="{D54D8033-1B4D-4293-AD71-154C23E14FCF}"/>
              </a:ext>
            </a:extLst>
          </p:cNvPr>
          <p:cNvSpPr>
            <a:spLocks noChangeArrowheads="1"/>
          </p:cNvSpPr>
          <p:nvPr/>
        </p:nvSpPr>
        <p:spPr bwMode="auto">
          <a:xfrm>
            <a:off x="6871583" y="4203772"/>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24" name="Oval 602">
            <a:extLst>
              <a:ext uri="{FF2B5EF4-FFF2-40B4-BE49-F238E27FC236}">
                <a16:creationId xmlns:a16="http://schemas.microsoft.com/office/drawing/2014/main" id="{11F8064B-AB85-46BC-BA9A-0108E3CBC60E}"/>
              </a:ext>
            </a:extLst>
          </p:cNvPr>
          <p:cNvSpPr>
            <a:spLocks noChangeArrowheads="1"/>
          </p:cNvSpPr>
          <p:nvPr/>
        </p:nvSpPr>
        <p:spPr bwMode="auto">
          <a:xfrm>
            <a:off x="3569377" y="2957245"/>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25" name="Oval 603">
            <a:extLst>
              <a:ext uri="{FF2B5EF4-FFF2-40B4-BE49-F238E27FC236}">
                <a16:creationId xmlns:a16="http://schemas.microsoft.com/office/drawing/2014/main" id="{8D1AC8BC-1E12-41C1-BBB3-0788D12F2A34}"/>
              </a:ext>
            </a:extLst>
          </p:cNvPr>
          <p:cNvSpPr>
            <a:spLocks noChangeArrowheads="1"/>
          </p:cNvSpPr>
          <p:nvPr/>
        </p:nvSpPr>
        <p:spPr bwMode="auto">
          <a:xfrm>
            <a:off x="6917661" y="4265122"/>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26" name="Oval 604">
            <a:extLst>
              <a:ext uri="{FF2B5EF4-FFF2-40B4-BE49-F238E27FC236}">
                <a16:creationId xmlns:a16="http://schemas.microsoft.com/office/drawing/2014/main" id="{B2017E10-BC75-40A3-92A1-169B1686FA42}"/>
              </a:ext>
            </a:extLst>
          </p:cNvPr>
          <p:cNvSpPr>
            <a:spLocks noChangeArrowheads="1"/>
          </p:cNvSpPr>
          <p:nvPr/>
        </p:nvSpPr>
        <p:spPr bwMode="auto">
          <a:xfrm>
            <a:off x="4881446" y="316301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27" name="Oval 605">
            <a:extLst>
              <a:ext uri="{FF2B5EF4-FFF2-40B4-BE49-F238E27FC236}">
                <a16:creationId xmlns:a16="http://schemas.microsoft.com/office/drawing/2014/main" id="{65F54E77-F822-40DA-9D26-F5A431BDAD67}"/>
              </a:ext>
            </a:extLst>
          </p:cNvPr>
          <p:cNvSpPr>
            <a:spLocks noChangeArrowheads="1"/>
          </p:cNvSpPr>
          <p:nvPr/>
        </p:nvSpPr>
        <p:spPr bwMode="auto">
          <a:xfrm>
            <a:off x="2331897" y="4083763"/>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28" name="Oval 606">
            <a:extLst>
              <a:ext uri="{FF2B5EF4-FFF2-40B4-BE49-F238E27FC236}">
                <a16:creationId xmlns:a16="http://schemas.microsoft.com/office/drawing/2014/main" id="{65B3EAAE-D91B-436A-B40E-6D563B6E0827}"/>
              </a:ext>
            </a:extLst>
          </p:cNvPr>
          <p:cNvSpPr>
            <a:spLocks noChangeArrowheads="1"/>
          </p:cNvSpPr>
          <p:nvPr/>
        </p:nvSpPr>
        <p:spPr bwMode="auto">
          <a:xfrm>
            <a:off x="5291678" y="3253696"/>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29" name="Oval 607">
            <a:extLst>
              <a:ext uri="{FF2B5EF4-FFF2-40B4-BE49-F238E27FC236}">
                <a16:creationId xmlns:a16="http://schemas.microsoft.com/office/drawing/2014/main" id="{202AFEDE-8B89-4BA4-B515-94E7BBABF438}"/>
              </a:ext>
            </a:extLst>
          </p:cNvPr>
          <p:cNvSpPr>
            <a:spLocks noChangeArrowheads="1"/>
          </p:cNvSpPr>
          <p:nvPr/>
        </p:nvSpPr>
        <p:spPr bwMode="auto">
          <a:xfrm>
            <a:off x="3771103" y="2561395"/>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30" name="Oval 608">
            <a:extLst>
              <a:ext uri="{FF2B5EF4-FFF2-40B4-BE49-F238E27FC236}">
                <a16:creationId xmlns:a16="http://schemas.microsoft.com/office/drawing/2014/main" id="{23678224-63A3-46A2-B1CD-0E281D6C23C1}"/>
              </a:ext>
            </a:extLst>
          </p:cNvPr>
          <p:cNvSpPr>
            <a:spLocks noChangeArrowheads="1"/>
          </p:cNvSpPr>
          <p:nvPr/>
        </p:nvSpPr>
        <p:spPr bwMode="auto">
          <a:xfrm>
            <a:off x="3562902" y="2986892"/>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31" name="Oval 609">
            <a:extLst>
              <a:ext uri="{FF2B5EF4-FFF2-40B4-BE49-F238E27FC236}">
                <a16:creationId xmlns:a16="http://schemas.microsoft.com/office/drawing/2014/main" id="{67A06E09-4223-4B6C-84D3-83EE5C23F890}"/>
              </a:ext>
            </a:extLst>
          </p:cNvPr>
          <p:cNvSpPr>
            <a:spLocks noChangeArrowheads="1"/>
          </p:cNvSpPr>
          <p:nvPr/>
        </p:nvSpPr>
        <p:spPr bwMode="auto">
          <a:xfrm>
            <a:off x="3935844" y="2378291"/>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32" name="Oval 610">
            <a:extLst>
              <a:ext uri="{FF2B5EF4-FFF2-40B4-BE49-F238E27FC236}">
                <a16:creationId xmlns:a16="http://schemas.microsoft.com/office/drawing/2014/main" id="{39E98D7E-E20D-4964-8D17-4D0250A730C3}"/>
              </a:ext>
            </a:extLst>
          </p:cNvPr>
          <p:cNvSpPr>
            <a:spLocks noChangeArrowheads="1"/>
          </p:cNvSpPr>
          <p:nvPr/>
        </p:nvSpPr>
        <p:spPr bwMode="auto">
          <a:xfrm>
            <a:off x="4657682" y="3154300"/>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33" name="Oval 611">
            <a:extLst>
              <a:ext uri="{FF2B5EF4-FFF2-40B4-BE49-F238E27FC236}">
                <a16:creationId xmlns:a16="http://schemas.microsoft.com/office/drawing/2014/main" id="{A7BB38B4-198C-4C83-880F-0D3A14F59CBE}"/>
              </a:ext>
            </a:extLst>
          </p:cNvPr>
          <p:cNvSpPr>
            <a:spLocks noChangeArrowheads="1"/>
          </p:cNvSpPr>
          <p:nvPr/>
        </p:nvSpPr>
        <p:spPr bwMode="auto">
          <a:xfrm>
            <a:off x="4725795" y="3154300"/>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34" name="Oval 612">
            <a:extLst>
              <a:ext uri="{FF2B5EF4-FFF2-40B4-BE49-F238E27FC236}">
                <a16:creationId xmlns:a16="http://schemas.microsoft.com/office/drawing/2014/main" id="{A44A841D-6E87-4D7C-AD00-122EF8B8F257}"/>
              </a:ext>
            </a:extLst>
          </p:cNvPr>
          <p:cNvSpPr>
            <a:spLocks noChangeArrowheads="1"/>
          </p:cNvSpPr>
          <p:nvPr/>
        </p:nvSpPr>
        <p:spPr bwMode="auto">
          <a:xfrm>
            <a:off x="4933995" y="327636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35" name="Oval 613">
            <a:extLst>
              <a:ext uri="{FF2B5EF4-FFF2-40B4-BE49-F238E27FC236}">
                <a16:creationId xmlns:a16="http://schemas.microsoft.com/office/drawing/2014/main" id="{2054DDB5-32FB-4284-B5E4-C0F80B413CE1}"/>
              </a:ext>
            </a:extLst>
          </p:cNvPr>
          <p:cNvSpPr>
            <a:spLocks noChangeArrowheads="1"/>
          </p:cNvSpPr>
          <p:nvPr/>
        </p:nvSpPr>
        <p:spPr bwMode="auto">
          <a:xfrm>
            <a:off x="1438846" y="2896212"/>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36" name="Oval 614">
            <a:extLst>
              <a:ext uri="{FF2B5EF4-FFF2-40B4-BE49-F238E27FC236}">
                <a16:creationId xmlns:a16="http://schemas.microsoft.com/office/drawing/2014/main" id="{09EA1342-4EB6-4BA2-8710-43CD2B35BEC3}"/>
              </a:ext>
            </a:extLst>
          </p:cNvPr>
          <p:cNvSpPr>
            <a:spLocks noChangeArrowheads="1"/>
          </p:cNvSpPr>
          <p:nvPr/>
        </p:nvSpPr>
        <p:spPr bwMode="auto">
          <a:xfrm>
            <a:off x="4495252" y="3724217"/>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37" name="Oval 615">
            <a:extLst>
              <a:ext uri="{FF2B5EF4-FFF2-40B4-BE49-F238E27FC236}">
                <a16:creationId xmlns:a16="http://schemas.microsoft.com/office/drawing/2014/main" id="{8B920474-13B1-4473-81FA-AB348F1D335B}"/>
              </a:ext>
            </a:extLst>
          </p:cNvPr>
          <p:cNvSpPr>
            <a:spLocks noChangeArrowheads="1"/>
          </p:cNvSpPr>
          <p:nvPr/>
        </p:nvSpPr>
        <p:spPr bwMode="auto">
          <a:xfrm>
            <a:off x="1967741" y="3009560"/>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38" name="Oval 616">
            <a:extLst>
              <a:ext uri="{FF2B5EF4-FFF2-40B4-BE49-F238E27FC236}">
                <a16:creationId xmlns:a16="http://schemas.microsoft.com/office/drawing/2014/main" id="{8F68D75A-E56B-4D1D-8614-1D2D8DD80036}"/>
              </a:ext>
            </a:extLst>
          </p:cNvPr>
          <p:cNvSpPr>
            <a:spLocks noChangeArrowheads="1"/>
          </p:cNvSpPr>
          <p:nvPr/>
        </p:nvSpPr>
        <p:spPr bwMode="auto">
          <a:xfrm>
            <a:off x="3525611" y="2774142"/>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39" name="Oval 617">
            <a:extLst>
              <a:ext uri="{FF2B5EF4-FFF2-40B4-BE49-F238E27FC236}">
                <a16:creationId xmlns:a16="http://schemas.microsoft.com/office/drawing/2014/main" id="{DD7C0BF5-1BC7-4418-A252-7EEAEB7B83ED}"/>
              </a:ext>
            </a:extLst>
          </p:cNvPr>
          <p:cNvSpPr>
            <a:spLocks noChangeArrowheads="1"/>
          </p:cNvSpPr>
          <p:nvPr/>
        </p:nvSpPr>
        <p:spPr bwMode="auto">
          <a:xfrm>
            <a:off x="3845690" y="1959772"/>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40" name="Oval 618">
            <a:extLst>
              <a:ext uri="{FF2B5EF4-FFF2-40B4-BE49-F238E27FC236}">
                <a16:creationId xmlns:a16="http://schemas.microsoft.com/office/drawing/2014/main" id="{51B7A40B-F3B0-4A78-AD58-F85012B3FD43}"/>
              </a:ext>
            </a:extLst>
          </p:cNvPr>
          <p:cNvSpPr>
            <a:spLocks noChangeArrowheads="1"/>
          </p:cNvSpPr>
          <p:nvPr/>
        </p:nvSpPr>
        <p:spPr bwMode="auto">
          <a:xfrm>
            <a:off x="3889766" y="2468654"/>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41" name="Oval 619">
            <a:extLst>
              <a:ext uri="{FF2B5EF4-FFF2-40B4-BE49-F238E27FC236}">
                <a16:creationId xmlns:a16="http://schemas.microsoft.com/office/drawing/2014/main" id="{9189AB3D-7D93-4045-8C2F-4F681B078E11}"/>
              </a:ext>
            </a:extLst>
          </p:cNvPr>
          <p:cNvSpPr>
            <a:spLocks noChangeArrowheads="1"/>
          </p:cNvSpPr>
          <p:nvPr/>
        </p:nvSpPr>
        <p:spPr bwMode="auto">
          <a:xfrm>
            <a:off x="1228336" y="2774142"/>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42" name="Oval 620">
            <a:extLst>
              <a:ext uri="{FF2B5EF4-FFF2-40B4-BE49-F238E27FC236}">
                <a16:creationId xmlns:a16="http://schemas.microsoft.com/office/drawing/2014/main" id="{B15CEC25-B9ED-4243-B0D8-41D5C29A3617}"/>
              </a:ext>
            </a:extLst>
          </p:cNvPr>
          <p:cNvSpPr>
            <a:spLocks noChangeArrowheads="1"/>
          </p:cNvSpPr>
          <p:nvPr/>
        </p:nvSpPr>
        <p:spPr bwMode="auto">
          <a:xfrm>
            <a:off x="2132175" y="2744497"/>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43" name="Oval 621">
            <a:extLst>
              <a:ext uri="{FF2B5EF4-FFF2-40B4-BE49-F238E27FC236}">
                <a16:creationId xmlns:a16="http://schemas.microsoft.com/office/drawing/2014/main" id="{456D7865-5180-460F-8347-88D0BC82754B}"/>
              </a:ext>
            </a:extLst>
          </p:cNvPr>
          <p:cNvSpPr>
            <a:spLocks noChangeArrowheads="1"/>
          </p:cNvSpPr>
          <p:nvPr/>
        </p:nvSpPr>
        <p:spPr bwMode="auto">
          <a:xfrm>
            <a:off x="2123390" y="2780803"/>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44" name="Oval 622">
            <a:extLst>
              <a:ext uri="{FF2B5EF4-FFF2-40B4-BE49-F238E27FC236}">
                <a16:creationId xmlns:a16="http://schemas.microsoft.com/office/drawing/2014/main" id="{D0E6A7E5-5190-4D11-A535-36B1A10C05C9}"/>
              </a:ext>
            </a:extLst>
          </p:cNvPr>
          <p:cNvSpPr>
            <a:spLocks noChangeArrowheads="1"/>
          </p:cNvSpPr>
          <p:nvPr/>
        </p:nvSpPr>
        <p:spPr bwMode="auto">
          <a:xfrm>
            <a:off x="2138647" y="274449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45" name="Oval 623">
            <a:extLst>
              <a:ext uri="{FF2B5EF4-FFF2-40B4-BE49-F238E27FC236}">
                <a16:creationId xmlns:a16="http://schemas.microsoft.com/office/drawing/2014/main" id="{B29E92A1-8798-48A2-A51F-CA3A86A69FF7}"/>
              </a:ext>
            </a:extLst>
          </p:cNvPr>
          <p:cNvSpPr>
            <a:spLocks noChangeArrowheads="1"/>
          </p:cNvSpPr>
          <p:nvPr/>
        </p:nvSpPr>
        <p:spPr bwMode="auto">
          <a:xfrm>
            <a:off x="2145426" y="271310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46" name="Oval 624">
            <a:extLst>
              <a:ext uri="{FF2B5EF4-FFF2-40B4-BE49-F238E27FC236}">
                <a16:creationId xmlns:a16="http://schemas.microsoft.com/office/drawing/2014/main" id="{E910F6A4-6899-4F65-A582-22A373325BEA}"/>
              </a:ext>
            </a:extLst>
          </p:cNvPr>
          <p:cNvSpPr>
            <a:spLocks noChangeArrowheads="1"/>
          </p:cNvSpPr>
          <p:nvPr/>
        </p:nvSpPr>
        <p:spPr bwMode="auto">
          <a:xfrm>
            <a:off x="2026764" y="2674744"/>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47" name="Oval 625">
            <a:extLst>
              <a:ext uri="{FF2B5EF4-FFF2-40B4-BE49-F238E27FC236}">
                <a16:creationId xmlns:a16="http://schemas.microsoft.com/office/drawing/2014/main" id="{7A996C82-1080-4883-AA76-2D0D1BA0A267}"/>
              </a:ext>
            </a:extLst>
          </p:cNvPr>
          <p:cNvSpPr>
            <a:spLocks noChangeArrowheads="1"/>
          </p:cNvSpPr>
          <p:nvPr/>
        </p:nvSpPr>
        <p:spPr bwMode="auto">
          <a:xfrm>
            <a:off x="2026764" y="266776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48" name="Oval 626">
            <a:extLst>
              <a:ext uri="{FF2B5EF4-FFF2-40B4-BE49-F238E27FC236}">
                <a16:creationId xmlns:a16="http://schemas.microsoft.com/office/drawing/2014/main" id="{3A6BEFF8-ECB5-4B40-A05B-5AC0B9FE5480}"/>
              </a:ext>
            </a:extLst>
          </p:cNvPr>
          <p:cNvSpPr>
            <a:spLocks noChangeArrowheads="1"/>
          </p:cNvSpPr>
          <p:nvPr/>
        </p:nvSpPr>
        <p:spPr bwMode="auto">
          <a:xfrm>
            <a:off x="3793141" y="2400962"/>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49" name="Oval 627">
            <a:extLst>
              <a:ext uri="{FF2B5EF4-FFF2-40B4-BE49-F238E27FC236}">
                <a16:creationId xmlns:a16="http://schemas.microsoft.com/office/drawing/2014/main" id="{6C657267-71B2-4B6C-BC9C-FBCB323D38BA}"/>
              </a:ext>
            </a:extLst>
          </p:cNvPr>
          <p:cNvSpPr>
            <a:spLocks noChangeArrowheads="1"/>
          </p:cNvSpPr>
          <p:nvPr/>
        </p:nvSpPr>
        <p:spPr bwMode="auto">
          <a:xfrm>
            <a:off x="5991785" y="281250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50" name="Oval 628">
            <a:extLst>
              <a:ext uri="{FF2B5EF4-FFF2-40B4-BE49-F238E27FC236}">
                <a16:creationId xmlns:a16="http://schemas.microsoft.com/office/drawing/2014/main" id="{42B38371-93A6-48DF-A884-AF449C87733D}"/>
              </a:ext>
            </a:extLst>
          </p:cNvPr>
          <p:cNvSpPr>
            <a:spLocks noChangeArrowheads="1"/>
          </p:cNvSpPr>
          <p:nvPr/>
        </p:nvSpPr>
        <p:spPr bwMode="auto">
          <a:xfrm>
            <a:off x="5991785" y="281250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51" name="Oval 629">
            <a:extLst>
              <a:ext uri="{FF2B5EF4-FFF2-40B4-BE49-F238E27FC236}">
                <a16:creationId xmlns:a16="http://schemas.microsoft.com/office/drawing/2014/main" id="{9EA8F8FE-61F8-4E20-8BA1-EC03371BB096}"/>
              </a:ext>
            </a:extLst>
          </p:cNvPr>
          <p:cNvSpPr>
            <a:spLocks noChangeArrowheads="1"/>
          </p:cNvSpPr>
          <p:nvPr/>
        </p:nvSpPr>
        <p:spPr bwMode="auto">
          <a:xfrm>
            <a:off x="5978532" y="2842152"/>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52" name="Oval 630">
            <a:extLst>
              <a:ext uri="{FF2B5EF4-FFF2-40B4-BE49-F238E27FC236}">
                <a16:creationId xmlns:a16="http://schemas.microsoft.com/office/drawing/2014/main" id="{39D014DF-CD74-497B-9CA3-352570993389}"/>
              </a:ext>
            </a:extLst>
          </p:cNvPr>
          <p:cNvSpPr>
            <a:spLocks noChangeArrowheads="1"/>
          </p:cNvSpPr>
          <p:nvPr/>
        </p:nvSpPr>
        <p:spPr bwMode="auto">
          <a:xfrm>
            <a:off x="4150822" y="1724355"/>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53" name="Oval 631">
            <a:extLst>
              <a:ext uri="{FF2B5EF4-FFF2-40B4-BE49-F238E27FC236}">
                <a16:creationId xmlns:a16="http://schemas.microsoft.com/office/drawing/2014/main" id="{35444361-5B22-4066-A318-60D22B00D4FD}"/>
              </a:ext>
            </a:extLst>
          </p:cNvPr>
          <p:cNvSpPr>
            <a:spLocks noChangeArrowheads="1"/>
          </p:cNvSpPr>
          <p:nvPr/>
        </p:nvSpPr>
        <p:spPr bwMode="auto">
          <a:xfrm>
            <a:off x="1572766" y="2538725"/>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54" name="Oval 632">
            <a:extLst>
              <a:ext uri="{FF2B5EF4-FFF2-40B4-BE49-F238E27FC236}">
                <a16:creationId xmlns:a16="http://schemas.microsoft.com/office/drawing/2014/main" id="{35E3723D-BCA6-4B5E-B6DF-0E39E97A6E5A}"/>
              </a:ext>
            </a:extLst>
          </p:cNvPr>
          <p:cNvSpPr>
            <a:spLocks noChangeArrowheads="1"/>
          </p:cNvSpPr>
          <p:nvPr/>
        </p:nvSpPr>
        <p:spPr bwMode="auto">
          <a:xfrm>
            <a:off x="3733809" y="2310283"/>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55" name="Oval 633">
            <a:extLst>
              <a:ext uri="{FF2B5EF4-FFF2-40B4-BE49-F238E27FC236}">
                <a16:creationId xmlns:a16="http://schemas.microsoft.com/office/drawing/2014/main" id="{E5328777-C1CC-4749-8467-1B0BCEF0093B}"/>
              </a:ext>
            </a:extLst>
          </p:cNvPr>
          <p:cNvSpPr>
            <a:spLocks noChangeArrowheads="1"/>
          </p:cNvSpPr>
          <p:nvPr/>
        </p:nvSpPr>
        <p:spPr bwMode="auto">
          <a:xfrm>
            <a:off x="5829357" y="3665242"/>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56" name="Oval 634">
            <a:extLst>
              <a:ext uri="{FF2B5EF4-FFF2-40B4-BE49-F238E27FC236}">
                <a16:creationId xmlns:a16="http://schemas.microsoft.com/office/drawing/2014/main" id="{F7B59BD3-9A02-46EC-81CC-49F5F08D76BD}"/>
              </a:ext>
            </a:extLst>
          </p:cNvPr>
          <p:cNvSpPr>
            <a:spLocks noChangeArrowheads="1"/>
          </p:cNvSpPr>
          <p:nvPr/>
        </p:nvSpPr>
        <p:spPr bwMode="auto">
          <a:xfrm>
            <a:off x="6685114" y="4393850"/>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57" name="Oval 635">
            <a:extLst>
              <a:ext uri="{FF2B5EF4-FFF2-40B4-BE49-F238E27FC236}">
                <a16:creationId xmlns:a16="http://schemas.microsoft.com/office/drawing/2014/main" id="{CAD02C1E-D5D2-433F-9EED-16D462BD46F4}"/>
              </a:ext>
            </a:extLst>
          </p:cNvPr>
          <p:cNvSpPr>
            <a:spLocks noChangeArrowheads="1"/>
          </p:cNvSpPr>
          <p:nvPr/>
        </p:nvSpPr>
        <p:spPr bwMode="auto">
          <a:xfrm>
            <a:off x="3942316" y="231725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58" name="Oval 636">
            <a:extLst>
              <a:ext uri="{FF2B5EF4-FFF2-40B4-BE49-F238E27FC236}">
                <a16:creationId xmlns:a16="http://schemas.microsoft.com/office/drawing/2014/main" id="{51F545EA-2D0C-4FDD-B037-CDC3ADCF3007}"/>
              </a:ext>
            </a:extLst>
          </p:cNvPr>
          <p:cNvSpPr>
            <a:spLocks noChangeArrowheads="1"/>
          </p:cNvSpPr>
          <p:nvPr/>
        </p:nvSpPr>
        <p:spPr bwMode="auto">
          <a:xfrm>
            <a:off x="2064059" y="2728804"/>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59" name="Oval 637">
            <a:extLst>
              <a:ext uri="{FF2B5EF4-FFF2-40B4-BE49-F238E27FC236}">
                <a16:creationId xmlns:a16="http://schemas.microsoft.com/office/drawing/2014/main" id="{60CDC937-914E-42E6-B78C-D87DDC974FC1}"/>
              </a:ext>
            </a:extLst>
          </p:cNvPr>
          <p:cNvSpPr>
            <a:spLocks noChangeArrowheads="1"/>
          </p:cNvSpPr>
          <p:nvPr/>
        </p:nvSpPr>
        <p:spPr bwMode="auto">
          <a:xfrm>
            <a:off x="3727337" y="2599759"/>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60" name="Oval 638">
            <a:extLst>
              <a:ext uri="{FF2B5EF4-FFF2-40B4-BE49-F238E27FC236}">
                <a16:creationId xmlns:a16="http://schemas.microsoft.com/office/drawing/2014/main" id="{15C777C9-CAF2-4593-B222-8050316DB89A}"/>
              </a:ext>
            </a:extLst>
          </p:cNvPr>
          <p:cNvSpPr>
            <a:spLocks noChangeArrowheads="1"/>
          </p:cNvSpPr>
          <p:nvPr/>
        </p:nvSpPr>
        <p:spPr bwMode="auto">
          <a:xfrm>
            <a:off x="3861256" y="2400962"/>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61" name="Oval 639">
            <a:extLst>
              <a:ext uri="{FF2B5EF4-FFF2-40B4-BE49-F238E27FC236}">
                <a16:creationId xmlns:a16="http://schemas.microsoft.com/office/drawing/2014/main" id="{E3A3DAFB-EB34-4F77-AC8A-275FC5530D11}"/>
              </a:ext>
            </a:extLst>
          </p:cNvPr>
          <p:cNvSpPr>
            <a:spLocks noChangeArrowheads="1"/>
          </p:cNvSpPr>
          <p:nvPr/>
        </p:nvSpPr>
        <p:spPr bwMode="auto">
          <a:xfrm>
            <a:off x="3801923" y="2348647"/>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62" name="Oval 640">
            <a:extLst>
              <a:ext uri="{FF2B5EF4-FFF2-40B4-BE49-F238E27FC236}">
                <a16:creationId xmlns:a16="http://schemas.microsoft.com/office/drawing/2014/main" id="{2B8A1C0E-7404-4CC2-92DD-87F1BCA89360}"/>
              </a:ext>
            </a:extLst>
          </p:cNvPr>
          <p:cNvSpPr>
            <a:spLocks noChangeArrowheads="1"/>
          </p:cNvSpPr>
          <p:nvPr/>
        </p:nvSpPr>
        <p:spPr bwMode="auto">
          <a:xfrm>
            <a:off x="1989472" y="3093264"/>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63" name="Oval 641">
            <a:extLst>
              <a:ext uri="{FF2B5EF4-FFF2-40B4-BE49-F238E27FC236}">
                <a16:creationId xmlns:a16="http://schemas.microsoft.com/office/drawing/2014/main" id="{42AA3486-2F67-49C6-B7FE-D0D8D3290D33}"/>
              </a:ext>
            </a:extLst>
          </p:cNvPr>
          <p:cNvSpPr>
            <a:spLocks noChangeArrowheads="1"/>
          </p:cNvSpPr>
          <p:nvPr/>
        </p:nvSpPr>
        <p:spPr bwMode="auto">
          <a:xfrm>
            <a:off x="4940775" y="3215332"/>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64" name="Oval 642">
            <a:extLst>
              <a:ext uri="{FF2B5EF4-FFF2-40B4-BE49-F238E27FC236}">
                <a16:creationId xmlns:a16="http://schemas.microsoft.com/office/drawing/2014/main" id="{F11D24CA-B36B-4AE2-9BD0-003B60F386CE}"/>
              </a:ext>
            </a:extLst>
          </p:cNvPr>
          <p:cNvSpPr>
            <a:spLocks noChangeArrowheads="1"/>
          </p:cNvSpPr>
          <p:nvPr/>
        </p:nvSpPr>
        <p:spPr bwMode="auto">
          <a:xfrm>
            <a:off x="1206299" y="2925856"/>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65" name="Oval 643">
            <a:extLst>
              <a:ext uri="{FF2B5EF4-FFF2-40B4-BE49-F238E27FC236}">
                <a16:creationId xmlns:a16="http://schemas.microsoft.com/office/drawing/2014/main" id="{2DE335D6-0B91-41E9-B2BF-81D69ABF1406}"/>
              </a:ext>
            </a:extLst>
          </p:cNvPr>
          <p:cNvSpPr>
            <a:spLocks noChangeArrowheads="1"/>
          </p:cNvSpPr>
          <p:nvPr/>
        </p:nvSpPr>
        <p:spPr bwMode="auto">
          <a:xfrm>
            <a:off x="1713155" y="3025255"/>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66" name="Oval 644">
            <a:extLst>
              <a:ext uri="{FF2B5EF4-FFF2-40B4-BE49-F238E27FC236}">
                <a16:creationId xmlns:a16="http://schemas.microsoft.com/office/drawing/2014/main" id="{3203C4F2-4F77-45F9-9D8E-50E123FB2698}"/>
              </a:ext>
            </a:extLst>
          </p:cNvPr>
          <p:cNvSpPr>
            <a:spLocks noChangeArrowheads="1"/>
          </p:cNvSpPr>
          <p:nvPr/>
        </p:nvSpPr>
        <p:spPr bwMode="auto">
          <a:xfrm>
            <a:off x="6059593" y="276716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67" name="Oval 645">
            <a:extLst>
              <a:ext uri="{FF2B5EF4-FFF2-40B4-BE49-F238E27FC236}">
                <a16:creationId xmlns:a16="http://schemas.microsoft.com/office/drawing/2014/main" id="{13FFAC39-E01F-472E-8CE3-037427772DBD}"/>
              </a:ext>
            </a:extLst>
          </p:cNvPr>
          <p:cNvSpPr>
            <a:spLocks noChangeArrowheads="1"/>
          </p:cNvSpPr>
          <p:nvPr/>
        </p:nvSpPr>
        <p:spPr bwMode="auto">
          <a:xfrm>
            <a:off x="1140495" y="2645100"/>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68" name="Oval 646">
            <a:extLst>
              <a:ext uri="{FF2B5EF4-FFF2-40B4-BE49-F238E27FC236}">
                <a16:creationId xmlns:a16="http://schemas.microsoft.com/office/drawing/2014/main" id="{54963FF7-5AE6-4528-8BAA-C3BB2FD08793}"/>
              </a:ext>
            </a:extLst>
          </p:cNvPr>
          <p:cNvSpPr>
            <a:spLocks noChangeArrowheads="1"/>
          </p:cNvSpPr>
          <p:nvPr/>
        </p:nvSpPr>
        <p:spPr bwMode="auto">
          <a:xfrm>
            <a:off x="3659221" y="2111168"/>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69" name="Oval 647">
            <a:extLst>
              <a:ext uri="{FF2B5EF4-FFF2-40B4-BE49-F238E27FC236}">
                <a16:creationId xmlns:a16="http://schemas.microsoft.com/office/drawing/2014/main" id="{F849D4F8-F13F-4023-9409-0FCC11035402}"/>
              </a:ext>
            </a:extLst>
          </p:cNvPr>
          <p:cNvSpPr>
            <a:spLocks noChangeArrowheads="1"/>
          </p:cNvSpPr>
          <p:nvPr/>
        </p:nvSpPr>
        <p:spPr bwMode="auto">
          <a:xfrm>
            <a:off x="1118459" y="2774142"/>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70" name="Oval 648">
            <a:extLst>
              <a:ext uri="{FF2B5EF4-FFF2-40B4-BE49-F238E27FC236}">
                <a16:creationId xmlns:a16="http://schemas.microsoft.com/office/drawing/2014/main" id="{35F674E8-AF55-445C-AAB5-086DA3E40D60}"/>
              </a:ext>
            </a:extLst>
          </p:cNvPr>
          <p:cNvSpPr>
            <a:spLocks noChangeArrowheads="1"/>
          </p:cNvSpPr>
          <p:nvPr/>
        </p:nvSpPr>
        <p:spPr bwMode="auto">
          <a:xfrm>
            <a:off x="3777884" y="2409681"/>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71" name="Oval 649">
            <a:extLst>
              <a:ext uri="{FF2B5EF4-FFF2-40B4-BE49-F238E27FC236}">
                <a16:creationId xmlns:a16="http://schemas.microsoft.com/office/drawing/2014/main" id="{BBDFEC50-D729-4879-8A28-1B5664E6A3F4}"/>
              </a:ext>
            </a:extLst>
          </p:cNvPr>
          <p:cNvSpPr>
            <a:spLocks noChangeArrowheads="1"/>
          </p:cNvSpPr>
          <p:nvPr/>
        </p:nvSpPr>
        <p:spPr bwMode="auto">
          <a:xfrm>
            <a:off x="2079623" y="2660793"/>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72" name="Oval 650">
            <a:extLst>
              <a:ext uri="{FF2B5EF4-FFF2-40B4-BE49-F238E27FC236}">
                <a16:creationId xmlns:a16="http://schemas.microsoft.com/office/drawing/2014/main" id="{88F0EB08-BB8A-432D-BD3A-07B505DADA6D}"/>
              </a:ext>
            </a:extLst>
          </p:cNvPr>
          <p:cNvSpPr>
            <a:spLocks noChangeArrowheads="1"/>
          </p:cNvSpPr>
          <p:nvPr/>
        </p:nvSpPr>
        <p:spPr bwMode="auto">
          <a:xfrm>
            <a:off x="1936921" y="271310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73" name="Oval 651">
            <a:extLst>
              <a:ext uri="{FF2B5EF4-FFF2-40B4-BE49-F238E27FC236}">
                <a16:creationId xmlns:a16="http://schemas.microsoft.com/office/drawing/2014/main" id="{0E5B1F9D-4DDD-43AD-B8AC-86C3ED2D7056}"/>
              </a:ext>
            </a:extLst>
          </p:cNvPr>
          <p:cNvSpPr>
            <a:spLocks noChangeArrowheads="1"/>
          </p:cNvSpPr>
          <p:nvPr/>
        </p:nvSpPr>
        <p:spPr bwMode="auto">
          <a:xfrm>
            <a:off x="5195052" y="3031914"/>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74" name="Oval 652">
            <a:extLst>
              <a:ext uri="{FF2B5EF4-FFF2-40B4-BE49-F238E27FC236}">
                <a16:creationId xmlns:a16="http://schemas.microsoft.com/office/drawing/2014/main" id="{4E76CFE0-B552-4920-A2D9-AE874E2FAE76}"/>
              </a:ext>
            </a:extLst>
          </p:cNvPr>
          <p:cNvSpPr>
            <a:spLocks noChangeArrowheads="1"/>
          </p:cNvSpPr>
          <p:nvPr/>
        </p:nvSpPr>
        <p:spPr bwMode="auto">
          <a:xfrm>
            <a:off x="3569377" y="283517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75" name="Oval 653">
            <a:extLst>
              <a:ext uri="{FF2B5EF4-FFF2-40B4-BE49-F238E27FC236}">
                <a16:creationId xmlns:a16="http://schemas.microsoft.com/office/drawing/2014/main" id="{A5C76E1C-8553-47C5-B03E-4F9BA4409F1C}"/>
              </a:ext>
            </a:extLst>
          </p:cNvPr>
          <p:cNvSpPr>
            <a:spLocks noChangeArrowheads="1"/>
          </p:cNvSpPr>
          <p:nvPr/>
        </p:nvSpPr>
        <p:spPr bwMode="auto">
          <a:xfrm>
            <a:off x="5359793" y="3040948"/>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76" name="Oval 654">
            <a:extLst>
              <a:ext uri="{FF2B5EF4-FFF2-40B4-BE49-F238E27FC236}">
                <a16:creationId xmlns:a16="http://schemas.microsoft.com/office/drawing/2014/main" id="{B5F73BA9-DE20-46CE-A0DD-53CB81CD1A33}"/>
              </a:ext>
            </a:extLst>
          </p:cNvPr>
          <p:cNvSpPr>
            <a:spLocks noChangeArrowheads="1"/>
          </p:cNvSpPr>
          <p:nvPr/>
        </p:nvSpPr>
        <p:spPr bwMode="auto">
          <a:xfrm>
            <a:off x="6759701" y="386229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77" name="Oval 655">
            <a:extLst>
              <a:ext uri="{FF2B5EF4-FFF2-40B4-BE49-F238E27FC236}">
                <a16:creationId xmlns:a16="http://schemas.microsoft.com/office/drawing/2014/main" id="{8BA6EB1C-6D18-4763-A97F-2158A07D080E}"/>
              </a:ext>
            </a:extLst>
          </p:cNvPr>
          <p:cNvSpPr>
            <a:spLocks noChangeArrowheads="1"/>
          </p:cNvSpPr>
          <p:nvPr/>
        </p:nvSpPr>
        <p:spPr bwMode="auto">
          <a:xfrm>
            <a:off x="2132175" y="2735778"/>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78" name="Oval 656">
            <a:extLst>
              <a:ext uri="{FF2B5EF4-FFF2-40B4-BE49-F238E27FC236}">
                <a16:creationId xmlns:a16="http://schemas.microsoft.com/office/drawing/2014/main" id="{1700DF53-DEA3-4E1C-AA6E-8BF5F61F7736}"/>
              </a:ext>
            </a:extLst>
          </p:cNvPr>
          <p:cNvSpPr>
            <a:spLocks noChangeArrowheads="1"/>
          </p:cNvSpPr>
          <p:nvPr/>
        </p:nvSpPr>
        <p:spPr bwMode="auto">
          <a:xfrm>
            <a:off x="1519907" y="3009560"/>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79" name="Oval 657">
            <a:extLst>
              <a:ext uri="{FF2B5EF4-FFF2-40B4-BE49-F238E27FC236}">
                <a16:creationId xmlns:a16="http://schemas.microsoft.com/office/drawing/2014/main" id="{E8FA2960-1487-4CBB-A641-BF5DA41CD491}"/>
              </a:ext>
            </a:extLst>
          </p:cNvPr>
          <p:cNvSpPr>
            <a:spLocks noChangeArrowheads="1"/>
          </p:cNvSpPr>
          <p:nvPr/>
        </p:nvSpPr>
        <p:spPr bwMode="auto">
          <a:xfrm>
            <a:off x="3606671" y="239398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80" name="Oval 658">
            <a:extLst>
              <a:ext uri="{FF2B5EF4-FFF2-40B4-BE49-F238E27FC236}">
                <a16:creationId xmlns:a16="http://schemas.microsoft.com/office/drawing/2014/main" id="{DA74398F-5DFC-4EF9-933F-84DA3EF3C675}"/>
              </a:ext>
            </a:extLst>
          </p:cNvPr>
          <p:cNvSpPr>
            <a:spLocks noChangeArrowheads="1"/>
          </p:cNvSpPr>
          <p:nvPr/>
        </p:nvSpPr>
        <p:spPr bwMode="auto">
          <a:xfrm>
            <a:off x="2057585" y="2728804"/>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81" name="Oval 659">
            <a:extLst>
              <a:ext uri="{FF2B5EF4-FFF2-40B4-BE49-F238E27FC236}">
                <a16:creationId xmlns:a16="http://schemas.microsoft.com/office/drawing/2014/main" id="{B62A52EF-9980-4F94-A2A0-035689ACBCEA}"/>
              </a:ext>
            </a:extLst>
          </p:cNvPr>
          <p:cNvSpPr>
            <a:spLocks noChangeArrowheads="1"/>
          </p:cNvSpPr>
          <p:nvPr/>
        </p:nvSpPr>
        <p:spPr bwMode="auto">
          <a:xfrm>
            <a:off x="6187039" y="4448224"/>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82" name="Oval 660">
            <a:extLst>
              <a:ext uri="{FF2B5EF4-FFF2-40B4-BE49-F238E27FC236}">
                <a16:creationId xmlns:a16="http://schemas.microsoft.com/office/drawing/2014/main" id="{0E808F12-BAB0-43F3-B99A-29019127837D}"/>
              </a:ext>
            </a:extLst>
          </p:cNvPr>
          <p:cNvSpPr>
            <a:spLocks noChangeArrowheads="1"/>
          </p:cNvSpPr>
          <p:nvPr/>
        </p:nvSpPr>
        <p:spPr bwMode="auto">
          <a:xfrm>
            <a:off x="6187039" y="4448224"/>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83" name="Oval 661">
            <a:extLst>
              <a:ext uri="{FF2B5EF4-FFF2-40B4-BE49-F238E27FC236}">
                <a16:creationId xmlns:a16="http://schemas.microsoft.com/office/drawing/2014/main" id="{299FF6A1-02DA-426C-B78F-DDA653C311AC}"/>
              </a:ext>
            </a:extLst>
          </p:cNvPr>
          <p:cNvSpPr>
            <a:spLocks noChangeArrowheads="1"/>
          </p:cNvSpPr>
          <p:nvPr/>
        </p:nvSpPr>
        <p:spPr bwMode="auto">
          <a:xfrm>
            <a:off x="6261627" y="4197113"/>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84" name="Oval 662">
            <a:extLst>
              <a:ext uri="{FF2B5EF4-FFF2-40B4-BE49-F238E27FC236}">
                <a16:creationId xmlns:a16="http://schemas.microsoft.com/office/drawing/2014/main" id="{0375FEA6-C5FF-44DC-903D-043E7933320A}"/>
              </a:ext>
            </a:extLst>
          </p:cNvPr>
          <p:cNvSpPr>
            <a:spLocks noChangeArrowheads="1"/>
          </p:cNvSpPr>
          <p:nvPr/>
        </p:nvSpPr>
        <p:spPr bwMode="auto">
          <a:xfrm>
            <a:off x="2400013" y="3482140"/>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85" name="Oval 663">
            <a:extLst>
              <a:ext uri="{FF2B5EF4-FFF2-40B4-BE49-F238E27FC236}">
                <a16:creationId xmlns:a16="http://schemas.microsoft.com/office/drawing/2014/main" id="{E28FCB51-B746-4C6A-82EB-03A094072645}"/>
              </a:ext>
            </a:extLst>
          </p:cNvPr>
          <p:cNvSpPr>
            <a:spLocks noChangeArrowheads="1"/>
          </p:cNvSpPr>
          <p:nvPr/>
        </p:nvSpPr>
        <p:spPr bwMode="auto">
          <a:xfrm>
            <a:off x="2400013" y="3482140"/>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86" name="Oval 664">
            <a:extLst>
              <a:ext uri="{FF2B5EF4-FFF2-40B4-BE49-F238E27FC236}">
                <a16:creationId xmlns:a16="http://schemas.microsoft.com/office/drawing/2014/main" id="{D112B6DD-3175-4189-B859-0B9A1F5A6B48}"/>
              </a:ext>
            </a:extLst>
          </p:cNvPr>
          <p:cNvSpPr>
            <a:spLocks noChangeArrowheads="1"/>
          </p:cNvSpPr>
          <p:nvPr/>
        </p:nvSpPr>
        <p:spPr bwMode="auto">
          <a:xfrm>
            <a:off x="2362718" y="2622429"/>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87" name="Oval 665">
            <a:extLst>
              <a:ext uri="{FF2B5EF4-FFF2-40B4-BE49-F238E27FC236}">
                <a16:creationId xmlns:a16="http://schemas.microsoft.com/office/drawing/2014/main" id="{2B3D05BD-0086-4E74-87E8-B0CA886904CC}"/>
              </a:ext>
            </a:extLst>
          </p:cNvPr>
          <p:cNvSpPr>
            <a:spLocks noChangeArrowheads="1"/>
          </p:cNvSpPr>
          <p:nvPr/>
        </p:nvSpPr>
        <p:spPr bwMode="auto">
          <a:xfrm>
            <a:off x="3532083" y="2683464"/>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88" name="Oval 666">
            <a:extLst>
              <a:ext uri="{FF2B5EF4-FFF2-40B4-BE49-F238E27FC236}">
                <a16:creationId xmlns:a16="http://schemas.microsoft.com/office/drawing/2014/main" id="{A6F2ADC4-221A-47C5-9AED-28928401C376}"/>
              </a:ext>
            </a:extLst>
          </p:cNvPr>
          <p:cNvSpPr>
            <a:spLocks noChangeArrowheads="1"/>
          </p:cNvSpPr>
          <p:nvPr/>
        </p:nvSpPr>
        <p:spPr bwMode="auto">
          <a:xfrm>
            <a:off x="3920279" y="2104511"/>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89" name="Oval 667">
            <a:extLst>
              <a:ext uri="{FF2B5EF4-FFF2-40B4-BE49-F238E27FC236}">
                <a16:creationId xmlns:a16="http://schemas.microsoft.com/office/drawing/2014/main" id="{2FCED1B2-D9E2-40DC-8AA9-024E0BD664DC}"/>
              </a:ext>
            </a:extLst>
          </p:cNvPr>
          <p:cNvSpPr>
            <a:spLocks noChangeArrowheads="1"/>
          </p:cNvSpPr>
          <p:nvPr/>
        </p:nvSpPr>
        <p:spPr bwMode="auto">
          <a:xfrm>
            <a:off x="3727337" y="2468654"/>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91" name="Oval 669">
            <a:extLst>
              <a:ext uri="{FF2B5EF4-FFF2-40B4-BE49-F238E27FC236}">
                <a16:creationId xmlns:a16="http://schemas.microsoft.com/office/drawing/2014/main" id="{54736EB0-935D-42DE-8505-B7D168E557F3}"/>
              </a:ext>
            </a:extLst>
          </p:cNvPr>
          <p:cNvSpPr>
            <a:spLocks noChangeArrowheads="1"/>
          </p:cNvSpPr>
          <p:nvPr/>
        </p:nvSpPr>
        <p:spPr bwMode="auto">
          <a:xfrm>
            <a:off x="1094417" y="2477691"/>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92" name="Oval 670">
            <a:extLst>
              <a:ext uri="{FF2B5EF4-FFF2-40B4-BE49-F238E27FC236}">
                <a16:creationId xmlns:a16="http://schemas.microsoft.com/office/drawing/2014/main" id="{778A639D-18F7-45A7-9FE9-B9E5F05AB352}"/>
              </a:ext>
            </a:extLst>
          </p:cNvPr>
          <p:cNvSpPr>
            <a:spLocks noChangeArrowheads="1"/>
          </p:cNvSpPr>
          <p:nvPr/>
        </p:nvSpPr>
        <p:spPr bwMode="auto">
          <a:xfrm>
            <a:off x="3927059" y="2194873"/>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93" name="Oval 671">
            <a:extLst>
              <a:ext uri="{FF2B5EF4-FFF2-40B4-BE49-F238E27FC236}">
                <a16:creationId xmlns:a16="http://schemas.microsoft.com/office/drawing/2014/main" id="{E82E0626-C9B2-43FE-87A2-6F0EF0211315}"/>
              </a:ext>
            </a:extLst>
          </p:cNvPr>
          <p:cNvSpPr>
            <a:spLocks noChangeArrowheads="1"/>
          </p:cNvSpPr>
          <p:nvPr/>
        </p:nvSpPr>
        <p:spPr bwMode="auto">
          <a:xfrm>
            <a:off x="2838755" y="4197113"/>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94" name="Oval 672">
            <a:extLst>
              <a:ext uri="{FF2B5EF4-FFF2-40B4-BE49-F238E27FC236}">
                <a16:creationId xmlns:a16="http://schemas.microsoft.com/office/drawing/2014/main" id="{D9357A56-2640-46C6-8AAC-6E2D24B06230}"/>
              </a:ext>
            </a:extLst>
          </p:cNvPr>
          <p:cNvSpPr>
            <a:spLocks noChangeArrowheads="1"/>
          </p:cNvSpPr>
          <p:nvPr/>
        </p:nvSpPr>
        <p:spPr bwMode="auto">
          <a:xfrm>
            <a:off x="3823962" y="2371316"/>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95" name="Oval 673">
            <a:extLst>
              <a:ext uri="{FF2B5EF4-FFF2-40B4-BE49-F238E27FC236}">
                <a16:creationId xmlns:a16="http://schemas.microsoft.com/office/drawing/2014/main" id="{07BD94EA-7F2E-455E-896A-47D3CC563907}"/>
              </a:ext>
            </a:extLst>
          </p:cNvPr>
          <p:cNvSpPr>
            <a:spLocks noChangeArrowheads="1"/>
          </p:cNvSpPr>
          <p:nvPr/>
        </p:nvSpPr>
        <p:spPr bwMode="auto">
          <a:xfrm>
            <a:off x="3808397" y="2378291"/>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96" name="Oval 674">
            <a:extLst>
              <a:ext uri="{FF2B5EF4-FFF2-40B4-BE49-F238E27FC236}">
                <a16:creationId xmlns:a16="http://schemas.microsoft.com/office/drawing/2014/main" id="{2FA22D5D-770F-4603-9458-54574E956788}"/>
              </a:ext>
            </a:extLst>
          </p:cNvPr>
          <p:cNvSpPr>
            <a:spLocks noChangeArrowheads="1"/>
          </p:cNvSpPr>
          <p:nvPr/>
        </p:nvSpPr>
        <p:spPr bwMode="auto">
          <a:xfrm>
            <a:off x="6939390" y="4516233"/>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97" name="Oval 675">
            <a:extLst>
              <a:ext uri="{FF2B5EF4-FFF2-40B4-BE49-F238E27FC236}">
                <a16:creationId xmlns:a16="http://schemas.microsoft.com/office/drawing/2014/main" id="{4AB31499-398A-4ED0-BCD7-842C5E4370E5}"/>
              </a:ext>
            </a:extLst>
          </p:cNvPr>
          <p:cNvSpPr>
            <a:spLocks noChangeArrowheads="1"/>
          </p:cNvSpPr>
          <p:nvPr/>
        </p:nvSpPr>
        <p:spPr bwMode="auto">
          <a:xfrm>
            <a:off x="6954953" y="4470894"/>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98" name="Oval 676">
            <a:extLst>
              <a:ext uri="{FF2B5EF4-FFF2-40B4-BE49-F238E27FC236}">
                <a16:creationId xmlns:a16="http://schemas.microsoft.com/office/drawing/2014/main" id="{A54D406D-FD26-481A-8928-3404A7AB1894}"/>
              </a:ext>
            </a:extLst>
          </p:cNvPr>
          <p:cNvSpPr>
            <a:spLocks noChangeArrowheads="1"/>
          </p:cNvSpPr>
          <p:nvPr/>
        </p:nvSpPr>
        <p:spPr bwMode="auto">
          <a:xfrm>
            <a:off x="6954953" y="4470894"/>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99" name="Oval 677">
            <a:extLst>
              <a:ext uri="{FF2B5EF4-FFF2-40B4-BE49-F238E27FC236}">
                <a16:creationId xmlns:a16="http://schemas.microsoft.com/office/drawing/2014/main" id="{5D55AB9C-6479-46A2-843F-3E73FABF674C}"/>
              </a:ext>
            </a:extLst>
          </p:cNvPr>
          <p:cNvSpPr>
            <a:spLocks noChangeArrowheads="1"/>
          </p:cNvSpPr>
          <p:nvPr/>
        </p:nvSpPr>
        <p:spPr bwMode="auto">
          <a:xfrm>
            <a:off x="3801923" y="2384951"/>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00" name="Oval 678">
            <a:extLst>
              <a:ext uri="{FF2B5EF4-FFF2-40B4-BE49-F238E27FC236}">
                <a16:creationId xmlns:a16="http://schemas.microsoft.com/office/drawing/2014/main" id="{50AFD2D1-7B01-4FB5-8D6D-44B75507E978}"/>
              </a:ext>
            </a:extLst>
          </p:cNvPr>
          <p:cNvSpPr>
            <a:spLocks noChangeArrowheads="1"/>
          </p:cNvSpPr>
          <p:nvPr/>
        </p:nvSpPr>
        <p:spPr bwMode="auto">
          <a:xfrm>
            <a:off x="2965894" y="3891624"/>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01" name="Oval 679">
            <a:extLst>
              <a:ext uri="{FF2B5EF4-FFF2-40B4-BE49-F238E27FC236}">
                <a16:creationId xmlns:a16="http://schemas.microsoft.com/office/drawing/2014/main" id="{781B646D-CE85-4E92-95ED-DFA811DB5F74}"/>
              </a:ext>
            </a:extLst>
          </p:cNvPr>
          <p:cNvSpPr>
            <a:spLocks noChangeArrowheads="1"/>
          </p:cNvSpPr>
          <p:nvPr/>
        </p:nvSpPr>
        <p:spPr bwMode="auto">
          <a:xfrm>
            <a:off x="3532083" y="2728804"/>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02" name="Oval 680">
            <a:extLst>
              <a:ext uri="{FF2B5EF4-FFF2-40B4-BE49-F238E27FC236}">
                <a16:creationId xmlns:a16="http://schemas.microsoft.com/office/drawing/2014/main" id="{138FAABF-A3E6-48D6-8030-49F19C89B047}"/>
              </a:ext>
            </a:extLst>
          </p:cNvPr>
          <p:cNvSpPr>
            <a:spLocks noChangeArrowheads="1"/>
          </p:cNvSpPr>
          <p:nvPr/>
        </p:nvSpPr>
        <p:spPr bwMode="auto">
          <a:xfrm>
            <a:off x="2838755" y="4197113"/>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03" name="Oval 681">
            <a:extLst>
              <a:ext uri="{FF2B5EF4-FFF2-40B4-BE49-F238E27FC236}">
                <a16:creationId xmlns:a16="http://schemas.microsoft.com/office/drawing/2014/main" id="{1985F7E3-8C47-428B-BB63-A699FC867644}"/>
              </a:ext>
            </a:extLst>
          </p:cNvPr>
          <p:cNvSpPr>
            <a:spLocks noChangeArrowheads="1"/>
          </p:cNvSpPr>
          <p:nvPr/>
        </p:nvSpPr>
        <p:spPr bwMode="auto">
          <a:xfrm>
            <a:off x="2838755" y="4197113"/>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04" name="Oval 682">
            <a:extLst>
              <a:ext uri="{FF2B5EF4-FFF2-40B4-BE49-F238E27FC236}">
                <a16:creationId xmlns:a16="http://schemas.microsoft.com/office/drawing/2014/main" id="{48BB0126-E66D-4B8B-8CDE-E88B2D11F6FC}"/>
              </a:ext>
            </a:extLst>
          </p:cNvPr>
          <p:cNvSpPr>
            <a:spLocks noChangeArrowheads="1"/>
          </p:cNvSpPr>
          <p:nvPr/>
        </p:nvSpPr>
        <p:spPr bwMode="auto">
          <a:xfrm>
            <a:off x="4262705" y="2050135"/>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05" name="Oval 683">
            <a:extLst>
              <a:ext uri="{FF2B5EF4-FFF2-40B4-BE49-F238E27FC236}">
                <a16:creationId xmlns:a16="http://schemas.microsoft.com/office/drawing/2014/main" id="{F21AF656-04F6-4A12-A2DB-F5EAFA826671}"/>
              </a:ext>
            </a:extLst>
          </p:cNvPr>
          <p:cNvSpPr>
            <a:spLocks noChangeArrowheads="1"/>
          </p:cNvSpPr>
          <p:nvPr/>
        </p:nvSpPr>
        <p:spPr bwMode="auto">
          <a:xfrm>
            <a:off x="1408025" y="2887176"/>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06" name="Oval 684">
            <a:extLst>
              <a:ext uri="{FF2B5EF4-FFF2-40B4-BE49-F238E27FC236}">
                <a16:creationId xmlns:a16="http://schemas.microsoft.com/office/drawing/2014/main" id="{AA65C2B3-B436-4D4D-BC06-8CAE8232A3B4}"/>
              </a:ext>
            </a:extLst>
          </p:cNvPr>
          <p:cNvSpPr>
            <a:spLocks noChangeArrowheads="1"/>
          </p:cNvSpPr>
          <p:nvPr/>
        </p:nvSpPr>
        <p:spPr bwMode="auto">
          <a:xfrm>
            <a:off x="1094417" y="2310283"/>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07" name="Oval 685">
            <a:extLst>
              <a:ext uri="{FF2B5EF4-FFF2-40B4-BE49-F238E27FC236}">
                <a16:creationId xmlns:a16="http://schemas.microsoft.com/office/drawing/2014/main" id="{2C2A5F06-DC85-4FF2-9A3B-F423B8B90081}"/>
              </a:ext>
            </a:extLst>
          </p:cNvPr>
          <p:cNvSpPr>
            <a:spLocks noChangeArrowheads="1"/>
          </p:cNvSpPr>
          <p:nvPr/>
        </p:nvSpPr>
        <p:spPr bwMode="auto">
          <a:xfrm>
            <a:off x="3845690" y="2645100"/>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08" name="Oval 686">
            <a:extLst>
              <a:ext uri="{FF2B5EF4-FFF2-40B4-BE49-F238E27FC236}">
                <a16:creationId xmlns:a16="http://schemas.microsoft.com/office/drawing/2014/main" id="{04A35347-A76F-4A8D-A81B-11EAF333F64D}"/>
              </a:ext>
            </a:extLst>
          </p:cNvPr>
          <p:cNvSpPr>
            <a:spLocks noChangeArrowheads="1"/>
          </p:cNvSpPr>
          <p:nvPr/>
        </p:nvSpPr>
        <p:spPr bwMode="auto">
          <a:xfrm>
            <a:off x="3628709" y="2796813"/>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09" name="Oval 687">
            <a:extLst>
              <a:ext uri="{FF2B5EF4-FFF2-40B4-BE49-F238E27FC236}">
                <a16:creationId xmlns:a16="http://schemas.microsoft.com/office/drawing/2014/main" id="{15BC562E-FE06-4C54-9973-1CDACE53A5B9}"/>
              </a:ext>
            </a:extLst>
          </p:cNvPr>
          <p:cNvSpPr>
            <a:spLocks noChangeArrowheads="1"/>
          </p:cNvSpPr>
          <p:nvPr/>
        </p:nvSpPr>
        <p:spPr bwMode="auto">
          <a:xfrm>
            <a:off x="6171475" y="288051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10" name="Oval 688">
            <a:extLst>
              <a:ext uri="{FF2B5EF4-FFF2-40B4-BE49-F238E27FC236}">
                <a16:creationId xmlns:a16="http://schemas.microsoft.com/office/drawing/2014/main" id="{7E8C3D01-1C54-4860-A968-DA3D4AEF50C5}"/>
              </a:ext>
            </a:extLst>
          </p:cNvPr>
          <p:cNvSpPr>
            <a:spLocks noChangeArrowheads="1"/>
          </p:cNvSpPr>
          <p:nvPr/>
        </p:nvSpPr>
        <p:spPr bwMode="auto">
          <a:xfrm>
            <a:off x="6454569" y="2828201"/>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11" name="Oval 689">
            <a:extLst>
              <a:ext uri="{FF2B5EF4-FFF2-40B4-BE49-F238E27FC236}">
                <a16:creationId xmlns:a16="http://schemas.microsoft.com/office/drawing/2014/main" id="{FB3A4992-B051-4183-8A0E-A435CBD074E2}"/>
              </a:ext>
            </a:extLst>
          </p:cNvPr>
          <p:cNvSpPr>
            <a:spLocks noChangeArrowheads="1"/>
          </p:cNvSpPr>
          <p:nvPr/>
        </p:nvSpPr>
        <p:spPr bwMode="auto">
          <a:xfrm>
            <a:off x="6426058" y="2842152"/>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12" name="Oval 690">
            <a:extLst>
              <a:ext uri="{FF2B5EF4-FFF2-40B4-BE49-F238E27FC236}">
                <a16:creationId xmlns:a16="http://schemas.microsoft.com/office/drawing/2014/main" id="{F0FA8F81-A2C2-4731-AF85-82A0E27DDC9B}"/>
              </a:ext>
            </a:extLst>
          </p:cNvPr>
          <p:cNvSpPr>
            <a:spLocks noChangeArrowheads="1"/>
          </p:cNvSpPr>
          <p:nvPr/>
        </p:nvSpPr>
        <p:spPr bwMode="auto">
          <a:xfrm>
            <a:off x="5776498" y="288051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13" name="Oval 691">
            <a:extLst>
              <a:ext uri="{FF2B5EF4-FFF2-40B4-BE49-F238E27FC236}">
                <a16:creationId xmlns:a16="http://schemas.microsoft.com/office/drawing/2014/main" id="{603B9AC7-9A7A-4209-A567-A99BC7A9892B}"/>
              </a:ext>
            </a:extLst>
          </p:cNvPr>
          <p:cNvSpPr>
            <a:spLocks noChangeArrowheads="1"/>
          </p:cNvSpPr>
          <p:nvPr/>
        </p:nvSpPr>
        <p:spPr bwMode="auto">
          <a:xfrm>
            <a:off x="2191505" y="2552358"/>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14" name="Oval 692">
            <a:extLst>
              <a:ext uri="{FF2B5EF4-FFF2-40B4-BE49-F238E27FC236}">
                <a16:creationId xmlns:a16="http://schemas.microsoft.com/office/drawing/2014/main" id="{F3A89DB8-5619-4B45-8230-19975B7698B8}"/>
              </a:ext>
            </a:extLst>
          </p:cNvPr>
          <p:cNvSpPr>
            <a:spLocks noChangeArrowheads="1"/>
          </p:cNvSpPr>
          <p:nvPr/>
        </p:nvSpPr>
        <p:spPr bwMode="auto">
          <a:xfrm>
            <a:off x="2138647" y="274449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16" name="Oval 694">
            <a:extLst>
              <a:ext uri="{FF2B5EF4-FFF2-40B4-BE49-F238E27FC236}">
                <a16:creationId xmlns:a16="http://schemas.microsoft.com/office/drawing/2014/main" id="{8463A3A2-4FFA-4495-8AA4-559DD9B831AB}"/>
              </a:ext>
            </a:extLst>
          </p:cNvPr>
          <p:cNvSpPr>
            <a:spLocks noChangeArrowheads="1"/>
          </p:cNvSpPr>
          <p:nvPr/>
        </p:nvSpPr>
        <p:spPr bwMode="auto">
          <a:xfrm>
            <a:off x="5285205" y="3108959"/>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17" name="Oval 695">
            <a:extLst>
              <a:ext uri="{FF2B5EF4-FFF2-40B4-BE49-F238E27FC236}">
                <a16:creationId xmlns:a16="http://schemas.microsoft.com/office/drawing/2014/main" id="{D55DE9F8-B628-46B9-A304-E18563596D68}"/>
              </a:ext>
            </a:extLst>
          </p:cNvPr>
          <p:cNvSpPr>
            <a:spLocks noChangeArrowheads="1"/>
          </p:cNvSpPr>
          <p:nvPr/>
        </p:nvSpPr>
        <p:spPr bwMode="auto">
          <a:xfrm>
            <a:off x="3973137" y="2629405"/>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18" name="Oval 696">
            <a:extLst>
              <a:ext uri="{FF2B5EF4-FFF2-40B4-BE49-F238E27FC236}">
                <a16:creationId xmlns:a16="http://schemas.microsoft.com/office/drawing/2014/main" id="{CCA2CDC3-BA96-4B64-931F-C27A6DA17688}"/>
              </a:ext>
            </a:extLst>
          </p:cNvPr>
          <p:cNvSpPr>
            <a:spLocks noChangeArrowheads="1"/>
          </p:cNvSpPr>
          <p:nvPr/>
        </p:nvSpPr>
        <p:spPr bwMode="auto">
          <a:xfrm>
            <a:off x="1781272" y="3025255"/>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19" name="Oval 697">
            <a:extLst>
              <a:ext uri="{FF2B5EF4-FFF2-40B4-BE49-F238E27FC236}">
                <a16:creationId xmlns:a16="http://schemas.microsoft.com/office/drawing/2014/main" id="{E7E5989D-0873-466B-BA9A-0072FF7F5707}"/>
              </a:ext>
            </a:extLst>
          </p:cNvPr>
          <p:cNvSpPr>
            <a:spLocks noChangeArrowheads="1"/>
          </p:cNvSpPr>
          <p:nvPr/>
        </p:nvSpPr>
        <p:spPr bwMode="auto">
          <a:xfrm>
            <a:off x="3861256" y="2455021"/>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20" name="Oval 698">
            <a:extLst>
              <a:ext uri="{FF2B5EF4-FFF2-40B4-BE49-F238E27FC236}">
                <a16:creationId xmlns:a16="http://schemas.microsoft.com/office/drawing/2014/main" id="{1412381A-5D22-4075-BA3F-95B241A0F7F8}"/>
              </a:ext>
            </a:extLst>
          </p:cNvPr>
          <p:cNvSpPr>
            <a:spLocks noChangeArrowheads="1"/>
          </p:cNvSpPr>
          <p:nvPr/>
        </p:nvSpPr>
        <p:spPr bwMode="auto">
          <a:xfrm>
            <a:off x="1103200" y="2819482"/>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21" name="Oval 699">
            <a:extLst>
              <a:ext uri="{FF2B5EF4-FFF2-40B4-BE49-F238E27FC236}">
                <a16:creationId xmlns:a16="http://schemas.microsoft.com/office/drawing/2014/main" id="{5907691C-BB96-4E55-AE74-6F9FAF1E222C}"/>
              </a:ext>
            </a:extLst>
          </p:cNvPr>
          <p:cNvSpPr>
            <a:spLocks noChangeArrowheads="1"/>
          </p:cNvSpPr>
          <p:nvPr/>
        </p:nvSpPr>
        <p:spPr bwMode="auto">
          <a:xfrm>
            <a:off x="2601737" y="4448224"/>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22" name="Oval 700">
            <a:extLst>
              <a:ext uri="{FF2B5EF4-FFF2-40B4-BE49-F238E27FC236}">
                <a16:creationId xmlns:a16="http://schemas.microsoft.com/office/drawing/2014/main" id="{2B29F7B8-DE18-4C87-9953-8C6BE05CE6F5}"/>
              </a:ext>
            </a:extLst>
          </p:cNvPr>
          <p:cNvSpPr>
            <a:spLocks noChangeArrowheads="1"/>
          </p:cNvSpPr>
          <p:nvPr/>
        </p:nvSpPr>
        <p:spPr bwMode="auto">
          <a:xfrm>
            <a:off x="2272566" y="5110882"/>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23" name="Oval 701">
            <a:extLst>
              <a:ext uri="{FF2B5EF4-FFF2-40B4-BE49-F238E27FC236}">
                <a16:creationId xmlns:a16="http://schemas.microsoft.com/office/drawing/2014/main" id="{8F574B6A-6F4B-49E3-8BC9-93B5FB1E0B2D}"/>
              </a:ext>
            </a:extLst>
          </p:cNvPr>
          <p:cNvSpPr>
            <a:spLocks noChangeArrowheads="1"/>
          </p:cNvSpPr>
          <p:nvPr/>
        </p:nvSpPr>
        <p:spPr bwMode="auto">
          <a:xfrm>
            <a:off x="3979610" y="2310283"/>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24" name="Oval 702">
            <a:extLst>
              <a:ext uri="{FF2B5EF4-FFF2-40B4-BE49-F238E27FC236}">
                <a16:creationId xmlns:a16="http://schemas.microsoft.com/office/drawing/2014/main" id="{43B17675-38F9-4232-8F99-9A4B7AC2A26D}"/>
              </a:ext>
            </a:extLst>
          </p:cNvPr>
          <p:cNvSpPr>
            <a:spLocks noChangeArrowheads="1"/>
          </p:cNvSpPr>
          <p:nvPr/>
        </p:nvSpPr>
        <p:spPr bwMode="auto">
          <a:xfrm>
            <a:off x="3808397" y="2384951"/>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25" name="Oval 703">
            <a:extLst>
              <a:ext uri="{FF2B5EF4-FFF2-40B4-BE49-F238E27FC236}">
                <a16:creationId xmlns:a16="http://schemas.microsoft.com/office/drawing/2014/main" id="{BA51DE1B-D01A-4AE5-AF1F-A39E7605164A}"/>
              </a:ext>
            </a:extLst>
          </p:cNvPr>
          <p:cNvSpPr>
            <a:spLocks noChangeArrowheads="1"/>
          </p:cNvSpPr>
          <p:nvPr/>
        </p:nvSpPr>
        <p:spPr bwMode="auto">
          <a:xfrm>
            <a:off x="3808397" y="2384951"/>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26" name="Oval 704">
            <a:extLst>
              <a:ext uri="{FF2B5EF4-FFF2-40B4-BE49-F238E27FC236}">
                <a16:creationId xmlns:a16="http://schemas.microsoft.com/office/drawing/2014/main" id="{46499650-1C31-4394-AA74-2C2EEC642DE0}"/>
              </a:ext>
            </a:extLst>
          </p:cNvPr>
          <p:cNvSpPr>
            <a:spLocks noChangeArrowheads="1"/>
          </p:cNvSpPr>
          <p:nvPr/>
        </p:nvSpPr>
        <p:spPr bwMode="auto">
          <a:xfrm>
            <a:off x="3808397" y="2384951"/>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27" name="Oval 705">
            <a:extLst>
              <a:ext uri="{FF2B5EF4-FFF2-40B4-BE49-F238E27FC236}">
                <a16:creationId xmlns:a16="http://schemas.microsoft.com/office/drawing/2014/main" id="{2138EE72-D667-42A9-8798-70EB10E34B90}"/>
              </a:ext>
            </a:extLst>
          </p:cNvPr>
          <p:cNvSpPr>
            <a:spLocks noChangeArrowheads="1"/>
          </p:cNvSpPr>
          <p:nvPr/>
        </p:nvSpPr>
        <p:spPr bwMode="auto">
          <a:xfrm>
            <a:off x="3808397" y="2384951"/>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28" name="Oval 706">
            <a:extLst>
              <a:ext uri="{FF2B5EF4-FFF2-40B4-BE49-F238E27FC236}">
                <a16:creationId xmlns:a16="http://schemas.microsoft.com/office/drawing/2014/main" id="{32C2008C-F970-402E-BD71-FD805E95F7E3}"/>
              </a:ext>
            </a:extLst>
          </p:cNvPr>
          <p:cNvSpPr>
            <a:spLocks noChangeArrowheads="1"/>
          </p:cNvSpPr>
          <p:nvPr/>
        </p:nvSpPr>
        <p:spPr bwMode="auto">
          <a:xfrm>
            <a:off x="3808397" y="2378291"/>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29" name="Oval 707">
            <a:extLst>
              <a:ext uri="{FF2B5EF4-FFF2-40B4-BE49-F238E27FC236}">
                <a16:creationId xmlns:a16="http://schemas.microsoft.com/office/drawing/2014/main" id="{63925D1F-2368-45C0-ABED-4AECDDECDBA5}"/>
              </a:ext>
            </a:extLst>
          </p:cNvPr>
          <p:cNvSpPr>
            <a:spLocks noChangeArrowheads="1"/>
          </p:cNvSpPr>
          <p:nvPr/>
        </p:nvSpPr>
        <p:spPr bwMode="auto">
          <a:xfrm>
            <a:off x="3808397" y="2384951"/>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30" name="Oval 708">
            <a:extLst>
              <a:ext uri="{FF2B5EF4-FFF2-40B4-BE49-F238E27FC236}">
                <a16:creationId xmlns:a16="http://schemas.microsoft.com/office/drawing/2014/main" id="{354D1908-7875-4F31-9BE7-A12719DAA9C7}"/>
              </a:ext>
            </a:extLst>
          </p:cNvPr>
          <p:cNvSpPr>
            <a:spLocks noChangeArrowheads="1"/>
          </p:cNvSpPr>
          <p:nvPr/>
        </p:nvSpPr>
        <p:spPr bwMode="auto">
          <a:xfrm>
            <a:off x="3808397" y="2384951"/>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31" name="Oval 709">
            <a:extLst>
              <a:ext uri="{FF2B5EF4-FFF2-40B4-BE49-F238E27FC236}">
                <a16:creationId xmlns:a16="http://schemas.microsoft.com/office/drawing/2014/main" id="{DF58AAF7-F0F1-44AA-8BBF-1F49987CB94E}"/>
              </a:ext>
            </a:extLst>
          </p:cNvPr>
          <p:cNvSpPr>
            <a:spLocks noChangeArrowheads="1"/>
          </p:cNvSpPr>
          <p:nvPr/>
        </p:nvSpPr>
        <p:spPr bwMode="auto">
          <a:xfrm>
            <a:off x="4010430" y="2362281"/>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32" name="Oval 710">
            <a:extLst>
              <a:ext uri="{FF2B5EF4-FFF2-40B4-BE49-F238E27FC236}">
                <a16:creationId xmlns:a16="http://schemas.microsoft.com/office/drawing/2014/main" id="{D0B66A63-7975-4F2D-9B9D-266CBE49A96C}"/>
              </a:ext>
            </a:extLst>
          </p:cNvPr>
          <p:cNvSpPr>
            <a:spLocks noChangeArrowheads="1"/>
          </p:cNvSpPr>
          <p:nvPr/>
        </p:nvSpPr>
        <p:spPr bwMode="auto">
          <a:xfrm>
            <a:off x="3690041" y="2371316"/>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33" name="Oval 711">
            <a:extLst>
              <a:ext uri="{FF2B5EF4-FFF2-40B4-BE49-F238E27FC236}">
                <a16:creationId xmlns:a16="http://schemas.microsoft.com/office/drawing/2014/main" id="{5C82F663-B1D1-42A1-921D-938B62CEB70B}"/>
              </a:ext>
            </a:extLst>
          </p:cNvPr>
          <p:cNvSpPr>
            <a:spLocks noChangeArrowheads="1"/>
          </p:cNvSpPr>
          <p:nvPr/>
        </p:nvSpPr>
        <p:spPr bwMode="auto">
          <a:xfrm>
            <a:off x="3867728" y="2400962"/>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34" name="Oval 712">
            <a:extLst>
              <a:ext uri="{FF2B5EF4-FFF2-40B4-BE49-F238E27FC236}">
                <a16:creationId xmlns:a16="http://schemas.microsoft.com/office/drawing/2014/main" id="{1EF510DE-8792-400D-92C2-A56427ACD027}"/>
              </a:ext>
            </a:extLst>
          </p:cNvPr>
          <p:cNvSpPr>
            <a:spLocks noChangeArrowheads="1"/>
          </p:cNvSpPr>
          <p:nvPr/>
        </p:nvSpPr>
        <p:spPr bwMode="auto">
          <a:xfrm>
            <a:off x="5717474" y="1914432"/>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35" name="Oval 713">
            <a:extLst>
              <a:ext uri="{FF2B5EF4-FFF2-40B4-BE49-F238E27FC236}">
                <a16:creationId xmlns:a16="http://schemas.microsoft.com/office/drawing/2014/main" id="{26905592-DC93-4DC0-B396-115328E6B7ED}"/>
              </a:ext>
            </a:extLst>
          </p:cNvPr>
          <p:cNvSpPr>
            <a:spLocks noChangeArrowheads="1"/>
          </p:cNvSpPr>
          <p:nvPr/>
        </p:nvSpPr>
        <p:spPr bwMode="auto">
          <a:xfrm>
            <a:off x="4844151" y="3169993"/>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36" name="Oval 714">
            <a:extLst>
              <a:ext uri="{FF2B5EF4-FFF2-40B4-BE49-F238E27FC236}">
                <a16:creationId xmlns:a16="http://schemas.microsoft.com/office/drawing/2014/main" id="{81607B62-9BD4-4615-8172-A42ACBDFEFFF}"/>
              </a:ext>
            </a:extLst>
          </p:cNvPr>
          <p:cNvSpPr>
            <a:spLocks noChangeArrowheads="1"/>
          </p:cNvSpPr>
          <p:nvPr/>
        </p:nvSpPr>
        <p:spPr bwMode="auto">
          <a:xfrm>
            <a:off x="2197978" y="2500360"/>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37" name="Oval 715">
            <a:extLst>
              <a:ext uri="{FF2B5EF4-FFF2-40B4-BE49-F238E27FC236}">
                <a16:creationId xmlns:a16="http://schemas.microsoft.com/office/drawing/2014/main" id="{CCB1AAD8-56CF-42D0-B51A-7101121C6029}"/>
              </a:ext>
            </a:extLst>
          </p:cNvPr>
          <p:cNvSpPr>
            <a:spLocks noChangeArrowheads="1"/>
          </p:cNvSpPr>
          <p:nvPr/>
        </p:nvSpPr>
        <p:spPr bwMode="auto">
          <a:xfrm>
            <a:off x="2303387" y="2606735"/>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38" name="Oval 716">
            <a:extLst>
              <a:ext uri="{FF2B5EF4-FFF2-40B4-BE49-F238E27FC236}">
                <a16:creationId xmlns:a16="http://schemas.microsoft.com/office/drawing/2014/main" id="{02A7C43D-B406-4CA4-A2F1-A1B4D5A99918}"/>
              </a:ext>
            </a:extLst>
          </p:cNvPr>
          <p:cNvSpPr>
            <a:spLocks noChangeArrowheads="1"/>
          </p:cNvSpPr>
          <p:nvPr/>
        </p:nvSpPr>
        <p:spPr bwMode="auto">
          <a:xfrm>
            <a:off x="2570916" y="362687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39" name="Oval 717">
            <a:extLst>
              <a:ext uri="{FF2B5EF4-FFF2-40B4-BE49-F238E27FC236}">
                <a16:creationId xmlns:a16="http://schemas.microsoft.com/office/drawing/2014/main" id="{228D9A35-6E9D-46FC-80FA-F7A4C358D4DB}"/>
              </a:ext>
            </a:extLst>
          </p:cNvPr>
          <p:cNvSpPr>
            <a:spLocks noChangeArrowheads="1"/>
          </p:cNvSpPr>
          <p:nvPr/>
        </p:nvSpPr>
        <p:spPr bwMode="auto">
          <a:xfrm>
            <a:off x="3861256" y="2484666"/>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40" name="Oval 718">
            <a:extLst>
              <a:ext uri="{FF2B5EF4-FFF2-40B4-BE49-F238E27FC236}">
                <a16:creationId xmlns:a16="http://schemas.microsoft.com/office/drawing/2014/main" id="{BE55832C-2689-4BEF-89B5-71150B43D434}"/>
              </a:ext>
            </a:extLst>
          </p:cNvPr>
          <p:cNvSpPr>
            <a:spLocks noChangeArrowheads="1"/>
          </p:cNvSpPr>
          <p:nvPr/>
        </p:nvSpPr>
        <p:spPr bwMode="auto">
          <a:xfrm>
            <a:off x="3749374" y="2652074"/>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41" name="Oval 719">
            <a:extLst>
              <a:ext uri="{FF2B5EF4-FFF2-40B4-BE49-F238E27FC236}">
                <a16:creationId xmlns:a16="http://schemas.microsoft.com/office/drawing/2014/main" id="{504057FE-CCCA-4072-94DD-FC74BAF018D4}"/>
              </a:ext>
            </a:extLst>
          </p:cNvPr>
          <p:cNvSpPr>
            <a:spLocks noChangeArrowheads="1"/>
          </p:cNvSpPr>
          <p:nvPr/>
        </p:nvSpPr>
        <p:spPr bwMode="auto">
          <a:xfrm>
            <a:off x="4866187" y="3337402"/>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42" name="Oval 720">
            <a:extLst>
              <a:ext uri="{FF2B5EF4-FFF2-40B4-BE49-F238E27FC236}">
                <a16:creationId xmlns:a16="http://schemas.microsoft.com/office/drawing/2014/main" id="{7D2E862E-4760-44FC-90EA-E28ED5DAE2E5}"/>
              </a:ext>
            </a:extLst>
          </p:cNvPr>
          <p:cNvSpPr>
            <a:spLocks noChangeArrowheads="1"/>
          </p:cNvSpPr>
          <p:nvPr/>
        </p:nvSpPr>
        <p:spPr bwMode="auto">
          <a:xfrm>
            <a:off x="4866187" y="3337402"/>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43" name="Oval 721">
            <a:extLst>
              <a:ext uri="{FF2B5EF4-FFF2-40B4-BE49-F238E27FC236}">
                <a16:creationId xmlns:a16="http://schemas.microsoft.com/office/drawing/2014/main" id="{736F062C-BF44-4CB4-84EB-E44589C623DD}"/>
              </a:ext>
            </a:extLst>
          </p:cNvPr>
          <p:cNvSpPr>
            <a:spLocks noChangeArrowheads="1"/>
          </p:cNvSpPr>
          <p:nvPr/>
        </p:nvSpPr>
        <p:spPr bwMode="auto">
          <a:xfrm>
            <a:off x="4100275" y="4470894"/>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44" name="Oval 722">
            <a:extLst>
              <a:ext uri="{FF2B5EF4-FFF2-40B4-BE49-F238E27FC236}">
                <a16:creationId xmlns:a16="http://schemas.microsoft.com/office/drawing/2014/main" id="{541159D7-C5A8-4DD4-8E8D-74ECECB3CF6E}"/>
              </a:ext>
            </a:extLst>
          </p:cNvPr>
          <p:cNvSpPr>
            <a:spLocks noChangeArrowheads="1"/>
          </p:cNvSpPr>
          <p:nvPr/>
        </p:nvSpPr>
        <p:spPr bwMode="auto">
          <a:xfrm>
            <a:off x="3712080" y="2317257"/>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45" name="Oval 723">
            <a:extLst>
              <a:ext uri="{FF2B5EF4-FFF2-40B4-BE49-F238E27FC236}">
                <a16:creationId xmlns:a16="http://schemas.microsoft.com/office/drawing/2014/main" id="{B5D1514E-9E77-48A6-8676-10F658C7717B}"/>
              </a:ext>
            </a:extLst>
          </p:cNvPr>
          <p:cNvSpPr>
            <a:spLocks noChangeArrowheads="1"/>
          </p:cNvSpPr>
          <p:nvPr/>
        </p:nvSpPr>
        <p:spPr bwMode="auto">
          <a:xfrm>
            <a:off x="3935844" y="2378291"/>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46" name="Oval 724">
            <a:extLst>
              <a:ext uri="{FF2B5EF4-FFF2-40B4-BE49-F238E27FC236}">
                <a16:creationId xmlns:a16="http://schemas.microsoft.com/office/drawing/2014/main" id="{22F5C0F6-C18D-4D53-823D-E1AB7382C81A}"/>
              </a:ext>
            </a:extLst>
          </p:cNvPr>
          <p:cNvSpPr>
            <a:spLocks noChangeArrowheads="1"/>
          </p:cNvSpPr>
          <p:nvPr/>
        </p:nvSpPr>
        <p:spPr bwMode="auto">
          <a:xfrm>
            <a:off x="1557201" y="3246722"/>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47" name="Oval 725">
            <a:extLst>
              <a:ext uri="{FF2B5EF4-FFF2-40B4-BE49-F238E27FC236}">
                <a16:creationId xmlns:a16="http://schemas.microsoft.com/office/drawing/2014/main" id="{5633AE4D-D2D8-4270-8D98-52B561B11829}"/>
              </a:ext>
            </a:extLst>
          </p:cNvPr>
          <p:cNvSpPr>
            <a:spLocks noChangeArrowheads="1"/>
          </p:cNvSpPr>
          <p:nvPr/>
        </p:nvSpPr>
        <p:spPr bwMode="auto">
          <a:xfrm>
            <a:off x="6140961" y="3656523"/>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48" name="Oval 726">
            <a:extLst>
              <a:ext uri="{FF2B5EF4-FFF2-40B4-BE49-F238E27FC236}">
                <a16:creationId xmlns:a16="http://schemas.microsoft.com/office/drawing/2014/main" id="{5787B8EC-6B3E-4AFC-B8C2-A8A53BFC7F81}"/>
              </a:ext>
            </a:extLst>
          </p:cNvPr>
          <p:cNvSpPr>
            <a:spLocks noChangeArrowheads="1"/>
          </p:cNvSpPr>
          <p:nvPr/>
        </p:nvSpPr>
        <p:spPr bwMode="auto">
          <a:xfrm>
            <a:off x="6134181" y="364954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49" name="Oval 727">
            <a:extLst>
              <a:ext uri="{FF2B5EF4-FFF2-40B4-BE49-F238E27FC236}">
                <a16:creationId xmlns:a16="http://schemas.microsoft.com/office/drawing/2014/main" id="{E204797C-3564-4FF6-BD71-76BECD431C2C}"/>
              </a:ext>
            </a:extLst>
          </p:cNvPr>
          <p:cNvSpPr>
            <a:spLocks noChangeArrowheads="1"/>
          </p:cNvSpPr>
          <p:nvPr/>
        </p:nvSpPr>
        <p:spPr bwMode="auto">
          <a:xfrm>
            <a:off x="3905023" y="275844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50" name="Oval 728">
            <a:extLst>
              <a:ext uri="{FF2B5EF4-FFF2-40B4-BE49-F238E27FC236}">
                <a16:creationId xmlns:a16="http://schemas.microsoft.com/office/drawing/2014/main" id="{8D10495B-6525-44F9-A1EB-CE0D41CBFE91}"/>
              </a:ext>
            </a:extLst>
          </p:cNvPr>
          <p:cNvSpPr>
            <a:spLocks noChangeArrowheads="1"/>
          </p:cNvSpPr>
          <p:nvPr/>
        </p:nvSpPr>
        <p:spPr bwMode="auto">
          <a:xfrm>
            <a:off x="4308782" y="4319181"/>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51" name="Oval 729">
            <a:extLst>
              <a:ext uri="{FF2B5EF4-FFF2-40B4-BE49-F238E27FC236}">
                <a16:creationId xmlns:a16="http://schemas.microsoft.com/office/drawing/2014/main" id="{CF7EC78B-E00C-4B26-B65A-D330CC0A89DD}"/>
              </a:ext>
            </a:extLst>
          </p:cNvPr>
          <p:cNvSpPr>
            <a:spLocks noChangeArrowheads="1"/>
          </p:cNvSpPr>
          <p:nvPr/>
        </p:nvSpPr>
        <p:spPr bwMode="auto">
          <a:xfrm>
            <a:off x="3852471" y="2081839"/>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52" name="Oval 730">
            <a:extLst>
              <a:ext uri="{FF2B5EF4-FFF2-40B4-BE49-F238E27FC236}">
                <a16:creationId xmlns:a16="http://schemas.microsoft.com/office/drawing/2014/main" id="{22C6329E-DA6B-4E3B-8B99-EB999346D4C9}"/>
              </a:ext>
            </a:extLst>
          </p:cNvPr>
          <p:cNvSpPr>
            <a:spLocks noChangeArrowheads="1"/>
          </p:cNvSpPr>
          <p:nvPr/>
        </p:nvSpPr>
        <p:spPr bwMode="auto">
          <a:xfrm>
            <a:off x="4672938" y="317696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53" name="Oval 731">
            <a:extLst>
              <a:ext uri="{FF2B5EF4-FFF2-40B4-BE49-F238E27FC236}">
                <a16:creationId xmlns:a16="http://schemas.microsoft.com/office/drawing/2014/main" id="{65ED8569-C269-4FF2-A306-AB79E66981BB}"/>
              </a:ext>
            </a:extLst>
          </p:cNvPr>
          <p:cNvSpPr>
            <a:spLocks noChangeArrowheads="1"/>
          </p:cNvSpPr>
          <p:nvPr/>
        </p:nvSpPr>
        <p:spPr bwMode="auto">
          <a:xfrm>
            <a:off x="3920279" y="2287613"/>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54" name="Oval 732">
            <a:extLst>
              <a:ext uri="{FF2B5EF4-FFF2-40B4-BE49-F238E27FC236}">
                <a16:creationId xmlns:a16="http://schemas.microsoft.com/office/drawing/2014/main" id="{1EC7C17D-F53A-46F2-B03A-863E6814611B}"/>
              </a:ext>
            </a:extLst>
          </p:cNvPr>
          <p:cNvSpPr>
            <a:spLocks noChangeArrowheads="1"/>
          </p:cNvSpPr>
          <p:nvPr/>
        </p:nvSpPr>
        <p:spPr bwMode="auto">
          <a:xfrm>
            <a:off x="3920279" y="2301247"/>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55" name="Oval 733">
            <a:extLst>
              <a:ext uri="{FF2B5EF4-FFF2-40B4-BE49-F238E27FC236}">
                <a16:creationId xmlns:a16="http://schemas.microsoft.com/office/drawing/2014/main" id="{9F53FF0F-6EFC-460E-AFC0-089371C6356C}"/>
              </a:ext>
            </a:extLst>
          </p:cNvPr>
          <p:cNvSpPr>
            <a:spLocks noChangeArrowheads="1"/>
          </p:cNvSpPr>
          <p:nvPr/>
        </p:nvSpPr>
        <p:spPr bwMode="auto">
          <a:xfrm>
            <a:off x="3637492" y="2188215"/>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56" name="Oval 734">
            <a:extLst>
              <a:ext uri="{FF2B5EF4-FFF2-40B4-BE49-F238E27FC236}">
                <a16:creationId xmlns:a16="http://schemas.microsoft.com/office/drawing/2014/main" id="{651037C5-2144-4643-81F9-BEAC2554D878}"/>
              </a:ext>
            </a:extLst>
          </p:cNvPr>
          <p:cNvSpPr>
            <a:spLocks noChangeArrowheads="1"/>
          </p:cNvSpPr>
          <p:nvPr/>
        </p:nvSpPr>
        <p:spPr bwMode="auto">
          <a:xfrm>
            <a:off x="4405407" y="3031914"/>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57" name="Oval 735">
            <a:extLst>
              <a:ext uri="{FF2B5EF4-FFF2-40B4-BE49-F238E27FC236}">
                <a16:creationId xmlns:a16="http://schemas.microsoft.com/office/drawing/2014/main" id="{14BD8F8D-D34D-4CAD-BA9D-F2EF86ED482B}"/>
              </a:ext>
            </a:extLst>
          </p:cNvPr>
          <p:cNvSpPr>
            <a:spLocks noChangeArrowheads="1"/>
          </p:cNvSpPr>
          <p:nvPr/>
        </p:nvSpPr>
        <p:spPr bwMode="auto">
          <a:xfrm>
            <a:off x="3876510" y="2538725"/>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58" name="Oval 736">
            <a:extLst>
              <a:ext uri="{FF2B5EF4-FFF2-40B4-BE49-F238E27FC236}">
                <a16:creationId xmlns:a16="http://schemas.microsoft.com/office/drawing/2014/main" id="{53CE16DF-A6EB-4C89-9599-ED36D1B2E6FC}"/>
              </a:ext>
            </a:extLst>
          </p:cNvPr>
          <p:cNvSpPr>
            <a:spLocks noChangeArrowheads="1"/>
          </p:cNvSpPr>
          <p:nvPr/>
        </p:nvSpPr>
        <p:spPr bwMode="auto">
          <a:xfrm>
            <a:off x="6417276" y="2850872"/>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59" name="Oval 737">
            <a:extLst>
              <a:ext uri="{FF2B5EF4-FFF2-40B4-BE49-F238E27FC236}">
                <a16:creationId xmlns:a16="http://schemas.microsoft.com/office/drawing/2014/main" id="{3A05AC77-61E9-4CA4-83B6-24DAAA8A973E}"/>
              </a:ext>
            </a:extLst>
          </p:cNvPr>
          <p:cNvSpPr>
            <a:spLocks noChangeArrowheads="1"/>
          </p:cNvSpPr>
          <p:nvPr/>
        </p:nvSpPr>
        <p:spPr bwMode="auto">
          <a:xfrm>
            <a:off x="2309860" y="243932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60" name="Oval 738">
            <a:extLst>
              <a:ext uri="{FF2B5EF4-FFF2-40B4-BE49-F238E27FC236}">
                <a16:creationId xmlns:a16="http://schemas.microsoft.com/office/drawing/2014/main" id="{BCDD56FC-BD5A-4791-9996-8001E310FAD2}"/>
              </a:ext>
            </a:extLst>
          </p:cNvPr>
          <p:cNvSpPr>
            <a:spLocks noChangeArrowheads="1"/>
          </p:cNvSpPr>
          <p:nvPr/>
        </p:nvSpPr>
        <p:spPr bwMode="auto">
          <a:xfrm>
            <a:off x="3637492" y="2758447"/>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61" name="Oval 739">
            <a:extLst>
              <a:ext uri="{FF2B5EF4-FFF2-40B4-BE49-F238E27FC236}">
                <a16:creationId xmlns:a16="http://schemas.microsoft.com/office/drawing/2014/main" id="{D11D8D01-9155-418E-A78C-638449CA2968}"/>
              </a:ext>
            </a:extLst>
          </p:cNvPr>
          <p:cNvSpPr>
            <a:spLocks noChangeArrowheads="1"/>
          </p:cNvSpPr>
          <p:nvPr/>
        </p:nvSpPr>
        <p:spPr bwMode="auto">
          <a:xfrm>
            <a:off x="3591414" y="2660793"/>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62" name="Oval 740">
            <a:extLst>
              <a:ext uri="{FF2B5EF4-FFF2-40B4-BE49-F238E27FC236}">
                <a16:creationId xmlns:a16="http://schemas.microsoft.com/office/drawing/2014/main" id="{C3ABB04B-D82A-4532-80D9-2D2DFF135397}"/>
              </a:ext>
            </a:extLst>
          </p:cNvPr>
          <p:cNvSpPr>
            <a:spLocks noChangeArrowheads="1"/>
          </p:cNvSpPr>
          <p:nvPr/>
        </p:nvSpPr>
        <p:spPr bwMode="auto">
          <a:xfrm>
            <a:off x="3525611" y="2803471"/>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63" name="Oval 741">
            <a:extLst>
              <a:ext uri="{FF2B5EF4-FFF2-40B4-BE49-F238E27FC236}">
                <a16:creationId xmlns:a16="http://schemas.microsoft.com/office/drawing/2014/main" id="{5DFFB1E6-C66E-4848-BD85-5E8E2E919031}"/>
              </a:ext>
            </a:extLst>
          </p:cNvPr>
          <p:cNvSpPr>
            <a:spLocks noChangeArrowheads="1"/>
          </p:cNvSpPr>
          <p:nvPr/>
        </p:nvSpPr>
        <p:spPr bwMode="auto">
          <a:xfrm>
            <a:off x="6053120" y="2873540"/>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64" name="Oval 742">
            <a:extLst>
              <a:ext uri="{FF2B5EF4-FFF2-40B4-BE49-F238E27FC236}">
                <a16:creationId xmlns:a16="http://schemas.microsoft.com/office/drawing/2014/main" id="{ADB5B60A-C994-450F-97B4-FEF3EDFB4182}"/>
              </a:ext>
            </a:extLst>
          </p:cNvPr>
          <p:cNvSpPr>
            <a:spLocks noChangeArrowheads="1"/>
          </p:cNvSpPr>
          <p:nvPr/>
        </p:nvSpPr>
        <p:spPr bwMode="auto">
          <a:xfrm>
            <a:off x="6320650" y="3018280"/>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65" name="Oval 743">
            <a:extLst>
              <a:ext uri="{FF2B5EF4-FFF2-40B4-BE49-F238E27FC236}">
                <a16:creationId xmlns:a16="http://schemas.microsoft.com/office/drawing/2014/main" id="{B7938179-512D-452B-9894-C5D2C7A993A8}"/>
              </a:ext>
            </a:extLst>
          </p:cNvPr>
          <p:cNvSpPr>
            <a:spLocks noChangeArrowheads="1"/>
          </p:cNvSpPr>
          <p:nvPr/>
        </p:nvSpPr>
        <p:spPr bwMode="auto">
          <a:xfrm>
            <a:off x="6246063" y="283517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66" name="Oval 744">
            <a:extLst>
              <a:ext uri="{FF2B5EF4-FFF2-40B4-BE49-F238E27FC236}">
                <a16:creationId xmlns:a16="http://schemas.microsoft.com/office/drawing/2014/main" id="{CCC89827-E74C-4EE8-B1A0-FEA530A51176}"/>
              </a:ext>
            </a:extLst>
          </p:cNvPr>
          <p:cNvSpPr>
            <a:spLocks noChangeArrowheads="1"/>
          </p:cNvSpPr>
          <p:nvPr/>
        </p:nvSpPr>
        <p:spPr bwMode="auto">
          <a:xfrm>
            <a:off x="3525611" y="2819482"/>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67" name="Oval 745">
            <a:extLst>
              <a:ext uri="{FF2B5EF4-FFF2-40B4-BE49-F238E27FC236}">
                <a16:creationId xmlns:a16="http://schemas.microsoft.com/office/drawing/2014/main" id="{E07EF65C-B2F9-4F1F-A89E-B2A66A39604F}"/>
              </a:ext>
            </a:extLst>
          </p:cNvPr>
          <p:cNvSpPr>
            <a:spLocks noChangeArrowheads="1"/>
          </p:cNvSpPr>
          <p:nvPr/>
        </p:nvSpPr>
        <p:spPr bwMode="auto">
          <a:xfrm>
            <a:off x="3525611" y="2819482"/>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68" name="Oval 746">
            <a:extLst>
              <a:ext uri="{FF2B5EF4-FFF2-40B4-BE49-F238E27FC236}">
                <a16:creationId xmlns:a16="http://schemas.microsoft.com/office/drawing/2014/main" id="{47736359-CFC7-4229-BD29-DFB5D8083278}"/>
              </a:ext>
            </a:extLst>
          </p:cNvPr>
          <p:cNvSpPr>
            <a:spLocks noChangeArrowheads="1"/>
          </p:cNvSpPr>
          <p:nvPr/>
        </p:nvSpPr>
        <p:spPr bwMode="auto">
          <a:xfrm>
            <a:off x="3525611" y="2819482"/>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69" name="Oval 747">
            <a:extLst>
              <a:ext uri="{FF2B5EF4-FFF2-40B4-BE49-F238E27FC236}">
                <a16:creationId xmlns:a16="http://schemas.microsoft.com/office/drawing/2014/main" id="{DC093EF2-5740-4851-9FE0-4E3513D55AF4}"/>
              </a:ext>
            </a:extLst>
          </p:cNvPr>
          <p:cNvSpPr>
            <a:spLocks noChangeArrowheads="1"/>
          </p:cNvSpPr>
          <p:nvPr/>
        </p:nvSpPr>
        <p:spPr bwMode="auto">
          <a:xfrm>
            <a:off x="3525611" y="2819482"/>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70" name="Oval 748">
            <a:extLst>
              <a:ext uri="{FF2B5EF4-FFF2-40B4-BE49-F238E27FC236}">
                <a16:creationId xmlns:a16="http://schemas.microsoft.com/office/drawing/2014/main" id="{1D31CC3D-5091-48C7-A827-3FE837D37F5A}"/>
              </a:ext>
            </a:extLst>
          </p:cNvPr>
          <p:cNvSpPr>
            <a:spLocks noChangeArrowheads="1"/>
          </p:cNvSpPr>
          <p:nvPr/>
        </p:nvSpPr>
        <p:spPr bwMode="auto">
          <a:xfrm>
            <a:off x="3525611" y="2819482"/>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71" name="Oval 749">
            <a:extLst>
              <a:ext uri="{FF2B5EF4-FFF2-40B4-BE49-F238E27FC236}">
                <a16:creationId xmlns:a16="http://schemas.microsoft.com/office/drawing/2014/main" id="{1BC10437-475B-487D-B5F9-7819007A563D}"/>
              </a:ext>
            </a:extLst>
          </p:cNvPr>
          <p:cNvSpPr>
            <a:spLocks noChangeArrowheads="1"/>
          </p:cNvSpPr>
          <p:nvPr/>
        </p:nvSpPr>
        <p:spPr bwMode="auto">
          <a:xfrm>
            <a:off x="5932455" y="3679194"/>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72" name="Oval 750">
            <a:extLst>
              <a:ext uri="{FF2B5EF4-FFF2-40B4-BE49-F238E27FC236}">
                <a16:creationId xmlns:a16="http://schemas.microsoft.com/office/drawing/2014/main" id="{55FB6706-7009-4825-8A51-95900C95A9D4}"/>
              </a:ext>
            </a:extLst>
          </p:cNvPr>
          <p:cNvSpPr>
            <a:spLocks noChangeArrowheads="1"/>
          </p:cNvSpPr>
          <p:nvPr/>
        </p:nvSpPr>
        <p:spPr bwMode="auto">
          <a:xfrm>
            <a:off x="6410803" y="2903187"/>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73" name="Oval 751">
            <a:extLst>
              <a:ext uri="{FF2B5EF4-FFF2-40B4-BE49-F238E27FC236}">
                <a16:creationId xmlns:a16="http://schemas.microsoft.com/office/drawing/2014/main" id="{E008559C-209B-4A9D-AE0E-65A130365293}"/>
              </a:ext>
            </a:extLst>
          </p:cNvPr>
          <p:cNvSpPr>
            <a:spLocks noChangeArrowheads="1"/>
          </p:cNvSpPr>
          <p:nvPr/>
        </p:nvSpPr>
        <p:spPr bwMode="auto">
          <a:xfrm>
            <a:off x="3905023" y="2210883"/>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74" name="Oval 752">
            <a:extLst>
              <a:ext uri="{FF2B5EF4-FFF2-40B4-BE49-F238E27FC236}">
                <a16:creationId xmlns:a16="http://schemas.microsoft.com/office/drawing/2014/main" id="{C361E0BC-CA9A-48BC-9655-4D3275467115}"/>
              </a:ext>
            </a:extLst>
          </p:cNvPr>
          <p:cNvSpPr>
            <a:spLocks noChangeArrowheads="1"/>
          </p:cNvSpPr>
          <p:nvPr/>
        </p:nvSpPr>
        <p:spPr bwMode="auto">
          <a:xfrm>
            <a:off x="4927522" y="3163017"/>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75" name="Oval 753">
            <a:extLst>
              <a:ext uri="{FF2B5EF4-FFF2-40B4-BE49-F238E27FC236}">
                <a16:creationId xmlns:a16="http://schemas.microsoft.com/office/drawing/2014/main" id="{3ADB42E3-7300-48DE-B47B-C9E98AABB169}"/>
              </a:ext>
            </a:extLst>
          </p:cNvPr>
          <p:cNvSpPr>
            <a:spLocks noChangeArrowheads="1"/>
          </p:cNvSpPr>
          <p:nvPr/>
        </p:nvSpPr>
        <p:spPr bwMode="auto">
          <a:xfrm>
            <a:off x="3927059" y="227191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76" name="Oval 754">
            <a:extLst>
              <a:ext uri="{FF2B5EF4-FFF2-40B4-BE49-F238E27FC236}">
                <a16:creationId xmlns:a16="http://schemas.microsoft.com/office/drawing/2014/main" id="{E521679E-84BD-40E8-A608-601C50B013DD}"/>
              </a:ext>
            </a:extLst>
          </p:cNvPr>
          <p:cNvSpPr>
            <a:spLocks noChangeArrowheads="1"/>
          </p:cNvSpPr>
          <p:nvPr/>
        </p:nvSpPr>
        <p:spPr bwMode="auto">
          <a:xfrm>
            <a:off x="6373510" y="2819482"/>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77" name="Oval 755">
            <a:extLst>
              <a:ext uri="{FF2B5EF4-FFF2-40B4-BE49-F238E27FC236}">
                <a16:creationId xmlns:a16="http://schemas.microsoft.com/office/drawing/2014/main" id="{DA4A96C4-38DA-466D-A91C-77F57EA877B7}"/>
              </a:ext>
            </a:extLst>
          </p:cNvPr>
          <p:cNvSpPr>
            <a:spLocks noChangeArrowheads="1"/>
          </p:cNvSpPr>
          <p:nvPr/>
        </p:nvSpPr>
        <p:spPr bwMode="auto">
          <a:xfrm>
            <a:off x="4091491" y="4303486"/>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78" name="Oval 756">
            <a:extLst>
              <a:ext uri="{FF2B5EF4-FFF2-40B4-BE49-F238E27FC236}">
                <a16:creationId xmlns:a16="http://schemas.microsoft.com/office/drawing/2014/main" id="{45517E7B-06A0-415D-B59F-A3E46DC0DB3F}"/>
              </a:ext>
            </a:extLst>
          </p:cNvPr>
          <p:cNvSpPr>
            <a:spLocks noChangeArrowheads="1"/>
          </p:cNvSpPr>
          <p:nvPr/>
        </p:nvSpPr>
        <p:spPr bwMode="auto">
          <a:xfrm>
            <a:off x="3643964" y="239398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79" name="Oval 757">
            <a:extLst>
              <a:ext uri="{FF2B5EF4-FFF2-40B4-BE49-F238E27FC236}">
                <a16:creationId xmlns:a16="http://schemas.microsoft.com/office/drawing/2014/main" id="{E20F263A-13D1-4333-A390-E7F220C22DFB}"/>
              </a:ext>
            </a:extLst>
          </p:cNvPr>
          <p:cNvSpPr>
            <a:spLocks noChangeArrowheads="1"/>
          </p:cNvSpPr>
          <p:nvPr/>
        </p:nvSpPr>
        <p:spPr bwMode="auto">
          <a:xfrm>
            <a:off x="2182722" y="404539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81" name="Oval 759">
            <a:extLst>
              <a:ext uri="{FF2B5EF4-FFF2-40B4-BE49-F238E27FC236}">
                <a16:creationId xmlns:a16="http://schemas.microsoft.com/office/drawing/2014/main" id="{BBF46A36-737F-48A6-A7F5-995EC7834308}"/>
              </a:ext>
            </a:extLst>
          </p:cNvPr>
          <p:cNvSpPr>
            <a:spLocks noChangeArrowheads="1"/>
          </p:cNvSpPr>
          <p:nvPr/>
        </p:nvSpPr>
        <p:spPr bwMode="auto">
          <a:xfrm>
            <a:off x="4025687" y="2445986"/>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82" name="Oval 760">
            <a:extLst>
              <a:ext uri="{FF2B5EF4-FFF2-40B4-BE49-F238E27FC236}">
                <a16:creationId xmlns:a16="http://schemas.microsoft.com/office/drawing/2014/main" id="{54FFF3FD-1804-4291-B9C6-F5A87D658DCB}"/>
              </a:ext>
            </a:extLst>
          </p:cNvPr>
          <p:cNvSpPr>
            <a:spLocks noChangeArrowheads="1"/>
          </p:cNvSpPr>
          <p:nvPr/>
        </p:nvSpPr>
        <p:spPr bwMode="auto">
          <a:xfrm>
            <a:off x="4025687" y="2445986"/>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83" name="Oval 761">
            <a:extLst>
              <a:ext uri="{FF2B5EF4-FFF2-40B4-BE49-F238E27FC236}">
                <a16:creationId xmlns:a16="http://schemas.microsoft.com/office/drawing/2014/main" id="{E3709924-C13B-4CB1-8CA5-BE852A863E67}"/>
              </a:ext>
            </a:extLst>
          </p:cNvPr>
          <p:cNvSpPr>
            <a:spLocks noChangeArrowheads="1"/>
          </p:cNvSpPr>
          <p:nvPr/>
        </p:nvSpPr>
        <p:spPr bwMode="auto">
          <a:xfrm>
            <a:off x="2443780" y="3421105"/>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84" name="Oval 762">
            <a:extLst>
              <a:ext uri="{FF2B5EF4-FFF2-40B4-BE49-F238E27FC236}">
                <a16:creationId xmlns:a16="http://schemas.microsoft.com/office/drawing/2014/main" id="{B7B75BFD-83D2-47C7-BC9A-F9E7367BE41E}"/>
              </a:ext>
            </a:extLst>
          </p:cNvPr>
          <p:cNvSpPr>
            <a:spLocks noChangeArrowheads="1"/>
          </p:cNvSpPr>
          <p:nvPr/>
        </p:nvSpPr>
        <p:spPr bwMode="auto">
          <a:xfrm>
            <a:off x="3920279" y="2325976"/>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85" name="Oval 763">
            <a:extLst>
              <a:ext uri="{FF2B5EF4-FFF2-40B4-BE49-F238E27FC236}">
                <a16:creationId xmlns:a16="http://schemas.microsoft.com/office/drawing/2014/main" id="{91547DA4-1EBA-402B-838F-D48FD843A7F7}"/>
              </a:ext>
            </a:extLst>
          </p:cNvPr>
          <p:cNvSpPr>
            <a:spLocks noChangeArrowheads="1"/>
          </p:cNvSpPr>
          <p:nvPr/>
        </p:nvSpPr>
        <p:spPr bwMode="auto">
          <a:xfrm>
            <a:off x="2465815" y="2500360"/>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86" name="Oval 764">
            <a:extLst>
              <a:ext uri="{FF2B5EF4-FFF2-40B4-BE49-F238E27FC236}">
                <a16:creationId xmlns:a16="http://schemas.microsoft.com/office/drawing/2014/main" id="{6920DEE5-F581-4873-A932-B442E2F1ABB9}"/>
              </a:ext>
            </a:extLst>
          </p:cNvPr>
          <p:cNvSpPr>
            <a:spLocks noChangeArrowheads="1"/>
          </p:cNvSpPr>
          <p:nvPr/>
        </p:nvSpPr>
        <p:spPr bwMode="auto">
          <a:xfrm>
            <a:off x="4411880" y="3031914"/>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87" name="Oval 765">
            <a:extLst>
              <a:ext uri="{FF2B5EF4-FFF2-40B4-BE49-F238E27FC236}">
                <a16:creationId xmlns:a16="http://schemas.microsoft.com/office/drawing/2014/main" id="{EF2D79E0-E76E-4A85-A7A0-C90D0EC5228A}"/>
              </a:ext>
            </a:extLst>
          </p:cNvPr>
          <p:cNvSpPr>
            <a:spLocks noChangeArrowheads="1"/>
          </p:cNvSpPr>
          <p:nvPr/>
        </p:nvSpPr>
        <p:spPr bwMode="auto">
          <a:xfrm>
            <a:off x="4405407" y="3040948"/>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88" name="Oval 766">
            <a:extLst>
              <a:ext uri="{FF2B5EF4-FFF2-40B4-BE49-F238E27FC236}">
                <a16:creationId xmlns:a16="http://schemas.microsoft.com/office/drawing/2014/main" id="{692E28C2-BA84-460C-BAA5-C875E1AF55DC}"/>
              </a:ext>
            </a:extLst>
          </p:cNvPr>
          <p:cNvSpPr>
            <a:spLocks noChangeArrowheads="1"/>
          </p:cNvSpPr>
          <p:nvPr/>
        </p:nvSpPr>
        <p:spPr bwMode="auto">
          <a:xfrm>
            <a:off x="4085018" y="1959772"/>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89" name="Oval 767">
            <a:extLst>
              <a:ext uri="{FF2B5EF4-FFF2-40B4-BE49-F238E27FC236}">
                <a16:creationId xmlns:a16="http://schemas.microsoft.com/office/drawing/2014/main" id="{13597AB0-D12A-44FA-AF2A-C26BDCDC2931}"/>
              </a:ext>
            </a:extLst>
          </p:cNvPr>
          <p:cNvSpPr>
            <a:spLocks noChangeArrowheads="1"/>
          </p:cNvSpPr>
          <p:nvPr/>
        </p:nvSpPr>
        <p:spPr bwMode="auto">
          <a:xfrm>
            <a:off x="4025687" y="4219782"/>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90" name="Oval 768">
            <a:extLst>
              <a:ext uri="{FF2B5EF4-FFF2-40B4-BE49-F238E27FC236}">
                <a16:creationId xmlns:a16="http://schemas.microsoft.com/office/drawing/2014/main" id="{AC5AFFA7-6C44-4B30-B42D-D8153553BDD0}"/>
              </a:ext>
            </a:extLst>
          </p:cNvPr>
          <p:cNvSpPr>
            <a:spLocks noChangeArrowheads="1"/>
          </p:cNvSpPr>
          <p:nvPr/>
        </p:nvSpPr>
        <p:spPr bwMode="auto">
          <a:xfrm>
            <a:off x="4128786" y="2097535"/>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91" name="Oval 769">
            <a:extLst>
              <a:ext uri="{FF2B5EF4-FFF2-40B4-BE49-F238E27FC236}">
                <a16:creationId xmlns:a16="http://schemas.microsoft.com/office/drawing/2014/main" id="{F4E0E7F4-C708-4335-8807-23D4BD5806A8}"/>
              </a:ext>
            </a:extLst>
          </p:cNvPr>
          <p:cNvSpPr>
            <a:spLocks noChangeArrowheads="1"/>
          </p:cNvSpPr>
          <p:nvPr/>
        </p:nvSpPr>
        <p:spPr bwMode="auto">
          <a:xfrm>
            <a:off x="4100275" y="2097535"/>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92" name="Oval 770">
            <a:extLst>
              <a:ext uri="{FF2B5EF4-FFF2-40B4-BE49-F238E27FC236}">
                <a16:creationId xmlns:a16="http://schemas.microsoft.com/office/drawing/2014/main" id="{CC2EBAD7-2749-49CD-B822-39CE702A5F4E}"/>
              </a:ext>
            </a:extLst>
          </p:cNvPr>
          <p:cNvSpPr>
            <a:spLocks noChangeArrowheads="1"/>
          </p:cNvSpPr>
          <p:nvPr/>
        </p:nvSpPr>
        <p:spPr bwMode="auto">
          <a:xfrm>
            <a:off x="4122312" y="2538725"/>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93" name="Oval 771">
            <a:extLst>
              <a:ext uri="{FF2B5EF4-FFF2-40B4-BE49-F238E27FC236}">
                <a16:creationId xmlns:a16="http://schemas.microsoft.com/office/drawing/2014/main" id="{0CDDD206-D982-4865-B3F9-F0139DB683B1}"/>
              </a:ext>
            </a:extLst>
          </p:cNvPr>
          <p:cNvSpPr>
            <a:spLocks noChangeArrowheads="1"/>
          </p:cNvSpPr>
          <p:nvPr/>
        </p:nvSpPr>
        <p:spPr bwMode="auto">
          <a:xfrm>
            <a:off x="2518366" y="4441249"/>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94" name="Oval 772">
            <a:extLst>
              <a:ext uri="{FF2B5EF4-FFF2-40B4-BE49-F238E27FC236}">
                <a16:creationId xmlns:a16="http://schemas.microsoft.com/office/drawing/2014/main" id="{3E2CBF25-4D73-47AE-8F98-A15A576356E1}"/>
              </a:ext>
            </a:extLst>
          </p:cNvPr>
          <p:cNvSpPr>
            <a:spLocks noChangeArrowheads="1"/>
          </p:cNvSpPr>
          <p:nvPr/>
        </p:nvSpPr>
        <p:spPr bwMode="auto">
          <a:xfrm>
            <a:off x="6283355" y="3192664"/>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96" name="Oval 774">
            <a:extLst>
              <a:ext uri="{FF2B5EF4-FFF2-40B4-BE49-F238E27FC236}">
                <a16:creationId xmlns:a16="http://schemas.microsoft.com/office/drawing/2014/main" id="{582A9EDD-B2F6-47F1-890E-F8C79D92AD90}"/>
              </a:ext>
            </a:extLst>
          </p:cNvPr>
          <p:cNvSpPr>
            <a:spLocks noChangeArrowheads="1"/>
          </p:cNvSpPr>
          <p:nvPr/>
        </p:nvSpPr>
        <p:spPr bwMode="auto">
          <a:xfrm>
            <a:off x="4085018" y="2744497"/>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97" name="Oval 775">
            <a:extLst>
              <a:ext uri="{FF2B5EF4-FFF2-40B4-BE49-F238E27FC236}">
                <a16:creationId xmlns:a16="http://schemas.microsoft.com/office/drawing/2014/main" id="{C2D9D779-A816-45A8-B5CE-97DBAAF1B082}"/>
              </a:ext>
            </a:extLst>
          </p:cNvPr>
          <p:cNvSpPr>
            <a:spLocks noChangeArrowheads="1"/>
          </p:cNvSpPr>
          <p:nvPr/>
        </p:nvSpPr>
        <p:spPr bwMode="auto">
          <a:xfrm>
            <a:off x="3727337" y="2728804"/>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98" name="Oval 776">
            <a:extLst>
              <a:ext uri="{FF2B5EF4-FFF2-40B4-BE49-F238E27FC236}">
                <a16:creationId xmlns:a16="http://schemas.microsoft.com/office/drawing/2014/main" id="{70EA4FAD-B66E-433E-B260-D8B4AA3E9C31}"/>
              </a:ext>
            </a:extLst>
          </p:cNvPr>
          <p:cNvSpPr>
            <a:spLocks noChangeArrowheads="1"/>
          </p:cNvSpPr>
          <p:nvPr/>
        </p:nvSpPr>
        <p:spPr bwMode="auto">
          <a:xfrm>
            <a:off x="3740588" y="2728804"/>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99" name="Oval 777">
            <a:extLst>
              <a:ext uri="{FF2B5EF4-FFF2-40B4-BE49-F238E27FC236}">
                <a16:creationId xmlns:a16="http://schemas.microsoft.com/office/drawing/2014/main" id="{428A1C50-E053-469B-86B3-81DACEEF80FF}"/>
              </a:ext>
            </a:extLst>
          </p:cNvPr>
          <p:cNvSpPr>
            <a:spLocks noChangeArrowheads="1"/>
          </p:cNvSpPr>
          <p:nvPr/>
        </p:nvSpPr>
        <p:spPr bwMode="auto">
          <a:xfrm>
            <a:off x="3740588" y="2728804"/>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03" name="Oval 781">
            <a:extLst>
              <a:ext uri="{FF2B5EF4-FFF2-40B4-BE49-F238E27FC236}">
                <a16:creationId xmlns:a16="http://schemas.microsoft.com/office/drawing/2014/main" id="{F2FA7AB2-B9DE-4F46-A4A7-6E97F3FC1798}"/>
              </a:ext>
            </a:extLst>
          </p:cNvPr>
          <p:cNvSpPr>
            <a:spLocks noChangeArrowheads="1"/>
          </p:cNvSpPr>
          <p:nvPr/>
        </p:nvSpPr>
        <p:spPr bwMode="auto">
          <a:xfrm>
            <a:off x="3659221" y="2325976"/>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04" name="Oval 782">
            <a:extLst>
              <a:ext uri="{FF2B5EF4-FFF2-40B4-BE49-F238E27FC236}">
                <a16:creationId xmlns:a16="http://schemas.microsoft.com/office/drawing/2014/main" id="{9EDBA89E-3B38-40FB-8AC9-CACC5FD6CFA5}"/>
              </a:ext>
            </a:extLst>
          </p:cNvPr>
          <p:cNvSpPr>
            <a:spLocks noChangeArrowheads="1"/>
          </p:cNvSpPr>
          <p:nvPr/>
        </p:nvSpPr>
        <p:spPr bwMode="auto">
          <a:xfrm>
            <a:off x="3690041" y="2287613"/>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05" name="Oval 783">
            <a:extLst>
              <a:ext uri="{FF2B5EF4-FFF2-40B4-BE49-F238E27FC236}">
                <a16:creationId xmlns:a16="http://schemas.microsoft.com/office/drawing/2014/main" id="{939F9BCE-13BA-4DB4-9968-85F7BC40D825}"/>
              </a:ext>
            </a:extLst>
          </p:cNvPr>
          <p:cNvSpPr>
            <a:spLocks noChangeArrowheads="1"/>
          </p:cNvSpPr>
          <p:nvPr/>
        </p:nvSpPr>
        <p:spPr bwMode="auto">
          <a:xfrm>
            <a:off x="3360871" y="3070596"/>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06" name="Oval 784">
            <a:extLst>
              <a:ext uri="{FF2B5EF4-FFF2-40B4-BE49-F238E27FC236}">
                <a16:creationId xmlns:a16="http://schemas.microsoft.com/office/drawing/2014/main" id="{EDEBC9AB-9E72-4B5E-A38B-879F9A2F37A5}"/>
              </a:ext>
            </a:extLst>
          </p:cNvPr>
          <p:cNvSpPr>
            <a:spLocks noChangeArrowheads="1"/>
          </p:cNvSpPr>
          <p:nvPr/>
        </p:nvSpPr>
        <p:spPr bwMode="auto">
          <a:xfrm>
            <a:off x="3793141" y="2409681"/>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07" name="Oval 785">
            <a:extLst>
              <a:ext uri="{FF2B5EF4-FFF2-40B4-BE49-F238E27FC236}">
                <a16:creationId xmlns:a16="http://schemas.microsoft.com/office/drawing/2014/main" id="{0E49F59F-1917-459C-B7AA-8118CB71B4B7}"/>
              </a:ext>
            </a:extLst>
          </p:cNvPr>
          <p:cNvSpPr>
            <a:spLocks noChangeArrowheads="1"/>
          </p:cNvSpPr>
          <p:nvPr/>
        </p:nvSpPr>
        <p:spPr bwMode="auto">
          <a:xfrm>
            <a:off x="3793141" y="2409681"/>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08" name="Oval 786">
            <a:extLst>
              <a:ext uri="{FF2B5EF4-FFF2-40B4-BE49-F238E27FC236}">
                <a16:creationId xmlns:a16="http://schemas.microsoft.com/office/drawing/2014/main" id="{EDDE4C12-82F5-4E01-B16E-57FAED59D50F}"/>
              </a:ext>
            </a:extLst>
          </p:cNvPr>
          <p:cNvSpPr>
            <a:spLocks noChangeArrowheads="1"/>
          </p:cNvSpPr>
          <p:nvPr/>
        </p:nvSpPr>
        <p:spPr bwMode="auto">
          <a:xfrm>
            <a:off x="1847076" y="2774142"/>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09" name="Oval 787">
            <a:extLst>
              <a:ext uri="{FF2B5EF4-FFF2-40B4-BE49-F238E27FC236}">
                <a16:creationId xmlns:a16="http://schemas.microsoft.com/office/drawing/2014/main" id="{F9B60D64-790A-4253-B660-FF37D58FDBB3}"/>
              </a:ext>
            </a:extLst>
          </p:cNvPr>
          <p:cNvSpPr>
            <a:spLocks noChangeArrowheads="1"/>
          </p:cNvSpPr>
          <p:nvPr/>
        </p:nvSpPr>
        <p:spPr bwMode="auto">
          <a:xfrm>
            <a:off x="4433919" y="290318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10" name="Oval 788">
            <a:extLst>
              <a:ext uri="{FF2B5EF4-FFF2-40B4-BE49-F238E27FC236}">
                <a16:creationId xmlns:a16="http://schemas.microsoft.com/office/drawing/2014/main" id="{A6CF12B7-E20D-47A9-9ACA-689BC58FABF6}"/>
              </a:ext>
            </a:extLst>
          </p:cNvPr>
          <p:cNvSpPr>
            <a:spLocks noChangeArrowheads="1"/>
          </p:cNvSpPr>
          <p:nvPr/>
        </p:nvSpPr>
        <p:spPr bwMode="auto">
          <a:xfrm>
            <a:off x="3696515" y="274449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11" name="Oval 789">
            <a:extLst>
              <a:ext uri="{FF2B5EF4-FFF2-40B4-BE49-F238E27FC236}">
                <a16:creationId xmlns:a16="http://schemas.microsoft.com/office/drawing/2014/main" id="{40D86EBA-602E-4FD0-99DB-2CE967E3E15B}"/>
              </a:ext>
            </a:extLst>
          </p:cNvPr>
          <p:cNvSpPr>
            <a:spLocks noChangeArrowheads="1"/>
          </p:cNvSpPr>
          <p:nvPr/>
        </p:nvSpPr>
        <p:spPr bwMode="auto">
          <a:xfrm>
            <a:off x="3823962" y="2416655"/>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12" name="Oval 790">
            <a:extLst>
              <a:ext uri="{FF2B5EF4-FFF2-40B4-BE49-F238E27FC236}">
                <a16:creationId xmlns:a16="http://schemas.microsoft.com/office/drawing/2014/main" id="{7720FD80-3002-45BC-910D-3B67749DF9C9}"/>
              </a:ext>
            </a:extLst>
          </p:cNvPr>
          <p:cNvSpPr>
            <a:spLocks noChangeArrowheads="1"/>
          </p:cNvSpPr>
          <p:nvPr/>
        </p:nvSpPr>
        <p:spPr bwMode="auto">
          <a:xfrm>
            <a:off x="1616532" y="3002586"/>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13" name="Oval 791">
            <a:extLst>
              <a:ext uri="{FF2B5EF4-FFF2-40B4-BE49-F238E27FC236}">
                <a16:creationId xmlns:a16="http://schemas.microsoft.com/office/drawing/2014/main" id="{39ABF5C8-4EED-45B9-BEA1-DF97A6804305}"/>
              </a:ext>
            </a:extLst>
          </p:cNvPr>
          <p:cNvSpPr>
            <a:spLocks noChangeArrowheads="1"/>
          </p:cNvSpPr>
          <p:nvPr/>
        </p:nvSpPr>
        <p:spPr bwMode="auto">
          <a:xfrm>
            <a:off x="1579239" y="3002586"/>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14" name="Oval 792">
            <a:extLst>
              <a:ext uri="{FF2B5EF4-FFF2-40B4-BE49-F238E27FC236}">
                <a16:creationId xmlns:a16="http://schemas.microsoft.com/office/drawing/2014/main" id="{ABF455C3-ADCD-4AD6-B0FA-E08E6C2E2EDB}"/>
              </a:ext>
            </a:extLst>
          </p:cNvPr>
          <p:cNvSpPr>
            <a:spLocks noChangeArrowheads="1"/>
          </p:cNvSpPr>
          <p:nvPr/>
        </p:nvSpPr>
        <p:spPr bwMode="auto">
          <a:xfrm>
            <a:off x="1616532" y="3002586"/>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15" name="Oval 793">
            <a:extLst>
              <a:ext uri="{FF2B5EF4-FFF2-40B4-BE49-F238E27FC236}">
                <a16:creationId xmlns:a16="http://schemas.microsoft.com/office/drawing/2014/main" id="{BF2B42B6-2E81-4B49-BBB9-4CAA81E85F55}"/>
              </a:ext>
            </a:extLst>
          </p:cNvPr>
          <p:cNvSpPr>
            <a:spLocks noChangeArrowheads="1"/>
          </p:cNvSpPr>
          <p:nvPr/>
        </p:nvSpPr>
        <p:spPr bwMode="auto">
          <a:xfrm>
            <a:off x="3845690" y="2468654"/>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16" name="Oval 794">
            <a:extLst>
              <a:ext uri="{FF2B5EF4-FFF2-40B4-BE49-F238E27FC236}">
                <a16:creationId xmlns:a16="http://schemas.microsoft.com/office/drawing/2014/main" id="{626991D0-6F46-4D59-ABCA-074299A05465}"/>
              </a:ext>
            </a:extLst>
          </p:cNvPr>
          <p:cNvSpPr>
            <a:spLocks noChangeArrowheads="1"/>
          </p:cNvSpPr>
          <p:nvPr/>
        </p:nvSpPr>
        <p:spPr bwMode="auto">
          <a:xfrm>
            <a:off x="3951100" y="2545701"/>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17" name="Oval 795">
            <a:extLst>
              <a:ext uri="{FF2B5EF4-FFF2-40B4-BE49-F238E27FC236}">
                <a16:creationId xmlns:a16="http://schemas.microsoft.com/office/drawing/2014/main" id="{CEF48D3C-2AA4-48EC-98CF-DDF4887CF88B}"/>
              </a:ext>
            </a:extLst>
          </p:cNvPr>
          <p:cNvSpPr>
            <a:spLocks noChangeArrowheads="1"/>
          </p:cNvSpPr>
          <p:nvPr/>
        </p:nvSpPr>
        <p:spPr bwMode="auto">
          <a:xfrm>
            <a:off x="6507427" y="3968670"/>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18" name="Oval 796">
            <a:extLst>
              <a:ext uri="{FF2B5EF4-FFF2-40B4-BE49-F238E27FC236}">
                <a16:creationId xmlns:a16="http://schemas.microsoft.com/office/drawing/2014/main" id="{8AD4740F-AC26-4B7C-9633-0BAF9CC7334C}"/>
              </a:ext>
            </a:extLst>
          </p:cNvPr>
          <p:cNvSpPr>
            <a:spLocks noChangeArrowheads="1"/>
          </p:cNvSpPr>
          <p:nvPr/>
        </p:nvSpPr>
        <p:spPr bwMode="auto">
          <a:xfrm>
            <a:off x="1302923" y="2934576"/>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19" name="Oval 797">
            <a:extLst>
              <a:ext uri="{FF2B5EF4-FFF2-40B4-BE49-F238E27FC236}">
                <a16:creationId xmlns:a16="http://schemas.microsoft.com/office/drawing/2014/main" id="{EE048E1A-F8BC-47EE-8558-539739FFD15E}"/>
              </a:ext>
            </a:extLst>
          </p:cNvPr>
          <p:cNvSpPr>
            <a:spLocks noChangeArrowheads="1"/>
          </p:cNvSpPr>
          <p:nvPr/>
        </p:nvSpPr>
        <p:spPr bwMode="auto">
          <a:xfrm>
            <a:off x="6849546" y="4142736"/>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20" name="Oval 798">
            <a:extLst>
              <a:ext uri="{FF2B5EF4-FFF2-40B4-BE49-F238E27FC236}">
                <a16:creationId xmlns:a16="http://schemas.microsoft.com/office/drawing/2014/main" id="{1AE94494-1F47-45FE-813F-3418627B62A4}"/>
              </a:ext>
            </a:extLst>
          </p:cNvPr>
          <p:cNvSpPr>
            <a:spLocks noChangeArrowheads="1"/>
          </p:cNvSpPr>
          <p:nvPr/>
        </p:nvSpPr>
        <p:spPr bwMode="auto">
          <a:xfrm>
            <a:off x="6849546" y="4142736"/>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21" name="Oval 799">
            <a:extLst>
              <a:ext uri="{FF2B5EF4-FFF2-40B4-BE49-F238E27FC236}">
                <a16:creationId xmlns:a16="http://schemas.microsoft.com/office/drawing/2014/main" id="{A8B0E394-8375-40DE-8534-FBD352BA1356}"/>
              </a:ext>
            </a:extLst>
          </p:cNvPr>
          <p:cNvSpPr>
            <a:spLocks noChangeArrowheads="1"/>
          </p:cNvSpPr>
          <p:nvPr/>
        </p:nvSpPr>
        <p:spPr bwMode="auto">
          <a:xfrm>
            <a:off x="3852471" y="206614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22" name="Oval 800">
            <a:extLst>
              <a:ext uri="{FF2B5EF4-FFF2-40B4-BE49-F238E27FC236}">
                <a16:creationId xmlns:a16="http://schemas.microsoft.com/office/drawing/2014/main" id="{60BAF9C9-6CBA-498E-967B-0F373FB9C6C7}"/>
              </a:ext>
            </a:extLst>
          </p:cNvPr>
          <p:cNvSpPr>
            <a:spLocks noChangeArrowheads="1"/>
          </p:cNvSpPr>
          <p:nvPr/>
        </p:nvSpPr>
        <p:spPr bwMode="auto">
          <a:xfrm>
            <a:off x="6127708" y="2728804"/>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23" name="Oval 801">
            <a:extLst>
              <a:ext uri="{FF2B5EF4-FFF2-40B4-BE49-F238E27FC236}">
                <a16:creationId xmlns:a16="http://schemas.microsoft.com/office/drawing/2014/main" id="{C59EE502-056E-473A-8303-E3DE642CE3D1}"/>
              </a:ext>
            </a:extLst>
          </p:cNvPr>
          <p:cNvSpPr>
            <a:spLocks noChangeArrowheads="1"/>
          </p:cNvSpPr>
          <p:nvPr/>
        </p:nvSpPr>
        <p:spPr bwMode="auto">
          <a:xfrm>
            <a:off x="6476607" y="2850872"/>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24" name="Oval 802">
            <a:extLst>
              <a:ext uri="{FF2B5EF4-FFF2-40B4-BE49-F238E27FC236}">
                <a16:creationId xmlns:a16="http://schemas.microsoft.com/office/drawing/2014/main" id="{AD5E3330-5D78-437E-8B45-151F66C6FF47}"/>
              </a:ext>
            </a:extLst>
          </p:cNvPr>
          <p:cNvSpPr>
            <a:spLocks noChangeArrowheads="1"/>
          </p:cNvSpPr>
          <p:nvPr/>
        </p:nvSpPr>
        <p:spPr bwMode="auto">
          <a:xfrm>
            <a:off x="6476607" y="288051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25" name="Oval 803">
            <a:extLst>
              <a:ext uri="{FF2B5EF4-FFF2-40B4-BE49-F238E27FC236}">
                <a16:creationId xmlns:a16="http://schemas.microsoft.com/office/drawing/2014/main" id="{A881E9EC-1A37-4156-BB61-C8815AEAF586}"/>
              </a:ext>
            </a:extLst>
          </p:cNvPr>
          <p:cNvSpPr>
            <a:spLocks noChangeArrowheads="1"/>
          </p:cNvSpPr>
          <p:nvPr/>
        </p:nvSpPr>
        <p:spPr bwMode="auto">
          <a:xfrm>
            <a:off x="6476607" y="288051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26" name="Oval 804">
            <a:extLst>
              <a:ext uri="{FF2B5EF4-FFF2-40B4-BE49-F238E27FC236}">
                <a16:creationId xmlns:a16="http://schemas.microsoft.com/office/drawing/2014/main" id="{D0340BD6-D570-4D63-A53A-49D721D03117}"/>
              </a:ext>
            </a:extLst>
          </p:cNvPr>
          <p:cNvSpPr>
            <a:spLocks noChangeArrowheads="1"/>
          </p:cNvSpPr>
          <p:nvPr/>
        </p:nvSpPr>
        <p:spPr bwMode="auto">
          <a:xfrm>
            <a:off x="6476607" y="288051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27" name="Oval 805">
            <a:extLst>
              <a:ext uri="{FF2B5EF4-FFF2-40B4-BE49-F238E27FC236}">
                <a16:creationId xmlns:a16="http://schemas.microsoft.com/office/drawing/2014/main" id="{E592EB4F-112C-4287-BDBF-66F9AF382ED5}"/>
              </a:ext>
            </a:extLst>
          </p:cNvPr>
          <p:cNvSpPr>
            <a:spLocks noChangeArrowheads="1"/>
          </p:cNvSpPr>
          <p:nvPr/>
        </p:nvSpPr>
        <p:spPr bwMode="auto">
          <a:xfrm>
            <a:off x="5344536" y="2986892"/>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28" name="Oval 806">
            <a:extLst>
              <a:ext uri="{FF2B5EF4-FFF2-40B4-BE49-F238E27FC236}">
                <a16:creationId xmlns:a16="http://schemas.microsoft.com/office/drawing/2014/main" id="{DD06BE5C-F2A3-42D4-A550-6CA564565DB5}"/>
              </a:ext>
            </a:extLst>
          </p:cNvPr>
          <p:cNvSpPr>
            <a:spLocks noChangeArrowheads="1"/>
          </p:cNvSpPr>
          <p:nvPr/>
        </p:nvSpPr>
        <p:spPr bwMode="auto">
          <a:xfrm>
            <a:off x="4881446" y="318568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29" name="Oval 807">
            <a:extLst>
              <a:ext uri="{FF2B5EF4-FFF2-40B4-BE49-F238E27FC236}">
                <a16:creationId xmlns:a16="http://schemas.microsoft.com/office/drawing/2014/main" id="{993439C6-059F-40BB-8480-260ECEE55DE9}"/>
              </a:ext>
            </a:extLst>
          </p:cNvPr>
          <p:cNvSpPr>
            <a:spLocks noChangeArrowheads="1"/>
          </p:cNvSpPr>
          <p:nvPr/>
        </p:nvSpPr>
        <p:spPr bwMode="auto">
          <a:xfrm>
            <a:off x="3712080" y="2393987"/>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30" name="Oval 808">
            <a:extLst>
              <a:ext uri="{FF2B5EF4-FFF2-40B4-BE49-F238E27FC236}">
                <a16:creationId xmlns:a16="http://schemas.microsoft.com/office/drawing/2014/main" id="{C014EE42-D697-43C2-A62A-A21F466B00C6}"/>
              </a:ext>
            </a:extLst>
          </p:cNvPr>
          <p:cNvSpPr>
            <a:spLocks noChangeArrowheads="1"/>
          </p:cNvSpPr>
          <p:nvPr/>
        </p:nvSpPr>
        <p:spPr bwMode="auto">
          <a:xfrm>
            <a:off x="1691120" y="2789836"/>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31" name="Oval 809">
            <a:extLst>
              <a:ext uri="{FF2B5EF4-FFF2-40B4-BE49-F238E27FC236}">
                <a16:creationId xmlns:a16="http://schemas.microsoft.com/office/drawing/2014/main" id="{63824938-26F1-4643-8E43-ACCA4195B7B8}"/>
              </a:ext>
            </a:extLst>
          </p:cNvPr>
          <p:cNvSpPr>
            <a:spLocks noChangeArrowheads="1"/>
          </p:cNvSpPr>
          <p:nvPr/>
        </p:nvSpPr>
        <p:spPr bwMode="auto">
          <a:xfrm>
            <a:off x="1103200" y="2529690"/>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32" name="Oval 810">
            <a:extLst>
              <a:ext uri="{FF2B5EF4-FFF2-40B4-BE49-F238E27FC236}">
                <a16:creationId xmlns:a16="http://schemas.microsoft.com/office/drawing/2014/main" id="{2AB128A0-8D30-455E-9E55-DC2ED42C86EA}"/>
              </a:ext>
            </a:extLst>
          </p:cNvPr>
          <p:cNvSpPr>
            <a:spLocks noChangeArrowheads="1"/>
          </p:cNvSpPr>
          <p:nvPr/>
        </p:nvSpPr>
        <p:spPr bwMode="auto">
          <a:xfrm>
            <a:off x="6880367" y="4181417"/>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33" name="Oval 811">
            <a:extLst>
              <a:ext uri="{FF2B5EF4-FFF2-40B4-BE49-F238E27FC236}">
                <a16:creationId xmlns:a16="http://schemas.microsoft.com/office/drawing/2014/main" id="{5EFF2751-EA92-4EBE-B011-907EA9A2A446}"/>
              </a:ext>
            </a:extLst>
          </p:cNvPr>
          <p:cNvSpPr>
            <a:spLocks noChangeArrowheads="1"/>
          </p:cNvSpPr>
          <p:nvPr/>
        </p:nvSpPr>
        <p:spPr bwMode="auto">
          <a:xfrm>
            <a:off x="1833822" y="2758447"/>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34" name="Oval 812">
            <a:extLst>
              <a:ext uri="{FF2B5EF4-FFF2-40B4-BE49-F238E27FC236}">
                <a16:creationId xmlns:a16="http://schemas.microsoft.com/office/drawing/2014/main" id="{CA15D599-3603-417B-92B8-B43DEE22830C}"/>
              </a:ext>
            </a:extLst>
          </p:cNvPr>
          <p:cNvSpPr>
            <a:spLocks noChangeArrowheads="1"/>
          </p:cNvSpPr>
          <p:nvPr/>
        </p:nvSpPr>
        <p:spPr bwMode="auto">
          <a:xfrm>
            <a:off x="4234194" y="2606735"/>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35" name="Oval 813">
            <a:extLst>
              <a:ext uri="{FF2B5EF4-FFF2-40B4-BE49-F238E27FC236}">
                <a16:creationId xmlns:a16="http://schemas.microsoft.com/office/drawing/2014/main" id="{1D6F2EE7-041E-4251-96AE-36AFA6728225}"/>
              </a:ext>
            </a:extLst>
          </p:cNvPr>
          <p:cNvSpPr>
            <a:spLocks noChangeArrowheads="1"/>
          </p:cNvSpPr>
          <p:nvPr/>
        </p:nvSpPr>
        <p:spPr bwMode="auto">
          <a:xfrm>
            <a:off x="3703295" y="2774142"/>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36" name="Oval 814">
            <a:extLst>
              <a:ext uri="{FF2B5EF4-FFF2-40B4-BE49-F238E27FC236}">
                <a16:creationId xmlns:a16="http://schemas.microsoft.com/office/drawing/2014/main" id="{07BF50EC-2941-444A-9C52-512A30478F82}"/>
              </a:ext>
            </a:extLst>
          </p:cNvPr>
          <p:cNvSpPr>
            <a:spLocks noChangeArrowheads="1"/>
          </p:cNvSpPr>
          <p:nvPr/>
        </p:nvSpPr>
        <p:spPr bwMode="auto">
          <a:xfrm>
            <a:off x="3793141" y="243932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37" name="Oval 815">
            <a:extLst>
              <a:ext uri="{FF2B5EF4-FFF2-40B4-BE49-F238E27FC236}">
                <a16:creationId xmlns:a16="http://schemas.microsoft.com/office/drawing/2014/main" id="{3C70C0F6-56B9-423B-AA6E-2A90A2A2F6F0}"/>
              </a:ext>
            </a:extLst>
          </p:cNvPr>
          <p:cNvSpPr>
            <a:spLocks noChangeArrowheads="1"/>
          </p:cNvSpPr>
          <p:nvPr/>
        </p:nvSpPr>
        <p:spPr bwMode="auto">
          <a:xfrm>
            <a:off x="1638569" y="3086289"/>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38" name="Oval 816">
            <a:extLst>
              <a:ext uri="{FF2B5EF4-FFF2-40B4-BE49-F238E27FC236}">
                <a16:creationId xmlns:a16="http://schemas.microsoft.com/office/drawing/2014/main" id="{6EB8E787-8CFB-44AF-AC8E-3A2DD46476A2}"/>
              </a:ext>
            </a:extLst>
          </p:cNvPr>
          <p:cNvSpPr>
            <a:spLocks noChangeArrowheads="1"/>
          </p:cNvSpPr>
          <p:nvPr/>
        </p:nvSpPr>
        <p:spPr bwMode="auto">
          <a:xfrm>
            <a:off x="2182722" y="4477553"/>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39" name="Oval 817">
            <a:extLst>
              <a:ext uri="{FF2B5EF4-FFF2-40B4-BE49-F238E27FC236}">
                <a16:creationId xmlns:a16="http://schemas.microsoft.com/office/drawing/2014/main" id="{ECCBF79E-C8A5-4D36-B49A-CD5F474E6F2C}"/>
              </a:ext>
            </a:extLst>
          </p:cNvPr>
          <p:cNvSpPr>
            <a:spLocks noChangeArrowheads="1"/>
          </p:cNvSpPr>
          <p:nvPr/>
        </p:nvSpPr>
        <p:spPr bwMode="auto">
          <a:xfrm>
            <a:off x="2182722" y="4477553"/>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40" name="Oval 818">
            <a:extLst>
              <a:ext uri="{FF2B5EF4-FFF2-40B4-BE49-F238E27FC236}">
                <a16:creationId xmlns:a16="http://schemas.microsoft.com/office/drawing/2014/main" id="{7E91525B-15FF-4AF5-9A84-5692977D5CC7}"/>
              </a:ext>
            </a:extLst>
          </p:cNvPr>
          <p:cNvSpPr>
            <a:spLocks noChangeArrowheads="1"/>
          </p:cNvSpPr>
          <p:nvPr/>
        </p:nvSpPr>
        <p:spPr bwMode="auto">
          <a:xfrm>
            <a:off x="4308782" y="4319181"/>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41" name="Oval 819">
            <a:extLst>
              <a:ext uri="{FF2B5EF4-FFF2-40B4-BE49-F238E27FC236}">
                <a16:creationId xmlns:a16="http://schemas.microsoft.com/office/drawing/2014/main" id="{4A2F7DCB-D307-4925-9578-B64C50805A97}"/>
              </a:ext>
            </a:extLst>
          </p:cNvPr>
          <p:cNvSpPr>
            <a:spLocks noChangeArrowheads="1"/>
          </p:cNvSpPr>
          <p:nvPr/>
        </p:nvSpPr>
        <p:spPr bwMode="auto">
          <a:xfrm>
            <a:off x="3659221" y="2529690"/>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42" name="Oval 820">
            <a:extLst>
              <a:ext uri="{FF2B5EF4-FFF2-40B4-BE49-F238E27FC236}">
                <a16:creationId xmlns:a16="http://schemas.microsoft.com/office/drawing/2014/main" id="{86C93CB5-4DA0-4F3F-82FA-0FFB8557A674}"/>
              </a:ext>
            </a:extLst>
          </p:cNvPr>
          <p:cNvSpPr>
            <a:spLocks noChangeArrowheads="1"/>
          </p:cNvSpPr>
          <p:nvPr/>
        </p:nvSpPr>
        <p:spPr bwMode="auto">
          <a:xfrm>
            <a:off x="4247448" y="2059171"/>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43" name="Oval 821">
            <a:extLst>
              <a:ext uri="{FF2B5EF4-FFF2-40B4-BE49-F238E27FC236}">
                <a16:creationId xmlns:a16="http://schemas.microsoft.com/office/drawing/2014/main" id="{C6A62A59-4B88-4444-9288-F2BB5550A9DB}"/>
              </a:ext>
            </a:extLst>
          </p:cNvPr>
          <p:cNvSpPr>
            <a:spLocks noChangeArrowheads="1"/>
          </p:cNvSpPr>
          <p:nvPr/>
        </p:nvSpPr>
        <p:spPr bwMode="auto">
          <a:xfrm>
            <a:off x="2145426" y="2591040"/>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44" name="Oval 822">
            <a:extLst>
              <a:ext uri="{FF2B5EF4-FFF2-40B4-BE49-F238E27FC236}">
                <a16:creationId xmlns:a16="http://schemas.microsoft.com/office/drawing/2014/main" id="{8DFE35EA-4FC7-41E9-A7BF-315ED9F440B9}"/>
              </a:ext>
            </a:extLst>
          </p:cNvPr>
          <p:cNvSpPr>
            <a:spLocks noChangeArrowheads="1"/>
          </p:cNvSpPr>
          <p:nvPr/>
        </p:nvSpPr>
        <p:spPr bwMode="auto">
          <a:xfrm>
            <a:off x="1706683" y="2857847"/>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46" name="Oval 824">
            <a:extLst>
              <a:ext uri="{FF2B5EF4-FFF2-40B4-BE49-F238E27FC236}">
                <a16:creationId xmlns:a16="http://schemas.microsoft.com/office/drawing/2014/main" id="{52274E23-2FAD-4A64-A6EB-4CC71369618A}"/>
              </a:ext>
            </a:extLst>
          </p:cNvPr>
          <p:cNvSpPr>
            <a:spLocks noChangeArrowheads="1"/>
          </p:cNvSpPr>
          <p:nvPr/>
        </p:nvSpPr>
        <p:spPr bwMode="auto">
          <a:xfrm>
            <a:off x="4062982" y="2507336"/>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47" name="Oval 825">
            <a:extLst>
              <a:ext uri="{FF2B5EF4-FFF2-40B4-BE49-F238E27FC236}">
                <a16:creationId xmlns:a16="http://schemas.microsoft.com/office/drawing/2014/main" id="{EDC0557E-4A28-4302-83E9-6A049D9EAA44}"/>
              </a:ext>
            </a:extLst>
          </p:cNvPr>
          <p:cNvSpPr>
            <a:spLocks noChangeArrowheads="1"/>
          </p:cNvSpPr>
          <p:nvPr/>
        </p:nvSpPr>
        <p:spPr bwMode="auto">
          <a:xfrm>
            <a:off x="3764630" y="2493385"/>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48" name="Oval 826">
            <a:extLst>
              <a:ext uri="{FF2B5EF4-FFF2-40B4-BE49-F238E27FC236}">
                <a16:creationId xmlns:a16="http://schemas.microsoft.com/office/drawing/2014/main" id="{9FB737D0-9174-4409-BA23-EEB1FD969330}"/>
              </a:ext>
            </a:extLst>
          </p:cNvPr>
          <p:cNvSpPr>
            <a:spLocks noChangeArrowheads="1"/>
          </p:cNvSpPr>
          <p:nvPr/>
        </p:nvSpPr>
        <p:spPr bwMode="auto">
          <a:xfrm>
            <a:off x="5359793" y="3163017"/>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49" name="Oval 827">
            <a:extLst>
              <a:ext uri="{FF2B5EF4-FFF2-40B4-BE49-F238E27FC236}">
                <a16:creationId xmlns:a16="http://schemas.microsoft.com/office/drawing/2014/main" id="{FED437B0-BD67-4D76-92E3-300B7BCA6B6F}"/>
              </a:ext>
            </a:extLst>
          </p:cNvPr>
          <p:cNvSpPr>
            <a:spLocks noChangeArrowheads="1"/>
          </p:cNvSpPr>
          <p:nvPr/>
        </p:nvSpPr>
        <p:spPr bwMode="auto">
          <a:xfrm>
            <a:off x="2489855" y="4287475"/>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50" name="Oval 828">
            <a:extLst>
              <a:ext uri="{FF2B5EF4-FFF2-40B4-BE49-F238E27FC236}">
                <a16:creationId xmlns:a16="http://schemas.microsoft.com/office/drawing/2014/main" id="{E83800B4-241B-4258-8222-4563F662AF63}"/>
              </a:ext>
            </a:extLst>
          </p:cNvPr>
          <p:cNvSpPr>
            <a:spLocks noChangeArrowheads="1"/>
          </p:cNvSpPr>
          <p:nvPr/>
        </p:nvSpPr>
        <p:spPr bwMode="auto">
          <a:xfrm>
            <a:off x="5478147" y="3147324"/>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51" name="Oval 829">
            <a:extLst>
              <a:ext uri="{FF2B5EF4-FFF2-40B4-BE49-F238E27FC236}">
                <a16:creationId xmlns:a16="http://schemas.microsoft.com/office/drawing/2014/main" id="{E27232D7-C1D6-4FB7-869C-4E6795136D8D}"/>
              </a:ext>
            </a:extLst>
          </p:cNvPr>
          <p:cNvSpPr>
            <a:spLocks noChangeArrowheads="1"/>
          </p:cNvSpPr>
          <p:nvPr/>
        </p:nvSpPr>
        <p:spPr bwMode="auto">
          <a:xfrm>
            <a:off x="3861256" y="2477691"/>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52" name="Oval 830">
            <a:extLst>
              <a:ext uri="{FF2B5EF4-FFF2-40B4-BE49-F238E27FC236}">
                <a16:creationId xmlns:a16="http://schemas.microsoft.com/office/drawing/2014/main" id="{927D5BE9-DC16-4912-9A5E-AC20B4EFD368}"/>
              </a:ext>
            </a:extLst>
          </p:cNvPr>
          <p:cNvSpPr>
            <a:spLocks noChangeArrowheads="1"/>
          </p:cNvSpPr>
          <p:nvPr/>
        </p:nvSpPr>
        <p:spPr bwMode="auto">
          <a:xfrm>
            <a:off x="3973137" y="2271918"/>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53" name="Oval 831">
            <a:extLst>
              <a:ext uri="{FF2B5EF4-FFF2-40B4-BE49-F238E27FC236}">
                <a16:creationId xmlns:a16="http://schemas.microsoft.com/office/drawing/2014/main" id="{3E523BF6-8078-4740-894B-B0199A915C52}"/>
              </a:ext>
            </a:extLst>
          </p:cNvPr>
          <p:cNvSpPr>
            <a:spLocks noChangeArrowheads="1"/>
          </p:cNvSpPr>
          <p:nvPr/>
        </p:nvSpPr>
        <p:spPr bwMode="auto">
          <a:xfrm>
            <a:off x="3861256" y="2400962"/>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54" name="Oval 832">
            <a:extLst>
              <a:ext uri="{FF2B5EF4-FFF2-40B4-BE49-F238E27FC236}">
                <a16:creationId xmlns:a16="http://schemas.microsoft.com/office/drawing/2014/main" id="{50165605-3120-41BA-A087-F3A742180B1E}"/>
              </a:ext>
            </a:extLst>
          </p:cNvPr>
          <p:cNvSpPr>
            <a:spLocks noChangeArrowheads="1"/>
          </p:cNvSpPr>
          <p:nvPr/>
        </p:nvSpPr>
        <p:spPr bwMode="auto">
          <a:xfrm>
            <a:off x="4025687" y="4226440"/>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55" name="Oval 833">
            <a:extLst>
              <a:ext uri="{FF2B5EF4-FFF2-40B4-BE49-F238E27FC236}">
                <a16:creationId xmlns:a16="http://schemas.microsoft.com/office/drawing/2014/main" id="{899A715E-F098-4360-A57D-5F725E5F5F4C}"/>
              </a:ext>
            </a:extLst>
          </p:cNvPr>
          <p:cNvSpPr>
            <a:spLocks noChangeArrowheads="1"/>
          </p:cNvSpPr>
          <p:nvPr/>
        </p:nvSpPr>
        <p:spPr bwMode="auto">
          <a:xfrm>
            <a:off x="4025687" y="4226440"/>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56" name="Oval 834">
            <a:extLst>
              <a:ext uri="{FF2B5EF4-FFF2-40B4-BE49-F238E27FC236}">
                <a16:creationId xmlns:a16="http://schemas.microsoft.com/office/drawing/2014/main" id="{04769C3E-B8A7-4387-9CE5-21BF268E2EF7}"/>
              </a:ext>
            </a:extLst>
          </p:cNvPr>
          <p:cNvSpPr>
            <a:spLocks noChangeArrowheads="1"/>
          </p:cNvSpPr>
          <p:nvPr/>
        </p:nvSpPr>
        <p:spPr bwMode="auto">
          <a:xfrm>
            <a:off x="3815178" y="2362281"/>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57" name="Oval 835">
            <a:extLst>
              <a:ext uri="{FF2B5EF4-FFF2-40B4-BE49-F238E27FC236}">
                <a16:creationId xmlns:a16="http://schemas.microsoft.com/office/drawing/2014/main" id="{717261DD-1DFD-44E2-B063-B3B212900654}"/>
              </a:ext>
            </a:extLst>
          </p:cNvPr>
          <p:cNvSpPr>
            <a:spLocks noChangeArrowheads="1"/>
          </p:cNvSpPr>
          <p:nvPr/>
        </p:nvSpPr>
        <p:spPr bwMode="auto">
          <a:xfrm>
            <a:off x="3898549" y="2233554"/>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58" name="Oval 836">
            <a:extLst>
              <a:ext uri="{FF2B5EF4-FFF2-40B4-BE49-F238E27FC236}">
                <a16:creationId xmlns:a16="http://schemas.microsoft.com/office/drawing/2014/main" id="{51C37DBE-0213-4FC0-B25F-DEDAD4D27489}"/>
              </a:ext>
            </a:extLst>
          </p:cNvPr>
          <p:cNvSpPr>
            <a:spLocks noChangeArrowheads="1"/>
          </p:cNvSpPr>
          <p:nvPr/>
        </p:nvSpPr>
        <p:spPr bwMode="auto">
          <a:xfrm>
            <a:off x="3889766" y="2325976"/>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59" name="Oval 837">
            <a:extLst>
              <a:ext uri="{FF2B5EF4-FFF2-40B4-BE49-F238E27FC236}">
                <a16:creationId xmlns:a16="http://schemas.microsoft.com/office/drawing/2014/main" id="{7A5B894A-D73F-4C83-B4E7-0FC44BDEF78E}"/>
              </a:ext>
            </a:extLst>
          </p:cNvPr>
          <p:cNvSpPr>
            <a:spLocks noChangeArrowheads="1"/>
          </p:cNvSpPr>
          <p:nvPr/>
        </p:nvSpPr>
        <p:spPr bwMode="auto">
          <a:xfrm>
            <a:off x="5583556" y="2660793"/>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60" name="Oval 838">
            <a:extLst>
              <a:ext uri="{FF2B5EF4-FFF2-40B4-BE49-F238E27FC236}">
                <a16:creationId xmlns:a16="http://schemas.microsoft.com/office/drawing/2014/main" id="{67288419-F09C-43BD-8334-72B2BF0E713C}"/>
              </a:ext>
            </a:extLst>
          </p:cNvPr>
          <p:cNvSpPr>
            <a:spLocks noChangeArrowheads="1"/>
          </p:cNvSpPr>
          <p:nvPr/>
        </p:nvSpPr>
        <p:spPr bwMode="auto">
          <a:xfrm>
            <a:off x="6037864" y="2918881"/>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61" name="Oval 839">
            <a:extLst>
              <a:ext uri="{FF2B5EF4-FFF2-40B4-BE49-F238E27FC236}">
                <a16:creationId xmlns:a16="http://schemas.microsoft.com/office/drawing/2014/main" id="{C1BCEDEF-D5DF-4C33-8B0D-FA8C4859D9F4}"/>
              </a:ext>
            </a:extLst>
          </p:cNvPr>
          <p:cNvSpPr>
            <a:spLocks noChangeArrowheads="1"/>
          </p:cNvSpPr>
          <p:nvPr/>
        </p:nvSpPr>
        <p:spPr bwMode="auto">
          <a:xfrm>
            <a:off x="5583556" y="2660793"/>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62" name="Oval 840">
            <a:extLst>
              <a:ext uri="{FF2B5EF4-FFF2-40B4-BE49-F238E27FC236}">
                <a16:creationId xmlns:a16="http://schemas.microsoft.com/office/drawing/2014/main" id="{EC01E5F0-17EF-4AE9-9D5F-43B64D32AADE}"/>
              </a:ext>
            </a:extLst>
          </p:cNvPr>
          <p:cNvSpPr>
            <a:spLocks noChangeArrowheads="1"/>
          </p:cNvSpPr>
          <p:nvPr/>
        </p:nvSpPr>
        <p:spPr bwMode="auto">
          <a:xfrm>
            <a:off x="5537478" y="274449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63" name="Oval 841">
            <a:extLst>
              <a:ext uri="{FF2B5EF4-FFF2-40B4-BE49-F238E27FC236}">
                <a16:creationId xmlns:a16="http://schemas.microsoft.com/office/drawing/2014/main" id="{F4A16436-3561-4000-91D0-1CA9BFBDFA17}"/>
              </a:ext>
            </a:extLst>
          </p:cNvPr>
          <p:cNvSpPr>
            <a:spLocks noChangeArrowheads="1"/>
          </p:cNvSpPr>
          <p:nvPr/>
        </p:nvSpPr>
        <p:spPr bwMode="auto">
          <a:xfrm>
            <a:off x="4576314" y="2120205"/>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64" name="Oval 842">
            <a:extLst>
              <a:ext uri="{FF2B5EF4-FFF2-40B4-BE49-F238E27FC236}">
                <a16:creationId xmlns:a16="http://schemas.microsoft.com/office/drawing/2014/main" id="{C28D51AA-5152-484B-8166-68B4AB9F29FE}"/>
              </a:ext>
            </a:extLst>
          </p:cNvPr>
          <p:cNvSpPr>
            <a:spLocks noChangeArrowheads="1"/>
          </p:cNvSpPr>
          <p:nvPr/>
        </p:nvSpPr>
        <p:spPr bwMode="auto">
          <a:xfrm>
            <a:off x="1787745" y="2873540"/>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65" name="Oval 843">
            <a:extLst>
              <a:ext uri="{FF2B5EF4-FFF2-40B4-BE49-F238E27FC236}">
                <a16:creationId xmlns:a16="http://schemas.microsoft.com/office/drawing/2014/main" id="{660BCDFF-3B26-4E84-8CA1-188ACB61D1DE}"/>
              </a:ext>
            </a:extLst>
          </p:cNvPr>
          <p:cNvSpPr>
            <a:spLocks noChangeArrowheads="1"/>
          </p:cNvSpPr>
          <p:nvPr/>
        </p:nvSpPr>
        <p:spPr bwMode="auto">
          <a:xfrm>
            <a:off x="6439313" y="290318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66" name="Oval 844">
            <a:extLst>
              <a:ext uri="{FF2B5EF4-FFF2-40B4-BE49-F238E27FC236}">
                <a16:creationId xmlns:a16="http://schemas.microsoft.com/office/drawing/2014/main" id="{E63B54B4-D636-4535-8192-CF6192577E8F}"/>
              </a:ext>
            </a:extLst>
          </p:cNvPr>
          <p:cNvSpPr>
            <a:spLocks noChangeArrowheads="1"/>
          </p:cNvSpPr>
          <p:nvPr/>
        </p:nvSpPr>
        <p:spPr bwMode="auto">
          <a:xfrm>
            <a:off x="3696515" y="271310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67" name="Oval 845">
            <a:extLst>
              <a:ext uri="{FF2B5EF4-FFF2-40B4-BE49-F238E27FC236}">
                <a16:creationId xmlns:a16="http://schemas.microsoft.com/office/drawing/2014/main" id="{E6009711-3ABD-44F2-A152-7CBDD2D35B19}"/>
              </a:ext>
            </a:extLst>
          </p:cNvPr>
          <p:cNvSpPr>
            <a:spLocks noChangeArrowheads="1"/>
          </p:cNvSpPr>
          <p:nvPr/>
        </p:nvSpPr>
        <p:spPr bwMode="auto">
          <a:xfrm>
            <a:off x="3793141" y="2400962"/>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68" name="Oval 846">
            <a:extLst>
              <a:ext uri="{FF2B5EF4-FFF2-40B4-BE49-F238E27FC236}">
                <a16:creationId xmlns:a16="http://schemas.microsoft.com/office/drawing/2014/main" id="{A9482308-3635-42B8-B7CF-EFAACA7B8CDA}"/>
              </a:ext>
            </a:extLst>
          </p:cNvPr>
          <p:cNvSpPr>
            <a:spLocks noChangeArrowheads="1"/>
          </p:cNvSpPr>
          <p:nvPr/>
        </p:nvSpPr>
        <p:spPr bwMode="auto">
          <a:xfrm>
            <a:off x="3801923" y="2400962"/>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69" name="Oval 847">
            <a:extLst>
              <a:ext uri="{FF2B5EF4-FFF2-40B4-BE49-F238E27FC236}">
                <a16:creationId xmlns:a16="http://schemas.microsoft.com/office/drawing/2014/main" id="{86331987-136D-4A5F-A229-DF4A349F3F10}"/>
              </a:ext>
            </a:extLst>
          </p:cNvPr>
          <p:cNvSpPr>
            <a:spLocks noChangeArrowheads="1"/>
          </p:cNvSpPr>
          <p:nvPr/>
        </p:nvSpPr>
        <p:spPr bwMode="auto">
          <a:xfrm>
            <a:off x="6165002" y="2735778"/>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70" name="Oval 848">
            <a:extLst>
              <a:ext uri="{FF2B5EF4-FFF2-40B4-BE49-F238E27FC236}">
                <a16:creationId xmlns:a16="http://schemas.microsoft.com/office/drawing/2014/main" id="{117206B4-FF40-4341-B28B-53A9F90D61FD}"/>
              </a:ext>
            </a:extLst>
          </p:cNvPr>
          <p:cNvSpPr>
            <a:spLocks noChangeArrowheads="1"/>
          </p:cNvSpPr>
          <p:nvPr/>
        </p:nvSpPr>
        <p:spPr bwMode="auto">
          <a:xfrm>
            <a:off x="6165002" y="2735778"/>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71" name="Oval 849">
            <a:extLst>
              <a:ext uri="{FF2B5EF4-FFF2-40B4-BE49-F238E27FC236}">
                <a16:creationId xmlns:a16="http://schemas.microsoft.com/office/drawing/2014/main" id="{BEF44222-1F7E-44D3-A262-1A4CC9E33710}"/>
              </a:ext>
            </a:extLst>
          </p:cNvPr>
          <p:cNvSpPr>
            <a:spLocks noChangeArrowheads="1"/>
          </p:cNvSpPr>
          <p:nvPr/>
        </p:nvSpPr>
        <p:spPr bwMode="auto">
          <a:xfrm>
            <a:off x="6178254" y="273577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72" name="Oval 850">
            <a:extLst>
              <a:ext uri="{FF2B5EF4-FFF2-40B4-BE49-F238E27FC236}">
                <a16:creationId xmlns:a16="http://schemas.microsoft.com/office/drawing/2014/main" id="{FE153D2E-E963-48A1-A909-DB0FE542F3C8}"/>
              </a:ext>
            </a:extLst>
          </p:cNvPr>
          <p:cNvSpPr>
            <a:spLocks noChangeArrowheads="1"/>
          </p:cNvSpPr>
          <p:nvPr/>
        </p:nvSpPr>
        <p:spPr bwMode="auto">
          <a:xfrm>
            <a:off x="6171475" y="273577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73" name="Oval 851">
            <a:extLst>
              <a:ext uri="{FF2B5EF4-FFF2-40B4-BE49-F238E27FC236}">
                <a16:creationId xmlns:a16="http://schemas.microsoft.com/office/drawing/2014/main" id="{5A4E61BD-C9C1-4E3E-A8A0-5C68048710F1}"/>
              </a:ext>
            </a:extLst>
          </p:cNvPr>
          <p:cNvSpPr>
            <a:spLocks noChangeArrowheads="1"/>
          </p:cNvSpPr>
          <p:nvPr/>
        </p:nvSpPr>
        <p:spPr bwMode="auto">
          <a:xfrm>
            <a:off x="6075157" y="3238003"/>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74" name="Oval 852">
            <a:extLst>
              <a:ext uri="{FF2B5EF4-FFF2-40B4-BE49-F238E27FC236}">
                <a16:creationId xmlns:a16="http://schemas.microsoft.com/office/drawing/2014/main" id="{6CA561EB-7985-4654-B124-A3B6D995A23B}"/>
              </a:ext>
            </a:extLst>
          </p:cNvPr>
          <p:cNvSpPr>
            <a:spLocks noChangeArrowheads="1"/>
          </p:cNvSpPr>
          <p:nvPr/>
        </p:nvSpPr>
        <p:spPr bwMode="auto">
          <a:xfrm>
            <a:off x="4069763" y="2500360"/>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75" name="Oval 853">
            <a:extLst>
              <a:ext uri="{FF2B5EF4-FFF2-40B4-BE49-F238E27FC236}">
                <a16:creationId xmlns:a16="http://schemas.microsoft.com/office/drawing/2014/main" id="{4DB11248-4E25-4BEB-8FD9-FF37F8899BA9}"/>
              </a:ext>
            </a:extLst>
          </p:cNvPr>
          <p:cNvSpPr>
            <a:spLocks noChangeArrowheads="1"/>
          </p:cNvSpPr>
          <p:nvPr/>
        </p:nvSpPr>
        <p:spPr bwMode="auto">
          <a:xfrm>
            <a:off x="3927059" y="2552358"/>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76" name="Oval 854">
            <a:extLst>
              <a:ext uri="{FF2B5EF4-FFF2-40B4-BE49-F238E27FC236}">
                <a16:creationId xmlns:a16="http://schemas.microsoft.com/office/drawing/2014/main" id="{4301BE3D-7A22-4086-816F-8EDF559F418C}"/>
              </a:ext>
            </a:extLst>
          </p:cNvPr>
          <p:cNvSpPr>
            <a:spLocks noChangeArrowheads="1"/>
          </p:cNvSpPr>
          <p:nvPr/>
        </p:nvSpPr>
        <p:spPr bwMode="auto">
          <a:xfrm>
            <a:off x="2086096" y="3923330"/>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77" name="Oval 855">
            <a:extLst>
              <a:ext uri="{FF2B5EF4-FFF2-40B4-BE49-F238E27FC236}">
                <a16:creationId xmlns:a16="http://schemas.microsoft.com/office/drawing/2014/main" id="{BE3A2CCB-0F46-4D6E-8674-6AD4858406F9}"/>
              </a:ext>
            </a:extLst>
          </p:cNvPr>
          <p:cNvSpPr>
            <a:spLocks noChangeArrowheads="1"/>
          </p:cNvSpPr>
          <p:nvPr/>
        </p:nvSpPr>
        <p:spPr bwMode="auto">
          <a:xfrm>
            <a:off x="6178254" y="2803471"/>
            <a:ext cx="101711" cy="104631"/>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78" name="Oval 856">
            <a:extLst>
              <a:ext uri="{FF2B5EF4-FFF2-40B4-BE49-F238E27FC236}">
                <a16:creationId xmlns:a16="http://schemas.microsoft.com/office/drawing/2014/main" id="{8451F4C1-8185-4D41-A96B-813E074A78C6}"/>
              </a:ext>
            </a:extLst>
          </p:cNvPr>
          <p:cNvSpPr>
            <a:spLocks noChangeArrowheads="1"/>
          </p:cNvSpPr>
          <p:nvPr/>
        </p:nvSpPr>
        <p:spPr bwMode="auto">
          <a:xfrm>
            <a:off x="6178254" y="2803471"/>
            <a:ext cx="101711" cy="104631"/>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79" name="Oval 857">
            <a:extLst>
              <a:ext uri="{FF2B5EF4-FFF2-40B4-BE49-F238E27FC236}">
                <a16:creationId xmlns:a16="http://schemas.microsoft.com/office/drawing/2014/main" id="{FF855F47-CFDE-483C-B9D8-F7E9BE36669C}"/>
              </a:ext>
            </a:extLst>
          </p:cNvPr>
          <p:cNvSpPr>
            <a:spLocks noChangeArrowheads="1"/>
          </p:cNvSpPr>
          <p:nvPr/>
        </p:nvSpPr>
        <p:spPr bwMode="auto">
          <a:xfrm>
            <a:off x="6171475" y="3101985"/>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80" name="Oval 858">
            <a:extLst>
              <a:ext uri="{FF2B5EF4-FFF2-40B4-BE49-F238E27FC236}">
                <a16:creationId xmlns:a16="http://schemas.microsoft.com/office/drawing/2014/main" id="{EA0C6555-850B-4A27-A3C9-E6B3D252248C}"/>
              </a:ext>
            </a:extLst>
          </p:cNvPr>
          <p:cNvSpPr>
            <a:spLocks noChangeArrowheads="1"/>
          </p:cNvSpPr>
          <p:nvPr/>
        </p:nvSpPr>
        <p:spPr bwMode="auto">
          <a:xfrm>
            <a:off x="6112451" y="2828201"/>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81" name="Oval 859">
            <a:extLst>
              <a:ext uri="{FF2B5EF4-FFF2-40B4-BE49-F238E27FC236}">
                <a16:creationId xmlns:a16="http://schemas.microsoft.com/office/drawing/2014/main" id="{430C521D-23E5-4509-BF35-4C966D3B2D62}"/>
              </a:ext>
            </a:extLst>
          </p:cNvPr>
          <p:cNvSpPr>
            <a:spLocks noChangeArrowheads="1"/>
          </p:cNvSpPr>
          <p:nvPr/>
        </p:nvSpPr>
        <p:spPr bwMode="auto">
          <a:xfrm>
            <a:off x="5910416" y="3009560"/>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82" name="Oval 860">
            <a:extLst>
              <a:ext uri="{FF2B5EF4-FFF2-40B4-BE49-F238E27FC236}">
                <a16:creationId xmlns:a16="http://schemas.microsoft.com/office/drawing/2014/main" id="{1A04C4DC-8475-4F95-9B27-95BD7923F875}"/>
              </a:ext>
            </a:extLst>
          </p:cNvPr>
          <p:cNvSpPr>
            <a:spLocks noChangeArrowheads="1"/>
          </p:cNvSpPr>
          <p:nvPr/>
        </p:nvSpPr>
        <p:spPr bwMode="auto">
          <a:xfrm>
            <a:off x="6379983" y="2606735"/>
            <a:ext cx="10171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83" name="Oval 861">
            <a:extLst>
              <a:ext uri="{FF2B5EF4-FFF2-40B4-BE49-F238E27FC236}">
                <a16:creationId xmlns:a16="http://schemas.microsoft.com/office/drawing/2014/main" id="{BE8FB0DC-2EA0-4673-AE67-64A5BE0C5943}"/>
              </a:ext>
            </a:extLst>
          </p:cNvPr>
          <p:cNvSpPr>
            <a:spLocks noChangeArrowheads="1"/>
          </p:cNvSpPr>
          <p:nvPr/>
        </p:nvSpPr>
        <p:spPr bwMode="auto">
          <a:xfrm>
            <a:off x="6261627" y="2850872"/>
            <a:ext cx="99401" cy="102254"/>
          </a:xfrm>
          <a:prstGeom prst="ellipse">
            <a:avLst/>
          </a:prstGeom>
          <a:solidFill>
            <a:srgbClr val="82B84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84" name="Oval 862">
            <a:extLst>
              <a:ext uri="{FF2B5EF4-FFF2-40B4-BE49-F238E27FC236}">
                <a16:creationId xmlns:a16="http://schemas.microsoft.com/office/drawing/2014/main" id="{5F744E7B-023D-4B9F-A38C-5C5F24A17E64}"/>
              </a:ext>
            </a:extLst>
          </p:cNvPr>
          <p:cNvSpPr>
            <a:spLocks noChangeArrowheads="1"/>
          </p:cNvSpPr>
          <p:nvPr/>
        </p:nvSpPr>
        <p:spPr bwMode="auto">
          <a:xfrm>
            <a:off x="3666002" y="2188215"/>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85" name="Oval 863">
            <a:extLst>
              <a:ext uri="{FF2B5EF4-FFF2-40B4-BE49-F238E27FC236}">
                <a16:creationId xmlns:a16="http://schemas.microsoft.com/office/drawing/2014/main" id="{E3F7AC04-FFEE-48E2-9073-0E5970765244}"/>
              </a:ext>
            </a:extLst>
          </p:cNvPr>
          <p:cNvSpPr>
            <a:spLocks noChangeArrowheads="1"/>
          </p:cNvSpPr>
          <p:nvPr/>
        </p:nvSpPr>
        <p:spPr bwMode="auto">
          <a:xfrm>
            <a:off x="3808397" y="2409681"/>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86" name="Oval 864">
            <a:extLst>
              <a:ext uri="{FF2B5EF4-FFF2-40B4-BE49-F238E27FC236}">
                <a16:creationId xmlns:a16="http://schemas.microsoft.com/office/drawing/2014/main" id="{7D4B1982-D731-4212-B27B-A3E555ADBFEB}"/>
              </a:ext>
            </a:extLst>
          </p:cNvPr>
          <p:cNvSpPr>
            <a:spLocks noChangeArrowheads="1"/>
          </p:cNvSpPr>
          <p:nvPr/>
        </p:nvSpPr>
        <p:spPr bwMode="auto">
          <a:xfrm>
            <a:off x="1638569" y="2918881"/>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87" name="Oval 865">
            <a:extLst>
              <a:ext uri="{FF2B5EF4-FFF2-40B4-BE49-F238E27FC236}">
                <a16:creationId xmlns:a16="http://schemas.microsoft.com/office/drawing/2014/main" id="{5EAFF6EC-6863-4AA7-B469-72D604CDED11}"/>
              </a:ext>
            </a:extLst>
          </p:cNvPr>
          <p:cNvSpPr>
            <a:spLocks noChangeArrowheads="1"/>
          </p:cNvSpPr>
          <p:nvPr/>
        </p:nvSpPr>
        <p:spPr bwMode="auto">
          <a:xfrm>
            <a:off x="3861256" y="1943761"/>
            <a:ext cx="99401" cy="104631"/>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88" name="Oval 866">
            <a:extLst>
              <a:ext uri="{FF2B5EF4-FFF2-40B4-BE49-F238E27FC236}">
                <a16:creationId xmlns:a16="http://schemas.microsoft.com/office/drawing/2014/main" id="{018AE1EE-E120-48F3-A774-D8BEA12A57AE}"/>
              </a:ext>
            </a:extLst>
          </p:cNvPr>
          <p:cNvSpPr>
            <a:spLocks noChangeArrowheads="1"/>
          </p:cNvSpPr>
          <p:nvPr/>
        </p:nvSpPr>
        <p:spPr bwMode="auto">
          <a:xfrm>
            <a:off x="6573232" y="4251171"/>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89" name="Oval 867">
            <a:extLst>
              <a:ext uri="{FF2B5EF4-FFF2-40B4-BE49-F238E27FC236}">
                <a16:creationId xmlns:a16="http://schemas.microsoft.com/office/drawing/2014/main" id="{AE0FF3A8-5526-4B26-9451-D30662CE9BD8}"/>
              </a:ext>
            </a:extLst>
          </p:cNvPr>
          <p:cNvSpPr>
            <a:spLocks noChangeArrowheads="1"/>
          </p:cNvSpPr>
          <p:nvPr/>
        </p:nvSpPr>
        <p:spPr bwMode="auto">
          <a:xfrm>
            <a:off x="6582015" y="4273841"/>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90" name="Oval 868">
            <a:extLst>
              <a:ext uri="{FF2B5EF4-FFF2-40B4-BE49-F238E27FC236}">
                <a16:creationId xmlns:a16="http://schemas.microsoft.com/office/drawing/2014/main" id="{BE34CC9D-A819-4A40-8F80-6F2AD643F022}"/>
              </a:ext>
            </a:extLst>
          </p:cNvPr>
          <p:cNvSpPr>
            <a:spLocks noChangeArrowheads="1"/>
          </p:cNvSpPr>
          <p:nvPr/>
        </p:nvSpPr>
        <p:spPr bwMode="auto">
          <a:xfrm>
            <a:off x="4016904" y="2529690"/>
            <a:ext cx="101711" cy="104631"/>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91" name="Oval 869">
            <a:extLst>
              <a:ext uri="{FF2B5EF4-FFF2-40B4-BE49-F238E27FC236}">
                <a16:creationId xmlns:a16="http://schemas.microsoft.com/office/drawing/2014/main" id="{A63FA52F-0EAC-405F-AFEF-A978C330DADC}"/>
              </a:ext>
            </a:extLst>
          </p:cNvPr>
          <p:cNvSpPr>
            <a:spLocks noChangeArrowheads="1"/>
          </p:cNvSpPr>
          <p:nvPr/>
        </p:nvSpPr>
        <p:spPr bwMode="auto">
          <a:xfrm>
            <a:off x="3815178" y="2606735"/>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92" name="Oval 870">
            <a:extLst>
              <a:ext uri="{FF2B5EF4-FFF2-40B4-BE49-F238E27FC236}">
                <a16:creationId xmlns:a16="http://schemas.microsoft.com/office/drawing/2014/main" id="{90751262-2F2F-4766-836B-6E36AEA6BE3A}"/>
              </a:ext>
            </a:extLst>
          </p:cNvPr>
          <p:cNvSpPr>
            <a:spLocks noChangeArrowheads="1"/>
          </p:cNvSpPr>
          <p:nvPr/>
        </p:nvSpPr>
        <p:spPr bwMode="auto">
          <a:xfrm>
            <a:off x="3793141" y="2523031"/>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93" name="Oval 871">
            <a:extLst>
              <a:ext uri="{FF2B5EF4-FFF2-40B4-BE49-F238E27FC236}">
                <a16:creationId xmlns:a16="http://schemas.microsoft.com/office/drawing/2014/main" id="{ABC5E9BA-FAB5-47EC-B620-FEFA232AB3BD}"/>
              </a:ext>
            </a:extLst>
          </p:cNvPr>
          <p:cNvSpPr>
            <a:spLocks noChangeArrowheads="1"/>
          </p:cNvSpPr>
          <p:nvPr/>
        </p:nvSpPr>
        <p:spPr bwMode="auto">
          <a:xfrm>
            <a:off x="3979610" y="2249249"/>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94" name="Oval 872">
            <a:extLst>
              <a:ext uri="{FF2B5EF4-FFF2-40B4-BE49-F238E27FC236}">
                <a16:creationId xmlns:a16="http://schemas.microsoft.com/office/drawing/2014/main" id="{B2C10223-DDA6-4285-B7EA-BDA74CF589B6}"/>
              </a:ext>
            </a:extLst>
          </p:cNvPr>
          <p:cNvSpPr>
            <a:spLocks noChangeArrowheads="1"/>
          </p:cNvSpPr>
          <p:nvPr/>
        </p:nvSpPr>
        <p:spPr bwMode="auto">
          <a:xfrm>
            <a:off x="3532083" y="2744497"/>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95" name="Oval 873">
            <a:extLst>
              <a:ext uri="{FF2B5EF4-FFF2-40B4-BE49-F238E27FC236}">
                <a16:creationId xmlns:a16="http://schemas.microsoft.com/office/drawing/2014/main" id="{ED34028F-CC68-44A1-A625-112C614DEDF7}"/>
              </a:ext>
            </a:extLst>
          </p:cNvPr>
          <p:cNvSpPr>
            <a:spLocks noChangeArrowheads="1"/>
          </p:cNvSpPr>
          <p:nvPr/>
        </p:nvSpPr>
        <p:spPr bwMode="auto">
          <a:xfrm>
            <a:off x="5462890" y="2706132"/>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96" name="Oval 874">
            <a:extLst>
              <a:ext uri="{FF2B5EF4-FFF2-40B4-BE49-F238E27FC236}">
                <a16:creationId xmlns:a16="http://schemas.microsoft.com/office/drawing/2014/main" id="{C01224E5-B552-4DBE-9738-2924054275BF}"/>
              </a:ext>
            </a:extLst>
          </p:cNvPr>
          <p:cNvSpPr>
            <a:spLocks noChangeArrowheads="1"/>
          </p:cNvSpPr>
          <p:nvPr/>
        </p:nvSpPr>
        <p:spPr bwMode="auto">
          <a:xfrm>
            <a:off x="1743977" y="3009560"/>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97" name="Oval 875">
            <a:extLst>
              <a:ext uri="{FF2B5EF4-FFF2-40B4-BE49-F238E27FC236}">
                <a16:creationId xmlns:a16="http://schemas.microsoft.com/office/drawing/2014/main" id="{52EC24C5-2563-4EBA-AD16-7DCBAE41D632}"/>
              </a:ext>
            </a:extLst>
          </p:cNvPr>
          <p:cNvSpPr>
            <a:spLocks noChangeArrowheads="1"/>
          </p:cNvSpPr>
          <p:nvPr/>
        </p:nvSpPr>
        <p:spPr bwMode="auto">
          <a:xfrm>
            <a:off x="6202295" y="2758447"/>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98" name="Oval 876">
            <a:extLst>
              <a:ext uri="{FF2B5EF4-FFF2-40B4-BE49-F238E27FC236}">
                <a16:creationId xmlns:a16="http://schemas.microsoft.com/office/drawing/2014/main" id="{4C73EACD-64B3-4CFF-BA77-F5BAF289ECDA}"/>
              </a:ext>
            </a:extLst>
          </p:cNvPr>
          <p:cNvSpPr>
            <a:spLocks noChangeArrowheads="1"/>
          </p:cNvSpPr>
          <p:nvPr/>
        </p:nvSpPr>
        <p:spPr bwMode="auto">
          <a:xfrm>
            <a:off x="6202295" y="2758447"/>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99" name="Oval 877">
            <a:extLst>
              <a:ext uri="{FF2B5EF4-FFF2-40B4-BE49-F238E27FC236}">
                <a16:creationId xmlns:a16="http://schemas.microsoft.com/office/drawing/2014/main" id="{8FC77EA9-8584-4AEA-A99A-9B2298CDA1A5}"/>
              </a:ext>
            </a:extLst>
          </p:cNvPr>
          <p:cNvSpPr>
            <a:spLocks noChangeArrowheads="1"/>
          </p:cNvSpPr>
          <p:nvPr/>
        </p:nvSpPr>
        <p:spPr bwMode="auto">
          <a:xfrm>
            <a:off x="3861256" y="2529690"/>
            <a:ext cx="99401" cy="104631"/>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01" name="Oval 879">
            <a:extLst>
              <a:ext uri="{FF2B5EF4-FFF2-40B4-BE49-F238E27FC236}">
                <a16:creationId xmlns:a16="http://schemas.microsoft.com/office/drawing/2014/main" id="{FDD87CD2-0DCD-4530-8377-7018A80391BB}"/>
              </a:ext>
            </a:extLst>
          </p:cNvPr>
          <p:cNvSpPr>
            <a:spLocks noChangeArrowheads="1"/>
          </p:cNvSpPr>
          <p:nvPr/>
        </p:nvSpPr>
        <p:spPr bwMode="auto">
          <a:xfrm>
            <a:off x="4337291" y="1488935"/>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02" name="Oval 880">
            <a:extLst>
              <a:ext uri="{FF2B5EF4-FFF2-40B4-BE49-F238E27FC236}">
                <a16:creationId xmlns:a16="http://schemas.microsoft.com/office/drawing/2014/main" id="{D5012B89-07E4-47A5-B1F6-1012CAC1FD83}"/>
              </a:ext>
            </a:extLst>
          </p:cNvPr>
          <p:cNvSpPr>
            <a:spLocks noChangeArrowheads="1"/>
          </p:cNvSpPr>
          <p:nvPr/>
        </p:nvSpPr>
        <p:spPr bwMode="auto">
          <a:xfrm>
            <a:off x="3652747" y="2667768"/>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03" name="Oval 881">
            <a:extLst>
              <a:ext uri="{FF2B5EF4-FFF2-40B4-BE49-F238E27FC236}">
                <a16:creationId xmlns:a16="http://schemas.microsoft.com/office/drawing/2014/main" id="{3CEF4133-566F-4FAB-B4B2-D2C65EA15177}"/>
              </a:ext>
            </a:extLst>
          </p:cNvPr>
          <p:cNvSpPr>
            <a:spLocks noChangeArrowheads="1"/>
          </p:cNvSpPr>
          <p:nvPr/>
        </p:nvSpPr>
        <p:spPr bwMode="auto">
          <a:xfrm>
            <a:off x="3674785" y="2362281"/>
            <a:ext cx="99401" cy="104631"/>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04" name="Oval 882">
            <a:extLst>
              <a:ext uri="{FF2B5EF4-FFF2-40B4-BE49-F238E27FC236}">
                <a16:creationId xmlns:a16="http://schemas.microsoft.com/office/drawing/2014/main" id="{52679A8A-3484-4F83-B09C-C372BFC2F8AF}"/>
              </a:ext>
            </a:extLst>
          </p:cNvPr>
          <p:cNvSpPr>
            <a:spLocks noChangeArrowheads="1"/>
          </p:cNvSpPr>
          <p:nvPr/>
        </p:nvSpPr>
        <p:spPr bwMode="auto">
          <a:xfrm>
            <a:off x="3674785" y="2552358"/>
            <a:ext cx="99401" cy="104631"/>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05" name="Oval 883">
            <a:extLst>
              <a:ext uri="{FF2B5EF4-FFF2-40B4-BE49-F238E27FC236}">
                <a16:creationId xmlns:a16="http://schemas.microsoft.com/office/drawing/2014/main" id="{83A7F5CE-5F90-441B-BDD7-DAFC9164716D}"/>
              </a:ext>
            </a:extLst>
          </p:cNvPr>
          <p:cNvSpPr>
            <a:spLocks noChangeArrowheads="1"/>
          </p:cNvSpPr>
          <p:nvPr/>
        </p:nvSpPr>
        <p:spPr bwMode="auto">
          <a:xfrm>
            <a:off x="3621928" y="2507336"/>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06" name="Oval 884">
            <a:extLst>
              <a:ext uri="{FF2B5EF4-FFF2-40B4-BE49-F238E27FC236}">
                <a16:creationId xmlns:a16="http://schemas.microsoft.com/office/drawing/2014/main" id="{E980993D-0BDD-490A-8CB9-216D6C086450}"/>
              </a:ext>
            </a:extLst>
          </p:cNvPr>
          <p:cNvSpPr>
            <a:spLocks noChangeArrowheads="1"/>
          </p:cNvSpPr>
          <p:nvPr/>
        </p:nvSpPr>
        <p:spPr bwMode="auto">
          <a:xfrm>
            <a:off x="1057124" y="2278577"/>
            <a:ext cx="101711" cy="104631"/>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07" name="Oval 885">
            <a:extLst>
              <a:ext uri="{FF2B5EF4-FFF2-40B4-BE49-F238E27FC236}">
                <a16:creationId xmlns:a16="http://schemas.microsoft.com/office/drawing/2014/main" id="{0EEAB0BC-7CF3-4B9E-BAC2-E554ABC383A8}"/>
              </a:ext>
            </a:extLst>
          </p:cNvPr>
          <p:cNvSpPr>
            <a:spLocks noChangeArrowheads="1"/>
          </p:cNvSpPr>
          <p:nvPr/>
        </p:nvSpPr>
        <p:spPr bwMode="auto">
          <a:xfrm>
            <a:off x="6417276" y="2880517"/>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08" name="Oval 886">
            <a:extLst>
              <a:ext uri="{FF2B5EF4-FFF2-40B4-BE49-F238E27FC236}">
                <a16:creationId xmlns:a16="http://schemas.microsoft.com/office/drawing/2014/main" id="{5138FD53-82B7-4E7A-BB1A-30E7E4C9BA73}"/>
              </a:ext>
            </a:extLst>
          </p:cNvPr>
          <p:cNvSpPr>
            <a:spLocks noChangeArrowheads="1"/>
          </p:cNvSpPr>
          <p:nvPr/>
        </p:nvSpPr>
        <p:spPr bwMode="auto">
          <a:xfrm>
            <a:off x="6961427" y="4273841"/>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09" name="Oval 887">
            <a:extLst>
              <a:ext uri="{FF2B5EF4-FFF2-40B4-BE49-F238E27FC236}">
                <a16:creationId xmlns:a16="http://schemas.microsoft.com/office/drawing/2014/main" id="{3B08810C-74F5-4E07-A48F-5E0490409EBC}"/>
              </a:ext>
            </a:extLst>
          </p:cNvPr>
          <p:cNvSpPr>
            <a:spLocks noChangeArrowheads="1"/>
          </p:cNvSpPr>
          <p:nvPr/>
        </p:nvSpPr>
        <p:spPr bwMode="auto">
          <a:xfrm>
            <a:off x="1162531" y="2857847"/>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10" name="Oval 888">
            <a:extLst>
              <a:ext uri="{FF2B5EF4-FFF2-40B4-BE49-F238E27FC236}">
                <a16:creationId xmlns:a16="http://schemas.microsoft.com/office/drawing/2014/main" id="{EA7437CD-DE1A-49D0-AF18-BA87DC20C743}"/>
              </a:ext>
            </a:extLst>
          </p:cNvPr>
          <p:cNvSpPr>
            <a:spLocks noChangeArrowheads="1"/>
          </p:cNvSpPr>
          <p:nvPr/>
        </p:nvSpPr>
        <p:spPr bwMode="auto">
          <a:xfrm>
            <a:off x="1155751" y="2842152"/>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11" name="Oval 889">
            <a:extLst>
              <a:ext uri="{FF2B5EF4-FFF2-40B4-BE49-F238E27FC236}">
                <a16:creationId xmlns:a16="http://schemas.microsoft.com/office/drawing/2014/main" id="{647EF0A5-23AB-46A3-AF0D-2A67DF27F8FF}"/>
              </a:ext>
            </a:extLst>
          </p:cNvPr>
          <p:cNvSpPr>
            <a:spLocks noChangeArrowheads="1"/>
          </p:cNvSpPr>
          <p:nvPr/>
        </p:nvSpPr>
        <p:spPr bwMode="auto">
          <a:xfrm>
            <a:off x="1215083" y="2903187"/>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12" name="Oval 890">
            <a:extLst>
              <a:ext uri="{FF2B5EF4-FFF2-40B4-BE49-F238E27FC236}">
                <a16:creationId xmlns:a16="http://schemas.microsoft.com/office/drawing/2014/main" id="{EC776B3B-18E5-4990-BECF-7CFF141E4646}"/>
              </a:ext>
            </a:extLst>
          </p:cNvPr>
          <p:cNvSpPr>
            <a:spLocks noChangeArrowheads="1"/>
          </p:cNvSpPr>
          <p:nvPr/>
        </p:nvSpPr>
        <p:spPr bwMode="auto">
          <a:xfrm>
            <a:off x="6902096" y="4531928"/>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13" name="Oval 891">
            <a:extLst>
              <a:ext uri="{FF2B5EF4-FFF2-40B4-BE49-F238E27FC236}">
                <a16:creationId xmlns:a16="http://schemas.microsoft.com/office/drawing/2014/main" id="{E951E862-5078-4A00-AD9E-C940BAFD4A89}"/>
              </a:ext>
            </a:extLst>
          </p:cNvPr>
          <p:cNvSpPr>
            <a:spLocks noChangeArrowheads="1"/>
          </p:cNvSpPr>
          <p:nvPr/>
        </p:nvSpPr>
        <p:spPr bwMode="auto">
          <a:xfrm>
            <a:off x="3681259" y="2538725"/>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14" name="Oval 892">
            <a:extLst>
              <a:ext uri="{FF2B5EF4-FFF2-40B4-BE49-F238E27FC236}">
                <a16:creationId xmlns:a16="http://schemas.microsoft.com/office/drawing/2014/main" id="{5F4F5144-0C2A-4F4B-8BC9-0889E716E3C8}"/>
              </a:ext>
            </a:extLst>
          </p:cNvPr>
          <p:cNvSpPr>
            <a:spLocks noChangeArrowheads="1"/>
          </p:cNvSpPr>
          <p:nvPr/>
        </p:nvSpPr>
        <p:spPr bwMode="auto">
          <a:xfrm>
            <a:off x="1833822" y="2758447"/>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15" name="Oval 893">
            <a:extLst>
              <a:ext uri="{FF2B5EF4-FFF2-40B4-BE49-F238E27FC236}">
                <a16:creationId xmlns:a16="http://schemas.microsoft.com/office/drawing/2014/main" id="{2F21B174-D8E1-4820-A1F0-668FCAE7DF16}"/>
              </a:ext>
            </a:extLst>
          </p:cNvPr>
          <p:cNvSpPr>
            <a:spLocks noChangeArrowheads="1"/>
          </p:cNvSpPr>
          <p:nvPr/>
        </p:nvSpPr>
        <p:spPr bwMode="auto">
          <a:xfrm>
            <a:off x="6463353" y="2887176"/>
            <a:ext cx="99401" cy="104631"/>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16" name="Oval 894">
            <a:extLst>
              <a:ext uri="{FF2B5EF4-FFF2-40B4-BE49-F238E27FC236}">
                <a16:creationId xmlns:a16="http://schemas.microsoft.com/office/drawing/2014/main" id="{8BDDD883-3785-42A0-9124-39D11598CE3B}"/>
              </a:ext>
            </a:extLst>
          </p:cNvPr>
          <p:cNvSpPr>
            <a:spLocks noChangeArrowheads="1"/>
          </p:cNvSpPr>
          <p:nvPr/>
        </p:nvSpPr>
        <p:spPr bwMode="auto">
          <a:xfrm>
            <a:off x="5932455" y="3009560"/>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17" name="Oval 895">
            <a:extLst>
              <a:ext uri="{FF2B5EF4-FFF2-40B4-BE49-F238E27FC236}">
                <a16:creationId xmlns:a16="http://schemas.microsoft.com/office/drawing/2014/main" id="{5E93EAB6-BC40-4CD3-A52D-20B09D989258}"/>
              </a:ext>
            </a:extLst>
          </p:cNvPr>
          <p:cNvSpPr>
            <a:spLocks noChangeArrowheads="1"/>
          </p:cNvSpPr>
          <p:nvPr/>
        </p:nvSpPr>
        <p:spPr bwMode="auto">
          <a:xfrm>
            <a:off x="5932455" y="3009560"/>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18" name="Oval 896">
            <a:extLst>
              <a:ext uri="{FF2B5EF4-FFF2-40B4-BE49-F238E27FC236}">
                <a16:creationId xmlns:a16="http://schemas.microsoft.com/office/drawing/2014/main" id="{64BF0BAB-92A9-497E-A2B2-785190B78BEF}"/>
              </a:ext>
            </a:extLst>
          </p:cNvPr>
          <p:cNvSpPr>
            <a:spLocks noChangeArrowheads="1"/>
          </p:cNvSpPr>
          <p:nvPr/>
        </p:nvSpPr>
        <p:spPr bwMode="auto">
          <a:xfrm>
            <a:off x="2191505" y="4547622"/>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19" name="Oval 897">
            <a:extLst>
              <a:ext uri="{FF2B5EF4-FFF2-40B4-BE49-F238E27FC236}">
                <a16:creationId xmlns:a16="http://schemas.microsoft.com/office/drawing/2014/main" id="{5B9BEB46-7A07-46E8-9202-DA0284B965AB}"/>
              </a:ext>
            </a:extLst>
          </p:cNvPr>
          <p:cNvSpPr>
            <a:spLocks noChangeArrowheads="1"/>
          </p:cNvSpPr>
          <p:nvPr/>
        </p:nvSpPr>
        <p:spPr bwMode="auto">
          <a:xfrm>
            <a:off x="5985005" y="2964220"/>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20" name="Oval 898">
            <a:extLst>
              <a:ext uri="{FF2B5EF4-FFF2-40B4-BE49-F238E27FC236}">
                <a16:creationId xmlns:a16="http://schemas.microsoft.com/office/drawing/2014/main" id="{9D6D55F2-BFA2-4BC3-A739-819D001E4679}"/>
              </a:ext>
            </a:extLst>
          </p:cNvPr>
          <p:cNvSpPr>
            <a:spLocks noChangeArrowheads="1"/>
          </p:cNvSpPr>
          <p:nvPr/>
        </p:nvSpPr>
        <p:spPr bwMode="auto">
          <a:xfrm>
            <a:off x="5985005" y="2964220"/>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21" name="Oval 899">
            <a:extLst>
              <a:ext uri="{FF2B5EF4-FFF2-40B4-BE49-F238E27FC236}">
                <a16:creationId xmlns:a16="http://schemas.microsoft.com/office/drawing/2014/main" id="{559D0987-2394-4B86-BD82-2B5C0331D26D}"/>
              </a:ext>
            </a:extLst>
          </p:cNvPr>
          <p:cNvSpPr>
            <a:spLocks noChangeArrowheads="1"/>
          </p:cNvSpPr>
          <p:nvPr/>
        </p:nvSpPr>
        <p:spPr bwMode="auto">
          <a:xfrm>
            <a:off x="6202295" y="2758447"/>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22" name="Oval 900">
            <a:extLst>
              <a:ext uri="{FF2B5EF4-FFF2-40B4-BE49-F238E27FC236}">
                <a16:creationId xmlns:a16="http://schemas.microsoft.com/office/drawing/2014/main" id="{264FC397-2C50-485B-A8DA-59A91C60B131}"/>
              </a:ext>
            </a:extLst>
          </p:cNvPr>
          <p:cNvSpPr>
            <a:spLocks noChangeArrowheads="1"/>
          </p:cNvSpPr>
          <p:nvPr/>
        </p:nvSpPr>
        <p:spPr bwMode="auto">
          <a:xfrm>
            <a:off x="6202295" y="2758447"/>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23" name="Oval 901">
            <a:extLst>
              <a:ext uri="{FF2B5EF4-FFF2-40B4-BE49-F238E27FC236}">
                <a16:creationId xmlns:a16="http://schemas.microsoft.com/office/drawing/2014/main" id="{BE79A8B1-1ADF-49BD-8A9A-F1AE476EF028}"/>
              </a:ext>
            </a:extLst>
          </p:cNvPr>
          <p:cNvSpPr>
            <a:spLocks noChangeArrowheads="1"/>
          </p:cNvSpPr>
          <p:nvPr/>
        </p:nvSpPr>
        <p:spPr bwMode="auto">
          <a:xfrm>
            <a:off x="5985005" y="3040948"/>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24" name="Oval 902">
            <a:extLst>
              <a:ext uri="{FF2B5EF4-FFF2-40B4-BE49-F238E27FC236}">
                <a16:creationId xmlns:a16="http://schemas.microsoft.com/office/drawing/2014/main" id="{DF8D3BC7-C536-4F81-A5DD-913758D875F4}"/>
              </a:ext>
            </a:extLst>
          </p:cNvPr>
          <p:cNvSpPr>
            <a:spLocks noChangeArrowheads="1"/>
          </p:cNvSpPr>
          <p:nvPr/>
        </p:nvSpPr>
        <p:spPr bwMode="auto">
          <a:xfrm>
            <a:off x="3637492" y="2789836"/>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25" name="Oval 903">
            <a:extLst>
              <a:ext uri="{FF2B5EF4-FFF2-40B4-BE49-F238E27FC236}">
                <a16:creationId xmlns:a16="http://schemas.microsoft.com/office/drawing/2014/main" id="{1B2D8FFC-EBDD-4BA4-9F82-5D12D5310B3B}"/>
              </a:ext>
            </a:extLst>
          </p:cNvPr>
          <p:cNvSpPr>
            <a:spLocks noChangeArrowheads="1"/>
          </p:cNvSpPr>
          <p:nvPr/>
        </p:nvSpPr>
        <p:spPr bwMode="auto">
          <a:xfrm>
            <a:off x="6134181" y="2758447"/>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26" name="Oval 904">
            <a:extLst>
              <a:ext uri="{FF2B5EF4-FFF2-40B4-BE49-F238E27FC236}">
                <a16:creationId xmlns:a16="http://schemas.microsoft.com/office/drawing/2014/main" id="{8E5E25A8-25DA-4202-9844-9276F9813F01}"/>
              </a:ext>
            </a:extLst>
          </p:cNvPr>
          <p:cNvSpPr>
            <a:spLocks noChangeArrowheads="1"/>
          </p:cNvSpPr>
          <p:nvPr/>
        </p:nvSpPr>
        <p:spPr bwMode="auto">
          <a:xfrm>
            <a:off x="3861256" y="2332953"/>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27" name="Oval 905">
            <a:extLst>
              <a:ext uri="{FF2B5EF4-FFF2-40B4-BE49-F238E27FC236}">
                <a16:creationId xmlns:a16="http://schemas.microsoft.com/office/drawing/2014/main" id="{E626DCEE-2CFA-42AF-8876-B878864E8FAC}"/>
              </a:ext>
            </a:extLst>
          </p:cNvPr>
          <p:cNvSpPr>
            <a:spLocks noChangeArrowheads="1"/>
          </p:cNvSpPr>
          <p:nvPr/>
        </p:nvSpPr>
        <p:spPr bwMode="auto">
          <a:xfrm>
            <a:off x="3861256" y="2332953"/>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28" name="Oval 906">
            <a:extLst>
              <a:ext uri="{FF2B5EF4-FFF2-40B4-BE49-F238E27FC236}">
                <a16:creationId xmlns:a16="http://schemas.microsoft.com/office/drawing/2014/main" id="{D4149767-E263-4237-B1BB-F5F9D2BD8E7B}"/>
              </a:ext>
            </a:extLst>
          </p:cNvPr>
          <p:cNvSpPr>
            <a:spLocks noChangeArrowheads="1"/>
          </p:cNvSpPr>
          <p:nvPr/>
        </p:nvSpPr>
        <p:spPr bwMode="auto">
          <a:xfrm>
            <a:off x="1840295" y="2629405"/>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29" name="Oval 907">
            <a:extLst>
              <a:ext uri="{FF2B5EF4-FFF2-40B4-BE49-F238E27FC236}">
                <a16:creationId xmlns:a16="http://schemas.microsoft.com/office/drawing/2014/main" id="{8CFB5C5E-8A96-4669-90EF-87FBD1E31563}"/>
              </a:ext>
            </a:extLst>
          </p:cNvPr>
          <p:cNvSpPr>
            <a:spLocks noChangeArrowheads="1"/>
          </p:cNvSpPr>
          <p:nvPr/>
        </p:nvSpPr>
        <p:spPr bwMode="auto">
          <a:xfrm>
            <a:off x="3764630" y="2416655"/>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30" name="Oval 908">
            <a:extLst>
              <a:ext uri="{FF2B5EF4-FFF2-40B4-BE49-F238E27FC236}">
                <a16:creationId xmlns:a16="http://schemas.microsoft.com/office/drawing/2014/main" id="{A56B907D-5E2A-4603-A41D-1911EE5ECAA8}"/>
              </a:ext>
            </a:extLst>
          </p:cNvPr>
          <p:cNvSpPr>
            <a:spLocks noChangeArrowheads="1"/>
          </p:cNvSpPr>
          <p:nvPr/>
        </p:nvSpPr>
        <p:spPr bwMode="auto">
          <a:xfrm>
            <a:off x="3718553" y="2636063"/>
            <a:ext cx="101711" cy="104631"/>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31" name="Oval 909">
            <a:extLst>
              <a:ext uri="{FF2B5EF4-FFF2-40B4-BE49-F238E27FC236}">
                <a16:creationId xmlns:a16="http://schemas.microsoft.com/office/drawing/2014/main" id="{28139B41-AE23-4FD7-B029-78B844260BEC}"/>
              </a:ext>
            </a:extLst>
          </p:cNvPr>
          <p:cNvSpPr>
            <a:spLocks noChangeArrowheads="1"/>
          </p:cNvSpPr>
          <p:nvPr/>
        </p:nvSpPr>
        <p:spPr bwMode="auto">
          <a:xfrm>
            <a:off x="1296143" y="2325976"/>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32" name="Oval 910">
            <a:extLst>
              <a:ext uri="{FF2B5EF4-FFF2-40B4-BE49-F238E27FC236}">
                <a16:creationId xmlns:a16="http://schemas.microsoft.com/office/drawing/2014/main" id="{F16CA085-2BC5-470A-A7CA-92A6A41DF961}"/>
              </a:ext>
            </a:extLst>
          </p:cNvPr>
          <p:cNvSpPr>
            <a:spLocks noChangeArrowheads="1"/>
          </p:cNvSpPr>
          <p:nvPr/>
        </p:nvSpPr>
        <p:spPr bwMode="auto">
          <a:xfrm>
            <a:off x="4405407" y="3040948"/>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33" name="Oval 911">
            <a:extLst>
              <a:ext uri="{FF2B5EF4-FFF2-40B4-BE49-F238E27FC236}">
                <a16:creationId xmlns:a16="http://schemas.microsoft.com/office/drawing/2014/main" id="{AAE1A68D-D391-4D7B-8D35-42DAC5FEA321}"/>
              </a:ext>
            </a:extLst>
          </p:cNvPr>
          <p:cNvSpPr>
            <a:spLocks noChangeArrowheads="1"/>
          </p:cNvSpPr>
          <p:nvPr/>
        </p:nvSpPr>
        <p:spPr bwMode="auto">
          <a:xfrm>
            <a:off x="3898549" y="2468654"/>
            <a:ext cx="99401" cy="104631"/>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34" name="Oval 912">
            <a:extLst>
              <a:ext uri="{FF2B5EF4-FFF2-40B4-BE49-F238E27FC236}">
                <a16:creationId xmlns:a16="http://schemas.microsoft.com/office/drawing/2014/main" id="{BA19166A-FA3A-49E3-825E-47AF4C7E9D81}"/>
              </a:ext>
            </a:extLst>
          </p:cNvPr>
          <p:cNvSpPr>
            <a:spLocks noChangeArrowheads="1"/>
          </p:cNvSpPr>
          <p:nvPr/>
        </p:nvSpPr>
        <p:spPr bwMode="auto">
          <a:xfrm>
            <a:off x="3525611" y="2758447"/>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35" name="Oval 913">
            <a:extLst>
              <a:ext uri="{FF2B5EF4-FFF2-40B4-BE49-F238E27FC236}">
                <a16:creationId xmlns:a16="http://schemas.microsoft.com/office/drawing/2014/main" id="{4C0F941D-CD41-4CC1-AE08-64805738E585}"/>
              </a:ext>
            </a:extLst>
          </p:cNvPr>
          <p:cNvSpPr>
            <a:spLocks noChangeArrowheads="1"/>
          </p:cNvSpPr>
          <p:nvPr/>
        </p:nvSpPr>
        <p:spPr bwMode="auto">
          <a:xfrm>
            <a:off x="3823962" y="1998136"/>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36" name="Oval 914">
            <a:extLst>
              <a:ext uri="{FF2B5EF4-FFF2-40B4-BE49-F238E27FC236}">
                <a16:creationId xmlns:a16="http://schemas.microsoft.com/office/drawing/2014/main" id="{A33E5CC2-E973-46D6-99BF-976B9B8CD561}"/>
              </a:ext>
            </a:extLst>
          </p:cNvPr>
          <p:cNvSpPr>
            <a:spLocks noChangeArrowheads="1"/>
          </p:cNvSpPr>
          <p:nvPr/>
        </p:nvSpPr>
        <p:spPr bwMode="auto">
          <a:xfrm>
            <a:off x="6127708" y="3199322"/>
            <a:ext cx="99401" cy="104631"/>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37" name="Oval 915">
            <a:extLst>
              <a:ext uri="{FF2B5EF4-FFF2-40B4-BE49-F238E27FC236}">
                <a16:creationId xmlns:a16="http://schemas.microsoft.com/office/drawing/2014/main" id="{456D9A3E-D3F4-4677-B4EE-783E82A535AB}"/>
              </a:ext>
            </a:extLst>
          </p:cNvPr>
          <p:cNvSpPr>
            <a:spLocks noChangeArrowheads="1"/>
          </p:cNvSpPr>
          <p:nvPr/>
        </p:nvSpPr>
        <p:spPr bwMode="auto">
          <a:xfrm>
            <a:off x="6103667" y="3199322"/>
            <a:ext cx="101711" cy="104631"/>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38" name="Oval 916">
            <a:extLst>
              <a:ext uri="{FF2B5EF4-FFF2-40B4-BE49-F238E27FC236}">
                <a16:creationId xmlns:a16="http://schemas.microsoft.com/office/drawing/2014/main" id="{639C933C-8E1D-4917-9AE6-1FB5C1C6E028}"/>
              </a:ext>
            </a:extLst>
          </p:cNvPr>
          <p:cNvSpPr>
            <a:spLocks noChangeArrowheads="1"/>
          </p:cNvSpPr>
          <p:nvPr/>
        </p:nvSpPr>
        <p:spPr bwMode="auto">
          <a:xfrm>
            <a:off x="3771103" y="2561395"/>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39" name="Oval 917">
            <a:extLst>
              <a:ext uri="{FF2B5EF4-FFF2-40B4-BE49-F238E27FC236}">
                <a16:creationId xmlns:a16="http://schemas.microsoft.com/office/drawing/2014/main" id="{685A8D67-C4FF-4BAF-A372-3C4CCA27330F}"/>
              </a:ext>
            </a:extLst>
          </p:cNvPr>
          <p:cNvSpPr>
            <a:spLocks noChangeArrowheads="1"/>
          </p:cNvSpPr>
          <p:nvPr/>
        </p:nvSpPr>
        <p:spPr bwMode="auto">
          <a:xfrm>
            <a:off x="3771103" y="2561395"/>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40" name="Oval 918">
            <a:extLst>
              <a:ext uri="{FF2B5EF4-FFF2-40B4-BE49-F238E27FC236}">
                <a16:creationId xmlns:a16="http://schemas.microsoft.com/office/drawing/2014/main" id="{44C3D056-D718-4381-9F32-EFF4FE949D13}"/>
              </a:ext>
            </a:extLst>
          </p:cNvPr>
          <p:cNvSpPr>
            <a:spLocks noChangeArrowheads="1"/>
          </p:cNvSpPr>
          <p:nvPr/>
        </p:nvSpPr>
        <p:spPr bwMode="auto">
          <a:xfrm>
            <a:off x="4113529" y="2294588"/>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41" name="Oval 919">
            <a:extLst>
              <a:ext uri="{FF2B5EF4-FFF2-40B4-BE49-F238E27FC236}">
                <a16:creationId xmlns:a16="http://schemas.microsoft.com/office/drawing/2014/main" id="{4069DDC4-623A-459E-B5BD-58B59D8C2F5F}"/>
              </a:ext>
            </a:extLst>
          </p:cNvPr>
          <p:cNvSpPr>
            <a:spLocks noChangeArrowheads="1"/>
          </p:cNvSpPr>
          <p:nvPr/>
        </p:nvSpPr>
        <p:spPr bwMode="auto">
          <a:xfrm>
            <a:off x="3920279" y="2409681"/>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42" name="Oval 920">
            <a:extLst>
              <a:ext uri="{FF2B5EF4-FFF2-40B4-BE49-F238E27FC236}">
                <a16:creationId xmlns:a16="http://schemas.microsoft.com/office/drawing/2014/main" id="{760F5770-E253-401E-A4C2-4D2DE6A3016E}"/>
              </a:ext>
            </a:extLst>
          </p:cNvPr>
          <p:cNvSpPr>
            <a:spLocks noChangeArrowheads="1"/>
          </p:cNvSpPr>
          <p:nvPr/>
        </p:nvSpPr>
        <p:spPr bwMode="auto">
          <a:xfrm>
            <a:off x="3935844" y="2332953"/>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43" name="Oval 921">
            <a:extLst>
              <a:ext uri="{FF2B5EF4-FFF2-40B4-BE49-F238E27FC236}">
                <a16:creationId xmlns:a16="http://schemas.microsoft.com/office/drawing/2014/main" id="{5E138370-2B49-4732-A2A6-196311C00C28}"/>
              </a:ext>
            </a:extLst>
          </p:cNvPr>
          <p:cNvSpPr>
            <a:spLocks noChangeArrowheads="1"/>
          </p:cNvSpPr>
          <p:nvPr/>
        </p:nvSpPr>
        <p:spPr bwMode="auto">
          <a:xfrm>
            <a:off x="3927059" y="2393987"/>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44" name="Oval 922">
            <a:extLst>
              <a:ext uri="{FF2B5EF4-FFF2-40B4-BE49-F238E27FC236}">
                <a16:creationId xmlns:a16="http://schemas.microsoft.com/office/drawing/2014/main" id="{F9EC6562-BA61-44AB-A57C-284B393BE85F}"/>
              </a:ext>
            </a:extLst>
          </p:cNvPr>
          <p:cNvSpPr>
            <a:spLocks noChangeArrowheads="1"/>
          </p:cNvSpPr>
          <p:nvPr/>
        </p:nvSpPr>
        <p:spPr bwMode="auto">
          <a:xfrm>
            <a:off x="3815178" y="2423631"/>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45" name="Oval 923">
            <a:extLst>
              <a:ext uri="{FF2B5EF4-FFF2-40B4-BE49-F238E27FC236}">
                <a16:creationId xmlns:a16="http://schemas.microsoft.com/office/drawing/2014/main" id="{527236E2-6982-48CE-B29F-69C1A17E71B2}"/>
              </a:ext>
            </a:extLst>
          </p:cNvPr>
          <p:cNvSpPr>
            <a:spLocks noChangeArrowheads="1"/>
          </p:cNvSpPr>
          <p:nvPr/>
        </p:nvSpPr>
        <p:spPr bwMode="auto">
          <a:xfrm>
            <a:off x="4010430" y="1740047"/>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46" name="Oval 924">
            <a:extLst>
              <a:ext uri="{FF2B5EF4-FFF2-40B4-BE49-F238E27FC236}">
                <a16:creationId xmlns:a16="http://schemas.microsoft.com/office/drawing/2014/main" id="{375F2DA5-A059-4D18-8EA8-383C15068C55}"/>
              </a:ext>
            </a:extLst>
          </p:cNvPr>
          <p:cNvSpPr>
            <a:spLocks noChangeArrowheads="1"/>
          </p:cNvSpPr>
          <p:nvPr/>
        </p:nvSpPr>
        <p:spPr bwMode="auto">
          <a:xfrm>
            <a:off x="3882983" y="2538725"/>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47" name="Oval 925">
            <a:extLst>
              <a:ext uri="{FF2B5EF4-FFF2-40B4-BE49-F238E27FC236}">
                <a16:creationId xmlns:a16="http://schemas.microsoft.com/office/drawing/2014/main" id="{83EA0FDD-91AD-445C-85F9-D277E317C089}"/>
              </a:ext>
            </a:extLst>
          </p:cNvPr>
          <p:cNvSpPr>
            <a:spLocks noChangeArrowheads="1"/>
          </p:cNvSpPr>
          <p:nvPr/>
        </p:nvSpPr>
        <p:spPr bwMode="auto">
          <a:xfrm>
            <a:off x="1958958" y="2903187"/>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48" name="Oval 926">
            <a:extLst>
              <a:ext uri="{FF2B5EF4-FFF2-40B4-BE49-F238E27FC236}">
                <a16:creationId xmlns:a16="http://schemas.microsoft.com/office/drawing/2014/main" id="{1682120D-2559-4837-B6FB-0B9EBD04F09C}"/>
              </a:ext>
            </a:extLst>
          </p:cNvPr>
          <p:cNvSpPr>
            <a:spLocks noChangeArrowheads="1"/>
          </p:cNvSpPr>
          <p:nvPr/>
        </p:nvSpPr>
        <p:spPr bwMode="auto">
          <a:xfrm>
            <a:off x="6127708" y="3176968"/>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49" name="Oval 927">
            <a:extLst>
              <a:ext uri="{FF2B5EF4-FFF2-40B4-BE49-F238E27FC236}">
                <a16:creationId xmlns:a16="http://schemas.microsoft.com/office/drawing/2014/main" id="{92CDFD7C-27E3-4A08-86B5-482D9BAAC5C6}"/>
              </a:ext>
            </a:extLst>
          </p:cNvPr>
          <p:cNvSpPr>
            <a:spLocks noChangeArrowheads="1"/>
          </p:cNvSpPr>
          <p:nvPr/>
        </p:nvSpPr>
        <p:spPr bwMode="auto">
          <a:xfrm>
            <a:off x="6165002" y="2857847"/>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50" name="Oval 928">
            <a:extLst>
              <a:ext uri="{FF2B5EF4-FFF2-40B4-BE49-F238E27FC236}">
                <a16:creationId xmlns:a16="http://schemas.microsoft.com/office/drawing/2014/main" id="{7F0468FB-0B63-4FF9-982D-60E4155E98B5}"/>
              </a:ext>
            </a:extLst>
          </p:cNvPr>
          <p:cNvSpPr>
            <a:spLocks noChangeArrowheads="1"/>
          </p:cNvSpPr>
          <p:nvPr/>
        </p:nvSpPr>
        <p:spPr bwMode="auto">
          <a:xfrm>
            <a:off x="3920279" y="2371316"/>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51" name="Oval 929">
            <a:extLst>
              <a:ext uri="{FF2B5EF4-FFF2-40B4-BE49-F238E27FC236}">
                <a16:creationId xmlns:a16="http://schemas.microsoft.com/office/drawing/2014/main" id="{B0B41CDE-CF26-45F4-8D7B-F01CC4E83733}"/>
              </a:ext>
            </a:extLst>
          </p:cNvPr>
          <p:cNvSpPr>
            <a:spLocks noChangeArrowheads="1"/>
          </p:cNvSpPr>
          <p:nvPr/>
        </p:nvSpPr>
        <p:spPr bwMode="auto">
          <a:xfrm>
            <a:off x="1191042" y="2925856"/>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52" name="Oval 930">
            <a:extLst>
              <a:ext uri="{FF2B5EF4-FFF2-40B4-BE49-F238E27FC236}">
                <a16:creationId xmlns:a16="http://schemas.microsoft.com/office/drawing/2014/main" id="{5B870EB9-4164-4D86-93AC-E64FDDB2F134}"/>
              </a:ext>
            </a:extLst>
          </p:cNvPr>
          <p:cNvSpPr>
            <a:spLocks noChangeArrowheads="1"/>
          </p:cNvSpPr>
          <p:nvPr/>
        </p:nvSpPr>
        <p:spPr bwMode="auto">
          <a:xfrm>
            <a:off x="6178254" y="2803471"/>
            <a:ext cx="101711" cy="104631"/>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53" name="Oval 931">
            <a:extLst>
              <a:ext uri="{FF2B5EF4-FFF2-40B4-BE49-F238E27FC236}">
                <a16:creationId xmlns:a16="http://schemas.microsoft.com/office/drawing/2014/main" id="{1E686C73-9859-4C82-85A2-4DB565552C30}"/>
              </a:ext>
            </a:extLst>
          </p:cNvPr>
          <p:cNvSpPr>
            <a:spLocks noChangeArrowheads="1"/>
          </p:cNvSpPr>
          <p:nvPr/>
        </p:nvSpPr>
        <p:spPr bwMode="auto">
          <a:xfrm>
            <a:off x="3861256" y="1975466"/>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54" name="Oval 932">
            <a:extLst>
              <a:ext uri="{FF2B5EF4-FFF2-40B4-BE49-F238E27FC236}">
                <a16:creationId xmlns:a16="http://schemas.microsoft.com/office/drawing/2014/main" id="{2164DD35-C6B8-470E-8FBB-AA80D55F7D25}"/>
              </a:ext>
            </a:extLst>
          </p:cNvPr>
          <p:cNvSpPr>
            <a:spLocks noChangeArrowheads="1"/>
          </p:cNvSpPr>
          <p:nvPr/>
        </p:nvSpPr>
        <p:spPr bwMode="auto">
          <a:xfrm>
            <a:off x="6140961" y="2925856"/>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55" name="Oval 933">
            <a:extLst>
              <a:ext uri="{FF2B5EF4-FFF2-40B4-BE49-F238E27FC236}">
                <a16:creationId xmlns:a16="http://schemas.microsoft.com/office/drawing/2014/main" id="{3A4ED8A1-E98E-4AF4-B784-22BC030012C6}"/>
              </a:ext>
            </a:extLst>
          </p:cNvPr>
          <p:cNvSpPr>
            <a:spLocks noChangeArrowheads="1"/>
          </p:cNvSpPr>
          <p:nvPr/>
        </p:nvSpPr>
        <p:spPr bwMode="auto">
          <a:xfrm>
            <a:off x="3920279" y="2104511"/>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56" name="Oval 934">
            <a:extLst>
              <a:ext uri="{FF2B5EF4-FFF2-40B4-BE49-F238E27FC236}">
                <a16:creationId xmlns:a16="http://schemas.microsoft.com/office/drawing/2014/main" id="{D05F3748-1DEE-4E0D-AF43-1FD291114354}"/>
              </a:ext>
            </a:extLst>
          </p:cNvPr>
          <p:cNvSpPr>
            <a:spLocks noChangeArrowheads="1"/>
          </p:cNvSpPr>
          <p:nvPr/>
        </p:nvSpPr>
        <p:spPr bwMode="auto">
          <a:xfrm>
            <a:off x="3905023" y="1907457"/>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57" name="Oval 935">
            <a:extLst>
              <a:ext uri="{FF2B5EF4-FFF2-40B4-BE49-F238E27FC236}">
                <a16:creationId xmlns:a16="http://schemas.microsoft.com/office/drawing/2014/main" id="{5A240C38-47ED-4FBB-A770-5889C12296E3}"/>
              </a:ext>
            </a:extLst>
          </p:cNvPr>
          <p:cNvSpPr>
            <a:spLocks noChangeArrowheads="1"/>
          </p:cNvSpPr>
          <p:nvPr/>
        </p:nvSpPr>
        <p:spPr bwMode="auto">
          <a:xfrm>
            <a:off x="3845690" y="2104511"/>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58" name="Oval 936">
            <a:extLst>
              <a:ext uri="{FF2B5EF4-FFF2-40B4-BE49-F238E27FC236}">
                <a16:creationId xmlns:a16="http://schemas.microsoft.com/office/drawing/2014/main" id="{3678855C-39DA-40BD-9D64-0CBB18C32BB8}"/>
              </a:ext>
            </a:extLst>
          </p:cNvPr>
          <p:cNvSpPr>
            <a:spLocks noChangeArrowheads="1"/>
          </p:cNvSpPr>
          <p:nvPr/>
        </p:nvSpPr>
        <p:spPr bwMode="auto">
          <a:xfrm>
            <a:off x="3927059" y="2210883"/>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59" name="Oval 937">
            <a:extLst>
              <a:ext uri="{FF2B5EF4-FFF2-40B4-BE49-F238E27FC236}">
                <a16:creationId xmlns:a16="http://schemas.microsoft.com/office/drawing/2014/main" id="{5E67650F-0D0D-4E33-A245-FE3501A51A14}"/>
              </a:ext>
            </a:extLst>
          </p:cNvPr>
          <p:cNvSpPr>
            <a:spLocks noChangeArrowheads="1"/>
          </p:cNvSpPr>
          <p:nvPr/>
        </p:nvSpPr>
        <p:spPr bwMode="auto">
          <a:xfrm>
            <a:off x="3898549" y="2445986"/>
            <a:ext cx="99401" cy="104631"/>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60" name="Oval 938">
            <a:extLst>
              <a:ext uri="{FF2B5EF4-FFF2-40B4-BE49-F238E27FC236}">
                <a16:creationId xmlns:a16="http://schemas.microsoft.com/office/drawing/2014/main" id="{4EFEB314-4166-4FBB-AF47-9F9755B881BD}"/>
              </a:ext>
            </a:extLst>
          </p:cNvPr>
          <p:cNvSpPr>
            <a:spLocks noChangeArrowheads="1"/>
          </p:cNvSpPr>
          <p:nvPr/>
        </p:nvSpPr>
        <p:spPr bwMode="auto">
          <a:xfrm>
            <a:off x="3712080" y="2697099"/>
            <a:ext cx="99401" cy="104631"/>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61" name="Oval 939">
            <a:extLst>
              <a:ext uri="{FF2B5EF4-FFF2-40B4-BE49-F238E27FC236}">
                <a16:creationId xmlns:a16="http://schemas.microsoft.com/office/drawing/2014/main" id="{5B27809F-39E6-4B75-8B0E-0F05C141FEE9}"/>
              </a:ext>
            </a:extLst>
          </p:cNvPr>
          <p:cNvSpPr>
            <a:spLocks noChangeArrowheads="1"/>
          </p:cNvSpPr>
          <p:nvPr/>
        </p:nvSpPr>
        <p:spPr bwMode="auto">
          <a:xfrm>
            <a:off x="4225411" y="1998136"/>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62" name="Oval 940">
            <a:extLst>
              <a:ext uri="{FF2B5EF4-FFF2-40B4-BE49-F238E27FC236}">
                <a16:creationId xmlns:a16="http://schemas.microsoft.com/office/drawing/2014/main" id="{E1771147-83DD-4C88-8430-279B71934240}"/>
              </a:ext>
            </a:extLst>
          </p:cNvPr>
          <p:cNvSpPr>
            <a:spLocks noChangeArrowheads="1"/>
          </p:cNvSpPr>
          <p:nvPr/>
        </p:nvSpPr>
        <p:spPr bwMode="auto">
          <a:xfrm>
            <a:off x="3317103" y="1846422"/>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63" name="Oval 941">
            <a:extLst>
              <a:ext uri="{FF2B5EF4-FFF2-40B4-BE49-F238E27FC236}">
                <a16:creationId xmlns:a16="http://schemas.microsoft.com/office/drawing/2014/main" id="{1C5F959C-246D-4170-8820-4790DFFD3CA1}"/>
              </a:ext>
            </a:extLst>
          </p:cNvPr>
          <p:cNvSpPr>
            <a:spLocks noChangeArrowheads="1"/>
          </p:cNvSpPr>
          <p:nvPr/>
        </p:nvSpPr>
        <p:spPr bwMode="auto">
          <a:xfrm>
            <a:off x="4122312" y="1785388"/>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64" name="Oval 942">
            <a:extLst>
              <a:ext uri="{FF2B5EF4-FFF2-40B4-BE49-F238E27FC236}">
                <a16:creationId xmlns:a16="http://schemas.microsoft.com/office/drawing/2014/main" id="{D4DA06C1-24B2-4692-894D-2CC27D0056B7}"/>
              </a:ext>
            </a:extLst>
          </p:cNvPr>
          <p:cNvSpPr>
            <a:spLocks noChangeArrowheads="1"/>
          </p:cNvSpPr>
          <p:nvPr/>
        </p:nvSpPr>
        <p:spPr bwMode="auto">
          <a:xfrm>
            <a:off x="6417276" y="2835177"/>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65" name="Oval 943">
            <a:extLst>
              <a:ext uri="{FF2B5EF4-FFF2-40B4-BE49-F238E27FC236}">
                <a16:creationId xmlns:a16="http://schemas.microsoft.com/office/drawing/2014/main" id="{BD67990C-F0F8-4D30-AB90-C1DDA7BDBC75}"/>
              </a:ext>
            </a:extLst>
          </p:cNvPr>
          <p:cNvSpPr>
            <a:spLocks noChangeArrowheads="1"/>
          </p:cNvSpPr>
          <p:nvPr/>
        </p:nvSpPr>
        <p:spPr bwMode="auto">
          <a:xfrm>
            <a:off x="6230806" y="2622429"/>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66" name="Oval 944">
            <a:extLst>
              <a:ext uri="{FF2B5EF4-FFF2-40B4-BE49-F238E27FC236}">
                <a16:creationId xmlns:a16="http://schemas.microsoft.com/office/drawing/2014/main" id="{CFD87BC6-3832-4E4D-A37D-426E881DB1BE}"/>
              </a:ext>
            </a:extLst>
          </p:cNvPr>
          <p:cNvSpPr>
            <a:spLocks noChangeArrowheads="1"/>
          </p:cNvSpPr>
          <p:nvPr/>
        </p:nvSpPr>
        <p:spPr bwMode="auto">
          <a:xfrm>
            <a:off x="4464431" y="3002586"/>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67" name="Oval 945">
            <a:extLst>
              <a:ext uri="{FF2B5EF4-FFF2-40B4-BE49-F238E27FC236}">
                <a16:creationId xmlns:a16="http://schemas.microsoft.com/office/drawing/2014/main" id="{DC2FBA5F-2083-417E-A70A-4C06C1E33F74}"/>
              </a:ext>
            </a:extLst>
          </p:cNvPr>
          <p:cNvSpPr>
            <a:spLocks noChangeArrowheads="1"/>
          </p:cNvSpPr>
          <p:nvPr/>
        </p:nvSpPr>
        <p:spPr bwMode="auto">
          <a:xfrm>
            <a:off x="6187039" y="4454884"/>
            <a:ext cx="99401" cy="104631"/>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68" name="Oval 946">
            <a:extLst>
              <a:ext uri="{FF2B5EF4-FFF2-40B4-BE49-F238E27FC236}">
                <a16:creationId xmlns:a16="http://schemas.microsoft.com/office/drawing/2014/main" id="{0358455D-8159-41C9-B641-91770B538520}"/>
              </a:ext>
            </a:extLst>
          </p:cNvPr>
          <p:cNvSpPr>
            <a:spLocks noChangeArrowheads="1"/>
          </p:cNvSpPr>
          <p:nvPr/>
        </p:nvSpPr>
        <p:spPr bwMode="auto">
          <a:xfrm>
            <a:off x="6693897" y="2873540"/>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69" name="Oval 947">
            <a:extLst>
              <a:ext uri="{FF2B5EF4-FFF2-40B4-BE49-F238E27FC236}">
                <a16:creationId xmlns:a16="http://schemas.microsoft.com/office/drawing/2014/main" id="{EE104C3A-69EB-4C24-B864-C19225D3FF70}"/>
              </a:ext>
            </a:extLst>
          </p:cNvPr>
          <p:cNvSpPr>
            <a:spLocks noChangeArrowheads="1"/>
          </p:cNvSpPr>
          <p:nvPr/>
        </p:nvSpPr>
        <p:spPr bwMode="auto">
          <a:xfrm>
            <a:off x="6693897" y="2873540"/>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70" name="Oval 948">
            <a:extLst>
              <a:ext uri="{FF2B5EF4-FFF2-40B4-BE49-F238E27FC236}">
                <a16:creationId xmlns:a16="http://schemas.microsoft.com/office/drawing/2014/main" id="{9600085B-5B03-42B3-B714-3B9A2529E8F0}"/>
              </a:ext>
            </a:extLst>
          </p:cNvPr>
          <p:cNvSpPr>
            <a:spLocks noChangeArrowheads="1"/>
          </p:cNvSpPr>
          <p:nvPr/>
        </p:nvSpPr>
        <p:spPr bwMode="auto">
          <a:xfrm>
            <a:off x="6693897" y="2873540"/>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71" name="Oval 949">
            <a:extLst>
              <a:ext uri="{FF2B5EF4-FFF2-40B4-BE49-F238E27FC236}">
                <a16:creationId xmlns:a16="http://schemas.microsoft.com/office/drawing/2014/main" id="{5CF99341-56FE-4BA3-8999-0E988DB78DB2}"/>
              </a:ext>
            </a:extLst>
          </p:cNvPr>
          <p:cNvSpPr>
            <a:spLocks noChangeArrowheads="1"/>
          </p:cNvSpPr>
          <p:nvPr/>
        </p:nvSpPr>
        <p:spPr bwMode="auto">
          <a:xfrm>
            <a:off x="6410803" y="2934576"/>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72" name="Oval 950">
            <a:extLst>
              <a:ext uri="{FF2B5EF4-FFF2-40B4-BE49-F238E27FC236}">
                <a16:creationId xmlns:a16="http://schemas.microsoft.com/office/drawing/2014/main" id="{5AADF713-FE84-4C73-8B84-1FE1ADF2FB68}"/>
              </a:ext>
            </a:extLst>
          </p:cNvPr>
          <p:cNvSpPr>
            <a:spLocks noChangeArrowheads="1"/>
          </p:cNvSpPr>
          <p:nvPr/>
        </p:nvSpPr>
        <p:spPr bwMode="auto">
          <a:xfrm>
            <a:off x="3845690" y="2097535"/>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73" name="Oval 951">
            <a:extLst>
              <a:ext uri="{FF2B5EF4-FFF2-40B4-BE49-F238E27FC236}">
                <a16:creationId xmlns:a16="http://schemas.microsoft.com/office/drawing/2014/main" id="{A9AEE571-7B15-49B3-B93D-143DFAA27068}"/>
              </a:ext>
            </a:extLst>
          </p:cNvPr>
          <p:cNvSpPr>
            <a:spLocks noChangeArrowheads="1"/>
          </p:cNvSpPr>
          <p:nvPr/>
        </p:nvSpPr>
        <p:spPr bwMode="auto">
          <a:xfrm>
            <a:off x="6268100" y="2934576"/>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74" name="Oval 952">
            <a:extLst>
              <a:ext uri="{FF2B5EF4-FFF2-40B4-BE49-F238E27FC236}">
                <a16:creationId xmlns:a16="http://schemas.microsoft.com/office/drawing/2014/main" id="{D3CA8EAA-D13B-40B8-A906-89C6F3587310}"/>
              </a:ext>
            </a:extLst>
          </p:cNvPr>
          <p:cNvSpPr>
            <a:spLocks noChangeArrowheads="1"/>
          </p:cNvSpPr>
          <p:nvPr/>
        </p:nvSpPr>
        <p:spPr bwMode="auto">
          <a:xfrm>
            <a:off x="6268100" y="2934576"/>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75" name="Oval 953">
            <a:extLst>
              <a:ext uri="{FF2B5EF4-FFF2-40B4-BE49-F238E27FC236}">
                <a16:creationId xmlns:a16="http://schemas.microsoft.com/office/drawing/2014/main" id="{8C56C458-A4BF-4DC0-BDD5-CDC515F12449}"/>
              </a:ext>
            </a:extLst>
          </p:cNvPr>
          <p:cNvSpPr>
            <a:spLocks noChangeArrowheads="1"/>
          </p:cNvSpPr>
          <p:nvPr/>
        </p:nvSpPr>
        <p:spPr bwMode="auto">
          <a:xfrm>
            <a:off x="6268100" y="2934576"/>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76" name="Oval 954">
            <a:extLst>
              <a:ext uri="{FF2B5EF4-FFF2-40B4-BE49-F238E27FC236}">
                <a16:creationId xmlns:a16="http://schemas.microsoft.com/office/drawing/2014/main" id="{E4A9778E-0008-4FC0-AC6C-75BD27498302}"/>
              </a:ext>
            </a:extLst>
          </p:cNvPr>
          <p:cNvSpPr>
            <a:spLocks noChangeArrowheads="1"/>
          </p:cNvSpPr>
          <p:nvPr/>
        </p:nvSpPr>
        <p:spPr bwMode="auto">
          <a:xfrm>
            <a:off x="6314176" y="3018280"/>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77" name="Oval 955">
            <a:extLst>
              <a:ext uri="{FF2B5EF4-FFF2-40B4-BE49-F238E27FC236}">
                <a16:creationId xmlns:a16="http://schemas.microsoft.com/office/drawing/2014/main" id="{995EC45F-09A8-4F20-B965-C374ECC115B1}"/>
              </a:ext>
            </a:extLst>
          </p:cNvPr>
          <p:cNvSpPr>
            <a:spLocks noChangeArrowheads="1"/>
          </p:cNvSpPr>
          <p:nvPr/>
        </p:nvSpPr>
        <p:spPr bwMode="auto">
          <a:xfrm>
            <a:off x="4225411" y="1991161"/>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78" name="Oval 956">
            <a:extLst>
              <a:ext uri="{FF2B5EF4-FFF2-40B4-BE49-F238E27FC236}">
                <a16:creationId xmlns:a16="http://schemas.microsoft.com/office/drawing/2014/main" id="{25368641-E437-4882-A6C2-F51902BE3072}"/>
              </a:ext>
            </a:extLst>
          </p:cNvPr>
          <p:cNvSpPr>
            <a:spLocks noChangeArrowheads="1"/>
          </p:cNvSpPr>
          <p:nvPr/>
        </p:nvSpPr>
        <p:spPr bwMode="auto">
          <a:xfrm>
            <a:off x="3913805" y="2271918"/>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79" name="Oval 957">
            <a:extLst>
              <a:ext uri="{FF2B5EF4-FFF2-40B4-BE49-F238E27FC236}">
                <a16:creationId xmlns:a16="http://schemas.microsoft.com/office/drawing/2014/main" id="{7CABD7AD-BCBA-4262-948E-6480EECE8916}"/>
              </a:ext>
            </a:extLst>
          </p:cNvPr>
          <p:cNvSpPr>
            <a:spLocks noChangeArrowheads="1"/>
          </p:cNvSpPr>
          <p:nvPr/>
        </p:nvSpPr>
        <p:spPr bwMode="auto">
          <a:xfrm>
            <a:off x="3815178" y="2043474"/>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80" name="Oval 958">
            <a:extLst>
              <a:ext uri="{FF2B5EF4-FFF2-40B4-BE49-F238E27FC236}">
                <a16:creationId xmlns:a16="http://schemas.microsoft.com/office/drawing/2014/main" id="{230DF409-E376-4AFA-A73C-3BBBAB1BD972}"/>
              </a:ext>
            </a:extLst>
          </p:cNvPr>
          <p:cNvSpPr>
            <a:spLocks noChangeArrowheads="1"/>
          </p:cNvSpPr>
          <p:nvPr/>
        </p:nvSpPr>
        <p:spPr bwMode="auto">
          <a:xfrm>
            <a:off x="3882983" y="2149851"/>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81" name="Oval 959">
            <a:extLst>
              <a:ext uri="{FF2B5EF4-FFF2-40B4-BE49-F238E27FC236}">
                <a16:creationId xmlns:a16="http://schemas.microsoft.com/office/drawing/2014/main" id="{1EEC6E6E-0160-43F7-BF9F-ECE54687737D}"/>
              </a:ext>
            </a:extLst>
          </p:cNvPr>
          <p:cNvSpPr>
            <a:spLocks noChangeArrowheads="1"/>
          </p:cNvSpPr>
          <p:nvPr/>
        </p:nvSpPr>
        <p:spPr bwMode="auto">
          <a:xfrm>
            <a:off x="3913805" y="2477691"/>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82" name="Oval 960">
            <a:extLst>
              <a:ext uri="{FF2B5EF4-FFF2-40B4-BE49-F238E27FC236}">
                <a16:creationId xmlns:a16="http://schemas.microsoft.com/office/drawing/2014/main" id="{4BB1897E-AF22-4C0B-9A88-2208FAFA34D3}"/>
              </a:ext>
            </a:extLst>
          </p:cNvPr>
          <p:cNvSpPr>
            <a:spLocks noChangeArrowheads="1"/>
          </p:cNvSpPr>
          <p:nvPr/>
        </p:nvSpPr>
        <p:spPr bwMode="auto">
          <a:xfrm>
            <a:off x="1191042" y="2903187"/>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83" name="Oval 961">
            <a:extLst>
              <a:ext uri="{FF2B5EF4-FFF2-40B4-BE49-F238E27FC236}">
                <a16:creationId xmlns:a16="http://schemas.microsoft.com/office/drawing/2014/main" id="{1037F46E-25BC-4448-AEA8-BD1D5CA0D28C}"/>
              </a:ext>
            </a:extLst>
          </p:cNvPr>
          <p:cNvSpPr>
            <a:spLocks noChangeArrowheads="1"/>
          </p:cNvSpPr>
          <p:nvPr/>
        </p:nvSpPr>
        <p:spPr bwMode="auto">
          <a:xfrm>
            <a:off x="2281348" y="4219782"/>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84" name="Oval 962">
            <a:extLst>
              <a:ext uri="{FF2B5EF4-FFF2-40B4-BE49-F238E27FC236}">
                <a16:creationId xmlns:a16="http://schemas.microsoft.com/office/drawing/2014/main" id="{39137F63-70A8-4FDD-941B-075EB58E39CF}"/>
              </a:ext>
            </a:extLst>
          </p:cNvPr>
          <p:cNvSpPr>
            <a:spLocks noChangeArrowheads="1"/>
          </p:cNvSpPr>
          <p:nvPr/>
        </p:nvSpPr>
        <p:spPr bwMode="auto">
          <a:xfrm>
            <a:off x="3839218" y="2339928"/>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85" name="Oval 963">
            <a:extLst>
              <a:ext uri="{FF2B5EF4-FFF2-40B4-BE49-F238E27FC236}">
                <a16:creationId xmlns:a16="http://schemas.microsoft.com/office/drawing/2014/main" id="{20FB3E2B-2FF8-4999-A5B0-4DF603772130}"/>
              </a:ext>
            </a:extLst>
          </p:cNvPr>
          <p:cNvSpPr>
            <a:spLocks noChangeArrowheads="1"/>
          </p:cNvSpPr>
          <p:nvPr/>
        </p:nvSpPr>
        <p:spPr bwMode="auto">
          <a:xfrm>
            <a:off x="3920279" y="2591040"/>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86" name="Oval 964">
            <a:extLst>
              <a:ext uri="{FF2B5EF4-FFF2-40B4-BE49-F238E27FC236}">
                <a16:creationId xmlns:a16="http://schemas.microsoft.com/office/drawing/2014/main" id="{B89F02D3-7810-4C08-B5D6-F01FA34B4340}"/>
              </a:ext>
            </a:extLst>
          </p:cNvPr>
          <p:cNvSpPr>
            <a:spLocks noChangeArrowheads="1"/>
          </p:cNvSpPr>
          <p:nvPr/>
        </p:nvSpPr>
        <p:spPr bwMode="auto">
          <a:xfrm>
            <a:off x="3712080" y="2400962"/>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87" name="Oval 965">
            <a:extLst>
              <a:ext uri="{FF2B5EF4-FFF2-40B4-BE49-F238E27FC236}">
                <a16:creationId xmlns:a16="http://schemas.microsoft.com/office/drawing/2014/main" id="{78157D32-A06E-425A-9160-6671E8120DE6}"/>
              </a:ext>
            </a:extLst>
          </p:cNvPr>
          <p:cNvSpPr>
            <a:spLocks noChangeArrowheads="1"/>
          </p:cNvSpPr>
          <p:nvPr/>
        </p:nvSpPr>
        <p:spPr bwMode="auto">
          <a:xfrm>
            <a:off x="3690041" y="2310283"/>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88" name="Oval 966">
            <a:extLst>
              <a:ext uri="{FF2B5EF4-FFF2-40B4-BE49-F238E27FC236}">
                <a16:creationId xmlns:a16="http://schemas.microsoft.com/office/drawing/2014/main" id="{0292012A-512E-454B-8EE3-8616B62B884A}"/>
              </a:ext>
            </a:extLst>
          </p:cNvPr>
          <p:cNvSpPr>
            <a:spLocks noChangeArrowheads="1"/>
          </p:cNvSpPr>
          <p:nvPr/>
        </p:nvSpPr>
        <p:spPr bwMode="auto">
          <a:xfrm>
            <a:off x="3957572" y="2142874"/>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89" name="Oval 967">
            <a:extLst>
              <a:ext uri="{FF2B5EF4-FFF2-40B4-BE49-F238E27FC236}">
                <a16:creationId xmlns:a16="http://schemas.microsoft.com/office/drawing/2014/main" id="{682B3A33-FB25-4A7A-97F8-35E84BBABAA3}"/>
              </a:ext>
            </a:extLst>
          </p:cNvPr>
          <p:cNvSpPr>
            <a:spLocks noChangeArrowheads="1"/>
          </p:cNvSpPr>
          <p:nvPr/>
        </p:nvSpPr>
        <p:spPr bwMode="auto">
          <a:xfrm>
            <a:off x="3637492" y="2751473"/>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90" name="Oval 968">
            <a:extLst>
              <a:ext uri="{FF2B5EF4-FFF2-40B4-BE49-F238E27FC236}">
                <a16:creationId xmlns:a16="http://schemas.microsoft.com/office/drawing/2014/main" id="{99990981-B267-49E6-B6C1-0ED697051379}"/>
              </a:ext>
            </a:extLst>
          </p:cNvPr>
          <p:cNvSpPr>
            <a:spLocks noChangeArrowheads="1"/>
          </p:cNvSpPr>
          <p:nvPr/>
        </p:nvSpPr>
        <p:spPr bwMode="auto">
          <a:xfrm>
            <a:off x="3637492" y="2751473"/>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91" name="Oval 969">
            <a:extLst>
              <a:ext uri="{FF2B5EF4-FFF2-40B4-BE49-F238E27FC236}">
                <a16:creationId xmlns:a16="http://schemas.microsoft.com/office/drawing/2014/main" id="{1A1EFDAC-9A2D-4C3B-A0D7-607E1474A3A9}"/>
              </a:ext>
            </a:extLst>
          </p:cNvPr>
          <p:cNvSpPr>
            <a:spLocks noChangeArrowheads="1"/>
          </p:cNvSpPr>
          <p:nvPr/>
        </p:nvSpPr>
        <p:spPr bwMode="auto">
          <a:xfrm>
            <a:off x="4881446" y="3163017"/>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92" name="Oval 970">
            <a:extLst>
              <a:ext uri="{FF2B5EF4-FFF2-40B4-BE49-F238E27FC236}">
                <a16:creationId xmlns:a16="http://schemas.microsoft.com/office/drawing/2014/main" id="{57EC10DC-0120-4508-9451-9530B137D36C}"/>
              </a:ext>
            </a:extLst>
          </p:cNvPr>
          <p:cNvSpPr>
            <a:spLocks noChangeArrowheads="1"/>
          </p:cNvSpPr>
          <p:nvPr/>
        </p:nvSpPr>
        <p:spPr bwMode="auto">
          <a:xfrm>
            <a:off x="1094417" y="2477691"/>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93" name="Oval 971">
            <a:extLst>
              <a:ext uri="{FF2B5EF4-FFF2-40B4-BE49-F238E27FC236}">
                <a16:creationId xmlns:a16="http://schemas.microsoft.com/office/drawing/2014/main" id="{F532CDC6-6D72-49E6-83B1-65CA63A8A5D1}"/>
              </a:ext>
            </a:extLst>
          </p:cNvPr>
          <p:cNvSpPr>
            <a:spLocks noChangeArrowheads="1"/>
          </p:cNvSpPr>
          <p:nvPr/>
        </p:nvSpPr>
        <p:spPr bwMode="auto">
          <a:xfrm>
            <a:off x="2011508" y="2652074"/>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94" name="Oval 972">
            <a:extLst>
              <a:ext uri="{FF2B5EF4-FFF2-40B4-BE49-F238E27FC236}">
                <a16:creationId xmlns:a16="http://schemas.microsoft.com/office/drawing/2014/main" id="{1068F33C-80E3-4580-8E50-31A8C43050DC}"/>
              </a:ext>
            </a:extLst>
          </p:cNvPr>
          <p:cNvSpPr>
            <a:spLocks noChangeArrowheads="1"/>
          </p:cNvSpPr>
          <p:nvPr/>
        </p:nvSpPr>
        <p:spPr bwMode="auto">
          <a:xfrm>
            <a:off x="3951100" y="2622429"/>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95" name="Oval 973">
            <a:extLst>
              <a:ext uri="{FF2B5EF4-FFF2-40B4-BE49-F238E27FC236}">
                <a16:creationId xmlns:a16="http://schemas.microsoft.com/office/drawing/2014/main" id="{E8082D20-4648-47F6-B45D-51F53CA24132}"/>
              </a:ext>
            </a:extLst>
          </p:cNvPr>
          <p:cNvSpPr>
            <a:spLocks noChangeArrowheads="1"/>
          </p:cNvSpPr>
          <p:nvPr/>
        </p:nvSpPr>
        <p:spPr bwMode="auto">
          <a:xfrm>
            <a:off x="4322035" y="4251171"/>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96" name="Oval 974">
            <a:extLst>
              <a:ext uri="{FF2B5EF4-FFF2-40B4-BE49-F238E27FC236}">
                <a16:creationId xmlns:a16="http://schemas.microsoft.com/office/drawing/2014/main" id="{08D3D1D1-7E9E-4EB1-9395-5B85348EA27C}"/>
              </a:ext>
            </a:extLst>
          </p:cNvPr>
          <p:cNvSpPr>
            <a:spLocks noChangeArrowheads="1"/>
          </p:cNvSpPr>
          <p:nvPr/>
        </p:nvSpPr>
        <p:spPr bwMode="auto">
          <a:xfrm>
            <a:off x="3994866" y="1785388"/>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97" name="Oval 975">
            <a:extLst>
              <a:ext uri="{FF2B5EF4-FFF2-40B4-BE49-F238E27FC236}">
                <a16:creationId xmlns:a16="http://schemas.microsoft.com/office/drawing/2014/main" id="{A7E6DA8A-58C0-498A-86D0-EA4866A1FFB6}"/>
              </a:ext>
            </a:extLst>
          </p:cNvPr>
          <p:cNvSpPr>
            <a:spLocks noChangeArrowheads="1"/>
          </p:cNvSpPr>
          <p:nvPr/>
        </p:nvSpPr>
        <p:spPr bwMode="auto">
          <a:xfrm>
            <a:off x="4368114" y="4287475"/>
            <a:ext cx="99401" cy="104631"/>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98" name="Oval 976">
            <a:extLst>
              <a:ext uri="{FF2B5EF4-FFF2-40B4-BE49-F238E27FC236}">
                <a16:creationId xmlns:a16="http://schemas.microsoft.com/office/drawing/2014/main" id="{39835237-252A-4E37-A769-DC9213F91F97}"/>
              </a:ext>
            </a:extLst>
          </p:cNvPr>
          <p:cNvSpPr>
            <a:spLocks noChangeArrowheads="1"/>
          </p:cNvSpPr>
          <p:nvPr/>
        </p:nvSpPr>
        <p:spPr bwMode="auto">
          <a:xfrm>
            <a:off x="1691120" y="2789836"/>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99" name="Oval 977">
            <a:extLst>
              <a:ext uri="{FF2B5EF4-FFF2-40B4-BE49-F238E27FC236}">
                <a16:creationId xmlns:a16="http://schemas.microsoft.com/office/drawing/2014/main" id="{8729DB83-E00D-4B69-9C56-73496BE1F326}"/>
              </a:ext>
            </a:extLst>
          </p:cNvPr>
          <p:cNvSpPr>
            <a:spLocks noChangeArrowheads="1"/>
          </p:cNvSpPr>
          <p:nvPr/>
        </p:nvSpPr>
        <p:spPr bwMode="auto">
          <a:xfrm>
            <a:off x="2094880" y="2606735"/>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00" name="Oval 978">
            <a:extLst>
              <a:ext uri="{FF2B5EF4-FFF2-40B4-BE49-F238E27FC236}">
                <a16:creationId xmlns:a16="http://schemas.microsoft.com/office/drawing/2014/main" id="{E9729FE3-4F61-4DDC-8F83-D216C9086A9F}"/>
              </a:ext>
            </a:extLst>
          </p:cNvPr>
          <p:cNvSpPr>
            <a:spLocks noChangeArrowheads="1"/>
          </p:cNvSpPr>
          <p:nvPr/>
        </p:nvSpPr>
        <p:spPr bwMode="auto">
          <a:xfrm>
            <a:off x="5985005" y="2964220"/>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01" name="Oval 979">
            <a:extLst>
              <a:ext uri="{FF2B5EF4-FFF2-40B4-BE49-F238E27FC236}">
                <a16:creationId xmlns:a16="http://schemas.microsoft.com/office/drawing/2014/main" id="{57417159-852B-4113-9270-9B52E1B17FC1}"/>
              </a:ext>
            </a:extLst>
          </p:cNvPr>
          <p:cNvSpPr>
            <a:spLocks noChangeArrowheads="1"/>
          </p:cNvSpPr>
          <p:nvPr/>
        </p:nvSpPr>
        <p:spPr bwMode="auto">
          <a:xfrm>
            <a:off x="2138647" y="2744497"/>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03" name="Oval 981">
            <a:extLst>
              <a:ext uri="{FF2B5EF4-FFF2-40B4-BE49-F238E27FC236}">
                <a16:creationId xmlns:a16="http://schemas.microsoft.com/office/drawing/2014/main" id="{0C0A7C8A-2C07-4E2B-A45E-D18AC73D1545}"/>
              </a:ext>
            </a:extLst>
          </p:cNvPr>
          <p:cNvSpPr>
            <a:spLocks noChangeArrowheads="1"/>
          </p:cNvSpPr>
          <p:nvPr/>
        </p:nvSpPr>
        <p:spPr bwMode="auto">
          <a:xfrm>
            <a:off x="3823962" y="2378291"/>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04" name="Oval 982">
            <a:extLst>
              <a:ext uri="{FF2B5EF4-FFF2-40B4-BE49-F238E27FC236}">
                <a16:creationId xmlns:a16="http://schemas.microsoft.com/office/drawing/2014/main" id="{B11CE44F-0300-47F9-BCE8-CCD4AD204630}"/>
              </a:ext>
            </a:extLst>
          </p:cNvPr>
          <p:cNvSpPr>
            <a:spLocks noChangeArrowheads="1"/>
          </p:cNvSpPr>
          <p:nvPr/>
        </p:nvSpPr>
        <p:spPr bwMode="auto">
          <a:xfrm>
            <a:off x="3905023" y="2287613"/>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05" name="Oval 983">
            <a:extLst>
              <a:ext uri="{FF2B5EF4-FFF2-40B4-BE49-F238E27FC236}">
                <a16:creationId xmlns:a16="http://schemas.microsoft.com/office/drawing/2014/main" id="{44D75181-B046-491C-AE87-0B4CE4328A9F}"/>
              </a:ext>
            </a:extLst>
          </p:cNvPr>
          <p:cNvSpPr>
            <a:spLocks noChangeArrowheads="1"/>
          </p:cNvSpPr>
          <p:nvPr/>
        </p:nvSpPr>
        <p:spPr bwMode="auto">
          <a:xfrm>
            <a:off x="3988393" y="1685989"/>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06" name="Oval 984">
            <a:extLst>
              <a:ext uri="{FF2B5EF4-FFF2-40B4-BE49-F238E27FC236}">
                <a16:creationId xmlns:a16="http://schemas.microsoft.com/office/drawing/2014/main" id="{30A78E8F-E524-4F22-99C8-522E29F3B896}"/>
              </a:ext>
            </a:extLst>
          </p:cNvPr>
          <p:cNvSpPr>
            <a:spLocks noChangeArrowheads="1"/>
          </p:cNvSpPr>
          <p:nvPr/>
        </p:nvSpPr>
        <p:spPr bwMode="auto">
          <a:xfrm>
            <a:off x="1258849" y="2864507"/>
            <a:ext cx="101711" cy="104631"/>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07" name="Oval 985">
            <a:extLst>
              <a:ext uri="{FF2B5EF4-FFF2-40B4-BE49-F238E27FC236}">
                <a16:creationId xmlns:a16="http://schemas.microsoft.com/office/drawing/2014/main" id="{BDE333D7-9F0F-4BE6-B830-117F3CD256F4}"/>
              </a:ext>
            </a:extLst>
          </p:cNvPr>
          <p:cNvSpPr>
            <a:spLocks noChangeArrowheads="1"/>
          </p:cNvSpPr>
          <p:nvPr/>
        </p:nvSpPr>
        <p:spPr bwMode="auto">
          <a:xfrm>
            <a:off x="3889766" y="1975466"/>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08" name="Oval 986">
            <a:extLst>
              <a:ext uri="{FF2B5EF4-FFF2-40B4-BE49-F238E27FC236}">
                <a16:creationId xmlns:a16="http://schemas.microsoft.com/office/drawing/2014/main" id="{14C0DC18-8B15-4DC1-A11F-8634F0F6A871}"/>
              </a:ext>
            </a:extLst>
          </p:cNvPr>
          <p:cNvSpPr>
            <a:spLocks noChangeArrowheads="1"/>
          </p:cNvSpPr>
          <p:nvPr/>
        </p:nvSpPr>
        <p:spPr bwMode="auto">
          <a:xfrm>
            <a:off x="3935844" y="2104511"/>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09" name="Oval 987">
            <a:extLst>
              <a:ext uri="{FF2B5EF4-FFF2-40B4-BE49-F238E27FC236}">
                <a16:creationId xmlns:a16="http://schemas.microsoft.com/office/drawing/2014/main" id="{4DFA6160-57C9-4C99-832C-7FEDEE0DC040}"/>
              </a:ext>
            </a:extLst>
          </p:cNvPr>
          <p:cNvSpPr>
            <a:spLocks noChangeArrowheads="1"/>
          </p:cNvSpPr>
          <p:nvPr/>
        </p:nvSpPr>
        <p:spPr bwMode="auto">
          <a:xfrm>
            <a:off x="3823962" y="2036499"/>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10" name="Oval 988">
            <a:extLst>
              <a:ext uri="{FF2B5EF4-FFF2-40B4-BE49-F238E27FC236}">
                <a16:creationId xmlns:a16="http://schemas.microsoft.com/office/drawing/2014/main" id="{15144F7A-9208-4F94-9789-D3857CA3C1E5}"/>
              </a:ext>
            </a:extLst>
          </p:cNvPr>
          <p:cNvSpPr>
            <a:spLocks noChangeArrowheads="1"/>
          </p:cNvSpPr>
          <p:nvPr/>
        </p:nvSpPr>
        <p:spPr bwMode="auto">
          <a:xfrm>
            <a:off x="3764630" y="2660793"/>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11" name="Oval 989">
            <a:extLst>
              <a:ext uri="{FF2B5EF4-FFF2-40B4-BE49-F238E27FC236}">
                <a16:creationId xmlns:a16="http://schemas.microsoft.com/office/drawing/2014/main" id="{2F4106A5-2B44-43FF-8347-CD5A16CDCD04}"/>
              </a:ext>
            </a:extLst>
          </p:cNvPr>
          <p:cNvSpPr>
            <a:spLocks noChangeArrowheads="1"/>
          </p:cNvSpPr>
          <p:nvPr/>
        </p:nvSpPr>
        <p:spPr bwMode="auto">
          <a:xfrm>
            <a:off x="3786667" y="2660793"/>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12" name="Oval 990">
            <a:extLst>
              <a:ext uri="{FF2B5EF4-FFF2-40B4-BE49-F238E27FC236}">
                <a16:creationId xmlns:a16="http://schemas.microsoft.com/office/drawing/2014/main" id="{F7174E30-836D-4304-BE56-56F0F0310AB8}"/>
              </a:ext>
            </a:extLst>
          </p:cNvPr>
          <p:cNvSpPr>
            <a:spLocks noChangeArrowheads="1"/>
          </p:cNvSpPr>
          <p:nvPr/>
        </p:nvSpPr>
        <p:spPr bwMode="auto">
          <a:xfrm>
            <a:off x="4113529" y="1914432"/>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13" name="Oval 991">
            <a:extLst>
              <a:ext uri="{FF2B5EF4-FFF2-40B4-BE49-F238E27FC236}">
                <a16:creationId xmlns:a16="http://schemas.microsoft.com/office/drawing/2014/main" id="{7E2945F1-7C72-4BBC-B66F-97E8F0D372AA}"/>
              </a:ext>
            </a:extLst>
          </p:cNvPr>
          <p:cNvSpPr>
            <a:spLocks noChangeArrowheads="1"/>
          </p:cNvSpPr>
          <p:nvPr/>
        </p:nvSpPr>
        <p:spPr bwMode="auto">
          <a:xfrm>
            <a:off x="3942316" y="2074865"/>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14" name="Oval 992">
            <a:extLst>
              <a:ext uri="{FF2B5EF4-FFF2-40B4-BE49-F238E27FC236}">
                <a16:creationId xmlns:a16="http://schemas.microsoft.com/office/drawing/2014/main" id="{8CBD097D-1D4B-4DFF-90FF-F1DE2856A8D6}"/>
              </a:ext>
            </a:extLst>
          </p:cNvPr>
          <p:cNvSpPr>
            <a:spLocks noChangeArrowheads="1"/>
          </p:cNvSpPr>
          <p:nvPr/>
        </p:nvSpPr>
        <p:spPr bwMode="auto">
          <a:xfrm>
            <a:off x="3942316" y="2074865"/>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15" name="Oval 993">
            <a:extLst>
              <a:ext uri="{FF2B5EF4-FFF2-40B4-BE49-F238E27FC236}">
                <a16:creationId xmlns:a16="http://schemas.microsoft.com/office/drawing/2014/main" id="{5ADFE5E0-159C-48CD-97BD-588630A812B9}"/>
              </a:ext>
            </a:extLst>
          </p:cNvPr>
          <p:cNvSpPr>
            <a:spLocks noChangeArrowheads="1"/>
          </p:cNvSpPr>
          <p:nvPr/>
        </p:nvSpPr>
        <p:spPr bwMode="auto">
          <a:xfrm>
            <a:off x="3591414" y="2660793"/>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16" name="Oval 994">
            <a:extLst>
              <a:ext uri="{FF2B5EF4-FFF2-40B4-BE49-F238E27FC236}">
                <a16:creationId xmlns:a16="http://schemas.microsoft.com/office/drawing/2014/main" id="{5024863C-9E53-40B2-A17F-36D283A1B0C9}"/>
              </a:ext>
            </a:extLst>
          </p:cNvPr>
          <p:cNvSpPr>
            <a:spLocks noChangeArrowheads="1"/>
          </p:cNvSpPr>
          <p:nvPr/>
        </p:nvSpPr>
        <p:spPr bwMode="auto">
          <a:xfrm>
            <a:off x="1557201" y="2880517"/>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17" name="Oval 995">
            <a:extLst>
              <a:ext uri="{FF2B5EF4-FFF2-40B4-BE49-F238E27FC236}">
                <a16:creationId xmlns:a16="http://schemas.microsoft.com/office/drawing/2014/main" id="{8B3A305C-3946-4F7A-9E82-DD88E324205C}"/>
              </a:ext>
            </a:extLst>
          </p:cNvPr>
          <p:cNvSpPr>
            <a:spLocks noChangeArrowheads="1"/>
          </p:cNvSpPr>
          <p:nvPr/>
        </p:nvSpPr>
        <p:spPr bwMode="auto">
          <a:xfrm>
            <a:off x="3764630" y="2493385"/>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18" name="Oval 996">
            <a:extLst>
              <a:ext uri="{FF2B5EF4-FFF2-40B4-BE49-F238E27FC236}">
                <a16:creationId xmlns:a16="http://schemas.microsoft.com/office/drawing/2014/main" id="{9EA900E2-2A68-4934-BE00-B08EDF260A2B}"/>
              </a:ext>
            </a:extLst>
          </p:cNvPr>
          <p:cNvSpPr>
            <a:spLocks noChangeArrowheads="1"/>
          </p:cNvSpPr>
          <p:nvPr/>
        </p:nvSpPr>
        <p:spPr bwMode="auto">
          <a:xfrm>
            <a:off x="6187039" y="4448224"/>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19" name="Oval 997">
            <a:extLst>
              <a:ext uri="{FF2B5EF4-FFF2-40B4-BE49-F238E27FC236}">
                <a16:creationId xmlns:a16="http://schemas.microsoft.com/office/drawing/2014/main" id="{D9B7A813-472B-4384-8831-5FE9C265CC42}"/>
              </a:ext>
            </a:extLst>
          </p:cNvPr>
          <p:cNvSpPr>
            <a:spLocks noChangeArrowheads="1"/>
          </p:cNvSpPr>
          <p:nvPr/>
        </p:nvSpPr>
        <p:spPr bwMode="auto">
          <a:xfrm>
            <a:off x="6261627" y="4197113"/>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20" name="Oval 998">
            <a:extLst>
              <a:ext uri="{FF2B5EF4-FFF2-40B4-BE49-F238E27FC236}">
                <a16:creationId xmlns:a16="http://schemas.microsoft.com/office/drawing/2014/main" id="{7E4EABB1-9150-4630-9E72-8AAFD27A0CE4}"/>
              </a:ext>
            </a:extLst>
          </p:cNvPr>
          <p:cNvSpPr>
            <a:spLocks noChangeArrowheads="1"/>
          </p:cNvSpPr>
          <p:nvPr/>
        </p:nvSpPr>
        <p:spPr bwMode="auto">
          <a:xfrm>
            <a:off x="2362718" y="2568369"/>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21" name="Oval 999">
            <a:extLst>
              <a:ext uri="{FF2B5EF4-FFF2-40B4-BE49-F238E27FC236}">
                <a16:creationId xmlns:a16="http://schemas.microsoft.com/office/drawing/2014/main" id="{E6310B1E-4B9B-40FD-BE69-868A275C1554}"/>
              </a:ext>
            </a:extLst>
          </p:cNvPr>
          <p:cNvSpPr>
            <a:spLocks noChangeArrowheads="1"/>
          </p:cNvSpPr>
          <p:nvPr/>
        </p:nvSpPr>
        <p:spPr bwMode="auto">
          <a:xfrm>
            <a:off x="6283355" y="2864507"/>
            <a:ext cx="101711" cy="104631"/>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22" name="Oval 1000">
            <a:extLst>
              <a:ext uri="{FF2B5EF4-FFF2-40B4-BE49-F238E27FC236}">
                <a16:creationId xmlns:a16="http://schemas.microsoft.com/office/drawing/2014/main" id="{33FDED7B-1E3B-43F2-8095-1CD2DB1C6C3F}"/>
              </a:ext>
            </a:extLst>
          </p:cNvPr>
          <p:cNvSpPr>
            <a:spLocks noChangeArrowheads="1"/>
          </p:cNvSpPr>
          <p:nvPr/>
        </p:nvSpPr>
        <p:spPr bwMode="auto">
          <a:xfrm>
            <a:off x="2191505" y="2552358"/>
            <a:ext cx="99401" cy="104631"/>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23" name="Oval 1001">
            <a:extLst>
              <a:ext uri="{FF2B5EF4-FFF2-40B4-BE49-F238E27FC236}">
                <a16:creationId xmlns:a16="http://schemas.microsoft.com/office/drawing/2014/main" id="{455057B7-CF8D-4E27-B914-C297B71935E8}"/>
              </a:ext>
            </a:extLst>
          </p:cNvPr>
          <p:cNvSpPr>
            <a:spLocks noChangeArrowheads="1"/>
          </p:cNvSpPr>
          <p:nvPr/>
        </p:nvSpPr>
        <p:spPr bwMode="auto">
          <a:xfrm>
            <a:off x="3920279" y="2104511"/>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24" name="Oval 1002">
            <a:extLst>
              <a:ext uri="{FF2B5EF4-FFF2-40B4-BE49-F238E27FC236}">
                <a16:creationId xmlns:a16="http://schemas.microsoft.com/office/drawing/2014/main" id="{A394BC1D-A179-47EF-9B41-3048BC5F9DF5}"/>
              </a:ext>
            </a:extLst>
          </p:cNvPr>
          <p:cNvSpPr>
            <a:spLocks noChangeArrowheads="1"/>
          </p:cNvSpPr>
          <p:nvPr/>
        </p:nvSpPr>
        <p:spPr bwMode="auto">
          <a:xfrm>
            <a:off x="3920279" y="2523031"/>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25" name="Oval 1003">
            <a:extLst>
              <a:ext uri="{FF2B5EF4-FFF2-40B4-BE49-F238E27FC236}">
                <a16:creationId xmlns:a16="http://schemas.microsoft.com/office/drawing/2014/main" id="{CD3E8141-0A92-40F0-8B85-3A2868FCBAFA}"/>
              </a:ext>
            </a:extLst>
          </p:cNvPr>
          <p:cNvSpPr>
            <a:spLocks noChangeArrowheads="1"/>
          </p:cNvSpPr>
          <p:nvPr/>
        </p:nvSpPr>
        <p:spPr bwMode="auto">
          <a:xfrm>
            <a:off x="3905023" y="2477691"/>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26" name="Oval 1004">
            <a:extLst>
              <a:ext uri="{FF2B5EF4-FFF2-40B4-BE49-F238E27FC236}">
                <a16:creationId xmlns:a16="http://schemas.microsoft.com/office/drawing/2014/main" id="{112377A1-5821-4345-9462-EFCAE1361E0B}"/>
              </a:ext>
            </a:extLst>
          </p:cNvPr>
          <p:cNvSpPr>
            <a:spLocks noChangeArrowheads="1"/>
          </p:cNvSpPr>
          <p:nvPr/>
        </p:nvSpPr>
        <p:spPr bwMode="auto">
          <a:xfrm>
            <a:off x="3898549" y="2074865"/>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27" name="Oval 1005">
            <a:extLst>
              <a:ext uri="{FF2B5EF4-FFF2-40B4-BE49-F238E27FC236}">
                <a16:creationId xmlns:a16="http://schemas.microsoft.com/office/drawing/2014/main" id="{68361500-9651-4F4C-93E4-943B755EE563}"/>
              </a:ext>
            </a:extLst>
          </p:cNvPr>
          <p:cNvSpPr>
            <a:spLocks noChangeArrowheads="1"/>
          </p:cNvSpPr>
          <p:nvPr/>
        </p:nvSpPr>
        <p:spPr bwMode="auto">
          <a:xfrm>
            <a:off x="3957572" y="1837703"/>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28" name="Oval 1006">
            <a:extLst>
              <a:ext uri="{FF2B5EF4-FFF2-40B4-BE49-F238E27FC236}">
                <a16:creationId xmlns:a16="http://schemas.microsoft.com/office/drawing/2014/main" id="{1B0BF920-290B-4746-BBC9-F1C14669B166}"/>
              </a:ext>
            </a:extLst>
          </p:cNvPr>
          <p:cNvSpPr>
            <a:spLocks noChangeArrowheads="1"/>
          </p:cNvSpPr>
          <p:nvPr/>
        </p:nvSpPr>
        <p:spPr bwMode="auto">
          <a:xfrm>
            <a:off x="1653826" y="2584064"/>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29" name="Oval 1007">
            <a:extLst>
              <a:ext uri="{FF2B5EF4-FFF2-40B4-BE49-F238E27FC236}">
                <a16:creationId xmlns:a16="http://schemas.microsoft.com/office/drawing/2014/main" id="{2B8C6729-A489-4E5C-8C6B-67E388AE32F9}"/>
              </a:ext>
            </a:extLst>
          </p:cNvPr>
          <p:cNvSpPr>
            <a:spLocks noChangeArrowheads="1"/>
          </p:cNvSpPr>
          <p:nvPr/>
        </p:nvSpPr>
        <p:spPr bwMode="auto">
          <a:xfrm>
            <a:off x="6470134" y="2835177"/>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30" name="Oval 1008">
            <a:extLst>
              <a:ext uri="{FF2B5EF4-FFF2-40B4-BE49-F238E27FC236}">
                <a16:creationId xmlns:a16="http://schemas.microsoft.com/office/drawing/2014/main" id="{BE3AB73B-DD57-4AF9-BE6E-F85C7E5F1111}"/>
              </a:ext>
            </a:extLst>
          </p:cNvPr>
          <p:cNvSpPr>
            <a:spLocks noChangeArrowheads="1"/>
          </p:cNvSpPr>
          <p:nvPr/>
        </p:nvSpPr>
        <p:spPr bwMode="auto">
          <a:xfrm>
            <a:off x="3876510" y="2622429"/>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31" name="Oval 1009">
            <a:extLst>
              <a:ext uri="{FF2B5EF4-FFF2-40B4-BE49-F238E27FC236}">
                <a16:creationId xmlns:a16="http://schemas.microsoft.com/office/drawing/2014/main" id="{62293859-D3AB-4258-A3A9-38F1D11072F8}"/>
              </a:ext>
            </a:extLst>
          </p:cNvPr>
          <p:cNvSpPr>
            <a:spLocks noChangeArrowheads="1"/>
          </p:cNvSpPr>
          <p:nvPr/>
        </p:nvSpPr>
        <p:spPr bwMode="auto">
          <a:xfrm>
            <a:off x="3643964" y="2233554"/>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32" name="Oval 1010">
            <a:extLst>
              <a:ext uri="{FF2B5EF4-FFF2-40B4-BE49-F238E27FC236}">
                <a16:creationId xmlns:a16="http://schemas.microsoft.com/office/drawing/2014/main" id="{78BCAA19-E684-4E4C-8F18-18231A1D2B33}"/>
              </a:ext>
            </a:extLst>
          </p:cNvPr>
          <p:cNvSpPr>
            <a:spLocks noChangeArrowheads="1"/>
          </p:cNvSpPr>
          <p:nvPr/>
        </p:nvSpPr>
        <p:spPr bwMode="auto">
          <a:xfrm>
            <a:off x="6230806" y="2864507"/>
            <a:ext cx="101711" cy="104631"/>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33" name="Oval 1011">
            <a:extLst>
              <a:ext uri="{FF2B5EF4-FFF2-40B4-BE49-F238E27FC236}">
                <a16:creationId xmlns:a16="http://schemas.microsoft.com/office/drawing/2014/main" id="{B97BF4F4-94B7-41AF-9935-90CEA7127331}"/>
              </a:ext>
            </a:extLst>
          </p:cNvPr>
          <p:cNvSpPr>
            <a:spLocks noChangeArrowheads="1"/>
          </p:cNvSpPr>
          <p:nvPr/>
        </p:nvSpPr>
        <p:spPr bwMode="auto">
          <a:xfrm>
            <a:off x="6305394" y="2995610"/>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34" name="Oval 1012">
            <a:extLst>
              <a:ext uri="{FF2B5EF4-FFF2-40B4-BE49-F238E27FC236}">
                <a16:creationId xmlns:a16="http://schemas.microsoft.com/office/drawing/2014/main" id="{3D733705-85C6-49F4-8D64-E5F2E7BD1701}"/>
              </a:ext>
            </a:extLst>
          </p:cNvPr>
          <p:cNvSpPr>
            <a:spLocks noChangeArrowheads="1"/>
          </p:cNvSpPr>
          <p:nvPr/>
        </p:nvSpPr>
        <p:spPr bwMode="auto">
          <a:xfrm>
            <a:off x="6305394" y="2995610"/>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35" name="Oval 1013">
            <a:extLst>
              <a:ext uri="{FF2B5EF4-FFF2-40B4-BE49-F238E27FC236}">
                <a16:creationId xmlns:a16="http://schemas.microsoft.com/office/drawing/2014/main" id="{E4FACC62-FF91-4231-99D2-7BC9A052986E}"/>
              </a:ext>
            </a:extLst>
          </p:cNvPr>
          <p:cNvSpPr>
            <a:spLocks noChangeArrowheads="1"/>
          </p:cNvSpPr>
          <p:nvPr/>
        </p:nvSpPr>
        <p:spPr bwMode="auto">
          <a:xfrm>
            <a:off x="6305394" y="2995610"/>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36" name="Oval 1014">
            <a:extLst>
              <a:ext uri="{FF2B5EF4-FFF2-40B4-BE49-F238E27FC236}">
                <a16:creationId xmlns:a16="http://schemas.microsoft.com/office/drawing/2014/main" id="{1ED3ABB8-4041-4278-BBE4-6E97356C993E}"/>
              </a:ext>
            </a:extLst>
          </p:cNvPr>
          <p:cNvSpPr>
            <a:spLocks noChangeArrowheads="1"/>
          </p:cNvSpPr>
          <p:nvPr/>
        </p:nvSpPr>
        <p:spPr bwMode="auto">
          <a:xfrm>
            <a:off x="6112451" y="2828201"/>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37" name="Oval 1015">
            <a:extLst>
              <a:ext uri="{FF2B5EF4-FFF2-40B4-BE49-F238E27FC236}">
                <a16:creationId xmlns:a16="http://schemas.microsoft.com/office/drawing/2014/main" id="{4A18D046-1EBC-41DE-96B3-464F6C4B130D}"/>
              </a:ext>
            </a:extLst>
          </p:cNvPr>
          <p:cNvSpPr>
            <a:spLocks noChangeArrowheads="1"/>
          </p:cNvSpPr>
          <p:nvPr/>
        </p:nvSpPr>
        <p:spPr bwMode="auto">
          <a:xfrm>
            <a:off x="3690041" y="2362281"/>
            <a:ext cx="99401" cy="104631"/>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38" name="Oval 1016">
            <a:extLst>
              <a:ext uri="{FF2B5EF4-FFF2-40B4-BE49-F238E27FC236}">
                <a16:creationId xmlns:a16="http://schemas.microsoft.com/office/drawing/2014/main" id="{B12A9035-3514-445E-A2E3-5044ED5389D2}"/>
              </a:ext>
            </a:extLst>
          </p:cNvPr>
          <p:cNvSpPr>
            <a:spLocks noChangeArrowheads="1"/>
          </p:cNvSpPr>
          <p:nvPr/>
        </p:nvSpPr>
        <p:spPr bwMode="auto">
          <a:xfrm>
            <a:off x="5910416" y="3009560"/>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39" name="Oval 1017">
            <a:extLst>
              <a:ext uri="{FF2B5EF4-FFF2-40B4-BE49-F238E27FC236}">
                <a16:creationId xmlns:a16="http://schemas.microsoft.com/office/drawing/2014/main" id="{E78C9BCD-6B87-4C9A-BC41-6CAA0A7DD591}"/>
              </a:ext>
            </a:extLst>
          </p:cNvPr>
          <p:cNvSpPr>
            <a:spLocks noChangeArrowheads="1"/>
          </p:cNvSpPr>
          <p:nvPr/>
        </p:nvSpPr>
        <p:spPr bwMode="auto">
          <a:xfrm>
            <a:off x="5910416" y="3009560"/>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40" name="Oval 1018">
            <a:extLst>
              <a:ext uri="{FF2B5EF4-FFF2-40B4-BE49-F238E27FC236}">
                <a16:creationId xmlns:a16="http://schemas.microsoft.com/office/drawing/2014/main" id="{596EFAC4-E494-4ADB-9B5B-6B04FDECE5FD}"/>
              </a:ext>
            </a:extLst>
          </p:cNvPr>
          <p:cNvSpPr>
            <a:spLocks noChangeArrowheads="1"/>
          </p:cNvSpPr>
          <p:nvPr/>
        </p:nvSpPr>
        <p:spPr bwMode="auto">
          <a:xfrm>
            <a:off x="5910416" y="3018280"/>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41" name="Oval 1019">
            <a:extLst>
              <a:ext uri="{FF2B5EF4-FFF2-40B4-BE49-F238E27FC236}">
                <a16:creationId xmlns:a16="http://schemas.microsoft.com/office/drawing/2014/main" id="{244C086D-80EA-4050-98C1-7D8F73D7D777}"/>
              </a:ext>
            </a:extLst>
          </p:cNvPr>
          <p:cNvSpPr>
            <a:spLocks noChangeArrowheads="1"/>
          </p:cNvSpPr>
          <p:nvPr/>
        </p:nvSpPr>
        <p:spPr bwMode="auto">
          <a:xfrm>
            <a:off x="3525611" y="2819482"/>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42" name="Oval 1020">
            <a:extLst>
              <a:ext uri="{FF2B5EF4-FFF2-40B4-BE49-F238E27FC236}">
                <a16:creationId xmlns:a16="http://schemas.microsoft.com/office/drawing/2014/main" id="{64EA418C-11DF-4E79-BAB6-466C1D92BF29}"/>
              </a:ext>
            </a:extLst>
          </p:cNvPr>
          <p:cNvSpPr>
            <a:spLocks noChangeArrowheads="1"/>
          </p:cNvSpPr>
          <p:nvPr/>
        </p:nvSpPr>
        <p:spPr bwMode="auto">
          <a:xfrm>
            <a:off x="6373510" y="2819482"/>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43" name="Oval 1021">
            <a:extLst>
              <a:ext uri="{FF2B5EF4-FFF2-40B4-BE49-F238E27FC236}">
                <a16:creationId xmlns:a16="http://schemas.microsoft.com/office/drawing/2014/main" id="{ECE20729-7E55-48B6-AC53-BE15F5ABE0C0}"/>
              </a:ext>
            </a:extLst>
          </p:cNvPr>
          <p:cNvSpPr>
            <a:spLocks noChangeArrowheads="1"/>
          </p:cNvSpPr>
          <p:nvPr/>
        </p:nvSpPr>
        <p:spPr bwMode="auto">
          <a:xfrm>
            <a:off x="6373510" y="2819482"/>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44" name="Oval 1022">
            <a:extLst>
              <a:ext uri="{FF2B5EF4-FFF2-40B4-BE49-F238E27FC236}">
                <a16:creationId xmlns:a16="http://schemas.microsoft.com/office/drawing/2014/main" id="{68357A02-FDE5-412C-80E2-9E7814F2D136}"/>
              </a:ext>
            </a:extLst>
          </p:cNvPr>
          <p:cNvSpPr>
            <a:spLocks noChangeArrowheads="1"/>
          </p:cNvSpPr>
          <p:nvPr/>
        </p:nvSpPr>
        <p:spPr bwMode="auto">
          <a:xfrm>
            <a:off x="6426058" y="2812508"/>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45" name="Oval 1023">
            <a:extLst>
              <a:ext uri="{FF2B5EF4-FFF2-40B4-BE49-F238E27FC236}">
                <a16:creationId xmlns:a16="http://schemas.microsoft.com/office/drawing/2014/main" id="{8AC5BC8E-7573-4EDA-B28E-301D7A33E511}"/>
              </a:ext>
            </a:extLst>
          </p:cNvPr>
          <p:cNvSpPr>
            <a:spLocks noChangeArrowheads="1"/>
          </p:cNvSpPr>
          <p:nvPr/>
        </p:nvSpPr>
        <p:spPr bwMode="auto">
          <a:xfrm>
            <a:off x="3666002" y="2538725"/>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46" name="Oval 1024">
            <a:extLst>
              <a:ext uri="{FF2B5EF4-FFF2-40B4-BE49-F238E27FC236}">
                <a16:creationId xmlns:a16="http://schemas.microsoft.com/office/drawing/2014/main" id="{132E29B4-FA80-4D67-90C0-05F6A011ABE9}"/>
              </a:ext>
            </a:extLst>
          </p:cNvPr>
          <p:cNvSpPr>
            <a:spLocks noChangeArrowheads="1"/>
          </p:cNvSpPr>
          <p:nvPr/>
        </p:nvSpPr>
        <p:spPr bwMode="auto">
          <a:xfrm>
            <a:off x="3674785" y="2538725"/>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47" name="Oval 1025">
            <a:extLst>
              <a:ext uri="{FF2B5EF4-FFF2-40B4-BE49-F238E27FC236}">
                <a16:creationId xmlns:a16="http://schemas.microsoft.com/office/drawing/2014/main" id="{F9047ED9-5AF5-4507-8749-1763DB439F9C}"/>
              </a:ext>
            </a:extLst>
          </p:cNvPr>
          <p:cNvSpPr>
            <a:spLocks noChangeArrowheads="1"/>
          </p:cNvSpPr>
          <p:nvPr/>
        </p:nvSpPr>
        <p:spPr bwMode="auto">
          <a:xfrm>
            <a:off x="1087945" y="2477691"/>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48" name="Oval 1026">
            <a:extLst>
              <a:ext uri="{FF2B5EF4-FFF2-40B4-BE49-F238E27FC236}">
                <a16:creationId xmlns:a16="http://schemas.microsoft.com/office/drawing/2014/main" id="{11CCD730-5E60-4AAD-A4DF-42B3FB3AE4FE}"/>
              </a:ext>
            </a:extLst>
          </p:cNvPr>
          <p:cNvSpPr>
            <a:spLocks noChangeArrowheads="1"/>
          </p:cNvSpPr>
          <p:nvPr/>
        </p:nvSpPr>
        <p:spPr bwMode="auto">
          <a:xfrm>
            <a:off x="4225411" y="1998136"/>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49" name="Oval 1027">
            <a:extLst>
              <a:ext uri="{FF2B5EF4-FFF2-40B4-BE49-F238E27FC236}">
                <a16:creationId xmlns:a16="http://schemas.microsoft.com/office/drawing/2014/main" id="{64234DC9-508F-4332-B20C-2F56A96D87FA}"/>
              </a:ext>
            </a:extLst>
          </p:cNvPr>
          <p:cNvSpPr>
            <a:spLocks noChangeArrowheads="1"/>
          </p:cNvSpPr>
          <p:nvPr/>
        </p:nvSpPr>
        <p:spPr bwMode="auto">
          <a:xfrm>
            <a:off x="3690041" y="2287613"/>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50" name="Oval 1028">
            <a:extLst>
              <a:ext uri="{FF2B5EF4-FFF2-40B4-BE49-F238E27FC236}">
                <a16:creationId xmlns:a16="http://schemas.microsoft.com/office/drawing/2014/main" id="{4DC4C0A0-9456-4068-8F37-65B74B285432}"/>
              </a:ext>
            </a:extLst>
          </p:cNvPr>
          <p:cNvSpPr>
            <a:spLocks noChangeArrowheads="1"/>
          </p:cNvSpPr>
          <p:nvPr/>
        </p:nvSpPr>
        <p:spPr bwMode="auto">
          <a:xfrm>
            <a:off x="1616532" y="3002586"/>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51" name="Oval 1029">
            <a:extLst>
              <a:ext uri="{FF2B5EF4-FFF2-40B4-BE49-F238E27FC236}">
                <a16:creationId xmlns:a16="http://schemas.microsoft.com/office/drawing/2014/main" id="{1C9BF099-4406-40CC-9565-DD6CB19784B3}"/>
              </a:ext>
            </a:extLst>
          </p:cNvPr>
          <p:cNvSpPr>
            <a:spLocks noChangeArrowheads="1"/>
          </p:cNvSpPr>
          <p:nvPr/>
        </p:nvSpPr>
        <p:spPr bwMode="auto">
          <a:xfrm>
            <a:off x="3830435" y="2362281"/>
            <a:ext cx="101711" cy="104631"/>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52" name="Oval 1030">
            <a:extLst>
              <a:ext uri="{FF2B5EF4-FFF2-40B4-BE49-F238E27FC236}">
                <a16:creationId xmlns:a16="http://schemas.microsoft.com/office/drawing/2014/main" id="{E29CBD64-DE24-40EE-9228-048FECC4D1A2}"/>
              </a:ext>
            </a:extLst>
          </p:cNvPr>
          <p:cNvSpPr>
            <a:spLocks noChangeArrowheads="1"/>
          </p:cNvSpPr>
          <p:nvPr/>
        </p:nvSpPr>
        <p:spPr bwMode="auto">
          <a:xfrm>
            <a:off x="3845690" y="2423631"/>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53" name="Oval 1031">
            <a:extLst>
              <a:ext uri="{FF2B5EF4-FFF2-40B4-BE49-F238E27FC236}">
                <a16:creationId xmlns:a16="http://schemas.microsoft.com/office/drawing/2014/main" id="{D50BCAED-44DA-4CEF-B4C4-C155685F5E0A}"/>
              </a:ext>
            </a:extLst>
          </p:cNvPr>
          <p:cNvSpPr>
            <a:spLocks noChangeArrowheads="1"/>
          </p:cNvSpPr>
          <p:nvPr/>
        </p:nvSpPr>
        <p:spPr bwMode="auto">
          <a:xfrm>
            <a:off x="1228336" y="2925856"/>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54" name="Oval 1032">
            <a:extLst>
              <a:ext uri="{FF2B5EF4-FFF2-40B4-BE49-F238E27FC236}">
                <a16:creationId xmlns:a16="http://schemas.microsoft.com/office/drawing/2014/main" id="{B3F7EF9F-A6C5-4600-B523-D7E67EB2DB5D}"/>
              </a:ext>
            </a:extLst>
          </p:cNvPr>
          <p:cNvSpPr>
            <a:spLocks noChangeArrowheads="1"/>
          </p:cNvSpPr>
          <p:nvPr/>
        </p:nvSpPr>
        <p:spPr bwMode="auto">
          <a:xfrm>
            <a:off x="3749374" y="2652074"/>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55" name="Oval 1033">
            <a:extLst>
              <a:ext uri="{FF2B5EF4-FFF2-40B4-BE49-F238E27FC236}">
                <a16:creationId xmlns:a16="http://schemas.microsoft.com/office/drawing/2014/main" id="{04B48F8E-F90C-400F-B23A-DA1EF693837E}"/>
              </a:ext>
            </a:extLst>
          </p:cNvPr>
          <p:cNvSpPr>
            <a:spLocks noChangeArrowheads="1"/>
          </p:cNvSpPr>
          <p:nvPr/>
        </p:nvSpPr>
        <p:spPr bwMode="auto">
          <a:xfrm>
            <a:off x="6476607" y="2880517"/>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56" name="Oval 1034">
            <a:extLst>
              <a:ext uri="{FF2B5EF4-FFF2-40B4-BE49-F238E27FC236}">
                <a16:creationId xmlns:a16="http://schemas.microsoft.com/office/drawing/2014/main" id="{2500F18F-7227-417F-B5DE-23437E18F903}"/>
              </a:ext>
            </a:extLst>
          </p:cNvPr>
          <p:cNvSpPr>
            <a:spLocks noChangeArrowheads="1"/>
          </p:cNvSpPr>
          <p:nvPr/>
        </p:nvSpPr>
        <p:spPr bwMode="auto">
          <a:xfrm>
            <a:off x="3690041" y="2362281"/>
            <a:ext cx="99401" cy="104631"/>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57" name="Oval 1035">
            <a:extLst>
              <a:ext uri="{FF2B5EF4-FFF2-40B4-BE49-F238E27FC236}">
                <a16:creationId xmlns:a16="http://schemas.microsoft.com/office/drawing/2014/main" id="{DCE385C1-D89C-421F-AA9E-772F60DC759F}"/>
              </a:ext>
            </a:extLst>
          </p:cNvPr>
          <p:cNvSpPr>
            <a:spLocks noChangeArrowheads="1"/>
          </p:cNvSpPr>
          <p:nvPr/>
        </p:nvSpPr>
        <p:spPr bwMode="auto">
          <a:xfrm>
            <a:off x="4256232" y="2188215"/>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58" name="Oval 1036">
            <a:extLst>
              <a:ext uri="{FF2B5EF4-FFF2-40B4-BE49-F238E27FC236}">
                <a16:creationId xmlns:a16="http://schemas.microsoft.com/office/drawing/2014/main" id="{796171BB-EF70-4379-A8BA-2ED64274E9AC}"/>
              </a:ext>
            </a:extLst>
          </p:cNvPr>
          <p:cNvSpPr>
            <a:spLocks noChangeArrowheads="1"/>
          </p:cNvSpPr>
          <p:nvPr/>
        </p:nvSpPr>
        <p:spPr bwMode="auto">
          <a:xfrm>
            <a:off x="1476139" y="3009560"/>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59" name="Oval 1037">
            <a:extLst>
              <a:ext uri="{FF2B5EF4-FFF2-40B4-BE49-F238E27FC236}">
                <a16:creationId xmlns:a16="http://schemas.microsoft.com/office/drawing/2014/main" id="{9672DF44-CBB2-4D15-8166-8BD047388733}"/>
              </a:ext>
            </a:extLst>
          </p:cNvPr>
          <p:cNvSpPr>
            <a:spLocks noChangeArrowheads="1"/>
          </p:cNvSpPr>
          <p:nvPr/>
        </p:nvSpPr>
        <p:spPr bwMode="auto">
          <a:xfrm>
            <a:off x="2145426" y="2591040"/>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60" name="Oval 1038">
            <a:extLst>
              <a:ext uri="{FF2B5EF4-FFF2-40B4-BE49-F238E27FC236}">
                <a16:creationId xmlns:a16="http://schemas.microsoft.com/office/drawing/2014/main" id="{09706F63-AD82-4C93-AFB9-CEC644D17C4E}"/>
              </a:ext>
            </a:extLst>
          </p:cNvPr>
          <p:cNvSpPr>
            <a:spLocks noChangeArrowheads="1"/>
          </p:cNvSpPr>
          <p:nvPr/>
        </p:nvSpPr>
        <p:spPr bwMode="auto">
          <a:xfrm>
            <a:off x="3777884" y="2432350"/>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61" name="Oval 1039">
            <a:extLst>
              <a:ext uri="{FF2B5EF4-FFF2-40B4-BE49-F238E27FC236}">
                <a16:creationId xmlns:a16="http://schemas.microsoft.com/office/drawing/2014/main" id="{E3A4B72D-2BC0-48D4-AA16-EB0D5E8CDAFE}"/>
              </a:ext>
            </a:extLst>
          </p:cNvPr>
          <p:cNvSpPr>
            <a:spLocks noChangeArrowheads="1"/>
          </p:cNvSpPr>
          <p:nvPr/>
        </p:nvSpPr>
        <p:spPr bwMode="auto">
          <a:xfrm>
            <a:off x="3927059" y="2104511"/>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62" name="Oval 1040">
            <a:extLst>
              <a:ext uri="{FF2B5EF4-FFF2-40B4-BE49-F238E27FC236}">
                <a16:creationId xmlns:a16="http://schemas.microsoft.com/office/drawing/2014/main" id="{6AD8680F-DED7-4D28-A8CC-553549B858A9}"/>
              </a:ext>
            </a:extLst>
          </p:cNvPr>
          <p:cNvSpPr>
            <a:spLocks noChangeArrowheads="1"/>
          </p:cNvSpPr>
          <p:nvPr/>
        </p:nvSpPr>
        <p:spPr bwMode="auto">
          <a:xfrm>
            <a:off x="4062982" y="2507336"/>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63" name="Oval 1041">
            <a:extLst>
              <a:ext uri="{FF2B5EF4-FFF2-40B4-BE49-F238E27FC236}">
                <a16:creationId xmlns:a16="http://schemas.microsoft.com/office/drawing/2014/main" id="{763AED13-266E-4DDB-9019-9EB1DC463895}"/>
              </a:ext>
            </a:extLst>
          </p:cNvPr>
          <p:cNvSpPr>
            <a:spLocks noChangeArrowheads="1"/>
          </p:cNvSpPr>
          <p:nvPr/>
        </p:nvSpPr>
        <p:spPr bwMode="auto">
          <a:xfrm>
            <a:off x="4062982" y="2507336"/>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64" name="Oval 1042">
            <a:extLst>
              <a:ext uri="{FF2B5EF4-FFF2-40B4-BE49-F238E27FC236}">
                <a16:creationId xmlns:a16="http://schemas.microsoft.com/office/drawing/2014/main" id="{15ED6725-94EE-4E5F-B6AA-971C3F8C5A44}"/>
              </a:ext>
            </a:extLst>
          </p:cNvPr>
          <p:cNvSpPr>
            <a:spLocks noChangeArrowheads="1"/>
          </p:cNvSpPr>
          <p:nvPr/>
        </p:nvSpPr>
        <p:spPr bwMode="auto">
          <a:xfrm>
            <a:off x="2489855" y="4280816"/>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65" name="Oval 1043">
            <a:extLst>
              <a:ext uri="{FF2B5EF4-FFF2-40B4-BE49-F238E27FC236}">
                <a16:creationId xmlns:a16="http://schemas.microsoft.com/office/drawing/2014/main" id="{4EEDEA51-1696-43FC-9F7E-75B9AFFAF9FF}"/>
              </a:ext>
            </a:extLst>
          </p:cNvPr>
          <p:cNvSpPr>
            <a:spLocks noChangeArrowheads="1"/>
          </p:cNvSpPr>
          <p:nvPr/>
        </p:nvSpPr>
        <p:spPr bwMode="auto">
          <a:xfrm>
            <a:off x="4025687" y="4226440"/>
            <a:ext cx="99401" cy="104631"/>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66" name="Oval 1044">
            <a:extLst>
              <a:ext uri="{FF2B5EF4-FFF2-40B4-BE49-F238E27FC236}">
                <a16:creationId xmlns:a16="http://schemas.microsoft.com/office/drawing/2014/main" id="{880F258B-A0EF-4D0D-928C-CD6357BD0C2D}"/>
              </a:ext>
            </a:extLst>
          </p:cNvPr>
          <p:cNvSpPr>
            <a:spLocks noChangeArrowheads="1"/>
          </p:cNvSpPr>
          <p:nvPr/>
        </p:nvSpPr>
        <p:spPr bwMode="auto">
          <a:xfrm>
            <a:off x="3823962" y="2355623"/>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67" name="Oval 1045">
            <a:extLst>
              <a:ext uri="{FF2B5EF4-FFF2-40B4-BE49-F238E27FC236}">
                <a16:creationId xmlns:a16="http://schemas.microsoft.com/office/drawing/2014/main" id="{746CA666-D3DD-409E-AF2F-A048DFB023A0}"/>
              </a:ext>
            </a:extLst>
          </p:cNvPr>
          <p:cNvSpPr>
            <a:spLocks noChangeArrowheads="1"/>
          </p:cNvSpPr>
          <p:nvPr/>
        </p:nvSpPr>
        <p:spPr bwMode="auto">
          <a:xfrm>
            <a:off x="1638569" y="2455021"/>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68" name="Oval 1046">
            <a:extLst>
              <a:ext uri="{FF2B5EF4-FFF2-40B4-BE49-F238E27FC236}">
                <a16:creationId xmlns:a16="http://schemas.microsoft.com/office/drawing/2014/main" id="{6DB8CC89-DDFD-4E18-B922-A4C48021ED91}"/>
              </a:ext>
            </a:extLst>
          </p:cNvPr>
          <p:cNvSpPr>
            <a:spLocks noChangeArrowheads="1"/>
          </p:cNvSpPr>
          <p:nvPr/>
        </p:nvSpPr>
        <p:spPr bwMode="auto">
          <a:xfrm>
            <a:off x="6156218" y="3009560"/>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69" name="Oval 1047">
            <a:extLst>
              <a:ext uri="{FF2B5EF4-FFF2-40B4-BE49-F238E27FC236}">
                <a16:creationId xmlns:a16="http://schemas.microsoft.com/office/drawing/2014/main" id="{2848EDCB-91EF-42EA-AD06-533C3E14195B}"/>
              </a:ext>
            </a:extLst>
          </p:cNvPr>
          <p:cNvSpPr>
            <a:spLocks noChangeArrowheads="1"/>
          </p:cNvSpPr>
          <p:nvPr/>
        </p:nvSpPr>
        <p:spPr bwMode="auto">
          <a:xfrm>
            <a:off x="6171475" y="3079313"/>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70" name="Oval 1048">
            <a:extLst>
              <a:ext uri="{FF2B5EF4-FFF2-40B4-BE49-F238E27FC236}">
                <a16:creationId xmlns:a16="http://schemas.microsoft.com/office/drawing/2014/main" id="{B2166D47-AD3D-433D-8F74-F436C4998B9A}"/>
              </a:ext>
            </a:extLst>
          </p:cNvPr>
          <p:cNvSpPr>
            <a:spLocks noChangeArrowheads="1"/>
          </p:cNvSpPr>
          <p:nvPr/>
        </p:nvSpPr>
        <p:spPr bwMode="auto">
          <a:xfrm>
            <a:off x="6118924" y="3047924"/>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71" name="Oval 1049">
            <a:extLst>
              <a:ext uri="{FF2B5EF4-FFF2-40B4-BE49-F238E27FC236}">
                <a16:creationId xmlns:a16="http://schemas.microsoft.com/office/drawing/2014/main" id="{2191EEB9-F03B-4DC2-948A-D73FC749DD40}"/>
              </a:ext>
            </a:extLst>
          </p:cNvPr>
          <p:cNvSpPr>
            <a:spLocks noChangeArrowheads="1"/>
          </p:cNvSpPr>
          <p:nvPr/>
        </p:nvSpPr>
        <p:spPr bwMode="auto">
          <a:xfrm>
            <a:off x="6178254" y="2735778"/>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72" name="Oval 1050">
            <a:extLst>
              <a:ext uri="{FF2B5EF4-FFF2-40B4-BE49-F238E27FC236}">
                <a16:creationId xmlns:a16="http://schemas.microsoft.com/office/drawing/2014/main" id="{814AA0F4-D695-4C4E-87E0-5F4D1E4A574E}"/>
              </a:ext>
            </a:extLst>
          </p:cNvPr>
          <p:cNvSpPr>
            <a:spLocks noChangeArrowheads="1"/>
          </p:cNvSpPr>
          <p:nvPr/>
        </p:nvSpPr>
        <p:spPr bwMode="auto">
          <a:xfrm>
            <a:off x="6276883" y="3047924"/>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73" name="Oval 1051">
            <a:extLst>
              <a:ext uri="{FF2B5EF4-FFF2-40B4-BE49-F238E27FC236}">
                <a16:creationId xmlns:a16="http://schemas.microsoft.com/office/drawing/2014/main" id="{3B512786-52C4-48B3-B48A-5CBE7CF044B8}"/>
              </a:ext>
            </a:extLst>
          </p:cNvPr>
          <p:cNvSpPr>
            <a:spLocks noChangeArrowheads="1"/>
          </p:cNvSpPr>
          <p:nvPr/>
        </p:nvSpPr>
        <p:spPr bwMode="auto">
          <a:xfrm>
            <a:off x="6140961" y="2903187"/>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74" name="Oval 1052">
            <a:extLst>
              <a:ext uri="{FF2B5EF4-FFF2-40B4-BE49-F238E27FC236}">
                <a16:creationId xmlns:a16="http://schemas.microsoft.com/office/drawing/2014/main" id="{1BFFBA10-D9F0-44A7-9E7E-79604CBCA4B7}"/>
              </a:ext>
            </a:extLst>
          </p:cNvPr>
          <p:cNvSpPr>
            <a:spLocks noChangeArrowheads="1"/>
          </p:cNvSpPr>
          <p:nvPr/>
        </p:nvSpPr>
        <p:spPr bwMode="auto">
          <a:xfrm>
            <a:off x="3861256" y="2339928"/>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614" name="TextBox 1613">
            <a:extLst>
              <a:ext uri="{FF2B5EF4-FFF2-40B4-BE49-F238E27FC236}">
                <a16:creationId xmlns:a16="http://schemas.microsoft.com/office/drawing/2014/main" id="{B1641C59-C55C-49AE-AB40-B0852E17DC67}"/>
              </a:ext>
            </a:extLst>
          </p:cNvPr>
          <p:cNvSpPr txBox="1">
            <a:spLocks/>
          </p:cNvSpPr>
          <p:nvPr/>
        </p:nvSpPr>
        <p:spPr>
          <a:xfrm>
            <a:off x="3610140" y="4675192"/>
            <a:ext cx="2446183" cy="723275"/>
          </a:xfrm>
          <a:prstGeom prst="rect">
            <a:avLst/>
          </a:prstGeom>
          <a:noFill/>
        </p:spPr>
        <p:txBody>
          <a:bodyPr vert="horz" wrap="none" lIns="0" tIns="0" rIns="0" bIns="0" rtlCol="0">
            <a:spAutoFit/>
          </a:bodyPr>
          <a:lstStyle>
            <a:lvl1pPr lvl="0" indent="0" defTabSz="914126">
              <a:lnSpc>
                <a:spcPct val="100000"/>
              </a:lnSpc>
              <a:spcBef>
                <a:spcPts val="300"/>
              </a:spcBef>
              <a:spcAft>
                <a:spcPts val="300"/>
              </a:spcAft>
              <a:buFont typeface="Segoe UI" panose="020B0502040204020203" pitchFamily="34" charset="0"/>
              <a:buChar char="​"/>
              <a:defRPr sz="1599">
                <a:cs typeface="Arial" panose="020B0604020202020204" pitchFamily="34" charset="0"/>
              </a:defRPr>
            </a:lvl1pPr>
            <a:lvl2pPr marL="228532" lvl="1" indent="-225357" defTabSz="914126">
              <a:lnSpc>
                <a:spcPct val="100000"/>
              </a:lnSpc>
              <a:spcBef>
                <a:spcPts val="0"/>
              </a:spcBef>
              <a:spcAft>
                <a:spcPts val="300"/>
              </a:spcAft>
              <a:buFont typeface="Wingdings" panose="05000000000000000000" pitchFamily="2" charset="2"/>
              <a:buChar char=""/>
              <a:defRPr sz="1599">
                <a:cs typeface="Arial" panose="020B0604020202020204" pitchFamily="34" charset="0"/>
              </a:defRPr>
            </a:lvl2pPr>
            <a:lvl3pPr marL="515783" lvl="2" indent="-287251" defTabSz="914126">
              <a:lnSpc>
                <a:spcPct val="100000"/>
              </a:lnSpc>
              <a:spcBef>
                <a:spcPts val="0"/>
              </a:spcBef>
              <a:spcAft>
                <a:spcPts val="300"/>
              </a:spcAft>
              <a:buFont typeface="Arial" panose="020B0604020202020204" pitchFamily="34" charset="0"/>
              <a:buChar char="—"/>
              <a:defRPr sz="1599">
                <a:cs typeface="Arial" panose="020B0604020202020204" pitchFamily="34" charset="0"/>
              </a:defRPr>
            </a:lvl3pPr>
            <a:lvl4pPr marL="742727" lvl="3" indent="-182509" defTabSz="914126">
              <a:lnSpc>
                <a:spcPct val="100000"/>
              </a:lnSpc>
              <a:spcBef>
                <a:spcPts val="0"/>
              </a:spcBef>
              <a:spcAft>
                <a:spcPts val="300"/>
              </a:spcAft>
              <a:buFont typeface="Arial" panose="020B0604020202020204" pitchFamily="34" charset="0"/>
              <a:buChar char="»"/>
              <a:defRPr sz="1599">
                <a:cs typeface="Arial" panose="020B0604020202020204" pitchFamily="34" charset="0"/>
              </a:defRPr>
            </a:lvl4pPr>
            <a:lvl5pPr marL="914126" lvl="4" indent="-136484" defTabSz="914126">
              <a:lnSpc>
                <a:spcPct val="100000"/>
              </a:lnSpc>
              <a:spcBef>
                <a:spcPts val="0"/>
              </a:spcBef>
              <a:spcAft>
                <a:spcPts val="300"/>
              </a:spcAft>
              <a:buSzPct val="100000"/>
              <a:buFont typeface="Arial" panose="020B0604020202020204" pitchFamily="34" charset="0"/>
              <a:buChar char="›"/>
              <a:defRPr sz="1599">
                <a:cs typeface="Arial" panose="020B0604020202020204" pitchFamily="34" charset="0"/>
              </a:defRPr>
            </a:lvl5pPr>
            <a:lvl6pPr marL="1085524" indent="-171398" defTabSz="914126">
              <a:lnSpc>
                <a:spcPct val="100000"/>
              </a:lnSpc>
              <a:spcBef>
                <a:spcPts val="0"/>
              </a:spcBef>
              <a:spcAft>
                <a:spcPts val="300"/>
              </a:spcAft>
              <a:buSzPct val="100000"/>
              <a:buFont typeface="Arial" panose="020B0604020202020204" pitchFamily="34" charset="0"/>
              <a:buChar char="▫"/>
              <a:defRPr sz="1599">
                <a:cs typeface="Arial" panose="020B0604020202020204" pitchFamily="34" charset="0"/>
              </a:defRPr>
            </a:lvl6pPr>
            <a:lvl7pPr marL="1085524" indent="-171398" defTabSz="914126">
              <a:lnSpc>
                <a:spcPct val="100000"/>
              </a:lnSpc>
              <a:spcBef>
                <a:spcPts val="0"/>
              </a:spcBef>
              <a:spcAft>
                <a:spcPts val="300"/>
              </a:spcAft>
              <a:buSzPct val="100000"/>
              <a:buFont typeface="Arial" panose="020B0604020202020204" pitchFamily="34" charset="0"/>
              <a:buChar char="▫"/>
              <a:defRPr sz="1599">
                <a:cs typeface="Arial" panose="020B0604020202020204" pitchFamily="34" charset="0"/>
              </a:defRPr>
            </a:lvl7pPr>
            <a:lvl8pPr marL="1085524" indent="-171398" defTabSz="914126">
              <a:lnSpc>
                <a:spcPct val="100000"/>
              </a:lnSpc>
              <a:spcBef>
                <a:spcPts val="0"/>
              </a:spcBef>
              <a:spcAft>
                <a:spcPts val="300"/>
              </a:spcAft>
              <a:buSzPct val="100000"/>
              <a:buFont typeface="Arial" panose="020B0604020202020204" pitchFamily="34" charset="0"/>
              <a:buChar char="▫"/>
              <a:defRPr sz="1599">
                <a:cs typeface="Arial" panose="020B0604020202020204" pitchFamily="34" charset="0"/>
              </a:defRPr>
            </a:lvl8pPr>
            <a:lvl9pPr marL="1085524" indent="-171398" defTabSz="914126">
              <a:lnSpc>
                <a:spcPct val="100000"/>
              </a:lnSpc>
              <a:spcBef>
                <a:spcPts val="0"/>
              </a:spcBef>
              <a:spcAft>
                <a:spcPts val="300"/>
              </a:spcAft>
              <a:buSzPct val="100000"/>
              <a:buFont typeface="Arial" panose="020B0604020202020204" pitchFamily="34" charset="0"/>
              <a:buChar char="▫"/>
              <a:defRPr sz="1599">
                <a:cs typeface="Arial" panose="020B0604020202020204" pitchFamily="34" charset="0"/>
              </a:defRPr>
            </a:lvl9pPr>
          </a:lstStyle>
          <a:p>
            <a:pPr marL="0" marR="0" lvl="0" indent="0" algn="ctr" defTabSz="914104"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nb-NO" sz="2800" b="1" i="0" u="none" strike="noStrike" kern="1200" cap="none" spc="0" normalizeH="0" baseline="0" noProof="0" dirty="0">
                <a:ln>
                  <a:noFill/>
                </a:ln>
                <a:solidFill>
                  <a:schemeClr val="accent1"/>
                </a:solidFill>
                <a:effectLst/>
                <a:uLnTx/>
                <a:uFillTx/>
                <a:latin typeface="Bahnschrift" panose="020B0502040204020203" pitchFamily="34" charset="0"/>
                <a:sym typeface="Bahnschrift" panose="020B0502040204020203" pitchFamily="34" charset="0"/>
              </a:rPr>
              <a:t>1,040+ Projekte</a:t>
            </a:r>
          </a:p>
          <a:p>
            <a:pPr marL="0" marR="0" lvl="0" indent="0" algn="r" defTabSz="914104"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nb-NO" sz="14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rPr>
              <a:t>684 in 2021</a:t>
            </a:r>
            <a:endPar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1735" name="Oval 385">
            <a:extLst>
              <a:ext uri="{FF2B5EF4-FFF2-40B4-BE49-F238E27FC236}">
                <a16:creationId xmlns:a16="http://schemas.microsoft.com/office/drawing/2014/main" id="{8E6A0F3E-CB02-4EF9-BF81-1DE796318E9D}"/>
              </a:ext>
            </a:extLst>
          </p:cNvPr>
          <p:cNvSpPr>
            <a:spLocks noChangeArrowheads="1"/>
          </p:cNvSpPr>
          <p:nvPr/>
        </p:nvSpPr>
        <p:spPr bwMode="gray">
          <a:xfrm>
            <a:off x="7460306" y="4610286"/>
            <a:ext cx="135230"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47" name="Oval 430">
            <a:extLst>
              <a:ext uri="{FF2B5EF4-FFF2-40B4-BE49-F238E27FC236}">
                <a16:creationId xmlns:a16="http://schemas.microsoft.com/office/drawing/2014/main" id="{8012C4B7-F19B-470B-B7B7-08AC056B2530}"/>
              </a:ext>
            </a:extLst>
          </p:cNvPr>
          <p:cNvSpPr>
            <a:spLocks noChangeArrowheads="1"/>
          </p:cNvSpPr>
          <p:nvPr/>
        </p:nvSpPr>
        <p:spPr bwMode="gray">
          <a:xfrm>
            <a:off x="6862632" y="468782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751" name="Oval 440">
            <a:extLst>
              <a:ext uri="{FF2B5EF4-FFF2-40B4-BE49-F238E27FC236}">
                <a16:creationId xmlns:a16="http://schemas.microsoft.com/office/drawing/2014/main" id="{10EAFAB8-4436-42A6-BED3-2F4CB8DA20AD}"/>
              </a:ext>
            </a:extLst>
          </p:cNvPr>
          <p:cNvSpPr>
            <a:spLocks noChangeArrowheads="1"/>
          </p:cNvSpPr>
          <p:nvPr/>
        </p:nvSpPr>
        <p:spPr bwMode="gray">
          <a:xfrm>
            <a:off x="6862632" y="468782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31" name="Oval 646">
            <a:extLst>
              <a:ext uri="{FF2B5EF4-FFF2-40B4-BE49-F238E27FC236}">
                <a16:creationId xmlns:a16="http://schemas.microsoft.com/office/drawing/2014/main" id="{2E9486E3-6894-466E-A745-D31CE2713B70}"/>
              </a:ext>
            </a:extLst>
          </p:cNvPr>
          <p:cNvSpPr>
            <a:spLocks noChangeArrowheads="1"/>
          </p:cNvSpPr>
          <p:nvPr/>
        </p:nvSpPr>
        <p:spPr bwMode="gray">
          <a:xfrm>
            <a:off x="6862632" y="4687823"/>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1832" name="Oval 649">
            <a:extLst>
              <a:ext uri="{FF2B5EF4-FFF2-40B4-BE49-F238E27FC236}">
                <a16:creationId xmlns:a16="http://schemas.microsoft.com/office/drawing/2014/main" id="{E1E5FFC3-B761-466D-BE8E-6B6BFA111CBA}"/>
              </a:ext>
            </a:extLst>
          </p:cNvPr>
          <p:cNvSpPr>
            <a:spLocks noChangeArrowheads="1"/>
          </p:cNvSpPr>
          <p:nvPr/>
        </p:nvSpPr>
        <p:spPr bwMode="gray">
          <a:xfrm>
            <a:off x="6837579" y="4650845"/>
            <a:ext cx="135229" cy="135220"/>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061" name="Oval 406">
            <a:extLst>
              <a:ext uri="{FF2B5EF4-FFF2-40B4-BE49-F238E27FC236}">
                <a16:creationId xmlns:a16="http://schemas.microsoft.com/office/drawing/2014/main" id="{8974E118-04A4-4579-8B97-DF65FDF04DD2}"/>
              </a:ext>
            </a:extLst>
          </p:cNvPr>
          <p:cNvSpPr>
            <a:spLocks noChangeArrowheads="1"/>
          </p:cNvSpPr>
          <p:nvPr/>
        </p:nvSpPr>
        <p:spPr bwMode="gray">
          <a:xfrm>
            <a:off x="6859983" y="4659986"/>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140" name="Oval 651">
            <a:extLst>
              <a:ext uri="{FF2B5EF4-FFF2-40B4-BE49-F238E27FC236}">
                <a16:creationId xmlns:a16="http://schemas.microsoft.com/office/drawing/2014/main" id="{BBD8D4E8-833A-456B-BC5A-667396D90C27}"/>
              </a:ext>
            </a:extLst>
          </p:cNvPr>
          <p:cNvSpPr>
            <a:spLocks noChangeArrowheads="1"/>
          </p:cNvSpPr>
          <p:nvPr/>
        </p:nvSpPr>
        <p:spPr bwMode="gray">
          <a:xfrm>
            <a:off x="7344327" y="4780467"/>
            <a:ext cx="135229" cy="135220"/>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31" name="Oval 109">
            <a:extLst>
              <a:ext uri="{FF2B5EF4-FFF2-40B4-BE49-F238E27FC236}">
                <a16:creationId xmlns:a16="http://schemas.microsoft.com/office/drawing/2014/main" id="{86B951E3-A3E2-4462-9BF2-A4ABFC8C7266}"/>
              </a:ext>
            </a:extLst>
          </p:cNvPr>
          <p:cNvSpPr>
            <a:spLocks noChangeArrowheads="1"/>
          </p:cNvSpPr>
          <p:nvPr/>
        </p:nvSpPr>
        <p:spPr bwMode="auto">
          <a:xfrm>
            <a:off x="7391693" y="4604535"/>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432" name="Oval 110">
            <a:extLst>
              <a:ext uri="{FF2B5EF4-FFF2-40B4-BE49-F238E27FC236}">
                <a16:creationId xmlns:a16="http://schemas.microsoft.com/office/drawing/2014/main" id="{BED9355E-4576-4CDF-BFD2-67605E817F21}"/>
              </a:ext>
            </a:extLst>
          </p:cNvPr>
          <p:cNvSpPr>
            <a:spLocks noChangeArrowheads="1"/>
          </p:cNvSpPr>
          <p:nvPr/>
        </p:nvSpPr>
        <p:spPr bwMode="auto">
          <a:xfrm>
            <a:off x="7391693" y="4604535"/>
            <a:ext cx="180307" cy="185484"/>
          </a:xfrm>
          <a:prstGeom prst="ellipse">
            <a:avLst/>
          </a:prstGeom>
          <a:solidFill>
            <a:schemeClr val="accent2">
              <a:alpha val="65000"/>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563" name="Oval 241">
            <a:extLst>
              <a:ext uri="{FF2B5EF4-FFF2-40B4-BE49-F238E27FC236}">
                <a16:creationId xmlns:a16="http://schemas.microsoft.com/office/drawing/2014/main" id="{4A47C5D9-87C7-444B-86EF-B1298B7BD425}"/>
              </a:ext>
            </a:extLst>
          </p:cNvPr>
          <p:cNvSpPr>
            <a:spLocks noChangeArrowheads="1"/>
          </p:cNvSpPr>
          <p:nvPr/>
        </p:nvSpPr>
        <p:spPr bwMode="auto">
          <a:xfrm>
            <a:off x="6812252" y="4615632"/>
            <a:ext cx="101711" cy="102254"/>
          </a:xfrm>
          <a:prstGeom prst="ellipse">
            <a:avLst/>
          </a:prstGeom>
          <a:solidFill>
            <a:srgbClr val="052B35">
              <a:alpha val="50196"/>
            </a:srgbClr>
          </a:solidFill>
          <a:ln w="0"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2990" name="Oval 668">
            <a:extLst>
              <a:ext uri="{FF2B5EF4-FFF2-40B4-BE49-F238E27FC236}">
                <a16:creationId xmlns:a16="http://schemas.microsoft.com/office/drawing/2014/main" id="{F1D8A46B-037E-471B-AA12-E3A2D07D718B}"/>
              </a:ext>
            </a:extLst>
          </p:cNvPr>
          <p:cNvSpPr>
            <a:spLocks noChangeArrowheads="1"/>
          </p:cNvSpPr>
          <p:nvPr/>
        </p:nvSpPr>
        <p:spPr bwMode="auto">
          <a:xfrm>
            <a:off x="6821037" y="4692362"/>
            <a:ext cx="9940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15" name="Oval 693">
            <a:extLst>
              <a:ext uri="{FF2B5EF4-FFF2-40B4-BE49-F238E27FC236}">
                <a16:creationId xmlns:a16="http://schemas.microsoft.com/office/drawing/2014/main" id="{88CD6226-9E8F-480E-9D32-064CCA0B3E7F}"/>
              </a:ext>
            </a:extLst>
          </p:cNvPr>
          <p:cNvSpPr>
            <a:spLocks noChangeArrowheads="1"/>
          </p:cNvSpPr>
          <p:nvPr/>
        </p:nvSpPr>
        <p:spPr bwMode="auto">
          <a:xfrm>
            <a:off x="6774958" y="4592963"/>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80" name="Oval 758">
            <a:extLst>
              <a:ext uri="{FF2B5EF4-FFF2-40B4-BE49-F238E27FC236}">
                <a16:creationId xmlns:a16="http://schemas.microsoft.com/office/drawing/2014/main" id="{659358E9-146F-468C-BFD9-0197E52F6704}"/>
              </a:ext>
            </a:extLst>
          </p:cNvPr>
          <p:cNvSpPr>
            <a:spLocks noChangeArrowheads="1"/>
          </p:cNvSpPr>
          <p:nvPr/>
        </p:nvSpPr>
        <p:spPr bwMode="auto">
          <a:xfrm>
            <a:off x="7297073" y="4837098"/>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095" name="Oval 773">
            <a:extLst>
              <a:ext uri="{FF2B5EF4-FFF2-40B4-BE49-F238E27FC236}">
                <a16:creationId xmlns:a16="http://schemas.microsoft.com/office/drawing/2014/main" id="{F024F1F1-1772-4269-BC32-F340A36AB7BC}"/>
              </a:ext>
            </a:extLst>
          </p:cNvPr>
          <p:cNvSpPr>
            <a:spLocks noChangeArrowheads="1"/>
          </p:cNvSpPr>
          <p:nvPr/>
        </p:nvSpPr>
        <p:spPr bwMode="auto">
          <a:xfrm>
            <a:off x="7430993" y="4644962"/>
            <a:ext cx="10171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00" name="Oval 778">
            <a:extLst>
              <a:ext uri="{FF2B5EF4-FFF2-40B4-BE49-F238E27FC236}">
                <a16:creationId xmlns:a16="http://schemas.microsoft.com/office/drawing/2014/main" id="{010F2A28-7218-4446-AF8D-20EE7736F2AB}"/>
              </a:ext>
            </a:extLst>
          </p:cNvPr>
          <p:cNvSpPr>
            <a:spLocks noChangeArrowheads="1"/>
          </p:cNvSpPr>
          <p:nvPr/>
        </p:nvSpPr>
        <p:spPr bwMode="auto">
          <a:xfrm>
            <a:off x="6843073" y="4728666"/>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01" name="Oval 779">
            <a:extLst>
              <a:ext uri="{FF2B5EF4-FFF2-40B4-BE49-F238E27FC236}">
                <a16:creationId xmlns:a16="http://schemas.microsoft.com/office/drawing/2014/main" id="{AB9B0869-51AC-45CB-BCD0-8697A2C992E8}"/>
              </a:ext>
            </a:extLst>
          </p:cNvPr>
          <p:cNvSpPr>
            <a:spLocks noChangeArrowheads="1"/>
          </p:cNvSpPr>
          <p:nvPr/>
        </p:nvSpPr>
        <p:spPr bwMode="auto">
          <a:xfrm>
            <a:off x="6843073" y="4728666"/>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02" name="Oval 780">
            <a:extLst>
              <a:ext uri="{FF2B5EF4-FFF2-40B4-BE49-F238E27FC236}">
                <a16:creationId xmlns:a16="http://schemas.microsoft.com/office/drawing/2014/main" id="{B4B913D6-902E-4244-B3B7-ADAF41C6C0B0}"/>
              </a:ext>
            </a:extLst>
          </p:cNvPr>
          <p:cNvSpPr>
            <a:spLocks noChangeArrowheads="1"/>
          </p:cNvSpPr>
          <p:nvPr/>
        </p:nvSpPr>
        <p:spPr bwMode="auto">
          <a:xfrm>
            <a:off x="6843073" y="4728666"/>
            <a:ext cx="99401" cy="104631"/>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145" name="Oval 823">
            <a:extLst>
              <a:ext uri="{FF2B5EF4-FFF2-40B4-BE49-F238E27FC236}">
                <a16:creationId xmlns:a16="http://schemas.microsoft.com/office/drawing/2014/main" id="{447007E9-5072-49E7-BCE2-28ED815CB8AF}"/>
              </a:ext>
            </a:extLst>
          </p:cNvPr>
          <p:cNvSpPr>
            <a:spLocks noChangeArrowheads="1"/>
          </p:cNvSpPr>
          <p:nvPr/>
        </p:nvSpPr>
        <p:spPr bwMode="auto">
          <a:xfrm>
            <a:off x="6774958" y="4585987"/>
            <a:ext cx="101711" cy="102254"/>
          </a:xfrm>
          <a:prstGeom prst="ellipse">
            <a:avLst/>
          </a:prstGeom>
          <a:solidFill>
            <a:srgbClr val="497996">
              <a:alpha val="50196"/>
            </a:srgbClr>
          </a:solidFill>
          <a:ln w="1588" cap="flat">
            <a:no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200" name="Oval 878">
            <a:extLst>
              <a:ext uri="{FF2B5EF4-FFF2-40B4-BE49-F238E27FC236}">
                <a16:creationId xmlns:a16="http://schemas.microsoft.com/office/drawing/2014/main" id="{E3A7C21B-54A2-45AF-8CF7-294CB5CD32D6}"/>
              </a:ext>
            </a:extLst>
          </p:cNvPr>
          <p:cNvSpPr>
            <a:spLocks noChangeArrowheads="1"/>
          </p:cNvSpPr>
          <p:nvPr/>
        </p:nvSpPr>
        <p:spPr bwMode="auto">
          <a:xfrm>
            <a:off x="6849546" y="4699336"/>
            <a:ext cx="10171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sp>
        <p:nvSpPr>
          <p:cNvPr id="3302" name="Oval 980">
            <a:extLst>
              <a:ext uri="{FF2B5EF4-FFF2-40B4-BE49-F238E27FC236}">
                <a16:creationId xmlns:a16="http://schemas.microsoft.com/office/drawing/2014/main" id="{56162FB1-6A59-4713-AF34-AB5F36C4EFA2}"/>
              </a:ext>
            </a:extLst>
          </p:cNvPr>
          <p:cNvSpPr>
            <a:spLocks noChangeArrowheads="1"/>
          </p:cNvSpPr>
          <p:nvPr/>
        </p:nvSpPr>
        <p:spPr bwMode="auto">
          <a:xfrm>
            <a:off x="7327894" y="4821406"/>
            <a:ext cx="99401" cy="102254"/>
          </a:xfrm>
          <a:prstGeom prst="ellipse">
            <a:avLst/>
          </a:prstGeom>
          <a:solidFill>
            <a:schemeClr val="accent3">
              <a:alpha val="50196"/>
            </a:schemeClr>
          </a:solidFill>
          <a:ln w="1588" cap="flat">
            <a:solidFill>
              <a:schemeClr val="tx1"/>
            </a:solidFill>
            <a:prstDash val="solid"/>
            <a:miter lim="800000"/>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C3C3C"/>
              </a:solidFill>
              <a:effectLst/>
              <a:uLnTx/>
              <a:uFillTx/>
              <a:latin typeface="Bahnschrift" panose="020B0502040204020203" pitchFamily="34" charset="0"/>
              <a:sym typeface="Bahnschrift" panose="020B0502040204020203" pitchFamily="34" charset="0"/>
            </a:endParaRPr>
          </a:p>
        </p:txBody>
      </p:sp>
      <p:cxnSp>
        <p:nvCxnSpPr>
          <p:cNvPr id="22" name="Gerader Verbinder 6">
            <a:extLst>
              <a:ext uri="{FF2B5EF4-FFF2-40B4-BE49-F238E27FC236}">
                <a16:creationId xmlns:a16="http://schemas.microsoft.com/office/drawing/2014/main" id="{1BFB55B7-8551-CF6B-453C-34F2902493A3}"/>
              </a:ext>
            </a:extLst>
          </p:cNvPr>
          <p:cNvCxnSpPr>
            <a:cxnSpLocks/>
          </p:cNvCxnSpPr>
          <p:nvPr/>
        </p:nvCxnSpPr>
        <p:spPr>
          <a:xfrm>
            <a:off x="939800" y="1454727"/>
            <a:ext cx="10896600" cy="0"/>
          </a:xfrm>
          <a:prstGeom prst="line">
            <a:avLst/>
          </a:prstGeom>
          <a:ln w="6350" cap="flat">
            <a:solidFill>
              <a:srgbClr val="004FA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16300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6" hidden="1">
            <a:extLst>
              <a:ext uri="{FF2B5EF4-FFF2-40B4-BE49-F238E27FC236}">
                <a16:creationId xmlns:a16="http://schemas.microsoft.com/office/drawing/2014/main" id="{D9B13C5F-9C6D-460A-B53F-AA3121B719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8" name="Object 6" hidden="1">
                        <a:extLst>
                          <a:ext uri="{FF2B5EF4-FFF2-40B4-BE49-F238E27FC236}">
                            <a16:creationId xmlns:a16="http://schemas.microsoft.com/office/drawing/2014/main" id="{D9B13C5F-9C6D-460A-B53F-AA3121B7191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1" name="Picture 20">
            <a:extLst>
              <a:ext uri="{FF2B5EF4-FFF2-40B4-BE49-F238E27FC236}">
                <a16:creationId xmlns:a16="http://schemas.microsoft.com/office/drawing/2014/main" id="{EC6898B4-F98A-C6FC-5E32-F4996441C717}"/>
              </a:ext>
            </a:extLst>
          </p:cNvPr>
          <p:cNvPicPr>
            <a:picLocks noChangeAspect="1"/>
          </p:cNvPicPr>
          <p:nvPr/>
        </p:nvPicPr>
        <p:blipFill rotWithShape="1">
          <a:blip r:embed="rId9"/>
          <a:srcRect b="41896"/>
          <a:stretch/>
        </p:blipFill>
        <p:spPr>
          <a:xfrm>
            <a:off x="247517" y="5826395"/>
            <a:ext cx="3113532" cy="1031605"/>
          </a:xfrm>
          <a:prstGeom prst="rect">
            <a:avLst/>
          </a:prstGeom>
        </p:spPr>
      </p:pic>
      <p:sp>
        <p:nvSpPr>
          <p:cNvPr id="200" name="TextBox 199">
            <a:extLst>
              <a:ext uri="{FF2B5EF4-FFF2-40B4-BE49-F238E27FC236}">
                <a16:creationId xmlns:a16="http://schemas.microsoft.com/office/drawing/2014/main" id="{BFD95579-EC2C-4DF7-B3B9-FD628F5BDF6B}"/>
              </a:ext>
            </a:extLst>
          </p:cNvPr>
          <p:cNvSpPr txBox="1"/>
          <p:nvPr/>
        </p:nvSpPr>
        <p:spPr>
          <a:xfrm>
            <a:off x="8347294" y="1570303"/>
            <a:ext cx="3289969" cy="923330"/>
          </a:xfrm>
          <a:prstGeom prst="rect">
            <a:avLst/>
          </a:prstGeom>
        </p:spPr>
        <p:txBody>
          <a:bodyPr vert="horz" wrap="square" lIns="0" tIns="0" rIns="0" bIns="0" rtlCol="0" anchor="b">
            <a:spAutoFit/>
          </a:bodyPr>
          <a:lstStyle>
            <a:defPPr>
              <a:defRPr lang="en-US"/>
            </a:defPPr>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algn="l" defTabSz="914400" rtl="0" eaLnBrk="1" fontAlgn="auto" latinLnBrk="0" hangingPunct="1">
              <a:lnSpc>
                <a:spcPct val="100000"/>
              </a:lnSpc>
              <a:spcBef>
                <a:spcPts val="300"/>
              </a:spcBef>
              <a:spcAft>
                <a:spcPts val="300"/>
              </a:spcAft>
              <a:buClrTx/>
              <a:buSzTx/>
              <a:buFont typeface="Wingdings" panose="05000000000000000000" pitchFamily="2" charset="2"/>
              <a:buNone/>
              <a:tabLst/>
              <a:defRPr/>
            </a:pPr>
            <a:r>
              <a:rPr kumimoji="0" lang="de-DE" sz="2000"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rPr>
              <a:t>Priorisierte Routen für den Import von grünem, kosten-günstigem Wasserstoff</a:t>
            </a:r>
            <a:endParaRPr kumimoji="0" lang="de-DE" sz="20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228" name="Rectangle 227">
            <a:extLst>
              <a:ext uri="{FF2B5EF4-FFF2-40B4-BE49-F238E27FC236}">
                <a16:creationId xmlns:a16="http://schemas.microsoft.com/office/drawing/2014/main" id="{0197918E-A3B3-4E41-BF45-0C5FCB7FF122}"/>
              </a:ext>
            </a:extLst>
          </p:cNvPr>
          <p:cNvSpPr/>
          <p:nvPr/>
        </p:nvSpPr>
        <p:spPr>
          <a:xfrm rot="5400000">
            <a:off x="6082878" y="3783145"/>
            <a:ext cx="398819" cy="542951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a:ln>
                <a:noFill/>
              </a:ln>
              <a:solidFill>
                <a:srgbClr val="FFFFFF"/>
              </a:solidFill>
              <a:effectLst/>
              <a:uLnTx/>
              <a:uFillTx/>
              <a:latin typeface="Bahnschrift" panose="020B0502040204020203" pitchFamily="34" charset="0"/>
              <a:sym typeface="Bahnschrift" panose="020B0502040204020203" pitchFamily="34" charset="0"/>
            </a:endParaRPr>
          </a:p>
        </p:txBody>
      </p:sp>
      <p:sp>
        <p:nvSpPr>
          <p:cNvPr id="244" name="Rectangle 243">
            <a:extLst>
              <a:ext uri="{FF2B5EF4-FFF2-40B4-BE49-F238E27FC236}">
                <a16:creationId xmlns:a16="http://schemas.microsoft.com/office/drawing/2014/main" id="{7EF82085-E535-446A-896E-A93C91B12DDB}"/>
              </a:ext>
            </a:extLst>
          </p:cNvPr>
          <p:cNvSpPr/>
          <p:nvPr/>
        </p:nvSpPr>
        <p:spPr>
          <a:xfrm rot="5400000">
            <a:off x="3318405" y="-1955871"/>
            <a:ext cx="693649" cy="5336913"/>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a:ln>
                <a:noFill/>
              </a:ln>
              <a:solidFill>
                <a:srgbClr val="FFFFFF"/>
              </a:solidFill>
              <a:effectLst/>
              <a:uLnTx/>
              <a:uFillTx/>
              <a:latin typeface="Bahnschrift" panose="020B0502040204020203" pitchFamily="34" charset="0"/>
              <a:sym typeface="Bahnschrift" panose="020B0502040204020203" pitchFamily="34" charset="0"/>
            </a:endParaRPr>
          </a:p>
        </p:txBody>
      </p:sp>
      <p:sp>
        <p:nvSpPr>
          <p:cNvPr id="194" name="Title 193">
            <a:extLst>
              <a:ext uri="{FF2B5EF4-FFF2-40B4-BE49-F238E27FC236}">
                <a16:creationId xmlns:a16="http://schemas.microsoft.com/office/drawing/2014/main" id="{D9E926B4-1BCC-4F45-A054-EDA5D5D4FCEF}"/>
              </a:ext>
            </a:extLst>
          </p:cNvPr>
          <p:cNvSpPr>
            <a:spLocks noGrp="1"/>
          </p:cNvSpPr>
          <p:nvPr>
            <p:ph type="title"/>
          </p:nvPr>
        </p:nvSpPr>
        <p:spPr>
          <a:xfrm>
            <a:off x="838799" y="340614"/>
            <a:ext cx="10798464" cy="1126462"/>
          </a:xfrm>
          <a:noFill/>
          <a:ln>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de-AT" dirty="0"/>
              <a:t>Für die Deckung seines Bedarfs benötigt Österreich Wasserstoff-importe</a:t>
            </a:r>
            <a:r>
              <a:rPr lang="de-DE" dirty="0"/>
              <a:t>, gleichzeitig</a:t>
            </a:r>
            <a:r>
              <a:rPr lang="de-DE" dirty="0">
                <a:solidFill>
                  <a:srgbClr val="00B050"/>
                </a:solidFill>
              </a:rPr>
              <a:t> </a:t>
            </a:r>
            <a:r>
              <a:rPr lang="de-DE" dirty="0"/>
              <a:t>gibt es das Potenzial, zur H</a:t>
            </a:r>
            <a:r>
              <a:rPr lang="de-DE" baseline="-25000" dirty="0"/>
              <a:t>2</a:t>
            </a:r>
            <a:r>
              <a:rPr lang="de-DE" dirty="0"/>
              <a:t>-Drehscheibe zu werden</a:t>
            </a:r>
          </a:p>
        </p:txBody>
      </p:sp>
      <p:sp>
        <p:nvSpPr>
          <p:cNvPr id="251" name="BigStat 55">
            <a:extLst>
              <a:ext uri="{FF2B5EF4-FFF2-40B4-BE49-F238E27FC236}">
                <a16:creationId xmlns:a16="http://schemas.microsoft.com/office/drawing/2014/main" id="{6CC67933-127B-427E-B6B1-0FBF0F46DEA6}"/>
              </a:ext>
            </a:extLst>
          </p:cNvPr>
          <p:cNvSpPr txBox="1">
            <a:spLocks/>
          </p:cNvSpPr>
          <p:nvPr>
            <p:custDataLst>
              <p:tags r:id="rId2"/>
            </p:custDataLst>
          </p:nvPr>
        </p:nvSpPr>
        <p:spPr>
          <a:xfrm>
            <a:off x="9086850" y="3031037"/>
            <a:ext cx="2550413" cy="610424"/>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200"/>
              </a:spcAft>
              <a:buClr>
                <a:srgbClr val="222222"/>
              </a:buClr>
              <a:buSzPct val="100000"/>
              <a:buFont typeface="Segoe UI" panose="020B0502040204020203" pitchFamily="34" charset="0"/>
              <a:buChar char="​"/>
              <a:tabLst/>
              <a:defRPr/>
            </a:pPr>
            <a:r>
              <a:rPr kumimoji="0" lang="de-DE" sz="2400" b="1" i="0" u="none" strike="noStrike" kern="1200" cap="none" spc="0" normalizeH="0" baseline="0" noProof="0" dirty="0">
                <a:ln>
                  <a:noFill/>
                </a:ln>
                <a:solidFill>
                  <a:schemeClr val="accent1"/>
                </a:solidFill>
                <a:effectLst/>
                <a:uLnTx/>
                <a:uFillTx/>
                <a:latin typeface="Bahnschrift" panose="020B0502040204020203" pitchFamily="34" charset="0"/>
                <a:sym typeface="Bahnschrift" panose="020B0502040204020203" pitchFamily="34" charset="0"/>
              </a:rPr>
              <a:t>~40 TWh/Jahr</a:t>
            </a:r>
          </a:p>
          <a:p>
            <a:pPr marL="0" marR="0" lvl="0" indent="0" algn="l" defTabSz="914400" rtl="0" eaLnBrk="1" fontAlgn="auto" latinLnBrk="0" hangingPunct="1">
              <a:lnSpc>
                <a:spcPct val="100000"/>
              </a:lnSpc>
              <a:spcBef>
                <a:spcPts val="0"/>
              </a:spcBef>
              <a:spcAft>
                <a:spcPts val="200"/>
              </a:spcAft>
              <a:buClr>
                <a:srgbClr val="222222"/>
              </a:buClr>
              <a:buSzPct val="100000"/>
              <a:buFont typeface="Segoe UI" panose="020B0502040204020203" pitchFamily="34" charset="0"/>
              <a:buChar char="​"/>
              <a:tabLst/>
              <a:defRPr/>
            </a:pPr>
            <a:r>
              <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rPr>
              <a:t>Potenzial grüner Wasserstoff</a:t>
            </a:r>
          </a:p>
        </p:txBody>
      </p:sp>
      <p:sp>
        <p:nvSpPr>
          <p:cNvPr id="250" name="TextBox 249">
            <a:extLst>
              <a:ext uri="{FF2B5EF4-FFF2-40B4-BE49-F238E27FC236}">
                <a16:creationId xmlns:a16="http://schemas.microsoft.com/office/drawing/2014/main" id="{E60010C8-300F-4C45-BBFA-3ED63DC987B6}"/>
              </a:ext>
            </a:extLst>
          </p:cNvPr>
          <p:cNvSpPr txBox="1">
            <a:spLocks/>
          </p:cNvSpPr>
          <p:nvPr/>
        </p:nvSpPr>
        <p:spPr>
          <a:xfrm>
            <a:off x="9086850" y="2690041"/>
            <a:ext cx="2550413" cy="276999"/>
          </a:xfrm>
          <a:prstGeom prst="rect">
            <a:avLst/>
          </a:prstGeom>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222222"/>
              </a:buClr>
              <a:buSzPct val="100000"/>
              <a:buFont typeface="Segoe UI" panose="020B0502040204020203" pitchFamily="34" charset="0"/>
              <a:buChar char="​"/>
              <a:tabLst/>
              <a:defRPr/>
            </a:pPr>
            <a:r>
              <a:rPr kumimoji="0" lang="de-DE" sz="1800"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rPr>
              <a:t>Nordafrika-Italien</a:t>
            </a:r>
          </a:p>
        </p:txBody>
      </p:sp>
      <p:grpSp>
        <p:nvGrpSpPr>
          <p:cNvPr id="33" name="Group 32">
            <a:extLst>
              <a:ext uri="{FF2B5EF4-FFF2-40B4-BE49-F238E27FC236}">
                <a16:creationId xmlns:a16="http://schemas.microsoft.com/office/drawing/2014/main" id="{91925ABD-74D4-47FD-4065-AC3164858B07}"/>
              </a:ext>
            </a:extLst>
          </p:cNvPr>
          <p:cNvGrpSpPr/>
          <p:nvPr/>
        </p:nvGrpSpPr>
        <p:grpSpPr>
          <a:xfrm>
            <a:off x="8490586" y="2690041"/>
            <a:ext cx="438293" cy="652530"/>
            <a:chOff x="8490586" y="2719320"/>
            <a:chExt cx="438293" cy="652530"/>
          </a:xfrm>
        </p:grpSpPr>
        <p:grpSp>
          <p:nvGrpSpPr>
            <p:cNvPr id="252" name="Group 251">
              <a:extLst>
                <a:ext uri="{FF2B5EF4-FFF2-40B4-BE49-F238E27FC236}">
                  <a16:creationId xmlns:a16="http://schemas.microsoft.com/office/drawing/2014/main" id="{C7D2A18F-E331-42F2-BF10-30D9AF96CC6F}"/>
                </a:ext>
              </a:extLst>
            </p:cNvPr>
            <p:cNvGrpSpPr/>
            <p:nvPr/>
          </p:nvGrpSpPr>
          <p:grpSpPr>
            <a:xfrm>
              <a:off x="8490587" y="2719320"/>
              <a:ext cx="438292" cy="292195"/>
              <a:chOff x="2121523" y="6252682"/>
              <a:chExt cx="327660" cy="218440"/>
            </a:xfrm>
          </p:grpSpPr>
          <p:pic>
            <p:nvPicPr>
              <p:cNvPr id="269" name="Picture 268">
                <a:extLst>
                  <a:ext uri="{FF2B5EF4-FFF2-40B4-BE49-F238E27FC236}">
                    <a16:creationId xmlns:a16="http://schemas.microsoft.com/office/drawing/2014/main" id="{123C6A34-C362-4AB8-9E5F-81618C0C5B55}"/>
                  </a:ext>
                </a:extLst>
              </p:cNvPr>
              <p:cNvPicPr>
                <a:picLocks/>
              </p:cNvPicPr>
              <p:nvPr/>
            </p:nvPicPr>
            <p:blipFill>
              <a:blip r:embed="rId10" cstate="screen">
                <a:extLst>
                  <a:ext uri="{28A0092B-C50C-407E-A947-70E740481C1C}">
                    <a14:useLocalDpi xmlns:a14="http://schemas.microsoft.com/office/drawing/2010/main"/>
                  </a:ext>
                </a:extLst>
              </a:blip>
              <a:stretch>
                <a:fillRect/>
              </a:stretch>
            </p:blipFill>
            <p:spPr>
              <a:xfrm>
                <a:off x="2121523" y="6252682"/>
                <a:ext cx="327660" cy="218440"/>
              </a:xfrm>
              <a:prstGeom prst="rect">
                <a:avLst/>
              </a:prstGeom>
              <a:ln w="6350">
                <a:solidFill>
                  <a:srgbClr val="D0D0D0"/>
                </a:solidFill>
              </a:ln>
            </p:spPr>
          </p:pic>
          <p:pic>
            <p:nvPicPr>
              <p:cNvPr id="270" name="Picture 269">
                <a:extLst>
                  <a:ext uri="{FF2B5EF4-FFF2-40B4-BE49-F238E27FC236}">
                    <a16:creationId xmlns:a16="http://schemas.microsoft.com/office/drawing/2014/main" id="{4D6AF140-D73C-477E-BC40-06994A277C25}"/>
                  </a:ext>
                </a:extLst>
              </p:cNvPr>
              <p:cNvPicPr>
                <a:picLocks/>
              </p:cNvPicPr>
              <p:nvPr/>
            </p:nvPicPr>
            <p:blipFill>
              <a:blip r:embed="rId11" cstate="screen">
                <a:extLst>
                  <a:ext uri="{28A0092B-C50C-407E-A947-70E740481C1C}">
                    <a14:useLocalDpi xmlns:a14="http://schemas.microsoft.com/office/drawing/2010/main"/>
                  </a:ext>
                </a:extLst>
              </a:blip>
              <a:stretch>
                <a:fillRect/>
              </a:stretch>
            </p:blipFill>
            <p:spPr>
              <a:xfrm>
                <a:off x="2121523" y="6252682"/>
                <a:ext cx="327660" cy="218440"/>
              </a:xfrm>
              <a:prstGeom prst="rtTriangle">
                <a:avLst/>
              </a:prstGeom>
              <a:ln w="6350">
                <a:solidFill>
                  <a:srgbClr val="D0D0D0"/>
                </a:solidFill>
              </a:ln>
            </p:spPr>
          </p:pic>
        </p:grpSp>
        <p:pic>
          <p:nvPicPr>
            <p:cNvPr id="253" name="Picture 252">
              <a:extLst>
                <a:ext uri="{FF2B5EF4-FFF2-40B4-BE49-F238E27FC236}">
                  <a16:creationId xmlns:a16="http://schemas.microsoft.com/office/drawing/2014/main" id="{2F91C6F4-4867-4848-8D8F-B699CC5D27C0}"/>
                </a:ext>
              </a:extLst>
            </p:cNvPr>
            <p:cNvPicPr>
              <a:picLocks/>
            </p:cNvPicPr>
            <p:nvPr/>
          </p:nvPicPr>
          <p:blipFill>
            <a:blip r:embed="rId12" cstate="screen">
              <a:extLst>
                <a:ext uri="{28A0092B-C50C-407E-A947-70E740481C1C}">
                  <a14:useLocalDpi xmlns:a14="http://schemas.microsoft.com/office/drawing/2010/main"/>
                </a:ext>
              </a:extLst>
            </a:blip>
            <a:stretch>
              <a:fillRect/>
            </a:stretch>
          </p:blipFill>
          <p:spPr>
            <a:xfrm>
              <a:off x="8490586" y="3079655"/>
              <a:ext cx="438292" cy="292195"/>
            </a:xfrm>
            <a:prstGeom prst="rect">
              <a:avLst/>
            </a:prstGeom>
            <a:ln w="6350">
              <a:solidFill>
                <a:srgbClr val="D0D0D0"/>
              </a:solidFill>
            </a:ln>
          </p:spPr>
        </p:pic>
      </p:grpSp>
      <p:sp>
        <p:nvSpPr>
          <p:cNvPr id="266" name="Rectangle 265">
            <a:extLst>
              <a:ext uri="{FF2B5EF4-FFF2-40B4-BE49-F238E27FC236}">
                <a16:creationId xmlns:a16="http://schemas.microsoft.com/office/drawing/2014/main" id="{96614BCC-FADD-4089-B76E-3CB8DB86C8A7}"/>
              </a:ext>
            </a:extLst>
          </p:cNvPr>
          <p:cNvSpPr>
            <a:spLocks/>
          </p:cNvSpPr>
          <p:nvPr/>
        </p:nvSpPr>
        <p:spPr>
          <a:xfrm>
            <a:off x="8356819" y="2690041"/>
            <a:ext cx="58631" cy="976820"/>
          </a:xfrm>
          <a:prstGeom prst="rect">
            <a:avLst/>
          </a:prstGeom>
          <a:solidFill>
            <a:srgbClr val="FFC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256" name="BigStat 55">
            <a:extLst>
              <a:ext uri="{FF2B5EF4-FFF2-40B4-BE49-F238E27FC236}">
                <a16:creationId xmlns:a16="http://schemas.microsoft.com/office/drawing/2014/main" id="{AF0F9F1C-855E-4EF6-B841-013AB33C5227}"/>
              </a:ext>
            </a:extLst>
          </p:cNvPr>
          <p:cNvSpPr txBox="1">
            <a:spLocks/>
          </p:cNvSpPr>
          <p:nvPr>
            <p:custDataLst>
              <p:tags r:id="rId3"/>
            </p:custDataLst>
          </p:nvPr>
        </p:nvSpPr>
        <p:spPr>
          <a:xfrm>
            <a:off x="9086850" y="4204265"/>
            <a:ext cx="2550413" cy="610424"/>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200"/>
              </a:spcAft>
              <a:buClr>
                <a:srgbClr val="222222"/>
              </a:buClr>
              <a:buSzPct val="100000"/>
              <a:buFont typeface="Segoe UI" panose="020B0502040204020203" pitchFamily="34" charset="0"/>
              <a:buChar char="​"/>
              <a:tabLst/>
              <a:defRPr/>
            </a:pPr>
            <a:r>
              <a:rPr kumimoji="0" lang="de-DE" sz="2400" b="1" i="0" u="none" strike="noStrike" kern="1200" cap="none" spc="0" normalizeH="0" baseline="0" noProof="0" dirty="0">
                <a:ln>
                  <a:noFill/>
                </a:ln>
                <a:solidFill>
                  <a:schemeClr val="accent1"/>
                </a:solidFill>
                <a:effectLst/>
                <a:uLnTx/>
                <a:uFillTx/>
                <a:latin typeface="Bahnschrift" panose="020B0502040204020203" pitchFamily="34" charset="0"/>
                <a:sym typeface="Bahnschrift" panose="020B0502040204020203" pitchFamily="34" charset="0"/>
              </a:rPr>
              <a:t>~25 TWh/Jahr</a:t>
            </a:r>
          </a:p>
          <a:p>
            <a:pPr marL="0" marR="0" lvl="0" indent="0" algn="l" defTabSz="914400" rtl="0" eaLnBrk="1" fontAlgn="auto" latinLnBrk="0" hangingPunct="1">
              <a:lnSpc>
                <a:spcPct val="100000"/>
              </a:lnSpc>
              <a:spcBef>
                <a:spcPts val="0"/>
              </a:spcBef>
              <a:spcAft>
                <a:spcPts val="200"/>
              </a:spcAft>
              <a:buClr>
                <a:srgbClr val="222222"/>
              </a:buClr>
              <a:buSzPct val="100000"/>
              <a:buFont typeface="Segoe UI" panose="020B0502040204020203" pitchFamily="34" charset="0"/>
              <a:buChar char="​"/>
              <a:tabLst/>
              <a:defRPr/>
            </a:pPr>
            <a:r>
              <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rPr>
              <a:t>Potenzial grüner Wasserstoff</a:t>
            </a:r>
          </a:p>
        </p:txBody>
      </p:sp>
      <p:sp>
        <p:nvSpPr>
          <p:cNvPr id="255" name="TextBox 254">
            <a:extLst>
              <a:ext uri="{FF2B5EF4-FFF2-40B4-BE49-F238E27FC236}">
                <a16:creationId xmlns:a16="http://schemas.microsoft.com/office/drawing/2014/main" id="{098CB769-74A8-404A-9FE0-AF8C44077BC4}"/>
              </a:ext>
            </a:extLst>
          </p:cNvPr>
          <p:cNvSpPr txBox="1">
            <a:spLocks/>
          </p:cNvSpPr>
          <p:nvPr/>
        </p:nvSpPr>
        <p:spPr>
          <a:xfrm>
            <a:off x="9086850" y="3863269"/>
            <a:ext cx="2550413" cy="276999"/>
          </a:xfrm>
          <a:prstGeom prst="rect">
            <a:avLst/>
          </a:prstGeom>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222222"/>
              </a:buClr>
              <a:buSzPct val="100000"/>
              <a:buNone/>
              <a:tabLst/>
              <a:defRPr/>
            </a:pPr>
            <a:r>
              <a:rPr kumimoji="0" lang="de-DE" sz="1800"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rPr>
              <a:t>Nordsee</a:t>
            </a:r>
          </a:p>
        </p:txBody>
      </p:sp>
      <p:pic>
        <p:nvPicPr>
          <p:cNvPr id="257" name="Picture 256">
            <a:extLst>
              <a:ext uri="{FF2B5EF4-FFF2-40B4-BE49-F238E27FC236}">
                <a16:creationId xmlns:a16="http://schemas.microsoft.com/office/drawing/2014/main" id="{FBFB74F5-A7E7-4747-8A19-71CDDD83B258}"/>
              </a:ext>
            </a:extLst>
          </p:cNvPr>
          <p:cNvPicPr>
            <a:picLocks/>
          </p:cNvPicPr>
          <p:nvPr/>
        </p:nvPicPr>
        <p:blipFill>
          <a:blip r:embed="rId13" cstate="screen">
            <a:extLst>
              <a:ext uri="{28A0092B-C50C-407E-A947-70E740481C1C}">
                <a14:useLocalDpi xmlns:a14="http://schemas.microsoft.com/office/drawing/2010/main"/>
              </a:ext>
            </a:extLst>
          </a:blip>
          <a:stretch>
            <a:fillRect/>
          </a:stretch>
        </p:blipFill>
        <p:spPr>
          <a:xfrm>
            <a:off x="8490586" y="3863269"/>
            <a:ext cx="438292" cy="292195"/>
          </a:xfrm>
          <a:prstGeom prst="rect">
            <a:avLst/>
          </a:prstGeom>
          <a:ln w="6350">
            <a:solidFill>
              <a:srgbClr val="D0D0D0"/>
            </a:solidFill>
          </a:ln>
        </p:spPr>
      </p:pic>
      <p:sp>
        <p:nvSpPr>
          <p:cNvPr id="267" name="Rectangle 266">
            <a:extLst>
              <a:ext uri="{FF2B5EF4-FFF2-40B4-BE49-F238E27FC236}">
                <a16:creationId xmlns:a16="http://schemas.microsoft.com/office/drawing/2014/main" id="{ECB805B5-3964-4FAF-AB49-65AC7898DF24}"/>
              </a:ext>
            </a:extLst>
          </p:cNvPr>
          <p:cNvSpPr>
            <a:spLocks/>
          </p:cNvSpPr>
          <p:nvPr/>
        </p:nvSpPr>
        <p:spPr>
          <a:xfrm>
            <a:off x="8356819" y="3863269"/>
            <a:ext cx="58631" cy="97682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FFFFFF"/>
              </a:buClr>
              <a:buSzTx/>
              <a:buFontTx/>
              <a:buNone/>
              <a:tabLst/>
              <a:defRPr/>
            </a:pPr>
            <a:endParaRPr kumimoji="0" lang="de-DE" b="0" i="0" u="none" strike="noStrike" kern="1200" cap="none" spc="0" normalizeH="0" baseline="0" noProof="0" dirty="0">
              <a:ln>
                <a:noFill/>
              </a:ln>
              <a:solidFill>
                <a:srgbClr val="FFFFFF"/>
              </a:solidFill>
              <a:effectLst/>
              <a:uLnTx/>
              <a:uFillTx/>
              <a:latin typeface="Bahnschrift" panose="020B0502040204020203" pitchFamily="34" charset="0"/>
              <a:sym typeface="Bahnschrift" panose="020B0502040204020203" pitchFamily="34" charset="0"/>
            </a:endParaRPr>
          </a:p>
        </p:txBody>
      </p:sp>
      <p:sp>
        <p:nvSpPr>
          <p:cNvPr id="260" name="BigStat 55">
            <a:extLst>
              <a:ext uri="{FF2B5EF4-FFF2-40B4-BE49-F238E27FC236}">
                <a16:creationId xmlns:a16="http://schemas.microsoft.com/office/drawing/2014/main" id="{853F2E10-B244-4AD9-A26F-5496686EE649}"/>
              </a:ext>
            </a:extLst>
          </p:cNvPr>
          <p:cNvSpPr txBox="1">
            <a:spLocks/>
          </p:cNvSpPr>
          <p:nvPr>
            <p:custDataLst>
              <p:tags r:id="rId4"/>
            </p:custDataLst>
          </p:nvPr>
        </p:nvSpPr>
        <p:spPr>
          <a:xfrm>
            <a:off x="9086850" y="5377492"/>
            <a:ext cx="2550413" cy="610424"/>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200"/>
              </a:spcAft>
              <a:buClr>
                <a:srgbClr val="222222"/>
              </a:buClr>
              <a:buSzPct val="100000"/>
              <a:buFont typeface="Segoe UI" panose="020B0502040204020203" pitchFamily="34" charset="0"/>
              <a:buChar char="​"/>
              <a:tabLst/>
              <a:defRPr/>
            </a:pPr>
            <a:r>
              <a:rPr kumimoji="0" lang="de-DE" sz="2400" b="1" i="0" u="none" strike="noStrike" kern="1200" cap="none" spc="0" normalizeH="0" baseline="0" noProof="0" dirty="0">
                <a:ln>
                  <a:noFill/>
                </a:ln>
                <a:solidFill>
                  <a:schemeClr val="accent1"/>
                </a:solidFill>
                <a:effectLst/>
                <a:uLnTx/>
                <a:uFillTx/>
                <a:latin typeface="Bahnschrift" panose="020B0502040204020203" pitchFamily="34" charset="0"/>
                <a:sym typeface="Bahnschrift" panose="020B0502040204020203" pitchFamily="34" charset="0"/>
              </a:rPr>
              <a:t>~60 TWh/Jahr</a:t>
            </a:r>
          </a:p>
          <a:p>
            <a:pPr marL="0" marR="0" lvl="0" indent="0" algn="l" defTabSz="914400" rtl="0" eaLnBrk="1" fontAlgn="auto" latinLnBrk="0" hangingPunct="1">
              <a:lnSpc>
                <a:spcPct val="100000"/>
              </a:lnSpc>
              <a:spcBef>
                <a:spcPts val="0"/>
              </a:spcBef>
              <a:spcAft>
                <a:spcPts val="200"/>
              </a:spcAft>
              <a:buClr>
                <a:srgbClr val="222222"/>
              </a:buClr>
              <a:buSzPct val="100000"/>
              <a:buFont typeface="Segoe UI" panose="020B0502040204020203" pitchFamily="34" charset="0"/>
              <a:buChar char="​"/>
              <a:tabLst/>
              <a:defRPr/>
            </a:pPr>
            <a:r>
              <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rPr>
              <a:t>Potenzial grüner Wasserstoff</a:t>
            </a:r>
          </a:p>
        </p:txBody>
      </p:sp>
      <p:sp>
        <p:nvSpPr>
          <p:cNvPr id="259" name="TextBox 258">
            <a:extLst>
              <a:ext uri="{FF2B5EF4-FFF2-40B4-BE49-F238E27FC236}">
                <a16:creationId xmlns:a16="http://schemas.microsoft.com/office/drawing/2014/main" id="{4600CE31-9A84-4DAA-B1CB-18D1E887079C}"/>
              </a:ext>
            </a:extLst>
          </p:cNvPr>
          <p:cNvSpPr txBox="1">
            <a:spLocks/>
          </p:cNvSpPr>
          <p:nvPr/>
        </p:nvSpPr>
        <p:spPr>
          <a:xfrm>
            <a:off x="9086850" y="5036498"/>
            <a:ext cx="2550413" cy="276999"/>
          </a:xfrm>
          <a:prstGeom prst="rect">
            <a:avLst/>
          </a:prstGeom>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222222"/>
              </a:buClr>
              <a:buSzPct val="100000"/>
              <a:buFont typeface="Segoe UI" panose="020B0502040204020203" pitchFamily="34" charset="0"/>
              <a:buChar char="​"/>
              <a:tabLst/>
              <a:defRPr/>
            </a:pPr>
            <a:r>
              <a:rPr kumimoji="0" lang="de-DE" sz="1800"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rPr>
              <a:t>Ukraine-Slowakei</a:t>
            </a:r>
          </a:p>
        </p:txBody>
      </p:sp>
      <p:grpSp>
        <p:nvGrpSpPr>
          <p:cNvPr id="32" name="Group 31">
            <a:extLst>
              <a:ext uri="{FF2B5EF4-FFF2-40B4-BE49-F238E27FC236}">
                <a16:creationId xmlns:a16="http://schemas.microsoft.com/office/drawing/2014/main" id="{97787874-AE0B-64CE-ECAF-66AE16EB1E80}"/>
              </a:ext>
            </a:extLst>
          </p:cNvPr>
          <p:cNvGrpSpPr/>
          <p:nvPr/>
        </p:nvGrpSpPr>
        <p:grpSpPr>
          <a:xfrm>
            <a:off x="8490586" y="5036498"/>
            <a:ext cx="438293" cy="652530"/>
            <a:chOff x="8490586" y="5065777"/>
            <a:chExt cx="438293" cy="652530"/>
          </a:xfrm>
        </p:grpSpPr>
        <p:pic>
          <p:nvPicPr>
            <p:cNvPr id="262" name="Picture 261">
              <a:extLst>
                <a:ext uri="{FF2B5EF4-FFF2-40B4-BE49-F238E27FC236}">
                  <a16:creationId xmlns:a16="http://schemas.microsoft.com/office/drawing/2014/main" id="{BF75BDA2-D93D-4440-B2B2-6C671BA67063}"/>
                </a:ext>
              </a:extLst>
            </p:cNvPr>
            <p:cNvPicPr>
              <a:picLocks/>
            </p:cNvPicPr>
            <p:nvPr/>
          </p:nvPicPr>
          <p:blipFill>
            <a:blip r:embed="rId14" cstate="screen">
              <a:extLst>
                <a:ext uri="{28A0092B-C50C-407E-A947-70E740481C1C}">
                  <a14:useLocalDpi xmlns:a14="http://schemas.microsoft.com/office/drawing/2010/main"/>
                </a:ext>
              </a:extLst>
            </a:blip>
            <a:stretch>
              <a:fillRect/>
            </a:stretch>
          </p:blipFill>
          <p:spPr>
            <a:xfrm>
              <a:off x="8490586" y="5065777"/>
              <a:ext cx="438292" cy="292195"/>
            </a:xfrm>
            <a:prstGeom prst="rect">
              <a:avLst/>
            </a:prstGeom>
            <a:ln w="6350">
              <a:solidFill>
                <a:srgbClr val="D0D0D0"/>
              </a:solidFill>
            </a:ln>
          </p:spPr>
        </p:pic>
        <p:pic>
          <p:nvPicPr>
            <p:cNvPr id="263" name="Picture 262">
              <a:extLst>
                <a:ext uri="{FF2B5EF4-FFF2-40B4-BE49-F238E27FC236}">
                  <a16:creationId xmlns:a16="http://schemas.microsoft.com/office/drawing/2014/main" id="{7DBF7B29-AE9D-49D3-BF85-CB73B4867852}"/>
                </a:ext>
              </a:extLst>
            </p:cNvPr>
            <p:cNvPicPr>
              <a:picLocks/>
            </p:cNvPicPr>
            <p:nvPr/>
          </p:nvPicPr>
          <p:blipFill>
            <a:blip r:embed="rId15" cstate="screen">
              <a:extLst>
                <a:ext uri="{28A0092B-C50C-407E-A947-70E740481C1C}">
                  <a14:useLocalDpi xmlns:a14="http://schemas.microsoft.com/office/drawing/2010/main"/>
                </a:ext>
              </a:extLst>
            </a:blip>
            <a:stretch>
              <a:fillRect/>
            </a:stretch>
          </p:blipFill>
          <p:spPr>
            <a:xfrm>
              <a:off x="8490587" y="5426112"/>
              <a:ext cx="438292" cy="292195"/>
            </a:xfrm>
            <a:prstGeom prst="rect">
              <a:avLst/>
            </a:prstGeom>
            <a:ln w="6350">
              <a:solidFill>
                <a:srgbClr val="D0D0D0"/>
              </a:solidFill>
            </a:ln>
          </p:spPr>
        </p:pic>
      </p:grpSp>
      <p:sp>
        <p:nvSpPr>
          <p:cNvPr id="268" name="Rectangle 267">
            <a:extLst>
              <a:ext uri="{FF2B5EF4-FFF2-40B4-BE49-F238E27FC236}">
                <a16:creationId xmlns:a16="http://schemas.microsoft.com/office/drawing/2014/main" id="{4720201E-2946-4DE0-A350-9B0893C8BBE0}"/>
              </a:ext>
            </a:extLst>
          </p:cNvPr>
          <p:cNvSpPr>
            <a:spLocks/>
          </p:cNvSpPr>
          <p:nvPr/>
        </p:nvSpPr>
        <p:spPr>
          <a:xfrm flipH="1">
            <a:off x="8356819" y="5036498"/>
            <a:ext cx="58631" cy="976818"/>
          </a:xfrm>
          <a:prstGeom prst="rect">
            <a:avLst/>
          </a:prstGeom>
          <a:solidFill>
            <a:srgbClr val="00B050"/>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grpSp>
        <p:nvGrpSpPr>
          <p:cNvPr id="20" name="Group 19">
            <a:extLst>
              <a:ext uri="{FF2B5EF4-FFF2-40B4-BE49-F238E27FC236}">
                <a16:creationId xmlns:a16="http://schemas.microsoft.com/office/drawing/2014/main" id="{E0FC15FC-2314-9A93-7280-081A255E8FCE}"/>
              </a:ext>
            </a:extLst>
          </p:cNvPr>
          <p:cNvGrpSpPr/>
          <p:nvPr/>
        </p:nvGrpSpPr>
        <p:grpSpPr>
          <a:xfrm>
            <a:off x="5993787" y="1479216"/>
            <a:ext cx="1379963" cy="538855"/>
            <a:chOff x="5790457" y="1860870"/>
            <a:chExt cx="1379963" cy="538855"/>
          </a:xfrm>
        </p:grpSpPr>
        <p:sp>
          <p:nvSpPr>
            <p:cNvPr id="108" name="TextBox 269">
              <a:extLst>
                <a:ext uri="{FF2B5EF4-FFF2-40B4-BE49-F238E27FC236}">
                  <a16:creationId xmlns:a16="http://schemas.microsoft.com/office/drawing/2014/main" id="{97B194EA-8574-464A-9ECC-629EAB23D3E0}"/>
                </a:ext>
              </a:extLst>
            </p:cNvPr>
            <p:cNvSpPr txBox="1">
              <a:spLocks/>
            </p:cNvSpPr>
            <p:nvPr/>
          </p:nvSpPr>
          <p:spPr>
            <a:xfrm>
              <a:off x="6175878" y="1860870"/>
              <a:ext cx="994542" cy="323165"/>
            </a:xfrm>
            <a:prstGeom prst="rect">
              <a:avLst/>
            </a:prstGeom>
          </p:spPr>
          <p:txBody>
            <a:bodyPr vert="horz"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050" b="0" i="0" u="none" strike="noStrike" kern="1200" cap="none" spc="0" normalizeH="0" baseline="0" noProof="0" dirty="0">
                  <a:ln>
                    <a:noFill/>
                  </a:ln>
                  <a:solidFill>
                    <a:srgbClr val="000000"/>
                  </a:solidFill>
                  <a:effectLst/>
                  <a:uLnTx/>
                  <a:uFillTx/>
                  <a:latin typeface="Bahnschrift" panose="020B0502040204020203" pitchFamily="34" charset="0"/>
                  <a:cs typeface="Arial" panose="020B0604020202020204" pitchFamily="34" charset="0"/>
                  <a:sym typeface="Bahnschrift" panose="020B0502040204020203" pitchFamily="34" charset="0"/>
                </a:rPr>
                <a:t>Priorisierte Importkorridore</a:t>
              </a:r>
            </a:p>
          </p:txBody>
        </p:sp>
        <p:grpSp>
          <p:nvGrpSpPr>
            <p:cNvPr id="19" name="Group 18">
              <a:extLst>
                <a:ext uri="{FF2B5EF4-FFF2-40B4-BE49-F238E27FC236}">
                  <a16:creationId xmlns:a16="http://schemas.microsoft.com/office/drawing/2014/main" id="{12D9F361-959E-1A28-250E-4A892DC6006B}"/>
                </a:ext>
              </a:extLst>
            </p:cNvPr>
            <p:cNvGrpSpPr/>
            <p:nvPr/>
          </p:nvGrpSpPr>
          <p:grpSpPr>
            <a:xfrm>
              <a:off x="5790457" y="1958850"/>
              <a:ext cx="302334" cy="127205"/>
              <a:chOff x="5790457" y="1939412"/>
              <a:chExt cx="302334" cy="127205"/>
            </a:xfrm>
          </p:grpSpPr>
          <p:cxnSp>
            <p:nvCxnSpPr>
              <p:cNvPr id="107" name="LineBasicStrong 3">
                <a:extLst>
                  <a:ext uri="{FF2B5EF4-FFF2-40B4-BE49-F238E27FC236}">
                    <a16:creationId xmlns:a16="http://schemas.microsoft.com/office/drawing/2014/main" id="{C103CDDD-F543-48A3-9050-373F1B115671}"/>
                  </a:ext>
                </a:extLst>
              </p:cNvPr>
              <p:cNvCxnSpPr>
                <a:cxnSpLocks/>
              </p:cNvCxnSpPr>
              <p:nvPr/>
            </p:nvCxnSpPr>
            <p:spPr>
              <a:xfrm>
                <a:off x="5790457" y="1939412"/>
                <a:ext cx="302334" cy="0"/>
              </a:xfrm>
              <a:prstGeom prst="straightConnector1">
                <a:avLst/>
              </a:prstGeom>
              <a:ln w="28575" cap="flat">
                <a:solidFill>
                  <a:srgbClr val="FFC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9" name="LineBasicStrong 3">
                <a:extLst>
                  <a:ext uri="{FF2B5EF4-FFF2-40B4-BE49-F238E27FC236}">
                    <a16:creationId xmlns:a16="http://schemas.microsoft.com/office/drawing/2014/main" id="{19B3FA23-26B3-4E8B-8DA8-891A9B9BE0FC}"/>
                  </a:ext>
                </a:extLst>
              </p:cNvPr>
              <p:cNvCxnSpPr>
                <a:cxnSpLocks/>
              </p:cNvCxnSpPr>
              <p:nvPr/>
            </p:nvCxnSpPr>
            <p:spPr>
              <a:xfrm>
                <a:off x="5790457" y="2007259"/>
                <a:ext cx="302334" cy="0"/>
              </a:xfrm>
              <a:prstGeom prst="straightConnector1">
                <a:avLst/>
              </a:prstGeom>
              <a:ln w="28575"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0" name="LineBasicStrong 3">
                <a:extLst>
                  <a:ext uri="{FF2B5EF4-FFF2-40B4-BE49-F238E27FC236}">
                    <a16:creationId xmlns:a16="http://schemas.microsoft.com/office/drawing/2014/main" id="{B9A9D671-9CC5-4D4E-8F5A-1F650DF6445C}"/>
                  </a:ext>
                </a:extLst>
              </p:cNvPr>
              <p:cNvCxnSpPr>
                <a:cxnSpLocks/>
              </p:cNvCxnSpPr>
              <p:nvPr/>
            </p:nvCxnSpPr>
            <p:spPr>
              <a:xfrm>
                <a:off x="5790457" y="2066617"/>
                <a:ext cx="302334" cy="0"/>
              </a:xfrm>
              <a:prstGeom prst="straightConnector1">
                <a:avLst/>
              </a:prstGeom>
              <a:ln w="28575" cap="flat">
                <a:solidFill>
                  <a:srgbClr val="00B050"/>
                </a:solidFill>
                <a:miter lim="800000"/>
                <a:tailEnd type="none"/>
              </a:ln>
            </p:spPr>
            <p:style>
              <a:lnRef idx="1">
                <a:schemeClr val="accent1"/>
              </a:lnRef>
              <a:fillRef idx="0">
                <a:schemeClr val="accent1"/>
              </a:fillRef>
              <a:effectRef idx="0">
                <a:schemeClr val="accent1"/>
              </a:effectRef>
              <a:fontRef idx="minor">
                <a:schemeClr val="tx1"/>
              </a:fontRef>
            </p:style>
          </p:cxnSp>
        </p:grpSp>
        <p:cxnSp>
          <p:nvCxnSpPr>
            <p:cNvPr id="129" name="LineBasicStrong 3">
              <a:extLst>
                <a:ext uri="{FF2B5EF4-FFF2-40B4-BE49-F238E27FC236}">
                  <a16:creationId xmlns:a16="http://schemas.microsoft.com/office/drawing/2014/main" id="{07FA8363-3340-44E2-A3B5-06864954A152}"/>
                </a:ext>
              </a:extLst>
            </p:cNvPr>
            <p:cNvCxnSpPr>
              <a:cxnSpLocks/>
            </p:cNvCxnSpPr>
            <p:nvPr/>
          </p:nvCxnSpPr>
          <p:spPr>
            <a:xfrm>
              <a:off x="5790457" y="2318933"/>
              <a:ext cx="302334" cy="0"/>
            </a:xfrm>
            <a:prstGeom prst="straightConnector1">
              <a:avLst/>
            </a:prstGeom>
            <a:ln w="28575" cap="flat">
              <a:solidFill>
                <a:schemeClr val="tx1">
                  <a:lumMod val="50000"/>
                </a:schemeClr>
              </a:solidFill>
              <a:prstDash val="sysDash"/>
              <a:miter lim="800000"/>
              <a:tailEnd type="none"/>
            </a:ln>
          </p:spPr>
          <p:style>
            <a:lnRef idx="1">
              <a:schemeClr val="accent1"/>
            </a:lnRef>
            <a:fillRef idx="0">
              <a:schemeClr val="accent1"/>
            </a:fillRef>
            <a:effectRef idx="0">
              <a:schemeClr val="accent1"/>
            </a:effectRef>
            <a:fontRef idx="minor">
              <a:schemeClr val="tx1"/>
            </a:fontRef>
          </p:style>
        </p:cxnSp>
        <p:sp>
          <p:nvSpPr>
            <p:cNvPr id="130" name="TextBox 169">
              <a:extLst>
                <a:ext uri="{FF2B5EF4-FFF2-40B4-BE49-F238E27FC236}">
                  <a16:creationId xmlns:a16="http://schemas.microsoft.com/office/drawing/2014/main" id="{F52F45DF-C492-46EC-80F2-E0078CB0D6B2}"/>
                </a:ext>
              </a:extLst>
            </p:cNvPr>
            <p:cNvSpPr txBox="1">
              <a:spLocks/>
            </p:cNvSpPr>
            <p:nvPr/>
          </p:nvSpPr>
          <p:spPr>
            <a:xfrm>
              <a:off x="6175877" y="2238142"/>
              <a:ext cx="994542" cy="161583"/>
            </a:xfrm>
            <a:prstGeom prst="rect">
              <a:avLst/>
            </a:prstGeom>
          </p:spPr>
          <p:txBody>
            <a:bodyPr vert="horz"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050" b="0" i="0" u="none" strike="noStrike" kern="1200" cap="none" spc="0" normalizeH="0" baseline="0" noProof="0" dirty="0">
                  <a:ln>
                    <a:noFill/>
                  </a:ln>
                  <a:solidFill>
                    <a:srgbClr val="000000"/>
                  </a:solidFill>
                  <a:effectLst/>
                  <a:uLnTx/>
                  <a:uFillTx/>
                  <a:latin typeface="Bahnschrift" panose="020B0502040204020203" pitchFamily="34" charset="0"/>
                  <a:cs typeface="Arial" panose="020B0604020202020204" pitchFamily="34" charset="0"/>
                  <a:sym typeface="Bahnschrift" panose="020B0502040204020203" pitchFamily="34" charset="0"/>
                </a:rPr>
                <a:t>Alternativen</a:t>
              </a:r>
            </a:p>
          </p:txBody>
        </p:sp>
      </p:grpSp>
      <p:sp>
        <p:nvSpPr>
          <p:cNvPr id="105" name="Freeform: Shape 104">
            <a:extLst>
              <a:ext uri="{FF2B5EF4-FFF2-40B4-BE49-F238E27FC236}">
                <a16:creationId xmlns:a16="http://schemas.microsoft.com/office/drawing/2014/main" id="{4E3937E6-ECD2-45C6-9C0C-329008FD25CB}"/>
              </a:ext>
            </a:extLst>
          </p:cNvPr>
          <p:cNvSpPr/>
          <p:nvPr/>
        </p:nvSpPr>
        <p:spPr>
          <a:xfrm>
            <a:off x="4541564" y="4252816"/>
            <a:ext cx="1255240" cy="124028"/>
          </a:xfrm>
          <a:custGeom>
            <a:avLst/>
            <a:gdLst>
              <a:gd name="connsiteX0" fmla="*/ 0 w 1346200"/>
              <a:gd name="connsiteY0" fmla="*/ 127000 h 127000"/>
              <a:gd name="connsiteX1" fmla="*/ 1346200 w 1346200"/>
              <a:gd name="connsiteY1" fmla="*/ 0 h 127000"/>
            </a:gdLst>
            <a:ahLst/>
            <a:cxnLst>
              <a:cxn ang="0">
                <a:pos x="connsiteX0" y="connsiteY0"/>
              </a:cxn>
              <a:cxn ang="0">
                <a:pos x="connsiteX1" y="connsiteY1"/>
              </a:cxn>
            </a:cxnLst>
            <a:rect l="l" t="t" r="r" b="b"/>
            <a:pathLst>
              <a:path w="1346200" h="127000">
                <a:moveTo>
                  <a:pt x="0" y="127000"/>
                </a:moveTo>
                <a:cubicBezTo>
                  <a:pt x="564726" y="90170"/>
                  <a:pt x="1129453" y="53340"/>
                  <a:pt x="1346200" y="0"/>
                </a:cubicBezTo>
              </a:path>
            </a:pathLst>
          </a:cu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srgbClr val="FFFFFF"/>
              </a:solidFill>
              <a:effectLst/>
              <a:uLnTx/>
              <a:uFillTx/>
              <a:latin typeface="Bahnschrift" panose="020B0502040204020203" pitchFamily="34" charset="0"/>
              <a:sym typeface="Bahnschrift" panose="020B0502040204020203" pitchFamily="34" charset="0"/>
            </a:endParaRPr>
          </a:p>
        </p:txBody>
      </p:sp>
      <p:sp>
        <p:nvSpPr>
          <p:cNvPr id="111" name="Freeform: Shape 110">
            <a:extLst>
              <a:ext uri="{FF2B5EF4-FFF2-40B4-BE49-F238E27FC236}">
                <a16:creationId xmlns:a16="http://schemas.microsoft.com/office/drawing/2014/main" id="{BFEF9A3B-BAA4-46E8-8E35-9DEC2F676CA0}"/>
              </a:ext>
            </a:extLst>
          </p:cNvPr>
          <p:cNvSpPr/>
          <p:nvPr/>
        </p:nvSpPr>
        <p:spPr>
          <a:xfrm rot="120000">
            <a:off x="3118170" y="5863415"/>
            <a:ext cx="275987" cy="124100"/>
          </a:xfrm>
          <a:custGeom>
            <a:avLst/>
            <a:gdLst>
              <a:gd name="connsiteX0" fmla="*/ 0 w 280988"/>
              <a:gd name="connsiteY0" fmla="*/ 126206 h 126735"/>
              <a:gd name="connsiteX1" fmla="*/ 73819 w 280988"/>
              <a:gd name="connsiteY1" fmla="*/ 121444 h 126735"/>
              <a:gd name="connsiteX2" fmla="*/ 102394 w 280988"/>
              <a:gd name="connsiteY2" fmla="*/ 88106 h 126735"/>
              <a:gd name="connsiteX3" fmla="*/ 152400 w 280988"/>
              <a:gd name="connsiteY3" fmla="*/ 90488 h 126735"/>
              <a:gd name="connsiteX4" fmla="*/ 280988 w 280988"/>
              <a:gd name="connsiteY4" fmla="*/ 0 h 126735"/>
              <a:gd name="connsiteX0" fmla="*/ 0 w 280988"/>
              <a:gd name="connsiteY0" fmla="*/ 126206 h 126379"/>
              <a:gd name="connsiteX1" fmla="*/ 73819 w 280988"/>
              <a:gd name="connsiteY1" fmla="*/ 121444 h 126379"/>
              <a:gd name="connsiteX2" fmla="*/ 109537 w 280988"/>
              <a:gd name="connsiteY2" fmla="*/ 104775 h 126379"/>
              <a:gd name="connsiteX3" fmla="*/ 152400 w 280988"/>
              <a:gd name="connsiteY3" fmla="*/ 90488 h 126379"/>
              <a:gd name="connsiteX4" fmla="*/ 280988 w 280988"/>
              <a:gd name="connsiteY4" fmla="*/ 0 h 126379"/>
              <a:gd name="connsiteX0" fmla="*/ 0 w 280988"/>
              <a:gd name="connsiteY0" fmla="*/ 126206 h 126522"/>
              <a:gd name="connsiteX1" fmla="*/ 73819 w 280988"/>
              <a:gd name="connsiteY1" fmla="*/ 121444 h 126522"/>
              <a:gd name="connsiteX2" fmla="*/ 109537 w 280988"/>
              <a:gd name="connsiteY2" fmla="*/ 95250 h 126522"/>
              <a:gd name="connsiteX3" fmla="*/ 152400 w 280988"/>
              <a:gd name="connsiteY3" fmla="*/ 90488 h 126522"/>
              <a:gd name="connsiteX4" fmla="*/ 280988 w 280988"/>
              <a:gd name="connsiteY4" fmla="*/ 0 h 126522"/>
              <a:gd name="connsiteX0" fmla="*/ 0 w 324985"/>
              <a:gd name="connsiteY0" fmla="*/ 125866 h 126182"/>
              <a:gd name="connsiteX1" fmla="*/ 73819 w 324985"/>
              <a:gd name="connsiteY1" fmla="*/ 121104 h 126182"/>
              <a:gd name="connsiteX2" fmla="*/ 109537 w 324985"/>
              <a:gd name="connsiteY2" fmla="*/ 94910 h 126182"/>
              <a:gd name="connsiteX3" fmla="*/ 152400 w 324985"/>
              <a:gd name="connsiteY3" fmla="*/ 90148 h 126182"/>
              <a:gd name="connsiteX4" fmla="*/ 324985 w 324985"/>
              <a:gd name="connsiteY4" fmla="*/ 0 h 126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985" h="126182">
                <a:moveTo>
                  <a:pt x="0" y="125866"/>
                </a:moveTo>
                <a:cubicBezTo>
                  <a:pt x="28376" y="126660"/>
                  <a:pt x="55563" y="126263"/>
                  <a:pt x="73819" y="121104"/>
                </a:cubicBezTo>
                <a:cubicBezTo>
                  <a:pt x="92075" y="115945"/>
                  <a:pt x="96440" y="100069"/>
                  <a:pt x="109537" y="94910"/>
                </a:cubicBezTo>
                <a:cubicBezTo>
                  <a:pt x="122634" y="89751"/>
                  <a:pt x="122634" y="104832"/>
                  <a:pt x="152400" y="90148"/>
                </a:cubicBezTo>
                <a:cubicBezTo>
                  <a:pt x="182166" y="75464"/>
                  <a:pt x="275574" y="37902"/>
                  <a:pt x="324985" y="0"/>
                </a:cubicBezTo>
              </a:path>
            </a:pathLst>
          </a:custGeom>
          <a:noFill/>
          <a:ln w="38100" cap="sq">
            <a:solidFill>
              <a:srgbClr val="FFC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srgbClr val="FFFFFF"/>
              </a:solidFill>
              <a:effectLst/>
              <a:uLnTx/>
              <a:uFillTx/>
              <a:latin typeface="Bahnschrift" panose="020B0502040204020203" pitchFamily="34" charset="0"/>
              <a:sym typeface="Bahnschrift" panose="020B0502040204020203" pitchFamily="34" charset="0"/>
            </a:endParaRPr>
          </a:p>
        </p:txBody>
      </p:sp>
      <p:sp>
        <p:nvSpPr>
          <p:cNvPr id="112" name="Freeform: Shape 111">
            <a:extLst>
              <a:ext uri="{FF2B5EF4-FFF2-40B4-BE49-F238E27FC236}">
                <a16:creationId xmlns:a16="http://schemas.microsoft.com/office/drawing/2014/main" id="{5E237229-2CB5-4D19-9452-19846D5D46B3}"/>
              </a:ext>
            </a:extLst>
          </p:cNvPr>
          <p:cNvSpPr/>
          <p:nvPr/>
        </p:nvSpPr>
        <p:spPr>
          <a:xfrm>
            <a:off x="2348661" y="6425539"/>
            <a:ext cx="375030" cy="205940"/>
          </a:xfrm>
          <a:custGeom>
            <a:avLst/>
            <a:gdLst>
              <a:gd name="connsiteX0" fmla="*/ 636104 w 636104"/>
              <a:gd name="connsiteY0" fmla="*/ 0 h 333507"/>
              <a:gd name="connsiteX1" fmla="*/ 611256 w 636104"/>
              <a:gd name="connsiteY1" fmla="*/ 14909 h 333507"/>
              <a:gd name="connsiteX2" fmla="*/ 596347 w 636104"/>
              <a:gd name="connsiteY2" fmla="*/ 24848 h 333507"/>
              <a:gd name="connsiteX3" fmla="*/ 586408 w 636104"/>
              <a:gd name="connsiteY3" fmla="*/ 39756 h 333507"/>
              <a:gd name="connsiteX4" fmla="*/ 561561 w 636104"/>
              <a:gd name="connsiteY4" fmla="*/ 64604 h 333507"/>
              <a:gd name="connsiteX5" fmla="*/ 551621 w 636104"/>
              <a:gd name="connsiteY5" fmla="*/ 74543 h 333507"/>
              <a:gd name="connsiteX6" fmla="*/ 516834 w 636104"/>
              <a:gd name="connsiteY6" fmla="*/ 89452 h 333507"/>
              <a:gd name="connsiteX7" fmla="*/ 501926 w 636104"/>
              <a:gd name="connsiteY7" fmla="*/ 104361 h 333507"/>
              <a:gd name="connsiteX8" fmla="*/ 467139 w 636104"/>
              <a:gd name="connsiteY8" fmla="*/ 119269 h 333507"/>
              <a:gd name="connsiteX9" fmla="*/ 427382 w 636104"/>
              <a:gd name="connsiteY9" fmla="*/ 149087 h 333507"/>
              <a:gd name="connsiteX10" fmla="*/ 387626 w 636104"/>
              <a:gd name="connsiteY10" fmla="*/ 168965 h 333507"/>
              <a:gd name="connsiteX11" fmla="*/ 372717 w 636104"/>
              <a:gd name="connsiteY11" fmla="*/ 173935 h 333507"/>
              <a:gd name="connsiteX12" fmla="*/ 337930 w 636104"/>
              <a:gd name="connsiteY12" fmla="*/ 188843 h 333507"/>
              <a:gd name="connsiteX13" fmla="*/ 327991 w 636104"/>
              <a:gd name="connsiteY13" fmla="*/ 198783 h 333507"/>
              <a:gd name="connsiteX14" fmla="*/ 293204 w 636104"/>
              <a:gd name="connsiteY14" fmla="*/ 218661 h 333507"/>
              <a:gd name="connsiteX15" fmla="*/ 263387 w 636104"/>
              <a:gd name="connsiteY15" fmla="*/ 228600 h 333507"/>
              <a:gd name="connsiteX16" fmla="*/ 248478 w 636104"/>
              <a:gd name="connsiteY16" fmla="*/ 233569 h 333507"/>
              <a:gd name="connsiteX17" fmla="*/ 223630 w 636104"/>
              <a:gd name="connsiteY17" fmla="*/ 238539 h 333507"/>
              <a:gd name="connsiteX18" fmla="*/ 208721 w 636104"/>
              <a:gd name="connsiteY18" fmla="*/ 243509 h 333507"/>
              <a:gd name="connsiteX19" fmla="*/ 173934 w 636104"/>
              <a:gd name="connsiteY19" fmla="*/ 253448 h 333507"/>
              <a:gd name="connsiteX20" fmla="*/ 129208 w 636104"/>
              <a:gd name="connsiteY20" fmla="*/ 268356 h 333507"/>
              <a:gd name="connsiteX21" fmla="*/ 99391 w 636104"/>
              <a:gd name="connsiteY21" fmla="*/ 278296 h 333507"/>
              <a:gd name="connsiteX22" fmla="*/ 84482 w 636104"/>
              <a:gd name="connsiteY22" fmla="*/ 283265 h 333507"/>
              <a:gd name="connsiteX23" fmla="*/ 39756 w 636104"/>
              <a:gd name="connsiteY23" fmla="*/ 308113 h 333507"/>
              <a:gd name="connsiteX24" fmla="*/ 9939 w 636104"/>
              <a:gd name="connsiteY24" fmla="*/ 332961 h 333507"/>
              <a:gd name="connsiteX25" fmla="*/ 0 w 636104"/>
              <a:gd name="connsiteY25" fmla="*/ 332961 h 333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36104" h="333507">
                <a:moveTo>
                  <a:pt x="636104" y="0"/>
                </a:moveTo>
                <a:cubicBezTo>
                  <a:pt x="627821" y="4970"/>
                  <a:pt x="619447" y="9790"/>
                  <a:pt x="611256" y="14909"/>
                </a:cubicBezTo>
                <a:cubicBezTo>
                  <a:pt x="606191" y="18075"/>
                  <a:pt x="600570" y="20625"/>
                  <a:pt x="596347" y="24848"/>
                </a:cubicBezTo>
                <a:cubicBezTo>
                  <a:pt x="592124" y="29071"/>
                  <a:pt x="590341" y="35261"/>
                  <a:pt x="586408" y="39756"/>
                </a:cubicBezTo>
                <a:cubicBezTo>
                  <a:pt x="578695" y="48571"/>
                  <a:pt x="569844" y="56321"/>
                  <a:pt x="561561" y="64604"/>
                </a:cubicBezTo>
                <a:cubicBezTo>
                  <a:pt x="558248" y="67917"/>
                  <a:pt x="555812" y="72447"/>
                  <a:pt x="551621" y="74543"/>
                </a:cubicBezTo>
                <a:cubicBezTo>
                  <a:pt x="527058" y="86826"/>
                  <a:pt x="538771" y="82141"/>
                  <a:pt x="516834" y="89452"/>
                </a:cubicBezTo>
                <a:cubicBezTo>
                  <a:pt x="511865" y="94422"/>
                  <a:pt x="508028" y="100874"/>
                  <a:pt x="501926" y="104361"/>
                </a:cubicBezTo>
                <a:cubicBezTo>
                  <a:pt x="453893" y="131808"/>
                  <a:pt x="507282" y="87152"/>
                  <a:pt x="467139" y="119269"/>
                </a:cubicBezTo>
                <a:cubicBezTo>
                  <a:pt x="443841" y="137908"/>
                  <a:pt x="473622" y="125967"/>
                  <a:pt x="427382" y="149087"/>
                </a:cubicBezTo>
                <a:cubicBezTo>
                  <a:pt x="414130" y="155713"/>
                  <a:pt x="401682" y="164279"/>
                  <a:pt x="387626" y="168965"/>
                </a:cubicBezTo>
                <a:cubicBezTo>
                  <a:pt x="382656" y="170622"/>
                  <a:pt x="377402" y="171592"/>
                  <a:pt x="372717" y="173935"/>
                </a:cubicBezTo>
                <a:cubicBezTo>
                  <a:pt x="338400" y="191093"/>
                  <a:pt x="379297" y="178502"/>
                  <a:pt x="337930" y="188843"/>
                </a:cubicBezTo>
                <a:cubicBezTo>
                  <a:pt x="334617" y="192156"/>
                  <a:pt x="331650" y="195856"/>
                  <a:pt x="327991" y="198783"/>
                </a:cubicBezTo>
                <a:cubicBezTo>
                  <a:pt x="319027" y="205954"/>
                  <a:pt x="303405" y="214581"/>
                  <a:pt x="293204" y="218661"/>
                </a:cubicBezTo>
                <a:cubicBezTo>
                  <a:pt x="283477" y="222552"/>
                  <a:pt x="273326" y="225287"/>
                  <a:pt x="263387" y="228600"/>
                </a:cubicBezTo>
                <a:cubicBezTo>
                  <a:pt x="258417" y="230256"/>
                  <a:pt x="253615" y="232542"/>
                  <a:pt x="248478" y="233569"/>
                </a:cubicBezTo>
                <a:cubicBezTo>
                  <a:pt x="240195" y="235226"/>
                  <a:pt x="231824" y="236490"/>
                  <a:pt x="223630" y="238539"/>
                </a:cubicBezTo>
                <a:cubicBezTo>
                  <a:pt x="218548" y="239810"/>
                  <a:pt x="213758" y="242070"/>
                  <a:pt x="208721" y="243509"/>
                </a:cubicBezTo>
                <a:cubicBezTo>
                  <a:pt x="196104" y="247114"/>
                  <a:pt x="185855" y="248339"/>
                  <a:pt x="173934" y="253448"/>
                </a:cubicBezTo>
                <a:cubicBezTo>
                  <a:pt x="120781" y="276228"/>
                  <a:pt x="190647" y="251600"/>
                  <a:pt x="129208" y="268356"/>
                </a:cubicBezTo>
                <a:cubicBezTo>
                  <a:pt x="119100" y="271113"/>
                  <a:pt x="109330" y="274983"/>
                  <a:pt x="99391" y="278296"/>
                </a:cubicBezTo>
                <a:lnTo>
                  <a:pt x="84482" y="283265"/>
                </a:lnTo>
                <a:cubicBezTo>
                  <a:pt x="50306" y="306049"/>
                  <a:pt x="65997" y="299365"/>
                  <a:pt x="39756" y="308113"/>
                </a:cubicBezTo>
                <a:cubicBezTo>
                  <a:pt x="31480" y="316389"/>
                  <a:pt x="21469" y="328349"/>
                  <a:pt x="9939" y="332961"/>
                </a:cubicBezTo>
                <a:cubicBezTo>
                  <a:pt x="6863" y="334191"/>
                  <a:pt x="3313" y="332961"/>
                  <a:pt x="0" y="332961"/>
                </a:cubicBezTo>
              </a:path>
            </a:pathLst>
          </a:custGeom>
          <a:noFill/>
          <a:ln w="28575" cap="sq">
            <a:solidFill>
              <a:srgbClr val="FFC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srgbClr val="FFFFFF"/>
              </a:solidFill>
              <a:effectLst/>
              <a:uLnTx/>
              <a:uFillTx/>
              <a:latin typeface="Bahnschrift" panose="020B0502040204020203" pitchFamily="34" charset="0"/>
              <a:sym typeface="Bahnschrift" panose="020B0502040204020203" pitchFamily="34" charset="0"/>
            </a:endParaRPr>
          </a:p>
        </p:txBody>
      </p:sp>
      <p:sp>
        <p:nvSpPr>
          <p:cNvPr id="158" name="Freeform 13">
            <a:extLst>
              <a:ext uri="{FF2B5EF4-FFF2-40B4-BE49-F238E27FC236}">
                <a16:creationId xmlns:a16="http://schemas.microsoft.com/office/drawing/2014/main" id="{AF06ADC0-4E02-4524-8160-85425A40C1AA}"/>
              </a:ext>
            </a:extLst>
          </p:cNvPr>
          <p:cNvSpPr>
            <a:spLocks noEditPoints="1"/>
          </p:cNvSpPr>
          <p:nvPr/>
        </p:nvSpPr>
        <p:spPr bwMode="gray">
          <a:xfrm>
            <a:off x="1444122" y="3314745"/>
            <a:ext cx="73574" cy="57082"/>
          </a:xfrm>
          <a:custGeom>
            <a:avLst/>
            <a:gdLst>
              <a:gd name="T0" fmla="*/ 9 w 27"/>
              <a:gd name="T1" fmla="*/ 12 h 20"/>
              <a:gd name="T2" fmla="*/ 9 w 27"/>
              <a:gd name="T3" fmla="*/ 14 h 20"/>
              <a:gd name="T4" fmla="*/ 7 w 27"/>
              <a:gd name="T5" fmla="*/ 15 h 20"/>
              <a:gd name="T6" fmla="*/ 7 w 27"/>
              <a:gd name="T7" fmla="*/ 17 h 20"/>
              <a:gd name="T8" fmla="*/ 5 w 27"/>
              <a:gd name="T9" fmla="*/ 17 h 20"/>
              <a:gd name="T10" fmla="*/ 4 w 27"/>
              <a:gd name="T11" fmla="*/ 17 h 20"/>
              <a:gd name="T12" fmla="*/ 2 w 27"/>
              <a:gd name="T13" fmla="*/ 17 h 20"/>
              <a:gd name="T14" fmla="*/ 0 w 27"/>
              <a:gd name="T15" fmla="*/ 15 h 20"/>
              <a:gd name="T16" fmla="*/ 2 w 27"/>
              <a:gd name="T17" fmla="*/ 15 h 20"/>
              <a:gd name="T18" fmla="*/ 2 w 27"/>
              <a:gd name="T19" fmla="*/ 14 h 20"/>
              <a:gd name="T20" fmla="*/ 4 w 27"/>
              <a:gd name="T21" fmla="*/ 14 h 20"/>
              <a:gd name="T22" fmla="*/ 7 w 27"/>
              <a:gd name="T23" fmla="*/ 12 h 20"/>
              <a:gd name="T24" fmla="*/ 9 w 27"/>
              <a:gd name="T25" fmla="*/ 12 h 20"/>
              <a:gd name="T26" fmla="*/ 27 w 27"/>
              <a:gd name="T27" fmla="*/ 0 h 20"/>
              <a:gd name="T28" fmla="*/ 26 w 27"/>
              <a:gd name="T29" fmla="*/ 0 h 20"/>
              <a:gd name="T30" fmla="*/ 24 w 27"/>
              <a:gd name="T31" fmla="*/ 0 h 20"/>
              <a:gd name="T32" fmla="*/ 27 w 27"/>
              <a:gd name="T33" fmla="*/ 0 h 20"/>
              <a:gd name="T34" fmla="*/ 14 w 27"/>
              <a:gd name="T35" fmla="*/ 17 h 20"/>
              <a:gd name="T36" fmla="*/ 16 w 27"/>
              <a:gd name="T37" fmla="*/ 17 h 20"/>
              <a:gd name="T38" fmla="*/ 16 w 27"/>
              <a:gd name="T39" fmla="*/ 20 h 20"/>
              <a:gd name="T40" fmla="*/ 14 w 27"/>
              <a:gd name="T41" fmla="*/ 20 h 20"/>
              <a:gd name="T42" fmla="*/ 14 w 27"/>
              <a:gd name="T43" fmla="*/ 1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20">
                <a:moveTo>
                  <a:pt x="9" y="12"/>
                </a:moveTo>
                <a:lnTo>
                  <a:pt x="9" y="14"/>
                </a:lnTo>
                <a:lnTo>
                  <a:pt x="7" y="15"/>
                </a:lnTo>
                <a:lnTo>
                  <a:pt x="7" y="17"/>
                </a:lnTo>
                <a:lnTo>
                  <a:pt x="5" y="17"/>
                </a:lnTo>
                <a:lnTo>
                  <a:pt x="4" y="17"/>
                </a:lnTo>
                <a:lnTo>
                  <a:pt x="2" y="17"/>
                </a:lnTo>
                <a:lnTo>
                  <a:pt x="0" y="15"/>
                </a:lnTo>
                <a:lnTo>
                  <a:pt x="2" y="15"/>
                </a:lnTo>
                <a:lnTo>
                  <a:pt x="2" y="14"/>
                </a:lnTo>
                <a:lnTo>
                  <a:pt x="4" y="14"/>
                </a:lnTo>
                <a:lnTo>
                  <a:pt x="7" y="12"/>
                </a:lnTo>
                <a:lnTo>
                  <a:pt x="9" y="12"/>
                </a:lnTo>
                <a:close/>
                <a:moveTo>
                  <a:pt x="27" y="0"/>
                </a:moveTo>
                <a:lnTo>
                  <a:pt x="26" y="0"/>
                </a:lnTo>
                <a:lnTo>
                  <a:pt x="24" y="0"/>
                </a:lnTo>
                <a:lnTo>
                  <a:pt x="27" y="0"/>
                </a:lnTo>
                <a:close/>
                <a:moveTo>
                  <a:pt x="14" y="17"/>
                </a:moveTo>
                <a:lnTo>
                  <a:pt x="16" y="17"/>
                </a:lnTo>
                <a:lnTo>
                  <a:pt x="16" y="20"/>
                </a:lnTo>
                <a:lnTo>
                  <a:pt x="14" y="20"/>
                </a:lnTo>
                <a:lnTo>
                  <a:pt x="14" y="17"/>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59" name="Freeform 14">
            <a:extLst>
              <a:ext uri="{FF2B5EF4-FFF2-40B4-BE49-F238E27FC236}">
                <a16:creationId xmlns:a16="http://schemas.microsoft.com/office/drawing/2014/main" id="{091AE7C5-84E0-4D70-976A-B08BE1302C9C}"/>
              </a:ext>
            </a:extLst>
          </p:cNvPr>
          <p:cNvSpPr>
            <a:spLocks/>
          </p:cNvSpPr>
          <p:nvPr/>
        </p:nvSpPr>
        <p:spPr bwMode="gray">
          <a:xfrm>
            <a:off x="1490445" y="3403220"/>
            <a:ext cx="27250" cy="22832"/>
          </a:xfrm>
          <a:custGeom>
            <a:avLst/>
            <a:gdLst>
              <a:gd name="T0" fmla="*/ 5 w 10"/>
              <a:gd name="T1" fmla="*/ 1 h 8"/>
              <a:gd name="T2" fmla="*/ 7 w 10"/>
              <a:gd name="T3" fmla="*/ 1 h 8"/>
              <a:gd name="T4" fmla="*/ 9 w 10"/>
              <a:gd name="T5" fmla="*/ 3 h 8"/>
              <a:gd name="T6" fmla="*/ 10 w 10"/>
              <a:gd name="T7" fmla="*/ 3 h 8"/>
              <a:gd name="T8" fmla="*/ 10 w 10"/>
              <a:gd name="T9" fmla="*/ 6 h 8"/>
              <a:gd name="T10" fmla="*/ 9 w 10"/>
              <a:gd name="T11" fmla="*/ 8 h 8"/>
              <a:gd name="T12" fmla="*/ 7 w 10"/>
              <a:gd name="T13" fmla="*/ 8 h 8"/>
              <a:gd name="T14" fmla="*/ 7 w 10"/>
              <a:gd name="T15" fmla="*/ 6 h 8"/>
              <a:gd name="T16" fmla="*/ 5 w 10"/>
              <a:gd name="T17" fmla="*/ 8 h 8"/>
              <a:gd name="T18" fmla="*/ 5 w 10"/>
              <a:gd name="T19" fmla="*/ 5 h 8"/>
              <a:gd name="T20" fmla="*/ 4 w 10"/>
              <a:gd name="T21" fmla="*/ 5 h 8"/>
              <a:gd name="T22" fmla="*/ 4 w 10"/>
              <a:gd name="T23" fmla="*/ 6 h 8"/>
              <a:gd name="T24" fmla="*/ 2 w 10"/>
              <a:gd name="T25" fmla="*/ 5 h 8"/>
              <a:gd name="T26" fmla="*/ 0 w 10"/>
              <a:gd name="T27" fmla="*/ 5 h 8"/>
              <a:gd name="T28" fmla="*/ 2 w 10"/>
              <a:gd name="T29" fmla="*/ 5 h 8"/>
              <a:gd name="T30" fmla="*/ 0 w 10"/>
              <a:gd name="T31" fmla="*/ 1 h 8"/>
              <a:gd name="T32" fmla="*/ 0 w 10"/>
              <a:gd name="T33" fmla="*/ 0 h 8"/>
              <a:gd name="T34" fmla="*/ 2 w 10"/>
              <a:gd name="T35" fmla="*/ 0 h 8"/>
              <a:gd name="T36" fmla="*/ 4 w 10"/>
              <a:gd name="T37" fmla="*/ 1 h 8"/>
              <a:gd name="T38" fmla="*/ 5 w 10"/>
              <a:gd name="T3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8">
                <a:moveTo>
                  <a:pt x="5" y="1"/>
                </a:moveTo>
                <a:lnTo>
                  <a:pt x="7" y="1"/>
                </a:lnTo>
                <a:lnTo>
                  <a:pt x="9" y="3"/>
                </a:lnTo>
                <a:lnTo>
                  <a:pt x="10" y="3"/>
                </a:lnTo>
                <a:lnTo>
                  <a:pt x="10" y="6"/>
                </a:lnTo>
                <a:lnTo>
                  <a:pt x="9" y="8"/>
                </a:lnTo>
                <a:lnTo>
                  <a:pt x="7" y="8"/>
                </a:lnTo>
                <a:lnTo>
                  <a:pt x="7" y="6"/>
                </a:lnTo>
                <a:lnTo>
                  <a:pt x="5" y="8"/>
                </a:lnTo>
                <a:lnTo>
                  <a:pt x="5" y="5"/>
                </a:lnTo>
                <a:lnTo>
                  <a:pt x="4" y="5"/>
                </a:lnTo>
                <a:lnTo>
                  <a:pt x="4" y="6"/>
                </a:lnTo>
                <a:lnTo>
                  <a:pt x="2" y="5"/>
                </a:lnTo>
                <a:lnTo>
                  <a:pt x="0" y="5"/>
                </a:lnTo>
                <a:lnTo>
                  <a:pt x="2" y="5"/>
                </a:lnTo>
                <a:lnTo>
                  <a:pt x="0" y="1"/>
                </a:lnTo>
                <a:lnTo>
                  <a:pt x="0" y="0"/>
                </a:lnTo>
                <a:lnTo>
                  <a:pt x="2" y="0"/>
                </a:lnTo>
                <a:lnTo>
                  <a:pt x="4" y="1"/>
                </a:lnTo>
                <a:lnTo>
                  <a:pt x="5" y="1"/>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60" name="Freeform 24">
            <a:extLst>
              <a:ext uri="{FF2B5EF4-FFF2-40B4-BE49-F238E27FC236}">
                <a16:creationId xmlns:a16="http://schemas.microsoft.com/office/drawing/2014/main" id="{4B9895DA-0F58-4F6D-A3E2-46538AC9A6E8}"/>
              </a:ext>
            </a:extLst>
          </p:cNvPr>
          <p:cNvSpPr>
            <a:spLocks noEditPoints="1"/>
          </p:cNvSpPr>
          <p:nvPr/>
        </p:nvSpPr>
        <p:spPr bwMode="gray">
          <a:xfrm>
            <a:off x="2553187" y="3971174"/>
            <a:ext cx="1722187" cy="2354586"/>
          </a:xfrm>
          <a:custGeom>
            <a:avLst/>
            <a:gdLst>
              <a:gd name="T0" fmla="*/ 345 w 632"/>
              <a:gd name="T1" fmla="*/ 85 h 825"/>
              <a:gd name="T2" fmla="*/ 334 w 632"/>
              <a:gd name="T3" fmla="*/ 95 h 825"/>
              <a:gd name="T4" fmla="*/ 311 w 632"/>
              <a:gd name="T5" fmla="*/ 102 h 825"/>
              <a:gd name="T6" fmla="*/ 285 w 632"/>
              <a:gd name="T7" fmla="*/ 110 h 825"/>
              <a:gd name="T8" fmla="*/ 275 w 632"/>
              <a:gd name="T9" fmla="*/ 120 h 825"/>
              <a:gd name="T10" fmla="*/ 290 w 632"/>
              <a:gd name="T11" fmla="*/ 148 h 825"/>
              <a:gd name="T12" fmla="*/ 282 w 632"/>
              <a:gd name="T13" fmla="*/ 180 h 825"/>
              <a:gd name="T14" fmla="*/ 329 w 632"/>
              <a:gd name="T15" fmla="*/ 233 h 825"/>
              <a:gd name="T16" fmla="*/ 374 w 632"/>
              <a:gd name="T17" fmla="*/ 297 h 825"/>
              <a:gd name="T18" fmla="*/ 416 w 632"/>
              <a:gd name="T19" fmla="*/ 345 h 825"/>
              <a:gd name="T20" fmla="*/ 496 w 632"/>
              <a:gd name="T21" fmla="*/ 362 h 825"/>
              <a:gd name="T22" fmla="*/ 530 w 632"/>
              <a:gd name="T23" fmla="*/ 403 h 825"/>
              <a:gd name="T24" fmla="*/ 600 w 632"/>
              <a:gd name="T25" fmla="*/ 432 h 825"/>
              <a:gd name="T26" fmla="*/ 610 w 632"/>
              <a:gd name="T27" fmla="*/ 484 h 825"/>
              <a:gd name="T28" fmla="*/ 559 w 632"/>
              <a:gd name="T29" fmla="*/ 449 h 825"/>
              <a:gd name="T30" fmla="*/ 533 w 632"/>
              <a:gd name="T31" fmla="*/ 513 h 825"/>
              <a:gd name="T32" fmla="*/ 557 w 632"/>
              <a:gd name="T33" fmla="*/ 561 h 825"/>
              <a:gd name="T34" fmla="*/ 515 w 632"/>
              <a:gd name="T35" fmla="*/ 632 h 825"/>
              <a:gd name="T36" fmla="*/ 498 w 632"/>
              <a:gd name="T37" fmla="*/ 592 h 825"/>
              <a:gd name="T38" fmla="*/ 493 w 632"/>
              <a:gd name="T39" fmla="*/ 522 h 825"/>
              <a:gd name="T40" fmla="*/ 435 w 632"/>
              <a:gd name="T41" fmla="*/ 476 h 825"/>
              <a:gd name="T42" fmla="*/ 409 w 632"/>
              <a:gd name="T43" fmla="*/ 444 h 825"/>
              <a:gd name="T44" fmla="*/ 355 w 632"/>
              <a:gd name="T45" fmla="*/ 410 h 825"/>
              <a:gd name="T46" fmla="*/ 287 w 632"/>
              <a:gd name="T47" fmla="*/ 376 h 825"/>
              <a:gd name="T48" fmla="*/ 229 w 632"/>
              <a:gd name="T49" fmla="*/ 328 h 825"/>
              <a:gd name="T50" fmla="*/ 190 w 632"/>
              <a:gd name="T51" fmla="*/ 263 h 825"/>
              <a:gd name="T52" fmla="*/ 159 w 632"/>
              <a:gd name="T53" fmla="*/ 214 h 825"/>
              <a:gd name="T54" fmla="*/ 98 w 632"/>
              <a:gd name="T55" fmla="*/ 192 h 825"/>
              <a:gd name="T56" fmla="*/ 40 w 632"/>
              <a:gd name="T57" fmla="*/ 228 h 825"/>
              <a:gd name="T58" fmla="*/ 11 w 632"/>
              <a:gd name="T59" fmla="*/ 185 h 825"/>
              <a:gd name="T60" fmla="*/ 10 w 632"/>
              <a:gd name="T61" fmla="*/ 134 h 825"/>
              <a:gd name="T62" fmla="*/ 18 w 632"/>
              <a:gd name="T63" fmla="*/ 83 h 825"/>
              <a:gd name="T64" fmla="*/ 76 w 632"/>
              <a:gd name="T65" fmla="*/ 56 h 825"/>
              <a:gd name="T66" fmla="*/ 117 w 632"/>
              <a:gd name="T67" fmla="*/ 86 h 825"/>
              <a:gd name="T68" fmla="*/ 142 w 632"/>
              <a:gd name="T69" fmla="*/ 49 h 825"/>
              <a:gd name="T70" fmla="*/ 175 w 632"/>
              <a:gd name="T71" fmla="*/ 34 h 825"/>
              <a:gd name="T72" fmla="*/ 215 w 632"/>
              <a:gd name="T73" fmla="*/ 24 h 825"/>
              <a:gd name="T74" fmla="*/ 270 w 632"/>
              <a:gd name="T75" fmla="*/ 8 h 825"/>
              <a:gd name="T76" fmla="*/ 340 w 632"/>
              <a:gd name="T77" fmla="*/ 35 h 825"/>
              <a:gd name="T78" fmla="*/ 465 w 632"/>
              <a:gd name="T79" fmla="*/ 651 h 825"/>
              <a:gd name="T80" fmla="*/ 472 w 632"/>
              <a:gd name="T81" fmla="*/ 702 h 825"/>
              <a:gd name="T82" fmla="*/ 425 w 632"/>
              <a:gd name="T83" fmla="*/ 721 h 825"/>
              <a:gd name="T84" fmla="*/ 357 w 632"/>
              <a:gd name="T85" fmla="*/ 685 h 825"/>
              <a:gd name="T86" fmla="*/ 319 w 632"/>
              <a:gd name="T87" fmla="*/ 636 h 825"/>
              <a:gd name="T88" fmla="*/ 374 w 632"/>
              <a:gd name="T89" fmla="*/ 639 h 825"/>
              <a:gd name="T90" fmla="*/ 459 w 632"/>
              <a:gd name="T91" fmla="*/ 626 h 825"/>
              <a:gd name="T92" fmla="*/ 141 w 632"/>
              <a:gd name="T93" fmla="*/ 430 h 825"/>
              <a:gd name="T94" fmla="*/ 156 w 632"/>
              <a:gd name="T95" fmla="*/ 473 h 825"/>
              <a:gd name="T96" fmla="*/ 144 w 632"/>
              <a:gd name="T97" fmla="*/ 556 h 825"/>
              <a:gd name="T98" fmla="*/ 100 w 632"/>
              <a:gd name="T99" fmla="*/ 581 h 825"/>
              <a:gd name="T100" fmla="*/ 81 w 632"/>
              <a:gd name="T101" fmla="*/ 524 h 825"/>
              <a:gd name="T102" fmla="*/ 79 w 632"/>
              <a:gd name="T103" fmla="*/ 505 h 825"/>
              <a:gd name="T104" fmla="*/ 68 w 632"/>
              <a:gd name="T105" fmla="*/ 449 h 825"/>
              <a:gd name="T106" fmla="*/ 119 w 632"/>
              <a:gd name="T107" fmla="*/ 422 h 825"/>
              <a:gd name="T108" fmla="*/ 79 w 632"/>
              <a:gd name="T109" fmla="*/ 566 h 825"/>
              <a:gd name="T110" fmla="*/ 71 w 632"/>
              <a:gd name="T111" fmla="*/ 564 h 825"/>
              <a:gd name="T112" fmla="*/ 136 w 632"/>
              <a:gd name="T113" fmla="*/ 413 h 825"/>
              <a:gd name="T114" fmla="*/ 460 w 632"/>
              <a:gd name="T115" fmla="*/ 576 h 825"/>
              <a:gd name="T116" fmla="*/ 285 w 632"/>
              <a:gd name="T117" fmla="*/ 117 h 825"/>
              <a:gd name="T118" fmla="*/ 307 w 632"/>
              <a:gd name="T119" fmla="*/ 655 h 825"/>
              <a:gd name="T120" fmla="*/ 282 w 632"/>
              <a:gd name="T121" fmla="*/ 122 h 825"/>
              <a:gd name="T122" fmla="*/ 161 w 632"/>
              <a:gd name="T123" fmla="*/ 216 h 825"/>
              <a:gd name="T124" fmla="*/ 290 w 632"/>
              <a:gd name="T125" fmla="*/ 146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2" h="825">
                <a:moveTo>
                  <a:pt x="346" y="35"/>
                </a:moveTo>
                <a:lnTo>
                  <a:pt x="346" y="39"/>
                </a:lnTo>
                <a:lnTo>
                  <a:pt x="346" y="42"/>
                </a:lnTo>
                <a:lnTo>
                  <a:pt x="345" y="41"/>
                </a:lnTo>
                <a:lnTo>
                  <a:pt x="341" y="42"/>
                </a:lnTo>
                <a:lnTo>
                  <a:pt x="341" y="46"/>
                </a:lnTo>
                <a:lnTo>
                  <a:pt x="338" y="46"/>
                </a:lnTo>
                <a:lnTo>
                  <a:pt x="338" y="47"/>
                </a:lnTo>
                <a:lnTo>
                  <a:pt x="336" y="47"/>
                </a:lnTo>
                <a:lnTo>
                  <a:pt x="334" y="47"/>
                </a:lnTo>
                <a:lnTo>
                  <a:pt x="334" y="51"/>
                </a:lnTo>
                <a:lnTo>
                  <a:pt x="333" y="52"/>
                </a:lnTo>
                <a:lnTo>
                  <a:pt x="331" y="52"/>
                </a:lnTo>
                <a:lnTo>
                  <a:pt x="333" y="54"/>
                </a:lnTo>
                <a:lnTo>
                  <a:pt x="333" y="56"/>
                </a:lnTo>
                <a:lnTo>
                  <a:pt x="334" y="58"/>
                </a:lnTo>
                <a:lnTo>
                  <a:pt x="333" y="58"/>
                </a:lnTo>
                <a:lnTo>
                  <a:pt x="334" y="59"/>
                </a:lnTo>
                <a:lnTo>
                  <a:pt x="334" y="58"/>
                </a:lnTo>
                <a:lnTo>
                  <a:pt x="338" y="58"/>
                </a:lnTo>
                <a:lnTo>
                  <a:pt x="340" y="58"/>
                </a:lnTo>
                <a:lnTo>
                  <a:pt x="341" y="59"/>
                </a:lnTo>
                <a:lnTo>
                  <a:pt x="343" y="59"/>
                </a:lnTo>
                <a:lnTo>
                  <a:pt x="345" y="59"/>
                </a:lnTo>
                <a:lnTo>
                  <a:pt x="346" y="61"/>
                </a:lnTo>
                <a:lnTo>
                  <a:pt x="345" y="63"/>
                </a:lnTo>
                <a:lnTo>
                  <a:pt x="343" y="64"/>
                </a:lnTo>
                <a:lnTo>
                  <a:pt x="343" y="66"/>
                </a:lnTo>
                <a:lnTo>
                  <a:pt x="341" y="66"/>
                </a:lnTo>
                <a:lnTo>
                  <a:pt x="341" y="68"/>
                </a:lnTo>
                <a:lnTo>
                  <a:pt x="338" y="69"/>
                </a:lnTo>
                <a:lnTo>
                  <a:pt x="340" y="71"/>
                </a:lnTo>
                <a:lnTo>
                  <a:pt x="338" y="73"/>
                </a:lnTo>
                <a:lnTo>
                  <a:pt x="340" y="75"/>
                </a:lnTo>
                <a:lnTo>
                  <a:pt x="341" y="76"/>
                </a:lnTo>
                <a:lnTo>
                  <a:pt x="343" y="73"/>
                </a:lnTo>
                <a:lnTo>
                  <a:pt x="346" y="75"/>
                </a:lnTo>
                <a:lnTo>
                  <a:pt x="345" y="76"/>
                </a:lnTo>
                <a:lnTo>
                  <a:pt x="346" y="78"/>
                </a:lnTo>
                <a:lnTo>
                  <a:pt x="345" y="80"/>
                </a:lnTo>
                <a:lnTo>
                  <a:pt x="343" y="80"/>
                </a:lnTo>
                <a:lnTo>
                  <a:pt x="343" y="83"/>
                </a:lnTo>
                <a:lnTo>
                  <a:pt x="345" y="85"/>
                </a:lnTo>
                <a:lnTo>
                  <a:pt x="345" y="86"/>
                </a:lnTo>
                <a:lnTo>
                  <a:pt x="348" y="86"/>
                </a:lnTo>
                <a:lnTo>
                  <a:pt x="348" y="88"/>
                </a:lnTo>
                <a:lnTo>
                  <a:pt x="348" y="86"/>
                </a:lnTo>
                <a:lnTo>
                  <a:pt x="350" y="88"/>
                </a:lnTo>
                <a:lnTo>
                  <a:pt x="351" y="90"/>
                </a:lnTo>
                <a:lnTo>
                  <a:pt x="353" y="90"/>
                </a:lnTo>
                <a:lnTo>
                  <a:pt x="355" y="92"/>
                </a:lnTo>
                <a:lnTo>
                  <a:pt x="357" y="93"/>
                </a:lnTo>
                <a:lnTo>
                  <a:pt x="357" y="95"/>
                </a:lnTo>
                <a:lnTo>
                  <a:pt x="358" y="97"/>
                </a:lnTo>
                <a:lnTo>
                  <a:pt x="360" y="98"/>
                </a:lnTo>
                <a:lnTo>
                  <a:pt x="358" y="100"/>
                </a:lnTo>
                <a:lnTo>
                  <a:pt x="357" y="102"/>
                </a:lnTo>
                <a:lnTo>
                  <a:pt x="355" y="102"/>
                </a:lnTo>
                <a:lnTo>
                  <a:pt x="351" y="100"/>
                </a:lnTo>
                <a:lnTo>
                  <a:pt x="351" y="102"/>
                </a:lnTo>
                <a:lnTo>
                  <a:pt x="351" y="100"/>
                </a:lnTo>
                <a:lnTo>
                  <a:pt x="355" y="100"/>
                </a:lnTo>
                <a:lnTo>
                  <a:pt x="353" y="100"/>
                </a:lnTo>
                <a:lnTo>
                  <a:pt x="353" y="98"/>
                </a:lnTo>
                <a:lnTo>
                  <a:pt x="351" y="98"/>
                </a:lnTo>
                <a:lnTo>
                  <a:pt x="353" y="97"/>
                </a:lnTo>
                <a:lnTo>
                  <a:pt x="351" y="95"/>
                </a:lnTo>
                <a:lnTo>
                  <a:pt x="350" y="93"/>
                </a:lnTo>
                <a:lnTo>
                  <a:pt x="348" y="92"/>
                </a:lnTo>
                <a:lnTo>
                  <a:pt x="346" y="90"/>
                </a:lnTo>
                <a:lnTo>
                  <a:pt x="346" y="88"/>
                </a:lnTo>
                <a:lnTo>
                  <a:pt x="343" y="88"/>
                </a:lnTo>
                <a:lnTo>
                  <a:pt x="341" y="88"/>
                </a:lnTo>
                <a:lnTo>
                  <a:pt x="341" y="90"/>
                </a:lnTo>
                <a:lnTo>
                  <a:pt x="340" y="90"/>
                </a:lnTo>
                <a:lnTo>
                  <a:pt x="341" y="92"/>
                </a:lnTo>
                <a:lnTo>
                  <a:pt x="340" y="90"/>
                </a:lnTo>
                <a:lnTo>
                  <a:pt x="338" y="90"/>
                </a:lnTo>
                <a:lnTo>
                  <a:pt x="340" y="90"/>
                </a:lnTo>
                <a:lnTo>
                  <a:pt x="340" y="92"/>
                </a:lnTo>
                <a:lnTo>
                  <a:pt x="341" y="92"/>
                </a:lnTo>
                <a:lnTo>
                  <a:pt x="340" y="93"/>
                </a:lnTo>
                <a:lnTo>
                  <a:pt x="338" y="93"/>
                </a:lnTo>
                <a:lnTo>
                  <a:pt x="336" y="93"/>
                </a:lnTo>
                <a:lnTo>
                  <a:pt x="334" y="93"/>
                </a:lnTo>
                <a:lnTo>
                  <a:pt x="334" y="95"/>
                </a:lnTo>
                <a:lnTo>
                  <a:pt x="334" y="97"/>
                </a:lnTo>
                <a:lnTo>
                  <a:pt x="336" y="95"/>
                </a:lnTo>
                <a:lnTo>
                  <a:pt x="338" y="93"/>
                </a:lnTo>
                <a:lnTo>
                  <a:pt x="336" y="97"/>
                </a:lnTo>
                <a:lnTo>
                  <a:pt x="334" y="97"/>
                </a:lnTo>
                <a:lnTo>
                  <a:pt x="333" y="97"/>
                </a:lnTo>
                <a:lnTo>
                  <a:pt x="334" y="95"/>
                </a:lnTo>
                <a:lnTo>
                  <a:pt x="334" y="93"/>
                </a:lnTo>
                <a:lnTo>
                  <a:pt x="333" y="92"/>
                </a:lnTo>
                <a:lnTo>
                  <a:pt x="331" y="92"/>
                </a:lnTo>
                <a:lnTo>
                  <a:pt x="328" y="92"/>
                </a:lnTo>
                <a:lnTo>
                  <a:pt x="326" y="92"/>
                </a:lnTo>
                <a:lnTo>
                  <a:pt x="328" y="90"/>
                </a:lnTo>
                <a:lnTo>
                  <a:pt x="326" y="86"/>
                </a:lnTo>
                <a:lnTo>
                  <a:pt x="328" y="90"/>
                </a:lnTo>
                <a:lnTo>
                  <a:pt x="326" y="92"/>
                </a:lnTo>
                <a:lnTo>
                  <a:pt x="326" y="90"/>
                </a:lnTo>
                <a:lnTo>
                  <a:pt x="324" y="90"/>
                </a:lnTo>
                <a:lnTo>
                  <a:pt x="323" y="92"/>
                </a:lnTo>
                <a:lnTo>
                  <a:pt x="321" y="90"/>
                </a:lnTo>
                <a:lnTo>
                  <a:pt x="321" y="92"/>
                </a:lnTo>
                <a:lnTo>
                  <a:pt x="321" y="93"/>
                </a:lnTo>
                <a:lnTo>
                  <a:pt x="319" y="93"/>
                </a:lnTo>
                <a:lnTo>
                  <a:pt x="319" y="95"/>
                </a:lnTo>
                <a:lnTo>
                  <a:pt x="321" y="95"/>
                </a:lnTo>
                <a:lnTo>
                  <a:pt x="321" y="97"/>
                </a:lnTo>
                <a:lnTo>
                  <a:pt x="323" y="95"/>
                </a:lnTo>
                <a:lnTo>
                  <a:pt x="321" y="98"/>
                </a:lnTo>
                <a:lnTo>
                  <a:pt x="319" y="98"/>
                </a:lnTo>
                <a:lnTo>
                  <a:pt x="319" y="97"/>
                </a:lnTo>
                <a:lnTo>
                  <a:pt x="317" y="98"/>
                </a:lnTo>
                <a:lnTo>
                  <a:pt x="319" y="98"/>
                </a:lnTo>
                <a:lnTo>
                  <a:pt x="321" y="100"/>
                </a:lnTo>
                <a:lnTo>
                  <a:pt x="317" y="100"/>
                </a:lnTo>
                <a:lnTo>
                  <a:pt x="316" y="100"/>
                </a:lnTo>
                <a:lnTo>
                  <a:pt x="314" y="100"/>
                </a:lnTo>
                <a:lnTo>
                  <a:pt x="316" y="100"/>
                </a:lnTo>
                <a:lnTo>
                  <a:pt x="314" y="100"/>
                </a:lnTo>
                <a:lnTo>
                  <a:pt x="314" y="98"/>
                </a:lnTo>
                <a:lnTo>
                  <a:pt x="312" y="97"/>
                </a:lnTo>
                <a:lnTo>
                  <a:pt x="314" y="98"/>
                </a:lnTo>
                <a:lnTo>
                  <a:pt x="314" y="100"/>
                </a:lnTo>
                <a:lnTo>
                  <a:pt x="311" y="102"/>
                </a:lnTo>
                <a:lnTo>
                  <a:pt x="311" y="100"/>
                </a:lnTo>
                <a:lnTo>
                  <a:pt x="311" y="98"/>
                </a:lnTo>
                <a:lnTo>
                  <a:pt x="311" y="100"/>
                </a:lnTo>
                <a:lnTo>
                  <a:pt x="311" y="102"/>
                </a:lnTo>
                <a:lnTo>
                  <a:pt x="309" y="103"/>
                </a:lnTo>
                <a:lnTo>
                  <a:pt x="307" y="103"/>
                </a:lnTo>
                <a:lnTo>
                  <a:pt x="306" y="105"/>
                </a:lnTo>
                <a:lnTo>
                  <a:pt x="304" y="107"/>
                </a:lnTo>
                <a:lnTo>
                  <a:pt x="302" y="107"/>
                </a:lnTo>
                <a:lnTo>
                  <a:pt x="302" y="109"/>
                </a:lnTo>
                <a:lnTo>
                  <a:pt x="302" y="107"/>
                </a:lnTo>
                <a:lnTo>
                  <a:pt x="302" y="109"/>
                </a:lnTo>
                <a:lnTo>
                  <a:pt x="300" y="109"/>
                </a:lnTo>
                <a:lnTo>
                  <a:pt x="299" y="109"/>
                </a:lnTo>
                <a:lnTo>
                  <a:pt x="297" y="110"/>
                </a:lnTo>
                <a:lnTo>
                  <a:pt x="295" y="112"/>
                </a:lnTo>
                <a:lnTo>
                  <a:pt x="294" y="112"/>
                </a:lnTo>
                <a:lnTo>
                  <a:pt x="292" y="114"/>
                </a:lnTo>
                <a:lnTo>
                  <a:pt x="290" y="114"/>
                </a:lnTo>
                <a:lnTo>
                  <a:pt x="289" y="115"/>
                </a:lnTo>
                <a:lnTo>
                  <a:pt x="287" y="115"/>
                </a:lnTo>
                <a:lnTo>
                  <a:pt x="289" y="114"/>
                </a:lnTo>
                <a:lnTo>
                  <a:pt x="290" y="114"/>
                </a:lnTo>
                <a:lnTo>
                  <a:pt x="290" y="112"/>
                </a:lnTo>
                <a:lnTo>
                  <a:pt x="292" y="112"/>
                </a:lnTo>
                <a:lnTo>
                  <a:pt x="294" y="112"/>
                </a:lnTo>
                <a:lnTo>
                  <a:pt x="294" y="110"/>
                </a:lnTo>
                <a:lnTo>
                  <a:pt x="294" y="109"/>
                </a:lnTo>
                <a:lnTo>
                  <a:pt x="294" y="112"/>
                </a:lnTo>
                <a:lnTo>
                  <a:pt x="295" y="109"/>
                </a:lnTo>
                <a:lnTo>
                  <a:pt x="297" y="109"/>
                </a:lnTo>
                <a:lnTo>
                  <a:pt x="295" y="107"/>
                </a:lnTo>
                <a:lnTo>
                  <a:pt x="294" y="109"/>
                </a:lnTo>
                <a:lnTo>
                  <a:pt x="292" y="110"/>
                </a:lnTo>
                <a:lnTo>
                  <a:pt x="294" y="109"/>
                </a:lnTo>
                <a:lnTo>
                  <a:pt x="290" y="105"/>
                </a:lnTo>
                <a:lnTo>
                  <a:pt x="290" y="107"/>
                </a:lnTo>
                <a:lnTo>
                  <a:pt x="289" y="109"/>
                </a:lnTo>
                <a:lnTo>
                  <a:pt x="289" y="110"/>
                </a:lnTo>
                <a:lnTo>
                  <a:pt x="287" y="109"/>
                </a:lnTo>
                <a:lnTo>
                  <a:pt x="287" y="110"/>
                </a:lnTo>
                <a:lnTo>
                  <a:pt x="285" y="109"/>
                </a:lnTo>
                <a:lnTo>
                  <a:pt x="285" y="110"/>
                </a:lnTo>
                <a:lnTo>
                  <a:pt x="283" y="110"/>
                </a:lnTo>
                <a:lnTo>
                  <a:pt x="283" y="112"/>
                </a:lnTo>
                <a:lnTo>
                  <a:pt x="283" y="110"/>
                </a:lnTo>
                <a:lnTo>
                  <a:pt x="283" y="112"/>
                </a:lnTo>
                <a:lnTo>
                  <a:pt x="280" y="112"/>
                </a:lnTo>
                <a:lnTo>
                  <a:pt x="280" y="114"/>
                </a:lnTo>
                <a:lnTo>
                  <a:pt x="280" y="112"/>
                </a:lnTo>
                <a:lnTo>
                  <a:pt x="278" y="112"/>
                </a:lnTo>
                <a:lnTo>
                  <a:pt x="280" y="114"/>
                </a:lnTo>
                <a:lnTo>
                  <a:pt x="282" y="115"/>
                </a:lnTo>
                <a:lnTo>
                  <a:pt x="285" y="115"/>
                </a:lnTo>
                <a:lnTo>
                  <a:pt x="283" y="115"/>
                </a:lnTo>
                <a:lnTo>
                  <a:pt x="285" y="115"/>
                </a:lnTo>
                <a:lnTo>
                  <a:pt x="283" y="115"/>
                </a:lnTo>
                <a:lnTo>
                  <a:pt x="282" y="115"/>
                </a:lnTo>
                <a:lnTo>
                  <a:pt x="280" y="114"/>
                </a:lnTo>
                <a:lnTo>
                  <a:pt x="278" y="112"/>
                </a:lnTo>
                <a:lnTo>
                  <a:pt x="278" y="114"/>
                </a:lnTo>
                <a:lnTo>
                  <a:pt x="278" y="112"/>
                </a:lnTo>
                <a:lnTo>
                  <a:pt x="278" y="114"/>
                </a:lnTo>
                <a:lnTo>
                  <a:pt x="278" y="115"/>
                </a:lnTo>
                <a:lnTo>
                  <a:pt x="277" y="115"/>
                </a:lnTo>
                <a:lnTo>
                  <a:pt x="280" y="115"/>
                </a:lnTo>
                <a:lnTo>
                  <a:pt x="278" y="117"/>
                </a:lnTo>
                <a:lnTo>
                  <a:pt x="280" y="117"/>
                </a:lnTo>
                <a:lnTo>
                  <a:pt x="280" y="119"/>
                </a:lnTo>
                <a:lnTo>
                  <a:pt x="278" y="119"/>
                </a:lnTo>
                <a:lnTo>
                  <a:pt x="278" y="120"/>
                </a:lnTo>
                <a:lnTo>
                  <a:pt x="278" y="119"/>
                </a:lnTo>
                <a:lnTo>
                  <a:pt x="278" y="120"/>
                </a:lnTo>
                <a:lnTo>
                  <a:pt x="277" y="120"/>
                </a:lnTo>
                <a:lnTo>
                  <a:pt x="278" y="117"/>
                </a:lnTo>
                <a:lnTo>
                  <a:pt x="277" y="119"/>
                </a:lnTo>
                <a:lnTo>
                  <a:pt x="277" y="120"/>
                </a:lnTo>
                <a:lnTo>
                  <a:pt x="278" y="120"/>
                </a:lnTo>
                <a:lnTo>
                  <a:pt x="278" y="122"/>
                </a:lnTo>
                <a:lnTo>
                  <a:pt x="277" y="120"/>
                </a:lnTo>
                <a:lnTo>
                  <a:pt x="277" y="119"/>
                </a:lnTo>
                <a:lnTo>
                  <a:pt x="275" y="119"/>
                </a:lnTo>
                <a:lnTo>
                  <a:pt x="275" y="120"/>
                </a:lnTo>
                <a:lnTo>
                  <a:pt x="273" y="119"/>
                </a:lnTo>
                <a:lnTo>
                  <a:pt x="273" y="120"/>
                </a:lnTo>
                <a:lnTo>
                  <a:pt x="275" y="120"/>
                </a:lnTo>
                <a:lnTo>
                  <a:pt x="273" y="120"/>
                </a:lnTo>
                <a:lnTo>
                  <a:pt x="273" y="124"/>
                </a:lnTo>
                <a:lnTo>
                  <a:pt x="275" y="124"/>
                </a:lnTo>
                <a:lnTo>
                  <a:pt x="277" y="124"/>
                </a:lnTo>
                <a:lnTo>
                  <a:pt x="275" y="124"/>
                </a:lnTo>
                <a:lnTo>
                  <a:pt x="273" y="124"/>
                </a:lnTo>
                <a:lnTo>
                  <a:pt x="273" y="126"/>
                </a:lnTo>
                <a:lnTo>
                  <a:pt x="275" y="126"/>
                </a:lnTo>
                <a:lnTo>
                  <a:pt x="273" y="126"/>
                </a:lnTo>
                <a:lnTo>
                  <a:pt x="273" y="127"/>
                </a:lnTo>
                <a:lnTo>
                  <a:pt x="275" y="127"/>
                </a:lnTo>
                <a:lnTo>
                  <a:pt x="275" y="126"/>
                </a:lnTo>
                <a:lnTo>
                  <a:pt x="275" y="129"/>
                </a:lnTo>
                <a:lnTo>
                  <a:pt x="277" y="127"/>
                </a:lnTo>
                <a:lnTo>
                  <a:pt x="277" y="126"/>
                </a:lnTo>
                <a:lnTo>
                  <a:pt x="278" y="126"/>
                </a:lnTo>
                <a:lnTo>
                  <a:pt x="277" y="127"/>
                </a:lnTo>
                <a:lnTo>
                  <a:pt x="278" y="129"/>
                </a:lnTo>
                <a:lnTo>
                  <a:pt x="277" y="129"/>
                </a:lnTo>
                <a:lnTo>
                  <a:pt x="278" y="131"/>
                </a:lnTo>
                <a:lnTo>
                  <a:pt x="280" y="132"/>
                </a:lnTo>
                <a:lnTo>
                  <a:pt x="280" y="131"/>
                </a:lnTo>
                <a:lnTo>
                  <a:pt x="282" y="132"/>
                </a:lnTo>
                <a:lnTo>
                  <a:pt x="282" y="131"/>
                </a:lnTo>
                <a:lnTo>
                  <a:pt x="282" y="129"/>
                </a:lnTo>
                <a:lnTo>
                  <a:pt x="282" y="131"/>
                </a:lnTo>
                <a:lnTo>
                  <a:pt x="282" y="132"/>
                </a:lnTo>
                <a:lnTo>
                  <a:pt x="283" y="134"/>
                </a:lnTo>
                <a:lnTo>
                  <a:pt x="283" y="136"/>
                </a:lnTo>
                <a:lnTo>
                  <a:pt x="283" y="137"/>
                </a:lnTo>
                <a:lnTo>
                  <a:pt x="283" y="139"/>
                </a:lnTo>
                <a:lnTo>
                  <a:pt x="282" y="137"/>
                </a:lnTo>
                <a:lnTo>
                  <a:pt x="282" y="141"/>
                </a:lnTo>
                <a:lnTo>
                  <a:pt x="283" y="141"/>
                </a:lnTo>
                <a:lnTo>
                  <a:pt x="285" y="143"/>
                </a:lnTo>
                <a:lnTo>
                  <a:pt x="285" y="141"/>
                </a:lnTo>
                <a:lnTo>
                  <a:pt x="287" y="144"/>
                </a:lnTo>
                <a:lnTo>
                  <a:pt x="285" y="144"/>
                </a:lnTo>
                <a:lnTo>
                  <a:pt x="287" y="144"/>
                </a:lnTo>
                <a:lnTo>
                  <a:pt x="289" y="143"/>
                </a:lnTo>
                <a:lnTo>
                  <a:pt x="289" y="146"/>
                </a:lnTo>
                <a:lnTo>
                  <a:pt x="290" y="146"/>
                </a:lnTo>
                <a:lnTo>
                  <a:pt x="290" y="148"/>
                </a:lnTo>
                <a:lnTo>
                  <a:pt x="292" y="148"/>
                </a:lnTo>
                <a:lnTo>
                  <a:pt x="292" y="149"/>
                </a:lnTo>
                <a:lnTo>
                  <a:pt x="294" y="151"/>
                </a:lnTo>
                <a:lnTo>
                  <a:pt x="292" y="149"/>
                </a:lnTo>
                <a:lnTo>
                  <a:pt x="294" y="151"/>
                </a:lnTo>
                <a:lnTo>
                  <a:pt x="292" y="149"/>
                </a:lnTo>
                <a:lnTo>
                  <a:pt x="292" y="151"/>
                </a:lnTo>
                <a:lnTo>
                  <a:pt x="292" y="153"/>
                </a:lnTo>
                <a:lnTo>
                  <a:pt x="292" y="151"/>
                </a:lnTo>
                <a:lnTo>
                  <a:pt x="292" y="153"/>
                </a:lnTo>
                <a:lnTo>
                  <a:pt x="292" y="154"/>
                </a:lnTo>
                <a:lnTo>
                  <a:pt x="292" y="153"/>
                </a:lnTo>
                <a:lnTo>
                  <a:pt x="292" y="154"/>
                </a:lnTo>
                <a:lnTo>
                  <a:pt x="290" y="154"/>
                </a:lnTo>
                <a:lnTo>
                  <a:pt x="290" y="156"/>
                </a:lnTo>
                <a:lnTo>
                  <a:pt x="292" y="154"/>
                </a:lnTo>
                <a:lnTo>
                  <a:pt x="290" y="156"/>
                </a:lnTo>
                <a:lnTo>
                  <a:pt x="289" y="156"/>
                </a:lnTo>
                <a:lnTo>
                  <a:pt x="290" y="153"/>
                </a:lnTo>
                <a:lnTo>
                  <a:pt x="289" y="153"/>
                </a:lnTo>
                <a:lnTo>
                  <a:pt x="287" y="154"/>
                </a:lnTo>
                <a:lnTo>
                  <a:pt x="289" y="156"/>
                </a:lnTo>
                <a:lnTo>
                  <a:pt x="287" y="158"/>
                </a:lnTo>
                <a:lnTo>
                  <a:pt x="289" y="160"/>
                </a:lnTo>
                <a:lnTo>
                  <a:pt x="287" y="161"/>
                </a:lnTo>
                <a:lnTo>
                  <a:pt x="283" y="161"/>
                </a:lnTo>
                <a:lnTo>
                  <a:pt x="287" y="161"/>
                </a:lnTo>
                <a:lnTo>
                  <a:pt x="287" y="160"/>
                </a:lnTo>
                <a:lnTo>
                  <a:pt x="285" y="158"/>
                </a:lnTo>
                <a:lnTo>
                  <a:pt x="283" y="156"/>
                </a:lnTo>
                <a:lnTo>
                  <a:pt x="282" y="158"/>
                </a:lnTo>
                <a:lnTo>
                  <a:pt x="282" y="156"/>
                </a:lnTo>
                <a:lnTo>
                  <a:pt x="280" y="160"/>
                </a:lnTo>
                <a:lnTo>
                  <a:pt x="282" y="160"/>
                </a:lnTo>
                <a:lnTo>
                  <a:pt x="280" y="161"/>
                </a:lnTo>
                <a:lnTo>
                  <a:pt x="280" y="165"/>
                </a:lnTo>
                <a:lnTo>
                  <a:pt x="280" y="166"/>
                </a:lnTo>
                <a:lnTo>
                  <a:pt x="280" y="168"/>
                </a:lnTo>
                <a:lnTo>
                  <a:pt x="280" y="170"/>
                </a:lnTo>
                <a:lnTo>
                  <a:pt x="282" y="173"/>
                </a:lnTo>
                <a:lnTo>
                  <a:pt x="282" y="175"/>
                </a:lnTo>
                <a:lnTo>
                  <a:pt x="282" y="177"/>
                </a:lnTo>
                <a:lnTo>
                  <a:pt x="282" y="180"/>
                </a:lnTo>
                <a:lnTo>
                  <a:pt x="283" y="182"/>
                </a:lnTo>
                <a:lnTo>
                  <a:pt x="282" y="182"/>
                </a:lnTo>
                <a:lnTo>
                  <a:pt x="282" y="183"/>
                </a:lnTo>
                <a:lnTo>
                  <a:pt x="280" y="185"/>
                </a:lnTo>
                <a:lnTo>
                  <a:pt x="278" y="187"/>
                </a:lnTo>
                <a:lnTo>
                  <a:pt x="280" y="185"/>
                </a:lnTo>
                <a:lnTo>
                  <a:pt x="282" y="183"/>
                </a:lnTo>
                <a:lnTo>
                  <a:pt x="282" y="185"/>
                </a:lnTo>
                <a:lnTo>
                  <a:pt x="282" y="182"/>
                </a:lnTo>
                <a:lnTo>
                  <a:pt x="283" y="182"/>
                </a:lnTo>
                <a:lnTo>
                  <a:pt x="283" y="183"/>
                </a:lnTo>
                <a:lnTo>
                  <a:pt x="283" y="187"/>
                </a:lnTo>
                <a:lnTo>
                  <a:pt x="285" y="189"/>
                </a:lnTo>
                <a:lnTo>
                  <a:pt x="285" y="190"/>
                </a:lnTo>
                <a:lnTo>
                  <a:pt x="285" y="194"/>
                </a:lnTo>
                <a:lnTo>
                  <a:pt x="287" y="195"/>
                </a:lnTo>
                <a:lnTo>
                  <a:pt x="289" y="200"/>
                </a:lnTo>
                <a:lnTo>
                  <a:pt x="289" y="202"/>
                </a:lnTo>
                <a:lnTo>
                  <a:pt x="290" y="204"/>
                </a:lnTo>
                <a:lnTo>
                  <a:pt x="292" y="204"/>
                </a:lnTo>
                <a:lnTo>
                  <a:pt x="294" y="206"/>
                </a:lnTo>
                <a:lnTo>
                  <a:pt x="294" y="207"/>
                </a:lnTo>
                <a:lnTo>
                  <a:pt x="297" y="209"/>
                </a:lnTo>
                <a:lnTo>
                  <a:pt x="297" y="211"/>
                </a:lnTo>
                <a:lnTo>
                  <a:pt x="299" y="211"/>
                </a:lnTo>
                <a:lnTo>
                  <a:pt x="300" y="212"/>
                </a:lnTo>
                <a:lnTo>
                  <a:pt x="300" y="214"/>
                </a:lnTo>
                <a:lnTo>
                  <a:pt x="302" y="216"/>
                </a:lnTo>
                <a:lnTo>
                  <a:pt x="304" y="217"/>
                </a:lnTo>
                <a:lnTo>
                  <a:pt x="307" y="217"/>
                </a:lnTo>
                <a:lnTo>
                  <a:pt x="311" y="217"/>
                </a:lnTo>
                <a:lnTo>
                  <a:pt x="312" y="219"/>
                </a:lnTo>
                <a:lnTo>
                  <a:pt x="314" y="219"/>
                </a:lnTo>
                <a:lnTo>
                  <a:pt x="314" y="221"/>
                </a:lnTo>
                <a:lnTo>
                  <a:pt x="316" y="221"/>
                </a:lnTo>
                <a:lnTo>
                  <a:pt x="317" y="223"/>
                </a:lnTo>
                <a:lnTo>
                  <a:pt x="319" y="224"/>
                </a:lnTo>
                <a:lnTo>
                  <a:pt x="321" y="226"/>
                </a:lnTo>
                <a:lnTo>
                  <a:pt x="323" y="226"/>
                </a:lnTo>
                <a:lnTo>
                  <a:pt x="324" y="228"/>
                </a:lnTo>
                <a:lnTo>
                  <a:pt x="324" y="229"/>
                </a:lnTo>
                <a:lnTo>
                  <a:pt x="328" y="231"/>
                </a:lnTo>
                <a:lnTo>
                  <a:pt x="329" y="233"/>
                </a:lnTo>
                <a:lnTo>
                  <a:pt x="331" y="234"/>
                </a:lnTo>
                <a:lnTo>
                  <a:pt x="333" y="234"/>
                </a:lnTo>
                <a:lnTo>
                  <a:pt x="334" y="236"/>
                </a:lnTo>
                <a:lnTo>
                  <a:pt x="336" y="236"/>
                </a:lnTo>
                <a:lnTo>
                  <a:pt x="338" y="238"/>
                </a:lnTo>
                <a:lnTo>
                  <a:pt x="340" y="240"/>
                </a:lnTo>
                <a:lnTo>
                  <a:pt x="341" y="240"/>
                </a:lnTo>
                <a:lnTo>
                  <a:pt x="343" y="241"/>
                </a:lnTo>
                <a:lnTo>
                  <a:pt x="345" y="241"/>
                </a:lnTo>
                <a:lnTo>
                  <a:pt x="346" y="241"/>
                </a:lnTo>
                <a:lnTo>
                  <a:pt x="346" y="240"/>
                </a:lnTo>
                <a:lnTo>
                  <a:pt x="350" y="241"/>
                </a:lnTo>
                <a:lnTo>
                  <a:pt x="351" y="245"/>
                </a:lnTo>
                <a:lnTo>
                  <a:pt x="353" y="245"/>
                </a:lnTo>
                <a:lnTo>
                  <a:pt x="353" y="246"/>
                </a:lnTo>
                <a:lnTo>
                  <a:pt x="353" y="250"/>
                </a:lnTo>
                <a:lnTo>
                  <a:pt x="355" y="251"/>
                </a:lnTo>
                <a:lnTo>
                  <a:pt x="357" y="253"/>
                </a:lnTo>
                <a:lnTo>
                  <a:pt x="357" y="257"/>
                </a:lnTo>
                <a:lnTo>
                  <a:pt x="358" y="258"/>
                </a:lnTo>
                <a:lnTo>
                  <a:pt x="358" y="260"/>
                </a:lnTo>
                <a:lnTo>
                  <a:pt x="360" y="262"/>
                </a:lnTo>
                <a:lnTo>
                  <a:pt x="360" y="263"/>
                </a:lnTo>
                <a:lnTo>
                  <a:pt x="362" y="265"/>
                </a:lnTo>
                <a:lnTo>
                  <a:pt x="362" y="267"/>
                </a:lnTo>
                <a:lnTo>
                  <a:pt x="363" y="270"/>
                </a:lnTo>
                <a:lnTo>
                  <a:pt x="363" y="272"/>
                </a:lnTo>
                <a:lnTo>
                  <a:pt x="365" y="272"/>
                </a:lnTo>
                <a:lnTo>
                  <a:pt x="365" y="274"/>
                </a:lnTo>
                <a:lnTo>
                  <a:pt x="367" y="277"/>
                </a:lnTo>
                <a:lnTo>
                  <a:pt x="367" y="279"/>
                </a:lnTo>
                <a:lnTo>
                  <a:pt x="367" y="282"/>
                </a:lnTo>
                <a:lnTo>
                  <a:pt x="368" y="284"/>
                </a:lnTo>
                <a:lnTo>
                  <a:pt x="368" y="285"/>
                </a:lnTo>
                <a:lnTo>
                  <a:pt x="370" y="287"/>
                </a:lnTo>
                <a:lnTo>
                  <a:pt x="368" y="287"/>
                </a:lnTo>
                <a:lnTo>
                  <a:pt x="370" y="289"/>
                </a:lnTo>
                <a:lnTo>
                  <a:pt x="370" y="291"/>
                </a:lnTo>
                <a:lnTo>
                  <a:pt x="372" y="291"/>
                </a:lnTo>
                <a:lnTo>
                  <a:pt x="372" y="292"/>
                </a:lnTo>
                <a:lnTo>
                  <a:pt x="372" y="294"/>
                </a:lnTo>
                <a:lnTo>
                  <a:pt x="372" y="297"/>
                </a:lnTo>
                <a:lnTo>
                  <a:pt x="374" y="297"/>
                </a:lnTo>
                <a:lnTo>
                  <a:pt x="374" y="301"/>
                </a:lnTo>
                <a:lnTo>
                  <a:pt x="375" y="301"/>
                </a:lnTo>
                <a:lnTo>
                  <a:pt x="374" y="301"/>
                </a:lnTo>
                <a:lnTo>
                  <a:pt x="375" y="301"/>
                </a:lnTo>
                <a:lnTo>
                  <a:pt x="374" y="301"/>
                </a:lnTo>
                <a:lnTo>
                  <a:pt x="375" y="302"/>
                </a:lnTo>
                <a:lnTo>
                  <a:pt x="375" y="304"/>
                </a:lnTo>
                <a:lnTo>
                  <a:pt x="377" y="306"/>
                </a:lnTo>
                <a:lnTo>
                  <a:pt x="379" y="308"/>
                </a:lnTo>
                <a:lnTo>
                  <a:pt x="379" y="309"/>
                </a:lnTo>
                <a:lnTo>
                  <a:pt x="380" y="311"/>
                </a:lnTo>
                <a:lnTo>
                  <a:pt x="382" y="314"/>
                </a:lnTo>
                <a:lnTo>
                  <a:pt x="384" y="316"/>
                </a:lnTo>
                <a:lnTo>
                  <a:pt x="385" y="316"/>
                </a:lnTo>
                <a:lnTo>
                  <a:pt x="385" y="318"/>
                </a:lnTo>
                <a:lnTo>
                  <a:pt x="387" y="319"/>
                </a:lnTo>
                <a:lnTo>
                  <a:pt x="389" y="319"/>
                </a:lnTo>
                <a:lnTo>
                  <a:pt x="389" y="321"/>
                </a:lnTo>
                <a:lnTo>
                  <a:pt x="389" y="319"/>
                </a:lnTo>
                <a:lnTo>
                  <a:pt x="389" y="321"/>
                </a:lnTo>
                <a:lnTo>
                  <a:pt x="391" y="323"/>
                </a:lnTo>
                <a:lnTo>
                  <a:pt x="392" y="323"/>
                </a:lnTo>
                <a:lnTo>
                  <a:pt x="394" y="325"/>
                </a:lnTo>
                <a:lnTo>
                  <a:pt x="396" y="326"/>
                </a:lnTo>
                <a:lnTo>
                  <a:pt x="397" y="326"/>
                </a:lnTo>
                <a:lnTo>
                  <a:pt x="399" y="328"/>
                </a:lnTo>
                <a:lnTo>
                  <a:pt x="399" y="330"/>
                </a:lnTo>
                <a:lnTo>
                  <a:pt x="401" y="331"/>
                </a:lnTo>
                <a:lnTo>
                  <a:pt x="402" y="333"/>
                </a:lnTo>
                <a:lnTo>
                  <a:pt x="404" y="333"/>
                </a:lnTo>
                <a:lnTo>
                  <a:pt x="404" y="335"/>
                </a:lnTo>
                <a:lnTo>
                  <a:pt x="406" y="337"/>
                </a:lnTo>
                <a:lnTo>
                  <a:pt x="408" y="337"/>
                </a:lnTo>
                <a:lnTo>
                  <a:pt x="409" y="337"/>
                </a:lnTo>
                <a:lnTo>
                  <a:pt x="411" y="338"/>
                </a:lnTo>
                <a:lnTo>
                  <a:pt x="413" y="338"/>
                </a:lnTo>
                <a:lnTo>
                  <a:pt x="414" y="340"/>
                </a:lnTo>
                <a:lnTo>
                  <a:pt x="416" y="340"/>
                </a:lnTo>
                <a:lnTo>
                  <a:pt x="414" y="340"/>
                </a:lnTo>
                <a:lnTo>
                  <a:pt x="416" y="340"/>
                </a:lnTo>
                <a:lnTo>
                  <a:pt x="416" y="342"/>
                </a:lnTo>
                <a:lnTo>
                  <a:pt x="416" y="343"/>
                </a:lnTo>
                <a:lnTo>
                  <a:pt x="416" y="345"/>
                </a:lnTo>
                <a:lnTo>
                  <a:pt x="418" y="345"/>
                </a:lnTo>
                <a:lnTo>
                  <a:pt x="419" y="347"/>
                </a:lnTo>
                <a:lnTo>
                  <a:pt x="421" y="347"/>
                </a:lnTo>
                <a:lnTo>
                  <a:pt x="423" y="348"/>
                </a:lnTo>
                <a:lnTo>
                  <a:pt x="426" y="350"/>
                </a:lnTo>
                <a:lnTo>
                  <a:pt x="430" y="350"/>
                </a:lnTo>
                <a:lnTo>
                  <a:pt x="431" y="350"/>
                </a:lnTo>
                <a:lnTo>
                  <a:pt x="431" y="352"/>
                </a:lnTo>
                <a:lnTo>
                  <a:pt x="433" y="352"/>
                </a:lnTo>
                <a:lnTo>
                  <a:pt x="435" y="354"/>
                </a:lnTo>
                <a:lnTo>
                  <a:pt x="435" y="355"/>
                </a:lnTo>
                <a:lnTo>
                  <a:pt x="435" y="354"/>
                </a:lnTo>
                <a:lnTo>
                  <a:pt x="436" y="355"/>
                </a:lnTo>
                <a:lnTo>
                  <a:pt x="440" y="355"/>
                </a:lnTo>
                <a:lnTo>
                  <a:pt x="443" y="355"/>
                </a:lnTo>
                <a:lnTo>
                  <a:pt x="445" y="355"/>
                </a:lnTo>
                <a:lnTo>
                  <a:pt x="447" y="355"/>
                </a:lnTo>
                <a:lnTo>
                  <a:pt x="450" y="355"/>
                </a:lnTo>
                <a:lnTo>
                  <a:pt x="452" y="357"/>
                </a:lnTo>
                <a:lnTo>
                  <a:pt x="453" y="357"/>
                </a:lnTo>
                <a:lnTo>
                  <a:pt x="457" y="355"/>
                </a:lnTo>
                <a:lnTo>
                  <a:pt x="459" y="355"/>
                </a:lnTo>
                <a:lnTo>
                  <a:pt x="460" y="355"/>
                </a:lnTo>
                <a:lnTo>
                  <a:pt x="462" y="354"/>
                </a:lnTo>
                <a:lnTo>
                  <a:pt x="464" y="354"/>
                </a:lnTo>
                <a:lnTo>
                  <a:pt x="467" y="354"/>
                </a:lnTo>
                <a:lnTo>
                  <a:pt x="469" y="354"/>
                </a:lnTo>
                <a:lnTo>
                  <a:pt x="472" y="354"/>
                </a:lnTo>
                <a:lnTo>
                  <a:pt x="474" y="354"/>
                </a:lnTo>
                <a:lnTo>
                  <a:pt x="476" y="354"/>
                </a:lnTo>
                <a:lnTo>
                  <a:pt x="477" y="352"/>
                </a:lnTo>
                <a:lnTo>
                  <a:pt x="479" y="352"/>
                </a:lnTo>
                <a:lnTo>
                  <a:pt x="481" y="352"/>
                </a:lnTo>
                <a:lnTo>
                  <a:pt x="484" y="350"/>
                </a:lnTo>
                <a:lnTo>
                  <a:pt x="487" y="350"/>
                </a:lnTo>
                <a:lnTo>
                  <a:pt x="489" y="350"/>
                </a:lnTo>
                <a:lnTo>
                  <a:pt x="491" y="352"/>
                </a:lnTo>
                <a:lnTo>
                  <a:pt x="493" y="352"/>
                </a:lnTo>
                <a:lnTo>
                  <a:pt x="494" y="354"/>
                </a:lnTo>
                <a:lnTo>
                  <a:pt x="494" y="357"/>
                </a:lnTo>
                <a:lnTo>
                  <a:pt x="496" y="359"/>
                </a:lnTo>
                <a:lnTo>
                  <a:pt x="496" y="360"/>
                </a:lnTo>
                <a:lnTo>
                  <a:pt x="496" y="362"/>
                </a:lnTo>
                <a:lnTo>
                  <a:pt x="494" y="362"/>
                </a:lnTo>
                <a:lnTo>
                  <a:pt x="493" y="364"/>
                </a:lnTo>
                <a:lnTo>
                  <a:pt x="493" y="365"/>
                </a:lnTo>
                <a:lnTo>
                  <a:pt x="489" y="367"/>
                </a:lnTo>
                <a:lnTo>
                  <a:pt x="489" y="369"/>
                </a:lnTo>
                <a:lnTo>
                  <a:pt x="487" y="369"/>
                </a:lnTo>
                <a:lnTo>
                  <a:pt x="486" y="371"/>
                </a:lnTo>
                <a:lnTo>
                  <a:pt x="482" y="372"/>
                </a:lnTo>
                <a:lnTo>
                  <a:pt x="484" y="374"/>
                </a:lnTo>
                <a:lnTo>
                  <a:pt x="482" y="372"/>
                </a:lnTo>
                <a:lnTo>
                  <a:pt x="481" y="376"/>
                </a:lnTo>
                <a:lnTo>
                  <a:pt x="481" y="377"/>
                </a:lnTo>
                <a:lnTo>
                  <a:pt x="481" y="379"/>
                </a:lnTo>
                <a:lnTo>
                  <a:pt x="482" y="382"/>
                </a:lnTo>
                <a:lnTo>
                  <a:pt x="484" y="384"/>
                </a:lnTo>
                <a:lnTo>
                  <a:pt x="486" y="386"/>
                </a:lnTo>
                <a:lnTo>
                  <a:pt x="489" y="388"/>
                </a:lnTo>
                <a:lnTo>
                  <a:pt x="491" y="388"/>
                </a:lnTo>
                <a:lnTo>
                  <a:pt x="489" y="391"/>
                </a:lnTo>
                <a:lnTo>
                  <a:pt x="491" y="388"/>
                </a:lnTo>
                <a:lnTo>
                  <a:pt x="493" y="389"/>
                </a:lnTo>
                <a:lnTo>
                  <a:pt x="494" y="389"/>
                </a:lnTo>
                <a:lnTo>
                  <a:pt x="496" y="391"/>
                </a:lnTo>
                <a:lnTo>
                  <a:pt x="498" y="391"/>
                </a:lnTo>
                <a:lnTo>
                  <a:pt x="499" y="391"/>
                </a:lnTo>
                <a:lnTo>
                  <a:pt x="501" y="393"/>
                </a:lnTo>
                <a:lnTo>
                  <a:pt x="503" y="393"/>
                </a:lnTo>
                <a:lnTo>
                  <a:pt x="503" y="394"/>
                </a:lnTo>
                <a:lnTo>
                  <a:pt x="503" y="393"/>
                </a:lnTo>
                <a:lnTo>
                  <a:pt x="504" y="394"/>
                </a:lnTo>
                <a:lnTo>
                  <a:pt x="506" y="394"/>
                </a:lnTo>
                <a:lnTo>
                  <a:pt x="510" y="396"/>
                </a:lnTo>
                <a:lnTo>
                  <a:pt x="511" y="396"/>
                </a:lnTo>
                <a:lnTo>
                  <a:pt x="513" y="398"/>
                </a:lnTo>
                <a:lnTo>
                  <a:pt x="515" y="398"/>
                </a:lnTo>
                <a:lnTo>
                  <a:pt x="516" y="398"/>
                </a:lnTo>
                <a:lnTo>
                  <a:pt x="518" y="399"/>
                </a:lnTo>
                <a:lnTo>
                  <a:pt x="520" y="399"/>
                </a:lnTo>
                <a:lnTo>
                  <a:pt x="523" y="401"/>
                </a:lnTo>
                <a:lnTo>
                  <a:pt x="525" y="401"/>
                </a:lnTo>
                <a:lnTo>
                  <a:pt x="527" y="401"/>
                </a:lnTo>
                <a:lnTo>
                  <a:pt x="528" y="403"/>
                </a:lnTo>
                <a:lnTo>
                  <a:pt x="530" y="403"/>
                </a:lnTo>
                <a:lnTo>
                  <a:pt x="532" y="405"/>
                </a:lnTo>
                <a:lnTo>
                  <a:pt x="535" y="403"/>
                </a:lnTo>
                <a:lnTo>
                  <a:pt x="535" y="405"/>
                </a:lnTo>
                <a:lnTo>
                  <a:pt x="535" y="403"/>
                </a:lnTo>
                <a:lnTo>
                  <a:pt x="535" y="405"/>
                </a:lnTo>
                <a:lnTo>
                  <a:pt x="537" y="405"/>
                </a:lnTo>
                <a:lnTo>
                  <a:pt x="535" y="405"/>
                </a:lnTo>
                <a:lnTo>
                  <a:pt x="537" y="405"/>
                </a:lnTo>
                <a:lnTo>
                  <a:pt x="538" y="405"/>
                </a:lnTo>
                <a:lnTo>
                  <a:pt x="540" y="406"/>
                </a:lnTo>
                <a:lnTo>
                  <a:pt x="542" y="406"/>
                </a:lnTo>
                <a:lnTo>
                  <a:pt x="544" y="406"/>
                </a:lnTo>
                <a:lnTo>
                  <a:pt x="545" y="406"/>
                </a:lnTo>
                <a:lnTo>
                  <a:pt x="549" y="408"/>
                </a:lnTo>
                <a:lnTo>
                  <a:pt x="550" y="410"/>
                </a:lnTo>
                <a:lnTo>
                  <a:pt x="552" y="410"/>
                </a:lnTo>
                <a:lnTo>
                  <a:pt x="554" y="411"/>
                </a:lnTo>
                <a:lnTo>
                  <a:pt x="555" y="411"/>
                </a:lnTo>
                <a:lnTo>
                  <a:pt x="557" y="413"/>
                </a:lnTo>
                <a:lnTo>
                  <a:pt x="561" y="415"/>
                </a:lnTo>
                <a:lnTo>
                  <a:pt x="562" y="416"/>
                </a:lnTo>
                <a:lnTo>
                  <a:pt x="562" y="418"/>
                </a:lnTo>
                <a:lnTo>
                  <a:pt x="566" y="418"/>
                </a:lnTo>
                <a:lnTo>
                  <a:pt x="566" y="420"/>
                </a:lnTo>
                <a:lnTo>
                  <a:pt x="567" y="420"/>
                </a:lnTo>
                <a:lnTo>
                  <a:pt x="569" y="422"/>
                </a:lnTo>
                <a:lnTo>
                  <a:pt x="571" y="423"/>
                </a:lnTo>
                <a:lnTo>
                  <a:pt x="574" y="423"/>
                </a:lnTo>
                <a:lnTo>
                  <a:pt x="576" y="425"/>
                </a:lnTo>
                <a:lnTo>
                  <a:pt x="579" y="425"/>
                </a:lnTo>
                <a:lnTo>
                  <a:pt x="583" y="425"/>
                </a:lnTo>
                <a:lnTo>
                  <a:pt x="583" y="427"/>
                </a:lnTo>
                <a:lnTo>
                  <a:pt x="586" y="428"/>
                </a:lnTo>
                <a:lnTo>
                  <a:pt x="588" y="428"/>
                </a:lnTo>
                <a:lnTo>
                  <a:pt x="591" y="430"/>
                </a:lnTo>
                <a:lnTo>
                  <a:pt x="593" y="430"/>
                </a:lnTo>
                <a:lnTo>
                  <a:pt x="595" y="430"/>
                </a:lnTo>
                <a:lnTo>
                  <a:pt x="596" y="430"/>
                </a:lnTo>
                <a:lnTo>
                  <a:pt x="598" y="432"/>
                </a:lnTo>
                <a:lnTo>
                  <a:pt x="600" y="432"/>
                </a:lnTo>
                <a:lnTo>
                  <a:pt x="598" y="432"/>
                </a:lnTo>
                <a:lnTo>
                  <a:pt x="596" y="433"/>
                </a:lnTo>
                <a:lnTo>
                  <a:pt x="600" y="432"/>
                </a:lnTo>
                <a:lnTo>
                  <a:pt x="601" y="432"/>
                </a:lnTo>
                <a:lnTo>
                  <a:pt x="601" y="433"/>
                </a:lnTo>
                <a:lnTo>
                  <a:pt x="603" y="435"/>
                </a:lnTo>
                <a:lnTo>
                  <a:pt x="603" y="439"/>
                </a:lnTo>
                <a:lnTo>
                  <a:pt x="605" y="440"/>
                </a:lnTo>
                <a:lnTo>
                  <a:pt x="606" y="442"/>
                </a:lnTo>
                <a:lnTo>
                  <a:pt x="608" y="442"/>
                </a:lnTo>
                <a:lnTo>
                  <a:pt x="610" y="444"/>
                </a:lnTo>
                <a:lnTo>
                  <a:pt x="612" y="444"/>
                </a:lnTo>
                <a:lnTo>
                  <a:pt x="613" y="445"/>
                </a:lnTo>
                <a:lnTo>
                  <a:pt x="617" y="447"/>
                </a:lnTo>
                <a:lnTo>
                  <a:pt x="618" y="449"/>
                </a:lnTo>
                <a:lnTo>
                  <a:pt x="618" y="450"/>
                </a:lnTo>
                <a:lnTo>
                  <a:pt x="622" y="452"/>
                </a:lnTo>
                <a:lnTo>
                  <a:pt x="623" y="454"/>
                </a:lnTo>
                <a:lnTo>
                  <a:pt x="625" y="454"/>
                </a:lnTo>
                <a:lnTo>
                  <a:pt x="625" y="456"/>
                </a:lnTo>
                <a:lnTo>
                  <a:pt x="627" y="456"/>
                </a:lnTo>
                <a:lnTo>
                  <a:pt x="629" y="459"/>
                </a:lnTo>
                <a:lnTo>
                  <a:pt x="629" y="461"/>
                </a:lnTo>
                <a:lnTo>
                  <a:pt x="629" y="462"/>
                </a:lnTo>
                <a:lnTo>
                  <a:pt x="630" y="464"/>
                </a:lnTo>
                <a:lnTo>
                  <a:pt x="632" y="466"/>
                </a:lnTo>
                <a:lnTo>
                  <a:pt x="632" y="467"/>
                </a:lnTo>
                <a:lnTo>
                  <a:pt x="630" y="469"/>
                </a:lnTo>
                <a:lnTo>
                  <a:pt x="630" y="473"/>
                </a:lnTo>
                <a:lnTo>
                  <a:pt x="629" y="474"/>
                </a:lnTo>
                <a:lnTo>
                  <a:pt x="627" y="476"/>
                </a:lnTo>
                <a:lnTo>
                  <a:pt x="627" y="478"/>
                </a:lnTo>
                <a:lnTo>
                  <a:pt x="627" y="481"/>
                </a:lnTo>
                <a:lnTo>
                  <a:pt x="627" y="483"/>
                </a:lnTo>
                <a:lnTo>
                  <a:pt x="627" y="484"/>
                </a:lnTo>
                <a:lnTo>
                  <a:pt x="627" y="488"/>
                </a:lnTo>
                <a:lnTo>
                  <a:pt x="627" y="490"/>
                </a:lnTo>
                <a:lnTo>
                  <a:pt x="625" y="491"/>
                </a:lnTo>
                <a:lnTo>
                  <a:pt x="623" y="490"/>
                </a:lnTo>
                <a:lnTo>
                  <a:pt x="620" y="488"/>
                </a:lnTo>
                <a:lnTo>
                  <a:pt x="618" y="488"/>
                </a:lnTo>
                <a:lnTo>
                  <a:pt x="617" y="488"/>
                </a:lnTo>
                <a:lnTo>
                  <a:pt x="615" y="488"/>
                </a:lnTo>
                <a:lnTo>
                  <a:pt x="613" y="486"/>
                </a:lnTo>
                <a:lnTo>
                  <a:pt x="612" y="486"/>
                </a:lnTo>
                <a:lnTo>
                  <a:pt x="610" y="484"/>
                </a:lnTo>
                <a:lnTo>
                  <a:pt x="608" y="483"/>
                </a:lnTo>
                <a:lnTo>
                  <a:pt x="606" y="481"/>
                </a:lnTo>
                <a:lnTo>
                  <a:pt x="605" y="478"/>
                </a:lnTo>
                <a:lnTo>
                  <a:pt x="606" y="478"/>
                </a:lnTo>
                <a:lnTo>
                  <a:pt x="605" y="476"/>
                </a:lnTo>
                <a:lnTo>
                  <a:pt x="603" y="474"/>
                </a:lnTo>
                <a:lnTo>
                  <a:pt x="605" y="473"/>
                </a:lnTo>
                <a:lnTo>
                  <a:pt x="605" y="471"/>
                </a:lnTo>
                <a:lnTo>
                  <a:pt x="603" y="467"/>
                </a:lnTo>
                <a:lnTo>
                  <a:pt x="601" y="467"/>
                </a:lnTo>
                <a:lnTo>
                  <a:pt x="600" y="466"/>
                </a:lnTo>
                <a:lnTo>
                  <a:pt x="600" y="462"/>
                </a:lnTo>
                <a:lnTo>
                  <a:pt x="598" y="461"/>
                </a:lnTo>
                <a:lnTo>
                  <a:pt x="598" y="462"/>
                </a:lnTo>
                <a:lnTo>
                  <a:pt x="598" y="461"/>
                </a:lnTo>
                <a:lnTo>
                  <a:pt x="596" y="459"/>
                </a:lnTo>
                <a:lnTo>
                  <a:pt x="595" y="459"/>
                </a:lnTo>
                <a:lnTo>
                  <a:pt x="593" y="459"/>
                </a:lnTo>
                <a:lnTo>
                  <a:pt x="589" y="459"/>
                </a:lnTo>
                <a:lnTo>
                  <a:pt x="588" y="459"/>
                </a:lnTo>
                <a:lnTo>
                  <a:pt x="584" y="459"/>
                </a:lnTo>
                <a:lnTo>
                  <a:pt x="583" y="459"/>
                </a:lnTo>
                <a:lnTo>
                  <a:pt x="581" y="459"/>
                </a:lnTo>
                <a:lnTo>
                  <a:pt x="579" y="459"/>
                </a:lnTo>
                <a:lnTo>
                  <a:pt x="576" y="461"/>
                </a:lnTo>
                <a:lnTo>
                  <a:pt x="574" y="459"/>
                </a:lnTo>
                <a:lnTo>
                  <a:pt x="572" y="457"/>
                </a:lnTo>
                <a:lnTo>
                  <a:pt x="569" y="457"/>
                </a:lnTo>
                <a:lnTo>
                  <a:pt x="567" y="457"/>
                </a:lnTo>
                <a:lnTo>
                  <a:pt x="566" y="456"/>
                </a:lnTo>
                <a:lnTo>
                  <a:pt x="564" y="456"/>
                </a:lnTo>
                <a:lnTo>
                  <a:pt x="562" y="456"/>
                </a:lnTo>
                <a:lnTo>
                  <a:pt x="561" y="454"/>
                </a:lnTo>
                <a:lnTo>
                  <a:pt x="559" y="454"/>
                </a:lnTo>
                <a:lnTo>
                  <a:pt x="559" y="452"/>
                </a:lnTo>
                <a:lnTo>
                  <a:pt x="561" y="450"/>
                </a:lnTo>
                <a:lnTo>
                  <a:pt x="561" y="449"/>
                </a:lnTo>
                <a:lnTo>
                  <a:pt x="562" y="449"/>
                </a:lnTo>
                <a:lnTo>
                  <a:pt x="564" y="449"/>
                </a:lnTo>
                <a:lnTo>
                  <a:pt x="564" y="447"/>
                </a:lnTo>
                <a:lnTo>
                  <a:pt x="562" y="449"/>
                </a:lnTo>
                <a:lnTo>
                  <a:pt x="561" y="447"/>
                </a:lnTo>
                <a:lnTo>
                  <a:pt x="559" y="449"/>
                </a:lnTo>
                <a:lnTo>
                  <a:pt x="557" y="449"/>
                </a:lnTo>
                <a:lnTo>
                  <a:pt x="557" y="447"/>
                </a:lnTo>
                <a:lnTo>
                  <a:pt x="555" y="447"/>
                </a:lnTo>
                <a:lnTo>
                  <a:pt x="555" y="449"/>
                </a:lnTo>
                <a:lnTo>
                  <a:pt x="554" y="447"/>
                </a:lnTo>
                <a:lnTo>
                  <a:pt x="550" y="447"/>
                </a:lnTo>
                <a:lnTo>
                  <a:pt x="549" y="447"/>
                </a:lnTo>
                <a:lnTo>
                  <a:pt x="547" y="449"/>
                </a:lnTo>
                <a:lnTo>
                  <a:pt x="544" y="450"/>
                </a:lnTo>
                <a:lnTo>
                  <a:pt x="544" y="452"/>
                </a:lnTo>
                <a:lnTo>
                  <a:pt x="542" y="454"/>
                </a:lnTo>
                <a:lnTo>
                  <a:pt x="540" y="456"/>
                </a:lnTo>
                <a:lnTo>
                  <a:pt x="540" y="459"/>
                </a:lnTo>
                <a:lnTo>
                  <a:pt x="538" y="461"/>
                </a:lnTo>
                <a:lnTo>
                  <a:pt x="537" y="464"/>
                </a:lnTo>
                <a:lnTo>
                  <a:pt x="535" y="466"/>
                </a:lnTo>
                <a:lnTo>
                  <a:pt x="535" y="467"/>
                </a:lnTo>
                <a:lnTo>
                  <a:pt x="535" y="471"/>
                </a:lnTo>
                <a:lnTo>
                  <a:pt x="533" y="473"/>
                </a:lnTo>
                <a:lnTo>
                  <a:pt x="532" y="474"/>
                </a:lnTo>
                <a:lnTo>
                  <a:pt x="532" y="476"/>
                </a:lnTo>
                <a:lnTo>
                  <a:pt x="530" y="478"/>
                </a:lnTo>
                <a:lnTo>
                  <a:pt x="528" y="479"/>
                </a:lnTo>
                <a:lnTo>
                  <a:pt x="528" y="483"/>
                </a:lnTo>
                <a:lnTo>
                  <a:pt x="528" y="484"/>
                </a:lnTo>
                <a:lnTo>
                  <a:pt x="530" y="486"/>
                </a:lnTo>
                <a:lnTo>
                  <a:pt x="530" y="488"/>
                </a:lnTo>
                <a:lnTo>
                  <a:pt x="530" y="490"/>
                </a:lnTo>
                <a:lnTo>
                  <a:pt x="530" y="491"/>
                </a:lnTo>
                <a:lnTo>
                  <a:pt x="527" y="493"/>
                </a:lnTo>
                <a:lnTo>
                  <a:pt x="527" y="495"/>
                </a:lnTo>
                <a:lnTo>
                  <a:pt x="527" y="496"/>
                </a:lnTo>
                <a:lnTo>
                  <a:pt x="525" y="496"/>
                </a:lnTo>
                <a:lnTo>
                  <a:pt x="525" y="498"/>
                </a:lnTo>
                <a:lnTo>
                  <a:pt x="523" y="502"/>
                </a:lnTo>
                <a:lnTo>
                  <a:pt x="523" y="503"/>
                </a:lnTo>
                <a:lnTo>
                  <a:pt x="525" y="505"/>
                </a:lnTo>
                <a:lnTo>
                  <a:pt x="527" y="507"/>
                </a:lnTo>
                <a:lnTo>
                  <a:pt x="527" y="508"/>
                </a:lnTo>
                <a:lnTo>
                  <a:pt x="527" y="510"/>
                </a:lnTo>
                <a:lnTo>
                  <a:pt x="528" y="512"/>
                </a:lnTo>
                <a:lnTo>
                  <a:pt x="532" y="513"/>
                </a:lnTo>
                <a:lnTo>
                  <a:pt x="533" y="513"/>
                </a:lnTo>
                <a:lnTo>
                  <a:pt x="535" y="512"/>
                </a:lnTo>
                <a:lnTo>
                  <a:pt x="538" y="513"/>
                </a:lnTo>
                <a:lnTo>
                  <a:pt x="540" y="512"/>
                </a:lnTo>
                <a:lnTo>
                  <a:pt x="542" y="513"/>
                </a:lnTo>
                <a:lnTo>
                  <a:pt x="544" y="513"/>
                </a:lnTo>
                <a:lnTo>
                  <a:pt x="544" y="515"/>
                </a:lnTo>
                <a:lnTo>
                  <a:pt x="547" y="517"/>
                </a:lnTo>
                <a:lnTo>
                  <a:pt x="549" y="519"/>
                </a:lnTo>
                <a:lnTo>
                  <a:pt x="550" y="520"/>
                </a:lnTo>
                <a:lnTo>
                  <a:pt x="552" y="520"/>
                </a:lnTo>
                <a:lnTo>
                  <a:pt x="555" y="520"/>
                </a:lnTo>
                <a:lnTo>
                  <a:pt x="557" y="522"/>
                </a:lnTo>
                <a:lnTo>
                  <a:pt x="557" y="524"/>
                </a:lnTo>
                <a:lnTo>
                  <a:pt x="559" y="525"/>
                </a:lnTo>
                <a:lnTo>
                  <a:pt x="561" y="525"/>
                </a:lnTo>
                <a:lnTo>
                  <a:pt x="564" y="525"/>
                </a:lnTo>
                <a:lnTo>
                  <a:pt x="562" y="527"/>
                </a:lnTo>
                <a:lnTo>
                  <a:pt x="562" y="529"/>
                </a:lnTo>
                <a:lnTo>
                  <a:pt x="561" y="532"/>
                </a:lnTo>
                <a:lnTo>
                  <a:pt x="561" y="534"/>
                </a:lnTo>
                <a:lnTo>
                  <a:pt x="561" y="537"/>
                </a:lnTo>
                <a:lnTo>
                  <a:pt x="562" y="539"/>
                </a:lnTo>
                <a:lnTo>
                  <a:pt x="564" y="539"/>
                </a:lnTo>
                <a:lnTo>
                  <a:pt x="564" y="541"/>
                </a:lnTo>
                <a:lnTo>
                  <a:pt x="564" y="542"/>
                </a:lnTo>
                <a:lnTo>
                  <a:pt x="562" y="544"/>
                </a:lnTo>
                <a:lnTo>
                  <a:pt x="562" y="547"/>
                </a:lnTo>
                <a:lnTo>
                  <a:pt x="562" y="549"/>
                </a:lnTo>
                <a:lnTo>
                  <a:pt x="564" y="549"/>
                </a:lnTo>
                <a:lnTo>
                  <a:pt x="564" y="547"/>
                </a:lnTo>
                <a:lnTo>
                  <a:pt x="564" y="549"/>
                </a:lnTo>
                <a:lnTo>
                  <a:pt x="566" y="551"/>
                </a:lnTo>
                <a:lnTo>
                  <a:pt x="567" y="553"/>
                </a:lnTo>
                <a:lnTo>
                  <a:pt x="569" y="553"/>
                </a:lnTo>
                <a:lnTo>
                  <a:pt x="566" y="554"/>
                </a:lnTo>
                <a:lnTo>
                  <a:pt x="567" y="558"/>
                </a:lnTo>
                <a:lnTo>
                  <a:pt x="566" y="558"/>
                </a:lnTo>
                <a:lnTo>
                  <a:pt x="564" y="561"/>
                </a:lnTo>
                <a:lnTo>
                  <a:pt x="564" y="563"/>
                </a:lnTo>
                <a:lnTo>
                  <a:pt x="562" y="561"/>
                </a:lnTo>
                <a:lnTo>
                  <a:pt x="561" y="561"/>
                </a:lnTo>
                <a:lnTo>
                  <a:pt x="559" y="561"/>
                </a:lnTo>
                <a:lnTo>
                  <a:pt x="557" y="561"/>
                </a:lnTo>
                <a:lnTo>
                  <a:pt x="557" y="559"/>
                </a:lnTo>
                <a:lnTo>
                  <a:pt x="555" y="559"/>
                </a:lnTo>
                <a:lnTo>
                  <a:pt x="554" y="561"/>
                </a:lnTo>
                <a:lnTo>
                  <a:pt x="552" y="561"/>
                </a:lnTo>
                <a:lnTo>
                  <a:pt x="550" y="561"/>
                </a:lnTo>
                <a:lnTo>
                  <a:pt x="549" y="563"/>
                </a:lnTo>
                <a:lnTo>
                  <a:pt x="545" y="564"/>
                </a:lnTo>
                <a:lnTo>
                  <a:pt x="544" y="566"/>
                </a:lnTo>
                <a:lnTo>
                  <a:pt x="542" y="566"/>
                </a:lnTo>
                <a:lnTo>
                  <a:pt x="540" y="568"/>
                </a:lnTo>
                <a:lnTo>
                  <a:pt x="538" y="570"/>
                </a:lnTo>
                <a:lnTo>
                  <a:pt x="537" y="570"/>
                </a:lnTo>
                <a:lnTo>
                  <a:pt x="537" y="571"/>
                </a:lnTo>
                <a:lnTo>
                  <a:pt x="535" y="575"/>
                </a:lnTo>
                <a:lnTo>
                  <a:pt x="535" y="576"/>
                </a:lnTo>
                <a:lnTo>
                  <a:pt x="533" y="578"/>
                </a:lnTo>
                <a:lnTo>
                  <a:pt x="535" y="580"/>
                </a:lnTo>
                <a:lnTo>
                  <a:pt x="535" y="583"/>
                </a:lnTo>
                <a:lnTo>
                  <a:pt x="535" y="585"/>
                </a:lnTo>
                <a:lnTo>
                  <a:pt x="537" y="587"/>
                </a:lnTo>
                <a:lnTo>
                  <a:pt x="537" y="588"/>
                </a:lnTo>
                <a:lnTo>
                  <a:pt x="537" y="592"/>
                </a:lnTo>
                <a:lnTo>
                  <a:pt x="537" y="593"/>
                </a:lnTo>
                <a:lnTo>
                  <a:pt x="537" y="595"/>
                </a:lnTo>
                <a:lnTo>
                  <a:pt x="537" y="598"/>
                </a:lnTo>
                <a:lnTo>
                  <a:pt x="537" y="600"/>
                </a:lnTo>
                <a:lnTo>
                  <a:pt x="533" y="604"/>
                </a:lnTo>
                <a:lnTo>
                  <a:pt x="532" y="605"/>
                </a:lnTo>
                <a:lnTo>
                  <a:pt x="530" y="607"/>
                </a:lnTo>
                <a:lnTo>
                  <a:pt x="528" y="607"/>
                </a:lnTo>
                <a:lnTo>
                  <a:pt x="527" y="609"/>
                </a:lnTo>
                <a:lnTo>
                  <a:pt x="525" y="609"/>
                </a:lnTo>
                <a:lnTo>
                  <a:pt x="523" y="610"/>
                </a:lnTo>
                <a:lnTo>
                  <a:pt x="523" y="612"/>
                </a:lnTo>
                <a:lnTo>
                  <a:pt x="521" y="614"/>
                </a:lnTo>
                <a:lnTo>
                  <a:pt x="521" y="615"/>
                </a:lnTo>
                <a:lnTo>
                  <a:pt x="520" y="617"/>
                </a:lnTo>
                <a:lnTo>
                  <a:pt x="518" y="619"/>
                </a:lnTo>
                <a:lnTo>
                  <a:pt x="516" y="622"/>
                </a:lnTo>
                <a:lnTo>
                  <a:pt x="516" y="624"/>
                </a:lnTo>
                <a:lnTo>
                  <a:pt x="516" y="627"/>
                </a:lnTo>
                <a:lnTo>
                  <a:pt x="516" y="629"/>
                </a:lnTo>
                <a:lnTo>
                  <a:pt x="515" y="632"/>
                </a:lnTo>
                <a:lnTo>
                  <a:pt x="515" y="634"/>
                </a:lnTo>
                <a:lnTo>
                  <a:pt x="513" y="636"/>
                </a:lnTo>
                <a:lnTo>
                  <a:pt x="511" y="638"/>
                </a:lnTo>
                <a:lnTo>
                  <a:pt x="510" y="638"/>
                </a:lnTo>
                <a:lnTo>
                  <a:pt x="508" y="638"/>
                </a:lnTo>
                <a:lnTo>
                  <a:pt x="506" y="638"/>
                </a:lnTo>
                <a:lnTo>
                  <a:pt x="504" y="638"/>
                </a:lnTo>
                <a:lnTo>
                  <a:pt x="501" y="638"/>
                </a:lnTo>
                <a:lnTo>
                  <a:pt x="499" y="639"/>
                </a:lnTo>
                <a:lnTo>
                  <a:pt x="498" y="639"/>
                </a:lnTo>
                <a:lnTo>
                  <a:pt x="494" y="639"/>
                </a:lnTo>
                <a:lnTo>
                  <a:pt x="493" y="639"/>
                </a:lnTo>
                <a:lnTo>
                  <a:pt x="493" y="638"/>
                </a:lnTo>
                <a:lnTo>
                  <a:pt x="491" y="638"/>
                </a:lnTo>
                <a:lnTo>
                  <a:pt x="489" y="636"/>
                </a:lnTo>
                <a:lnTo>
                  <a:pt x="487" y="634"/>
                </a:lnTo>
                <a:lnTo>
                  <a:pt x="487" y="632"/>
                </a:lnTo>
                <a:lnTo>
                  <a:pt x="487" y="631"/>
                </a:lnTo>
                <a:lnTo>
                  <a:pt x="487" y="629"/>
                </a:lnTo>
                <a:lnTo>
                  <a:pt x="486" y="627"/>
                </a:lnTo>
                <a:lnTo>
                  <a:pt x="487" y="626"/>
                </a:lnTo>
                <a:lnTo>
                  <a:pt x="487" y="624"/>
                </a:lnTo>
                <a:lnTo>
                  <a:pt x="487" y="622"/>
                </a:lnTo>
                <a:lnTo>
                  <a:pt x="486" y="621"/>
                </a:lnTo>
                <a:lnTo>
                  <a:pt x="486" y="617"/>
                </a:lnTo>
                <a:lnTo>
                  <a:pt x="487" y="615"/>
                </a:lnTo>
                <a:lnTo>
                  <a:pt x="491" y="615"/>
                </a:lnTo>
                <a:lnTo>
                  <a:pt x="493" y="614"/>
                </a:lnTo>
                <a:lnTo>
                  <a:pt x="494" y="612"/>
                </a:lnTo>
                <a:lnTo>
                  <a:pt x="496" y="612"/>
                </a:lnTo>
                <a:lnTo>
                  <a:pt x="496" y="609"/>
                </a:lnTo>
                <a:lnTo>
                  <a:pt x="496" y="607"/>
                </a:lnTo>
                <a:lnTo>
                  <a:pt x="498" y="605"/>
                </a:lnTo>
                <a:lnTo>
                  <a:pt x="498" y="604"/>
                </a:lnTo>
                <a:lnTo>
                  <a:pt x="498" y="602"/>
                </a:lnTo>
                <a:lnTo>
                  <a:pt x="499" y="600"/>
                </a:lnTo>
                <a:lnTo>
                  <a:pt x="501" y="598"/>
                </a:lnTo>
                <a:lnTo>
                  <a:pt x="499" y="600"/>
                </a:lnTo>
                <a:lnTo>
                  <a:pt x="499" y="598"/>
                </a:lnTo>
                <a:lnTo>
                  <a:pt x="499" y="597"/>
                </a:lnTo>
                <a:lnTo>
                  <a:pt x="501" y="593"/>
                </a:lnTo>
                <a:lnTo>
                  <a:pt x="499" y="592"/>
                </a:lnTo>
                <a:lnTo>
                  <a:pt x="498" y="592"/>
                </a:lnTo>
                <a:lnTo>
                  <a:pt x="496" y="590"/>
                </a:lnTo>
                <a:lnTo>
                  <a:pt x="496" y="588"/>
                </a:lnTo>
                <a:lnTo>
                  <a:pt x="494" y="588"/>
                </a:lnTo>
                <a:lnTo>
                  <a:pt x="494" y="587"/>
                </a:lnTo>
                <a:lnTo>
                  <a:pt x="496" y="585"/>
                </a:lnTo>
                <a:lnTo>
                  <a:pt x="498" y="585"/>
                </a:lnTo>
                <a:lnTo>
                  <a:pt x="498" y="583"/>
                </a:lnTo>
                <a:lnTo>
                  <a:pt x="499" y="583"/>
                </a:lnTo>
                <a:lnTo>
                  <a:pt x="501" y="583"/>
                </a:lnTo>
                <a:lnTo>
                  <a:pt x="503" y="580"/>
                </a:lnTo>
                <a:lnTo>
                  <a:pt x="506" y="580"/>
                </a:lnTo>
                <a:lnTo>
                  <a:pt x="510" y="580"/>
                </a:lnTo>
                <a:lnTo>
                  <a:pt x="511" y="580"/>
                </a:lnTo>
                <a:lnTo>
                  <a:pt x="513" y="578"/>
                </a:lnTo>
                <a:lnTo>
                  <a:pt x="513" y="576"/>
                </a:lnTo>
                <a:lnTo>
                  <a:pt x="515" y="575"/>
                </a:lnTo>
                <a:lnTo>
                  <a:pt x="515" y="573"/>
                </a:lnTo>
                <a:lnTo>
                  <a:pt x="515" y="570"/>
                </a:lnTo>
                <a:lnTo>
                  <a:pt x="515" y="568"/>
                </a:lnTo>
                <a:lnTo>
                  <a:pt x="515" y="566"/>
                </a:lnTo>
                <a:lnTo>
                  <a:pt x="515" y="564"/>
                </a:lnTo>
                <a:lnTo>
                  <a:pt x="513" y="564"/>
                </a:lnTo>
                <a:lnTo>
                  <a:pt x="511" y="563"/>
                </a:lnTo>
                <a:lnTo>
                  <a:pt x="510" y="561"/>
                </a:lnTo>
                <a:lnTo>
                  <a:pt x="510" y="559"/>
                </a:lnTo>
                <a:lnTo>
                  <a:pt x="508" y="558"/>
                </a:lnTo>
                <a:lnTo>
                  <a:pt x="506" y="554"/>
                </a:lnTo>
                <a:lnTo>
                  <a:pt x="506" y="553"/>
                </a:lnTo>
                <a:lnTo>
                  <a:pt x="504" y="551"/>
                </a:lnTo>
                <a:lnTo>
                  <a:pt x="504" y="549"/>
                </a:lnTo>
                <a:lnTo>
                  <a:pt x="504" y="546"/>
                </a:lnTo>
                <a:lnTo>
                  <a:pt x="503" y="544"/>
                </a:lnTo>
                <a:lnTo>
                  <a:pt x="503" y="542"/>
                </a:lnTo>
                <a:lnTo>
                  <a:pt x="503" y="539"/>
                </a:lnTo>
                <a:lnTo>
                  <a:pt x="503" y="537"/>
                </a:lnTo>
                <a:lnTo>
                  <a:pt x="501" y="536"/>
                </a:lnTo>
                <a:lnTo>
                  <a:pt x="501" y="534"/>
                </a:lnTo>
                <a:lnTo>
                  <a:pt x="499" y="530"/>
                </a:lnTo>
                <a:lnTo>
                  <a:pt x="498" y="527"/>
                </a:lnTo>
                <a:lnTo>
                  <a:pt x="496" y="527"/>
                </a:lnTo>
                <a:lnTo>
                  <a:pt x="496" y="525"/>
                </a:lnTo>
                <a:lnTo>
                  <a:pt x="494" y="524"/>
                </a:lnTo>
                <a:lnTo>
                  <a:pt x="493" y="522"/>
                </a:lnTo>
                <a:lnTo>
                  <a:pt x="491" y="522"/>
                </a:lnTo>
                <a:lnTo>
                  <a:pt x="491" y="519"/>
                </a:lnTo>
                <a:lnTo>
                  <a:pt x="491" y="517"/>
                </a:lnTo>
                <a:lnTo>
                  <a:pt x="489" y="517"/>
                </a:lnTo>
                <a:lnTo>
                  <a:pt x="489" y="513"/>
                </a:lnTo>
                <a:lnTo>
                  <a:pt x="487" y="513"/>
                </a:lnTo>
                <a:lnTo>
                  <a:pt x="487" y="510"/>
                </a:lnTo>
                <a:lnTo>
                  <a:pt x="487" y="508"/>
                </a:lnTo>
                <a:lnTo>
                  <a:pt x="486" y="505"/>
                </a:lnTo>
                <a:lnTo>
                  <a:pt x="486" y="503"/>
                </a:lnTo>
                <a:lnTo>
                  <a:pt x="484" y="502"/>
                </a:lnTo>
                <a:lnTo>
                  <a:pt x="486" y="500"/>
                </a:lnTo>
                <a:lnTo>
                  <a:pt x="484" y="498"/>
                </a:lnTo>
                <a:lnTo>
                  <a:pt x="482" y="496"/>
                </a:lnTo>
                <a:lnTo>
                  <a:pt x="482" y="495"/>
                </a:lnTo>
                <a:lnTo>
                  <a:pt x="481" y="493"/>
                </a:lnTo>
                <a:lnTo>
                  <a:pt x="479" y="490"/>
                </a:lnTo>
                <a:lnTo>
                  <a:pt x="477" y="488"/>
                </a:lnTo>
                <a:lnTo>
                  <a:pt x="476" y="486"/>
                </a:lnTo>
                <a:lnTo>
                  <a:pt x="476" y="484"/>
                </a:lnTo>
                <a:lnTo>
                  <a:pt x="472" y="484"/>
                </a:lnTo>
                <a:lnTo>
                  <a:pt x="470" y="486"/>
                </a:lnTo>
                <a:lnTo>
                  <a:pt x="469" y="486"/>
                </a:lnTo>
                <a:lnTo>
                  <a:pt x="467" y="488"/>
                </a:lnTo>
                <a:lnTo>
                  <a:pt x="465" y="490"/>
                </a:lnTo>
                <a:lnTo>
                  <a:pt x="465" y="491"/>
                </a:lnTo>
                <a:lnTo>
                  <a:pt x="464" y="491"/>
                </a:lnTo>
                <a:lnTo>
                  <a:pt x="460" y="491"/>
                </a:lnTo>
                <a:lnTo>
                  <a:pt x="459" y="490"/>
                </a:lnTo>
                <a:lnTo>
                  <a:pt x="455" y="490"/>
                </a:lnTo>
                <a:lnTo>
                  <a:pt x="457" y="490"/>
                </a:lnTo>
                <a:lnTo>
                  <a:pt x="455" y="486"/>
                </a:lnTo>
                <a:lnTo>
                  <a:pt x="453" y="484"/>
                </a:lnTo>
                <a:lnTo>
                  <a:pt x="452" y="483"/>
                </a:lnTo>
                <a:lnTo>
                  <a:pt x="450" y="483"/>
                </a:lnTo>
                <a:lnTo>
                  <a:pt x="448" y="481"/>
                </a:lnTo>
                <a:lnTo>
                  <a:pt x="447" y="479"/>
                </a:lnTo>
                <a:lnTo>
                  <a:pt x="443" y="481"/>
                </a:lnTo>
                <a:lnTo>
                  <a:pt x="442" y="481"/>
                </a:lnTo>
                <a:lnTo>
                  <a:pt x="442" y="479"/>
                </a:lnTo>
                <a:lnTo>
                  <a:pt x="440" y="478"/>
                </a:lnTo>
                <a:lnTo>
                  <a:pt x="436" y="478"/>
                </a:lnTo>
                <a:lnTo>
                  <a:pt x="435" y="476"/>
                </a:lnTo>
                <a:lnTo>
                  <a:pt x="436" y="474"/>
                </a:lnTo>
                <a:lnTo>
                  <a:pt x="436" y="471"/>
                </a:lnTo>
                <a:lnTo>
                  <a:pt x="436" y="469"/>
                </a:lnTo>
                <a:lnTo>
                  <a:pt x="438" y="469"/>
                </a:lnTo>
                <a:lnTo>
                  <a:pt x="440" y="467"/>
                </a:lnTo>
                <a:lnTo>
                  <a:pt x="440" y="466"/>
                </a:lnTo>
                <a:lnTo>
                  <a:pt x="438" y="462"/>
                </a:lnTo>
                <a:lnTo>
                  <a:pt x="436" y="459"/>
                </a:lnTo>
                <a:lnTo>
                  <a:pt x="435" y="459"/>
                </a:lnTo>
                <a:lnTo>
                  <a:pt x="435" y="457"/>
                </a:lnTo>
                <a:lnTo>
                  <a:pt x="435" y="456"/>
                </a:lnTo>
                <a:lnTo>
                  <a:pt x="433" y="456"/>
                </a:lnTo>
                <a:lnTo>
                  <a:pt x="433" y="454"/>
                </a:lnTo>
                <a:lnTo>
                  <a:pt x="431" y="450"/>
                </a:lnTo>
                <a:lnTo>
                  <a:pt x="430" y="450"/>
                </a:lnTo>
                <a:lnTo>
                  <a:pt x="428" y="447"/>
                </a:lnTo>
                <a:lnTo>
                  <a:pt x="426" y="447"/>
                </a:lnTo>
                <a:lnTo>
                  <a:pt x="425" y="445"/>
                </a:lnTo>
                <a:lnTo>
                  <a:pt x="425" y="447"/>
                </a:lnTo>
                <a:lnTo>
                  <a:pt x="425" y="445"/>
                </a:lnTo>
                <a:lnTo>
                  <a:pt x="425" y="447"/>
                </a:lnTo>
                <a:lnTo>
                  <a:pt x="423" y="447"/>
                </a:lnTo>
                <a:lnTo>
                  <a:pt x="421" y="449"/>
                </a:lnTo>
                <a:lnTo>
                  <a:pt x="418" y="449"/>
                </a:lnTo>
                <a:lnTo>
                  <a:pt x="416" y="450"/>
                </a:lnTo>
                <a:lnTo>
                  <a:pt x="414" y="450"/>
                </a:lnTo>
                <a:lnTo>
                  <a:pt x="413" y="452"/>
                </a:lnTo>
                <a:lnTo>
                  <a:pt x="411" y="450"/>
                </a:lnTo>
                <a:lnTo>
                  <a:pt x="409" y="450"/>
                </a:lnTo>
                <a:lnTo>
                  <a:pt x="408" y="452"/>
                </a:lnTo>
                <a:lnTo>
                  <a:pt x="406" y="452"/>
                </a:lnTo>
                <a:lnTo>
                  <a:pt x="404" y="452"/>
                </a:lnTo>
                <a:lnTo>
                  <a:pt x="402" y="454"/>
                </a:lnTo>
                <a:lnTo>
                  <a:pt x="402" y="456"/>
                </a:lnTo>
                <a:lnTo>
                  <a:pt x="401" y="454"/>
                </a:lnTo>
                <a:lnTo>
                  <a:pt x="402" y="450"/>
                </a:lnTo>
                <a:lnTo>
                  <a:pt x="404" y="450"/>
                </a:lnTo>
                <a:lnTo>
                  <a:pt x="406" y="450"/>
                </a:lnTo>
                <a:lnTo>
                  <a:pt x="406" y="449"/>
                </a:lnTo>
                <a:lnTo>
                  <a:pt x="408" y="447"/>
                </a:lnTo>
                <a:lnTo>
                  <a:pt x="408" y="445"/>
                </a:lnTo>
                <a:lnTo>
                  <a:pt x="409" y="445"/>
                </a:lnTo>
                <a:lnTo>
                  <a:pt x="409" y="444"/>
                </a:lnTo>
                <a:lnTo>
                  <a:pt x="409" y="442"/>
                </a:lnTo>
                <a:lnTo>
                  <a:pt x="408" y="442"/>
                </a:lnTo>
                <a:lnTo>
                  <a:pt x="404" y="440"/>
                </a:lnTo>
                <a:lnTo>
                  <a:pt x="402" y="440"/>
                </a:lnTo>
                <a:lnTo>
                  <a:pt x="401" y="437"/>
                </a:lnTo>
                <a:lnTo>
                  <a:pt x="399" y="435"/>
                </a:lnTo>
                <a:lnTo>
                  <a:pt x="397" y="435"/>
                </a:lnTo>
                <a:lnTo>
                  <a:pt x="397" y="437"/>
                </a:lnTo>
                <a:lnTo>
                  <a:pt x="396" y="437"/>
                </a:lnTo>
                <a:lnTo>
                  <a:pt x="394" y="439"/>
                </a:lnTo>
                <a:lnTo>
                  <a:pt x="392" y="440"/>
                </a:lnTo>
                <a:lnTo>
                  <a:pt x="392" y="439"/>
                </a:lnTo>
                <a:lnTo>
                  <a:pt x="389" y="437"/>
                </a:lnTo>
                <a:lnTo>
                  <a:pt x="387" y="439"/>
                </a:lnTo>
                <a:lnTo>
                  <a:pt x="389" y="440"/>
                </a:lnTo>
                <a:lnTo>
                  <a:pt x="385" y="440"/>
                </a:lnTo>
                <a:lnTo>
                  <a:pt x="385" y="437"/>
                </a:lnTo>
                <a:lnTo>
                  <a:pt x="385" y="435"/>
                </a:lnTo>
                <a:lnTo>
                  <a:pt x="385" y="433"/>
                </a:lnTo>
                <a:lnTo>
                  <a:pt x="384" y="432"/>
                </a:lnTo>
                <a:lnTo>
                  <a:pt x="384" y="428"/>
                </a:lnTo>
                <a:lnTo>
                  <a:pt x="382" y="427"/>
                </a:lnTo>
                <a:lnTo>
                  <a:pt x="380" y="427"/>
                </a:lnTo>
                <a:lnTo>
                  <a:pt x="379" y="425"/>
                </a:lnTo>
                <a:lnTo>
                  <a:pt x="379" y="423"/>
                </a:lnTo>
                <a:lnTo>
                  <a:pt x="377" y="420"/>
                </a:lnTo>
                <a:lnTo>
                  <a:pt x="377" y="418"/>
                </a:lnTo>
                <a:lnTo>
                  <a:pt x="375" y="416"/>
                </a:lnTo>
                <a:lnTo>
                  <a:pt x="374" y="415"/>
                </a:lnTo>
                <a:lnTo>
                  <a:pt x="372" y="413"/>
                </a:lnTo>
                <a:lnTo>
                  <a:pt x="370" y="411"/>
                </a:lnTo>
                <a:lnTo>
                  <a:pt x="368" y="410"/>
                </a:lnTo>
                <a:lnTo>
                  <a:pt x="367" y="408"/>
                </a:lnTo>
                <a:lnTo>
                  <a:pt x="365" y="408"/>
                </a:lnTo>
                <a:lnTo>
                  <a:pt x="363" y="408"/>
                </a:lnTo>
                <a:lnTo>
                  <a:pt x="362" y="408"/>
                </a:lnTo>
                <a:lnTo>
                  <a:pt x="358" y="410"/>
                </a:lnTo>
                <a:lnTo>
                  <a:pt x="358" y="411"/>
                </a:lnTo>
                <a:lnTo>
                  <a:pt x="360" y="411"/>
                </a:lnTo>
                <a:lnTo>
                  <a:pt x="358" y="411"/>
                </a:lnTo>
                <a:lnTo>
                  <a:pt x="357" y="411"/>
                </a:lnTo>
                <a:lnTo>
                  <a:pt x="355" y="411"/>
                </a:lnTo>
                <a:lnTo>
                  <a:pt x="355" y="410"/>
                </a:lnTo>
                <a:lnTo>
                  <a:pt x="353" y="410"/>
                </a:lnTo>
                <a:lnTo>
                  <a:pt x="351" y="408"/>
                </a:lnTo>
                <a:lnTo>
                  <a:pt x="350" y="408"/>
                </a:lnTo>
                <a:lnTo>
                  <a:pt x="348" y="406"/>
                </a:lnTo>
                <a:lnTo>
                  <a:pt x="346" y="406"/>
                </a:lnTo>
                <a:lnTo>
                  <a:pt x="343" y="406"/>
                </a:lnTo>
                <a:lnTo>
                  <a:pt x="341" y="406"/>
                </a:lnTo>
                <a:lnTo>
                  <a:pt x="340" y="408"/>
                </a:lnTo>
                <a:lnTo>
                  <a:pt x="336" y="408"/>
                </a:lnTo>
                <a:lnTo>
                  <a:pt x="334" y="410"/>
                </a:lnTo>
                <a:lnTo>
                  <a:pt x="333" y="411"/>
                </a:lnTo>
                <a:lnTo>
                  <a:pt x="331" y="411"/>
                </a:lnTo>
                <a:lnTo>
                  <a:pt x="329" y="411"/>
                </a:lnTo>
                <a:lnTo>
                  <a:pt x="329" y="408"/>
                </a:lnTo>
                <a:lnTo>
                  <a:pt x="328" y="406"/>
                </a:lnTo>
                <a:lnTo>
                  <a:pt x="328" y="405"/>
                </a:lnTo>
                <a:lnTo>
                  <a:pt x="326" y="403"/>
                </a:lnTo>
                <a:lnTo>
                  <a:pt x="324" y="401"/>
                </a:lnTo>
                <a:lnTo>
                  <a:pt x="323" y="399"/>
                </a:lnTo>
                <a:lnTo>
                  <a:pt x="319" y="399"/>
                </a:lnTo>
                <a:lnTo>
                  <a:pt x="317" y="399"/>
                </a:lnTo>
                <a:lnTo>
                  <a:pt x="316" y="398"/>
                </a:lnTo>
                <a:lnTo>
                  <a:pt x="316" y="399"/>
                </a:lnTo>
                <a:lnTo>
                  <a:pt x="312" y="398"/>
                </a:lnTo>
                <a:lnTo>
                  <a:pt x="311" y="396"/>
                </a:lnTo>
                <a:lnTo>
                  <a:pt x="309" y="396"/>
                </a:lnTo>
                <a:lnTo>
                  <a:pt x="307" y="398"/>
                </a:lnTo>
                <a:lnTo>
                  <a:pt x="307" y="396"/>
                </a:lnTo>
                <a:lnTo>
                  <a:pt x="306" y="394"/>
                </a:lnTo>
                <a:lnTo>
                  <a:pt x="306" y="393"/>
                </a:lnTo>
                <a:lnTo>
                  <a:pt x="304" y="391"/>
                </a:lnTo>
                <a:lnTo>
                  <a:pt x="302" y="389"/>
                </a:lnTo>
                <a:lnTo>
                  <a:pt x="300" y="388"/>
                </a:lnTo>
                <a:lnTo>
                  <a:pt x="300" y="386"/>
                </a:lnTo>
                <a:lnTo>
                  <a:pt x="299" y="384"/>
                </a:lnTo>
                <a:lnTo>
                  <a:pt x="297" y="382"/>
                </a:lnTo>
                <a:lnTo>
                  <a:pt x="295" y="382"/>
                </a:lnTo>
                <a:lnTo>
                  <a:pt x="294" y="381"/>
                </a:lnTo>
                <a:lnTo>
                  <a:pt x="292" y="379"/>
                </a:lnTo>
                <a:lnTo>
                  <a:pt x="290" y="379"/>
                </a:lnTo>
                <a:lnTo>
                  <a:pt x="289" y="377"/>
                </a:lnTo>
                <a:lnTo>
                  <a:pt x="287" y="377"/>
                </a:lnTo>
                <a:lnTo>
                  <a:pt x="287" y="376"/>
                </a:lnTo>
                <a:lnTo>
                  <a:pt x="285" y="376"/>
                </a:lnTo>
                <a:lnTo>
                  <a:pt x="285" y="374"/>
                </a:lnTo>
                <a:lnTo>
                  <a:pt x="285" y="372"/>
                </a:lnTo>
                <a:lnTo>
                  <a:pt x="283" y="371"/>
                </a:lnTo>
                <a:lnTo>
                  <a:pt x="283" y="369"/>
                </a:lnTo>
                <a:lnTo>
                  <a:pt x="282" y="365"/>
                </a:lnTo>
                <a:lnTo>
                  <a:pt x="280" y="364"/>
                </a:lnTo>
                <a:lnTo>
                  <a:pt x="278" y="364"/>
                </a:lnTo>
                <a:lnTo>
                  <a:pt x="277" y="362"/>
                </a:lnTo>
                <a:lnTo>
                  <a:pt x="275" y="360"/>
                </a:lnTo>
                <a:lnTo>
                  <a:pt x="272" y="359"/>
                </a:lnTo>
                <a:lnTo>
                  <a:pt x="272" y="357"/>
                </a:lnTo>
                <a:lnTo>
                  <a:pt x="268" y="355"/>
                </a:lnTo>
                <a:lnTo>
                  <a:pt x="266" y="357"/>
                </a:lnTo>
                <a:lnTo>
                  <a:pt x="265" y="357"/>
                </a:lnTo>
                <a:lnTo>
                  <a:pt x="263" y="354"/>
                </a:lnTo>
                <a:lnTo>
                  <a:pt x="261" y="352"/>
                </a:lnTo>
                <a:lnTo>
                  <a:pt x="260" y="348"/>
                </a:lnTo>
                <a:lnTo>
                  <a:pt x="260" y="347"/>
                </a:lnTo>
                <a:lnTo>
                  <a:pt x="258" y="345"/>
                </a:lnTo>
                <a:lnTo>
                  <a:pt x="258" y="343"/>
                </a:lnTo>
                <a:lnTo>
                  <a:pt x="256" y="342"/>
                </a:lnTo>
                <a:lnTo>
                  <a:pt x="255" y="340"/>
                </a:lnTo>
                <a:lnTo>
                  <a:pt x="253" y="338"/>
                </a:lnTo>
                <a:lnTo>
                  <a:pt x="251" y="337"/>
                </a:lnTo>
                <a:lnTo>
                  <a:pt x="249" y="335"/>
                </a:lnTo>
                <a:lnTo>
                  <a:pt x="248" y="333"/>
                </a:lnTo>
                <a:lnTo>
                  <a:pt x="246" y="333"/>
                </a:lnTo>
                <a:lnTo>
                  <a:pt x="244" y="333"/>
                </a:lnTo>
                <a:lnTo>
                  <a:pt x="243" y="331"/>
                </a:lnTo>
                <a:lnTo>
                  <a:pt x="239" y="331"/>
                </a:lnTo>
                <a:lnTo>
                  <a:pt x="236" y="330"/>
                </a:lnTo>
                <a:lnTo>
                  <a:pt x="236" y="331"/>
                </a:lnTo>
                <a:lnTo>
                  <a:pt x="234" y="330"/>
                </a:lnTo>
                <a:lnTo>
                  <a:pt x="232" y="330"/>
                </a:lnTo>
                <a:lnTo>
                  <a:pt x="231" y="330"/>
                </a:lnTo>
                <a:lnTo>
                  <a:pt x="231" y="331"/>
                </a:lnTo>
                <a:lnTo>
                  <a:pt x="229" y="333"/>
                </a:lnTo>
                <a:lnTo>
                  <a:pt x="227" y="333"/>
                </a:lnTo>
                <a:lnTo>
                  <a:pt x="226" y="331"/>
                </a:lnTo>
                <a:lnTo>
                  <a:pt x="224" y="330"/>
                </a:lnTo>
                <a:lnTo>
                  <a:pt x="226" y="328"/>
                </a:lnTo>
                <a:lnTo>
                  <a:pt x="229" y="328"/>
                </a:lnTo>
                <a:lnTo>
                  <a:pt x="229" y="326"/>
                </a:lnTo>
                <a:lnTo>
                  <a:pt x="231" y="325"/>
                </a:lnTo>
                <a:lnTo>
                  <a:pt x="229" y="321"/>
                </a:lnTo>
                <a:lnTo>
                  <a:pt x="227" y="319"/>
                </a:lnTo>
                <a:lnTo>
                  <a:pt x="226" y="319"/>
                </a:lnTo>
                <a:lnTo>
                  <a:pt x="226" y="318"/>
                </a:lnTo>
                <a:lnTo>
                  <a:pt x="226" y="316"/>
                </a:lnTo>
                <a:lnTo>
                  <a:pt x="224" y="316"/>
                </a:lnTo>
                <a:lnTo>
                  <a:pt x="224" y="314"/>
                </a:lnTo>
                <a:lnTo>
                  <a:pt x="221" y="313"/>
                </a:lnTo>
                <a:lnTo>
                  <a:pt x="219" y="309"/>
                </a:lnTo>
                <a:lnTo>
                  <a:pt x="217" y="308"/>
                </a:lnTo>
                <a:lnTo>
                  <a:pt x="215" y="306"/>
                </a:lnTo>
                <a:lnTo>
                  <a:pt x="214" y="306"/>
                </a:lnTo>
                <a:lnTo>
                  <a:pt x="212" y="306"/>
                </a:lnTo>
                <a:lnTo>
                  <a:pt x="209" y="304"/>
                </a:lnTo>
                <a:lnTo>
                  <a:pt x="207" y="302"/>
                </a:lnTo>
                <a:lnTo>
                  <a:pt x="205" y="302"/>
                </a:lnTo>
                <a:lnTo>
                  <a:pt x="209" y="301"/>
                </a:lnTo>
                <a:lnTo>
                  <a:pt x="207" y="297"/>
                </a:lnTo>
                <a:lnTo>
                  <a:pt x="209" y="297"/>
                </a:lnTo>
                <a:lnTo>
                  <a:pt x="209" y="296"/>
                </a:lnTo>
                <a:lnTo>
                  <a:pt x="207" y="294"/>
                </a:lnTo>
                <a:lnTo>
                  <a:pt x="205" y="292"/>
                </a:lnTo>
                <a:lnTo>
                  <a:pt x="204" y="292"/>
                </a:lnTo>
                <a:lnTo>
                  <a:pt x="202" y="292"/>
                </a:lnTo>
                <a:lnTo>
                  <a:pt x="198" y="292"/>
                </a:lnTo>
                <a:lnTo>
                  <a:pt x="197" y="292"/>
                </a:lnTo>
                <a:lnTo>
                  <a:pt x="195" y="294"/>
                </a:lnTo>
                <a:lnTo>
                  <a:pt x="193" y="294"/>
                </a:lnTo>
                <a:lnTo>
                  <a:pt x="193" y="291"/>
                </a:lnTo>
                <a:lnTo>
                  <a:pt x="195" y="289"/>
                </a:lnTo>
                <a:lnTo>
                  <a:pt x="193" y="289"/>
                </a:lnTo>
                <a:lnTo>
                  <a:pt x="195" y="287"/>
                </a:lnTo>
                <a:lnTo>
                  <a:pt x="195" y="285"/>
                </a:lnTo>
                <a:lnTo>
                  <a:pt x="195" y="282"/>
                </a:lnTo>
                <a:lnTo>
                  <a:pt x="195" y="280"/>
                </a:lnTo>
                <a:lnTo>
                  <a:pt x="195" y="277"/>
                </a:lnTo>
                <a:lnTo>
                  <a:pt x="195" y="275"/>
                </a:lnTo>
                <a:lnTo>
                  <a:pt x="195" y="272"/>
                </a:lnTo>
                <a:lnTo>
                  <a:pt x="193" y="268"/>
                </a:lnTo>
                <a:lnTo>
                  <a:pt x="192" y="267"/>
                </a:lnTo>
                <a:lnTo>
                  <a:pt x="190" y="263"/>
                </a:lnTo>
                <a:lnTo>
                  <a:pt x="190" y="260"/>
                </a:lnTo>
                <a:lnTo>
                  <a:pt x="188" y="260"/>
                </a:lnTo>
                <a:lnTo>
                  <a:pt x="188" y="258"/>
                </a:lnTo>
                <a:lnTo>
                  <a:pt x="187" y="258"/>
                </a:lnTo>
                <a:lnTo>
                  <a:pt x="187" y="257"/>
                </a:lnTo>
                <a:lnTo>
                  <a:pt x="185" y="255"/>
                </a:lnTo>
                <a:lnTo>
                  <a:pt x="183" y="253"/>
                </a:lnTo>
                <a:lnTo>
                  <a:pt x="183" y="250"/>
                </a:lnTo>
                <a:lnTo>
                  <a:pt x="185" y="248"/>
                </a:lnTo>
                <a:lnTo>
                  <a:pt x="183" y="248"/>
                </a:lnTo>
                <a:lnTo>
                  <a:pt x="183" y="250"/>
                </a:lnTo>
                <a:lnTo>
                  <a:pt x="183" y="248"/>
                </a:lnTo>
                <a:lnTo>
                  <a:pt x="183" y="246"/>
                </a:lnTo>
                <a:lnTo>
                  <a:pt x="183" y="245"/>
                </a:lnTo>
                <a:lnTo>
                  <a:pt x="181" y="243"/>
                </a:lnTo>
                <a:lnTo>
                  <a:pt x="181" y="241"/>
                </a:lnTo>
                <a:lnTo>
                  <a:pt x="181" y="238"/>
                </a:lnTo>
                <a:lnTo>
                  <a:pt x="181" y="236"/>
                </a:lnTo>
                <a:lnTo>
                  <a:pt x="181" y="234"/>
                </a:lnTo>
                <a:lnTo>
                  <a:pt x="181" y="233"/>
                </a:lnTo>
                <a:lnTo>
                  <a:pt x="181" y="231"/>
                </a:lnTo>
                <a:lnTo>
                  <a:pt x="180" y="229"/>
                </a:lnTo>
                <a:lnTo>
                  <a:pt x="180" y="228"/>
                </a:lnTo>
                <a:lnTo>
                  <a:pt x="178" y="224"/>
                </a:lnTo>
                <a:lnTo>
                  <a:pt x="178" y="223"/>
                </a:lnTo>
                <a:lnTo>
                  <a:pt x="176" y="221"/>
                </a:lnTo>
                <a:lnTo>
                  <a:pt x="175" y="219"/>
                </a:lnTo>
                <a:lnTo>
                  <a:pt x="173" y="217"/>
                </a:lnTo>
                <a:lnTo>
                  <a:pt x="171" y="216"/>
                </a:lnTo>
                <a:lnTo>
                  <a:pt x="170" y="216"/>
                </a:lnTo>
                <a:lnTo>
                  <a:pt x="168" y="214"/>
                </a:lnTo>
                <a:lnTo>
                  <a:pt x="168" y="216"/>
                </a:lnTo>
                <a:lnTo>
                  <a:pt x="166" y="212"/>
                </a:lnTo>
                <a:lnTo>
                  <a:pt x="166" y="216"/>
                </a:lnTo>
                <a:lnTo>
                  <a:pt x="163" y="214"/>
                </a:lnTo>
                <a:lnTo>
                  <a:pt x="163" y="212"/>
                </a:lnTo>
                <a:lnTo>
                  <a:pt x="161" y="212"/>
                </a:lnTo>
                <a:lnTo>
                  <a:pt x="159" y="211"/>
                </a:lnTo>
                <a:lnTo>
                  <a:pt x="159" y="212"/>
                </a:lnTo>
                <a:lnTo>
                  <a:pt x="158" y="211"/>
                </a:lnTo>
                <a:lnTo>
                  <a:pt x="159" y="214"/>
                </a:lnTo>
                <a:lnTo>
                  <a:pt x="159" y="216"/>
                </a:lnTo>
                <a:lnTo>
                  <a:pt x="159" y="214"/>
                </a:lnTo>
                <a:lnTo>
                  <a:pt x="156" y="212"/>
                </a:lnTo>
                <a:lnTo>
                  <a:pt x="154" y="212"/>
                </a:lnTo>
                <a:lnTo>
                  <a:pt x="154" y="211"/>
                </a:lnTo>
                <a:lnTo>
                  <a:pt x="151" y="209"/>
                </a:lnTo>
                <a:lnTo>
                  <a:pt x="149" y="207"/>
                </a:lnTo>
                <a:lnTo>
                  <a:pt x="149" y="209"/>
                </a:lnTo>
                <a:lnTo>
                  <a:pt x="147" y="206"/>
                </a:lnTo>
                <a:lnTo>
                  <a:pt x="146" y="206"/>
                </a:lnTo>
                <a:lnTo>
                  <a:pt x="146" y="204"/>
                </a:lnTo>
                <a:lnTo>
                  <a:pt x="144" y="204"/>
                </a:lnTo>
                <a:lnTo>
                  <a:pt x="142" y="202"/>
                </a:lnTo>
                <a:lnTo>
                  <a:pt x="139" y="202"/>
                </a:lnTo>
                <a:lnTo>
                  <a:pt x="139" y="200"/>
                </a:lnTo>
                <a:lnTo>
                  <a:pt x="137" y="200"/>
                </a:lnTo>
                <a:lnTo>
                  <a:pt x="137" y="199"/>
                </a:lnTo>
                <a:lnTo>
                  <a:pt x="136" y="197"/>
                </a:lnTo>
                <a:lnTo>
                  <a:pt x="134" y="197"/>
                </a:lnTo>
                <a:lnTo>
                  <a:pt x="134" y="195"/>
                </a:lnTo>
                <a:lnTo>
                  <a:pt x="132" y="195"/>
                </a:lnTo>
                <a:lnTo>
                  <a:pt x="130" y="194"/>
                </a:lnTo>
                <a:lnTo>
                  <a:pt x="129" y="194"/>
                </a:lnTo>
                <a:lnTo>
                  <a:pt x="129" y="195"/>
                </a:lnTo>
                <a:lnTo>
                  <a:pt x="129" y="197"/>
                </a:lnTo>
                <a:lnTo>
                  <a:pt x="125" y="195"/>
                </a:lnTo>
                <a:lnTo>
                  <a:pt x="125" y="194"/>
                </a:lnTo>
                <a:lnTo>
                  <a:pt x="124" y="192"/>
                </a:lnTo>
                <a:lnTo>
                  <a:pt x="122" y="192"/>
                </a:lnTo>
                <a:lnTo>
                  <a:pt x="120" y="192"/>
                </a:lnTo>
                <a:lnTo>
                  <a:pt x="117" y="190"/>
                </a:lnTo>
                <a:lnTo>
                  <a:pt x="113" y="190"/>
                </a:lnTo>
                <a:lnTo>
                  <a:pt x="113" y="189"/>
                </a:lnTo>
                <a:lnTo>
                  <a:pt x="113" y="190"/>
                </a:lnTo>
                <a:lnTo>
                  <a:pt x="112" y="189"/>
                </a:lnTo>
                <a:lnTo>
                  <a:pt x="108" y="189"/>
                </a:lnTo>
                <a:lnTo>
                  <a:pt x="110" y="189"/>
                </a:lnTo>
                <a:lnTo>
                  <a:pt x="108" y="189"/>
                </a:lnTo>
                <a:lnTo>
                  <a:pt x="107" y="187"/>
                </a:lnTo>
                <a:lnTo>
                  <a:pt x="107" y="189"/>
                </a:lnTo>
                <a:lnTo>
                  <a:pt x="105" y="187"/>
                </a:lnTo>
                <a:lnTo>
                  <a:pt x="102" y="189"/>
                </a:lnTo>
                <a:lnTo>
                  <a:pt x="102" y="190"/>
                </a:lnTo>
                <a:lnTo>
                  <a:pt x="100" y="190"/>
                </a:lnTo>
                <a:lnTo>
                  <a:pt x="98" y="192"/>
                </a:lnTo>
                <a:lnTo>
                  <a:pt x="96" y="192"/>
                </a:lnTo>
                <a:lnTo>
                  <a:pt x="95" y="194"/>
                </a:lnTo>
                <a:lnTo>
                  <a:pt x="93" y="194"/>
                </a:lnTo>
                <a:lnTo>
                  <a:pt x="91" y="195"/>
                </a:lnTo>
                <a:lnTo>
                  <a:pt x="90" y="197"/>
                </a:lnTo>
                <a:lnTo>
                  <a:pt x="90" y="199"/>
                </a:lnTo>
                <a:lnTo>
                  <a:pt x="90" y="200"/>
                </a:lnTo>
                <a:lnTo>
                  <a:pt x="88" y="202"/>
                </a:lnTo>
                <a:lnTo>
                  <a:pt x="88" y="204"/>
                </a:lnTo>
                <a:lnTo>
                  <a:pt x="86" y="204"/>
                </a:lnTo>
                <a:lnTo>
                  <a:pt x="85" y="206"/>
                </a:lnTo>
                <a:lnTo>
                  <a:pt x="83" y="206"/>
                </a:lnTo>
                <a:lnTo>
                  <a:pt x="81" y="207"/>
                </a:lnTo>
                <a:lnTo>
                  <a:pt x="79" y="207"/>
                </a:lnTo>
                <a:lnTo>
                  <a:pt x="79" y="209"/>
                </a:lnTo>
                <a:lnTo>
                  <a:pt x="78" y="211"/>
                </a:lnTo>
                <a:lnTo>
                  <a:pt x="78" y="212"/>
                </a:lnTo>
                <a:lnTo>
                  <a:pt x="78" y="214"/>
                </a:lnTo>
                <a:lnTo>
                  <a:pt x="76" y="216"/>
                </a:lnTo>
                <a:lnTo>
                  <a:pt x="74" y="217"/>
                </a:lnTo>
                <a:lnTo>
                  <a:pt x="74" y="221"/>
                </a:lnTo>
                <a:lnTo>
                  <a:pt x="73" y="221"/>
                </a:lnTo>
                <a:lnTo>
                  <a:pt x="73" y="223"/>
                </a:lnTo>
                <a:lnTo>
                  <a:pt x="71" y="223"/>
                </a:lnTo>
                <a:lnTo>
                  <a:pt x="69" y="224"/>
                </a:lnTo>
                <a:lnTo>
                  <a:pt x="68" y="224"/>
                </a:lnTo>
                <a:lnTo>
                  <a:pt x="68" y="226"/>
                </a:lnTo>
                <a:lnTo>
                  <a:pt x="64" y="226"/>
                </a:lnTo>
                <a:lnTo>
                  <a:pt x="64" y="228"/>
                </a:lnTo>
                <a:lnTo>
                  <a:pt x="61" y="228"/>
                </a:lnTo>
                <a:lnTo>
                  <a:pt x="59" y="228"/>
                </a:lnTo>
                <a:lnTo>
                  <a:pt x="57" y="229"/>
                </a:lnTo>
                <a:lnTo>
                  <a:pt x="56" y="229"/>
                </a:lnTo>
                <a:lnTo>
                  <a:pt x="54" y="229"/>
                </a:lnTo>
                <a:lnTo>
                  <a:pt x="52" y="231"/>
                </a:lnTo>
                <a:lnTo>
                  <a:pt x="51" y="231"/>
                </a:lnTo>
                <a:lnTo>
                  <a:pt x="49" y="233"/>
                </a:lnTo>
                <a:lnTo>
                  <a:pt x="47" y="231"/>
                </a:lnTo>
                <a:lnTo>
                  <a:pt x="45" y="231"/>
                </a:lnTo>
                <a:lnTo>
                  <a:pt x="44" y="231"/>
                </a:lnTo>
                <a:lnTo>
                  <a:pt x="42" y="231"/>
                </a:lnTo>
                <a:lnTo>
                  <a:pt x="40" y="229"/>
                </a:lnTo>
                <a:lnTo>
                  <a:pt x="40" y="228"/>
                </a:lnTo>
                <a:lnTo>
                  <a:pt x="40" y="226"/>
                </a:lnTo>
                <a:lnTo>
                  <a:pt x="40" y="224"/>
                </a:lnTo>
                <a:lnTo>
                  <a:pt x="44" y="223"/>
                </a:lnTo>
                <a:lnTo>
                  <a:pt x="44" y="219"/>
                </a:lnTo>
                <a:lnTo>
                  <a:pt x="45" y="219"/>
                </a:lnTo>
                <a:lnTo>
                  <a:pt x="49" y="217"/>
                </a:lnTo>
                <a:lnTo>
                  <a:pt x="49" y="216"/>
                </a:lnTo>
                <a:lnTo>
                  <a:pt x="49" y="214"/>
                </a:lnTo>
                <a:lnTo>
                  <a:pt x="51" y="214"/>
                </a:lnTo>
                <a:lnTo>
                  <a:pt x="52" y="212"/>
                </a:lnTo>
                <a:lnTo>
                  <a:pt x="52" y="211"/>
                </a:lnTo>
                <a:lnTo>
                  <a:pt x="51" y="211"/>
                </a:lnTo>
                <a:lnTo>
                  <a:pt x="51" y="207"/>
                </a:lnTo>
                <a:lnTo>
                  <a:pt x="49" y="207"/>
                </a:lnTo>
                <a:lnTo>
                  <a:pt x="51" y="206"/>
                </a:lnTo>
                <a:lnTo>
                  <a:pt x="51" y="204"/>
                </a:lnTo>
                <a:lnTo>
                  <a:pt x="49" y="204"/>
                </a:lnTo>
                <a:lnTo>
                  <a:pt x="47" y="206"/>
                </a:lnTo>
                <a:lnTo>
                  <a:pt x="44" y="206"/>
                </a:lnTo>
                <a:lnTo>
                  <a:pt x="42" y="207"/>
                </a:lnTo>
                <a:lnTo>
                  <a:pt x="42" y="206"/>
                </a:lnTo>
                <a:lnTo>
                  <a:pt x="39" y="207"/>
                </a:lnTo>
                <a:lnTo>
                  <a:pt x="37" y="207"/>
                </a:lnTo>
                <a:lnTo>
                  <a:pt x="35" y="207"/>
                </a:lnTo>
                <a:lnTo>
                  <a:pt x="34" y="207"/>
                </a:lnTo>
                <a:lnTo>
                  <a:pt x="34" y="206"/>
                </a:lnTo>
                <a:lnTo>
                  <a:pt x="32" y="206"/>
                </a:lnTo>
                <a:lnTo>
                  <a:pt x="30" y="206"/>
                </a:lnTo>
                <a:lnTo>
                  <a:pt x="28" y="204"/>
                </a:lnTo>
                <a:lnTo>
                  <a:pt x="27" y="204"/>
                </a:lnTo>
                <a:lnTo>
                  <a:pt x="25" y="202"/>
                </a:lnTo>
                <a:lnTo>
                  <a:pt x="23" y="200"/>
                </a:lnTo>
                <a:lnTo>
                  <a:pt x="20" y="200"/>
                </a:lnTo>
                <a:lnTo>
                  <a:pt x="20" y="199"/>
                </a:lnTo>
                <a:lnTo>
                  <a:pt x="18" y="199"/>
                </a:lnTo>
                <a:lnTo>
                  <a:pt x="17" y="199"/>
                </a:lnTo>
                <a:lnTo>
                  <a:pt x="17" y="195"/>
                </a:lnTo>
                <a:lnTo>
                  <a:pt x="15" y="194"/>
                </a:lnTo>
                <a:lnTo>
                  <a:pt x="13" y="192"/>
                </a:lnTo>
                <a:lnTo>
                  <a:pt x="13" y="190"/>
                </a:lnTo>
                <a:lnTo>
                  <a:pt x="11" y="189"/>
                </a:lnTo>
                <a:lnTo>
                  <a:pt x="11" y="187"/>
                </a:lnTo>
                <a:lnTo>
                  <a:pt x="11" y="185"/>
                </a:lnTo>
                <a:lnTo>
                  <a:pt x="13" y="185"/>
                </a:lnTo>
                <a:lnTo>
                  <a:pt x="11" y="183"/>
                </a:lnTo>
                <a:lnTo>
                  <a:pt x="11" y="182"/>
                </a:lnTo>
                <a:lnTo>
                  <a:pt x="10" y="182"/>
                </a:lnTo>
                <a:lnTo>
                  <a:pt x="10" y="178"/>
                </a:lnTo>
                <a:lnTo>
                  <a:pt x="11" y="175"/>
                </a:lnTo>
                <a:lnTo>
                  <a:pt x="13" y="175"/>
                </a:lnTo>
                <a:lnTo>
                  <a:pt x="13" y="173"/>
                </a:lnTo>
                <a:lnTo>
                  <a:pt x="15" y="172"/>
                </a:lnTo>
                <a:lnTo>
                  <a:pt x="15" y="168"/>
                </a:lnTo>
                <a:lnTo>
                  <a:pt x="15" y="166"/>
                </a:lnTo>
                <a:lnTo>
                  <a:pt x="17" y="166"/>
                </a:lnTo>
                <a:lnTo>
                  <a:pt x="18" y="166"/>
                </a:lnTo>
                <a:lnTo>
                  <a:pt x="22" y="168"/>
                </a:lnTo>
                <a:lnTo>
                  <a:pt x="20" y="165"/>
                </a:lnTo>
                <a:lnTo>
                  <a:pt x="18" y="163"/>
                </a:lnTo>
                <a:lnTo>
                  <a:pt x="18" y="161"/>
                </a:lnTo>
                <a:lnTo>
                  <a:pt x="18" y="160"/>
                </a:lnTo>
                <a:lnTo>
                  <a:pt x="18" y="158"/>
                </a:lnTo>
                <a:lnTo>
                  <a:pt x="18" y="156"/>
                </a:lnTo>
                <a:lnTo>
                  <a:pt x="17" y="156"/>
                </a:lnTo>
                <a:lnTo>
                  <a:pt x="15" y="154"/>
                </a:lnTo>
                <a:lnTo>
                  <a:pt x="13" y="154"/>
                </a:lnTo>
                <a:lnTo>
                  <a:pt x="11" y="154"/>
                </a:lnTo>
                <a:lnTo>
                  <a:pt x="10" y="154"/>
                </a:lnTo>
                <a:lnTo>
                  <a:pt x="8" y="153"/>
                </a:lnTo>
                <a:lnTo>
                  <a:pt x="8" y="151"/>
                </a:lnTo>
                <a:lnTo>
                  <a:pt x="6" y="151"/>
                </a:lnTo>
                <a:lnTo>
                  <a:pt x="6" y="149"/>
                </a:lnTo>
                <a:lnTo>
                  <a:pt x="5" y="148"/>
                </a:lnTo>
                <a:lnTo>
                  <a:pt x="6" y="146"/>
                </a:lnTo>
                <a:lnTo>
                  <a:pt x="5" y="144"/>
                </a:lnTo>
                <a:lnTo>
                  <a:pt x="6" y="143"/>
                </a:lnTo>
                <a:lnTo>
                  <a:pt x="5" y="143"/>
                </a:lnTo>
                <a:lnTo>
                  <a:pt x="1" y="143"/>
                </a:lnTo>
                <a:lnTo>
                  <a:pt x="1" y="141"/>
                </a:lnTo>
                <a:lnTo>
                  <a:pt x="1" y="139"/>
                </a:lnTo>
                <a:lnTo>
                  <a:pt x="0" y="136"/>
                </a:lnTo>
                <a:lnTo>
                  <a:pt x="3" y="136"/>
                </a:lnTo>
                <a:lnTo>
                  <a:pt x="3" y="134"/>
                </a:lnTo>
                <a:lnTo>
                  <a:pt x="6" y="134"/>
                </a:lnTo>
                <a:lnTo>
                  <a:pt x="8" y="132"/>
                </a:lnTo>
                <a:lnTo>
                  <a:pt x="10" y="134"/>
                </a:lnTo>
                <a:lnTo>
                  <a:pt x="11" y="134"/>
                </a:lnTo>
                <a:lnTo>
                  <a:pt x="11" y="136"/>
                </a:lnTo>
                <a:lnTo>
                  <a:pt x="13" y="134"/>
                </a:lnTo>
                <a:lnTo>
                  <a:pt x="13" y="132"/>
                </a:lnTo>
                <a:lnTo>
                  <a:pt x="17" y="132"/>
                </a:lnTo>
                <a:lnTo>
                  <a:pt x="17" y="131"/>
                </a:lnTo>
                <a:lnTo>
                  <a:pt x="20" y="129"/>
                </a:lnTo>
                <a:lnTo>
                  <a:pt x="22" y="129"/>
                </a:lnTo>
                <a:lnTo>
                  <a:pt x="22" y="131"/>
                </a:lnTo>
                <a:lnTo>
                  <a:pt x="23" y="129"/>
                </a:lnTo>
                <a:lnTo>
                  <a:pt x="25" y="127"/>
                </a:lnTo>
                <a:lnTo>
                  <a:pt x="25" y="126"/>
                </a:lnTo>
                <a:lnTo>
                  <a:pt x="25" y="124"/>
                </a:lnTo>
                <a:lnTo>
                  <a:pt x="25" y="122"/>
                </a:lnTo>
                <a:lnTo>
                  <a:pt x="25" y="120"/>
                </a:lnTo>
                <a:lnTo>
                  <a:pt x="27" y="119"/>
                </a:lnTo>
                <a:lnTo>
                  <a:pt x="28" y="117"/>
                </a:lnTo>
                <a:lnTo>
                  <a:pt x="27" y="115"/>
                </a:lnTo>
                <a:lnTo>
                  <a:pt x="25" y="114"/>
                </a:lnTo>
                <a:lnTo>
                  <a:pt x="25" y="112"/>
                </a:lnTo>
                <a:lnTo>
                  <a:pt x="22" y="112"/>
                </a:lnTo>
                <a:lnTo>
                  <a:pt x="22" y="110"/>
                </a:lnTo>
                <a:lnTo>
                  <a:pt x="20" y="109"/>
                </a:lnTo>
                <a:lnTo>
                  <a:pt x="20" y="107"/>
                </a:lnTo>
                <a:lnTo>
                  <a:pt x="20" y="105"/>
                </a:lnTo>
                <a:lnTo>
                  <a:pt x="20" y="103"/>
                </a:lnTo>
                <a:lnTo>
                  <a:pt x="18" y="103"/>
                </a:lnTo>
                <a:lnTo>
                  <a:pt x="20" y="100"/>
                </a:lnTo>
                <a:lnTo>
                  <a:pt x="18" y="98"/>
                </a:lnTo>
                <a:lnTo>
                  <a:pt x="17" y="98"/>
                </a:lnTo>
                <a:lnTo>
                  <a:pt x="15" y="97"/>
                </a:lnTo>
                <a:lnTo>
                  <a:pt x="13" y="97"/>
                </a:lnTo>
                <a:lnTo>
                  <a:pt x="11" y="95"/>
                </a:lnTo>
                <a:lnTo>
                  <a:pt x="11" y="93"/>
                </a:lnTo>
                <a:lnTo>
                  <a:pt x="11" y="92"/>
                </a:lnTo>
                <a:lnTo>
                  <a:pt x="11" y="90"/>
                </a:lnTo>
                <a:lnTo>
                  <a:pt x="11" y="88"/>
                </a:lnTo>
                <a:lnTo>
                  <a:pt x="11" y="86"/>
                </a:lnTo>
                <a:lnTo>
                  <a:pt x="11" y="85"/>
                </a:lnTo>
                <a:lnTo>
                  <a:pt x="15" y="86"/>
                </a:lnTo>
                <a:lnTo>
                  <a:pt x="15" y="85"/>
                </a:lnTo>
                <a:lnTo>
                  <a:pt x="18" y="85"/>
                </a:lnTo>
                <a:lnTo>
                  <a:pt x="18" y="83"/>
                </a:lnTo>
                <a:lnTo>
                  <a:pt x="20" y="83"/>
                </a:lnTo>
                <a:lnTo>
                  <a:pt x="22" y="81"/>
                </a:lnTo>
                <a:lnTo>
                  <a:pt x="23" y="80"/>
                </a:lnTo>
                <a:lnTo>
                  <a:pt x="25" y="83"/>
                </a:lnTo>
                <a:lnTo>
                  <a:pt x="25" y="85"/>
                </a:lnTo>
                <a:lnTo>
                  <a:pt x="28" y="83"/>
                </a:lnTo>
                <a:lnTo>
                  <a:pt x="30" y="85"/>
                </a:lnTo>
                <a:lnTo>
                  <a:pt x="32" y="83"/>
                </a:lnTo>
                <a:lnTo>
                  <a:pt x="34" y="83"/>
                </a:lnTo>
                <a:lnTo>
                  <a:pt x="35" y="80"/>
                </a:lnTo>
                <a:lnTo>
                  <a:pt x="37" y="81"/>
                </a:lnTo>
                <a:lnTo>
                  <a:pt x="40" y="81"/>
                </a:lnTo>
                <a:lnTo>
                  <a:pt x="42" y="81"/>
                </a:lnTo>
                <a:lnTo>
                  <a:pt x="42" y="80"/>
                </a:lnTo>
                <a:lnTo>
                  <a:pt x="44" y="80"/>
                </a:lnTo>
                <a:lnTo>
                  <a:pt x="45" y="78"/>
                </a:lnTo>
                <a:lnTo>
                  <a:pt x="47" y="78"/>
                </a:lnTo>
                <a:lnTo>
                  <a:pt x="47" y="76"/>
                </a:lnTo>
                <a:lnTo>
                  <a:pt x="49" y="76"/>
                </a:lnTo>
                <a:lnTo>
                  <a:pt x="51" y="78"/>
                </a:lnTo>
                <a:lnTo>
                  <a:pt x="52" y="78"/>
                </a:lnTo>
                <a:lnTo>
                  <a:pt x="54" y="78"/>
                </a:lnTo>
                <a:lnTo>
                  <a:pt x="56" y="80"/>
                </a:lnTo>
                <a:lnTo>
                  <a:pt x="56" y="81"/>
                </a:lnTo>
                <a:lnTo>
                  <a:pt x="57" y="80"/>
                </a:lnTo>
                <a:lnTo>
                  <a:pt x="61" y="81"/>
                </a:lnTo>
                <a:lnTo>
                  <a:pt x="64" y="81"/>
                </a:lnTo>
                <a:lnTo>
                  <a:pt x="64" y="80"/>
                </a:lnTo>
                <a:lnTo>
                  <a:pt x="64" y="78"/>
                </a:lnTo>
                <a:lnTo>
                  <a:pt x="66" y="76"/>
                </a:lnTo>
                <a:lnTo>
                  <a:pt x="68" y="76"/>
                </a:lnTo>
                <a:lnTo>
                  <a:pt x="69" y="76"/>
                </a:lnTo>
                <a:lnTo>
                  <a:pt x="71" y="75"/>
                </a:lnTo>
                <a:lnTo>
                  <a:pt x="73" y="73"/>
                </a:lnTo>
                <a:lnTo>
                  <a:pt x="71" y="71"/>
                </a:lnTo>
                <a:lnTo>
                  <a:pt x="73" y="69"/>
                </a:lnTo>
                <a:lnTo>
                  <a:pt x="76" y="68"/>
                </a:lnTo>
                <a:lnTo>
                  <a:pt x="78" y="66"/>
                </a:lnTo>
                <a:lnTo>
                  <a:pt x="78" y="63"/>
                </a:lnTo>
                <a:lnTo>
                  <a:pt x="78" y="61"/>
                </a:lnTo>
                <a:lnTo>
                  <a:pt x="76" y="59"/>
                </a:lnTo>
                <a:lnTo>
                  <a:pt x="74" y="58"/>
                </a:lnTo>
                <a:lnTo>
                  <a:pt x="76" y="56"/>
                </a:lnTo>
                <a:lnTo>
                  <a:pt x="78" y="54"/>
                </a:lnTo>
                <a:lnTo>
                  <a:pt x="79" y="54"/>
                </a:lnTo>
                <a:lnTo>
                  <a:pt x="81" y="52"/>
                </a:lnTo>
                <a:lnTo>
                  <a:pt x="83" y="52"/>
                </a:lnTo>
                <a:lnTo>
                  <a:pt x="83" y="51"/>
                </a:lnTo>
                <a:lnTo>
                  <a:pt x="86" y="49"/>
                </a:lnTo>
                <a:lnTo>
                  <a:pt x="85" y="47"/>
                </a:lnTo>
                <a:lnTo>
                  <a:pt x="86" y="46"/>
                </a:lnTo>
                <a:lnTo>
                  <a:pt x="88" y="44"/>
                </a:lnTo>
                <a:lnTo>
                  <a:pt x="90" y="44"/>
                </a:lnTo>
                <a:lnTo>
                  <a:pt x="91" y="44"/>
                </a:lnTo>
                <a:lnTo>
                  <a:pt x="93" y="46"/>
                </a:lnTo>
                <a:lnTo>
                  <a:pt x="93" y="47"/>
                </a:lnTo>
                <a:lnTo>
                  <a:pt x="93" y="49"/>
                </a:lnTo>
                <a:lnTo>
                  <a:pt x="93" y="51"/>
                </a:lnTo>
                <a:lnTo>
                  <a:pt x="93" y="52"/>
                </a:lnTo>
                <a:lnTo>
                  <a:pt x="91" y="56"/>
                </a:lnTo>
                <a:lnTo>
                  <a:pt x="93" y="58"/>
                </a:lnTo>
                <a:lnTo>
                  <a:pt x="91" y="59"/>
                </a:lnTo>
                <a:lnTo>
                  <a:pt x="93" y="61"/>
                </a:lnTo>
                <a:lnTo>
                  <a:pt x="95" y="61"/>
                </a:lnTo>
                <a:lnTo>
                  <a:pt x="96" y="61"/>
                </a:lnTo>
                <a:lnTo>
                  <a:pt x="96" y="63"/>
                </a:lnTo>
                <a:lnTo>
                  <a:pt x="98" y="64"/>
                </a:lnTo>
                <a:lnTo>
                  <a:pt x="100" y="66"/>
                </a:lnTo>
                <a:lnTo>
                  <a:pt x="100" y="68"/>
                </a:lnTo>
                <a:lnTo>
                  <a:pt x="102" y="68"/>
                </a:lnTo>
                <a:lnTo>
                  <a:pt x="102" y="69"/>
                </a:lnTo>
                <a:lnTo>
                  <a:pt x="105" y="69"/>
                </a:lnTo>
                <a:lnTo>
                  <a:pt x="107" y="68"/>
                </a:lnTo>
                <a:lnTo>
                  <a:pt x="107" y="69"/>
                </a:lnTo>
                <a:lnTo>
                  <a:pt x="110" y="69"/>
                </a:lnTo>
                <a:lnTo>
                  <a:pt x="112" y="71"/>
                </a:lnTo>
                <a:lnTo>
                  <a:pt x="112" y="73"/>
                </a:lnTo>
                <a:lnTo>
                  <a:pt x="110" y="73"/>
                </a:lnTo>
                <a:lnTo>
                  <a:pt x="110" y="75"/>
                </a:lnTo>
                <a:lnTo>
                  <a:pt x="108" y="78"/>
                </a:lnTo>
                <a:lnTo>
                  <a:pt x="110" y="78"/>
                </a:lnTo>
                <a:lnTo>
                  <a:pt x="112" y="80"/>
                </a:lnTo>
                <a:lnTo>
                  <a:pt x="113" y="80"/>
                </a:lnTo>
                <a:lnTo>
                  <a:pt x="113" y="81"/>
                </a:lnTo>
                <a:lnTo>
                  <a:pt x="115" y="83"/>
                </a:lnTo>
                <a:lnTo>
                  <a:pt x="117" y="86"/>
                </a:lnTo>
                <a:lnTo>
                  <a:pt x="115" y="88"/>
                </a:lnTo>
                <a:lnTo>
                  <a:pt x="117" y="88"/>
                </a:lnTo>
                <a:lnTo>
                  <a:pt x="119" y="88"/>
                </a:lnTo>
                <a:lnTo>
                  <a:pt x="119" y="90"/>
                </a:lnTo>
                <a:lnTo>
                  <a:pt x="120" y="90"/>
                </a:lnTo>
                <a:lnTo>
                  <a:pt x="122" y="86"/>
                </a:lnTo>
                <a:lnTo>
                  <a:pt x="124" y="85"/>
                </a:lnTo>
                <a:lnTo>
                  <a:pt x="122" y="83"/>
                </a:lnTo>
                <a:lnTo>
                  <a:pt x="120" y="81"/>
                </a:lnTo>
                <a:lnTo>
                  <a:pt x="120" y="80"/>
                </a:lnTo>
                <a:lnTo>
                  <a:pt x="119" y="80"/>
                </a:lnTo>
                <a:lnTo>
                  <a:pt x="120" y="78"/>
                </a:lnTo>
                <a:lnTo>
                  <a:pt x="119" y="75"/>
                </a:lnTo>
                <a:lnTo>
                  <a:pt x="120" y="73"/>
                </a:lnTo>
                <a:lnTo>
                  <a:pt x="122" y="73"/>
                </a:lnTo>
                <a:lnTo>
                  <a:pt x="124" y="71"/>
                </a:lnTo>
                <a:lnTo>
                  <a:pt x="122" y="69"/>
                </a:lnTo>
                <a:lnTo>
                  <a:pt x="125" y="68"/>
                </a:lnTo>
                <a:lnTo>
                  <a:pt x="125" y="66"/>
                </a:lnTo>
                <a:lnTo>
                  <a:pt x="127" y="64"/>
                </a:lnTo>
                <a:lnTo>
                  <a:pt x="129" y="64"/>
                </a:lnTo>
                <a:lnTo>
                  <a:pt x="129" y="63"/>
                </a:lnTo>
                <a:lnTo>
                  <a:pt x="130" y="63"/>
                </a:lnTo>
                <a:lnTo>
                  <a:pt x="130" y="61"/>
                </a:lnTo>
                <a:lnTo>
                  <a:pt x="130" y="58"/>
                </a:lnTo>
                <a:lnTo>
                  <a:pt x="132" y="56"/>
                </a:lnTo>
                <a:lnTo>
                  <a:pt x="134" y="54"/>
                </a:lnTo>
                <a:lnTo>
                  <a:pt x="132" y="51"/>
                </a:lnTo>
                <a:lnTo>
                  <a:pt x="132" y="47"/>
                </a:lnTo>
                <a:lnTo>
                  <a:pt x="130" y="47"/>
                </a:lnTo>
                <a:lnTo>
                  <a:pt x="132" y="44"/>
                </a:lnTo>
                <a:lnTo>
                  <a:pt x="132" y="42"/>
                </a:lnTo>
                <a:lnTo>
                  <a:pt x="134" y="42"/>
                </a:lnTo>
                <a:lnTo>
                  <a:pt x="137" y="42"/>
                </a:lnTo>
                <a:lnTo>
                  <a:pt x="137" y="41"/>
                </a:lnTo>
                <a:lnTo>
                  <a:pt x="137" y="42"/>
                </a:lnTo>
                <a:lnTo>
                  <a:pt x="139" y="44"/>
                </a:lnTo>
                <a:lnTo>
                  <a:pt x="141" y="42"/>
                </a:lnTo>
                <a:lnTo>
                  <a:pt x="142" y="42"/>
                </a:lnTo>
                <a:lnTo>
                  <a:pt x="141" y="44"/>
                </a:lnTo>
                <a:lnTo>
                  <a:pt x="142" y="44"/>
                </a:lnTo>
                <a:lnTo>
                  <a:pt x="141" y="47"/>
                </a:lnTo>
                <a:lnTo>
                  <a:pt x="142" y="49"/>
                </a:lnTo>
                <a:lnTo>
                  <a:pt x="142" y="51"/>
                </a:lnTo>
                <a:lnTo>
                  <a:pt x="144" y="51"/>
                </a:lnTo>
                <a:lnTo>
                  <a:pt x="144" y="54"/>
                </a:lnTo>
                <a:lnTo>
                  <a:pt x="146" y="56"/>
                </a:lnTo>
                <a:lnTo>
                  <a:pt x="147" y="56"/>
                </a:lnTo>
                <a:lnTo>
                  <a:pt x="149" y="58"/>
                </a:lnTo>
                <a:lnTo>
                  <a:pt x="153" y="56"/>
                </a:lnTo>
                <a:lnTo>
                  <a:pt x="154" y="58"/>
                </a:lnTo>
                <a:lnTo>
                  <a:pt x="154" y="56"/>
                </a:lnTo>
                <a:lnTo>
                  <a:pt x="154" y="52"/>
                </a:lnTo>
                <a:lnTo>
                  <a:pt x="158" y="54"/>
                </a:lnTo>
                <a:lnTo>
                  <a:pt x="159" y="52"/>
                </a:lnTo>
                <a:lnTo>
                  <a:pt x="161" y="52"/>
                </a:lnTo>
                <a:lnTo>
                  <a:pt x="163" y="51"/>
                </a:lnTo>
                <a:lnTo>
                  <a:pt x="164" y="51"/>
                </a:lnTo>
                <a:lnTo>
                  <a:pt x="166" y="51"/>
                </a:lnTo>
                <a:lnTo>
                  <a:pt x="168" y="52"/>
                </a:lnTo>
                <a:lnTo>
                  <a:pt x="166" y="54"/>
                </a:lnTo>
                <a:lnTo>
                  <a:pt x="168" y="56"/>
                </a:lnTo>
                <a:lnTo>
                  <a:pt x="168" y="58"/>
                </a:lnTo>
                <a:lnTo>
                  <a:pt x="170" y="58"/>
                </a:lnTo>
                <a:lnTo>
                  <a:pt x="170" y="59"/>
                </a:lnTo>
                <a:lnTo>
                  <a:pt x="170" y="61"/>
                </a:lnTo>
                <a:lnTo>
                  <a:pt x="171" y="63"/>
                </a:lnTo>
                <a:lnTo>
                  <a:pt x="175" y="61"/>
                </a:lnTo>
                <a:lnTo>
                  <a:pt x="176" y="59"/>
                </a:lnTo>
                <a:lnTo>
                  <a:pt x="175" y="56"/>
                </a:lnTo>
                <a:lnTo>
                  <a:pt x="173" y="56"/>
                </a:lnTo>
                <a:lnTo>
                  <a:pt x="173" y="52"/>
                </a:lnTo>
                <a:lnTo>
                  <a:pt x="175" y="51"/>
                </a:lnTo>
                <a:lnTo>
                  <a:pt x="176" y="51"/>
                </a:lnTo>
                <a:lnTo>
                  <a:pt x="176" y="49"/>
                </a:lnTo>
                <a:lnTo>
                  <a:pt x="175" y="47"/>
                </a:lnTo>
                <a:lnTo>
                  <a:pt x="171" y="47"/>
                </a:lnTo>
                <a:lnTo>
                  <a:pt x="170" y="46"/>
                </a:lnTo>
                <a:lnTo>
                  <a:pt x="170" y="44"/>
                </a:lnTo>
                <a:lnTo>
                  <a:pt x="170" y="41"/>
                </a:lnTo>
                <a:lnTo>
                  <a:pt x="170" y="39"/>
                </a:lnTo>
                <a:lnTo>
                  <a:pt x="171" y="37"/>
                </a:lnTo>
                <a:lnTo>
                  <a:pt x="173" y="37"/>
                </a:lnTo>
                <a:lnTo>
                  <a:pt x="173" y="34"/>
                </a:lnTo>
                <a:lnTo>
                  <a:pt x="175" y="35"/>
                </a:lnTo>
                <a:lnTo>
                  <a:pt x="175" y="34"/>
                </a:lnTo>
                <a:lnTo>
                  <a:pt x="176" y="34"/>
                </a:lnTo>
                <a:lnTo>
                  <a:pt x="178" y="34"/>
                </a:lnTo>
                <a:lnTo>
                  <a:pt x="180" y="32"/>
                </a:lnTo>
                <a:lnTo>
                  <a:pt x="180" y="34"/>
                </a:lnTo>
                <a:lnTo>
                  <a:pt x="180" y="37"/>
                </a:lnTo>
                <a:lnTo>
                  <a:pt x="181" y="37"/>
                </a:lnTo>
                <a:lnTo>
                  <a:pt x="181" y="39"/>
                </a:lnTo>
                <a:lnTo>
                  <a:pt x="185" y="39"/>
                </a:lnTo>
                <a:lnTo>
                  <a:pt x="187" y="39"/>
                </a:lnTo>
                <a:lnTo>
                  <a:pt x="188" y="39"/>
                </a:lnTo>
                <a:lnTo>
                  <a:pt x="190" y="41"/>
                </a:lnTo>
                <a:lnTo>
                  <a:pt x="190" y="39"/>
                </a:lnTo>
                <a:lnTo>
                  <a:pt x="190" y="37"/>
                </a:lnTo>
                <a:lnTo>
                  <a:pt x="192" y="35"/>
                </a:lnTo>
                <a:lnTo>
                  <a:pt x="192" y="34"/>
                </a:lnTo>
                <a:lnTo>
                  <a:pt x="190" y="32"/>
                </a:lnTo>
                <a:lnTo>
                  <a:pt x="187" y="32"/>
                </a:lnTo>
                <a:lnTo>
                  <a:pt x="187" y="30"/>
                </a:lnTo>
                <a:lnTo>
                  <a:pt x="187" y="29"/>
                </a:lnTo>
                <a:lnTo>
                  <a:pt x="188" y="27"/>
                </a:lnTo>
                <a:lnTo>
                  <a:pt x="187" y="25"/>
                </a:lnTo>
                <a:lnTo>
                  <a:pt x="188" y="24"/>
                </a:lnTo>
                <a:lnTo>
                  <a:pt x="188" y="22"/>
                </a:lnTo>
                <a:lnTo>
                  <a:pt x="190" y="20"/>
                </a:lnTo>
                <a:lnTo>
                  <a:pt x="190" y="18"/>
                </a:lnTo>
                <a:lnTo>
                  <a:pt x="190" y="17"/>
                </a:lnTo>
                <a:lnTo>
                  <a:pt x="193" y="18"/>
                </a:lnTo>
                <a:lnTo>
                  <a:pt x="193" y="17"/>
                </a:lnTo>
                <a:lnTo>
                  <a:pt x="193" y="18"/>
                </a:lnTo>
                <a:lnTo>
                  <a:pt x="197" y="17"/>
                </a:lnTo>
                <a:lnTo>
                  <a:pt x="198" y="17"/>
                </a:lnTo>
                <a:lnTo>
                  <a:pt x="200" y="15"/>
                </a:lnTo>
                <a:lnTo>
                  <a:pt x="202" y="17"/>
                </a:lnTo>
                <a:lnTo>
                  <a:pt x="202" y="18"/>
                </a:lnTo>
                <a:lnTo>
                  <a:pt x="204" y="18"/>
                </a:lnTo>
                <a:lnTo>
                  <a:pt x="204" y="22"/>
                </a:lnTo>
                <a:lnTo>
                  <a:pt x="205" y="22"/>
                </a:lnTo>
                <a:lnTo>
                  <a:pt x="207" y="22"/>
                </a:lnTo>
                <a:lnTo>
                  <a:pt x="209" y="22"/>
                </a:lnTo>
                <a:lnTo>
                  <a:pt x="210" y="24"/>
                </a:lnTo>
                <a:lnTo>
                  <a:pt x="212" y="22"/>
                </a:lnTo>
                <a:lnTo>
                  <a:pt x="214" y="22"/>
                </a:lnTo>
                <a:lnTo>
                  <a:pt x="215" y="24"/>
                </a:lnTo>
                <a:lnTo>
                  <a:pt x="217" y="22"/>
                </a:lnTo>
                <a:lnTo>
                  <a:pt x="217" y="24"/>
                </a:lnTo>
                <a:lnTo>
                  <a:pt x="217" y="20"/>
                </a:lnTo>
                <a:lnTo>
                  <a:pt x="221" y="18"/>
                </a:lnTo>
                <a:lnTo>
                  <a:pt x="219" y="17"/>
                </a:lnTo>
                <a:lnTo>
                  <a:pt x="221" y="15"/>
                </a:lnTo>
                <a:lnTo>
                  <a:pt x="221" y="13"/>
                </a:lnTo>
                <a:lnTo>
                  <a:pt x="221" y="12"/>
                </a:lnTo>
                <a:lnTo>
                  <a:pt x="224" y="10"/>
                </a:lnTo>
                <a:lnTo>
                  <a:pt x="224" y="8"/>
                </a:lnTo>
                <a:lnTo>
                  <a:pt x="226" y="10"/>
                </a:lnTo>
                <a:lnTo>
                  <a:pt x="227" y="8"/>
                </a:lnTo>
                <a:lnTo>
                  <a:pt x="231" y="8"/>
                </a:lnTo>
                <a:lnTo>
                  <a:pt x="231" y="6"/>
                </a:lnTo>
                <a:lnTo>
                  <a:pt x="232" y="6"/>
                </a:lnTo>
                <a:lnTo>
                  <a:pt x="236" y="8"/>
                </a:lnTo>
                <a:lnTo>
                  <a:pt x="239" y="5"/>
                </a:lnTo>
                <a:lnTo>
                  <a:pt x="239" y="6"/>
                </a:lnTo>
                <a:lnTo>
                  <a:pt x="241" y="6"/>
                </a:lnTo>
                <a:lnTo>
                  <a:pt x="244" y="6"/>
                </a:lnTo>
                <a:lnTo>
                  <a:pt x="246" y="5"/>
                </a:lnTo>
                <a:lnTo>
                  <a:pt x="248" y="6"/>
                </a:lnTo>
                <a:lnTo>
                  <a:pt x="249" y="6"/>
                </a:lnTo>
                <a:lnTo>
                  <a:pt x="251" y="8"/>
                </a:lnTo>
                <a:lnTo>
                  <a:pt x="253" y="6"/>
                </a:lnTo>
                <a:lnTo>
                  <a:pt x="256" y="6"/>
                </a:lnTo>
                <a:lnTo>
                  <a:pt x="256" y="5"/>
                </a:lnTo>
                <a:lnTo>
                  <a:pt x="258" y="5"/>
                </a:lnTo>
                <a:lnTo>
                  <a:pt x="260" y="3"/>
                </a:lnTo>
                <a:lnTo>
                  <a:pt x="261" y="3"/>
                </a:lnTo>
                <a:lnTo>
                  <a:pt x="263" y="1"/>
                </a:lnTo>
                <a:lnTo>
                  <a:pt x="265" y="3"/>
                </a:lnTo>
                <a:lnTo>
                  <a:pt x="265" y="1"/>
                </a:lnTo>
                <a:lnTo>
                  <a:pt x="266" y="1"/>
                </a:lnTo>
                <a:lnTo>
                  <a:pt x="268" y="0"/>
                </a:lnTo>
                <a:lnTo>
                  <a:pt x="272" y="0"/>
                </a:lnTo>
                <a:lnTo>
                  <a:pt x="275" y="0"/>
                </a:lnTo>
                <a:lnTo>
                  <a:pt x="273" y="1"/>
                </a:lnTo>
                <a:lnTo>
                  <a:pt x="273" y="3"/>
                </a:lnTo>
                <a:lnTo>
                  <a:pt x="270" y="3"/>
                </a:lnTo>
                <a:lnTo>
                  <a:pt x="270" y="5"/>
                </a:lnTo>
                <a:lnTo>
                  <a:pt x="270" y="6"/>
                </a:lnTo>
                <a:lnTo>
                  <a:pt x="270" y="8"/>
                </a:lnTo>
                <a:lnTo>
                  <a:pt x="272" y="10"/>
                </a:lnTo>
                <a:lnTo>
                  <a:pt x="270" y="12"/>
                </a:lnTo>
                <a:lnTo>
                  <a:pt x="273" y="12"/>
                </a:lnTo>
                <a:lnTo>
                  <a:pt x="273" y="15"/>
                </a:lnTo>
                <a:lnTo>
                  <a:pt x="275" y="13"/>
                </a:lnTo>
                <a:lnTo>
                  <a:pt x="277" y="13"/>
                </a:lnTo>
                <a:lnTo>
                  <a:pt x="278" y="17"/>
                </a:lnTo>
                <a:lnTo>
                  <a:pt x="277" y="18"/>
                </a:lnTo>
                <a:lnTo>
                  <a:pt x="277" y="20"/>
                </a:lnTo>
                <a:lnTo>
                  <a:pt x="278" y="20"/>
                </a:lnTo>
                <a:lnTo>
                  <a:pt x="282" y="20"/>
                </a:lnTo>
                <a:lnTo>
                  <a:pt x="282" y="24"/>
                </a:lnTo>
                <a:lnTo>
                  <a:pt x="282" y="25"/>
                </a:lnTo>
                <a:lnTo>
                  <a:pt x="285" y="27"/>
                </a:lnTo>
                <a:lnTo>
                  <a:pt x="287" y="27"/>
                </a:lnTo>
                <a:lnTo>
                  <a:pt x="289" y="27"/>
                </a:lnTo>
                <a:lnTo>
                  <a:pt x="292" y="29"/>
                </a:lnTo>
                <a:lnTo>
                  <a:pt x="294" y="29"/>
                </a:lnTo>
                <a:lnTo>
                  <a:pt x="295" y="29"/>
                </a:lnTo>
                <a:lnTo>
                  <a:pt x="297" y="29"/>
                </a:lnTo>
                <a:lnTo>
                  <a:pt x="299" y="30"/>
                </a:lnTo>
                <a:lnTo>
                  <a:pt x="302" y="29"/>
                </a:lnTo>
                <a:lnTo>
                  <a:pt x="304" y="30"/>
                </a:lnTo>
                <a:lnTo>
                  <a:pt x="306" y="32"/>
                </a:lnTo>
                <a:lnTo>
                  <a:pt x="309" y="32"/>
                </a:lnTo>
                <a:lnTo>
                  <a:pt x="311" y="32"/>
                </a:lnTo>
                <a:lnTo>
                  <a:pt x="314" y="32"/>
                </a:lnTo>
                <a:lnTo>
                  <a:pt x="316" y="32"/>
                </a:lnTo>
                <a:lnTo>
                  <a:pt x="317" y="32"/>
                </a:lnTo>
                <a:lnTo>
                  <a:pt x="319" y="32"/>
                </a:lnTo>
                <a:lnTo>
                  <a:pt x="321" y="32"/>
                </a:lnTo>
                <a:lnTo>
                  <a:pt x="323" y="34"/>
                </a:lnTo>
                <a:lnTo>
                  <a:pt x="324" y="35"/>
                </a:lnTo>
                <a:lnTo>
                  <a:pt x="326" y="34"/>
                </a:lnTo>
                <a:lnTo>
                  <a:pt x="328" y="35"/>
                </a:lnTo>
                <a:lnTo>
                  <a:pt x="329" y="34"/>
                </a:lnTo>
                <a:lnTo>
                  <a:pt x="331" y="34"/>
                </a:lnTo>
                <a:lnTo>
                  <a:pt x="331" y="32"/>
                </a:lnTo>
                <a:lnTo>
                  <a:pt x="333" y="34"/>
                </a:lnTo>
                <a:lnTo>
                  <a:pt x="336" y="34"/>
                </a:lnTo>
                <a:lnTo>
                  <a:pt x="338" y="35"/>
                </a:lnTo>
                <a:lnTo>
                  <a:pt x="340" y="34"/>
                </a:lnTo>
                <a:lnTo>
                  <a:pt x="340" y="35"/>
                </a:lnTo>
                <a:lnTo>
                  <a:pt x="341" y="34"/>
                </a:lnTo>
                <a:lnTo>
                  <a:pt x="343" y="35"/>
                </a:lnTo>
                <a:lnTo>
                  <a:pt x="345" y="35"/>
                </a:lnTo>
                <a:lnTo>
                  <a:pt x="346" y="35"/>
                </a:lnTo>
                <a:close/>
                <a:moveTo>
                  <a:pt x="295" y="217"/>
                </a:moveTo>
                <a:lnTo>
                  <a:pt x="294" y="217"/>
                </a:lnTo>
                <a:lnTo>
                  <a:pt x="292" y="219"/>
                </a:lnTo>
                <a:lnTo>
                  <a:pt x="290" y="219"/>
                </a:lnTo>
                <a:lnTo>
                  <a:pt x="290" y="221"/>
                </a:lnTo>
                <a:lnTo>
                  <a:pt x="290" y="223"/>
                </a:lnTo>
                <a:lnTo>
                  <a:pt x="292" y="223"/>
                </a:lnTo>
                <a:lnTo>
                  <a:pt x="294" y="224"/>
                </a:lnTo>
                <a:lnTo>
                  <a:pt x="295" y="223"/>
                </a:lnTo>
                <a:lnTo>
                  <a:pt x="295" y="221"/>
                </a:lnTo>
                <a:lnTo>
                  <a:pt x="295" y="219"/>
                </a:lnTo>
                <a:lnTo>
                  <a:pt x="295" y="217"/>
                </a:lnTo>
                <a:close/>
                <a:moveTo>
                  <a:pt x="297" y="364"/>
                </a:moveTo>
                <a:lnTo>
                  <a:pt x="297" y="365"/>
                </a:lnTo>
                <a:lnTo>
                  <a:pt x="297" y="364"/>
                </a:lnTo>
                <a:close/>
                <a:moveTo>
                  <a:pt x="481" y="612"/>
                </a:moveTo>
                <a:lnTo>
                  <a:pt x="482" y="614"/>
                </a:lnTo>
                <a:lnTo>
                  <a:pt x="484" y="614"/>
                </a:lnTo>
                <a:lnTo>
                  <a:pt x="486" y="614"/>
                </a:lnTo>
                <a:lnTo>
                  <a:pt x="484" y="615"/>
                </a:lnTo>
                <a:lnTo>
                  <a:pt x="482" y="615"/>
                </a:lnTo>
                <a:lnTo>
                  <a:pt x="482" y="617"/>
                </a:lnTo>
                <a:lnTo>
                  <a:pt x="482" y="621"/>
                </a:lnTo>
                <a:lnTo>
                  <a:pt x="481" y="624"/>
                </a:lnTo>
                <a:lnTo>
                  <a:pt x="479" y="626"/>
                </a:lnTo>
                <a:lnTo>
                  <a:pt x="479" y="629"/>
                </a:lnTo>
                <a:lnTo>
                  <a:pt x="477" y="631"/>
                </a:lnTo>
                <a:lnTo>
                  <a:pt x="476" y="632"/>
                </a:lnTo>
                <a:lnTo>
                  <a:pt x="474" y="636"/>
                </a:lnTo>
                <a:lnTo>
                  <a:pt x="472" y="638"/>
                </a:lnTo>
                <a:lnTo>
                  <a:pt x="472" y="639"/>
                </a:lnTo>
                <a:lnTo>
                  <a:pt x="472" y="641"/>
                </a:lnTo>
                <a:lnTo>
                  <a:pt x="470" y="641"/>
                </a:lnTo>
                <a:lnTo>
                  <a:pt x="469" y="644"/>
                </a:lnTo>
                <a:lnTo>
                  <a:pt x="469" y="646"/>
                </a:lnTo>
                <a:lnTo>
                  <a:pt x="467" y="646"/>
                </a:lnTo>
                <a:lnTo>
                  <a:pt x="467" y="648"/>
                </a:lnTo>
                <a:lnTo>
                  <a:pt x="465" y="650"/>
                </a:lnTo>
                <a:lnTo>
                  <a:pt x="465" y="651"/>
                </a:lnTo>
                <a:lnTo>
                  <a:pt x="465" y="653"/>
                </a:lnTo>
                <a:lnTo>
                  <a:pt x="464" y="655"/>
                </a:lnTo>
                <a:lnTo>
                  <a:pt x="465" y="656"/>
                </a:lnTo>
                <a:lnTo>
                  <a:pt x="464" y="658"/>
                </a:lnTo>
                <a:lnTo>
                  <a:pt x="464" y="660"/>
                </a:lnTo>
                <a:lnTo>
                  <a:pt x="464" y="661"/>
                </a:lnTo>
                <a:lnTo>
                  <a:pt x="464" y="663"/>
                </a:lnTo>
                <a:lnTo>
                  <a:pt x="464" y="667"/>
                </a:lnTo>
                <a:lnTo>
                  <a:pt x="462" y="668"/>
                </a:lnTo>
                <a:lnTo>
                  <a:pt x="460" y="670"/>
                </a:lnTo>
                <a:lnTo>
                  <a:pt x="459" y="672"/>
                </a:lnTo>
                <a:lnTo>
                  <a:pt x="460" y="673"/>
                </a:lnTo>
                <a:lnTo>
                  <a:pt x="459" y="672"/>
                </a:lnTo>
                <a:lnTo>
                  <a:pt x="459" y="675"/>
                </a:lnTo>
                <a:lnTo>
                  <a:pt x="459" y="677"/>
                </a:lnTo>
                <a:lnTo>
                  <a:pt x="459" y="678"/>
                </a:lnTo>
                <a:lnTo>
                  <a:pt x="460" y="678"/>
                </a:lnTo>
                <a:lnTo>
                  <a:pt x="459" y="678"/>
                </a:lnTo>
                <a:lnTo>
                  <a:pt x="460" y="682"/>
                </a:lnTo>
                <a:lnTo>
                  <a:pt x="460" y="685"/>
                </a:lnTo>
                <a:lnTo>
                  <a:pt x="462" y="685"/>
                </a:lnTo>
                <a:lnTo>
                  <a:pt x="464" y="687"/>
                </a:lnTo>
                <a:lnTo>
                  <a:pt x="465" y="687"/>
                </a:lnTo>
                <a:lnTo>
                  <a:pt x="467" y="687"/>
                </a:lnTo>
                <a:lnTo>
                  <a:pt x="469" y="689"/>
                </a:lnTo>
                <a:lnTo>
                  <a:pt x="469" y="690"/>
                </a:lnTo>
                <a:lnTo>
                  <a:pt x="470" y="690"/>
                </a:lnTo>
                <a:lnTo>
                  <a:pt x="469" y="690"/>
                </a:lnTo>
                <a:lnTo>
                  <a:pt x="467" y="690"/>
                </a:lnTo>
                <a:lnTo>
                  <a:pt x="469" y="692"/>
                </a:lnTo>
                <a:lnTo>
                  <a:pt x="467" y="690"/>
                </a:lnTo>
                <a:lnTo>
                  <a:pt x="465" y="690"/>
                </a:lnTo>
                <a:lnTo>
                  <a:pt x="465" y="694"/>
                </a:lnTo>
                <a:lnTo>
                  <a:pt x="467" y="695"/>
                </a:lnTo>
                <a:lnTo>
                  <a:pt x="467" y="697"/>
                </a:lnTo>
                <a:lnTo>
                  <a:pt x="469" y="695"/>
                </a:lnTo>
                <a:lnTo>
                  <a:pt x="469" y="697"/>
                </a:lnTo>
                <a:lnTo>
                  <a:pt x="469" y="699"/>
                </a:lnTo>
                <a:lnTo>
                  <a:pt x="470" y="699"/>
                </a:lnTo>
                <a:lnTo>
                  <a:pt x="472" y="699"/>
                </a:lnTo>
                <a:lnTo>
                  <a:pt x="472" y="702"/>
                </a:lnTo>
                <a:lnTo>
                  <a:pt x="474" y="702"/>
                </a:lnTo>
                <a:lnTo>
                  <a:pt x="472" y="702"/>
                </a:lnTo>
                <a:lnTo>
                  <a:pt x="472" y="704"/>
                </a:lnTo>
                <a:lnTo>
                  <a:pt x="474" y="704"/>
                </a:lnTo>
                <a:lnTo>
                  <a:pt x="476" y="706"/>
                </a:lnTo>
                <a:lnTo>
                  <a:pt x="476" y="707"/>
                </a:lnTo>
                <a:lnTo>
                  <a:pt x="474" y="706"/>
                </a:lnTo>
                <a:lnTo>
                  <a:pt x="472" y="707"/>
                </a:lnTo>
                <a:lnTo>
                  <a:pt x="472" y="709"/>
                </a:lnTo>
                <a:lnTo>
                  <a:pt x="469" y="711"/>
                </a:lnTo>
                <a:lnTo>
                  <a:pt x="467" y="711"/>
                </a:lnTo>
                <a:lnTo>
                  <a:pt x="465" y="714"/>
                </a:lnTo>
                <a:lnTo>
                  <a:pt x="465" y="716"/>
                </a:lnTo>
                <a:lnTo>
                  <a:pt x="465" y="718"/>
                </a:lnTo>
                <a:lnTo>
                  <a:pt x="464" y="719"/>
                </a:lnTo>
                <a:lnTo>
                  <a:pt x="464" y="721"/>
                </a:lnTo>
                <a:lnTo>
                  <a:pt x="462" y="723"/>
                </a:lnTo>
                <a:lnTo>
                  <a:pt x="462" y="724"/>
                </a:lnTo>
                <a:lnTo>
                  <a:pt x="464" y="726"/>
                </a:lnTo>
                <a:lnTo>
                  <a:pt x="465" y="729"/>
                </a:lnTo>
                <a:lnTo>
                  <a:pt x="465" y="731"/>
                </a:lnTo>
                <a:lnTo>
                  <a:pt x="464" y="731"/>
                </a:lnTo>
                <a:lnTo>
                  <a:pt x="462" y="733"/>
                </a:lnTo>
                <a:lnTo>
                  <a:pt x="460" y="733"/>
                </a:lnTo>
                <a:lnTo>
                  <a:pt x="460" y="731"/>
                </a:lnTo>
                <a:lnTo>
                  <a:pt x="459" y="729"/>
                </a:lnTo>
                <a:lnTo>
                  <a:pt x="457" y="731"/>
                </a:lnTo>
                <a:lnTo>
                  <a:pt x="455" y="731"/>
                </a:lnTo>
                <a:lnTo>
                  <a:pt x="453" y="729"/>
                </a:lnTo>
                <a:lnTo>
                  <a:pt x="452" y="728"/>
                </a:lnTo>
                <a:lnTo>
                  <a:pt x="450" y="728"/>
                </a:lnTo>
                <a:lnTo>
                  <a:pt x="448" y="729"/>
                </a:lnTo>
                <a:lnTo>
                  <a:pt x="447" y="729"/>
                </a:lnTo>
                <a:lnTo>
                  <a:pt x="445" y="731"/>
                </a:lnTo>
                <a:lnTo>
                  <a:pt x="443" y="729"/>
                </a:lnTo>
                <a:lnTo>
                  <a:pt x="440" y="729"/>
                </a:lnTo>
                <a:lnTo>
                  <a:pt x="438" y="728"/>
                </a:lnTo>
                <a:lnTo>
                  <a:pt x="436" y="726"/>
                </a:lnTo>
                <a:lnTo>
                  <a:pt x="435" y="726"/>
                </a:lnTo>
                <a:lnTo>
                  <a:pt x="431" y="726"/>
                </a:lnTo>
                <a:lnTo>
                  <a:pt x="430" y="726"/>
                </a:lnTo>
                <a:lnTo>
                  <a:pt x="428" y="726"/>
                </a:lnTo>
                <a:lnTo>
                  <a:pt x="426" y="724"/>
                </a:lnTo>
                <a:lnTo>
                  <a:pt x="426" y="723"/>
                </a:lnTo>
                <a:lnTo>
                  <a:pt x="425" y="721"/>
                </a:lnTo>
                <a:lnTo>
                  <a:pt x="425" y="719"/>
                </a:lnTo>
                <a:lnTo>
                  <a:pt x="423" y="718"/>
                </a:lnTo>
                <a:lnTo>
                  <a:pt x="423" y="716"/>
                </a:lnTo>
                <a:lnTo>
                  <a:pt x="421" y="716"/>
                </a:lnTo>
                <a:lnTo>
                  <a:pt x="421" y="714"/>
                </a:lnTo>
                <a:lnTo>
                  <a:pt x="419" y="711"/>
                </a:lnTo>
                <a:lnTo>
                  <a:pt x="418" y="709"/>
                </a:lnTo>
                <a:lnTo>
                  <a:pt x="416" y="709"/>
                </a:lnTo>
                <a:lnTo>
                  <a:pt x="413" y="707"/>
                </a:lnTo>
                <a:lnTo>
                  <a:pt x="411" y="707"/>
                </a:lnTo>
                <a:lnTo>
                  <a:pt x="411" y="706"/>
                </a:lnTo>
                <a:lnTo>
                  <a:pt x="411" y="707"/>
                </a:lnTo>
                <a:lnTo>
                  <a:pt x="409" y="706"/>
                </a:lnTo>
                <a:lnTo>
                  <a:pt x="408" y="704"/>
                </a:lnTo>
                <a:lnTo>
                  <a:pt x="406" y="704"/>
                </a:lnTo>
                <a:lnTo>
                  <a:pt x="404" y="704"/>
                </a:lnTo>
                <a:lnTo>
                  <a:pt x="402" y="704"/>
                </a:lnTo>
                <a:lnTo>
                  <a:pt x="401" y="704"/>
                </a:lnTo>
                <a:lnTo>
                  <a:pt x="399" y="704"/>
                </a:lnTo>
                <a:lnTo>
                  <a:pt x="397" y="704"/>
                </a:lnTo>
                <a:lnTo>
                  <a:pt x="396" y="706"/>
                </a:lnTo>
                <a:lnTo>
                  <a:pt x="394" y="706"/>
                </a:lnTo>
                <a:lnTo>
                  <a:pt x="391" y="706"/>
                </a:lnTo>
                <a:lnTo>
                  <a:pt x="389" y="702"/>
                </a:lnTo>
                <a:lnTo>
                  <a:pt x="387" y="702"/>
                </a:lnTo>
                <a:lnTo>
                  <a:pt x="385" y="702"/>
                </a:lnTo>
                <a:lnTo>
                  <a:pt x="384" y="702"/>
                </a:lnTo>
                <a:lnTo>
                  <a:pt x="382" y="701"/>
                </a:lnTo>
                <a:lnTo>
                  <a:pt x="380" y="699"/>
                </a:lnTo>
                <a:lnTo>
                  <a:pt x="379" y="699"/>
                </a:lnTo>
                <a:lnTo>
                  <a:pt x="377" y="697"/>
                </a:lnTo>
                <a:lnTo>
                  <a:pt x="374" y="694"/>
                </a:lnTo>
                <a:lnTo>
                  <a:pt x="372" y="692"/>
                </a:lnTo>
                <a:lnTo>
                  <a:pt x="370" y="692"/>
                </a:lnTo>
                <a:lnTo>
                  <a:pt x="370" y="694"/>
                </a:lnTo>
                <a:lnTo>
                  <a:pt x="370" y="692"/>
                </a:lnTo>
                <a:lnTo>
                  <a:pt x="368" y="692"/>
                </a:lnTo>
                <a:lnTo>
                  <a:pt x="365" y="692"/>
                </a:lnTo>
                <a:lnTo>
                  <a:pt x="363" y="690"/>
                </a:lnTo>
                <a:lnTo>
                  <a:pt x="362" y="690"/>
                </a:lnTo>
                <a:lnTo>
                  <a:pt x="360" y="689"/>
                </a:lnTo>
                <a:lnTo>
                  <a:pt x="358" y="687"/>
                </a:lnTo>
                <a:lnTo>
                  <a:pt x="357" y="685"/>
                </a:lnTo>
                <a:lnTo>
                  <a:pt x="355" y="685"/>
                </a:lnTo>
                <a:lnTo>
                  <a:pt x="355" y="684"/>
                </a:lnTo>
                <a:lnTo>
                  <a:pt x="353" y="684"/>
                </a:lnTo>
                <a:lnTo>
                  <a:pt x="351" y="680"/>
                </a:lnTo>
                <a:lnTo>
                  <a:pt x="350" y="678"/>
                </a:lnTo>
                <a:lnTo>
                  <a:pt x="346" y="678"/>
                </a:lnTo>
                <a:lnTo>
                  <a:pt x="345" y="678"/>
                </a:lnTo>
                <a:lnTo>
                  <a:pt x="343" y="678"/>
                </a:lnTo>
                <a:lnTo>
                  <a:pt x="341" y="678"/>
                </a:lnTo>
                <a:lnTo>
                  <a:pt x="340" y="677"/>
                </a:lnTo>
                <a:lnTo>
                  <a:pt x="336" y="673"/>
                </a:lnTo>
                <a:lnTo>
                  <a:pt x="334" y="673"/>
                </a:lnTo>
                <a:lnTo>
                  <a:pt x="331" y="673"/>
                </a:lnTo>
                <a:lnTo>
                  <a:pt x="329" y="673"/>
                </a:lnTo>
                <a:lnTo>
                  <a:pt x="326" y="673"/>
                </a:lnTo>
                <a:lnTo>
                  <a:pt x="324" y="675"/>
                </a:lnTo>
                <a:lnTo>
                  <a:pt x="321" y="675"/>
                </a:lnTo>
                <a:lnTo>
                  <a:pt x="319" y="673"/>
                </a:lnTo>
                <a:lnTo>
                  <a:pt x="317" y="672"/>
                </a:lnTo>
                <a:lnTo>
                  <a:pt x="316" y="670"/>
                </a:lnTo>
                <a:lnTo>
                  <a:pt x="314" y="668"/>
                </a:lnTo>
                <a:lnTo>
                  <a:pt x="311" y="668"/>
                </a:lnTo>
                <a:lnTo>
                  <a:pt x="311" y="667"/>
                </a:lnTo>
                <a:lnTo>
                  <a:pt x="309" y="665"/>
                </a:lnTo>
                <a:lnTo>
                  <a:pt x="309" y="663"/>
                </a:lnTo>
                <a:lnTo>
                  <a:pt x="307" y="660"/>
                </a:lnTo>
                <a:lnTo>
                  <a:pt x="306" y="658"/>
                </a:lnTo>
                <a:lnTo>
                  <a:pt x="307" y="656"/>
                </a:lnTo>
                <a:lnTo>
                  <a:pt x="307" y="655"/>
                </a:lnTo>
                <a:lnTo>
                  <a:pt x="309" y="655"/>
                </a:lnTo>
                <a:lnTo>
                  <a:pt x="309" y="653"/>
                </a:lnTo>
                <a:lnTo>
                  <a:pt x="307" y="650"/>
                </a:lnTo>
                <a:lnTo>
                  <a:pt x="309" y="648"/>
                </a:lnTo>
                <a:lnTo>
                  <a:pt x="309" y="644"/>
                </a:lnTo>
                <a:lnTo>
                  <a:pt x="311" y="643"/>
                </a:lnTo>
                <a:lnTo>
                  <a:pt x="309" y="643"/>
                </a:lnTo>
                <a:lnTo>
                  <a:pt x="311" y="643"/>
                </a:lnTo>
                <a:lnTo>
                  <a:pt x="311" y="641"/>
                </a:lnTo>
                <a:lnTo>
                  <a:pt x="312" y="641"/>
                </a:lnTo>
                <a:lnTo>
                  <a:pt x="314" y="639"/>
                </a:lnTo>
                <a:lnTo>
                  <a:pt x="316" y="639"/>
                </a:lnTo>
                <a:lnTo>
                  <a:pt x="317" y="638"/>
                </a:lnTo>
                <a:lnTo>
                  <a:pt x="319" y="636"/>
                </a:lnTo>
                <a:lnTo>
                  <a:pt x="321" y="636"/>
                </a:lnTo>
                <a:lnTo>
                  <a:pt x="323" y="632"/>
                </a:lnTo>
                <a:lnTo>
                  <a:pt x="321" y="631"/>
                </a:lnTo>
                <a:lnTo>
                  <a:pt x="323" y="629"/>
                </a:lnTo>
                <a:lnTo>
                  <a:pt x="323" y="631"/>
                </a:lnTo>
                <a:lnTo>
                  <a:pt x="324" y="631"/>
                </a:lnTo>
                <a:lnTo>
                  <a:pt x="324" y="632"/>
                </a:lnTo>
                <a:lnTo>
                  <a:pt x="326" y="632"/>
                </a:lnTo>
                <a:lnTo>
                  <a:pt x="326" y="636"/>
                </a:lnTo>
                <a:lnTo>
                  <a:pt x="328" y="638"/>
                </a:lnTo>
                <a:lnTo>
                  <a:pt x="329" y="639"/>
                </a:lnTo>
                <a:lnTo>
                  <a:pt x="331" y="639"/>
                </a:lnTo>
                <a:lnTo>
                  <a:pt x="331" y="641"/>
                </a:lnTo>
                <a:lnTo>
                  <a:pt x="333" y="641"/>
                </a:lnTo>
                <a:lnTo>
                  <a:pt x="334" y="641"/>
                </a:lnTo>
                <a:lnTo>
                  <a:pt x="338" y="639"/>
                </a:lnTo>
                <a:lnTo>
                  <a:pt x="338" y="638"/>
                </a:lnTo>
                <a:lnTo>
                  <a:pt x="340" y="638"/>
                </a:lnTo>
                <a:lnTo>
                  <a:pt x="341" y="636"/>
                </a:lnTo>
                <a:lnTo>
                  <a:pt x="341" y="634"/>
                </a:lnTo>
                <a:lnTo>
                  <a:pt x="340" y="632"/>
                </a:lnTo>
                <a:lnTo>
                  <a:pt x="341" y="632"/>
                </a:lnTo>
                <a:lnTo>
                  <a:pt x="341" y="631"/>
                </a:lnTo>
                <a:lnTo>
                  <a:pt x="343" y="629"/>
                </a:lnTo>
                <a:lnTo>
                  <a:pt x="346" y="629"/>
                </a:lnTo>
                <a:lnTo>
                  <a:pt x="348" y="629"/>
                </a:lnTo>
                <a:lnTo>
                  <a:pt x="351" y="629"/>
                </a:lnTo>
                <a:lnTo>
                  <a:pt x="351" y="627"/>
                </a:lnTo>
                <a:lnTo>
                  <a:pt x="353" y="627"/>
                </a:lnTo>
                <a:lnTo>
                  <a:pt x="355" y="626"/>
                </a:lnTo>
                <a:lnTo>
                  <a:pt x="357" y="627"/>
                </a:lnTo>
                <a:lnTo>
                  <a:pt x="358" y="629"/>
                </a:lnTo>
                <a:lnTo>
                  <a:pt x="358" y="631"/>
                </a:lnTo>
                <a:lnTo>
                  <a:pt x="358" y="632"/>
                </a:lnTo>
                <a:lnTo>
                  <a:pt x="360" y="634"/>
                </a:lnTo>
                <a:lnTo>
                  <a:pt x="363" y="634"/>
                </a:lnTo>
                <a:lnTo>
                  <a:pt x="365" y="634"/>
                </a:lnTo>
                <a:lnTo>
                  <a:pt x="367" y="632"/>
                </a:lnTo>
                <a:lnTo>
                  <a:pt x="368" y="632"/>
                </a:lnTo>
                <a:lnTo>
                  <a:pt x="368" y="636"/>
                </a:lnTo>
                <a:lnTo>
                  <a:pt x="370" y="638"/>
                </a:lnTo>
                <a:lnTo>
                  <a:pt x="372" y="639"/>
                </a:lnTo>
                <a:lnTo>
                  <a:pt x="374" y="639"/>
                </a:lnTo>
                <a:lnTo>
                  <a:pt x="375" y="641"/>
                </a:lnTo>
                <a:lnTo>
                  <a:pt x="379" y="641"/>
                </a:lnTo>
                <a:lnTo>
                  <a:pt x="377" y="641"/>
                </a:lnTo>
                <a:lnTo>
                  <a:pt x="379" y="643"/>
                </a:lnTo>
                <a:lnTo>
                  <a:pt x="380" y="643"/>
                </a:lnTo>
                <a:lnTo>
                  <a:pt x="384" y="643"/>
                </a:lnTo>
                <a:lnTo>
                  <a:pt x="385" y="641"/>
                </a:lnTo>
                <a:lnTo>
                  <a:pt x="387" y="641"/>
                </a:lnTo>
                <a:lnTo>
                  <a:pt x="389" y="639"/>
                </a:lnTo>
                <a:lnTo>
                  <a:pt x="391" y="638"/>
                </a:lnTo>
                <a:lnTo>
                  <a:pt x="392" y="638"/>
                </a:lnTo>
                <a:lnTo>
                  <a:pt x="394" y="638"/>
                </a:lnTo>
                <a:lnTo>
                  <a:pt x="396" y="636"/>
                </a:lnTo>
                <a:lnTo>
                  <a:pt x="397" y="638"/>
                </a:lnTo>
                <a:lnTo>
                  <a:pt x="401" y="638"/>
                </a:lnTo>
                <a:lnTo>
                  <a:pt x="402" y="638"/>
                </a:lnTo>
                <a:lnTo>
                  <a:pt x="404" y="638"/>
                </a:lnTo>
                <a:lnTo>
                  <a:pt x="408" y="638"/>
                </a:lnTo>
                <a:lnTo>
                  <a:pt x="409" y="638"/>
                </a:lnTo>
                <a:lnTo>
                  <a:pt x="411" y="638"/>
                </a:lnTo>
                <a:lnTo>
                  <a:pt x="414" y="638"/>
                </a:lnTo>
                <a:lnTo>
                  <a:pt x="416" y="638"/>
                </a:lnTo>
                <a:lnTo>
                  <a:pt x="418" y="636"/>
                </a:lnTo>
                <a:lnTo>
                  <a:pt x="421" y="636"/>
                </a:lnTo>
                <a:lnTo>
                  <a:pt x="425" y="634"/>
                </a:lnTo>
                <a:lnTo>
                  <a:pt x="426" y="634"/>
                </a:lnTo>
                <a:lnTo>
                  <a:pt x="428" y="634"/>
                </a:lnTo>
                <a:lnTo>
                  <a:pt x="430" y="632"/>
                </a:lnTo>
                <a:lnTo>
                  <a:pt x="433" y="631"/>
                </a:lnTo>
                <a:lnTo>
                  <a:pt x="435" y="627"/>
                </a:lnTo>
                <a:lnTo>
                  <a:pt x="436" y="626"/>
                </a:lnTo>
                <a:lnTo>
                  <a:pt x="438" y="626"/>
                </a:lnTo>
                <a:lnTo>
                  <a:pt x="442" y="626"/>
                </a:lnTo>
                <a:lnTo>
                  <a:pt x="442" y="624"/>
                </a:lnTo>
                <a:lnTo>
                  <a:pt x="443" y="624"/>
                </a:lnTo>
                <a:lnTo>
                  <a:pt x="445" y="622"/>
                </a:lnTo>
                <a:lnTo>
                  <a:pt x="447" y="624"/>
                </a:lnTo>
                <a:lnTo>
                  <a:pt x="448" y="626"/>
                </a:lnTo>
                <a:lnTo>
                  <a:pt x="452" y="626"/>
                </a:lnTo>
                <a:lnTo>
                  <a:pt x="453" y="626"/>
                </a:lnTo>
                <a:lnTo>
                  <a:pt x="453" y="627"/>
                </a:lnTo>
                <a:lnTo>
                  <a:pt x="457" y="627"/>
                </a:lnTo>
                <a:lnTo>
                  <a:pt x="459" y="626"/>
                </a:lnTo>
                <a:lnTo>
                  <a:pt x="460" y="624"/>
                </a:lnTo>
                <a:lnTo>
                  <a:pt x="462" y="622"/>
                </a:lnTo>
                <a:lnTo>
                  <a:pt x="462" y="621"/>
                </a:lnTo>
                <a:lnTo>
                  <a:pt x="464" y="621"/>
                </a:lnTo>
                <a:lnTo>
                  <a:pt x="464" y="617"/>
                </a:lnTo>
                <a:lnTo>
                  <a:pt x="462" y="615"/>
                </a:lnTo>
                <a:lnTo>
                  <a:pt x="464" y="617"/>
                </a:lnTo>
                <a:lnTo>
                  <a:pt x="464" y="621"/>
                </a:lnTo>
                <a:lnTo>
                  <a:pt x="467" y="621"/>
                </a:lnTo>
                <a:lnTo>
                  <a:pt x="470" y="619"/>
                </a:lnTo>
                <a:lnTo>
                  <a:pt x="472" y="619"/>
                </a:lnTo>
                <a:lnTo>
                  <a:pt x="476" y="617"/>
                </a:lnTo>
                <a:lnTo>
                  <a:pt x="477" y="615"/>
                </a:lnTo>
                <a:lnTo>
                  <a:pt x="477" y="614"/>
                </a:lnTo>
                <a:lnTo>
                  <a:pt x="479" y="612"/>
                </a:lnTo>
                <a:lnTo>
                  <a:pt x="481" y="612"/>
                </a:lnTo>
                <a:close/>
                <a:moveTo>
                  <a:pt x="127" y="413"/>
                </a:moveTo>
                <a:lnTo>
                  <a:pt x="129" y="415"/>
                </a:lnTo>
                <a:lnTo>
                  <a:pt x="129" y="416"/>
                </a:lnTo>
                <a:lnTo>
                  <a:pt x="129" y="418"/>
                </a:lnTo>
                <a:lnTo>
                  <a:pt x="129" y="415"/>
                </a:lnTo>
                <a:lnTo>
                  <a:pt x="130" y="416"/>
                </a:lnTo>
                <a:lnTo>
                  <a:pt x="132" y="418"/>
                </a:lnTo>
                <a:lnTo>
                  <a:pt x="132" y="416"/>
                </a:lnTo>
                <a:lnTo>
                  <a:pt x="134" y="416"/>
                </a:lnTo>
                <a:lnTo>
                  <a:pt x="134" y="418"/>
                </a:lnTo>
                <a:lnTo>
                  <a:pt x="137" y="418"/>
                </a:lnTo>
                <a:lnTo>
                  <a:pt x="136" y="420"/>
                </a:lnTo>
                <a:lnTo>
                  <a:pt x="137" y="420"/>
                </a:lnTo>
                <a:lnTo>
                  <a:pt x="137" y="422"/>
                </a:lnTo>
                <a:lnTo>
                  <a:pt x="137" y="423"/>
                </a:lnTo>
                <a:lnTo>
                  <a:pt x="139" y="422"/>
                </a:lnTo>
                <a:lnTo>
                  <a:pt x="141" y="422"/>
                </a:lnTo>
                <a:lnTo>
                  <a:pt x="142" y="420"/>
                </a:lnTo>
                <a:lnTo>
                  <a:pt x="142" y="422"/>
                </a:lnTo>
                <a:lnTo>
                  <a:pt x="144" y="422"/>
                </a:lnTo>
                <a:lnTo>
                  <a:pt x="142" y="423"/>
                </a:lnTo>
                <a:lnTo>
                  <a:pt x="144" y="423"/>
                </a:lnTo>
                <a:lnTo>
                  <a:pt x="144" y="425"/>
                </a:lnTo>
                <a:lnTo>
                  <a:pt x="142" y="425"/>
                </a:lnTo>
                <a:lnTo>
                  <a:pt x="142" y="427"/>
                </a:lnTo>
                <a:lnTo>
                  <a:pt x="142" y="428"/>
                </a:lnTo>
                <a:lnTo>
                  <a:pt x="141" y="430"/>
                </a:lnTo>
                <a:lnTo>
                  <a:pt x="142" y="430"/>
                </a:lnTo>
                <a:lnTo>
                  <a:pt x="142" y="428"/>
                </a:lnTo>
                <a:lnTo>
                  <a:pt x="144" y="428"/>
                </a:lnTo>
                <a:lnTo>
                  <a:pt x="144" y="430"/>
                </a:lnTo>
                <a:lnTo>
                  <a:pt x="146" y="430"/>
                </a:lnTo>
                <a:lnTo>
                  <a:pt x="147" y="430"/>
                </a:lnTo>
                <a:lnTo>
                  <a:pt x="149" y="432"/>
                </a:lnTo>
                <a:lnTo>
                  <a:pt x="147" y="430"/>
                </a:lnTo>
                <a:lnTo>
                  <a:pt x="146" y="432"/>
                </a:lnTo>
                <a:lnTo>
                  <a:pt x="146" y="433"/>
                </a:lnTo>
                <a:lnTo>
                  <a:pt x="144" y="435"/>
                </a:lnTo>
                <a:lnTo>
                  <a:pt x="144" y="437"/>
                </a:lnTo>
                <a:lnTo>
                  <a:pt x="142" y="435"/>
                </a:lnTo>
                <a:lnTo>
                  <a:pt x="141" y="437"/>
                </a:lnTo>
                <a:lnTo>
                  <a:pt x="142" y="437"/>
                </a:lnTo>
                <a:lnTo>
                  <a:pt x="141" y="437"/>
                </a:lnTo>
                <a:lnTo>
                  <a:pt x="142" y="437"/>
                </a:lnTo>
                <a:lnTo>
                  <a:pt x="144" y="437"/>
                </a:lnTo>
                <a:lnTo>
                  <a:pt x="146" y="439"/>
                </a:lnTo>
                <a:lnTo>
                  <a:pt x="147" y="437"/>
                </a:lnTo>
                <a:lnTo>
                  <a:pt x="149" y="437"/>
                </a:lnTo>
                <a:lnTo>
                  <a:pt x="147" y="439"/>
                </a:lnTo>
                <a:lnTo>
                  <a:pt x="149" y="440"/>
                </a:lnTo>
                <a:lnTo>
                  <a:pt x="149" y="442"/>
                </a:lnTo>
                <a:lnTo>
                  <a:pt x="151" y="440"/>
                </a:lnTo>
                <a:lnTo>
                  <a:pt x="153" y="442"/>
                </a:lnTo>
                <a:lnTo>
                  <a:pt x="151" y="444"/>
                </a:lnTo>
                <a:lnTo>
                  <a:pt x="151" y="445"/>
                </a:lnTo>
                <a:lnTo>
                  <a:pt x="149" y="447"/>
                </a:lnTo>
                <a:lnTo>
                  <a:pt x="151" y="449"/>
                </a:lnTo>
                <a:lnTo>
                  <a:pt x="153" y="449"/>
                </a:lnTo>
                <a:lnTo>
                  <a:pt x="153" y="452"/>
                </a:lnTo>
                <a:lnTo>
                  <a:pt x="154" y="452"/>
                </a:lnTo>
                <a:lnTo>
                  <a:pt x="154" y="454"/>
                </a:lnTo>
                <a:lnTo>
                  <a:pt x="154" y="457"/>
                </a:lnTo>
                <a:lnTo>
                  <a:pt x="154" y="461"/>
                </a:lnTo>
                <a:lnTo>
                  <a:pt x="156" y="462"/>
                </a:lnTo>
                <a:lnTo>
                  <a:pt x="156" y="464"/>
                </a:lnTo>
                <a:lnTo>
                  <a:pt x="158" y="464"/>
                </a:lnTo>
                <a:lnTo>
                  <a:pt x="158" y="467"/>
                </a:lnTo>
                <a:lnTo>
                  <a:pt x="158" y="469"/>
                </a:lnTo>
                <a:lnTo>
                  <a:pt x="156" y="471"/>
                </a:lnTo>
                <a:lnTo>
                  <a:pt x="156" y="473"/>
                </a:lnTo>
                <a:lnTo>
                  <a:pt x="154" y="474"/>
                </a:lnTo>
                <a:lnTo>
                  <a:pt x="153" y="476"/>
                </a:lnTo>
                <a:lnTo>
                  <a:pt x="151" y="478"/>
                </a:lnTo>
                <a:lnTo>
                  <a:pt x="151" y="479"/>
                </a:lnTo>
                <a:lnTo>
                  <a:pt x="149" y="479"/>
                </a:lnTo>
                <a:lnTo>
                  <a:pt x="147" y="483"/>
                </a:lnTo>
                <a:lnTo>
                  <a:pt x="147" y="484"/>
                </a:lnTo>
                <a:lnTo>
                  <a:pt x="147" y="486"/>
                </a:lnTo>
                <a:lnTo>
                  <a:pt x="147" y="490"/>
                </a:lnTo>
                <a:lnTo>
                  <a:pt x="149" y="490"/>
                </a:lnTo>
                <a:lnTo>
                  <a:pt x="149" y="493"/>
                </a:lnTo>
                <a:lnTo>
                  <a:pt x="151" y="495"/>
                </a:lnTo>
                <a:lnTo>
                  <a:pt x="153" y="496"/>
                </a:lnTo>
                <a:lnTo>
                  <a:pt x="153" y="500"/>
                </a:lnTo>
                <a:lnTo>
                  <a:pt x="151" y="500"/>
                </a:lnTo>
                <a:lnTo>
                  <a:pt x="151" y="503"/>
                </a:lnTo>
                <a:lnTo>
                  <a:pt x="151" y="507"/>
                </a:lnTo>
                <a:lnTo>
                  <a:pt x="153" y="508"/>
                </a:lnTo>
                <a:lnTo>
                  <a:pt x="151" y="510"/>
                </a:lnTo>
                <a:lnTo>
                  <a:pt x="151" y="512"/>
                </a:lnTo>
                <a:lnTo>
                  <a:pt x="151" y="513"/>
                </a:lnTo>
                <a:lnTo>
                  <a:pt x="149" y="515"/>
                </a:lnTo>
                <a:lnTo>
                  <a:pt x="149" y="519"/>
                </a:lnTo>
                <a:lnTo>
                  <a:pt x="149" y="520"/>
                </a:lnTo>
                <a:lnTo>
                  <a:pt x="149" y="524"/>
                </a:lnTo>
                <a:lnTo>
                  <a:pt x="149" y="527"/>
                </a:lnTo>
                <a:lnTo>
                  <a:pt x="147" y="527"/>
                </a:lnTo>
                <a:lnTo>
                  <a:pt x="149" y="529"/>
                </a:lnTo>
                <a:lnTo>
                  <a:pt x="149" y="530"/>
                </a:lnTo>
                <a:lnTo>
                  <a:pt x="149" y="534"/>
                </a:lnTo>
                <a:lnTo>
                  <a:pt x="147" y="536"/>
                </a:lnTo>
                <a:lnTo>
                  <a:pt x="147" y="537"/>
                </a:lnTo>
                <a:lnTo>
                  <a:pt x="147" y="539"/>
                </a:lnTo>
                <a:lnTo>
                  <a:pt x="147" y="542"/>
                </a:lnTo>
                <a:lnTo>
                  <a:pt x="146" y="546"/>
                </a:lnTo>
                <a:lnTo>
                  <a:pt x="146" y="549"/>
                </a:lnTo>
                <a:lnTo>
                  <a:pt x="144" y="547"/>
                </a:lnTo>
                <a:lnTo>
                  <a:pt x="146" y="551"/>
                </a:lnTo>
                <a:lnTo>
                  <a:pt x="146" y="549"/>
                </a:lnTo>
                <a:lnTo>
                  <a:pt x="146" y="551"/>
                </a:lnTo>
                <a:lnTo>
                  <a:pt x="147" y="553"/>
                </a:lnTo>
                <a:lnTo>
                  <a:pt x="146" y="553"/>
                </a:lnTo>
                <a:lnTo>
                  <a:pt x="144" y="556"/>
                </a:lnTo>
                <a:lnTo>
                  <a:pt x="144" y="559"/>
                </a:lnTo>
                <a:lnTo>
                  <a:pt x="144" y="561"/>
                </a:lnTo>
                <a:lnTo>
                  <a:pt x="142" y="564"/>
                </a:lnTo>
                <a:lnTo>
                  <a:pt x="141" y="566"/>
                </a:lnTo>
                <a:lnTo>
                  <a:pt x="141" y="568"/>
                </a:lnTo>
                <a:lnTo>
                  <a:pt x="141" y="566"/>
                </a:lnTo>
                <a:lnTo>
                  <a:pt x="141" y="564"/>
                </a:lnTo>
                <a:lnTo>
                  <a:pt x="139" y="564"/>
                </a:lnTo>
                <a:lnTo>
                  <a:pt x="136" y="564"/>
                </a:lnTo>
                <a:lnTo>
                  <a:pt x="134" y="564"/>
                </a:lnTo>
                <a:lnTo>
                  <a:pt x="132" y="561"/>
                </a:lnTo>
                <a:lnTo>
                  <a:pt x="130" y="559"/>
                </a:lnTo>
                <a:lnTo>
                  <a:pt x="129" y="559"/>
                </a:lnTo>
                <a:lnTo>
                  <a:pt x="125" y="558"/>
                </a:lnTo>
                <a:lnTo>
                  <a:pt x="124" y="558"/>
                </a:lnTo>
                <a:lnTo>
                  <a:pt x="122" y="559"/>
                </a:lnTo>
                <a:lnTo>
                  <a:pt x="122" y="561"/>
                </a:lnTo>
                <a:lnTo>
                  <a:pt x="120" y="561"/>
                </a:lnTo>
                <a:lnTo>
                  <a:pt x="119" y="559"/>
                </a:lnTo>
                <a:lnTo>
                  <a:pt x="117" y="559"/>
                </a:lnTo>
                <a:lnTo>
                  <a:pt x="117" y="556"/>
                </a:lnTo>
                <a:lnTo>
                  <a:pt x="115" y="556"/>
                </a:lnTo>
                <a:lnTo>
                  <a:pt x="115" y="554"/>
                </a:lnTo>
                <a:lnTo>
                  <a:pt x="113" y="554"/>
                </a:lnTo>
                <a:lnTo>
                  <a:pt x="115" y="558"/>
                </a:lnTo>
                <a:lnTo>
                  <a:pt x="117" y="558"/>
                </a:lnTo>
                <a:lnTo>
                  <a:pt x="117" y="559"/>
                </a:lnTo>
                <a:lnTo>
                  <a:pt x="115" y="558"/>
                </a:lnTo>
                <a:lnTo>
                  <a:pt x="117" y="559"/>
                </a:lnTo>
                <a:lnTo>
                  <a:pt x="115" y="559"/>
                </a:lnTo>
                <a:lnTo>
                  <a:pt x="113" y="563"/>
                </a:lnTo>
                <a:lnTo>
                  <a:pt x="112" y="564"/>
                </a:lnTo>
                <a:lnTo>
                  <a:pt x="113" y="568"/>
                </a:lnTo>
                <a:lnTo>
                  <a:pt x="115" y="570"/>
                </a:lnTo>
                <a:lnTo>
                  <a:pt x="113" y="573"/>
                </a:lnTo>
                <a:lnTo>
                  <a:pt x="113" y="575"/>
                </a:lnTo>
                <a:lnTo>
                  <a:pt x="112" y="575"/>
                </a:lnTo>
                <a:lnTo>
                  <a:pt x="112" y="576"/>
                </a:lnTo>
                <a:lnTo>
                  <a:pt x="110" y="576"/>
                </a:lnTo>
                <a:lnTo>
                  <a:pt x="107" y="580"/>
                </a:lnTo>
                <a:lnTo>
                  <a:pt x="103" y="583"/>
                </a:lnTo>
                <a:lnTo>
                  <a:pt x="102" y="580"/>
                </a:lnTo>
                <a:lnTo>
                  <a:pt x="100" y="581"/>
                </a:lnTo>
                <a:lnTo>
                  <a:pt x="100" y="580"/>
                </a:lnTo>
                <a:lnTo>
                  <a:pt x="98" y="580"/>
                </a:lnTo>
                <a:lnTo>
                  <a:pt x="96" y="578"/>
                </a:lnTo>
                <a:lnTo>
                  <a:pt x="96" y="580"/>
                </a:lnTo>
                <a:lnTo>
                  <a:pt x="93" y="580"/>
                </a:lnTo>
                <a:lnTo>
                  <a:pt x="93" y="581"/>
                </a:lnTo>
                <a:lnTo>
                  <a:pt x="91" y="581"/>
                </a:lnTo>
                <a:lnTo>
                  <a:pt x="93" y="583"/>
                </a:lnTo>
                <a:lnTo>
                  <a:pt x="91" y="583"/>
                </a:lnTo>
                <a:lnTo>
                  <a:pt x="91" y="581"/>
                </a:lnTo>
                <a:lnTo>
                  <a:pt x="90" y="581"/>
                </a:lnTo>
                <a:lnTo>
                  <a:pt x="91" y="580"/>
                </a:lnTo>
                <a:lnTo>
                  <a:pt x="91" y="578"/>
                </a:lnTo>
                <a:lnTo>
                  <a:pt x="90" y="576"/>
                </a:lnTo>
                <a:lnTo>
                  <a:pt x="88" y="575"/>
                </a:lnTo>
                <a:lnTo>
                  <a:pt x="88" y="573"/>
                </a:lnTo>
                <a:lnTo>
                  <a:pt x="88" y="571"/>
                </a:lnTo>
                <a:lnTo>
                  <a:pt x="85" y="570"/>
                </a:lnTo>
                <a:lnTo>
                  <a:pt x="83" y="570"/>
                </a:lnTo>
                <a:lnTo>
                  <a:pt x="83" y="566"/>
                </a:lnTo>
                <a:lnTo>
                  <a:pt x="83" y="564"/>
                </a:lnTo>
                <a:lnTo>
                  <a:pt x="81" y="564"/>
                </a:lnTo>
                <a:lnTo>
                  <a:pt x="81" y="563"/>
                </a:lnTo>
                <a:lnTo>
                  <a:pt x="79" y="561"/>
                </a:lnTo>
                <a:lnTo>
                  <a:pt x="79" y="563"/>
                </a:lnTo>
                <a:lnTo>
                  <a:pt x="79" y="559"/>
                </a:lnTo>
                <a:lnTo>
                  <a:pt x="78" y="558"/>
                </a:lnTo>
                <a:lnTo>
                  <a:pt x="78" y="556"/>
                </a:lnTo>
                <a:lnTo>
                  <a:pt x="79" y="556"/>
                </a:lnTo>
                <a:lnTo>
                  <a:pt x="79" y="554"/>
                </a:lnTo>
                <a:lnTo>
                  <a:pt x="81" y="553"/>
                </a:lnTo>
                <a:lnTo>
                  <a:pt x="79" y="549"/>
                </a:lnTo>
                <a:lnTo>
                  <a:pt x="78" y="546"/>
                </a:lnTo>
                <a:lnTo>
                  <a:pt x="79" y="542"/>
                </a:lnTo>
                <a:lnTo>
                  <a:pt x="78" y="541"/>
                </a:lnTo>
                <a:lnTo>
                  <a:pt x="78" y="539"/>
                </a:lnTo>
                <a:lnTo>
                  <a:pt x="79" y="539"/>
                </a:lnTo>
                <a:lnTo>
                  <a:pt x="81" y="536"/>
                </a:lnTo>
                <a:lnTo>
                  <a:pt x="83" y="532"/>
                </a:lnTo>
                <a:lnTo>
                  <a:pt x="83" y="530"/>
                </a:lnTo>
                <a:lnTo>
                  <a:pt x="83" y="527"/>
                </a:lnTo>
                <a:lnTo>
                  <a:pt x="83" y="525"/>
                </a:lnTo>
                <a:lnTo>
                  <a:pt x="81" y="524"/>
                </a:lnTo>
                <a:lnTo>
                  <a:pt x="83" y="522"/>
                </a:lnTo>
                <a:lnTo>
                  <a:pt x="83" y="519"/>
                </a:lnTo>
                <a:lnTo>
                  <a:pt x="83" y="520"/>
                </a:lnTo>
                <a:lnTo>
                  <a:pt x="85" y="522"/>
                </a:lnTo>
                <a:lnTo>
                  <a:pt x="86" y="524"/>
                </a:lnTo>
                <a:lnTo>
                  <a:pt x="88" y="524"/>
                </a:lnTo>
                <a:lnTo>
                  <a:pt x="88" y="522"/>
                </a:lnTo>
                <a:lnTo>
                  <a:pt x="86" y="524"/>
                </a:lnTo>
                <a:lnTo>
                  <a:pt x="85" y="522"/>
                </a:lnTo>
                <a:lnTo>
                  <a:pt x="86" y="520"/>
                </a:lnTo>
                <a:lnTo>
                  <a:pt x="88" y="519"/>
                </a:lnTo>
                <a:lnTo>
                  <a:pt x="86" y="520"/>
                </a:lnTo>
                <a:lnTo>
                  <a:pt x="86" y="519"/>
                </a:lnTo>
                <a:lnTo>
                  <a:pt x="88" y="517"/>
                </a:lnTo>
                <a:lnTo>
                  <a:pt x="88" y="513"/>
                </a:lnTo>
                <a:lnTo>
                  <a:pt x="88" y="512"/>
                </a:lnTo>
                <a:lnTo>
                  <a:pt x="90" y="512"/>
                </a:lnTo>
                <a:lnTo>
                  <a:pt x="88" y="512"/>
                </a:lnTo>
                <a:lnTo>
                  <a:pt x="88" y="510"/>
                </a:lnTo>
                <a:lnTo>
                  <a:pt x="90" y="512"/>
                </a:lnTo>
                <a:lnTo>
                  <a:pt x="88" y="510"/>
                </a:lnTo>
                <a:lnTo>
                  <a:pt x="86" y="508"/>
                </a:lnTo>
                <a:lnTo>
                  <a:pt x="85" y="508"/>
                </a:lnTo>
                <a:lnTo>
                  <a:pt x="86" y="507"/>
                </a:lnTo>
                <a:lnTo>
                  <a:pt x="85" y="505"/>
                </a:lnTo>
                <a:lnTo>
                  <a:pt x="86" y="503"/>
                </a:lnTo>
                <a:lnTo>
                  <a:pt x="86" y="502"/>
                </a:lnTo>
                <a:lnTo>
                  <a:pt x="86" y="503"/>
                </a:lnTo>
                <a:lnTo>
                  <a:pt x="85" y="503"/>
                </a:lnTo>
                <a:lnTo>
                  <a:pt x="83" y="507"/>
                </a:lnTo>
                <a:lnTo>
                  <a:pt x="85" y="507"/>
                </a:lnTo>
                <a:lnTo>
                  <a:pt x="86" y="507"/>
                </a:lnTo>
                <a:lnTo>
                  <a:pt x="85" y="508"/>
                </a:lnTo>
                <a:lnTo>
                  <a:pt x="83" y="508"/>
                </a:lnTo>
                <a:lnTo>
                  <a:pt x="85" y="508"/>
                </a:lnTo>
                <a:lnTo>
                  <a:pt x="83" y="508"/>
                </a:lnTo>
                <a:lnTo>
                  <a:pt x="83" y="510"/>
                </a:lnTo>
                <a:lnTo>
                  <a:pt x="85" y="508"/>
                </a:lnTo>
                <a:lnTo>
                  <a:pt x="83" y="510"/>
                </a:lnTo>
                <a:lnTo>
                  <a:pt x="81" y="512"/>
                </a:lnTo>
                <a:lnTo>
                  <a:pt x="81" y="510"/>
                </a:lnTo>
                <a:lnTo>
                  <a:pt x="79" y="508"/>
                </a:lnTo>
                <a:lnTo>
                  <a:pt x="79" y="505"/>
                </a:lnTo>
                <a:lnTo>
                  <a:pt x="79" y="503"/>
                </a:lnTo>
                <a:lnTo>
                  <a:pt x="81" y="500"/>
                </a:lnTo>
                <a:lnTo>
                  <a:pt x="79" y="500"/>
                </a:lnTo>
                <a:lnTo>
                  <a:pt x="81" y="498"/>
                </a:lnTo>
                <a:lnTo>
                  <a:pt x="83" y="498"/>
                </a:lnTo>
                <a:lnTo>
                  <a:pt x="85" y="496"/>
                </a:lnTo>
                <a:lnTo>
                  <a:pt x="85" y="495"/>
                </a:lnTo>
                <a:lnTo>
                  <a:pt x="85" y="493"/>
                </a:lnTo>
                <a:lnTo>
                  <a:pt x="83" y="491"/>
                </a:lnTo>
                <a:lnTo>
                  <a:pt x="83" y="490"/>
                </a:lnTo>
                <a:lnTo>
                  <a:pt x="85" y="488"/>
                </a:lnTo>
                <a:lnTo>
                  <a:pt x="85" y="484"/>
                </a:lnTo>
                <a:lnTo>
                  <a:pt x="85" y="483"/>
                </a:lnTo>
                <a:lnTo>
                  <a:pt x="85" y="481"/>
                </a:lnTo>
                <a:lnTo>
                  <a:pt x="86" y="481"/>
                </a:lnTo>
                <a:lnTo>
                  <a:pt x="85" y="481"/>
                </a:lnTo>
                <a:lnTo>
                  <a:pt x="85" y="479"/>
                </a:lnTo>
                <a:lnTo>
                  <a:pt x="83" y="478"/>
                </a:lnTo>
                <a:lnTo>
                  <a:pt x="79" y="478"/>
                </a:lnTo>
                <a:lnTo>
                  <a:pt x="79" y="476"/>
                </a:lnTo>
                <a:lnTo>
                  <a:pt x="81" y="473"/>
                </a:lnTo>
                <a:lnTo>
                  <a:pt x="81" y="471"/>
                </a:lnTo>
                <a:lnTo>
                  <a:pt x="79" y="469"/>
                </a:lnTo>
                <a:lnTo>
                  <a:pt x="79" y="466"/>
                </a:lnTo>
                <a:lnTo>
                  <a:pt x="78" y="466"/>
                </a:lnTo>
                <a:lnTo>
                  <a:pt x="76" y="462"/>
                </a:lnTo>
                <a:lnTo>
                  <a:pt x="76" y="461"/>
                </a:lnTo>
                <a:lnTo>
                  <a:pt x="74" y="459"/>
                </a:lnTo>
                <a:lnTo>
                  <a:pt x="76" y="459"/>
                </a:lnTo>
                <a:lnTo>
                  <a:pt x="73" y="459"/>
                </a:lnTo>
                <a:lnTo>
                  <a:pt x="73" y="461"/>
                </a:lnTo>
                <a:lnTo>
                  <a:pt x="71" y="461"/>
                </a:lnTo>
                <a:lnTo>
                  <a:pt x="71" y="459"/>
                </a:lnTo>
                <a:lnTo>
                  <a:pt x="69" y="457"/>
                </a:lnTo>
                <a:lnTo>
                  <a:pt x="69" y="459"/>
                </a:lnTo>
                <a:lnTo>
                  <a:pt x="68" y="461"/>
                </a:lnTo>
                <a:lnTo>
                  <a:pt x="68" y="459"/>
                </a:lnTo>
                <a:lnTo>
                  <a:pt x="68" y="457"/>
                </a:lnTo>
                <a:lnTo>
                  <a:pt x="69" y="456"/>
                </a:lnTo>
                <a:lnTo>
                  <a:pt x="71" y="452"/>
                </a:lnTo>
                <a:lnTo>
                  <a:pt x="69" y="452"/>
                </a:lnTo>
                <a:lnTo>
                  <a:pt x="69" y="450"/>
                </a:lnTo>
                <a:lnTo>
                  <a:pt x="68" y="449"/>
                </a:lnTo>
                <a:lnTo>
                  <a:pt x="68" y="447"/>
                </a:lnTo>
                <a:lnTo>
                  <a:pt x="69" y="447"/>
                </a:lnTo>
                <a:lnTo>
                  <a:pt x="69" y="444"/>
                </a:lnTo>
                <a:lnTo>
                  <a:pt x="71" y="442"/>
                </a:lnTo>
                <a:lnTo>
                  <a:pt x="71" y="440"/>
                </a:lnTo>
                <a:lnTo>
                  <a:pt x="73" y="439"/>
                </a:lnTo>
                <a:lnTo>
                  <a:pt x="73" y="437"/>
                </a:lnTo>
                <a:lnTo>
                  <a:pt x="71" y="437"/>
                </a:lnTo>
                <a:lnTo>
                  <a:pt x="69" y="435"/>
                </a:lnTo>
                <a:lnTo>
                  <a:pt x="71" y="432"/>
                </a:lnTo>
                <a:lnTo>
                  <a:pt x="73" y="433"/>
                </a:lnTo>
                <a:lnTo>
                  <a:pt x="73" y="437"/>
                </a:lnTo>
                <a:lnTo>
                  <a:pt x="73" y="439"/>
                </a:lnTo>
                <a:lnTo>
                  <a:pt x="74" y="439"/>
                </a:lnTo>
                <a:lnTo>
                  <a:pt x="76" y="442"/>
                </a:lnTo>
                <a:lnTo>
                  <a:pt x="78" y="442"/>
                </a:lnTo>
                <a:lnTo>
                  <a:pt x="79" y="440"/>
                </a:lnTo>
                <a:lnTo>
                  <a:pt x="81" y="440"/>
                </a:lnTo>
                <a:lnTo>
                  <a:pt x="79" y="440"/>
                </a:lnTo>
                <a:lnTo>
                  <a:pt x="79" y="442"/>
                </a:lnTo>
                <a:lnTo>
                  <a:pt x="81" y="440"/>
                </a:lnTo>
                <a:lnTo>
                  <a:pt x="81" y="442"/>
                </a:lnTo>
                <a:lnTo>
                  <a:pt x="83" y="442"/>
                </a:lnTo>
                <a:lnTo>
                  <a:pt x="85" y="444"/>
                </a:lnTo>
                <a:lnTo>
                  <a:pt x="86" y="444"/>
                </a:lnTo>
                <a:lnTo>
                  <a:pt x="88" y="444"/>
                </a:lnTo>
                <a:lnTo>
                  <a:pt x="90" y="442"/>
                </a:lnTo>
                <a:lnTo>
                  <a:pt x="91" y="442"/>
                </a:lnTo>
                <a:lnTo>
                  <a:pt x="93" y="440"/>
                </a:lnTo>
                <a:lnTo>
                  <a:pt x="95" y="439"/>
                </a:lnTo>
                <a:lnTo>
                  <a:pt x="96" y="437"/>
                </a:lnTo>
                <a:lnTo>
                  <a:pt x="98" y="437"/>
                </a:lnTo>
                <a:lnTo>
                  <a:pt x="102" y="437"/>
                </a:lnTo>
                <a:lnTo>
                  <a:pt x="103" y="435"/>
                </a:lnTo>
                <a:lnTo>
                  <a:pt x="105" y="433"/>
                </a:lnTo>
                <a:lnTo>
                  <a:pt x="107" y="432"/>
                </a:lnTo>
                <a:lnTo>
                  <a:pt x="107" y="428"/>
                </a:lnTo>
                <a:lnTo>
                  <a:pt x="110" y="428"/>
                </a:lnTo>
                <a:lnTo>
                  <a:pt x="110" y="427"/>
                </a:lnTo>
                <a:lnTo>
                  <a:pt x="113" y="425"/>
                </a:lnTo>
                <a:lnTo>
                  <a:pt x="115" y="422"/>
                </a:lnTo>
                <a:lnTo>
                  <a:pt x="117" y="422"/>
                </a:lnTo>
                <a:lnTo>
                  <a:pt x="119" y="422"/>
                </a:lnTo>
                <a:lnTo>
                  <a:pt x="120" y="420"/>
                </a:lnTo>
                <a:lnTo>
                  <a:pt x="124" y="418"/>
                </a:lnTo>
                <a:lnTo>
                  <a:pt x="122" y="416"/>
                </a:lnTo>
                <a:lnTo>
                  <a:pt x="124" y="415"/>
                </a:lnTo>
                <a:lnTo>
                  <a:pt x="122" y="415"/>
                </a:lnTo>
                <a:lnTo>
                  <a:pt x="122" y="413"/>
                </a:lnTo>
                <a:lnTo>
                  <a:pt x="124" y="415"/>
                </a:lnTo>
                <a:lnTo>
                  <a:pt x="125" y="413"/>
                </a:lnTo>
                <a:lnTo>
                  <a:pt x="124" y="415"/>
                </a:lnTo>
                <a:lnTo>
                  <a:pt x="127" y="413"/>
                </a:lnTo>
                <a:close/>
                <a:moveTo>
                  <a:pt x="190" y="299"/>
                </a:moveTo>
                <a:lnTo>
                  <a:pt x="190" y="302"/>
                </a:lnTo>
                <a:lnTo>
                  <a:pt x="190" y="304"/>
                </a:lnTo>
                <a:lnTo>
                  <a:pt x="188" y="306"/>
                </a:lnTo>
                <a:lnTo>
                  <a:pt x="190" y="308"/>
                </a:lnTo>
                <a:lnTo>
                  <a:pt x="190" y="309"/>
                </a:lnTo>
                <a:lnTo>
                  <a:pt x="187" y="309"/>
                </a:lnTo>
                <a:lnTo>
                  <a:pt x="187" y="306"/>
                </a:lnTo>
                <a:lnTo>
                  <a:pt x="185" y="306"/>
                </a:lnTo>
                <a:lnTo>
                  <a:pt x="185" y="308"/>
                </a:lnTo>
                <a:lnTo>
                  <a:pt x="183" y="306"/>
                </a:lnTo>
                <a:lnTo>
                  <a:pt x="183" y="308"/>
                </a:lnTo>
                <a:lnTo>
                  <a:pt x="180" y="308"/>
                </a:lnTo>
                <a:lnTo>
                  <a:pt x="178" y="308"/>
                </a:lnTo>
                <a:lnTo>
                  <a:pt x="176" y="309"/>
                </a:lnTo>
                <a:lnTo>
                  <a:pt x="175" y="308"/>
                </a:lnTo>
                <a:lnTo>
                  <a:pt x="173" y="306"/>
                </a:lnTo>
                <a:lnTo>
                  <a:pt x="173" y="304"/>
                </a:lnTo>
                <a:lnTo>
                  <a:pt x="175" y="302"/>
                </a:lnTo>
                <a:lnTo>
                  <a:pt x="178" y="302"/>
                </a:lnTo>
                <a:lnTo>
                  <a:pt x="180" y="304"/>
                </a:lnTo>
                <a:lnTo>
                  <a:pt x="181" y="302"/>
                </a:lnTo>
                <a:lnTo>
                  <a:pt x="181" y="301"/>
                </a:lnTo>
                <a:lnTo>
                  <a:pt x="183" y="302"/>
                </a:lnTo>
                <a:lnTo>
                  <a:pt x="185" y="302"/>
                </a:lnTo>
                <a:lnTo>
                  <a:pt x="187" y="302"/>
                </a:lnTo>
                <a:lnTo>
                  <a:pt x="187" y="301"/>
                </a:lnTo>
                <a:lnTo>
                  <a:pt x="188" y="299"/>
                </a:lnTo>
                <a:lnTo>
                  <a:pt x="188" y="297"/>
                </a:lnTo>
                <a:lnTo>
                  <a:pt x="190" y="299"/>
                </a:lnTo>
                <a:close/>
                <a:moveTo>
                  <a:pt x="78" y="564"/>
                </a:moveTo>
                <a:lnTo>
                  <a:pt x="78" y="566"/>
                </a:lnTo>
                <a:lnTo>
                  <a:pt x="79" y="566"/>
                </a:lnTo>
                <a:lnTo>
                  <a:pt x="81" y="568"/>
                </a:lnTo>
                <a:lnTo>
                  <a:pt x="83" y="570"/>
                </a:lnTo>
                <a:lnTo>
                  <a:pt x="81" y="571"/>
                </a:lnTo>
                <a:lnTo>
                  <a:pt x="81" y="575"/>
                </a:lnTo>
                <a:lnTo>
                  <a:pt x="79" y="576"/>
                </a:lnTo>
                <a:lnTo>
                  <a:pt x="78" y="573"/>
                </a:lnTo>
                <a:lnTo>
                  <a:pt x="76" y="571"/>
                </a:lnTo>
                <a:lnTo>
                  <a:pt x="76" y="568"/>
                </a:lnTo>
                <a:lnTo>
                  <a:pt x="78" y="564"/>
                </a:lnTo>
                <a:close/>
                <a:moveTo>
                  <a:pt x="282" y="728"/>
                </a:moveTo>
                <a:lnTo>
                  <a:pt x="283" y="729"/>
                </a:lnTo>
                <a:lnTo>
                  <a:pt x="287" y="731"/>
                </a:lnTo>
                <a:lnTo>
                  <a:pt x="287" y="735"/>
                </a:lnTo>
                <a:lnTo>
                  <a:pt x="285" y="736"/>
                </a:lnTo>
                <a:lnTo>
                  <a:pt x="283" y="736"/>
                </a:lnTo>
                <a:lnTo>
                  <a:pt x="282" y="733"/>
                </a:lnTo>
                <a:lnTo>
                  <a:pt x="280" y="731"/>
                </a:lnTo>
                <a:lnTo>
                  <a:pt x="280" y="729"/>
                </a:lnTo>
                <a:lnTo>
                  <a:pt x="282" y="728"/>
                </a:lnTo>
                <a:close/>
                <a:moveTo>
                  <a:pt x="78" y="422"/>
                </a:moveTo>
                <a:lnTo>
                  <a:pt x="79" y="423"/>
                </a:lnTo>
                <a:lnTo>
                  <a:pt x="78" y="427"/>
                </a:lnTo>
                <a:lnTo>
                  <a:pt x="76" y="425"/>
                </a:lnTo>
                <a:lnTo>
                  <a:pt x="74" y="427"/>
                </a:lnTo>
                <a:lnTo>
                  <a:pt x="73" y="428"/>
                </a:lnTo>
                <a:lnTo>
                  <a:pt x="74" y="430"/>
                </a:lnTo>
                <a:lnTo>
                  <a:pt x="74" y="432"/>
                </a:lnTo>
                <a:lnTo>
                  <a:pt x="73" y="430"/>
                </a:lnTo>
                <a:lnTo>
                  <a:pt x="73" y="432"/>
                </a:lnTo>
                <a:lnTo>
                  <a:pt x="73" y="430"/>
                </a:lnTo>
                <a:lnTo>
                  <a:pt x="71" y="430"/>
                </a:lnTo>
                <a:lnTo>
                  <a:pt x="73" y="428"/>
                </a:lnTo>
                <a:lnTo>
                  <a:pt x="73" y="427"/>
                </a:lnTo>
                <a:lnTo>
                  <a:pt x="74" y="427"/>
                </a:lnTo>
                <a:lnTo>
                  <a:pt x="74" y="425"/>
                </a:lnTo>
                <a:lnTo>
                  <a:pt x="76" y="425"/>
                </a:lnTo>
                <a:lnTo>
                  <a:pt x="76" y="423"/>
                </a:lnTo>
                <a:lnTo>
                  <a:pt x="78" y="422"/>
                </a:lnTo>
                <a:close/>
                <a:moveTo>
                  <a:pt x="74" y="559"/>
                </a:moveTo>
                <a:lnTo>
                  <a:pt x="74" y="563"/>
                </a:lnTo>
                <a:lnTo>
                  <a:pt x="74" y="566"/>
                </a:lnTo>
                <a:lnTo>
                  <a:pt x="71" y="566"/>
                </a:lnTo>
                <a:lnTo>
                  <a:pt x="71" y="564"/>
                </a:lnTo>
                <a:lnTo>
                  <a:pt x="69" y="563"/>
                </a:lnTo>
                <a:lnTo>
                  <a:pt x="69" y="561"/>
                </a:lnTo>
                <a:lnTo>
                  <a:pt x="71" y="559"/>
                </a:lnTo>
                <a:lnTo>
                  <a:pt x="74" y="559"/>
                </a:lnTo>
                <a:close/>
                <a:moveTo>
                  <a:pt x="377" y="442"/>
                </a:moveTo>
                <a:lnTo>
                  <a:pt x="377" y="444"/>
                </a:lnTo>
                <a:lnTo>
                  <a:pt x="380" y="444"/>
                </a:lnTo>
                <a:lnTo>
                  <a:pt x="382" y="444"/>
                </a:lnTo>
                <a:lnTo>
                  <a:pt x="382" y="447"/>
                </a:lnTo>
                <a:lnTo>
                  <a:pt x="379" y="447"/>
                </a:lnTo>
                <a:lnTo>
                  <a:pt x="375" y="447"/>
                </a:lnTo>
                <a:lnTo>
                  <a:pt x="375" y="444"/>
                </a:lnTo>
                <a:lnTo>
                  <a:pt x="377" y="442"/>
                </a:lnTo>
                <a:close/>
                <a:moveTo>
                  <a:pt x="447" y="598"/>
                </a:moveTo>
                <a:lnTo>
                  <a:pt x="447" y="602"/>
                </a:lnTo>
                <a:lnTo>
                  <a:pt x="448" y="602"/>
                </a:lnTo>
                <a:lnTo>
                  <a:pt x="447" y="602"/>
                </a:lnTo>
                <a:lnTo>
                  <a:pt x="447" y="605"/>
                </a:lnTo>
                <a:lnTo>
                  <a:pt x="443" y="604"/>
                </a:lnTo>
                <a:lnTo>
                  <a:pt x="443" y="602"/>
                </a:lnTo>
                <a:lnTo>
                  <a:pt x="443" y="600"/>
                </a:lnTo>
                <a:lnTo>
                  <a:pt x="447" y="598"/>
                </a:lnTo>
                <a:close/>
                <a:moveTo>
                  <a:pt x="438" y="595"/>
                </a:moveTo>
                <a:lnTo>
                  <a:pt x="442" y="595"/>
                </a:lnTo>
                <a:lnTo>
                  <a:pt x="442" y="598"/>
                </a:lnTo>
                <a:lnTo>
                  <a:pt x="440" y="598"/>
                </a:lnTo>
                <a:lnTo>
                  <a:pt x="438" y="597"/>
                </a:lnTo>
                <a:lnTo>
                  <a:pt x="436" y="597"/>
                </a:lnTo>
                <a:lnTo>
                  <a:pt x="438" y="595"/>
                </a:lnTo>
                <a:close/>
                <a:moveTo>
                  <a:pt x="214" y="331"/>
                </a:moveTo>
                <a:lnTo>
                  <a:pt x="215" y="333"/>
                </a:lnTo>
                <a:lnTo>
                  <a:pt x="217" y="335"/>
                </a:lnTo>
                <a:lnTo>
                  <a:pt x="215" y="337"/>
                </a:lnTo>
                <a:lnTo>
                  <a:pt x="214" y="335"/>
                </a:lnTo>
                <a:lnTo>
                  <a:pt x="214" y="331"/>
                </a:lnTo>
                <a:close/>
                <a:moveTo>
                  <a:pt x="137" y="411"/>
                </a:moveTo>
                <a:lnTo>
                  <a:pt x="137" y="413"/>
                </a:lnTo>
                <a:lnTo>
                  <a:pt x="137" y="415"/>
                </a:lnTo>
                <a:lnTo>
                  <a:pt x="139" y="415"/>
                </a:lnTo>
                <a:lnTo>
                  <a:pt x="137" y="416"/>
                </a:lnTo>
                <a:lnTo>
                  <a:pt x="134" y="416"/>
                </a:lnTo>
                <a:lnTo>
                  <a:pt x="134" y="415"/>
                </a:lnTo>
                <a:lnTo>
                  <a:pt x="136" y="413"/>
                </a:lnTo>
                <a:lnTo>
                  <a:pt x="137" y="411"/>
                </a:lnTo>
                <a:close/>
                <a:moveTo>
                  <a:pt x="447" y="607"/>
                </a:moveTo>
                <a:lnTo>
                  <a:pt x="448" y="607"/>
                </a:lnTo>
                <a:lnTo>
                  <a:pt x="450" y="610"/>
                </a:lnTo>
                <a:lnTo>
                  <a:pt x="447" y="609"/>
                </a:lnTo>
                <a:lnTo>
                  <a:pt x="445" y="607"/>
                </a:lnTo>
                <a:lnTo>
                  <a:pt x="447" y="605"/>
                </a:lnTo>
                <a:lnTo>
                  <a:pt x="447" y="607"/>
                </a:lnTo>
                <a:close/>
                <a:moveTo>
                  <a:pt x="159" y="284"/>
                </a:moveTo>
                <a:lnTo>
                  <a:pt x="159" y="285"/>
                </a:lnTo>
                <a:lnTo>
                  <a:pt x="159" y="287"/>
                </a:lnTo>
                <a:lnTo>
                  <a:pt x="158" y="289"/>
                </a:lnTo>
                <a:lnTo>
                  <a:pt x="158" y="287"/>
                </a:lnTo>
                <a:lnTo>
                  <a:pt x="158" y="285"/>
                </a:lnTo>
                <a:lnTo>
                  <a:pt x="159" y="284"/>
                </a:lnTo>
                <a:close/>
                <a:moveTo>
                  <a:pt x="299" y="648"/>
                </a:moveTo>
                <a:lnTo>
                  <a:pt x="300" y="650"/>
                </a:lnTo>
                <a:lnTo>
                  <a:pt x="300" y="648"/>
                </a:lnTo>
                <a:lnTo>
                  <a:pt x="302" y="650"/>
                </a:lnTo>
                <a:lnTo>
                  <a:pt x="302" y="651"/>
                </a:lnTo>
                <a:lnTo>
                  <a:pt x="300" y="650"/>
                </a:lnTo>
                <a:lnTo>
                  <a:pt x="297" y="650"/>
                </a:lnTo>
                <a:lnTo>
                  <a:pt x="297" y="648"/>
                </a:lnTo>
                <a:lnTo>
                  <a:pt x="299" y="648"/>
                </a:lnTo>
                <a:close/>
                <a:moveTo>
                  <a:pt x="317" y="823"/>
                </a:moveTo>
                <a:lnTo>
                  <a:pt x="321" y="823"/>
                </a:lnTo>
                <a:lnTo>
                  <a:pt x="323" y="823"/>
                </a:lnTo>
                <a:lnTo>
                  <a:pt x="324" y="825"/>
                </a:lnTo>
                <a:lnTo>
                  <a:pt x="323" y="825"/>
                </a:lnTo>
                <a:lnTo>
                  <a:pt x="321" y="825"/>
                </a:lnTo>
                <a:lnTo>
                  <a:pt x="319" y="823"/>
                </a:lnTo>
                <a:lnTo>
                  <a:pt x="317" y="823"/>
                </a:lnTo>
                <a:close/>
                <a:moveTo>
                  <a:pt x="139" y="413"/>
                </a:moveTo>
                <a:lnTo>
                  <a:pt x="141" y="415"/>
                </a:lnTo>
                <a:lnTo>
                  <a:pt x="139" y="418"/>
                </a:lnTo>
                <a:lnTo>
                  <a:pt x="141" y="418"/>
                </a:lnTo>
                <a:lnTo>
                  <a:pt x="139" y="420"/>
                </a:lnTo>
                <a:lnTo>
                  <a:pt x="139" y="418"/>
                </a:lnTo>
                <a:lnTo>
                  <a:pt x="137" y="418"/>
                </a:lnTo>
                <a:lnTo>
                  <a:pt x="139" y="416"/>
                </a:lnTo>
                <a:lnTo>
                  <a:pt x="139" y="415"/>
                </a:lnTo>
                <a:lnTo>
                  <a:pt x="139" y="413"/>
                </a:lnTo>
                <a:close/>
                <a:moveTo>
                  <a:pt x="460" y="576"/>
                </a:moveTo>
                <a:lnTo>
                  <a:pt x="460" y="578"/>
                </a:lnTo>
                <a:lnTo>
                  <a:pt x="459" y="580"/>
                </a:lnTo>
                <a:lnTo>
                  <a:pt x="457" y="578"/>
                </a:lnTo>
                <a:lnTo>
                  <a:pt x="460" y="576"/>
                </a:lnTo>
                <a:close/>
                <a:moveTo>
                  <a:pt x="283" y="644"/>
                </a:moveTo>
                <a:lnTo>
                  <a:pt x="285" y="644"/>
                </a:lnTo>
                <a:lnTo>
                  <a:pt x="285" y="646"/>
                </a:lnTo>
                <a:lnTo>
                  <a:pt x="287" y="648"/>
                </a:lnTo>
                <a:lnTo>
                  <a:pt x="283" y="648"/>
                </a:lnTo>
                <a:lnTo>
                  <a:pt x="283" y="646"/>
                </a:lnTo>
                <a:lnTo>
                  <a:pt x="283" y="644"/>
                </a:lnTo>
                <a:close/>
                <a:moveTo>
                  <a:pt x="171" y="316"/>
                </a:moveTo>
                <a:lnTo>
                  <a:pt x="173" y="318"/>
                </a:lnTo>
                <a:lnTo>
                  <a:pt x="173" y="319"/>
                </a:lnTo>
                <a:lnTo>
                  <a:pt x="170" y="319"/>
                </a:lnTo>
                <a:lnTo>
                  <a:pt x="171" y="318"/>
                </a:lnTo>
                <a:lnTo>
                  <a:pt x="171" y="316"/>
                </a:lnTo>
                <a:close/>
                <a:moveTo>
                  <a:pt x="183" y="335"/>
                </a:moveTo>
                <a:lnTo>
                  <a:pt x="185" y="335"/>
                </a:lnTo>
                <a:lnTo>
                  <a:pt x="185" y="338"/>
                </a:lnTo>
                <a:lnTo>
                  <a:pt x="183" y="338"/>
                </a:lnTo>
                <a:lnTo>
                  <a:pt x="183" y="335"/>
                </a:lnTo>
                <a:close/>
                <a:moveTo>
                  <a:pt x="396" y="456"/>
                </a:moveTo>
                <a:lnTo>
                  <a:pt x="399" y="456"/>
                </a:lnTo>
                <a:lnTo>
                  <a:pt x="397" y="457"/>
                </a:lnTo>
                <a:lnTo>
                  <a:pt x="396" y="457"/>
                </a:lnTo>
                <a:lnTo>
                  <a:pt x="396" y="456"/>
                </a:lnTo>
                <a:close/>
                <a:moveTo>
                  <a:pt x="292" y="110"/>
                </a:moveTo>
                <a:lnTo>
                  <a:pt x="292" y="112"/>
                </a:lnTo>
                <a:lnTo>
                  <a:pt x="290" y="112"/>
                </a:lnTo>
                <a:lnTo>
                  <a:pt x="292" y="112"/>
                </a:lnTo>
                <a:lnTo>
                  <a:pt x="289" y="112"/>
                </a:lnTo>
                <a:lnTo>
                  <a:pt x="290" y="110"/>
                </a:lnTo>
                <a:lnTo>
                  <a:pt x="292" y="110"/>
                </a:lnTo>
                <a:close/>
                <a:moveTo>
                  <a:pt x="423" y="595"/>
                </a:moveTo>
                <a:lnTo>
                  <a:pt x="426" y="595"/>
                </a:lnTo>
                <a:lnTo>
                  <a:pt x="426" y="598"/>
                </a:lnTo>
                <a:lnTo>
                  <a:pt x="423" y="598"/>
                </a:lnTo>
                <a:lnTo>
                  <a:pt x="423" y="595"/>
                </a:lnTo>
                <a:close/>
                <a:moveTo>
                  <a:pt x="285" y="115"/>
                </a:moveTo>
                <a:lnTo>
                  <a:pt x="287" y="117"/>
                </a:lnTo>
                <a:lnTo>
                  <a:pt x="285" y="115"/>
                </a:lnTo>
                <a:lnTo>
                  <a:pt x="285" y="117"/>
                </a:lnTo>
                <a:lnTo>
                  <a:pt x="283" y="120"/>
                </a:lnTo>
                <a:lnTo>
                  <a:pt x="283" y="122"/>
                </a:lnTo>
                <a:lnTo>
                  <a:pt x="282" y="122"/>
                </a:lnTo>
                <a:lnTo>
                  <a:pt x="283" y="120"/>
                </a:lnTo>
                <a:lnTo>
                  <a:pt x="283" y="119"/>
                </a:lnTo>
                <a:lnTo>
                  <a:pt x="285" y="117"/>
                </a:lnTo>
                <a:lnTo>
                  <a:pt x="285" y="115"/>
                </a:lnTo>
                <a:close/>
                <a:moveTo>
                  <a:pt x="345" y="590"/>
                </a:moveTo>
                <a:lnTo>
                  <a:pt x="346" y="590"/>
                </a:lnTo>
                <a:lnTo>
                  <a:pt x="346" y="592"/>
                </a:lnTo>
                <a:lnTo>
                  <a:pt x="345" y="592"/>
                </a:lnTo>
                <a:lnTo>
                  <a:pt x="345" y="590"/>
                </a:lnTo>
                <a:close/>
                <a:moveTo>
                  <a:pt x="328" y="432"/>
                </a:moveTo>
                <a:lnTo>
                  <a:pt x="329" y="432"/>
                </a:lnTo>
                <a:lnTo>
                  <a:pt x="328" y="433"/>
                </a:lnTo>
                <a:lnTo>
                  <a:pt x="328" y="435"/>
                </a:lnTo>
                <a:lnTo>
                  <a:pt x="326" y="437"/>
                </a:lnTo>
                <a:lnTo>
                  <a:pt x="326" y="433"/>
                </a:lnTo>
                <a:lnTo>
                  <a:pt x="328" y="432"/>
                </a:lnTo>
                <a:close/>
                <a:moveTo>
                  <a:pt x="153" y="437"/>
                </a:moveTo>
                <a:lnTo>
                  <a:pt x="154" y="437"/>
                </a:lnTo>
                <a:lnTo>
                  <a:pt x="151" y="439"/>
                </a:lnTo>
                <a:lnTo>
                  <a:pt x="153" y="437"/>
                </a:lnTo>
                <a:lnTo>
                  <a:pt x="154" y="437"/>
                </a:lnTo>
                <a:lnTo>
                  <a:pt x="153" y="437"/>
                </a:lnTo>
                <a:close/>
                <a:moveTo>
                  <a:pt x="277" y="124"/>
                </a:moveTo>
                <a:lnTo>
                  <a:pt x="278" y="122"/>
                </a:lnTo>
                <a:lnTo>
                  <a:pt x="278" y="126"/>
                </a:lnTo>
                <a:lnTo>
                  <a:pt x="277" y="126"/>
                </a:lnTo>
                <a:lnTo>
                  <a:pt x="277" y="124"/>
                </a:lnTo>
                <a:close/>
                <a:moveTo>
                  <a:pt x="299" y="643"/>
                </a:moveTo>
                <a:lnTo>
                  <a:pt x="300" y="643"/>
                </a:lnTo>
                <a:lnTo>
                  <a:pt x="300" y="644"/>
                </a:lnTo>
                <a:lnTo>
                  <a:pt x="299" y="644"/>
                </a:lnTo>
                <a:lnTo>
                  <a:pt x="299" y="643"/>
                </a:lnTo>
                <a:close/>
                <a:moveTo>
                  <a:pt x="283" y="139"/>
                </a:moveTo>
                <a:lnTo>
                  <a:pt x="285" y="139"/>
                </a:lnTo>
                <a:lnTo>
                  <a:pt x="285" y="141"/>
                </a:lnTo>
                <a:lnTo>
                  <a:pt x="283" y="141"/>
                </a:lnTo>
                <a:lnTo>
                  <a:pt x="283" y="139"/>
                </a:lnTo>
                <a:close/>
                <a:moveTo>
                  <a:pt x="307" y="651"/>
                </a:moveTo>
                <a:lnTo>
                  <a:pt x="307" y="653"/>
                </a:lnTo>
                <a:lnTo>
                  <a:pt x="307" y="655"/>
                </a:lnTo>
                <a:lnTo>
                  <a:pt x="306" y="653"/>
                </a:lnTo>
                <a:lnTo>
                  <a:pt x="306" y="651"/>
                </a:lnTo>
                <a:lnTo>
                  <a:pt x="307" y="651"/>
                </a:lnTo>
                <a:close/>
                <a:moveTo>
                  <a:pt x="336" y="796"/>
                </a:moveTo>
                <a:lnTo>
                  <a:pt x="338" y="796"/>
                </a:lnTo>
                <a:lnTo>
                  <a:pt x="338" y="797"/>
                </a:lnTo>
                <a:lnTo>
                  <a:pt x="336" y="797"/>
                </a:lnTo>
                <a:lnTo>
                  <a:pt x="336" y="796"/>
                </a:lnTo>
                <a:close/>
                <a:moveTo>
                  <a:pt x="411" y="598"/>
                </a:moveTo>
                <a:lnTo>
                  <a:pt x="413" y="598"/>
                </a:lnTo>
                <a:lnTo>
                  <a:pt x="413" y="600"/>
                </a:lnTo>
                <a:lnTo>
                  <a:pt x="411" y="600"/>
                </a:lnTo>
                <a:lnTo>
                  <a:pt x="411" y="598"/>
                </a:lnTo>
                <a:close/>
                <a:moveTo>
                  <a:pt x="132" y="413"/>
                </a:moveTo>
                <a:lnTo>
                  <a:pt x="134" y="413"/>
                </a:lnTo>
                <a:lnTo>
                  <a:pt x="134" y="415"/>
                </a:lnTo>
                <a:lnTo>
                  <a:pt x="132" y="415"/>
                </a:lnTo>
                <a:lnTo>
                  <a:pt x="132" y="413"/>
                </a:lnTo>
                <a:close/>
                <a:moveTo>
                  <a:pt x="384" y="442"/>
                </a:moveTo>
                <a:lnTo>
                  <a:pt x="385" y="442"/>
                </a:lnTo>
                <a:lnTo>
                  <a:pt x="385" y="444"/>
                </a:lnTo>
                <a:lnTo>
                  <a:pt x="384" y="444"/>
                </a:lnTo>
                <a:lnTo>
                  <a:pt x="384" y="442"/>
                </a:lnTo>
                <a:close/>
                <a:moveTo>
                  <a:pt x="285" y="112"/>
                </a:moveTo>
                <a:lnTo>
                  <a:pt x="287" y="112"/>
                </a:lnTo>
                <a:lnTo>
                  <a:pt x="287" y="114"/>
                </a:lnTo>
                <a:lnTo>
                  <a:pt x="285" y="114"/>
                </a:lnTo>
                <a:lnTo>
                  <a:pt x="285" y="112"/>
                </a:lnTo>
                <a:close/>
                <a:moveTo>
                  <a:pt x="153" y="440"/>
                </a:moveTo>
                <a:lnTo>
                  <a:pt x="154" y="440"/>
                </a:lnTo>
                <a:lnTo>
                  <a:pt x="154" y="442"/>
                </a:lnTo>
                <a:lnTo>
                  <a:pt x="153" y="442"/>
                </a:lnTo>
                <a:lnTo>
                  <a:pt x="153" y="440"/>
                </a:lnTo>
                <a:close/>
                <a:moveTo>
                  <a:pt x="452" y="590"/>
                </a:moveTo>
                <a:lnTo>
                  <a:pt x="452" y="592"/>
                </a:lnTo>
                <a:lnTo>
                  <a:pt x="452" y="590"/>
                </a:lnTo>
                <a:close/>
                <a:moveTo>
                  <a:pt x="283" y="122"/>
                </a:moveTo>
                <a:lnTo>
                  <a:pt x="282" y="124"/>
                </a:lnTo>
                <a:lnTo>
                  <a:pt x="282" y="126"/>
                </a:lnTo>
                <a:lnTo>
                  <a:pt x="282" y="129"/>
                </a:lnTo>
                <a:lnTo>
                  <a:pt x="282" y="126"/>
                </a:lnTo>
                <a:lnTo>
                  <a:pt x="282" y="124"/>
                </a:lnTo>
                <a:lnTo>
                  <a:pt x="282" y="122"/>
                </a:lnTo>
                <a:lnTo>
                  <a:pt x="283" y="122"/>
                </a:lnTo>
                <a:close/>
                <a:moveTo>
                  <a:pt x="136" y="416"/>
                </a:moveTo>
                <a:lnTo>
                  <a:pt x="137" y="416"/>
                </a:lnTo>
                <a:lnTo>
                  <a:pt x="137" y="418"/>
                </a:lnTo>
                <a:lnTo>
                  <a:pt x="136" y="418"/>
                </a:lnTo>
                <a:lnTo>
                  <a:pt x="136" y="416"/>
                </a:lnTo>
                <a:close/>
                <a:moveTo>
                  <a:pt x="117" y="78"/>
                </a:moveTo>
                <a:lnTo>
                  <a:pt x="117" y="80"/>
                </a:lnTo>
                <a:lnTo>
                  <a:pt x="117" y="78"/>
                </a:lnTo>
                <a:close/>
                <a:moveTo>
                  <a:pt x="226" y="342"/>
                </a:moveTo>
                <a:lnTo>
                  <a:pt x="226" y="343"/>
                </a:lnTo>
                <a:lnTo>
                  <a:pt x="226" y="342"/>
                </a:lnTo>
                <a:close/>
                <a:moveTo>
                  <a:pt x="455" y="340"/>
                </a:moveTo>
                <a:lnTo>
                  <a:pt x="457" y="340"/>
                </a:lnTo>
                <a:lnTo>
                  <a:pt x="457" y="342"/>
                </a:lnTo>
                <a:lnTo>
                  <a:pt x="455" y="342"/>
                </a:lnTo>
                <a:lnTo>
                  <a:pt x="455" y="340"/>
                </a:lnTo>
                <a:close/>
                <a:moveTo>
                  <a:pt x="292" y="148"/>
                </a:moveTo>
                <a:lnTo>
                  <a:pt x="295" y="148"/>
                </a:lnTo>
                <a:lnTo>
                  <a:pt x="295" y="149"/>
                </a:lnTo>
                <a:lnTo>
                  <a:pt x="292" y="149"/>
                </a:lnTo>
                <a:lnTo>
                  <a:pt x="292" y="148"/>
                </a:lnTo>
                <a:close/>
                <a:moveTo>
                  <a:pt x="163" y="258"/>
                </a:moveTo>
                <a:lnTo>
                  <a:pt x="163" y="260"/>
                </a:lnTo>
                <a:lnTo>
                  <a:pt x="163" y="258"/>
                </a:lnTo>
                <a:close/>
                <a:moveTo>
                  <a:pt x="328" y="93"/>
                </a:moveTo>
                <a:lnTo>
                  <a:pt x="326" y="93"/>
                </a:lnTo>
                <a:lnTo>
                  <a:pt x="324" y="93"/>
                </a:lnTo>
                <a:lnTo>
                  <a:pt x="328" y="93"/>
                </a:lnTo>
                <a:close/>
                <a:moveTo>
                  <a:pt x="282" y="115"/>
                </a:moveTo>
                <a:lnTo>
                  <a:pt x="283" y="115"/>
                </a:lnTo>
                <a:lnTo>
                  <a:pt x="282" y="115"/>
                </a:lnTo>
                <a:close/>
                <a:moveTo>
                  <a:pt x="134" y="410"/>
                </a:moveTo>
                <a:lnTo>
                  <a:pt x="134" y="411"/>
                </a:lnTo>
                <a:lnTo>
                  <a:pt x="134" y="410"/>
                </a:lnTo>
                <a:close/>
                <a:moveTo>
                  <a:pt x="287" y="110"/>
                </a:moveTo>
                <a:lnTo>
                  <a:pt x="289" y="110"/>
                </a:lnTo>
                <a:lnTo>
                  <a:pt x="289" y="112"/>
                </a:lnTo>
                <a:lnTo>
                  <a:pt x="287" y="112"/>
                </a:lnTo>
                <a:lnTo>
                  <a:pt x="287" y="110"/>
                </a:lnTo>
                <a:close/>
                <a:moveTo>
                  <a:pt x="159" y="214"/>
                </a:moveTo>
                <a:lnTo>
                  <a:pt x="161" y="214"/>
                </a:lnTo>
                <a:lnTo>
                  <a:pt x="161" y="216"/>
                </a:lnTo>
                <a:lnTo>
                  <a:pt x="159" y="216"/>
                </a:lnTo>
                <a:lnTo>
                  <a:pt x="159" y="214"/>
                </a:lnTo>
                <a:close/>
                <a:moveTo>
                  <a:pt x="132" y="410"/>
                </a:moveTo>
                <a:lnTo>
                  <a:pt x="134" y="410"/>
                </a:lnTo>
                <a:lnTo>
                  <a:pt x="132" y="410"/>
                </a:lnTo>
                <a:close/>
                <a:moveTo>
                  <a:pt x="289" y="112"/>
                </a:moveTo>
                <a:lnTo>
                  <a:pt x="290" y="112"/>
                </a:lnTo>
                <a:lnTo>
                  <a:pt x="290" y="114"/>
                </a:lnTo>
                <a:lnTo>
                  <a:pt x="289" y="114"/>
                </a:lnTo>
                <a:lnTo>
                  <a:pt x="289" y="112"/>
                </a:lnTo>
                <a:close/>
                <a:moveTo>
                  <a:pt x="294" y="146"/>
                </a:moveTo>
                <a:lnTo>
                  <a:pt x="294" y="148"/>
                </a:lnTo>
                <a:lnTo>
                  <a:pt x="292" y="148"/>
                </a:lnTo>
                <a:lnTo>
                  <a:pt x="294" y="148"/>
                </a:lnTo>
                <a:lnTo>
                  <a:pt x="294" y="146"/>
                </a:lnTo>
                <a:close/>
                <a:moveTo>
                  <a:pt x="351" y="440"/>
                </a:moveTo>
                <a:lnTo>
                  <a:pt x="353" y="440"/>
                </a:lnTo>
                <a:lnTo>
                  <a:pt x="353" y="442"/>
                </a:lnTo>
                <a:lnTo>
                  <a:pt x="351" y="442"/>
                </a:lnTo>
                <a:lnTo>
                  <a:pt x="351" y="440"/>
                </a:lnTo>
                <a:close/>
                <a:moveTo>
                  <a:pt x="321" y="432"/>
                </a:moveTo>
                <a:lnTo>
                  <a:pt x="323" y="433"/>
                </a:lnTo>
                <a:lnTo>
                  <a:pt x="321" y="433"/>
                </a:lnTo>
                <a:lnTo>
                  <a:pt x="321" y="432"/>
                </a:lnTo>
                <a:close/>
                <a:moveTo>
                  <a:pt x="74" y="502"/>
                </a:moveTo>
                <a:lnTo>
                  <a:pt x="76" y="502"/>
                </a:lnTo>
                <a:lnTo>
                  <a:pt x="76" y="503"/>
                </a:lnTo>
                <a:lnTo>
                  <a:pt x="74" y="503"/>
                </a:lnTo>
                <a:lnTo>
                  <a:pt x="74" y="502"/>
                </a:lnTo>
                <a:close/>
                <a:moveTo>
                  <a:pt x="285" y="141"/>
                </a:moveTo>
                <a:lnTo>
                  <a:pt x="287" y="141"/>
                </a:lnTo>
                <a:lnTo>
                  <a:pt x="287" y="143"/>
                </a:lnTo>
                <a:lnTo>
                  <a:pt x="285" y="143"/>
                </a:lnTo>
                <a:lnTo>
                  <a:pt x="285" y="141"/>
                </a:lnTo>
                <a:close/>
                <a:moveTo>
                  <a:pt x="328" y="93"/>
                </a:moveTo>
                <a:lnTo>
                  <a:pt x="329" y="93"/>
                </a:lnTo>
                <a:lnTo>
                  <a:pt x="329" y="95"/>
                </a:lnTo>
                <a:lnTo>
                  <a:pt x="328" y="95"/>
                </a:lnTo>
                <a:lnTo>
                  <a:pt x="328" y="93"/>
                </a:lnTo>
                <a:close/>
                <a:moveTo>
                  <a:pt x="290" y="144"/>
                </a:moveTo>
                <a:lnTo>
                  <a:pt x="292" y="144"/>
                </a:lnTo>
                <a:lnTo>
                  <a:pt x="292" y="146"/>
                </a:lnTo>
                <a:lnTo>
                  <a:pt x="290" y="146"/>
                </a:lnTo>
                <a:lnTo>
                  <a:pt x="290" y="144"/>
                </a:lnTo>
                <a:close/>
                <a:moveTo>
                  <a:pt x="331" y="95"/>
                </a:moveTo>
                <a:lnTo>
                  <a:pt x="331" y="97"/>
                </a:lnTo>
                <a:lnTo>
                  <a:pt x="331" y="95"/>
                </a:lnTo>
                <a:close/>
                <a:moveTo>
                  <a:pt x="328" y="93"/>
                </a:moveTo>
                <a:lnTo>
                  <a:pt x="329" y="93"/>
                </a:lnTo>
                <a:lnTo>
                  <a:pt x="328" y="95"/>
                </a:lnTo>
                <a:lnTo>
                  <a:pt x="328" y="93"/>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61" name="Freeform 26">
            <a:extLst>
              <a:ext uri="{FF2B5EF4-FFF2-40B4-BE49-F238E27FC236}">
                <a16:creationId xmlns:a16="http://schemas.microsoft.com/office/drawing/2014/main" id="{1AA159E4-F989-48B2-A368-CFC7785FD2AF}"/>
              </a:ext>
            </a:extLst>
          </p:cNvPr>
          <p:cNvSpPr>
            <a:spLocks noEditPoints="1"/>
          </p:cNvSpPr>
          <p:nvPr/>
        </p:nvSpPr>
        <p:spPr bwMode="gray">
          <a:xfrm>
            <a:off x="4204525" y="4601917"/>
            <a:ext cx="264322" cy="333924"/>
          </a:xfrm>
          <a:custGeom>
            <a:avLst/>
            <a:gdLst>
              <a:gd name="T0" fmla="*/ 38 w 97"/>
              <a:gd name="T1" fmla="*/ 7 h 117"/>
              <a:gd name="T2" fmla="*/ 45 w 97"/>
              <a:gd name="T3" fmla="*/ 8 h 117"/>
              <a:gd name="T4" fmla="*/ 48 w 97"/>
              <a:gd name="T5" fmla="*/ 13 h 117"/>
              <a:gd name="T6" fmla="*/ 51 w 97"/>
              <a:gd name="T7" fmla="*/ 19 h 117"/>
              <a:gd name="T8" fmla="*/ 58 w 97"/>
              <a:gd name="T9" fmla="*/ 22 h 117"/>
              <a:gd name="T10" fmla="*/ 65 w 97"/>
              <a:gd name="T11" fmla="*/ 22 h 117"/>
              <a:gd name="T12" fmla="*/ 70 w 97"/>
              <a:gd name="T13" fmla="*/ 25 h 117"/>
              <a:gd name="T14" fmla="*/ 75 w 97"/>
              <a:gd name="T15" fmla="*/ 27 h 117"/>
              <a:gd name="T16" fmla="*/ 82 w 97"/>
              <a:gd name="T17" fmla="*/ 32 h 117"/>
              <a:gd name="T18" fmla="*/ 89 w 97"/>
              <a:gd name="T19" fmla="*/ 34 h 117"/>
              <a:gd name="T20" fmla="*/ 96 w 97"/>
              <a:gd name="T21" fmla="*/ 36 h 117"/>
              <a:gd name="T22" fmla="*/ 96 w 97"/>
              <a:gd name="T23" fmla="*/ 41 h 117"/>
              <a:gd name="T24" fmla="*/ 92 w 97"/>
              <a:gd name="T25" fmla="*/ 47 h 117"/>
              <a:gd name="T26" fmla="*/ 85 w 97"/>
              <a:gd name="T27" fmla="*/ 47 h 117"/>
              <a:gd name="T28" fmla="*/ 82 w 97"/>
              <a:gd name="T29" fmla="*/ 53 h 117"/>
              <a:gd name="T30" fmla="*/ 85 w 97"/>
              <a:gd name="T31" fmla="*/ 59 h 117"/>
              <a:gd name="T32" fmla="*/ 82 w 97"/>
              <a:gd name="T33" fmla="*/ 66 h 117"/>
              <a:gd name="T34" fmla="*/ 77 w 97"/>
              <a:gd name="T35" fmla="*/ 68 h 117"/>
              <a:gd name="T36" fmla="*/ 70 w 97"/>
              <a:gd name="T37" fmla="*/ 68 h 117"/>
              <a:gd name="T38" fmla="*/ 68 w 97"/>
              <a:gd name="T39" fmla="*/ 61 h 117"/>
              <a:gd name="T40" fmla="*/ 63 w 97"/>
              <a:gd name="T41" fmla="*/ 61 h 117"/>
              <a:gd name="T42" fmla="*/ 62 w 97"/>
              <a:gd name="T43" fmla="*/ 68 h 117"/>
              <a:gd name="T44" fmla="*/ 58 w 97"/>
              <a:gd name="T45" fmla="*/ 75 h 117"/>
              <a:gd name="T46" fmla="*/ 53 w 97"/>
              <a:gd name="T47" fmla="*/ 81 h 117"/>
              <a:gd name="T48" fmla="*/ 51 w 97"/>
              <a:gd name="T49" fmla="*/ 90 h 117"/>
              <a:gd name="T50" fmla="*/ 55 w 97"/>
              <a:gd name="T51" fmla="*/ 98 h 117"/>
              <a:gd name="T52" fmla="*/ 55 w 97"/>
              <a:gd name="T53" fmla="*/ 107 h 117"/>
              <a:gd name="T54" fmla="*/ 55 w 97"/>
              <a:gd name="T55" fmla="*/ 112 h 117"/>
              <a:gd name="T56" fmla="*/ 53 w 97"/>
              <a:gd name="T57" fmla="*/ 116 h 117"/>
              <a:gd name="T58" fmla="*/ 43 w 97"/>
              <a:gd name="T59" fmla="*/ 112 h 117"/>
              <a:gd name="T60" fmla="*/ 43 w 97"/>
              <a:gd name="T61" fmla="*/ 107 h 117"/>
              <a:gd name="T62" fmla="*/ 40 w 97"/>
              <a:gd name="T63" fmla="*/ 102 h 117"/>
              <a:gd name="T64" fmla="*/ 33 w 97"/>
              <a:gd name="T65" fmla="*/ 97 h 117"/>
              <a:gd name="T66" fmla="*/ 26 w 97"/>
              <a:gd name="T67" fmla="*/ 90 h 117"/>
              <a:gd name="T68" fmla="*/ 23 w 97"/>
              <a:gd name="T69" fmla="*/ 92 h 117"/>
              <a:gd name="T70" fmla="*/ 16 w 97"/>
              <a:gd name="T71" fmla="*/ 87 h 117"/>
              <a:gd name="T72" fmla="*/ 14 w 97"/>
              <a:gd name="T73" fmla="*/ 87 h 117"/>
              <a:gd name="T74" fmla="*/ 9 w 97"/>
              <a:gd name="T75" fmla="*/ 83 h 117"/>
              <a:gd name="T76" fmla="*/ 16 w 97"/>
              <a:gd name="T77" fmla="*/ 83 h 117"/>
              <a:gd name="T78" fmla="*/ 16 w 97"/>
              <a:gd name="T79" fmla="*/ 78 h 117"/>
              <a:gd name="T80" fmla="*/ 19 w 97"/>
              <a:gd name="T81" fmla="*/ 80 h 117"/>
              <a:gd name="T82" fmla="*/ 14 w 97"/>
              <a:gd name="T83" fmla="*/ 75 h 117"/>
              <a:gd name="T84" fmla="*/ 11 w 97"/>
              <a:gd name="T85" fmla="*/ 81 h 117"/>
              <a:gd name="T86" fmla="*/ 7 w 97"/>
              <a:gd name="T87" fmla="*/ 83 h 117"/>
              <a:gd name="T88" fmla="*/ 2 w 97"/>
              <a:gd name="T89" fmla="*/ 76 h 117"/>
              <a:gd name="T90" fmla="*/ 6 w 97"/>
              <a:gd name="T91" fmla="*/ 71 h 117"/>
              <a:gd name="T92" fmla="*/ 6 w 97"/>
              <a:gd name="T93" fmla="*/ 61 h 117"/>
              <a:gd name="T94" fmla="*/ 0 w 97"/>
              <a:gd name="T95" fmla="*/ 56 h 117"/>
              <a:gd name="T96" fmla="*/ 2 w 97"/>
              <a:gd name="T97" fmla="*/ 49 h 117"/>
              <a:gd name="T98" fmla="*/ 2 w 97"/>
              <a:gd name="T99" fmla="*/ 42 h 117"/>
              <a:gd name="T100" fmla="*/ 6 w 97"/>
              <a:gd name="T101" fmla="*/ 39 h 117"/>
              <a:gd name="T102" fmla="*/ 7 w 97"/>
              <a:gd name="T103" fmla="*/ 32 h 117"/>
              <a:gd name="T104" fmla="*/ 9 w 97"/>
              <a:gd name="T105" fmla="*/ 25 h 117"/>
              <a:gd name="T106" fmla="*/ 14 w 97"/>
              <a:gd name="T107" fmla="*/ 19 h 117"/>
              <a:gd name="T108" fmla="*/ 19 w 97"/>
              <a:gd name="T109" fmla="*/ 13 h 117"/>
              <a:gd name="T110" fmla="*/ 24 w 97"/>
              <a:gd name="T111" fmla="*/ 20 h 117"/>
              <a:gd name="T112" fmla="*/ 26 w 97"/>
              <a:gd name="T113" fmla="*/ 13 h 117"/>
              <a:gd name="T114" fmla="*/ 21 w 97"/>
              <a:gd name="T115" fmla="*/ 7 h 117"/>
              <a:gd name="T116" fmla="*/ 19 w 97"/>
              <a:gd name="T117" fmla="*/ 3 h 117"/>
              <a:gd name="T118" fmla="*/ 24 w 97"/>
              <a:gd name="T119" fmla="*/ 3 h 117"/>
              <a:gd name="T120" fmla="*/ 31 w 97"/>
              <a:gd name="T121" fmla="*/ 0 h 117"/>
              <a:gd name="T122" fmla="*/ 57 w 97"/>
              <a:gd name="T123"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7" h="117">
                <a:moveTo>
                  <a:pt x="33" y="2"/>
                </a:moveTo>
                <a:lnTo>
                  <a:pt x="33" y="3"/>
                </a:lnTo>
                <a:lnTo>
                  <a:pt x="36" y="5"/>
                </a:lnTo>
                <a:lnTo>
                  <a:pt x="38" y="7"/>
                </a:lnTo>
                <a:lnTo>
                  <a:pt x="40" y="7"/>
                </a:lnTo>
                <a:lnTo>
                  <a:pt x="41" y="8"/>
                </a:lnTo>
                <a:lnTo>
                  <a:pt x="43" y="7"/>
                </a:lnTo>
                <a:lnTo>
                  <a:pt x="45" y="8"/>
                </a:lnTo>
                <a:lnTo>
                  <a:pt x="46" y="8"/>
                </a:lnTo>
                <a:lnTo>
                  <a:pt x="46" y="10"/>
                </a:lnTo>
                <a:lnTo>
                  <a:pt x="46" y="12"/>
                </a:lnTo>
                <a:lnTo>
                  <a:pt x="48" y="13"/>
                </a:lnTo>
                <a:lnTo>
                  <a:pt x="50" y="13"/>
                </a:lnTo>
                <a:lnTo>
                  <a:pt x="51" y="13"/>
                </a:lnTo>
                <a:lnTo>
                  <a:pt x="51" y="15"/>
                </a:lnTo>
                <a:lnTo>
                  <a:pt x="51" y="19"/>
                </a:lnTo>
                <a:lnTo>
                  <a:pt x="55" y="19"/>
                </a:lnTo>
                <a:lnTo>
                  <a:pt x="57" y="19"/>
                </a:lnTo>
                <a:lnTo>
                  <a:pt x="58" y="20"/>
                </a:lnTo>
                <a:lnTo>
                  <a:pt x="58" y="22"/>
                </a:lnTo>
                <a:lnTo>
                  <a:pt x="60" y="22"/>
                </a:lnTo>
                <a:lnTo>
                  <a:pt x="62" y="22"/>
                </a:lnTo>
                <a:lnTo>
                  <a:pt x="63" y="22"/>
                </a:lnTo>
                <a:lnTo>
                  <a:pt x="65" y="22"/>
                </a:lnTo>
                <a:lnTo>
                  <a:pt x="65" y="25"/>
                </a:lnTo>
                <a:lnTo>
                  <a:pt x="68" y="25"/>
                </a:lnTo>
                <a:lnTo>
                  <a:pt x="68" y="27"/>
                </a:lnTo>
                <a:lnTo>
                  <a:pt x="70" y="25"/>
                </a:lnTo>
                <a:lnTo>
                  <a:pt x="74" y="27"/>
                </a:lnTo>
                <a:lnTo>
                  <a:pt x="74" y="25"/>
                </a:lnTo>
                <a:lnTo>
                  <a:pt x="75" y="24"/>
                </a:lnTo>
                <a:lnTo>
                  <a:pt x="75" y="27"/>
                </a:lnTo>
                <a:lnTo>
                  <a:pt x="77" y="29"/>
                </a:lnTo>
                <a:lnTo>
                  <a:pt x="79" y="29"/>
                </a:lnTo>
                <a:lnTo>
                  <a:pt x="80" y="30"/>
                </a:lnTo>
                <a:lnTo>
                  <a:pt x="82" y="32"/>
                </a:lnTo>
                <a:lnTo>
                  <a:pt x="84" y="34"/>
                </a:lnTo>
                <a:lnTo>
                  <a:pt x="85" y="32"/>
                </a:lnTo>
                <a:lnTo>
                  <a:pt x="87" y="34"/>
                </a:lnTo>
                <a:lnTo>
                  <a:pt x="89" y="34"/>
                </a:lnTo>
                <a:lnTo>
                  <a:pt x="91" y="34"/>
                </a:lnTo>
                <a:lnTo>
                  <a:pt x="92" y="36"/>
                </a:lnTo>
                <a:lnTo>
                  <a:pt x="94" y="36"/>
                </a:lnTo>
                <a:lnTo>
                  <a:pt x="96" y="36"/>
                </a:lnTo>
                <a:lnTo>
                  <a:pt x="97" y="39"/>
                </a:lnTo>
                <a:lnTo>
                  <a:pt x="97" y="41"/>
                </a:lnTo>
                <a:lnTo>
                  <a:pt x="96" y="42"/>
                </a:lnTo>
                <a:lnTo>
                  <a:pt x="96" y="41"/>
                </a:lnTo>
                <a:lnTo>
                  <a:pt x="92" y="42"/>
                </a:lnTo>
                <a:lnTo>
                  <a:pt x="94" y="46"/>
                </a:lnTo>
                <a:lnTo>
                  <a:pt x="94" y="47"/>
                </a:lnTo>
                <a:lnTo>
                  <a:pt x="92" y="47"/>
                </a:lnTo>
                <a:lnTo>
                  <a:pt x="91" y="49"/>
                </a:lnTo>
                <a:lnTo>
                  <a:pt x="89" y="47"/>
                </a:lnTo>
                <a:lnTo>
                  <a:pt x="87" y="47"/>
                </a:lnTo>
                <a:lnTo>
                  <a:pt x="85" y="47"/>
                </a:lnTo>
                <a:lnTo>
                  <a:pt x="84" y="47"/>
                </a:lnTo>
                <a:lnTo>
                  <a:pt x="82" y="47"/>
                </a:lnTo>
                <a:lnTo>
                  <a:pt x="82" y="51"/>
                </a:lnTo>
                <a:lnTo>
                  <a:pt x="82" y="53"/>
                </a:lnTo>
                <a:lnTo>
                  <a:pt x="85" y="54"/>
                </a:lnTo>
                <a:lnTo>
                  <a:pt x="87" y="56"/>
                </a:lnTo>
                <a:lnTo>
                  <a:pt x="85" y="58"/>
                </a:lnTo>
                <a:lnTo>
                  <a:pt x="85" y="59"/>
                </a:lnTo>
                <a:lnTo>
                  <a:pt x="87" y="61"/>
                </a:lnTo>
                <a:lnTo>
                  <a:pt x="85" y="63"/>
                </a:lnTo>
                <a:lnTo>
                  <a:pt x="84" y="64"/>
                </a:lnTo>
                <a:lnTo>
                  <a:pt x="82" y="66"/>
                </a:lnTo>
                <a:lnTo>
                  <a:pt x="80" y="66"/>
                </a:lnTo>
                <a:lnTo>
                  <a:pt x="79" y="68"/>
                </a:lnTo>
                <a:lnTo>
                  <a:pt x="77" y="70"/>
                </a:lnTo>
                <a:lnTo>
                  <a:pt x="77" y="68"/>
                </a:lnTo>
                <a:lnTo>
                  <a:pt x="75" y="70"/>
                </a:lnTo>
                <a:lnTo>
                  <a:pt x="74" y="71"/>
                </a:lnTo>
                <a:lnTo>
                  <a:pt x="72" y="70"/>
                </a:lnTo>
                <a:lnTo>
                  <a:pt x="70" y="68"/>
                </a:lnTo>
                <a:lnTo>
                  <a:pt x="68" y="66"/>
                </a:lnTo>
                <a:lnTo>
                  <a:pt x="68" y="63"/>
                </a:lnTo>
                <a:lnTo>
                  <a:pt x="70" y="63"/>
                </a:lnTo>
                <a:lnTo>
                  <a:pt x="68" y="61"/>
                </a:lnTo>
                <a:lnTo>
                  <a:pt x="68" y="59"/>
                </a:lnTo>
                <a:lnTo>
                  <a:pt x="67" y="58"/>
                </a:lnTo>
                <a:lnTo>
                  <a:pt x="65" y="61"/>
                </a:lnTo>
                <a:lnTo>
                  <a:pt x="63" y="61"/>
                </a:lnTo>
                <a:lnTo>
                  <a:pt x="63" y="63"/>
                </a:lnTo>
                <a:lnTo>
                  <a:pt x="62" y="64"/>
                </a:lnTo>
                <a:lnTo>
                  <a:pt x="63" y="66"/>
                </a:lnTo>
                <a:lnTo>
                  <a:pt x="62" y="68"/>
                </a:lnTo>
                <a:lnTo>
                  <a:pt x="60" y="70"/>
                </a:lnTo>
                <a:lnTo>
                  <a:pt x="60" y="71"/>
                </a:lnTo>
                <a:lnTo>
                  <a:pt x="58" y="73"/>
                </a:lnTo>
                <a:lnTo>
                  <a:pt x="58" y="75"/>
                </a:lnTo>
                <a:lnTo>
                  <a:pt x="57" y="75"/>
                </a:lnTo>
                <a:lnTo>
                  <a:pt x="57" y="78"/>
                </a:lnTo>
                <a:lnTo>
                  <a:pt x="55" y="80"/>
                </a:lnTo>
                <a:lnTo>
                  <a:pt x="53" y="81"/>
                </a:lnTo>
                <a:lnTo>
                  <a:pt x="55" y="83"/>
                </a:lnTo>
                <a:lnTo>
                  <a:pt x="53" y="87"/>
                </a:lnTo>
                <a:lnTo>
                  <a:pt x="51" y="88"/>
                </a:lnTo>
                <a:lnTo>
                  <a:pt x="51" y="90"/>
                </a:lnTo>
                <a:lnTo>
                  <a:pt x="48" y="95"/>
                </a:lnTo>
                <a:lnTo>
                  <a:pt x="53" y="97"/>
                </a:lnTo>
                <a:lnTo>
                  <a:pt x="53" y="98"/>
                </a:lnTo>
                <a:lnTo>
                  <a:pt x="55" y="98"/>
                </a:lnTo>
                <a:lnTo>
                  <a:pt x="55" y="100"/>
                </a:lnTo>
                <a:lnTo>
                  <a:pt x="55" y="102"/>
                </a:lnTo>
                <a:lnTo>
                  <a:pt x="55" y="105"/>
                </a:lnTo>
                <a:lnTo>
                  <a:pt x="55" y="107"/>
                </a:lnTo>
                <a:lnTo>
                  <a:pt x="55" y="109"/>
                </a:lnTo>
                <a:lnTo>
                  <a:pt x="57" y="109"/>
                </a:lnTo>
                <a:lnTo>
                  <a:pt x="55" y="110"/>
                </a:lnTo>
                <a:lnTo>
                  <a:pt x="55" y="112"/>
                </a:lnTo>
                <a:lnTo>
                  <a:pt x="55" y="114"/>
                </a:lnTo>
                <a:lnTo>
                  <a:pt x="57" y="116"/>
                </a:lnTo>
                <a:lnTo>
                  <a:pt x="55" y="117"/>
                </a:lnTo>
                <a:lnTo>
                  <a:pt x="53" y="116"/>
                </a:lnTo>
                <a:lnTo>
                  <a:pt x="50" y="114"/>
                </a:lnTo>
                <a:lnTo>
                  <a:pt x="48" y="114"/>
                </a:lnTo>
                <a:lnTo>
                  <a:pt x="46" y="114"/>
                </a:lnTo>
                <a:lnTo>
                  <a:pt x="43" y="112"/>
                </a:lnTo>
                <a:lnTo>
                  <a:pt x="45" y="112"/>
                </a:lnTo>
                <a:lnTo>
                  <a:pt x="43" y="110"/>
                </a:lnTo>
                <a:lnTo>
                  <a:pt x="43" y="109"/>
                </a:lnTo>
                <a:lnTo>
                  <a:pt x="43" y="107"/>
                </a:lnTo>
                <a:lnTo>
                  <a:pt x="43" y="105"/>
                </a:lnTo>
                <a:lnTo>
                  <a:pt x="40" y="104"/>
                </a:lnTo>
                <a:lnTo>
                  <a:pt x="38" y="104"/>
                </a:lnTo>
                <a:lnTo>
                  <a:pt x="40" y="102"/>
                </a:lnTo>
                <a:lnTo>
                  <a:pt x="38" y="100"/>
                </a:lnTo>
                <a:lnTo>
                  <a:pt x="34" y="100"/>
                </a:lnTo>
                <a:lnTo>
                  <a:pt x="34" y="98"/>
                </a:lnTo>
                <a:lnTo>
                  <a:pt x="33" y="97"/>
                </a:lnTo>
                <a:lnTo>
                  <a:pt x="31" y="95"/>
                </a:lnTo>
                <a:lnTo>
                  <a:pt x="29" y="95"/>
                </a:lnTo>
                <a:lnTo>
                  <a:pt x="28" y="92"/>
                </a:lnTo>
                <a:lnTo>
                  <a:pt x="26" y="90"/>
                </a:lnTo>
                <a:lnTo>
                  <a:pt x="24" y="90"/>
                </a:lnTo>
                <a:lnTo>
                  <a:pt x="24" y="92"/>
                </a:lnTo>
                <a:lnTo>
                  <a:pt x="23" y="90"/>
                </a:lnTo>
                <a:lnTo>
                  <a:pt x="23" y="92"/>
                </a:lnTo>
                <a:lnTo>
                  <a:pt x="21" y="92"/>
                </a:lnTo>
                <a:lnTo>
                  <a:pt x="19" y="90"/>
                </a:lnTo>
                <a:lnTo>
                  <a:pt x="17" y="88"/>
                </a:lnTo>
                <a:lnTo>
                  <a:pt x="16" y="87"/>
                </a:lnTo>
                <a:lnTo>
                  <a:pt x="17" y="87"/>
                </a:lnTo>
                <a:lnTo>
                  <a:pt x="16" y="85"/>
                </a:lnTo>
                <a:lnTo>
                  <a:pt x="14" y="85"/>
                </a:lnTo>
                <a:lnTo>
                  <a:pt x="14" y="87"/>
                </a:lnTo>
                <a:lnTo>
                  <a:pt x="12" y="87"/>
                </a:lnTo>
                <a:lnTo>
                  <a:pt x="9" y="85"/>
                </a:lnTo>
                <a:lnTo>
                  <a:pt x="11" y="83"/>
                </a:lnTo>
                <a:lnTo>
                  <a:pt x="9" y="83"/>
                </a:lnTo>
                <a:lnTo>
                  <a:pt x="9" y="81"/>
                </a:lnTo>
                <a:lnTo>
                  <a:pt x="12" y="81"/>
                </a:lnTo>
                <a:lnTo>
                  <a:pt x="14" y="83"/>
                </a:lnTo>
                <a:lnTo>
                  <a:pt x="16" y="83"/>
                </a:lnTo>
                <a:lnTo>
                  <a:pt x="17" y="83"/>
                </a:lnTo>
                <a:lnTo>
                  <a:pt x="17" y="81"/>
                </a:lnTo>
                <a:lnTo>
                  <a:pt x="16" y="80"/>
                </a:lnTo>
                <a:lnTo>
                  <a:pt x="16" y="78"/>
                </a:lnTo>
                <a:lnTo>
                  <a:pt x="17" y="78"/>
                </a:lnTo>
                <a:lnTo>
                  <a:pt x="19" y="80"/>
                </a:lnTo>
                <a:lnTo>
                  <a:pt x="19" y="81"/>
                </a:lnTo>
                <a:lnTo>
                  <a:pt x="19" y="80"/>
                </a:lnTo>
                <a:lnTo>
                  <a:pt x="19" y="76"/>
                </a:lnTo>
                <a:lnTo>
                  <a:pt x="17" y="76"/>
                </a:lnTo>
                <a:lnTo>
                  <a:pt x="16" y="76"/>
                </a:lnTo>
                <a:lnTo>
                  <a:pt x="14" y="75"/>
                </a:lnTo>
                <a:lnTo>
                  <a:pt x="12" y="76"/>
                </a:lnTo>
                <a:lnTo>
                  <a:pt x="14" y="78"/>
                </a:lnTo>
                <a:lnTo>
                  <a:pt x="14" y="80"/>
                </a:lnTo>
                <a:lnTo>
                  <a:pt x="11" y="81"/>
                </a:lnTo>
                <a:lnTo>
                  <a:pt x="9" y="80"/>
                </a:lnTo>
                <a:lnTo>
                  <a:pt x="6" y="80"/>
                </a:lnTo>
                <a:lnTo>
                  <a:pt x="6" y="81"/>
                </a:lnTo>
                <a:lnTo>
                  <a:pt x="7" y="83"/>
                </a:lnTo>
                <a:lnTo>
                  <a:pt x="6" y="81"/>
                </a:lnTo>
                <a:lnTo>
                  <a:pt x="4" y="80"/>
                </a:lnTo>
                <a:lnTo>
                  <a:pt x="2" y="78"/>
                </a:lnTo>
                <a:lnTo>
                  <a:pt x="2" y="76"/>
                </a:lnTo>
                <a:lnTo>
                  <a:pt x="0" y="73"/>
                </a:lnTo>
                <a:lnTo>
                  <a:pt x="2" y="73"/>
                </a:lnTo>
                <a:lnTo>
                  <a:pt x="4" y="71"/>
                </a:lnTo>
                <a:lnTo>
                  <a:pt x="6" y="71"/>
                </a:lnTo>
                <a:lnTo>
                  <a:pt x="6" y="68"/>
                </a:lnTo>
                <a:lnTo>
                  <a:pt x="7" y="66"/>
                </a:lnTo>
                <a:lnTo>
                  <a:pt x="6" y="63"/>
                </a:lnTo>
                <a:lnTo>
                  <a:pt x="6" y="61"/>
                </a:lnTo>
                <a:lnTo>
                  <a:pt x="2" y="61"/>
                </a:lnTo>
                <a:lnTo>
                  <a:pt x="2" y="59"/>
                </a:lnTo>
                <a:lnTo>
                  <a:pt x="0" y="59"/>
                </a:lnTo>
                <a:lnTo>
                  <a:pt x="0" y="56"/>
                </a:lnTo>
                <a:lnTo>
                  <a:pt x="0" y="54"/>
                </a:lnTo>
                <a:lnTo>
                  <a:pt x="0" y="53"/>
                </a:lnTo>
                <a:lnTo>
                  <a:pt x="0" y="51"/>
                </a:lnTo>
                <a:lnTo>
                  <a:pt x="2" y="49"/>
                </a:lnTo>
                <a:lnTo>
                  <a:pt x="0" y="49"/>
                </a:lnTo>
                <a:lnTo>
                  <a:pt x="0" y="46"/>
                </a:lnTo>
                <a:lnTo>
                  <a:pt x="0" y="44"/>
                </a:lnTo>
                <a:lnTo>
                  <a:pt x="2" y="42"/>
                </a:lnTo>
                <a:lnTo>
                  <a:pt x="2" y="41"/>
                </a:lnTo>
                <a:lnTo>
                  <a:pt x="2" y="39"/>
                </a:lnTo>
                <a:lnTo>
                  <a:pt x="4" y="39"/>
                </a:lnTo>
                <a:lnTo>
                  <a:pt x="6" y="39"/>
                </a:lnTo>
                <a:lnTo>
                  <a:pt x="7" y="39"/>
                </a:lnTo>
                <a:lnTo>
                  <a:pt x="9" y="37"/>
                </a:lnTo>
                <a:lnTo>
                  <a:pt x="7" y="36"/>
                </a:lnTo>
                <a:lnTo>
                  <a:pt x="7" y="32"/>
                </a:lnTo>
                <a:lnTo>
                  <a:pt x="7" y="30"/>
                </a:lnTo>
                <a:lnTo>
                  <a:pt x="7" y="29"/>
                </a:lnTo>
                <a:lnTo>
                  <a:pt x="7" y="27"/>
                </a:lnTo>
                <a:lnTo>
                  <a:pt x="9" y="25"/>
                </a:lnTo>
                <a:lnTo>
                  <a:pt x="9" y="24"/>
                </a:lnTo>
                <a:lnTo>
                  <a:pt x="11" y="20"/>
                </a:lnTo>
                <a:lnTo>
                  <a:pt x="12" y="19"/>
                </a:lnTo>
                <a:lnTo>
                  <a:pt x="14" y="19"/>
                </a:lnTo>
                <a:lnTo>
                  <a:pt x="16" y="17"/>
                </a:lnTo>
                <a:lnTo>
                  <a:pt x="16" y="15"/>
                </a:lnTo>
                <a:lnTo>
                  <a:pt x="17" y="15"/>
                </a:lnTo>
                <a:lnTo>
                  <a:pt x="19" y="13"/>
                </a:lnTo>
                <a:lnTo>
                  <a:pt x="21" y="17"/>
                </a:lnTo>
                <a:lnTo>
                  <a:pt x="21" y="15"/>
                </a:lnTo>
                <a:lnTo>
                  <a:pt x="21" y="19"/>
                </a:lnTo>
                <a:lnTo>
                  <a:pt x="24" y="20"/>
                </a:lnTo>
                <a:lnTo>
                  <a:pt x="26" y="17"/>
                </a:lnTo>
                <a:lnTo>
                  <a:pt x="28" y="17"/>
                </a:lnTo>
                <a:lnTo>
                  <a:pt x="28" y="15"/>
                </a:lnTo>
                <a:lnTo>
                  <a:pt x="26" y="13"/>
                </a:lnTo>
                <a:lnTo>
                  <a:pt x="24" y="12"/>
                </a:lnTo>
                <a:lnTo>
                  <a:pt x="24" y="8"/>
                </a:lnTo>
                <a:lnTo>
                  <a:pt x="23" y="8"/>
                </a:lnTo>
                <a:lnTo>
                  <a:pt x="21" y="7"/>
                </a:lnTo>
                <a:lnTo>
                  <a:pt x="21" y="5"/>
                </a:lnTo>
                <a:lnTo>
                  <a:pt x="19" y="3"/>
                </a:lnTo>
                <a:lnTo>
                  <a:pt x="17" y="5"/>
                </a:lnTo>
                <a:lnTo>
                  <a:pt x="19" y="3"/>
                </a:lnTo>
                <a:lnTo>
                  <a:pt x="21" y="2"/>
                </a:lnTo>
                <a:lnTo>
                  <a:pt x="21" y="0"/>
                </a:lnTo>
                <a:lnTo>
                  <a:pt x="24" y="2"/>
                </a:lnTo>
                <a:lnTo>
                  <a:pt x="24" y="3"/>
                </a:lnTo>
                <a:lnTo>
                  <a:pt x="26" y="3"/>
                </a:lnTo>
                <a:lnTo>
                  <a:pt x="28" y="2"/>
                </a:lnTo>
                <a:lnTo>
                  <a:pt x="29" y="2"/>
                </a:lnTo>
                <a:lnTo>
                  <a:pt x="31" y="0"/>
                </a:lnTo>
                <a:lnTo>
                  <a:pt x="33" y="2"/>
                </a:lnTo>
                <a:close/>
                <a:moveTo>
                  <a:pt x="55" y="117"/>
                </a:moveTo>
                <a:lnTo>
                  <a:pt x="57" y="116"/>
                </a:lnTo>
                <a:lnTo>
                  <a:pt x="57" y="117"/>
                </a:lnTo>
                <a:lnTo>
                  <a:pt x="55" y="117"/>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62" name="Freeform 28">
            <a:extLst>
              <a:ext uri="{FF2B5EF4-FFF2-40B4-BE49-F238E27FC236}">
                <a16:creationId xmlns:a16="http://schemas.microsoft.com/office/drawing/2014/main" id="{946A7439-6492-4B08-AC93-2DB5E6E096AB}"/>
              </a:ext>
            </a:extLst>
          </p:cNvPr>
          <p:cNvSpPr>
            <a:spLocks noEditPoints="1"/>
          </p:cNvSpPr>
          <p:nvPr/>
        </p:nvSpPr>
        <p:spPr bwMode="gray">
          <a:xfrm>
            <a:off x="1106225" y="3126379"/>
            <a:ext cx="1839360" cy="2000684"/>
          </a:xfrm>
          <a:custGeom>
            <a:avLst/>
            <a:gdLst>
              <a:gd name="T0" fmla="*/ 551 w 675"/>
              <a:gd name="T1" fmla="*/ 148 h 701"/>
              <a:gd name="T2" fmla="*/ 595 w 675"/>
              <a:gd name="T3" fmla="*/ 158 h 701"/>
              <a:gd name="T4" fmla="*/ 593 w 675"/>
              <a:gd name="T5" fmla="*/ 204 h 701"/>
              <a:gd name="T6" fmla="*/ 580 w 675"/>
              <a:gd name="T7" fmla="*/ 265 h 701"/>
              <a:gd name="T8" fmla="*/ 546 w 675"/>
              <a:gd name="T9" fmla="*/ 291 h 701"/>
              <a:gd name="T10" fmla="*/ 514 w 675"/>
              <a:gd name="T11" fmla="*/ 343 h 701"/>
              <a:gd name="T12" fmla="*/ 542 w 675"/>
              <a:gd name="T13" fmla="*/ 342 h 701"/>
              <a:gd name="T14" fmla="*/ 542 w 675"/>
              <a:gd name="T15" fmla="*/ 388 h 701"/>
              <a:gd name="T16" fmla="*/ 537 w 675"/>
              <a:gd name="T17" fmla="*/ 430 h 701"/>
              <a:gd name="T18" fmla="*/ 541 w 675"/>
              <a:gd name="T19" fmla="*/ 478 h 701"/>
              <a:gd name="T20" fmla="*/ 583 w 675"/>
              <a:gd name="T21" fmla="*/ 508 h 701"/>
              <a:gd name="T22" fmla="*/ 546 w 675"/>
              <a:gd name="T23" fmla="*/ 542 h 701"/>
              <a:gd name="T24" fmla="*/ 507 w 675"/>
              <a:gd name="T25" fmla="*/ 571 h 701"/>
              <a:gd name="T26" fmla="*/ 469 w 675"/>
              <a:gd name="T27" fmla="*/ 566 h 701"/>
              <a:gd name="T28" fmla="*/ 434 w 675"/>
              <a:gd name="T29" fmla="*/ 549 h 701"/>
              <a:gd name="T30" fmla="*/ 381 w 675"/>
              <a:gd name="T31" fmla="*/ 541 h 701"/>
              <a:gd name="T32" fmla="*/ 337 w 675"/>
              <a:gd name="T33" fmla="*/ 588 h 701"/>
              <a:gd name="T34" fmla="*/ 303 w 675"/>
              <a:gd name="T35" fmla="*/ 607 h 701"/>
              <a:gd name="T36" fmla="*/ 252 w 675"/>
              <a:gd name="T37" fmla="*/ 581 h 701"/>
              <a:gd name="T38" fmla="*/ 201 w 675"/>
              <a:gd name="T39" fmla="*/ 571 h 701"/>
              <a:gd name="T40" fmla="*/ 145 w 675"/>
              <a:gd name="T41" fmla="*/ 551 h 701"/>
              <a:gd name="T42" fmla="*/ 112 w 675"/>
              <a:gd name="T43" fmla="*/ 519 h 701"/>
              <a:gd name="T44" fmla="*/ 123 w 675"/>
              <a:gd name="T45" fmla="*/ 473 h 701"/>
              <a:gd name="T46" fmla="*/ 136 w 675"/>
              <a:gd name="T47" fmla="*/ 425 h 701"/>
              <a:gd name="T48" fmla="*/ 162 w 675"/>
              <a:gd name="T49" fmla="*/ 374 h 701"/>
              <a:gd name="T50" fmla="*/ 172 w 675"/>
              <a:gd name="T51" fmla="*/ 399 h 701"/>
              <a:gd name="T52" fmla="*/ 157 w 675"/>
              <a:gd name="T53" fmla="*/ 342 h 701"/>
              <a:gd name="T54" fmla="*/ 153 w 675"/>
              <a:gd name="T55" fmla="*/ 309 h 701"/>
              <a:gd name="T56" fmla="*/ 117 w 675"/>
              <a:gd name="T57" fmla="*/ 262 h 701"/>
              <a:gd name="T58" fmla="*/ 104 w 675"/>
              <a:gd name="T59" fmla="*/ 231 h 701"/>
              <a:gd name="T60" fmla="*/ 90 w 675"/>
              <a:gd name="T61" fmla="*/ 209 h 701"/>
              <a:gd name="T62" fmla="*/ 85 w 675"/>
              <a:gd name="T63" fmla="*/ 207 h 701"/>
              <a:gd name="T64" fmla="*/ 65 w 675"/>
              <a:gd name="T65" fmla="*/ 190 h 701"/>
              <a:gd name="T66" fmla="*/ 27 w 675"/>
              <a:gd name="T67" fmla="*/ 177 h 701"/>
              <a:gd name="T68" fmla="*/ 24 w 675"/>
              <a:gd name="T69" fmla="*/ 148 h 701"/>
              <a:gd name="T70" fmla="*/ 33 w 675"/>
              <a:gd name="T71" fmla="*/ 143 h 701"/>
              <a:gd name="T72" fmla="*/ 34 w 675"/>
              <a:gd name="T73" fmla="*/ 122 h 701"/>
              <a:gd name="T74" fmla="*/ 75 w 675"/>
              <a:gd name="T75" fmla="*/ 126 h 701"/>
              <a:gd name="T76" fmla="*/ 97 w 675"/>
              <a:gd name="T77" fmla="*/ 124 h 701"/>
              <a:gd name="T78" fmla="*/ 131 w 675"/>
              <a:gd name="T79" fmla="*/ 139 h 701"/>
              <a:gd name="T80" fmla="*/ 153 w 675"/>
              <a:gd name="T81" fmla="*/ 137 h 701"/>
              <a:gd name="T82" fmla="*/ 168 w 675"/>
              <a:gd name="T83" fmla="*/ 115 h 701"/>
              <a:gd name="T84" fmla="*/ 172 w 675"/>
              <a:gd name="T85" fmla="*/ 75 h 701"/>
              <a:gd name="T86" fmla="*/ 218 w 675"/>
              <a:gd name="T87" fmla="*/ 103 h 701"/>
              <a:gd name="T88" fmla="*/ 260 w 675"/>
              <a:gd name="T89" fmla="*/ 102 h 701"/>
              <a:gd name="T90" fmla="*/ 289 w 675"/>
              <a:gd name="T91" fmla="*/ 75 h 701"/>
              <a:gd name="T92" fmla="*/ 323 w 675"/>
              <a:gd name="T93" fmla="*/ 47 h 701"/>
              <a:gd name="T94" fmla="*/ 352 w 675"/>
              <a:gd name="T95" fmla="*/ 3 h 701"/>
              <a:gd name="T96" fmla="*/ 384 w 675"/>
              <a:gd name="T97" fmla="*/ 29 h 701"/>
              <a:gd name="T98" fmla="*/ 418 w 675"/>
              <a:gd name="T99" fmla="*/ 59 h 701"/>
              <a:gd name="T100" fmla="*/ 446 w 675"/>
              <a:gd name="T101" fmla="*/ 86 h 701"/>
              <a:gd name="T102" fmla="*/ 473 w 675"/>
              <a:gd name="T103" fmla="*/ 100 h 701"/>
              <a:gd name="T104" fmla="*/ 279 w 675"/>
              <a:gd name="T105" fmla="*/ 597 h 701"/>
              <a:gd name="T106" fmla="*/ 668 w 675"/>
              <a:gd name="T107" fmla="*/ 658 h 701"/>
              <a:gd name="T108" fmla="*/ 650 w 675"/>
              <a:gd name="T109" fmla="*/ 695 h 701"/>
              <a:gd name="T110" fmla="*/ 634 w 675"/>
              <a:gd name="T111" fmla="*/ 667 h 701"/>
              <a:gd name="T112" fmla="*/ 629 w 675"/>
              <a:gd name="T113" fmla="*/ 634 h 701"/>
              <a:gd name="T114" fmla="*/ 655 w 675"/>
              <a:gd name="T115" fmla="*/ 604 h 701"/>
              <a:gd name="T116" fmla="*/ 145 w 675"/>
              <a:gd name="T117" fmla="*/ 328 h 701"/>
              <a:gd name="T118" fmla="*/ 146 w 675"/>
              <a:gd name="T119" fmla="*/ 318 h 701"/>
              <a:gd name="T120" fmla="*/ 0 w 675"/>
              <a:gd name="T121" fmla="*/ 127 h 701"/>
              <a:gd name="T122" fmla="*/ 362 w 675"/>
              <a:gd name="T123" fmla="*/ 1 h 701"/>
              <a:gd name="T124" fmla="*/ 104 w 675"/>
              <a:gd name="T125" fmla="*/ 119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5" h="701">
                <a:moveTo>
                  <a:pt x="508" y="119"/>
                </a:moveTo>
                <a:lnTo>
                  <a:pt x="510" y="119"/>
                </a:lnTo>
                <a:lnTo>
                  <a:pt x="510" y="120"/>
                </a:lnTo>
                <a:lnTo>
                  <a:pt x="510" y="122"/>
                </a:lnTo>
                <a:lnTo>
                  <a:pt x="512" y="122"/>
                </a:lnTo>
                <a:lnTo>
                  <a:pt x="514" y="122"/>
                </a:lnTo>
                <a:lnTo>
                  <a:pt x="515" y="124"/>
                </a:lnTo>
                <a:lnTo>
                  <a:pt x="515" y="126"/>
                </a:lnTo>
                <a:lnTo>
                  <a:pt x="519" y="126"/>
                </a:lnTo>
                <a:lnTo>
                  <a:pt x="520" y="126"/>
                </a:lnTo>
                <a:lnTo>
                  <a:pt x="522" y="126"/>
                </a:lnTo>
                <a:lnTo>
                  <a:pt x="522" y="124"/>
                </a:lnTo>
                <a:lnTo>
                  <a:pt x="524" y="124"/>
                </a:lnTo>
                <a:lnTo>
                  <a:pt x="525" y="122"/>
                </a:lnTo>
                <a:lnTo>
                  <a:pt x="527" y="122"/>
                </a:lnTo>
                <a:lnTo>
                  <a:pt x="531" y="124"/>
                </a:lnTo>
                <a:lnTo>
                  <a:pt x="531" y="126"/>
                </a:lnTo>
                <a:lnTo>
                  <a:pt x="534" y="126"/>
                </a:lnTo>
                <a:lnTo>
                  <a:pt x="536" y="126"/>
                </a:lnTo>
                <a:lnTo>
                  <a:pt x="537" y="126"/>
                </a:lnTo>
                <a:lnTo>
                  <a:pt x="539" y="127"/>
                </a:lnTo>
                <a:lnTo>
                  <a:pt x="541" y="129"/>
                </a:lnTo>
                <a:lnTo>
                  <a:pt x="542" y="129"/>
                </a:lnTo>
                <a:lnTo>
                  <a:pt x="541" y="131"/>
                </a:lnTo>
                <a:lnTo>
                  <a:pt x="542" y="132"/>
                </a:lnTo>
                <a:lnTo>
                  <a:pt x="544" y="134"/>
                </a:lnTo>
                <a:lnTo>
                  <a:pt x="542" y="134"/>
                </a:lnTo>
                <a:lnTo>
                  <a:pt x="544" y="136"/>
                </a:lnTo>
                <a:lnTo>
                  <a:pt x="544" y="137"/>
                </a:lnTo>
                <a:lnTo>
                  <a:pt x="548" y="139"/>
                </a:lnTo>
                <a:lnTo>
                  <a:pt x="546" y="141"/>
                </a:lnTo>
                <a:lnTo>
                  <a:pt x="548" y="141"/>
                </a:lnTo>
                <a:lnTo>
                  <a:pt x="548" y="144"/>
                </a:lnTo>
                <a:lnTo>
                  <a:pt x="549" y="144"/>
                </a:lnTo>
                <a:lnTo>
                  <a:pt x="548" y="146"/>
                </a:lnTo>
                <a:lnTo>
                  <a:pt x="549" y="148"/>
                </a:lnTo>
                <a:lnTo>
                  <a:pt x="551" y="148"/>
                </a:lnTo>
                <a:lnTo>
                  <a:pt x="554" y="149"/>
                </a:lnTo>
                <a:lnTo>
                  <a:pt x="554" y="146"/>
                </a:lnTo>
                <a:lnTo>
                  <a:pt x="554" y="144"/>
                </a:lnTo>
                <a:lnTo>
                  <a:pt x="556" y="144"/>
                </a:lnTo>
                <a:lnTo>
                  <a:pt x="559" y="144"/>
                </a:lnTo>
                <a:lnTo>
                  <a:pt x="559" y="146"/>
                </a:lnTo>
                <a:lnTo>
                  <a:pt x="561" y="144"/>
                </a:lnTo>
                <a:lnTo>
                  <a:pt x="561" y="146"/>
                </a:lnTo>
                <a:lnTo>
                  <a:pt x="563" y="146"/>
                </a:lnTo>
                <a:lnTo>
                  <a:pt x="563" y="148"/>
                </a:lnTo>
                <a:lnTo>
                  <a:pt x="563" y="149"/>
                </a:lnTo>
                <a:lnTo>
                  <a:pt x="563" y="153"/>
                </a:lnTo>
                <a:lnTo>
                  <a:pt x="566" y="151"/>
                </a:lnTo>
                <a:lnTo>
                  <a:pt x="565" y="149"/>
                </a:lnTo>
                <a:lnTo>
                  <a:pt x="566" y="149"/>
                </a:lnTo>
                <a:lnTo>
                  <a:pt x="566" y="151"/>
                </a:lnTo>
                <a:lnTo>
                  <a:pt x="568" y="149"/>
                </a:lnTo>
                <a:lnTo>
                  <a:pt x="568" y="151"/>
                </a:lnTo>
                <a:lnTo>
                  <a:pt x="570" y="151"/>
                </a:lnTo>
                <a:lnTo>
                  <a:pt x="570" y="153"/>
                </a:lnTo>
                <a:lnTo>
                  <a:pt x="573" y="151"/>
                </a:lnTo>
                <a:lnTo>
                  <a:pt x="575" y="153"/>
                </a:lnTo>
                <a:lnTo>
                  <a:pt x="576" y="151"/>
                </a:lnTo>
                <a:lnTo>
                  <a:pt x="578" y="151"/>
                </a:lnTo>
                <a:lnTo>
                  <a:pt x="578" y="148"/>
                </a:lnTo>
                <a:lnTo>
                  <a:pt x="582" y="148"/>
                </a:lnTo>
                <a:lnTo>
                  <a:pt x="582" y="149"/>
                </a:lnTo>
                <a:lnTo>
                  <a:pt x="583" y="149"/>
                </a:lnTo>
                <a:lnTo>
                  <a:pt x="585" y="149"/>
                </a:lnTo>
                <a:lnTo>
                  <a:pt x="583" y="151"/>
                </a:lnTo>
                <a:lnTo>
                  <a:pt x="585" y="153"/>
                </a:lnTo>
                <a:lnTo>
                  <a:pt x="585" y="155"/>
                </a:lnTo>
                <a:lnTo>
                  <a:pt x="587" y="155"/>
                </a:lnTo>
                <a:lnTo>
                  <a:pt x="590" y="156"/>
                </a:lnTo>
                <a:lnTo>
                  <a:pt x="590" y="158"/>
                </a:lnTo>
                <a:lnTo>
                  <a:pt x="592" y="158"/>
                </a:lnTo>
                <a:lnTo>
                  <a:pt x="595" y="158"/>
                </a:lnTo>
                <a:lnTo>
                  <a:pt x="597" y="156"/>
                </a:lnTo>
                <a:lnTo>
                  <a:pt x="600" y="158"/>
                </a:lnTo>
                <a:lnTo>
                  <a:pt x="600" y="160"/>
                </a:lnTo>
                <a:lnTo>
                  <a:pt x="602" y="158"/>
                </a:lnTo>
                <a:lnTo>
                  <a:pt x="604" y="158"/>
                </a:lnTo>
                <a:lnTo>
                  <a:pt x="605" y="160"/>
                </a:lnTo>
                <a:lnTo>
                  <a:pt x="607" y="160"/>
                </a:lnTo>
                <a:lnTo>
                  <a:pt x="609" y="161"/>
                </a:lnTo>
                <a:lnTo>
                  <a:pt x="610" y="163"/>
                </a:lnTo>
                <a:lnTo>
                  <a:pt x="614" y="163"/>
                </a:lnTo>
                <a:lnTo>
                  <a:pt x="616" y="163"/>
                </a:lnTo>
                <a:lnTo>
                  <a:pt x="616" y="165"/>
                </a:lnTo>
                <a:lnTo>
                  <a:pt x="617" y="163"/>
                </a:lnTo>
                <a:lnTo>
                  <a:pt x="617" y="165"/>
                </a:lnTo>
                <a:lnTo>
                  <a:pt x="616" y="165"/>
                </a:lnTo>
                <a:lnTo>
                  <a:pt x="616" y="166"/>
                </a:lnTo>
                <a:lnTo>
                  <a:pt x="614" y="168"/>
                </a:lnTo>
                <a:lnTo>
                  <a:pt x="612" y="170"/>
                </a:lnTo>
                <a:lnTo>
                  <a:pt x="612" y="173"/>
                </a:lnTo>
                <a:lnTo>
                  <a:pt x="610" y="175"/>
                </a:lnTo>
                <a:lnTo>
                  <a:pt x="607" y="177"/>
                </a:lnTo>
                <a:lnTo>
                  <a:pt x="607" y="178"/>
                </a:lnTo>
                <a:lnTo>
                  <a:pt x="605" y="178"/>
                </a:lnTo>
                <a:lnTo>
                  <a:pt x="605" y="180"/>
                </a:lnTo>
                <a:lnTo>
                  <a:pt x="604" y="182"/>
                </a:lnTo>
                <a:lnTo>
                  <a:pt x="602" y="183"/>
                </a:lnTo>
                <a:lnTo>
                  <a:pt x="602" y="185"/>
                </a:lnTo>
                <a:lnTo>
                  <a:pt x="599" y="187"/>
                </a:lnTo>
                <a:lnTo>
                  <a:pt x="599" y="189"/>
                </a:lnTo>
                <a:lnTo>
                  <a:pt x="597" y="190"/>
                </a:lnTo>
                <a:lnTo>
                  <a:pt x="597" y="192"/>
                </a:lnTo>
                <a:lnTo>
                  <a:pt x="597" y="195"/>
                </a:lnTo>
                <a:lnTo>
                  <a:pt x="595" y="197"/>
                </a:lnTo>
                <a:lnTo>
                  <a:pt x="595" y="199"/>
                </a:lnTo>
                <a:lnTo>
                  <a:pt x="595" y="200"/>
                </a:lnTo>
                <a:lnTo>
                  <a:pt x="593" y="202"/>
                </a:lnTo>
                <a:lnTo>
                  <a:pt x="593" y="204"/>
                </a:lnTo>
                <a:lnTo>
                  <a:pt x="593" y="206"/>
                </a:lnTo>
                <a:lnTo>
                  <a:pt x="593" y="207"/>
                </a:lnTo>
                <a:lnTo>
                  <a:pt x="593" y="209"/>
                </a:lnTo>
                <a:lnTo>
                  <a:pt x="592" y="211"/>
                </a:lnTo>
                <a:lnTo>
                  <a:pt x="590" y="212"/>
                </a:lnTo>
                <a:lnTo>
                  <a:pt x="590" y="214"/>
                </a:lnTo>
                <a:lnTo>
                  <a:pt x="590" y="216"/>
                </a:lnTo>
                <a:lnTo>
                  <a:pt x="588" y="216"/>
                </a:lnTo>
                <a:lnTo>
                  <a:pt x="588" y="217"/>
                </a:lnTo>
                <a:lnTo>
                  <a:pt x="587" y="219"/>
                </a:lnTo>
                <a:lnTo>
                  <a:pt x="587" y="221"/>
                </a:lnTo>
                <a:lnTo>
                  <a:pt x="585" y="223"/>
                </a:lnTo>
                <a:lnTo>
                  <a:pt x="585" y="226"/>
                </a:lnTo>
                <a:lnTo>
                  <a:pt x="585" y="228"/>
                </a:lnTo>
                <a:lnTo>
                  <a:pt x="585" y="229"/>
                </a:lnTo>
                <a:lnTo>
                  <a:pt x="587" y="231"/>
                </a:lnTo>
                <a:lnTo>
                  <a:pt x="587" y="233"/>
                </a:lnTo>
                <a:lnTo>
                  <a:pt x="587" y="234"/>
                </a:lnTo>
                <a:lnTo>
                  <a:pt x="585" y="236"/>
                </a:lnTo>
                <a:lnTo>
                  <a:pt x="585" y="238"/>
                </a:lnTo>
                <a:lnTo>
                  <a:pt x="583" y="240"/>
                </a:lnTo>
                <a:lnTo>
                  <a:pt x="583" y="241"/>
                </a:lnTo>
                <a:lnTo>
                  <a:pt x="583" y="243"/>
                </a:lnTo>
                <a:lnTo>
                  <a:pt x="583" y="246"/>
                </a:lnTo>
                <a:lnTo>
                  <a:pt x="582" y="246"/>
                </a:lnTo>
                <a:lnTo>
                  <a:pt x="583" y="250"/>
                </a:lnTo>
                <a:lnTo>
                  <a:pt x="582" y="251"/>
                </a:lnTo>
                <a:lnTo>
                  <a:pt x="582" y="255"/>
                </a:lnTo>
                <a:lnTo>
                  <a:pt x="583" y="257"/>
                </a:lnTo>
                <a:lnTo>
                  <a:pt x="585" y="260"/>
                </a:lnTo>
                <a:lnTo>
                  <a:pt x="583" y="260"/>
                </a:lnTo>
                <a:lnTo>
                  <a:pt x="583" y="262"/>
                </a:lnTo>
                <a:lnTo>
                  <a:pt x="582" y="263"/>
                </a:lnTo>
                <a:lnTo>
                  <a:pt x="580" y="263"/>
                </a:lnTo>
                <a:lnTo>
                  <a:pt x="582" y="263"/>
                </a:lnTo>
                <a:lnTo>
                  <a:pt x="582" y="265"/>
                </a:lnTo>
                <a:lnTo>
                  <a:pt x="580" y="265"/>
                </a:lnTo>
                <a:lnTo>
                  <a:pt x="582" y="267"/>
                </a:lnTo>
                <a:lnTo>
                  <a:pt x="580" y="267"/>
                </a:lnTo>
                <a:lnTo>
                  <a:pt x="576" y="265"/>
                </a:lnTo>
                <a:lnTo>
                  <a:pt x="576" y="267"/>
                </a:lnTo>
                <a:lnTo>
                  <a:pt x="578" y="268"/>
                </a:lnTo>
                <a:lnTo>
                  <a:pt x="576" y="268"/>
                </a:lnTo>
                <a:lnTo>
                  <a:pt x="575" y="270"/>
                </a:lnTo>
                <a:lnTo>
                  <a:pt x="571" y="270"/>
                </a:lnTo>
                <a:lnTo>
                  <a:pt x="570" y="270"/>
                </a:lnTo>
                <a:lnTo>
                  <a:pt x="568" y="270"/>
                </a:lnTo>
                <a:lnTo>
                  <a:pt x="565" y="268"/>
                </a:lnTo>
                <a:lnTo>
                  <a:pt x="565" y="267"/>
                </a:lnTo>
                <a:lnTo>
                  <a:pt x="566" y="265"/>
                </a:lnTo>
                <a:lnTo>
                  <a:pt x="565" y="265"/>
                </a:lnTo>
                <a:lnTo>
                  <a:pt x="563" y="265"/>
                </a:lnTo>
                <a:lnTo>
                  <a:pt x="559" y="265"/>
                </a:lnTo>
                <a:lnTo>
                  <a:pt x="558" y="265"/>
                </a:lnTo>
                <a:lnTo>
                  <a:pt x="556" y="265"/>
                </a:lnTo>
                <a:lnTo>
                  <a:pt x="556" y="268"/>
                </a:lnTo>
                <a:lnTo>
                  <a:pt x="554" y="270"/>
                </a:lnTo>
                <a:lnTo>
                  <a:pt x="553" y="272"/>
                </a:lnTo>
                <a:lnTo>
                  <a:pt x="551" y="275"/>
                </a:lnTo>
                <a:lnTo>
                  <a:pt x="553" y="275"/>
                </a:lnTo>
                <a:lnTo>
                  <a:pt x="554" y="275"/>
                </a:lnTo>
                <a:lnTo>
                  <a:pt x="558" y="274"/>
                </a:lnTo>
                <a:lnTo>
                  <a:pt x="558" y="275"/>
                </a:lnTo>
                <a:lnTo>
                  <a:pt x="559" y="277"/>
                </a:lnTo>
                <a:lnTo>
                  <a:pt x="556" y="277"/>
                </a:lnTo>
                <a:lnTo>
                  <a:pt x="556" y="279"/>
                </a:lnTo>
                <a:lnTo>
                  <a:pt x="553" y="280"/>
                </a:lnTo>
                <a:lnTo>
                  <a:pt x="554" y="282"/>
                </a:lnTo>
                <a:lnTo>
                  <a:pt x="553" y="284"/>
                </a:lnTo>
                <a:lnTo>
                  <a:pt x="549" y="285"/>
                </a:lnTo>
                <a:lnTo>
                  <a:pt x="549" y="287"/>
                </a:lnTo>
                <a:lnTo>
                  <a:pt x="548" y="287"/>
                </a:lnTo>
                <a:lnTo>
                  <a:pt x="548" y="289"/>
                </a:lnTo>
                <a:lnTo>
                  <a:pt x="546" y="291"/>
                </a:lnTo>
                <a:lnTo>
                  <a:pt x="544" y="291"/>
                </a:lnTo>
                <a:lnTo>
                  <a:pt x="542" y="292"/>
                </a:lnTo>
                <a:lnTo>
                  <a:pt x="541" y="294"/>
                </a:lnTo>
                <a:lnTo>
                  <a:pt x="542" y="296"/>
                </a:lnTo>
                <a:lnTo>
                  <a:pt x="541" y="297"/>
                </a:lnTo>
                <a:lnTo>
                  <a:pt x="539" y="297"/>
                </a:lnTo>
                <a:lnTo>
                  <a:pt x="537" y="299"/>
                </a:lnTo>
                <a:lnTo>
                  <a:pt x="536" y="299"/>
                </a:lnTo>
                <a:lnTo>
                  <a:pt x="534" y="301"/>
                </a:lnTo>
                <a:lnTo>
                  <a:pt x="532" y="301"/>
                </a:lnTo>
                <a:lnTo>
                  <a:pt x="531" y="301"/>
                </a:lnTo>
                <a:lnTo>
                  <a:pt x="529" y="302"/>
                </a:lnTo>
                <a:lnTo>
                  <a:pt x="527" y="304"/>
                </a:lnTo>
                <a:lnTo>
                  <a:pt x="529" y="306"/>
                </a:lnTo>
                <a:lnTo>
                  <a:pt x="529" y="309"/>
                </a:lnTo>
                <a:lnTo>
                  <a:pt x="527" y="313"/>
                </a:lnTo>
                <a:lnTo>
                  <a:pt x="529" y="314"/>
                </a:lnTo>
                <a:lnTo>
                  <a:pt x="527" y="316"/>
                </a:lnTo>
                <a:lnTo>
                  <a:pt x="525" y="316"/>
                </a:lnTo>
                <a:lnTo>
                  <a:pt x="524" y="318"/>
                </a:lnTo>
                <a:lnTo>
                  <a:pt x="522" y="320"/>
                </a:lnTo>
                <a:lnTo>
                  <a:pt x="520" y="320"/>
                </a:lnTo>
                <a:lnTo>
                  <a:pt x="519" y="321"/>
                </a:lnTo>
                <a:lnTo>
                  <a:pt x="517" y="323"/>
                </a:lnTo>
                <a:lnTo>
                  <a:pt x="515" y="325"/>
                </a:lnTo>
                <a:lnTo>
                  <a:pt x="512" y="326"/>
                </a:lnTo>
                <a:lnTo>
                  <a:pt x="510" y="328"/>
                </a:lnTo>
                <a:lnTo>
                  <a:pt x="514" y="330"/>
                </a:lnTo>
                <a:lnTo>
                  <a:pt x="512" y="331"/>
                </a:lnTo>
                <a:lnTo>
                  <a:pt x="510" y="333"/>
                </a:lnTo>
                <a:lnTo>
                  <a:pt x="510" y="335"/>
                </a:lnTo>
                <a:lnTo>
                  <a:pt x="508" y="335"/>
                </a:lnTo>
                <a:lnTo>
                  <a:pt x="510" y="337"/>
                </a:lnTo>
                <a:lnTo>
                  <a:pt x="508" y="338"/>
                </a:lnTo>
                <a:lnTo>
                  <a:pt x="510" y="340"/>
                </a:lnTo>
                <a:lnTo>
                  <a:pt x="512" y="342"/>
                </a:lnTo>
                <a:lnTo>
                  <a:pt x="514" y="343"/>
                </a:lnTo>
                <a:lnTo>
                  <a:pt x="512" y="345"/>
                </a:lnTo>
                <a:lnTo>
                  <a:pt x="510" y="347"/>
                </a:lnTo>
                <a:lnTo>
                  <a:pt x="510" y="348"/>
                </a:lnTo>
                <a:lnTo>
                  <a:pt x="510" y="350"/>
                </a:lnTo>
                <a:lnTo>
                  <a:pt x="508" y="352"/>
                </a:lnTo>
                <a:lnTo>
                  <a:pt x="507" y="350"/>
                </a:lnTo>
                <a:lnTo>
                  <a:pt x="507" y="352"/>
                </a:lnTo>
                <a:lnTo>
                  <a:pt x="503" y="354"/>
                </a:lnTo>
                <a:lnTo>
                  <a:pt x="502" y="354"/>
                </a:lnTo>
                <a:lnTo>
                  <a:pt x="503" y="355"/>
                </a:lnTo>
                <a:lnTo>
                  <a:pt x="502" y="359"/>
                </a:lnTo>
                <a:lnTo>
                  <a:pt x="503" y="357"/>
                </a:lnTo>
                <a:lnTo>
                  <a:pt x="505" y="359"/>
                </a:lnTo>
                <a:lnTo>
                  <a:pt x="507" y="357"/>
                </a:lnTo>
                <a:lnTo>
                  <a:pt x="508" y="357"/>
                </a:lnTo>
                <a:lnTo>
                  <a:pt x="510" y="359"/>
                </a:lnTo>
                <a:lnTo>
                  <a:pt x="514" y="357"/>
                </a:lnTo>
                <a:lnTo>
                  <a:pt x="515" y="354"/>
                </a:lnTo>
                <a:lnTo>
                  <a:pt x="517" y="354"/>
                </a:lnTo>
                <a:lnTo>
                  <a:pt x="519" y="354"/>
                </a:lnTo>
                <a:lnTo>
                  <a:pt x="519" y="350"/>
                </a:lnTo>
                <a:lnTo>
                  <a:pt x="517" y="350"/>
                </a:lnTo>
                <a:lnTo>
                  <a:pt x="515" y="348"/>
                </a:lnTo>
                <a:lnTo>
                  <a:pt x="517" y="348"/>
                </a:lnTo>
                <a:lnTo>
                  <a:pt x="517" y="347"/>
                </a:lnTo>
                <a:lnTo>
                  <a:pt x="519" y="343"/>
                </a:lnTo>
                <a:lnTo>
                  <a:pt x="522" y="343"/>
                </a:lnTo>
                <a:lnTo>
                  <a:pt x="524" y="345"/>
                </a:lnTo>
                <a:lnTo>
                  <a:pt x="525" y="343"/>
                </a:lnTo>
                <a:lnTo>
                  <a:pt x="527" y="343"/>
                </a:lnTo>
                <a:lnTo>
                  <a:pt x="531" y="340"/>
                </a:lnTo>
                <a:lnTo>
                  <a:pt x="531" y="342"/>
                </a:lnTo>
                <a:lnTo>
                  <a:pt x="534" y="342"/>
                </a:lnTo>
                <a:lnTo>
                  <a:pt x="536" y="342"/>
                </a:lnTo>
                <a:lnTo>
                  <a:pt x="537" y="342"/>
                </a:lnTo>
                <a:lnTo>
                  <a:pt x="541" y="342"/>
                </a:lnTo>
                <a:lnTo>
                  <a:pt x="542" y="342"/>
                </a:lnTo>
                <a:lnTo>
                  <a:pt x="544" y="342"/>
                </a:lnTo>
                <a:lnTo>
                  <a:pt x="544" y="343"/>
                </a:lnTo>
                <a:lnTo>
                  <a:pt x="542" y="345"/>
                </a:lnTo>
                <a:lnTo>
                  <a:pt x="544" y="347"/>
                </a:lnTo>
                <a:lnTo>
                  <a:pt x="544" y="348"/>
                </a:lnTo>
                <a:lnTo>
                  <a:pt x="546" y="350"/>
                </a:lnTo>
                <a:lnTo>
                  <a:pt x="546" y="352"/>
                </a:lnTo>
                <a:lnTo>
                  <a:pt x="544" y="354"/>
                </a:lnTo>
                <a:lnTo>
                  <a:pt x="542" y="355"/>
                </a:lnTo>
                <a:lnTo>
                  <a:pt x="544" y="357"/>
                </a:lnTo>
                <a:lnTo>
                  <a:pt x="542" y="359"/>
                </a:lnTo>
                <a:lnTo>
                  <a:pt x="542" y="360"/>
                </a:lnTo>
                <a:lnTo>
                  <a:pt x="544" y="360"/>
                </a:lnTo>
                <a:lnTo>
                  <a:pt x="548" y="362"/>
                </a:lnTo>
                <a:lnTo>
                  <a:pt x="548" y="364"/>
                </a:lnTo>
                <a:lnTo>
                  <a:pt x="548" y="365"/>
                </a:lnTo>
                <a:lnTo>
                  <a:pt x="546" y="367"/>
                </a:lnTo>
                <a:lnTo>
                  <a:pt x="548" y="367"/>
                </a:lnTo>
                <a:lnTo>
                  <a:pt x="549" y="365"/>
                </a:lnTo>
                <a:lnTo>
                  <a:pt x="549" y="367"/>
                </a:lnTo>
                <a:lnTo>
                  <a:pt x="551" y="369"/>
                </a:lnTo>
                <a:lnTo>
                  <a:pt x="551" y="371"/>
                </a:lnTo>
                <a:lnTo>
                  <a:pt x="553" y="371"/>
                </a:lnTo>
                <a:lnTo>
                  <a:pt x="553" y="372"/>
                </a:lnTo>
                <a:lnTo>
                  <a:pt x="554" y="374"/>
                </a:lnTo>
                <a:lnTo>
                  <a:pt x="554" y="376"/>
                </a:lnTo>
                <a:lnTo>
                  <a:pt x="553" y="377"/>
                </a:lnTo>
                <a:lnTo>
                  <a:pt x="551" y="379"/>
                </a:lnTo>
                <a:lnTo>
                  <a:pt x="549" y="379"/>
                </a:lnTo>
                <a:lnTo>
                  <a:pt x="549" y="381"/>
                </a:lnTo>
                <a:lnTo>
                  <a:pt x="546" y="381"/>
                </a:lnTo>
                <a:lnTo>
                  <a:pt x="546" y="382"/>
                </a:lnTo>
                <a:lnTo>
                  <a:pt x="542" y="381"/>
                </a:lnTo>
                <a:lnTo>
                  <a:pt x="542" y="382"/>
                </a:lnTo>
                <a:lnTo>
                  <a:pt x="542" y="384"/>
                </a:lnTo>
                <a:lnTo>
                  <a:pt x="542" y="386"/>
                </a:lnTo>
                <a:lnTo>
                  <a:pt x="542" y="388"/>
                </a:lnTo>
                <a:lnTo>
                  <a:pt x="542" y="389"/>
                </a:lnTo>
                <a:lnTo>
                  <a:pt x="542" y="391"/>
                </a:lnTo>
                <a:lnTo>
                  <a:pt x="544" y="393"/>
                </a:lnTo>
                <a:lnTo>
                  <a:pt x="546" y="393"/>
                </a:lnTo>
                <a:lnTo>
                  <a:pt x="548" y="394"/>
                </a:lnTo>
                <a:lnTo>
                  <a:pt x="549" y="394"/>
                </a:lnTo>
                <a:lnTo>
                  <a:pt x="551" y="396"/>
                </a:lnTo>
                <a:lnTo>
                  <a:pt x="549" y="399"/>
                </a:lnTo>
                <a:lnTo>
                  <a:pt x="551" y="399"/>
                </a:lnTo>
                <a:lnTo>
                  <a:pt x="551" y="401"/>
                </a:lnTo>
                <a:lnTo>
                  <a:pt x="551" y="403"/>
                </a:lnTo>
                <a:lnTo>
                  <a:pt x="551" y="405"/>
                </a:lnTo>
                <a:lnTo>
                  <a:pt x="553" y="406"/>
                </a:lnTo>
                <a:lnTo>
                  <a:pt x="553" y="408"/>
                </a:lnTo>
                <a:lnTo>
                  <a:pt x="556" y="408"/>
                </a:lnTo>
                <a:lnTo>
                  <a:pt x="556" y="410"/>
                </a:lnTo>
                <a:lnTo>
                  <a:pt x="558" y="411"/>
                </a:lnTo>
                <a:lnTo>
                  <a:pt x="559" y="413"/>
                </a:lnTo>
                <a:lnTo>
                  <a:pt x="558" y="415"/>
                </a:lnTo>
                <a:lnTo>
                  <a:pt x="556" y="416"/>
                </a:lnTo>
                <a:lnTo>
                  <a:pt x="556" y="418"/>
                </a:lnTo>
                <a:lnTo>
                  <a:pt x="556" y="420"/>
                </a:lnTo>
                <a:lnTo>
                  <a:pt x="556" y="422"/>
                </a:lnTo>
                <a:lnTo>
                  <a:pt x="556" y="423"/>
                </a:lnTo>
                <a:lnTo>
                  <a:pt x="554" y="425"/>
                </a:lnTo>
                <a:lnTo>
                  <a:pt x="553" y="427"/>
                </a:lnTo>
                <a:lnTo>
                  <a:pt x="553" y="425"/>
                </a:lnTo>
                <a:lnTo>
                  <a:pt x="551" y="425"/>
                </a:lnTo>
                <a:lnTo>
                  <a:pt x="548" y="427"/>
                </a:lnTo>
                <a:lnTo>
                  <a:pt x="548" y="428"/>
                </a:lnTo>
                <a:lnTo>
                  <a:pt x="544" y="428"/>
                </a:lnTo>
                <a:lnTo>
                  <a:pt x="544" y="430"/>
                </a:lnTo>
                <a:lnTo>
                  <a:pt x="542" y="432"/>
                </a:lnTo>
                <a:lnTo>
                  <a:pt x="542" y="430"/>
                </a:lnTo>
                <a:lnTo>
                  <a:pt x="541" y="430"/>
                </a:lnTo>
                <a:lnTo>
                  <a:pt x="539" y="428"/>
                </a:lnTo>
                <a:lnTo>
                  <a:pt x="537" y="430"/>
                </a:lnTo>
                <a:lnTo>
                  <a:pt x="534" y="430"/>
                </a:lnTo>
                <a:lnTo>
                  <a:pt x="534" y="432"/>
                </a:lnTo>
                <a:lnTo>
                  <a:pt x="531" y="432"/>
                </a:lnTo>
                <a:lnTo>
                  <a:pt x="532" y="435"/>
                </a:lnTo>
                <a:lnTo>
                  <a:pt x="532" y="437"/>
                </a:lnTo>
                <a:lnTo>
                  <a:pt x="532" y="439"/>
                </a:lnTo>
                <a:lnTo>
                  <a:pt x="536" y="439"/>
                </a:lnTo>
                <a:lnTo>
                  <a:pt x="537" y="439"/>
                </a:lnTo>
                <a:lnTo>
                  <a:pt x="536" y="440"/>
                </a:lnTo>
                <a:lnTo>
                  <a:pt x="537" y="442"/>
                </a:lnTo>
                <a:lnTo>
                  <a:pt x="536" y="444"/>
                </a:lnTo>
                <a:lnTo>
                  <a:pt x="537" y="445"/>
                </a:lnTo>
                <a:lnTo>
                  <a:pt x="537" y="447"/>
                </a:lnTo>
                <a:lnTo>
                  <a:pt x="539" y="447"/>
                </a:lnTo>
                <a:lnTo>
                  <a:pt x="539" y="449"/>
                </a:lnTo>
                <a:lnTo>
                  <a:pt x="541" y="450"/>
                </a:lnTo>
                <a:lnTo>
                  <a:pt x="542" y="450"/>
                </a:lnTo>
                <a:lnTo>
                  <a:pt x="544" y="450"/>
                </a:lnTo>
                <a:lnTo>
                  <a:pt x="546" y="450"/>
                </a:lnTo>
                <a:lnTo>
                  <a:pt x="548" y="452"/>
                </a:lnTo>
                <a:lnTo>
                  <a:pt x="549" y="452"/>
                </a:lnTo>
                <a:lnTo>
                  <a:pt x="549" y="454"/>
                </a:lnTo>
                <a:lnTo>
                  <a:pt x="549" y="456"/>
                </a:lnTo>
                <a:lnTo>
                  <a:pt x="549" y="457"/>
                </a:lnTo>
                <a:lnTo>
                  <a:pt x="549" y="459"/>
                </a:lnTo>
                <a:lnTo>
                  <a:pt x="551" y="461"/>
                </a:lnTo>
                <a:lnTo>
                  <a:pt x="553" y="464"/>
                </a:lnTo>
                <a:lnTo>
                  <a:pt x="549" y="462"/>
                </a:lnTo>
                <a:lnTo>
                  <a:pt x="548" y="462"/>
                </a:lnTo>
                <a:lnTo>
                  <a:pt x="546" y="462"/>
                </a:lnTo>
                <a:lnTo>
                  <a:pt x="546" y="464"/>
                </a:lnTo>
                <a:lnTo>
                  <a:pt x="546" y="468"/>
                </a:lnTo>
                <a:lnTo>
                  <a:pt x="544" y="469"/>
                </a:lnTo>
                <a:lnTo>
                  <a:pt x="544" y="471"/>
                </a:lnTo>
                <a:lnTo>
                  <a:pt x="542" y="471"/>
                </a:lnTo>
                <a:lnTo>
                  <a:pt x="541" y="474"/>
                </a:lnTo>
                <a:lnTo>
                  <a:pt x="541" y="478"/>
                </a:lnTo>
                <a:lnTo>
                  <a:pt x="542" y="478"/>
                </a:lnTo>
                <a:lnTo>
                  <a:pt x="542" y="479"/>
                </a:lnTo>
                <a:lnTo>
                  <a:pt x="544" y="481"/>
                </a:lnTo>
                <a:lnTo>
                  <a:pt x="542" y="481"/>
                </a:lnTo>
                <a:lnTo>
                  <a:pt x="542" y="483"/>
                </a:lnTo>
                <a:lnTo>
                  <a:pt x="542" y="485"/>
                </a:lnTo>
                <a:lnTo>
                  <a:pt x="544" y="486"/>
                </a:lnTo>
                <a:lnTo>
                  <a:pt x="544" y="488"/>
                </a:lnTo>
                <a:lnTo>
                  <a:pt x="546" y="490"/>
                </a:lnTo>
                <a:lnTo>
                  <a:pt x="548" y="491"/>
                </a:lnTo>
                <a:lnTo>
                  <a:pt x="548" y="495"/>
                </a:lnTo>
                <a:lnTo>
                  <a:pt x="549" y="495"/>
                </a:lnTo>
                <a:lnTo>
                  <a:pt x="551" y="495"/>
                </a:lnTo>
                <a:lnTo>
                  <a:pt x="551" y="496"/>
                </a:lnTo>
                <a:lnTo>
                  <a:pt x="554" y="496"/>
                </a:lnTo>
                <a:lnTo>
                  <a:pt x="556" y="498"/>
                </a:lnTo>
                <a:lnTo>
                  <a:pt x="558" y="500"/>
                </a:lnTo>
                <a:lnTo>
                  <a:pt x="559" y="500"/>
                </a:lnTo>
                <a:lnTo>
                  <a:pt x="561" y="502"/>
                </a:lnTo>
                <a:lnTo>
                  <a:pt x="563" y="502"/>
                </a:lnTo>
                <a:lnTo>
                  <a:pt x="565" y="502"/>
                </a:lnTo>
                <a:lnTo>
                  <a:pt x="565" y="503"/>
                </a:lnTo>
                <a:lnTo>
                  <a:pt x="566" y="503"/>
                </a:lnTo>
                <a:lnTo>
                  <a:pt x="568" y="503"/>
                </a:lnTo>
                <a:lnTo>
                  <a:pt x="570" y="503"/>
                </a:lnTo>
                <a:lnTo>
                  <a:pt x="573" y="502"/>
                </a:lnTo>
                <a:lnTo>
                  <a:pt x="573" y="503"/>
                </a:lnTo>
                <a:lnTo>
                  <a:pt x="575" y="502"/>
                </a:lnTo>
                <a:lnTo>
                  <a:pt x="578" y="502"/>
                </a:lnTo>
                <a:lnTo>
                  <a:pt x="580" y="500"/>
                </a:lnTo>
                <a:lnTo>
                  <a:pt x="582" y="500"/>
                </a:lnTo>
                <a:lnTo>
                  <a:pt x="582" y="502"/>
                </a:lnTo>
                <a:lnTo>
                  <a:pt x="580" y="503"/>
                </a:lnTo>
                <a:lnTo>
                  <a:pt x="582" y="503"/>
                </a:lnTo>
                <a:lnTo>
                  <a:pt x="582" y="507"/>
                </a:lnTo>
                <a:lnTo>
                  <a:pt x="583" y="507"/>
                </a:lnTo>
                <a:lnTo>
                  <a:pt x="583" y="508"/>
                </a:lnTo>
                <a:lnTo>
                  <a:pt x="582" y="510"/>
                </a:lnTo>
                <a:lnTo>
                  <a:pt x="580" y="510"/>
                </a:lnTo>
                <a:lnTo>
                  <a:pt x="580" y="512"/>
                </a:lnTo>
                <a:lnTo>
                  <a:pt x="580" y="513"/>
                </a:lnTo>
                <a:lnTo>
                  <a:pt x="576" y="515"/>
                </a:lnTo>
                <a:lnTo>
                  <a:pt x="575" y="515"/>
                </a:lnTo>
                <a:lnTo>
                  <a:pt x="575" y="519"/>
                </a:lnTo>
                <a:lnTo>
                  <a:pt x="571" y="520"/>
                </a:lnTo>
                <a:lnTo>
                  <a:pt x="571" y="522"/>
                </a:lnTo>
                <a:lnTo>
                  <a:pt x="571" y="524"/>
                </a:lnTo>
                <a:lnTo>
                  <a:pt x="571" y="525"/>
                </a:lnTo>
                <a:lnTo>
                  <a:pt x="573" y="527"/>
                </a:lnTo>
                <a:lnTo>
                  <a:pt x="571" y="529"/>
                </a:lnTo>
                <a:lnTo>
                  <a:pt x="570" y="530"/>
                </a:lnTo>
                <a:lnTo>
                  <a:pt x="570" y="529"/>
                </a:lnTo>
                <a:lnTo>
                  <a:pt x="568" y="530"/>
                </a:lnTo>
                <a:lnTo>
                  <a:pt x="566" y="530"/>
                </a:lnTo>
                <a:lnTo>
                  <a:pt x="566" y="532"/>
                </a:lnTo>
                <a:lnTo>
                  <a:pt x="565" y="532"/>
                </a:lnTo>
                <a:lnTo>
                  <a:pt x="563" y="532"/>
                </a:lnTo>
                <a:lnTo>
                  <a:pt x="563" y="534"/>
                </a:lnTo>
                <a:lnTo>
                  <a:pt x="563" y="536"/>
                </a:lnTo>
                <a:lnTo>
                  <a:pt x="561" y="532"/>
                </a:lnTo>
                <a:lnTo>
                  <a:pt x="561" y="534"/>
                </a:lnTo>
                <a:lnTo>
                  <a:pt x="559" y="534"/>
                </a:lnTo>
                <a:lnTo>
                  <a:pt x="558" y="534"/>
                </a:lnTo>
                <a:lnTo>
                  <a:pt x="556" y="537"/>
                </a:lnTo>
                <a:lnTo>
                  <a:pt x="553" y="536"/>
                </a:lnTo>
                <a:lnTo>
                  <a:pt x="553" y="537"/>
                </a:lnTo>
                <a:lnTo>
                  <a:pt x="551" y="539"/>
                </a:lnTo>
                <a:lnTo>
                  <a:pt x="551" y="541"/>
                </a:lnTo>
                <a:lnTo>
                  <a:pt x="553" y="544"/>
                </a:lnTo>
                <a:lnTo>
                  <a:pt x="551" y="544"/>
                </a:lnTo>
                <a:lnTo>
                  <a:pt x="551" y="542"/>
                </a:lnTo>
                <a:lnTo>
                  <a:pt x="549" y="542"/>
                </a:lnTo>
                <a:lnTo>
                  <a:pt x="548" y="544"/>
                </a:lnTo>
                <a:lnTo>
                  <a:pt x="546" y="542"/>
                </a:lnTo>
                <a:lnTo>
                  <a:pt x="542" y="544"/>
                </a:lnTo>
                <a:lnTo>
                  <a:pt x="542" y="546"/>
                </a:lnTo>
                <a:lnTo>
                  <a:pt x="541" y="547"/>
                </a:lnTo>
                <a:lnTo>
                  <a:pt x="541" y="549"/>
                </a:lnTo>
                <a:lnTo>
                  <a:pt x="539" y="551"/>
                </a:lnTo>
                <a:lnTo>
                  <a:pt x="537" y="551"/>
                </a:lnTo>
                <a:lnTo>
                  <a:pt x="537" y="553"/>
                </a:lnTo>
                <a:lnTo>
                  <a:pt x="536" y="553"/>
                </a:lnTo>
                <a:lnTo>
                  <a:pt x="534" y="553"/>
                </a:lnTo>
                <a:lnTo>
                  <a:pt x="532" y="551"/>
                </a:lnTo>
                <a:lnTo>
                  <a:pt x="531" y="553"/>
                </a:lnTo>
                <a:lnTo>
                  <a:pt x="531" y="554"/>
                </a:lnTo>
                <a:lnTo>
                  <a:pt x="531" y="556"/>
                </a:lnTo>
                <a:lnTo>
                  <a:pt x="527" y="558"/>
                </a:lnTo>
                <a:lnTo>
                  <a:pt x="527" y="559"/>
                </a:lnTo>
                <a:lnTo>
                  <a:pt x="525" y="559"/>
                </a:lnTo>
                <a:lnTo>
                  <a:pt x="522" y="561"/>
                </a:lnTo>
                <a:lnTo>
                  <a:pt x="524" y="563"/>
                </a:lnTo>
                <a:lnTo>
                  <a:pt x="525" y="561"/>
                </a:lnTo>
                <a:lnTo>
                  <a:pt x="527" y="563"/>
                </a:lnTo>
                <a:lnTo>
                  <a:pt x="527" y="561"/>
                </a:lnTo>
                <a:lnTo>
                  <a:pt x="529" y="563"/>
                </a:lnTo>
                <a:lnTo>
                  <a:pt x="527" y="564"/>
                </a:lnTo>
                <a:lnTo>
                  <a:pt x="527" y="566"/>
                </a:lnTo>
                <a:lnTo>
                  <a:pt x="525" y="568"/>
                </a:lnTo>
                <a:lnTo>
                  <a:pt x="525" y="570"/>
                </a:lnTo>
                <a:lnTo>
                  <a:pt x="524" y="570"/>
                </a:lnTo>
                <a:lnTo>
                  <a:pt x="524" y="568"/>
                </a:lnTo>
                <a:lnTo>
                  <a:pt x="522" y="568"/>
                </a:lnTo>
                <a:lnTo>
                  <a:pt x="520" y="570"/>
                </a:lnTo>
                <a:lnTo>
                  <a:pt x="517" y="570"/>
                </a:lnTo>
                <a:lnTo>
                  <a:pt x="515" y="571"/>
                </a:lnTo>
                <a:lnTo>
                  <a:pt x="512" y="570"/>
                </a:lnTo>
                <a:lnTo>
                  <a:pt x="510" y="571"/>
                </a:lnTo>
                <a:lnTo>
                  <a:pt x="510" y="575"/>
                </a:lnTo>
                <a:lnTo>
                  <a:pt x="508" y="573"/>
                </a:lnTo>
                <a:lnTo>
                  <a:pt x="507" y="571"/>
                </a:lnTo>
                <a:lnTo>
                  <a:pt x="505" y="571"/>
                </a:lnTo>
                <a:lnTo>
                  <a:pt x="502" y="571"/>
                </a:lnTo>
                <a:lnTo>
                  <a:pt x="502" y="573"/>
                </a:lnTo>
                <a:lnTo>
                  <a:pt x="500" y="575"/>
                </a:lnTo>
                <a:lnTo>
                  <a:pt x="500" y="576"/>
                </a:lnTo>
                <a:lnTo>
                  <a:pt x="500" y="578"/>
                </a:lnTo>
                <a:lnTo>
                  <a:pt x="498" y="576"/>
                </a:lnTo>
                <a:lnTo>
                  <a:pt x="497" y="578"/>
                </a:lnTo>
                <a:lnTo>
                  <a:pt x="497" y="576"/>
                </a:lnTo>
                <a:lnTo>
                  <a:pt x="498" y="576"/>
                </a:lnTo>
                <a:lnTo>
                  <a:pt x="498" y="575"/>
                </a:lnTo>
                <a:lnTo>
                  <a:pt x="497" y="573"/>
                </a:lnTo>
                <a:lnTo>
                  <a:pt x="493" y="573"/>
                </a:lnTo>
                <a:lnTo>
                  <a:pt x="493" y="571"/>
                </a:lnTo>
                <a:lnTo>
                  <a:pt x="490" y="571"/>
                </a:lnTo>
                <a:lnTo>
                  <a:pt x="488" y="571"/>
                </a:lnTo>
                <a:lnTo>
                  <a:pt x="488" y="570"/>
                </a:lnTo>
                <a:lnTo>
                  <a:pt x="486" y="571"/>
                </a:lnTo>
                <a:lnTo>
                  <a:pt x="488" y="571"/>
                </a:lnTo>
                <a:lnTo>
                  <a:pt x="486" y="573"/>
                </a:lnTo>
                <a:lnTo>
                  <a:pt x="488" y="573"/>
                </a:lnTo>
                <a:lnTo>
                  <a:pt x="490" y="575"/>
                </a:lnTo>
                <a:lnTo>
                  <a:pt x="486" y="573"/>
                </a:lnTo>
                <a:lnTo>
                  <a:pt x="485" y="576"/>
                </a:lnTo>
                <a:lnTo>
                  <a:pt x="483" y="575"/>
                </a:lnTo>
                <a:lnTo>
                  <a:pt x="481" y="573"/>
                </a:lnTo>
                <a:lnTo>
                  <a:pt x="483" y="571"/>
                </a:lnTo>
                <a:lnTo>
                  <a:pt x="480" y="571"/>
                </a:lnTo>
                <a:lnTo>
                  <a:pt x="481" y="570"/>
                </a:lnTo>
                <a:lnTo>
                  <a:pt x="480" y="570"/>
                </a:lnTo>
                <a:lnTo>
                  <a:pt x="478" y="568"/>
                </a:lnTo>
                <a:lnTo>
                  <a:pt x="476" y="568"/>
                </a:lnTo>
                <a:lnTo>
                  <a:pt x="476" y="566"/>
                </a:lnTo>
                <a:lnTo>
                  <a:pt x="474" y="564"/>
                </a:lnTo>
                <a:lnTo>
                  <a:pt x="473" y="564"/>
                </a:lnTo>
                <a:lnTo>
                  <a:pt x="471" y="566"/>
                </a:lnTo>
                <a:lnTo>
                  <a:pt x="469" y="566"/>
                </a:lnTo>
                <a:lnTo>
                  <a:pt x="469" y="563"/>
                </a:lnTo>
                <a:lnTo>
                  <a:pt x="466" y="564"/>
                </a:lnTo>
                <a:lnTo>
                  <a:pt x="464" y="563"/>
                </a:lnTo>
                <a:lnTo>
                  <a:pt x="463" y="563"/>
                </a:lnTo>
                <a:lnTo>
                  <a:pt x="459" y="563"/>
                </a:lnTo>
                <a:lnTo>
                  <a:pt x="461" y="559"/>
                </a:lnTo>
                <a:lnTo>
                  <a:pt x="459" y="558"/>
                </a:lnTo>
                <a:lnTo>
                  <a:pt x="461" y="556"/>
                </a:lnTo>
                <a:lnTo>
                  <a:pt x="459" y="554"/>
                </a:lnTo>
                <a:lnTo>
                  <a:pt x="459" y="553"/>
                </a:lnTo>
                <a:lnTo>
                  <a:pt x="457" y="551"/>
                </a:lnTo>
                <a:lnTo>
                  <a:pt x="457" y="553"/>
                </a:lnTo>
                <a:lnTo>
                  <a:pt x="456" y="553"/>
                </a:lnTo>
                <a:lnTo>
                  <a:pt x="454" y="554"/>
                </a:lnTo>
                <a:lnTo>
                  <a:pt x="451" y="553"/>
                </a:lnTo>
                <a:lnTo>
                  <a:pt x="449" y="554"/>
                </a:lnTo>
                <a:lnTo>
                  <a:pt x="446" y="553"/>
                </a:lnTo>
                <a:lnTo>
                  <a:pt x="444" y="553"/>
                </a:lnTo>
                <a:lnTo>
                  <a:pt x="442" y="553"/>
                </a:lnTo>
                <a:lnTo>
                  <a:pt x="444" y="551"/>
                </a:lnTo>
                <a:lnTo>
                  <a:pt x="442" y="551"/>
                </a:lnTo>
                <a:lnTo>
                  <a:pt x="440" y="547"/>
                </a:lnTo>
                <a:lnTo>
                  <a:pt x="442" y="547"/>
                </a:lnTo>
                <a:lnTo>
                  <a:pt x="440" y="547"/>
                </a:lnTo>
                <a:lnTo>
                  <a:pt x="440" y="546"/>
                </a:lnTo>
                <a:lnTo>
                  <a:pt x="439" y="546"/>
                </a:lnTo>
                <a:lnTo>
                  <a:pt x="437" y="547"/>
                </a:lnTo>
                <a:lnTo>
                  <a:pt x="437" y="546"/>
                </a:lnTo>
                <a:lnTo>
                  <a:pt x="435" y="546"/>
                </a:lnTo>
                <a:lnTo>
                  <a:pt x="435" y="544"/>
                </a:lnTo>
                <a:lnTo>
                  <a:pt x="435" y="546"/>
                </a:lnTo>
                <a:lnTo>
                  <a:pt x="435" y="547"/>
                </a:lnTo>
                <a:lnTo>
                  <a:pt x="434" y="546"/>
                </a:lnTo>
                <a:lnTo>
                  <a:pt x="434" y="547"/>
                </a:lnTo>
                <a:lnTo>
                  <a:pt x="432" y="547"/>
                </a:lnTo>
                <a:lnTo>
                  <a:pt x="434" y="547"/>
                </a:lnTo>
                <a:lnTo>
                  <a:pt x="434" y="549"/>
                </a:lnTo>
                <a:lnTo>
                  <a:pt x="435" y="551"/>
                </a:lnTo>
                <a:lnTo>
                  <a:pt x="437" y="547"/>
                </a:lnTo>
                <a:lnTo>
                  <a:pt x="437" y="549"/>
                </a:lnTo>
                <a:lnTo>
                  <a:pt x="435" y="551"/>
                </a:lnTo>
                <a:lnTo>
                  <a:pt x="434" y="553"/>
                </a:lnTo>
                <a:lnTo>
                  <a:pt x="432" y="551"/>
                </a:lnTo>
                <a:lnTo>
                  <a:pt x="429" y="551"/>
                </a:lnTo>
                <a:lnTo>
                  <a:pt x="427" y="551"/>
                </a:lnTo>
                <a:lnTo>
                  <a:pt x="423" y="551"/>
                </a:lnTo>
                <a:lnTo>
                  <a:pt x="420" y="549"/>
                </a:lnTo>
                <a:lnTo>
                  <a:pt x="418" y="547"/>
                </a:lnTo>
                <a:lnTo>
                  <a:pt x="422" y="546"/>
                </a:lnTo>
                <a:lnTo>
                  <a:pt x="420" y="544"/>
                </a:lnTo>
                <a:lnTo>
                  <a:pt x="420" y="542"/>
                </a:lnTo>
                <a:lnTo>
                  <a:pt x="417" y="542"/>
                </a:lnTo>
                <a:lnTo>
                  <a:pt x="415" y="542"/>
                </a:lnTo>
                <a:lnTo>
                  <a:pt x="413" y="542"/>
                </a:lnTo>
                <a:lnTo>
                  <a:pt x="410" y="542"/>
                </a:lnTo>
                <a:lnTo>
                  <a:pt x="408" y="541"/>
                </a:lnTo>
                <a:lnTo>
                  <a:pt x="406" y="541"/>
                </a:lnTo>
                <a:lnTo>
                  <a:pt x="403" y="541"/>
                </a:lnTo>
                <a:lnTo>
                  <a:pt x="401" y="541"/>
                </a:lnTo>
                <a:lnTo>
                  <a:pt x="398" y="539"/>
                </a:lnTo>
                <a:lnTo>
                  <a:pt x="398" y="537"/>
                </a:lnTo>
                <a:lnTo>
                  <a:pt x="396" y="537"/>
                </a:lnTo>
                <a:lnTo>
                  <a:pt x="398" y="536"/>
                </a:lnTo>
                <a:lnTo>
                  <a:pt x="398" y="534"/>
                </a:lnTo>
                <a:lnTo>
                  <a:pt x="396" y="532"/>
                </a:lnTo>
                <a:lnTo>
                  <a:pt x="396" y="534"/>
                </a:lnTo>
                <a:lnTo>
                  <a:pt x="395" y="532"/>
                </a:lnTo>
                <a:lnTo>
                  <a:pt x="393" y="534"/>
                </a:lnTo>
                <a:lnTo>
                  <a:pt x="391" y="534"/>
                </a:lnTo>
                <a:lnTo>
                  <a:pt x="388" y="536"/>
                </a:lnTo>
                <a:lnTo>
                  <a:pt x="386" y="536"/>
                </a:lnTo>
                <a:lnTo>
                  <a:pt x="384" y="537"/>
                </a:lnTo>
                <a:lnTo>
                  <a:pt x="383" y="537"/>
                </a:lnTo>
                <a:lnTo>
                  <a:pt x="381" y="541"/>
                </a:lnTo>
                <a:lnTo>
                  <a:pt x="378" y="541"/>
                </a:lnTo>
                <a:lnTo>
                  <a:pt x="376" y="542"/>
                </a:lnTo>
                <a:lnTo>
                  <a:pt x="374" y="542"/>
                </a:lnTo>
                <a:lnTo>
                  <a:pt x="372" y="544"/>
                </a:lnTo>
                <a:lnTo>
                  <a:pt x="371" y="546"/>
                </a:lnTo>
                <a:lnTo>
                  <a:pt x="367" y="547"/>
                </a:lnTo>
                <a:lnTo>
                  <a:pt x="367" y="549"/>
                </a:lnTo>
                <a:lnTo>
                  <a:pt x="366" y="551"/>
                </a:lnTo>
                <a:lnTo>
                  <a:pt x="366" y="549"/>
                </a:lnTo>
                <a:lnTo>
                  <a:pt x="364" y="551"/>
                </a:lnTo>
                <a:lnTo>
                  <a:pt x="361" y="549"/>
                </a:lnTo>
                <a:lnTo>
                  <a:pt x="359" y="549"/>
                </a:lnTo>
                <a:lnTo>
                  <a:pt x="357" y="549"/>
                </a:lnTo>
                <a:lnTo>
                  <a:pt x="354" y="551"/>
                </a:lnTo>
                <a:lnTo>
                  <a:pt x="354" y="553"/>
                </a:lnTo>
                <a:lnTo>
                  <a:pt x="352" y="553"/>
                </a:lnTo>
                <a:lnTo>
                  <a:pt x="350" y="554"/>
                </a:lnTo>
                <a:lnTo>
                  <a:pt x="349" y="556"/>
                </a:lnTo>
                <a:lnTo>
                  <a:pt x="347" y="556"/>
                </a:lnTo>
                <a:lnTo>
                  <a:pt x="345" y="558"/>
                </a:lnTo>
                <a:lnTo>
                  <a:pt x="344" y="561"/>
                </a:lnTo>
                <a:lnTo>
                  <a:pt x="342" y="559"/>
                </a:lnTo>
                <a:lnTo>
                  <a:pt x="344" y="561"/>
                </a:lnTo>
                <a:lnTo>
                  <a:pt x="342" y="564"/>
                </a:lnTo>
                <a:lnTo>
                  <a:pt x="340" y="566"/>
                </a:lnTo>
                <a:lnTo>
                  <a:pt x="340" y="568"/>
                </a:lnTo>
                <a:lnTo>
                  <a:pt x="338" y="570"/>
                </a:lnTo>
                <a:lnTo>
                  <a:pt x="338" y="571"/>
                </a:lnTo>
                <a:lnTo>
                  <a:pt x="340" y="573"/>
                </a:lnTo>
                <a:lnTo>
                  <a:pt x="338" y="576"/>
                </a:lnTo>
                <a:lnTo>
                  <a:pt x="338" y="578"/>
                </a:lnTo>
                <a:lnTo>
                  <a:pt x="338" y="580"/>
                </a:lnTo>
                <a:lnTo>
                  <a:pt x="337" y="581"/>
                </a:lnTo>
                <a:lnTo>
                  <a:pt x="337" y="583"/>
                </a:lnTo>
                <a:lnTo>
                  <a:pt x="337" y="585"/>
                </a:lnTo>
                <a:lnTo>
                  <a:pt x="337" y="587"/>
                </a:lnTo>
                <a:lnTo>
                  <a:pt x="337" y="588"/>
                </a:lnTo>
                <a:lnTo>
                  <a:pt x="337" y="592"/>
                </a:lnTo>
                <a:lnTo>
                  <a:pt x="337" y="593"/>
                </a:lnTo>
                <a:lnTo>
                  <a:pt x="337" y="595"/>
                </a:lnTo>
                <a:lnTo>
                  <a:pt x="335" y="595"/>
                </a:lnTo>
                <a:lnTo>
                  <a:pt x="337" y="595"/>
                </a:lnTo>
                <a:lnTo>
                  <a:pt x="337" y="597"/>
                </a:lnTo>
                <a:lnTo>
                  <a:pt x="337" y="598"/>
                </a:lnTo>
                <a:lnTo>
                  <a:pt x="337" y="600"/>
                </a:lnTo>
                <a:lnTo>
                  <a:pt x="338" y="602"/>
                </a:lnTo>
                <a:lnTo>
                  <a:pt x="340" y="602"/>
                </a:lnTo>
                <a:lnTo>
                  <a:pt x="340" y="604"/>
                </a:lnTo>
                <a:lnTo>
                  <a:pt x="342" y="605"/>
                </a:lnTo>
                <a:lnTo>
                  <a:pt x="342" y="609"/>
                </a:lnTo>
                <a:lnTo>
                  <a:pt x="338" y="607"/>
                </a:lnTo>
                <a:lnTo>
                  <a:pt x="337" y="609"/>
                </a:lnTo>
                <a:lnTo>
                  <a:pt x="337" y="607"/>
                </a:lnTo>
                <a:lnTo>
                  <a:pt x="335" y="605"/>
                </a:lnTo>
                <a:lnTo>
                  <a:pt x="332" y="605"/>
                </a:lnTo>
                <a:lnTo>
                  <a:pt x="330" y="604"/>
                </a:lnTo>
                <a:lnTo>
                  <a:pt x="328" y="605"/>
                </a:lnTo>
                <a:lnTo>
                  <a:pt x="327" y="604"/>
                </a:lnTo>
                <a:lnTo>
                  <a:pt x="327" y="605"/>
                </a:lnTo>
                <a:lnTo>
                  <a:pt x="325" y="605"/>
                </a:lnTo>
                <a:lnTo>
                  <a:pt x="323" y="605"/>
                </a:lnTo>
                <a:lnTo>
                  <a:pt x="321" y="607"/>
                </a:lnTo>
                <a:lnTo>
                  <a:pt x="318" y="607"/>
                </a:lnTo>
                <a:lnTo>
                  <a:pt x="316" y="607"/>
                </a:lnTo>
                <a:lnTo>
                  <a:pt x="315" y="609"/>
                </a:lnTo>
                <a:lnTo>
                  <a:pt x="315" y="610"/>
                </a:lnTo>
                <a:lnTo>
                  <a:pt x="315" y="612"/>
                </a:lnTo>
                <a:lnTo>
                  <a:pt x="313" y="612"/>
                </a:lnTo>
                <a:lnTo>
                  <a:pt x="310" y="610"/>
                </a:lnTo>
                <a:lnTo>
                  <a:pt x="308" y="612"/>
                </a:lnTo>
                <a:lnTo>
                  <a:pt x="304" y="612"/>
                </a:lnTo>
                <a:lnTo>
                  <a:pt x="304" y="609"/>
                </a:lnTo>
                <a:lnTo>
                  <a:pt x="303" y="609"/>
                </a:lnTo>
                <a:lnTo>
                  <a:pt x="303" y="607"/>
                </a:lnTo>
                <a:lnTo>
                  <a:pt x="299" y="607"/>
                </a:lnTo>
                <a:lnTo>
                  <a:pt x="299" y="605"/>
                </a:lnTo>
                <a:lnTo>
                  <a:pt x="298" y="604"/>
                </a:lnTo>
                <a:lnTo>
                  <a:pt x="294" y="604"/>
                </a:lnTo>
                <a:lnTo>
                  <a:pt x="291" y="604"/>
                </a:lnTo>
                <a:lnTo>
                  <a:pt x="289" y="604"/>
                </a:lnTo>
                <a:lnTo>
                  <a:pt x="287" y="604"/>
                </a:lnTo>
                <a:lnTo>
                  <a:pt x="286" y="607"/>
                </a:lnTo>
                <a:lnTo>
                  <a:pt x="284" y="607"/>
                </a:lnTo>
                <a:lnTo>
                  <a:pt x="282" y="607"/>
                </a:lnTo>
                <a:lnTo>
                  <a:pt x="281" y="609"/>
                </a:lnTo>
                <a:lnTo>
                  <a:pt x="279" y="607"/>
                </a:lnTo>
                <a:lnTo>
                  <a:pt x="279" y="605"/>
                </a:lnTo>
                <a:lnTo>
                  <a:pt x="279" y="602"/>
                </a:lnTo>
                <a:lnTo>
                  <a:pt x="277" y="600"/>
                </a:lnTo>
                <a:lnTo>
                  <a:pt x="276" y="600"/>
                </a:lnTo>
                <a:lnTo>
                  <a:pt x="274" y="598"/>
                </a:lnTo>
                <a:lnTo>
                  <a:pt x="272" y="597"/>
                </a:lnTo>
                <a:lnTo>
                  <a:pt x="270" y="597"/>
                </a:lnTo>
                <a:lnTo>
                  <a:pt x="269" y="597"/>
                </a:lnTo>
                <a:lnTo>
                  <a:pt x="267" y="595"/>
                </a:lnTo>
                <a:lnTo>
                  <a:pt x="269" y="592"/>
                </a:lnTo>
                <a:lnTo>
                  <a:pt x="270" y="590"/>
                </a:lnTo>
                <a:lnTo>
                  <a:pt x="267" y="590"/>
                </a:lnTo>
                <a:lnTo>
                  <a:pt x="269" y="588"/>
                </a:lnTo>
                <a:lnTo>
                  <a:pt x="265" y="587"/>
                </a:lnTo>
                <a:lnTo>
                  <a:pt x="264" y="587"/>
                </a:lnTo>
                <a:lnTo>
                  <a:pt x="262" y="587"/>
                </a:lnTo>
                <a:lnTo>
                  <a:pt x="260" y="585"/>
                </a:lnTo>
                <a:lnTo>
                  <a:pt x="259" y="583"/>
                </a:lnTo>
                <a:lnTo>
                  <a:pt x="257" y="585"/>
                </a:lnTo>
                <a:lnTo>
                  <a:pt x="255" y="583"/>
                </a:lnTo>
                <a:lnTo>
                  <a:pt x="255" y="587"/>
                </a:lnTo>
                <a:lnTo>
                  <a:pt x="253" y="587"/>
                </a:lnTo>
                <a:lnTo>
                  <a:pt x="252" y="585"/>
                </a:lnTo>
                <a:lnTo>
                  <a:pt x="252" y="583"/>
                </a:lnTo>
                <a:lnTo>
                  <a:pt x="252" y="581"/>
                </a:lnTo>
                <a:lnTo>
                  <a:pt x="252" y="580"/>
                </a:lnTo>
                <a:lnTo>
                  <a:pt x="250" y="580"/>
                </a:lnTo>
                <a:lnTo>
                  <a:pt x="250" y="578"/>
                </a:lnTo>
                <a:lnTo>
                  <a:pt x="248" y="578"/>
                </a:lnTo>
                <a:lnTo>
                  <a:pt x="247" y="578"/>
                </a:lnTo>
                <a:lnTo>
                  <a:pt x="245" y="578"/>
                </a:lnTo>
                <a:lnTo>
                  <a:pt x="243" y="576"/>
                </a:lnTo>
                <a:lnTo>
                  <a:pt x="240" y="578"/>
                </a:lnTo>
                <a:lnTo>
                  <a:pt x="238" y="576"/>
                </a:lnTo>
                <a:lnTo>
                  <a:pt x="238" y="575"/>
                </a:lnTo>
                <a:lnTo>
                  <a:pt x="236" y="571"/>
                </a:lnTo>
                <a:lnTo>
                  <a:pt x="235" y="571"/>
                </a:lnTo>
                <a:lnTo>
                  <a:pt x="233" y="571"/>
                </a:lnTo>
                <a:lnTo>
                  <a:pt x="231" y="571"/>
                </a:lnTo>
                <a:lnTo>
                  <a:pt x="230" y="570"/>
                </a:lnTo>
                <a:lnTo>
                  <a:pt x="228" y="570"/>
                </a:lnTo>
                <a:lnTo>
                  <a:pt x="226" y="568"/>
                </a:lnTo>
                <a:lnTo>
                  <a:pt x="225" y="568"/>
                </a:lnTo>
                <a:lnTo>
                  <a:pt x="223" y="566"/>
                </a:lnTo>
                <a:lnTo>
                  <a:pt x="221" y="566"/>
                </a:lnTo>
                <a:lnTo>
                  <a:pt x="219" y="564"/>
                </a:lnTo>
                <a:lnTo>
                  <a:pt x="218" y="564"/>
                </a:lnTo>
                <a:lnTo>
                  <a:pt x="214" y="564"/>
                </a:lnTo>
                <a:lnTo>
                  <a:pt x="214" y="568"/>
                </a:lnTo>
                <a:lnTo>
                  <a:pt x="214" y="570"/>
                </a:lnTo>
                <a:lnTo>
                  <a:pt x="213" y="571"/>
                </a:lnTo>
                <a:lnTo>
                  <a:pt x="214" y="571"/>
                </a:lnTo>
                <a:lnTo>
                  <a:pt x="214" y="573"/>
                </a:lnTo>
                <a:lnTo>
                  <a:pt x="214" y="576"/>
                </a:lnTo>
                <a:lnTo>
                  <a:pt x="211" y="575"/>
                </a:lnTo>
                <a:lnTo>
                  <a:pt x="209" y="575"/>
                </a:lnTo>
                <a:lnTo>
                  <a:pt x="208" y="575"/>
                </a:lnTo>
                <a:lnTo>
                  <a:pt x="208" y="573"/>
                </a:lnTo>
                <a:lnTo>
                  <a:pt x="206" y="575"/>
                </a:lnTo>
                <a:lnTo>
                  <a:pt x="204" y="573"/>
                </a:lnTo>
                <a:lnTo>
                  <a:pt x="201" y="573"/>
                </a:lnTo>
                <a:lnTo>
                  <a:pt x="201" y="571"/>
                </a:lnTo>
                <a:lnTo>
                  <a:pt x="199" y="571"/>
                </a:lnTo>
                <a:lnTo>
                  <a:pt x="196" y="573"/>
                </a:lnTo>
                <a:lnTo>
                  <a:pt x="194" y="575"/>
                </a:lnTo>
                <a:lnTo>
                  <a:pt x="192" y="573"/>
                </a:lnTo>
                <a:lnTo>
                  <a:pt x="192" y="571"/>
                </a:lnTo>
                <a:lnTo>
                  <a:pt x="189" y="570"/>
                </a:lnTo>
                <a:lnTo>
                  <a:pt x="187" y="570"/>
                </a:lnTo>
                <a:lnTo>
                  <a:pt x="184" y="570"/>
                </a:lnTo>
                <a:lnTo>
                  <a:pt x="182" y="571"/>
                </a:lnTo>
                <a:lnTo>
                  <a:pt x="180" y="570"/>
                </a:lnTo>
                <a:lnTo>
                  <a:pt x="179" y="571"/>
                </a:lnTo>
                <a:lnTo>
                  <a:pt x="177" y="570"/>
                </a:lnTo>
                <a:lnTo>
                  <a:pt x="177" y="568"/>
                </a:lnTo>
                <a:lnTo>
                  <a:pt x="174" y="568"/>
                </a:lnTo>
                <a:lnTo>
                  <a:pt x="174" y="566"/>
                </a:lnTo>
                <a:lnTo>
                  <a:pt x="172" y="564"/>
                </a:lnTo>
                <a:lnTo>
                  <a:pt x="172" y="563"/>
                </a:lnTo>
                <a:lnTo>
                  <a:pt x="170" y="563"/>
                </a:lnTo>
                <a:lnTo>
                  <a:pt x="168" y="561"/>
                </a:lnTo>
                <a:lnTo>
                  <a:pt x="168" y="559"/>
                </a:lnTo>
                <a:lnTo>
                  <a:pt x="167" y="559"/>
                </a:lnTo>
                <a:lnTo>
                  <a:pt x="165" y="558"/>
                </a:lnTo>
                <a:lnTo>
                  <a:pt x="163" y="558"/>
                </a:lnTo>
                <a:lnTo>
                  <a:pt x="162" y="559"/>
                </a:lnTo>
                <a:lnTo>
                  <a:pt x="160" y="561"/>
                </a:lnTo>
                <a:lnTo>
                  <a:pt x="160" y="559"/>
                </a:lnTo>
                <a:lnTo>
                  <a:pt x="158" y="559"/>
                </a:lnTo>
                <a:lnTo>
                  <a:pt x="155" y="558"/>
                </a:lnTo>
                <a:lnTo>
                  <a:pt x="153" y="559"/>
                </a:lnTo>
                <a:lnTo>
                  <a:pt x="151" y="561"/>
                </a:lnTo>
                <a:lnTo>
                  <a:pt x="151" y="558"/>
                </a:lnTo>
                <a:lnTo>
                  <a:pt x="150" y="559"/>
                </a:lnTo>
                <a:lnTo>
                  <a:pt x="150" y="556"/>
                </a:lnTo>
                <a:lnTo>
                  <a:pt x="148" y="554"/>
                </a:lnTo>
                <a:lnTo>
                  <a:pt x="146" y="553"/>
                </a:lnTo>
                <a:lnTo>
                  <a:pt x="145" y="553"/>
                </a:lnTo>
                <a:lnTo>
                  <a:pt x="145" y="551"/>
                </a:lnTo>
                <a:lnTo>
                  <a:pt x="145" y="549"/>
                </a:lnTo>
                <a:lnTo>
                  <a:pt x="145" y="547"/>
                </a:lnTo>
                <a:lnTo>
                  <a:pt x="143" y="546"/>
                </a:lnTo>
                <a:lnTo>
                  <a:pt x="141" y="546"/>
                </a:lnTo>
                <a:lnTo>
                  <a:pt x="138" y="546"/>
                </a:lnTo>
                <a:lnTo>
                  <a:pt x="136" y="544"/>
                </a:lnTo>
                <a:lnTo>
                  <a:pt x="133" y="546"/>
                </a:lnTo>
                <a:lnTo>
                  <a:pt x="133" y="544"/>
                </a:lnTo>
                <a:lnTo>
                  <a:pt x="131" y="544"/>
                </a:lnTo>
                <a:lnTo>
                  <a:pt x="131" y="542"/>
                </a:lnTo>
                <a:lnTo>
                  <a:pt x="129" y="542"/>
                </a:lnTo>
                <a:lnTo>
                  <a:pt x="128" y="541"/>
                </a:lnTo>
                <a:lnTo>
                  <a:pt x="126" y="539"/>
                </a:lnTo>
                <a:lnTo>
                  <a:pt x="124" y="541"/>
                </a:lnTo>
                <a:lnTo>
                  <a:pt x="123" y="537"/>
                </a:lnTo>
                <a:lnTo>
                  <a:pt x="121" y="536"/>
                </a:lnTo>
                <a:lnTo>
                  <a:pt x="117" y="537"/>
                </a:lnTo>
                <a:lnTo>
                  <a:pt x="116" y="534"/>
                </a:lnTo>
                <a:lnTo>
                  <a:pt x="117" y="532"/>
                </a:lnTo>
                <a:lnTo>
                  <a:pt x="119" y="530"/>
                </a:lnTo>
                <a:lnTo>
                  <a:pt x="116" y="530"/>
                </a:lnTo>
                <a:lnTo>
                  <a:pt x="114" y="532"/>
                </a:lnTo>
                <a:lnTo>
                  <a:pt x="114" y="536"/>
                </a:lnTo>
                <a:lnTo>
                  <a:pt x="114" y="537"/>
                </a:lnTo>
                <a:lnTo>
                  <a:pt x="112" y="537"/>
                </a:lnTo>
                <a:lnTo>
                  <a:pt x="112" y="536"/>
                </a:lnTo>
                <a:lnTo>
                  <a:pt x="109" y="536"/>
                </a:lnTo>
                <a:lnTo>
                  <a:pt x="107" y="532"/>
                </a:lnTo>
                <a:lnTo>
                  <a:pt x="109" y="530"/>
                </a:lnTo>
                <a:lnTo>
                  <a:pt x="111" y="530"/>
                </a:lnTo>
                <a:lnTo>
                  <a:pt x="112" y="529"/>
                </a:lnTo>
                <a:lnTo>
                  <a:pt x="112" y="527"/>
                </a:lnTo>
                <a:lnTo>
                  <a:pt x="112" y="525"/>
                </a:lnTo>
                <a:lnTo>
                  <a:pt x="114" y="525"/>
                </a:lnTo>
                <a:lnTo>
                  <a:pt x="114" y="522"/>
                </a:lnTo>
                <a:lnTo>
                  <a:pt x="114" y="520"/>
                </a:lnTo>
                <a:lnTo>
                  <a:pt x="112" y="519"/>
                </a:lnTo>
                <a:lnTo>
                  <a:pt x="112" y="520"/>
                </a:lnTo>
                <a:lnTo>
                  <a:pt x="109" y="519"/>
                </a:lnTo>
                <a:lnTo>
                  <a:pt x="109" y="517"/>
                </a:lnTo>
                <a:lnTo>
                  <a:pt x="107" y="517"/>
                </a:lnTo>
                <a:lnTo>
                  <a:pt x="106" y="517"/>
                </a:lnTo>
                <a:lnTo>
                  <a:pt x="104" y="520"/>
                </a:lnTo>
                <a:lnTo>
                  <a:pt x="102" y="519"/>
                </a:lnTo>
                <a:lnTo>
                  <a:pt x="102" y="517"/>
                </a:lnTo>
                <a:lnTo>
                  <a:pt x="102" y="515"/>
                </a:lnTo>
                <a:lnTo>
                  <a:pt x="100" y="513"/>
                </a:lnTo>
                <a:lnTo>
                  <a:pt x="99" y="513"/>
                </a:lnTo>
                <a:lnTo>
                  <a:pt x="97" y="515"/>
                </a:lnTo>
                <a:lnTo>
                  <a:pt x="97" y="512"/>
                </a:lnTo>
                <a:lnTo>
                  <a:pt x="95" y="510"/>
                </a:lnTo>
                <a:lnTo>
                  <a:pt x="95" y="508"/>
                </a:lnTo>
                <a:lnTo>
                  <a:pt x="97" y="508"/>
                </a:lnTo>
                <a:lnTo>
                  <a:pt x="99" y="508"/>
                </a:lnTo>
                <a:lnTo>
                  <a:pt x="100" y="508"/>
                </a:lnTo>
                <a:lnTo>
                  <a:pt x="102" y="508"/>
                </a:lnTo>
                <a:lnTo>
                  <a:pt x="104" y="508"/>
                </a:lnTo>
                <a:lnTo>
                  <a:pt x="106" y="507"/>
                </a:lnTo>
                <a:lnTo>
                  <a:pt x="107" y="505"/>
                </a:lnTo>
                <a:lnTo>
                  <a:pt x="107" y="503"/>
                </a:lnTo>
                <a:lnTo>
                  <a:pt x="109" y="503"/>
                </a:lnTo>
                <a:lnTo>
                  <a:pt x="111" y="500"/>
                </a:lnTo>
                <a:lnTo>
                  <a:pt x="112" y="498"/>
                </a:lnTo>
                <a:lnTo>
                  <a:pt x="114" y="495"/>
                </a:lnTo>
                <a:lnTo>
                  <a:pt x="116" y="493"/>
                </a:lnTo>
                <a:lnTo>
                  <a:pt x="116" y="491"/>
                </a:lnTo>
                <a:lnTo>
                  <a:pt x="116" y="490"/>
                </a:lnTo>
                <a:lnTo>
                  <a:pt x="117" y="488"/>
                </a:lnTo>
                <a:lnTo>
                  <a:pt x="117" y="486"/>
                </a:lnTo>
                <a:lnTo>
                  <a:pt x="119" y="483"/>
                </a:lnTo>
                <a:lnTo>
                  <a:pt x="121" y="479"/>
                </a:lnTo>
                <a:lnTo>
                  <a:pt x="121" y="476"/>
                </a:lnTo>
                <a:lnTo>
                  <a:pt x="123" y="474"/>
                </a:lnTo>
                <a:lnTo>
                  <a:pt x="123" y="473"/>
                </a:lnTo>
                <a:lnTo>
                  <a:pt x="124" y="469"/>
                </a:lnTo>
                <a:lnTo>
                  <a:pt x="126" y="462"/>
                </a:lnTo>
                <a:lnTo>
                  <a:pt x="128" y="461"/>
                </a:lnTo>
                <a:lnTo>
                  <a:pt x="128" y="457"/>
                </a:lnTo>
                <a:lnTo>
                  <a:pt x="129" y="454"/>
                </a:lnTo>
                <a:lnTo>
                  <a:pt x="131" y="450"/>
                </a:lnTo>
                <a:lnTo>
                  <a:pt x="131" y="449"/>
                </a:lnTo>
                <a:lnTo>
                  <a:pt x="133" y="445"/>
                </a:lnTo>
                <a:lnTo>
                  <a:pt x="133" y="442"/>
                </a:lnTo>
                <a:lnTo>
                  <a:pt x="134" y="437"/>
                </a:lnTo>
                <a:lnTo>
                  <a:pt x="134" y="435"/>
                </a:lnTo>
                <a:lnTo>
                  <a:pt x="134" y="432"/>
                </a:lnTo>
                <a:lnTo>
                  <a:pt x="136" y="432"/>
                </a:lnTo>
                <a:lnTo>
                  <a:pt x="138" y="428"/>
                </a:lnTo>
                <a:lnTo>
                  <a:pt x="138" y="427"/>
                </a:lnTo>
                <a:lnTo>
                  <a:pt x="140" y="425"/>
                </a:lnTo>
                <a:lnTo>
                  <a:pt x="140" y="423"/>
                </a:lnTo>
                <a:lnTo>
                  <a:pt x="141" y="425"/>
                </a:lnTo>
                <a:lnTo>
                  <a:pt x="141" y="427"/>
                </a:lnTo>
                <a:lnTo>
                  <a:pt x="141" y="425"/>
                </a:lnTo>
                <a:lnTo>
                  <a:pt x="143" y="427"/>
                </a:lnTo>
                <a:lnTo>
                  <a:pt x="145" y="427"/>
                </a:lnTo>
                <a:lnTo>
                  <a:pt x="146" y="425"/>
                </a:lnTo>
                <a:lnTo>
                  <a:pt x="148" y="427"/>
                </a:lnTo>
                <a:lnTo>
                  <a:pt x="148" y="425"/>
                </a:lnTo>
                <a:lnTo>
                  <a:pt x="148" y="423"/>
                </a:lnTo>
                <a:lnTo>
                  <a:pt x="146" y="423"/>
                </a:lnTo>
                <a:lnTo>
                  <a:pt x="148" y="423"/>
                </a:lnTo>
                <a:lnTo>
                  <a:pt x="146" y="422"/>
                </a:lnTo>
                <a:lnTo>
                  <a:pt x="146" y="420"/>
                </a:lnTo>
                <a:lnTo>
                  <a:pt x="145" y="418"/>
                </a:lnTo>
                <a:lnTo>
                  <a:pt x="143" y="418"/>
                </a:lnTo>
                <a:lnTo>
                  <a:pt x="143" y="416"/>
                </a:lnTo>
                <a:lnTo>
                  <a:pt x="141" y="418"/>
                </a:lnTo>
                <a:lnTo>
                  <a:pt x="140" y="420"/>
                </a:lnTo>
                <a:lnTo>
                  <a:pt x="138" y="422"/>
                </a:lnTo>
                <a:lnTo>
                  <a:pt x="136" y="425"/>
                </a:lnTo>
                <a:lnTo>
                  <a:pt x="136" y="427"/>
                </a:lnTo>
                <a:lnTo>
                  <a:pt x="136" y="425"/>
                </a:lnTo>
                <a:lnTo>
                  <a:pt x="136" y="423"/>
                </a:lnTo>
                <a:lnTo>
                  <a:pt x="138" y="420"/>
                </a:lnTo>
                <a:lnTo>
                  <a:pt x="138" y="418"/>
                </a:lnTo>
                <a:lnTo>
                  <a:pt x="138" y="416"/>
                </a:lnTo>
                <a:lnTo>
                  <a:pt x="138" y="415"/>
                </a:lnTo>
                <a:lnTo>
                  <a:pt x="140" y="415"/>
                </a:lnTo>
                <a:lnTo>
                  <a:pt x="140" y="413"/>
                </a:lnTo>
                <a:lnTo>
                  <a:pt x="140" y="411"/>
                </a:lnTo>
                <a:lnTo>
                  <a:pt x="140" y="410"/>
                </a:lnTo>
                <a:lnTo>
                  <a:pt x="141" y="406"/>
                </a:lnTo>
                <a:lnTo>
                  <a:pt x="141" y="403"/>
                </a:lnTo>
                <a:lnTo>
                  <a:pt x="143" y="399"/>
                </a:lnTo>
                <a:lnTo>
                  <a:pt x="145" y="396"/>
                </a:lnTo>
                <a:lnTo>
                  <a:pt x="145" y="391"/>
                </a:lnTo>
                <a:lnTo>
                  <a:pt x="146" y="388"/>
                </a:lnTo>
                <a:lnTo>
                  <a:pt x="146" y="382"/>
                </a:lnTo>
                <a:lnTo>
                  <a:pt x="148" y="381"/>
                </a:lnTo>
                <a:lnTo>
                  <a:pt x="148" y="377"/>
                </a:lnTo>
                <a:lnTo>
                  <a:pt x="148" y="376"/>
                </a:lnTo>
                <a:lnTo>
                  <a:pt x="150" y="374"/>
                </a:lnTo>
                <a:lnTo>
                  <a:pt x="150" y="372"/>
                </a:lnTo>
                <a:lnTo>
                  <a:pt x="150" y="371"/>
                </a:lnTo>
                <a:lnTo>
                  <a:pt x="150" y="367"/>
                </a:lnTo>
                <a:lnTo>
                  <a:pt x="151" y="365"/>
                </a:lnTo>
                <a:lnTo>
                  <a:pt x="153" y="364"/>
                </a:lnTo>
                <a:lnTo>
                  <a:pt x="155" y="362"/>
                </a:lnTo>
                <a:lnTo>
                  <a:pt x="157" y="362"/>
                </a:lnTo>
                <a:lnTo>
                  <a:pt x="157" y="364"/>
                </a:lnTo>
                <a:lnTo>
                  <a:pt x="155" y="364"/>
                </a:lnTo>
                <a:lnTo>
                  <a:pt x="155" y="365"/>
                </a:lnTo>
                <a:lnTo>
                  <a:pt x="157" y="367"/>
                </a:lnTo>
                <a:lnTo>
                  <a:pt x="158" y="369"/>
                </a:lnTo>
                <a:lnTo>
                  <a:pt x="158" y="371"/>
                </a:lnTo>
                <a:lnTo>
                  <a:pt x="162" y="372"/>
                </a:lnTo>
                <a:lnTo>
                  <a:pt x="162" y="374"/>
                </a:lnTo>
                <a:lnTo>
                  <a:pt x="163" y="374"/>
                </a:lnTo>
                <a:lnTo>
                  <a:pt x="165" y="377"/>
                </a:lnTo>
                <a:lnTo>
                  <a:pt x="167" y="379"/>
                </a:lnTo>
                <a:lnTo>
                  <a:pt x="167" y="381"/>
                </a:lnTo>
                <a:lnTo>
                  <a:pt x="167" y="384"/>
                </a:lnTo>
                <a:lnTo>
                  <a:pt x="168" y="388"/>
                </a:lnTo>
                <a:lnTo>
                  <a:pt x="167" y="389"/>
                </a:lnTo>
                <a:lnTo>
                  <a:pt x="167" y="391"/>
                </a:lnTo>
                <a:lnTo>
                  <a:pt x="168" y="393"/>
                </a:lnTo>
                <a:lnTo>
                  <a:pt x="168" y="394"/>
                </a:lnTo>
                <a:lnTo>
                  <a:pt x="168" y="396"/>
                </a:lnTo>
                <a:lnTo>
                  <a:pt x="168" y="398"/>
                </a:lnTo>
                <a:lnTo>
                  <a:pt x="170" y="399"/>
                </a:lnTo>
                <a:lnTo>
                  <a:pt x="172" y="403"/>
                </a:lnTo>
                <a:lnTo>
                  <a:pt x="172" y="405"/>
                </a:lnTo>
                <a:lnTo>
                  <a:pt x="174" y="405"/>
                </a:lnTo>
                <a:lnTo>
                  <a:pt x="175" y="406"/>
                </a:lnTo>
                <a:lnTo>
                  <a:pt x="175" y="408"/>
                </a:lnTo>
                <a:lnTo>
                  <a:pt x="174" y="410"/>
                </a:lnTo>
                <a:lnTo>
                  <a:pt x="174" y="413"/>
                </a:lnTo>
                <a:lnTo>
                  <a:pt x="175" y="413"/>
                </a:lnTo>
                <a:lnTo>
                  <a:pt x="174" y="410"/>
                </a:lnTo>
                <a:lnTo>
                  <a:pt x="175" y="408"/>
                </a:lnTo>
                <a:lnTo>
                  <a:pt x="175" y="406"/>
                </a:lnTo>
                <a:lnTo>
                  <a:pt x="175" y="405"/>
                </a:lnTo>
                <a:lnTo>
                  <a:pt x="174" y="403"/>
                </a:lnTo>
                <a:lnTo>
                  <a:pt x="172" y="401"/>
                </a:lnTo>
                <a:lnTo>
                  <a:pt x="174" y="403"/>
                </a:lnTo>
                <a:lnTo>
                  <a:pt x="175" y="405"/>
                </a:lnTo>
                <a:lnTo>
                  <a:pt x="177" y="405"/>
                </a:lnTo>
                <a:lnTo>
                  <a:pt x="179" y="406"/>
                </a:lnTo>
                <a:lnTo>
                  <a:pt x="179" y="408"/>
                </a:lnTo>
                <a:lnTo>
                  <a:pt x="179" y="406"/>
                </a:lnTo>
                <a:lnTo>
                  <a:pt x="177" y="405"/>
                </a:lnTo>
                <a:lnTo>
                  <a:pt x="175" y="403"/>
                </a:lnTo>
                <a:lnTo>
                  <a:pt x="174" y="401"/>
                </a:lnTo>
                <a:lnTo>
                  <a:pt x="172" y="399"/>
                </a:lnTo>
                <a:lnTo>
                  <a:pt x="172" y="398"/>
                </a:lnTo>
                <a:lnTo>
                  <a:pt x="170" y="396"/>
                </a:lnTo>
                <a:lnTo>
                  <a:pt x="170" y="393"/>
                </a:lnTo>
                <a:lnTo>
                  <a:pt x="170" y="389"/>
                </a:lnTo>
                <a:lnTo>
                  <a:pt x="170" y="388"/>
                </a:lnTo>
                <a:lnTo>
                  <a:pt x="170" y="386"/>
                </a:lnTo>
                <a:lnTo>
                  <a:pt x="170" y="384"/>
                </a:lnTo>
                <a:lnTo>
                  <a:pt x="170" y="381"/>
                </a:lnTo>
                <a:lnTo>
                  <a:pt x="170" y="379"/>
                </a:lnTo>
                <a:lnTo>
                  <a:pt x="168" y="376"/>
                </a:lnTo>
                <a:lnTo>
                  <a:pt x="168" y="374"/>
                </a:lnTo>
                <a:lnTo>
                  <a:pt x="168" y="372"/>
                </a:lnTo>
                <a:lnTo>
                  <a:pt x="167" y="369"/>
                </a:lnTo>
                <a:lnTo>
                  <a:pt x="165" y="367"/>
                </a:lnTo>
                <a:lnTo>
                  <a:pt x="163" y="365"/>
                </a:lnTo>
                <a:lnTo>
                  <a:pt x="163" y="364"/>
                </a:lnTo>
                <a:lnTo>
                  <a:pt x="160" y="364"/>
                </a:lnTo>
                <a:lnTo>
                  <a:pt x="160" y="362"/>
                </a:lnTo>
                <a:lnTo>
                  <a:pt x="160" y="360"/>
                </a:lnTo>
                <a:lnTo>
                  <a:pt x="158" y="359"/>
                </a:lnTo>
                <a:lnTo>
                  <a:pt x="157" y="359"/>
                </a:lnTo>
                <a:lnTo>
                  <a:pt x="157" y="357"/>
                </a:lnTo>
                <a:lnTo>
                  <a:pt x="155" y="355"/>
                </a:lnTo>
                <a:lnTo>
                  <a:pt x="151" y="354"/>
                </a:lnTo>
                <a:lnTo>
                  <a:pt x="150" y="352"/>
                </a:lnTo>
                <a:lnTo>
                  <a:pt x="151" y="354"/>
                </a:lnTo>
                <a:lnTo>
                  <a:pt x="148" y="354"/>
                </a:lnTo>
                <a:lnTo>
                  <a:pt x="148" y="352"/>
                </a:lnTo>
                <a:lnTo>
                  <a:pt x="150" y="350"/>
                </a:lnTo>
                <a:lnTo>
                  <a:pt x="150" y="347"/>
                </a:lnTo>
                <a:lnTo>
                  <a:pt x="150" y="345"/>
                </a:lnTo>
                <a:lnTo>
                  <a:pt x="151" y="345"/>
                </a:lnTo>
                <a:lnTo>
                  <a:pt x="153" y="345"/>
                </a:lnTo>
                <a:lnTo>
                  <a:pt x="155" y="345"/>
                </a:lnTo>
                <a:lnTo>
                  <a:pt x="155" y="343"/>
                </a:lnTo>
                <a:lnTo>
                  <a:pt x="153" y="342"/>
                </a:lnTo>
                <a:lnTo>
                  <a:pt x="157" y="342"/>
                </a:lnTo>
                <a:lnTo>
                  <a:pt x="157" y="340"/>
                </a:lnTo>
                <a:lnTo>
                  <a:pt x="158" y="338"/>
                </a:lnTo>
                <a:lnTo>
                  <a:pt x="158" y="337"/>
                </a:lnTo>
                <a:lnTo>
                  <a:pt x="157" y="335"/>
                </a:lnTo>
                <a:lnTo>
                  <a:pt x="160" y="335"/>
                </a:lnTo>
                <a:lnTo>
                  <a:pt x="162" y="335"/>
                </a:lnTo>
                <a:lnTo>
                  <a:pt x="163" y="335"/>
                </a:lnTo>
                <a:lnTo>
                  <a:pt x="162" y="337"/>
                </a:lnTo>
                <a:lnTo>
                  <a:pt x="163" y="338"/>
                </a:lnTo>
                <a:lnTo>
                  <a:pt x="162" y="337"/>
                </a:lnTo>
                <a:lnTo>
                  <a:pt x="163" y="335"/>
                </a:lnTo>
                <a:lnTo>
                  <a:pt x="162" y="335"/>
                </a:lnTo>
                <a:lnTo>
                  <a:pt x="160" y="335"/>
                </a:lnTo>
                <a:lnTo>
                  <a:pt x="160" y="333"/>
                </a:lnTo>
                <a:lnTo>
                  <a:pt x="158" y="331"/>
                </a:lnTo>
                <a:lnTo>
                  <a:pt x="160" y="331"/>
                </a:lnTo>
                <a:lnTo>
                  <a:pt x="162" y="330"/>
                </a:lnTo>
                <a:lnTo>
                  <a:pt x="160" y="328"/>
                </a:lnTo>
                <a:lnTo>
                  <a:pt x="160" y="325"/>
                </a:lnTo>
                <a:lnTo>
                  <a:pt x="158" y="325"/>
                </a:lnTo>
                <a:lnTo>
                  <a:pt x="158" y="323"/>
                </a:lnTo>
                <a:lnTo>
                  <a:pt x="157" y="321"/>
                </a:lnTo>
                <a:lnTo>
                  <a:pt x="158" y="320"/>
                </a:lnTo>
                <a:lnTo>
                  <a:pt x="155" y="321"/>
                </a:lnTo>
                <a:lnTo>
                  <a:pt x="153" y="320"/>
                </a:lnTo>
                <a:lnTo>
                  <a:pt x="155" y="320"/>
                </a:lnTo>
                <a:lnTo>
                  <a:pt x="153" y="320"/>
                </a:lnTo>
                <a:lnTo>
                  <a:pt x="155" y="318"/>
                </a:lnTo>
                <a:lnTo>
                  <a:pt x="157" y="316"/>
                </a:lnTo>
                <a:lnTo>
                  <a:pt x="158" y="316"/>
                </a:lnTo>
                <a:lnTo>
                  <a:pt x="160" y="314"/>
                </a:lnTo>
                <a:lnTo>
                  <a:pt x="160" y="313"/>
                </a:lnTo>
                <a:lnTo>
                  <a:pt x="160" y="309"/>
                </a:lnTo>
                <a:lnTo>
                  <a:pt x="158" y="309"/>
                </a:lnTo>
                <a:lnTo>
                  <a:pt x="157" y="313"/>
                </a:lnTo>
                <a:lnTo>
                  <a:pt x="155" y="311"/>
                </a:lnTo>
                <a:lnTo>
                  <a:pt x="153" y="309"/>
                </a:lnTo>
                <a:lnTo>
                  <a:pt x="153" y="311"/>
                </a:lnTo>
                <a:lnTo>
                  <a:pt x="151" y="309"/>
                </a:lnTo>
                <a:lnTo>
                  <a:pt x="151" y="308"/>
                </a:lnTo>
                <a:lnTo>
                  <a:pt x="150" y="306"/>
                </a:lnTo>
                <a:lnTo>
                  <a:pt x="148" y="306"/>
                </a:lnTo>
                <a:lnTo>
                  <a:pt x="146" y="304"/>
                </a:lnTo>
                <a:lnTo>
                  <a:pt x="145" y="304"/>
                </a:lnTo>
                <a:lnTo>
                  <a:pt x="145" y="302"/>
                </a:lnTo>
                <a:lnTo>
                  <a:pt x="143" y="301"/>
                </a:lnTo>
                <a:lnTo>
                  <a:pt x="141" y="299"/>
                </a:lnTo>
                <a:lnTo>
                  <a:pt x="140" y="299"/>
                </a:lnTo>
                <a:lnTo>
                  <a:pt x="138" y="299"/>
                </a:lnTo>
                <a:lnTo>
                  <a:pt x="136" y="297"/>
                </a:lnTo>
                <a:lnTo>
                  <a:pt x="138" y="297"/>
                </a:lnTo>
                <a:lnTo>
                  <a:pt x="136" y="297"/>
                </a:lnTo>
                <a:lnTo>
                  <a:pt x="134" y="296"/>
                </a:lnTo>
                <a:lnTo>
                  <a:pt x="133" y="294"/>
                </a:lnTo>
                <a:lnTo>
                  <a:pt x="131" y="292"/>
                </a:lnTo>
                <a:lnTo>
                  <a:pt x="131" y="291"/>
                </a:lnTo>
                <a:lnTo>
                  <a:pt x="131" y="292"/>
                </a:lnTo>
                <a:lnTo>
                  <a:pt x="129" y="292"/>
                </a:lnTo>
                <a:lnTo>
                  <a:pt x="129" y="289"/>
                </a:lnTo>
                <a:lnTo>
                  <a:pt x="129" y="287"/>
                </a:lnTo>
                <a:lnTo>
                  <a:pt x="129" y="285"/>
                </a:lnTo>
                <a:lnTo>
                  <a:pt x="129" y="284"/>
                </a:lnTo>
                <a:lnTo>
                  <a:pt x="128" y="280"/>
                </a:lnTo>
                <a:lnTo>
                  <a:pt x="128" y="279"/>
                </a:lnTo>
                <a:lnTo>
                  <a:pt x="126" y="277"/>
                </a:lnTo>
                <a:lnTo>
                  <a:pt x="124" y="277"/>
                </a:lnTo>
                <a:lnTo>
                  <a:pt x="124" y="275"/>
                </a:lnTo>
                <a:lnTo>
                  <a:pt x="123" y="272"/>
                </a:lnTo>
                <a:lnTo>
                  <a:pt x="121" y="270"/>
                </a:lnTo>
                <a:lnTo>
                  <a:pt x="119" y="267"/>
                </a:lnTo>
                <a:lnTo>
                  <a:pt x="117" y="267"/>
                </a:lnTo>
                <a:lnTo>
                  <a:pt x="117" y="265"/>
                </a:lnTo>
                <a:lnTo>
                  <a:pt x="119" y="263"/>
                </a:lnTo>
                <a:lnTo>
                  <a:pt x="117" y="262"/>
                </a:lnTo>
                <a:lnTo>
                  <a:pt x="119" y="262"/>
                </a:lnTo>
                <a:lnTo>
                  <a:pt x="121" y="260"/>
                </a:lnTo>
                <a:lnTo>
                  <a:pt x="123" y="258"/>
                </a:lnTo>
                <a:lnTo>
                  <a:pt x="124" y="258"/>
                </a:lnTo>
                <a:lnTo>
                  <a:pt x="126" y="255"/>
                </a:lnTo>
                <a:lnTo>
                  <a:pt x="128" y="253"/>
                </a:lnTo>
                <a:lnTo>
                  <a:pt x="128" y="251"/>
                </a:lnTo>
                <a:lnTo>
                  <a:pt x="126" y="250"/>
                </a:lnTo>
                <a:lnTo>
                  <a:pt x="126" y="248"/>
                </a:lnTo>
                <a:lnTo>
                  <a:pt x="123" y="246"/>
                </a:lnTo>
                <a:lnTo>
                  <a:pt x="121" y="246"/>
                </a:lnTo>
                <a:lnTo>
                  <a:pt x="117" y="245"/>
                </a:lnTo>
                <a:lnTo>
                  <a:pt x="119" y="243"/>
                </a:lnTo>
                <a:lnTo>
                  <a:pt x="121" y="243"/>
                </a:lnTo>
                <a:lnTo>
                  <a:pt x="123" y="240"/>
                </a:lnTo>
                <a:lnTo>
                  <a:pt x="121" y="238"/>
                </a:lnTo>
                <a:lnTo>
                  <a:pt x="123" y="234"/>
                </a:lnTo>
                <a:lnTo>
                  <a:pt x="126" y="234"/>
                </a:lnTo>
                <a:lnTo>
                  <a:pt x="128" y="234"/>
                </a:lnTo>
                <a:lnTo>
                  <a:pt x="129" y="234"/>
                </a:lnTo>
                <a:lnTo>
                  <a:pt x="128" y="233"/>
                </a:lnTo>
                <a:lnTo>
                  <a:pt x="126" y="233"/>
                </a:lnTo>
                <a:lnTo>
                  <a:pt x="124" y="233"/>
                </a:lnTo>
                <a:lnTo>
                  <a:pt x="123" y="234"/>
                </a:lnTo>
                <a:lnTo>
                  <a:pt x="123" y="233"/>
                </a:lnTo>
                <a:lnTo>
                  <a:pt x="121" y="234"/>
                </a:lnTo>
                <a:lnTo>
                  <a:pt x="119" y="234"/>
                </a:lnTo>
                <a:lnTo>
                  <a:pt x="119" y="236"/>
                </a:lnTo>
                <a:lnTo>
                  <a:pt x="117" y="236"/>
                </a:lnTo>
                <a:lnTo>
                  <a:pt x="116" y="236"/>
                </a:lnTo>
                <a:lnTo>
                  <a:pt x="114" y="234"/>
                </a:lnTo>
                <a:lnTo>
                  <a:pt x="112" y="233"/>
                </a:lnTo>
                <a:lnTo>
                  <a:pt x="111" y="233"/>
                </a:lnTo>
                <a:lnTo>
                  <a:pt x="109" y="234"/>
                </a:lnTo>
                <a:lnTo>
                  <a:pt x="109" y="233"/>
                </a:lnTo>
                <a:lnTo>
                  <a:pt x="107" y="233"/>
                </a:lnTo>
                <a:lnTo>
                  <a:pt x="104" y="231"/>
                </a:lnTo>
                <a:lnTo>
                  <a:pt x="106" y="229"/>
                </a:lnTo>
                <a:lnTo>
                  <a:pt x="107" y="231"/>
                </a:lnTo>
                <a:lnTo>
                  <a:pt x="107" y="229"/>
                </a:lnTo>
                <a:lnTo>
                  <a:pt x="109" y="229"/>
                </a:lnTo>
                <a:lnTo>
                  <a:pt x="106" y="229"/>
                </a:lnTo>
                <a:lnTo>
                  <a:pt x="107" y="228"/>
                </a:lnTo>
                <a:lnTo>
                  <a:pt x="107" y="226"/>
                </a:lnTo>
                <a:lnTo>
                  <a:pt x="106" y="224"/>
                </a:lnTo>
                <a:lnTo>
                  <a:pt x="109" y="223"/>
                </a:lnTo>
                <a:lnTo>
                  <a:pt x="111" y="223"/>
                </a:lnTo>
                <a:lnTo>
                  <a:pt x="112" y="223"/>
                </a:lnTo>
                <a:lnTo>
                  <a:pt x="111" y="223"/>
                </a:lnTo>
                <a:lnTo>
                  <a:pt x="111" y="221"/>
                </a:lnTo>
                <a:lnTo>
                  <a:pt x="109" y="221"/>
                </a:lnTo>
                <a:lnTo>
                  <a:pt x="109" y="217"/>
                </a:lnTo>
                <a:lnTo>
                  <a:pt x="111" y="217"/>
                </a:lnTo>
                <a:lnTo>
                  <a:pt x="114" y="217"/>
                </a:lnTo>
                <a:lnTo>
                  <a:pt x="112" y="217"/>
                </a:lnTo>
                <a:lnTo>
                  <a:pt x="111" y="216"/>
                </a:lnTo>
                <a:lnTo>
                  <a:pt x="109" y="216"/>
                </a:lnTo>
                <a:lnTo>
                  <a:pt x="109" y="214"/>
                </a:lnTo>
                <a:lnTo>
                  <a:pt x="107" y="216"/>
                </a:lnTo>
                <a:lnTo>
                  <a:pt x="106" y="214"/>
                </a:lnTo>
                <a:lnTo>
                  <a:pt x="104" y="216"/>
                </a:lnTo>
                <a:lnTo>
                  <a:pt x="106" y="214"/>
                </a:lnTo>
                <a:lnTo>
                  <a:pt x="107" y="212"/>
                </a:lnTo>
                <a:lnTo>
                  <a:pt x="106" y="214"/>
                </a:lnTo>
                <a:lnTo>
                  <a:pt x="102" y="212"/>
                </a:lnTo>
                <a:lnTo>
                  <a:pt x="104" y="214"/>
                </a:lnTo>
                <a:lnTo>
                  <a:pt x="102" y="214"/>
                </a:lnTo>
                <a:lnTo>
                  <a:pt x="100" y="216"/>
                </a:lnTo>
                <a:lnTo>
                  <a:pt x="99" y="214"/>
                </a:lnTo>
                <a:lnTo>
                  <a:pt x="97" y="214"/>
                </a:lnTo>
                <a:lnTo>
                  <a:pt x="95" y="216"/>
                </a:lnTo>
                <a:lnTo>
                  <a:pt x="94" y="214"/>
                </a:lnTo>
                <a:lnTo>
                  <a:pt x="92" y="212"/>
                </a:lnTo>
                <a:lnTo>
                  <a:pt x="90" y="209"/>
                </a:lnTo>
                <a:lnTo>
                  <a:pt x="92" y="209"/>
                </a:lnTo>
                <a:lnTo>
                  <a:pt x="94" y="211"/>
                </a:lnTo>
                <a:lnTo>
                  <a:pt x="95" y="211"/>
                </a:lnTo>
                <a:lnTo>
                  <a:pt x="95" y="212"/>
                </a:lnTo>
                <a:lnTo>
                  <a:pt x="97" y="211"/>
                </a:lnTo>
                <a:lnTo>
                  <a:pt x="97" y="212"/>
                </a:lnTo>
                <a:lnTo>
                  <a:pt x="99" y="212"/>
                </a:lnTo>
                <a:lnTo>
                  <a:pt x="99" y="211"/>
                </a:lnTo>
                <a:lnTo>
                  <a:pt x="102" y="209"/>
                </a:lnTo>
                <a:lnTo>
                  <a:pt x="102" y="207"/>
                </a:lnTo>
                <a:lnTo>
                  <a:pt x="102" y="206"/>
                </a:lnTo>
                <a:lnTo>
                  <a:pt x="102" y="207"/>
                </a:lnTo>
                <a:lnTo>
                  <a:pt x="100" y="209"/>
                </a:lnTo>
                <a:lnTo>
                  <a:pt x="100" y="207"/>
                </a:lnTo>
                <a:lnTo>
                  <a:pt x="97" y="206"/>
                </a:lnTo>
                <a:lnTo>
                  <a:pt x="100" y="207"/>
                </a:lnTo>
                <a:lnTo>
                  <a:pt x="99" y="206"/>
                </a:lnTo>
                <a:lnTo>
                  <a:pt x="97" y="206"/>
                </a:lnTo>
                <a:lnTo>
                  <a:pt x="95" y="206"/>
                </a:lnTo>
                <a:lnTo>
                  <a:pt x="94" y="206"/>
                </a:lnTo>
                <a:lnTo>
                  <a:pt x="94" y="207"/>
                </a:lnTo>
                <a:lnTo>
                  <a:pt x="92" y="207"/>
                </a:lnTo>
                <a:lnTo>
                  <a:pt x="90" y="207"/>
                </a:lnTo>
                <a:lnTo>
                  <a:pt x="90" y="206"/>
                </a:lnTo>
                <a:lnTo>
                  <a:pt x="90" y="207"/>
                </a:lnTo>
                <a:lnTo>
                  <a:pt x="90" y="206"/>
                </a:lnTo>
                <a:lnTo>
                  <a:pt x="90" y="204"/>
                </a:lnTo>
                <a:lnTo>
                  <a:pt x="89" y="206"/>
                </a:lnTo>
                <a:lnTo>
                  <a:pt x="89" y="207"/>
                </a:lnTo>
                <a:lnTo>
                  <a:pt x="90" y="207"/>
                </a:lnTo>
                <a:lnTo>
                  <a:pt x="90" y="209"/>
                </a:lnTo>
                <a:lnTo>
                  <a:pt x="89" y="209"/>
                </a:lnTo>
                <a:lnTo>
                  <a:pt x="87" y="206"/>
                </a:lnTo>
                <a:lnTo>
                  <a:pt x="87" y="207"/>
                </a:lnTo>
                <a:lnTo>
                  <a:pt x="87" y="206"/>
                </a:lnTo>
                <a:lnTo>
                  <a:pt x="87" y="207"/>
                </a:lnTo>
                <a:lnTo>
                  <a:pt x="85" y="207"/>
                </a:lnTo>
                <a:lnTo>
                  <a:pt x="82" y="207"/>
                </a:lnTo>
                <a:lnTo>
                  <a:pt x="83" y="206"/>
                </a:lnTo>
                <a:lnTo>
                  <a:pt x="82" y="204"/>
                </a:lnTo>
                <a:lnTo>
                  <a:pt x="80" y="206"/>
                </a:lnTo>
                <a:lnTo>
                  <a:pt x="82" y="206"/>
                </a:lnTo>
                <a:lnTo>
                  <a:pt x="80" y="207"/>
                </a:lnTo>
                <a:lnTo>
                  <a:pt x="80" y="211"/>
                </a:lnTo>
                <a:lnTo>
                  <a:pt x="80" y="212"/>
                </a:lnTo>
                <a:lnTo>
                  <a:pt x="82" y="214"/>
                </a:lnTo>
                <a:lnTo>
                  <a:pt x="80" y="212"/>
                </a:lnTo>
                <a:lnTo>
                  <a:pt x="78" y="212"/>
                </a:lnTo>
                <a:lnTo>
                  <a:pt x="78" y="209"/>
                </a:lnTo>
                <a:lnTo>
                  <a:pt x="80" y="209"/>
                </a:lnTo>
                <a:lnTo>
                  <a:pt x="80" y="207"/>
                </a:lnTo>
                <a:lnTo>
                  <a:pt x="80" y="206"/>
                </a:lnTo>
                <a:lnTo>
                  <a:pt x="80" y="204"/>
                </a:lnTo>
                <a:lnTo>
                  <a:pt x="78" y="202"/>
                </a:lnTo>
                <a:lnTo>
                  <a:pt x="78" y="200"/>
                </a:lnTo>
                <a:lnTo>
                  <a:pt x="77" y="199"/>
                </a:lnTo>
                <a:lnTo>
                  <a:pt x="75" y="197"/>
                </a:lnTo>
                <a:lnTo>
                  <a:pt x="73" y="195"/>
                </a:lnTo>
                <a:lnTo>
                  <a:pt x="72" y="197"/>
                </a:lnTo>
                <a:lnTo>
                  <a:pt x="72" y="195"/>
                </a:lnTo>
                <a:lnTo>
                  <a:pt x="73" y="195"/>
                </a:lnTo>
                <a:lnTo>
                  <a:pt x="75" y="197"/>
                </a:lnTo>
                <a:lnTo>
                  <a:pt x="75" y="195"/>
                </a:lnTo>
                <a:lnTo>
                  <a:pt x="72" y="195"/>
                </a:lnTo>
                <a:lnTo>
                  <a:pt x="73" y="195"/>
                </a:lnTo>
                <a:lnTo>
                  <a:pt x="73" y="194"/>
                </a:lnTo>
                <a:lnTo>
                  <a:pt x="75" y="192"/>
                </a:lnTo>
                <a:lnTo>
                  <a:pt x="73" y="194"/>
                </a:lnTo>
                <a:lnTo>
                  <a:pt x="73" y="192"/>
                </a:lnTo>
                <a:lnTo>
                  <a:pt x="72" y="194"/>
                </a:lnTo>
                <a:lnTo>
                  <a:pt x="72" y="195"/>
                </a:lnTo>
                <a:lnTo>
                  <a:pt x="68" y="195"/>
                </a:lnTo>
                <a:lnTo>
                  <a:pt x="66" y="194"/>
                </a:lnTo>
                <a:lnTo>
                  <a:pt x="65" y="190"/>
                </a:lnTo>
                <a:lnTo>
                  <a:pt x="63" y="190"/>
                </a:lnTo>
                <a:lnTo>
                  <a:pt x="63" y="189"/>
                </a:lnTo>
                <a:lnTo>
                  <a:pt x="60" y="189"/>
                </a:lnTo>
                <a:lnTo>
                  <a:pt x="60" y="187"/>
                </a:lnTo>
                <a:lnTo>
                  <a:pt x="58" y="187"/>
                </a:lnTo>
                <a:lnTo>
                  <a:pt x="56" y="185"/>
                </a:lnTo>
                <a:lnTo>
                  <a:pt x="55" y="185"/>
                </a:lnTo>
                <a:lnTo>
                  <a:pt x="53" y="185"/>
                </a:lnTo>
                <a:lnTo>
                  <a:pt x="51" y="185"/>
                </a:lnTo>
                <a:lnTo>
                  <a:pt x="50" y="185"/>
                </a:lnTo>
                <a:lnTo>
                  <a:pt x="51" y="183"/>
                </a:lnTo>
                <a:lnTo>
                  <a:pt x="50" y="182"/>
                </a:lnTo>
                <a:lnTo>
                  <a:pt x="48" y="182"/>
                </a:lnTo>
                <a:lnTo>
                  <a:pt x="50" y="180"/>
                </a:lnTo>
                <a:lnTo>
                  <a:pt x="48" y="180"/>
                </a:lnTo>
                <a:lnTo>
                  <a:pt x="50" y="180"/>
                </a:lnTo>
                <a:lnTo>
                  <a:pt x="50" y="178"/>
                </a:lnTo>
                <a:lnTo>
                  <a:pt x="48" y="178"/>
                </a:lnTo>
                <a:lnTo>
                  <a:pt x="48" y="177"/>
                </a:lnTo>
                <a:lnTo>
                  <a:pt x="44" y="177"/>
                </a:lnTo>
                <a:lnTo>
                  <a:pt x="46" y="180"/>
                </a:lnTo>
                <a:lnTo>
                  <a:pt x="43" y="180"/>
                </a:lnTo>
                <a:lnTo>
                  <a:pt x="39" y="178"/>
                </a:lnTo>
                <a:lnTo>
                  <a:pt x="39" y="177"/>
                </a:lnTo>
                <a:lnTo>
                  <a:pt x="39" y="178"/>
                </a:lnTo>
                <a:lnTo>
                  <a:pt x="36" y="178"/>
                </a:lnTo>
                <a:lnTo>
                  <a:pt x="36" y="175"/>
                </a:lnTo>
                <a:lnTo>
                  <a:pt x="36" y="177"/>
                </a:lnTo>
                <a:lnTo>
                  <a:pt x="36" y="180"/>
                </a:lnTo>
                <a:lnTo>
                  <a:pt x="34" y="182"/>
                </a:lnTo>
                <a:lnTo>
                  <a:pt x="31" y="182"/>
                </a:lnTo>
                <a:lnTo>
                  <a:pt x="29" y="180"/>
                </a:lnTo>
                <a:lnTo>
                  <a:pt x="27" y="180"/>
                </a:lnTo>
                <a:lnTo>
                  <a:pt x="26" y="180"/>
                </a:lnTo>
                <a:lnTo>
                  <a:pt x="26" y="178"/>
                </a:lnTo>
                <a:lnTo>
                  <a:pt x="27" y="178"/>
                </a:lnTo>
                <a:lnTo>
                  <a:pt x="27" y="177"/>
                </a:lnTo>
                <a:lnTo>
                  <a:pt x="27" y="173"/>
                </a:lnTo>
                <a:lnTo>
                  <a:pt x="27" y="172"/>
                </a:lnTo>
                <a:lnTo>
                  <a:pt x="27" y="170"/>
                </a:lnTo>
                <a:lnTo>
                  <a:pt x="26" y="168"/>
                </a:lnTo>
                <a:lnTo>
                  <a:pt x="26" y="166"/>
                </a:lnTo>
                <a:lnTo>
                  <a:pt x="24" y="166"/>
                </a:lnTo>
                <a:lnTo>
                  <a:pt x="22" y="165"/>
                </a:lnTo>
                <a:lnTo>
                  <a:pt x="22" y="163"/>
                </a:lnTo>
                <a:lnTo>
                  <a:pt x="21" y="165"/>
                </a:lnTo>
                <a:lnTo>
                  <a:pt x="17" y="163"/>
                </a:lnTo>
                <a:lnTo>
                  <a:pt x="17" y="161"/>
                </a:lnTo>
                <a:lnTo>
                  <a:pt x="14" y="161"/>
                </a:lnTo>
                <a:lnTo>
                  <a:pt x="12" y="160"/>
                </a:lnTo>
                <a:lnTo>
                  <a:pt x="14" y="160"/>
                </a:lnTo>
                <a:lnTo>
                  <a:pt x="14" y="158"/>
                </a:lnTo>
                <a:lnTo>
                  <a:pt x="16" y="158"/>
                </a:lnTo>
                <a:lnTo>
                  <a:pt x="17" y="158"/>
                </a:lnTo>
                <a:lnTo>
                  <a:pt x="21" y="158"/>
                </a:lnTo>
                <a:lnTo>
                  <a:pt x="22" y="158"/>
                </a:lnTo>
                <a:lnTo>
                  <a:pt x="26" y="158"/>
                </a:lnTo>
                <a:lnTo>
                  <a:pt x="27" y="158"/>
                </a:lnTo>
                <a:lnTo>
                  <a:pt x="31" y="158"/>
                </a:lnTo>
                <a:lnTo>
                  <a:pt x="33" y="160"/>
                </a:lnTo>
                <a:lnTo>
                  <a:pt x="34" y="160"/>
                </a:lnTo>
                <a:lnTo>
                  <a:pt x="36" y="158"/>
                </a:lnTo>
                <a:lnTo>
                  <a:pt x="36" y="156"/>
                </a:lnTo>
                <a:lnTo>
                  <a:pt x="34" y="156"/>
                </a:lnTo>
                <a:lnTo>
                  <a:pt x="36" y="155"/>
                </a:lnTo>
                <a:lnTo>
                  <a:pt x="34" y="153"/>
                </a:lnTo>
                <a:lnTo>
                  <a:pt x="33" y="151"/>
                </a:lnTo>
                <a:lnTo>
                  <a:pt x="29" y="149"/>
                </a:lnTo>
                <a:lnTo>
                  <a:pt x="29" y="148"/>
                </a:lnTo>
                <a:lnTo>
                  <a:pt x="27" y="149"/>
                </a:lnTo>
                <a:lnTo>
                  <a:pt x="26" y="151"/>
                </a:lnTo>
                <a:lnTo>
                  <a:pt x="22" y="153"/>
                </a:lnTo>
                <a:lnTo>
                  <a:pt x="24" y="149"/>
                </a:lnTo>
                <a:lnTo>
                  <a:pt x="24" y="148"/>
                </a:lnTo>
                <a:lnTo>
                  <a:pt x="22" y="146"/>
                </a:lnTo>
                <a:lnTo>
                  <a:pt x="21" y="146"/>
                </a:lnTo>
                <a:lnTo>
                  <a:pt x="21" y="144"/>
                </a:lnTo>
                <a:lnTo>
                  <a:pt x="24" y="144"/>
                </a:lnTo>
                <a:lnTo>
                  <a:pt x="24" y="143"/>
                </a:lnTo>
                <a:lnTo>
                  <a:pt x="26" y="141"/>
                </a:lnTo>
                <a:lnTo>
                  <a:pt x="27" y="141"/>
                </a:lnTo>
                <a:lnTo>
                  <a:pt x="26" y="143"/>
                </a:lnTo>
                <a:lnTo>
                  <a:pt x="26" y="144"/>
                </a:lnTo>
                <a:lnTo>
                  <a:pt x="27" y="143"/>
                </a:lnTo>
                <a:lnTo>
                  <a:pt x="27" y="144"/>
                </a:lnTo>
                <a:lnTo>
                  <a:pt x="27" y="146"/>
                </a:lnTo>
                <a:lnTo>
                  <a:pt x="29" y="144"/>
                </a:lnTo>
                <a:lnTo>
                  <a:pt x="31" y="144"/>
                </a:lnTo>
                <a:lnTo>
                  <a:pt x="33" y="146"/>
                </a:lnTo>
                <a:lnTo>
                  <a:pt x="36" y="146"/>
                </a:lnTo>
                <a:lnTo>
                  <a:pt x="38" y="146"/>
                </a:lnTo>
                <a:lnTo>
                  <a:pt x="38" y="148"/>
                </a:lnTo>
                <a:lnTo>
                  <a:pt x="39" y="148"/>
                </a:lnTo>
                <a:lnTo>
                  <a:pt x="43" y="148"/>
                </a:lnTo>
                <a:lnTo>
                  <a:pt x="39" y="146"/>
                </a:lnTo>
                <a:lnTo>
                  <a:pt x="38" y="146"/>
                </a:lnTo>
                <a:lnTo>
                  <a:pt x="39" y="144"/>
                </a:lnTo>
                <a:lnTo>
                  <a:pt x="38" y="144"/>
                </a:lnTo>
                <a:lnTo>
                  <a:pt x="34" y="144"/>
                </a:lnTo>
                <a:lnTo>
                  <a:pt x="38" y="144"/>
                </a:lnTo>
                <a:lnTo>
                  <a:pt x="36" y="143"/>
                </a:lnTo>
                <a:lnTo>
                  <a:pt x="38" y="143"/>
                </a:lnTo>
                <a:lnTo>
                  <a:pt x="39" y="143"/>
                </a:lnTo>
                <a:lnTo>
                  <a:pt x="38" y="143"/>
                </a:lnTo>
                <a:lnTo>
                  <a:pt x="36" y="143"/>
                </a:lnTo>
                <a:lnTo>
                  <a:pt x="36" y="141"/>
                </a:lnTo>
                <a:lnTo>
                  <a:pt x="36" y="143"/>
                </a:lnTo>
                <a:lnTo>
                  <a:pt x="36" y="141"/>
                </a:lnTo>
                <a:lnTo>
                  <a:pt x="34" y="143"/>
                </a:lnTo>
                <a:lnTo>
                  <a:pt x="31" y="143"/>
                </a:lnTo>
                <a:lnTo>
                  <a:pt x="33" y="143"/>
                </a:lnTo>
                <a:lnTo>
                  <a:pt x="29" y="143"/>
                </a:lnTo>
                <a:lnTo>
                  <a:pt x="31" y="141"/>
                </a:lnTo>
                <a:lnTo>
                  <a:pt x="33" y="139"/>
                </a:lnTo>
                <a:lnTo>
                  <a:pt x="36" y="137"/>
                </a:lnTo>
                <a:lnTo>
                  <a:pt x="38" y="137"/>
                </a:lnTo>
                <a:lnTo>
                  <a:pt x="39" y="137"/>
                </a:lnTo>
                <a:lnTo>
                  <a:pt x="36" y="137"/>
                </a:lnTo>
                <a:lnTo>
                  <a:pt x="33" y="139"/>
                </a:lnTo>
                <a:lnTo>
                  <a:pt x="33" y="137"/>
                </a:lnTo>
                <a:lnTo>
                  <a:pt x="31" y="139"/>
                </a:lnTo>
                <a:lnTo>
                  <a:pt x="29" y="139"/>
                </a:lnTo>
                <a:lnTo>
                  <a:pt x="29" y="137"/>
                </a:lnTo>
                <a:lnTo>
                  <a:pt x="29" y="139"/>
                </a:lnTo>
                <a:lnTo>
                  <a:pt x="27" y="139"/>
                </a:lnTo>
                <a:lnTo>
                  <a:pt x="26" y="139"/>
                </a:lnTo>
                <a:lnTo>
                  <a:pt x="22" y="141"/>
                </a:lnTo>
                <a:lnTo>
                  <a:pt x="21" y="139"/>
                </a:lnTo>
                <a:lnTo>
                  <a:pt x="19" y="139"/>
                </a:lnTo>
                <a:lnTo>
                  <a:pt x="16" y="139"/>
                </a:lnTo>
                <a:lnTo>
                  <a:pt x="16" y="137"/>
                </a:lnTo>
                <a:lnTo>
                  <a:pt x="17" y="136"/>
                </a:lnTo>
                <a:lnTo>
                  <a:pt x="16" y="134"/>
                </a:lnTo>
                <a:lnTo>
                  <a:pt x="16" y="132"/>
                </a:lnTo>
                <a:lnTo>
                  <a:pt x="17" y="131"/>
                </a:lnTo>
                <a:lnTo>
                  <a:pt x="17" y="127"/>
                </a:lnTo>
                <a:lnTo>
                  <a:pt x="19" y="127"/>
                </a:lnTo>
                <a:lnTo>
                  <a:pt x="17" y="126"/>
                </a:lnTo>
                <a:lnTo>
                  <a:pt x="19" y="126"/>
                </a:lnTo>
                <a:lnTo>
                  <a:pt x="21" y="124"/>
                </a:lnTo>
                <a:lnTo>
                  <a:pt x="22" y="124"/>
                </a:lnTo>
                <a:lnTo>
                  <a:pt x="24" y="124"/>
                </a:lnTo>
                <a:lnTo>
                  <a:pt x="27" y="124"/>
                </a:lnTo>
                <a:lnTo>
                  <a:pt x="27" y="122"/>
                </a:lnTo>
                <a:lnTo>
                  <a:pt x="29" y="122"/>
                </a:lnTo>
                <a:lnTo>
                  <a:pt x="31" y="120"/>
                </a:lnTo>
                <a:lnTo>
                  <a:pt x="33" y="122"/>
                </a:lnTo>
                <a:lnTo>
                  <a:pt x="34" y="122"/>
                </a:lnTo>
                <a:lnTo>
                  <a:pt x="34" y="120"/>
                </a:lnTo>
                <a:lnTo>
                  <a:pt x="36" y="122"/>
                </a:lnTo>
                <a:lnTo>
                  <a:pt x="36" y="120"/>
                </a:lnTo>
                <a:lnTo>
                  <a:pt x="38" y="120"/>
                </a:lnTo>
                <a:lnTo>
                  <a:pt x="39" y="119"/>
                </a:lnTo>
                <a:lnTo>
                  <a:pt x="43" y="120"/>
                </a:lnTo>
                <a:lnTo>
                  <a:pt x="41" y="122"/>
                </a:lnTo>
                <a:lnTo>
                  <a:pt x="43" y="122"/>
                </a:lnTo>
                <a:lnTo>
                  <a:pt x="44" y="122"/>
                </a:lnTo>
                <a:lnTo>
                  <a:pt x="48" y="120"/>
                </a:lnTo>
                <a:lnTo>
                  <a:pt x="50" y="120"/>
                </a:lnTo>
                <a:lnTo>
                  <a:pt x="53" y="120"/>
                </a:lnTo>
                <a:lnTo>
                  <a:pt x="56" y="119"/>
                </a:lnTo>
                <a:lnTo>
                  <a:pt x="56" y="120"/>
                </a:lnTo>
                <a:lnTo>
                  <a:pt x="56" y="119"/>
                </a:lnTo>
                <a:lnTo>
                  <a:pt x="58" y="120"/>
                </a:lnTo>
                <a:lnTo>
                  <a:pt x="56" y="120"/>
                </a:lnTo>
                <a:lnTo>
                  <a:pt x="58" y="122"/>
                </a:lnTo>
                <a:lnTo>
                  <a:pt x="56" y="122"/>
                </a:lnTo>
                <a:lnTo>
                  <a:pt x="58" y="124"/>
                </a:lnTo>
                <a:lnTo>
                  <a:pt x="60" y="124"/>
                </a:lnTo>
                <a:lnTo>
                  <a:pt x="60" y="126"/>
                </a:lnTo>
                <a:lnTo>
                  <a:pt x="61" y="127"/>
                </a:lnTo>
                <a:lnTo>
                  <a:pt x="61" y="124"/>
                </a:lnTo>
                <a:lnTo>
                  <a:pt x="61" y="126"/>
                </a:lnTo>
                <a:lnTo>
                  <a:pt x="61" y="122"/>
                </a:lnTo>
                <a:lnTo>
                  <a:pt x="63" y="122"/>
                </a:lnTo>
                <a:lnTo>
                  <a:pt x="65" y="120"/>
                </a:lnTo>
                <a:lnTo>
                  <a:pt x="65" y="122"/>
                </a:lnTo>
                <a:lnTo>
                  <a:pt x="68" y="122"/>
                </a:lnTo>
                <a:lnTo>
                  <a:pt x="70" y="124"/>
                </a:lnTo>
                <a:lnTo>
                  <a:pt x="72" y="124"/>
                </a:lnTo>
                <a:lnTo>
                  <a:pt x="72" y="126"/>
                </a:lnTo>
                <a:lnTo>
                  <a:pt x="73" y="126"/>
                </a:lnTo>
                <a:lnTo>
                  <a:pt x="73" y="127"/>
                </a:lnTo>
                <a:lnTo>
                  <a:pt x="75" y="127"/>
                </a:lnTo>
                <a:lnTo>
                  <a:pt x="75" y="126"/>
                </a:lnTo>
                <a:lnTo>
                  <a:pt x="75" y="122"/>
                </a:lnTo>
                <a:lnTo>
                  <a:pt x="77" y="124"/>
                </a:lnTo>
                <a:lnTo>
                  <a:pt x="77" y="120"/>
                </a:lnTo>
                <a:lnTo>
                  <a:pt x="75" y="120"/>
                </a:lnTo>
                <a:lnTo>
                  <a:pt x="75" y="119"/>
                </a:lnTo>
                <a:lnTo>
                  <a:pt x="77" y="119"/>
                </a:lnTo>
                <a:lnTo>
                  <a:pt x="77" y="117"/>
                </a:lnTo>
                <a:lnTo>
                  <a:pt x="77" y="119"/>
                </a:lnTo>
                <a:lnTo>
                  <a:pt x="78" y="119"/>
                </a:lnTo>
                <a:lnTo>
                  <a:pt x="78" y="117"/>
                </a:lnTo>
                <a:lnTo>
                  <a:pt x="78" y="115"/>
                </a:lnTo>
                <a:lnTo>
                  <a:pt x="80" y="115"/>
                </a:lnTo>
                <a:lnTo>
                  <a:pt x="80" y="117"/>
                </a:lnTo>
                <a:lnTo>
                  <a:pt x="82" y="115"/>
                </a:lnTo>
                <a:lnTo>
                  <a:pt x="82" y="117"/>
                </a:lnTo>
                <a:lnTo>
                  <a:pt x="83" y="117"/>
                </a:lnTo>
                <a:lnTo>
                  <a:pt x="82" y="119"/>
                </a:lnTo>
                <a:lnTo>
                  <a:pt x="85" y="119"/>
                </a:lnTo>
                <a:lnTo>
                  <a:pt x="87" y="119"/>
                </a:lnTo>
                <a:lnTo>
                  <a:pt x="89" y="117"/>
                </a:lnTo>
                <a:lnTo>
                  <a:pt x="90" y="119"/>
                </a:lnTo>
                <a:lnTo>
                  <a:pt x="94" y="115"/>
                </a:lnTo>
                <a:lnTo>
                  <a:pt x="94" y="117"/>
                </a:lnTo>
                <a:lnTo>
                  <a:pt x="94" y="119"/>
                </a:lnTo>
                <a:lnTo>
                  <a:pt x="95" y="117"/>
                </a:lnTo>
                <a:lnTo>
                  <a:pt x="99" y="117"/>
                </a:lnTo>
                <a:lnTo>
                  <a:pt x="100" y="115"/>
                </a:lnTo>
                <a:lnTo>
                  <a:pt x="100" y="117"/>
                </a:lnTo>
                <a:lnTo>
                  <a:pt x="99" y="117"/>
                </a:lnTo>
                <a:lnTo>
                  <a:pt x="100" y="119"/>
                </a:lnTo>
                <a:lnTo>
                  <a:pt x="99" y="117"/>
                </a:lnTo>
                <a:lnTo>
                  <a:pt x="99" y="119"/>
                </a:lnTo>
                <a:lnTo>
                  <a:pt x="100" y="120"/>
                </a:lnTo>
                <a:lnTo>
                  <a:pt x="99" y="120"/>
                </a:lnTo>
                <a:lnTo>
                  <a:pt x="97" y="124"/>
                </a:lnTo>
                <a:lnTo>
                  <a:pt x="97" y="122"/>
                </a:lnTo>
                <a:lnTo>
                  <a:pt x="97" y="124"/>
                </a:lnTo>
                <a:lnTo>
                  <a:pt x="99" y="120"/>
                </a:lnTo>
                <a:lnTo>
                  <a:pt x="102" y="120"/>
                </a:lnTo>
                <a:lnTo>
                  <a:pt x="102" y="122"/>
                </a:lnTo>
                <a:lnTo>
                  <a:pt x="100" y="124"/>
                </a:lnTo>
                <a:lnTo>
                  <a:pt x="102" y="124"/>
                </a:lnTo>
                <a:lnTo>
                  <a:pt x="100" y="124"/>
                </a:lnTo>
                <a:lnTo>
                  <a:pt x="102" y="126"/>
                </a:lnTo>
                <a:lnTo>
                  <a:pt x="104" y="126"/>
                </a:lnTo>
                <a:lnTo>
                  <a:pt x="106" y="126"/>
                </a:lnTo>
                <a:lnTo>
                  <a:pt x="104" y="129"/>
                </a:lnTo>
                <a:lnTo>
                  <a:pt x="106" y="131"/>
                </a:lnTo>
                <a:lnTo>
                  <a:pt x="106" y="132"/>
                </a:lnTo>
                <a:lnTo>
                  <a:pt x="107" y="132"/>
                </a:lnTo>
                <a:lnTo>
                  <a:pt x="107" y="134"/>
                </a:lnTo>
                <a:lnTo>
                  <a:pt x="109" y="134"/>
                </a:lnTo>
                <a:lnTo>
                  <a:pt x="109" y="137"/>
                </a:lnTo>
                <a:lnTo>
                  <a:pt x="107" y="137"/>
                </a:lnTo>
                <a:lnTo>
                  <a:pt x="109" y="139"/>
                </a:lnTo>
                <a:lnTo>
                  <a:pt x="111" y="141"/>
                </a:lnTo>
                <a:lnTo>
                  <a:pt x="112" y="143"/>
                </a:lnTo>
                <a:lnTo>
                  <a:pt x="112" y="144"/>
                </a:lnTo>
                <a:lnTo>
                  <a:pt x="112" y="146"/>
                </a:lnTo>
                <a:lnTo>
                  <a:pt x="114" y="144"/>
                </a:lnTo>
                <a:lnTo>
                  <a:pt x="116" y="144"/>
                </a:lnTo>
                <a:lnTo>
                  <a:pt x="117" y="143"/>
                </a:lnTo>
                <a:lnTo>
                  <a:pt x="119" y="141"/>
                </a:lnTo>
                <a:lnTo>
                  <a:pt x="121" y="141"/>
                </a:lnTo>
                <a:lnTo>
                  <a:pt x="124" y="139"/>
                </a:lnTo>
                <a:lnTo>
                  <a:pt x="124" y="137"/>
                </a:lnTo>
                <a:lnTo>
                  <a:pt x="126" y="137"/>
                </a:lnTo>
                <a:lnTo>
                  <a:pt x="128" y="137"/>
                </a:lnTo>
                <a:lnTo>
                  <a:pt x="128" y="139"/>
                </a:lnTo>
                <a:lnTo>
                  <a:pt x="129" y="137"/>
                </a:lnTo>
                <a:lnTo>
                  <a:pt x="131" y="137"/>
                </a:lnTo>
                <a:lnTo>
                  <a:pt x="133" y="136"/>
                </a:lnTo>
                <a:lnTo>
                  <a:pt x="133" y="137"/>
                </a:lnTo>
                <a:lnTo>
                  <a:pt x="131" y="139"/>
                </a:lnTo>
                <a:lnTo>
                  <a:pt x="131" y="141"/>
                </a:lnTo>
                <a:lnTo>
                  <a:pt x="133" y="139"/>
                </a:lnTo>
                <a:lnTo>
                  <a:pt x="134" y="139"/>
                </a:lnTo>
                <a:lnTo>
                  <a:pt x="134" y="141"/>
                </a:lnTo>
                <a:lnTo>
                  <a:pt x="136" y="143"/>
                </a:lnTo>
                <a:lnTo>
                  <a:pt x="136" y="144"/>
                </a:lnTo>
                <a:lnTo>
                  <a:pt x="136" y="143"/>
                </a:lnTo>
                <a:lnTo>
                  <a:pt x="136" y="144"/>
                </a:lnTo>
                <a:lnTo>
                  <a:pt x="138" y="144"/>
                </a:lnTo>
                <a:lnTo>
                  <a:pt x="140" y="143"/>
                </a:lnTo>
                <a:lnTo>
                  <a:pt x="140" y="141"/>
                </a:lnTo>
                <a:lnTo>
                  <a:pt x="141" y="141"/>
                </a:lnTo>
                <a:lnTo>
                  <a:pt x="143" y="141"/>
                </a:lnTo>
                <a:lnTo>
                  <a:pt x="143" y="143"/>
                </a:lnTo>
                <a:lnTo>
                  <a:pt x="145" y="143"/>
                </a:lnTo>
                <a:lnTo>
                  <a:pt x="145" y="144"/>
                </a:lnTo>
                <a:lnTo>
                  <a:pt x="145" y="146"/>
                </a:lnTo>
                <a:lnTo>
                  <a:pt x="146" y="148"/>
                </a:lnTo>
                <a:lnTo>
                  <a:pt x="145" y="151"/>
                </a:lnTo>
                <a:lnTo>
                  <a:pt x="148" y="149"/>
                </a:lnTo>
                <a:lnTo>
                  <a:pt x="146" y="149"/>
                </a:lnTo>
                <a:lnTo>
                  <a:pt x="146" y="148"/>
                </a:lnTo>
                <a:lnTo>
                  <a:pt x="146" y="146"/>
                </a:lnTo>
                <a:lnTo>
                  <a:pt x="148" y="146"/>
                </a:lnTo>
                <a:lnTo>
                  <a:pt x="146" y="146"/>
                </a:lnTo>
                <a:lnTo>
                  <a:pt x="145" y="144"/>
                </a:lnTo>
                <a:lnTo>
                  <a:pt x="146" y="144"/>
                </a:lnTo>
                <a:lnTo>
                  <a:pt x="145" y="141"/>
                </a:lnTo>
                <a:lnTo>
                  <a:pt x="146" y="141"/>
                </a:lnTo>
                <a:lnTo>
                  <a:pt x="145" y="141"/>
                </a:lnTo>
                <a:lnTo>
                  <a:pt x="146" y="141"/>
                </a:lnTo>
                <a:lnTo>
                  <a:pt x="146" y="139"/>
                </a:lnTo>
                <a:lnTo>
                  <a:pt x="150" y="139"/>
                </a:lnTo>
                <a:lnTo>
                  <a:pt x="148" y="139"/>
                </a:lnTo>
                <a:lnTo>
                  <a:pt x="150" y="137"/>
                </a:lnTo>
                <a:lnTo>
                  <a:pt x="151" y="139"/>
                </a:lnTo>
                <a:lnTo>
                  <a:pt x="153" y="137"/>
                </a:lnTo>
                <a:lnTo>
                  <a:pt x="153" y="141"/>
                </a:lnTo>
                <a:lnTo>
                  <a:pt x="151" y="143"/>
                </a:lnTo>
                <a:lnTo>
                  <a:pt x="153" y="144"/>
                </a:lnTo>
                <a:lnTo>
                  <a:pt x="155" y="146"/>
                </a:lnTo>
                <a:lnTo>
                  <a:pt x="157" y="146"/>
                </a:lnTo>
                <a:lnTo>
                  <a:pt x="158" y="146"/>
                </a:lnTo>
                <a:lnTo>
                  <a:pt x="160" y="146"/>
                </a:lnTo>
                <a:lnTo>
                  <a:pt x="162" y="146"/>
                </a:lnTo>
                <a:lnTo>
                  <a:pt x="163" y="146"/>
                </a:lnTo>
                <a:lnTo>
                  <a:pt x="165" y="144"/>
                </a:lnTo>
                <a:lnTo>
                  <a:pt x="167" y="144"/>
                </a:lnTo>
                <a:lnTo>
                  <a:pt x="168" y="146"/>
                </a:lnTo>
                <a:lnTo>
                  <a:pt x="170" y="146"/>
                </a:lnTo>
                <a:lnTo>
                  <a:pt x="174" y="146"/>
                </a:lnTo>
                <a:lnTo>
                  <a:pt x="174" y="144"/>
                </a:lnTo>
                <a:lnTo>
                  <a:pt x="175" y="144"/>
                </a:lnTo>
                <a:lnTo>
                  <a:pt x="174" y="144"/>
                </a:lnTo>
                <a:lnTo>
                  <a:pt x="172" y="146"/>
                </a:lnTo>
                <a:lnTo>
                  <a:pt x="172" y="144"/>
                </a:lnTo>
                <a:lnTo>
                  <a:pt x="168" y="143"/>
                </a:lnTo>
                <a:lnTo>
                  <a:pt x="168" y="139"/>
                </a:lnTo>
                <a:lnTo>
                  <a:pt x="167" y="137"/>
                </a:lnTo>
                <a:lnTo>
                  <a:pt x="167" y="134"/>
                </a:lnTo>
                <a:lnTo>
                  <a:pt x="167" y="132"/>
                </a:lnTo>
                <a:lnTo>
                  <a:pt x="165" y="131"/>
                </a:lnTo>
                <a:lnTo>
                  <a:pt x="168" y="129"/>
                </a:lnTo>
                <a:lnTo>
                  <a:pt x="168" y="127"/>
                </a:lnTo>
                <a:lnTo>
                  <a:pt x="168" y="126"/>
                </a:lnTo>
                <a:lnTo>
                  <a:pt x="170" y="124"/>
                </a:lnTo>
                <a:lnTo>
                  <a:pt x="168" y="124"/>
                </a:lnTo>
                <a:lnTo>
                  <a:pt x="170" y="120"/>
                </a:lnTo>
                <a:lnTo>
                  <a:pt x="170" y="119"/>
                </a:lnTo>
                <a:lnTo>
                  <a:pt x="172" y="117"/>
                </a:lnTo>
                <a:lnTo>
                  <a:pt x="170" y="119"/>
                </a:lnTo>
                <a:lnTo>
                  <a:pt x="170" y="120"/>
                </a:lnTo>
                <a:lnTo>
                  <a:pt x="168" y="119"/>
                </a:lnTo>
                <a:lnTo>
                  <a:pt x="168" y="115"/>
                </a:lnTo>
                <a:lnTo>
                  <a:pt x="168" y="114"/>
                </a:lnTo>
                <a:lnTo>
                  <a:pt x="168" y="112"/>
                </a:lnTo>
                <a:lnTo>
                  <a:pt x="170" y="110"/>
                </a:lnTo>
                <a:lnTo>
                  <a:pt x="170" y="109"/>
                </a:lnTo>
                <a:lnTo>
                  <a:pt x="170" y="107"/>
                </a:lnTo>
                <a:lnTo>
                  <a:pt x="170" y="105"/>
                </a:lnTo>
                <a:lnTo>
                  <a:pt x="168" y="103"/>
                </a:lnTo>
                <a:lnTo>
                  <a:pt x="168" y="102"/>
                </a:lnTo>
                <a:lnTo>
                  <a:pt x="167" y="100"/>
                </a:lnTo>
                <a:lnTo>
                  <a:pt x="167" y="97"/>
                </a:lnTo>
                <a:lnTo>
                  <a:pt x="165" y="93"/>
                </a:lnTo>
                <a:lnTo>
                  <a:pt x="163" y="93"/>
                </a:lnTo>
                <a:lnTo>
                  <a:pt x="165" y="92"/>
                </a:lnTo>
                <a:lnTo>
                  <a:pt x="163" y="93"/>
                </a:lnTo>
                <a:lnTo>
                  <a:pt x="163" y="92"/>
                </a:lnTo>
                <a:lnTo>
                  <a:pt x="163" y="90"/>
                </a:lnTo>
                <a:lnTo>
                  <a:pt x="163" y="88"/>
                </a:lnTo>
                <a:lnTo>
                  <a:pt x="163" y="86"/>
                </a:lnTo>
                <a:lnTo>
                  <a:pt x="163" y="85"/>
                </a:lnTo>
                <a:lnTo>
                  <a:pt x="163" y="83"/>
                </a:lnTo>
                <a:lnTo>
                  <a:pt x="162" y="81"/>
                </a:lnTo>
                <a:lnTo>
                  <a:pt x="163" y="80"/>
                </a:lnTo>
                <a:lnTo>
                  <a:pt x="163" y="78"/>
                </a:lnTo>
                <a:lnTo>
                  <a:pt x="163" y="76"/>
                </a:lnTo>
                <a:lnTo>
                  <a:pt x="165" y="75"/>
                </a:lnTo>
                <a:lnTo>
                  <a:pt x="163" y="73"/>
                </a:lnTo>
                <a:lnTo>
                  <a:pt x="162" y="71"/>
                </a:lnTo>
                <a:lnTo>
                  <a:pt x="160" y="71"/>
                </a:lnTo>
                <a:lnTo>
                  <a:pt x="162" y="69"/>
                </a:lnTo>
                <a:lnTo>
                  <a:pt x="162" y="68"/>
                </a:lnTo>
                <a:lnTo>
                  <a:pt x="163" y="69"/>
                </a:lnTo>
                <a:lnTo>
                  <a:pt x="165" y="68"/>
                </a:lnTo>
                <a:lnTo>
                  <a:pt x="167" y="71"/>
                </a:lnTo>
                <a:lnTo>
                  <a:pt x="168" y="71"/>
                </a:lnTo>
                <a:lnTo>
                  <a:pt x="170" y="73"/>
                </a:lnTo>
                <a:lnTo>
                  <a:pt x="172" y="73"/>
                </a:lnTo>
                <a:lnTo>
                  <a:pt x="172" y="75"/>
                </a:lnTo>
                <a:lnTo>
                  <a:pt x="175" y="75"/>
                </a:lnTo>
                <a:lnTo>
                  <a:pt x="174" y="75"/>
                </a:lnTo>
                <a:lnTo>
                  <a:pt x="175" y="76"/>
                </a:lnTo>
                <a:lnTo>
                  <a:pt x="175" y="75"/>
                </a:lnTo>
                <a:lnTo>
                  <a:pt x="179" y="75"/>
                </a:lnTo>
                <a:lnTo>
                  <a:pt x="180" y="75"/>
                </a:lnTo>
                <a:lnTo>
                  <a:pt x="182" y="73"/>
                </a:lnTo>
                <a:lnTo>
                  <a:pt x="184" y="73"/>
                </a:lnTo>
                <a:lnTo>
                  <a:pt x="187" y="73"/>
                </a:lnTo>
                <a:lnTo>
                  <a:pt x="189" y="73"/>
                </a:lnTo>
                <a:lnTo>
                  <a:pt x="191" y="75"/>
                </a:lnTo>
                <a:lnTo>
                  <a:pt x="192" y="78"/>
                </a:lnTo>
                <a:lnTo>
                  <a:pt x="192" y="81"/>
                </a:lnTo>
                <a:lnTo>
                  <a:pt x="191" y="80"/>
                </a:lnTo>
                <a:lnTo>
                  <a:pt x="189" y="83"/>
                </a:lnTo>
                <a:lnTo>
                  <a:pt x="189" y="81"/>
                </a:lnTo>
                <a:lnTo>
                  <a:pt x="187" y="85"/>
                </a:lnTo>
                <a:lnTo>
                  <a:pt x="189" y="86"/>
                </a:lnTo>
                <a:lnTo>
                  <a:pt x="189" y="88"/>
                </a:lnTo>
                <a:lnTo>
                  <a:pt x="191" y="92"/>
                </a:lnTo>
                <a:lnTo>
                  <a:pt x="192" y="93"/>
                </a:lnTo>
                <a:lnTo>
                  <a:pt x="192" y="95"/>
                </a:lnTo>
                <a:lnTo>
                  <a:pt x="191" y="98"/>
                </a:lnTo>
                <a:lnTo>
                  <a:pt x="194" y="98"/>
                </a:lnTo>
                <a:lnTo>
                  <a:pt x="194" y="100"/>
                </a:lnTo>
                <a:lnTo>
                  <a:pt x="194" y="98"/>
                </a:lnTo>
                <a:lnTo>
                  <a:pt x="196" y="97"/>
                </a:lnTo>
                <a:lnTo>
                  <a:pt x="199" y="97"/>
                </a:lnTo>
                <a:lnTo>
                  <a:pt x="201" y="97"/>
                </a:lnTo>
                <a:lnTo>
                  <a:pt x="202" y="98"/>
                </a:lnTo>
                <a:lnTo>
                  <a:pt x="204" y="100"/>
                </a:lnTo>
                <a:lnTo>
                  <a:pt x="206" y="100"/>
                </a:lnTo>
                <a:lnTo>
                  <a:pt x="208" y="102"/>
                </a:lnTo>
                <a:lnTo>
                  <a:pt x="211" y="102"/>
                </a:lnTo>
                <a:lnTo>
                  <a:pt x="213" y="102"/>
                </a:lnTo>
                <a:lnTo>
                  <a:pt x="214" y="102"/>
                </a:lnTo>
                <a:lnTo>
                  <a:pt x="218" y="103"/>
                </a:lnTo>
                <a:lnTo>
                  <a:pt x="219" y="103"/>
                </a:lnTo>
                <a:lnTo>
                  <a:pt x="221" y="103"/>
                </a:lnTo>
                <a:lnTo>
                  <a:pt x="223" y="105"/>
                </a:lnTo>
                <a:lnTo>
                  <a:pt x="226" y="105"/>
                </a:lnTo>
                <a:lnTo>
                  <a:pt x="228" y="107"/>
                </a:lnTo>
                <a:lnTo>
                  <a:pt x="230" y="109"/>
                </a:lnTo>
                <a:lnTo>
                  <a:pt x="233" y="109"/>
                </a:lnTo>
                <a:lnTo>
                  <a:pt x="233" y="110"/>
                </a:lnTo>
                <a:lnTo>
                  <a:pt x="236" y="110"/>
                </a:lnTo>
                <a:lnTo>
                  <a:pt x="240" y="110"/>
                </a:lnTo>
                <a:lnTo>
                  <a:pt x="240" y="109"/>
                </a:lnTo>
                <a:lnTo>
                  <a:pt x="242" y="109"/>
                </a:lnTo>
                <a:lnTo>
                  <a:pt x="243" y="109"/>
                </a:lnTo>
                <a:lnTo>
                  <a:pt x="245" y="109"/>
                </a:lnTo>
                <a:lnTo>
                  <a:pt x="247" y="107"/>
                </a:lnTo>
                <a:lnTo>
                  <a:pt x="248" y="107"/>
                </a:lnTo>
                <a:lnTo>
                  <a:pt x="248" y="105"/>
                </a:lnTo>
                <a:lnTo>
                  <a:pt x="248" y="107"/>
                </a:lnTo>
                <a:lnTo>
                  <a:pt x="248" y="105"/>
                </a:lnTo>
                <a:lnTo>
                  <a:pt x="250" y="103"/>
                </a:lnTo>
                <a:lnTo>
                  <a:pt x="253" y="103"/>
                </a:lnTo>
                <a:lnTo>
                  <a:pt x="255" y="102"/>
                </a:lnTo>
                <a:lnTo>
                  <a:pt x="257" y="103"/>
                </a:lnTo>
                <a:lnTo>
                  <a:pt x="259" y="103"/>
                </a:lnTo>
                <a:lnTo>
                  <a:pt x="257" y="102"/>
                </a:lnTo>
                <a:lnTo>
                  <a:pt x="255" y="100"/>
                </a:lnTo>
                <a:lnTo>
                  <a:pt x="252" y="100"/>
                </a:lnTo>
                <a:lnTo>
                  <a:pt x="250" y="100"/>
                </a:lnTo>
                <a:lnTo>
                  <a:pt x="253" y="100"/>
                </a:lnTo>
                <a:lnTo>
                  <a:pt x="250" y="100"/>
                </a:lnTo>
                <a:lnTo>
                  <a:pt x="250" y="98"/>
                </a:lnTo>
                <a:lnTo>
                  <a:pt x="252" y="100"/>
                </a:lnTo>
                <a:lnTo>
                  <a:pt x="253" y="98"/>
                </a:lnTo>
                <a:lnTo>
                  <a:pt x="253" y="100"/>
                </a:lnTo>
                <a:lnTo>
                  <a:pt x="253" y="98"/>
                </a:lnTo>
                <a:lnTo>
                  <a:pt x="257" y="100"/>
                </a:lnTo>
                <a:lnTo>
                  <a:pt x="260" y="102"/>
                </a:lnTo>
                <a:lnTo>
                  <a:pt x="260" y="100"/>
                </a:lnTo>
                <a:lnTo>
                  <a:pt x="259" y="100"/>
                </a:lnTo>
                <a:lnTo>
                  <a:pt x="257" y="100"/>
                </a:lnTo>
                <a:lnTo>
                  <a:pt x="253" y="98"/>
                </a:lnTo>
                <a:lnTo>
                  <a:pt x="255" y="98"/>
                </a:lnTo>
                <a:lnTo>
                  <a:pt x="252" y="98"/>
                </a:lnTo>
                <a:lnTo>
                  <a:pt x="252" y="97"/>
                </a:lnTo>
                <a:lnTo>
                  <a:pt x="250" y="98"/>
                </a:lnTo>
                <a:lnTo>
                  <a:pt x="248" y="97"/>
                </a:lnTo>
                <a:lnTo>
                  <a:pt x="250" y="95"/>
                </a:lnTo>
                <a:lnTo>
                  <a:pt x="250" y="93"/>
                </a:lnTo>
                <a:lnTo>
                  <a:pt x="252" y="92"/>
                </a:lnTo>
                <a:lnTo>
                  <a:pt x="252" y="90"/>
                </a:lnTo>
                <a:lnTo>
                  <a:pt x="253" y="90"/>
                </a:lnTo>
                <a:lnTo>
                  <a:pt x="253" y="86"/>
                </a:lnTo>
                <a:lnTo>
                  <a:pt x="253" y="85"/>
                </a:lnTo>
                <a:lnTo>
                  <a:pt x="255" y="86"/>
                </a:lnTo>
                <a:lnTo>
                  <a:pt x="255" y="85"/>
                </a:lnTo>
                <a:lnTo>
                  <a:pt x="257" y="83"/>
                </a:lnTo>
                <a:lnTo>
                  <a:pt x="259" y="83"/>
                </a:lnTo>
                <a:lnTo>
                  <a:pt x="260" y="81"/>
                </a:lnTo>
                <a:lnTo>
                  <a:pt x="262" y="81"/>
                </a:lnTo>
                <a:lnTo>
                  <a:pt x="265" y="80"/>
                </a:lnTo>
                <a:lnTo>
                  <a:pt x="265" y="81"/>
                </a:lnTo>
                <a:lnTo>
                  <a:pt x="265" y="80"/>
                </a:lnTo>
                <a:lnTo>
                  <a:pt x="267" y="80"/>
                </a:lnTo>
                <a:lnTo>
                  <a:pt x="269" y="78"/>
                </a:lnTo>
                <a:lnTo>
                  <a:pt x="270" y="78"/>
                </a:lnTo>
                <a:lnTo>
                  <a:pt x="272" y="76"/>
                </a:lnTo>
                <a:lnTo>
                  <a:pt x="274" y="76"/>
                </a:lnTo>
                <a:lnTo>
                  <a:pt x="276" y="75"/>
                </a:lnTo>
                <a:lnTo>
                  <a:pt x="277" y="75"/>
                </a:lnTo>
                <a:lnTo>
                  <a:pt x="281" y="75"/>
                </a:lnTo>
                <a:lnTo>
                  <a:pt x="282" y="75"/>
                </a:lnTo>
                <a:lnTo>
                  <a:pt x="284" y="75"/>
                </a:lnTo>
                <a:lnTo>
                  <a:pt x="287" y="75"/>
                </a:lnTo>
                <a:lnTo>
                  <a:pt x="289" y="75"/>
                </a:lnTo>
                <a:lnTo>
                  <a:pt x="291" y="73"/>
                </a:lnTo>
                <a:lnTo>
                  <a:pt x="293" y="73"/>
                </a:lnTo>
                <a:lnTo>
                  <a:pt x="296" y="73"/>
                </a:lnTo>
                <a:lnTo>
                  <a:pt x="298" y="73"/>
                </a:lnTo>
                <a:lnTo>
                  <a:pt x="299" y="75"/>
                </a:lnTo>
                <a:lnTo>
                  <a:pt x="298" y="73"/>
                </a:lnTo>
                <a:lnTo>
                  <a:pt x="299" y="73"/>
                </a:lnTo>
                <a:lnTo>
                  <a:pt x="303" y="71"/>
                </a:lnTo>
                <a:lnTo>
                  <a:pt x="304" y="71"/>
                </a:lnTo>
                <a:lnTo>
                  <a:pt x="304" y="69"/>
                </a:lnTo>
                <a:lnTo>
                  <a:pt x="306" y="69"/>
                </a:lnTo>
                <a:lnTo>
                  <a:pt x="310" y="68"/>
                </a:lnTo>
                <a:lnTo>
                  <a:pt x="310" y="66"/>
                </a:lnTo>
                <a:lnTo>
                  <a:pt x="311" y="66"/>
                </a:lnTo>
                <a:lnTo>
                  <a:pt x="313" y="64"/>
                </a:lnTo>
                <a:lnTo>
                  <a:pt x="313" y="66"/>
                </a:lnTo>
                <a:lnTo>
                  <a:pt x="313" y="64"/>
                </a:lnTo>
                <a:lnTo>
                  <a:pt x="315" y="63"/>
                </a:lnTo>
                <a:lnTo>
                  <a:pt x="316" y="63"/>
                </a:lnTo>
                <a:lnTo>
                  <a:pt x="318" y="59"/>
                </a:lnTo>
                <a:lnTo>
                  <a:pt x="318" y="58"/>
                </a:lnTo>
                <a:lnTo>
                  <a:pt x="320" y="56"/>
                </a:lnTo>
                <a:lnTo>
                  <a:pt x="321" y="56"/>
                </a:lnTo>
                <a:lnTo>
                  <a:pt x="323" y="58"/>
                </a:lnTo>
                <a:lnTo>
                  <a:pt x="325" y="58"/>
                </a:lnTo>
                <a:lnTo>
                  <a:pt x="327" y="59"/>
                </a:lnTo>
                <a:lnTo>
                  <a:pt x="327" y="58"/>
                </a:lnTo>
                <a:lnTo>
                  <a:pt x="325" y="58"/>
                </a:lnTo>
                <a:lnTo>
                  <a:pt x="327" y="58"/>
                </a:lnTo>
                <a:lnTo>
                  <a:pt x="325" y="58"/>
                </a:lnTo>
                <a:lnTo>
                  <a:pt x="327" y="56"/>
                </a:lnTo>
                <a:lnTo>
                  <a:pt x="325" y="56"/>
                </a:lnTo>
                <a:lnTo>
                  <a:pt x="323" y="52"/>
                </a:lnTo>
                <a:lnTo>
                  <a:pt x="321" y="52"/>
                </a:lnTo>
                <a:lnTo>
                  <a:pt x="321" y="51"/>
                </a:lnTo>
                <a:lnTo>
                  <a:pt x="321" y="49"/>
                </a:lnTo>
                <a:lnTo>
                  <a:pt x="323" y="47"/>
                </a:lnTo>
                <a:lnTo>
                  <a:pt x="323" y="46"/>
                </a:lnTo>
                <a:lnTo>
                  <a:pt x="325" y="46"/>
                </a:lnTo>
                <a:lnTo>
                  <a:pt x="325" y="44"/>
                </a:lnTo>
                <a:lnTo>
                  <a:pt x="323" y="42"/>
                </a:lnTo>
                <a:lnTo>
                  <a:pt x="325" y="41"/>
                </a:lnTo>
                <a:lnTo>
                  <a:pt x="325" y="37"/>
                </a:lnTo>
                <a:lnTo>
                  <a:pt x="325" y="34"/>
                </a:lnTo>
                <a:lnTo>
                  <a:pt x="328" y="35"/>
                </a:lnTo>
                <a:lnTo>
                  <a:pt x="327" y="34"/>
                </a:lnTo>
                <a:lnTo>
                  <a:pt x="325" y="30"/>
                </a:lnTo>
                <a:lnTo>
                  <a:pt x="327" y="29"/>
                </a:lnTo>
                <a:lnTo>
                  <a:pt x="327" y="27"/>
                </a:lnTo>
                <a:lnTo>
                  <a:pt x="327" y="24"/>
                </a:lnTo>
                <a:lnTo>
                  <a:pt x="327" y="22"/>
                </a:lnTo>
                <a:lnTo>
                  <a:pt x="327" y="20"/>
                </a:lnTo>
                <a:lnTo>
                  <a:pt x="328" y="20"/>
                </a:lnTo>
                <a:lnTo>
                  <a:pt x="328" y="22"/>
                </a:lnTo>
                <a:lnTo>
                  <a:pt x="328" y="20"/>
                </a:lnTo>
                <a:lnTo>
                  <a:pt x="328" y="17"/>
                </a:lnTo>
                <a:lnTo>
                  <a:pt x="328" y="15"/>
                </a:lnTo>
                <a:lnTo>
                  <a:pt x="328" y="13"/>
                </a:lnTo>
                <a:lnTo>
                  <a:pt x="328" y="12"/>
                </a:lnTo>
                <a:lnTo>
                  <a:pt x="328" y="10"/>
                </a:lnTo>
                <a:lnTo>
                  <a:pt x="332" y="10"/>
                </a:lnTo>
                <a:lnTo>
                  <a:pt x="332" y="8"/>
                </a:lnTo>
                <a:lnTo>
                  <a:pt x="335" y="7"/>
                </a:lnTo>
                <a:lnTo>
                  <a:pt x="337" y="5"/>
                </a:lnTo>
                <a:lnTo>
                  <a:pt x="340" y="5"/>
                </a:lnTo>
                <a:lnTo>
                  <a:pt x="342" y="5"/>
                </a:lnTo>
                <a:lnTo>
                  <a:pt x="340" y="5"/>
                </a:lnTo>
                <a:lnTo>
                  <a:pt x="342" y="5"/>
                </a:lnTo>
                <a:lnTo>
                  <a:pt x="340" y="5"/>
                </a:lnTo>
                <a:lnTo>
                  <a:pt x="342" y="5"/>
                </a:lnTo>
                <a:lnTo>
                  <a:pt x="345" y="3"/>
                </a:lnTo>
                <a:lnTo>
                  <a:pt x="349" y="3"/>
                </a:lnTo>
                <a:lnTo>
                  <a:pt x="350" y="3"/>
                </a:lnTo>
                <a:lnTo>
                  <a:pt x="352" y="3"/>
                </a:lnTo>
                <a:lnTo>
                  <a:pt x="352" y="5"/>
                </a:lnTo>
                <a:lnTo>
                  <a:pt x="352" y="3"/>
                </a:lnTo>
                <a:lnTo>
                  <a:pt x="354" y="3"/>
                </a:lnTo>
                <a:lnTo>
                  <a:pt x="354" y="1"/>
                </a:lnTo>
                <a:lnTo>
                  <a:pt x="355" y="1"/>
                </a:lnTo>
                <a:lnTo>
                  <a:pt x="354" y="3"/>
                </a:lnTo>
                <a:lnTo>
                  <a:pt x="355" y="3"/>
                </a:lnTo>
                <a:lnTo>
                  <a:pt x="359" y="1"/>
                </a:lnTo>
                <a:lnTo>
                  <a:pt x="359" y="3"/>
                </a:lnTo>
                <a:lnTo>
                  <a:pt x="359" y="1"/>
                </a:lnTo>
                <a:lnTo>
                  <a:pt x="362" y="1"/>
                </a:lnTo>
                <a:lnTo>
                  <a:pt x="364" y="3"/>
                </a:lnTo>
                <a:lnTo>
                  <a:pt x="364" y="1"/>
                </a:lnTo>
                <a:lnTo>
                  <a:pt x="366" y="1"/>
                </a:lnTo>
                <a:lnTo>
                  <a:pt x="367" y="1"/>
                </a:lnTo>
                <a:lnTo>
                  <a:pt x="369" y="1"/>
                </a:lnTo>
                <a:lnTo>
                  <a:pt x="371" y="0"/>
                </a:lnTo>
                <a:lnTo>
                  <a:pt x="372" y="0"/>
                </a:lnTo>
                <a:lnTo>
                  <a:pt x="372" y="1"/>
                </a:lnTo>
                <a:lnTo>
                  <a:pt x="372" y="3"/>
                </a:lnTo>
                <a:lnTo>
                  <a:pt x="372" y="5"/>
                </a:lnTo>
                <a:lnTo>
                  <a:pt x="372" y="7"/>
                </a:lnTo>
                <a:lnTo>
                  <a:pt x="374" y="7"/>
                </a:lnTo>
                <a:lnTo>
                  <a:pt x="374" y="8"/>
                </a:lnTo>
                <a:lnTo>
                  <a:pt x="374" y="10"/>
                </a:lnTo>
                <a:lnTo>
                  <a:pt x="372" y="12"/>
                </a:lnTo>
                <a:lnTo>
                  <a:pt x="374" y="12"/>
                </a:lnTo>
                <a:lnTo>
                  <a:pt x="374" y="15"/>
                </a:lnTo>
                <a:lnTo>
                  <a:pt x="372" y="17"/>
                </a:lnTo>
                <a:lnTo>
                  <a:pt x="374" y="18"/>
                </a:lnTo>
                <a:lnTo>
                  <a:pt x="376" y="18"/>
                </a:lnTo>
                <a:lnTo>
                  <a:pt x="378" y="20"/>
                </a:lnTo>
                <a:lnTo>
                  <a:pt x="378" y="22"/>
                </a:lnTo>
                <a:lnTo>
                  <a:pt x="379" y="24"/>
                </a:lnTo>
                <a:lnTo>
                  <a:pt x="381" y="25"/>
                </a:lnTo>
                <a:lnTo>
                  <a:pt x="383" y="27"/>
                </a:lnTo>
                <a:lnTo>
                  <a:pt x="384" y="29"/>
                </a:lnTo>
                <a:lnTo>
                  <a:pt x="386" y="27"/>
                </a:lnTo>
                <a:lnTo>
                  <a:pt x="386" y="25"/>
                </a:lnTo>
                <a:lnTo>
                  <a:pt x="388" y="25"/>
                </a:lnTo>
                <a:lnTo>
                  <a:pt x="391" y="24"/>
                </a:lnTo>
                <a:lnTo>
                  <a:pt x="393" y="24"/>
                </a:lnTo>
                <a:lnTo>
                  <a:pt x="395" y="22"/>
                </a:lnTo>
                <a:lnTo>
                  <a:pt x="396" y="24"/>
                </a:lnTo>
                <a:lnTo>
                  <a:pt x="398" y="25"/>
                </a:lnTo>
                <a:lnTo>
                  <a:pt x="398" y="27"/>
                </a:lnTo>
                <a:lnTo>
                  <a:pt x="398" y="29"/>
                </a:lnTo>
                <a:lnTo>
                  <a:pt x="401" y="30"/>
                </a:lnTo>
                <a:lnTo>
                  <a:pt x="401" y="32"/>
                </a:lnTo>
                <a:lnTo>
                  <a:pt x="400" y="32"/>
                </a:lnTo>
                <a:lnTo>
                  <a:pt x="400" y="35"/>
                </a:lnTo>
                <a:lnTo>
                  <a:pt x="401" y="37"/>
                </a:lnTo>
                <a:lnTo>
                  <a:pt x="400" y="39"/>
                </a:lnTo>
                <a:lnTo>
                  <a:pt x="401" y="42"/>
                </a:lnTo>
                <a:lnTo>
                  <a:pt x="403" y="44"/>
                </a:lnTo>
                <a:lnTo>
                  <a:pt x="405" y="44"/>
                </a:lnTo>
                <a:lnTo>
                  <a:pt x="405" y="46"/>
                </a:lnTo>
                <a:lnTo>
                  <a:pt x="408" y="44"/>
                </a:lnTo>
                <a:lnTo>
                  <a:pt x="410" y="42"/>
                </a:lnTo>
                <a:lnTo>
                  <a:pt x="412" y="44"/>
                </a:lnTo>
                <a:lnTo>
                  <a:pt x="410" y="46"/>
                </a:lnTo>
                <a:lnTo>
                  <a:pt x="412" y="46"/>
                </a:lnTo>
                <a:lnTo>
                  <a:pt x="413" y="46"/>
                </a:lnTo>
                <a:lnTo>
                  <a:pt x="415" y="46"/>
                </a:lnTo>
                <a:lnTo>
                  <a:pt x="417" y="47"/>
                </a:lnTo>
                <a:lnTo>
                  <a:pt x="417" y="49"/>
                </a:lnTo>
                <a:lnTo>
                  <a:pt x="417" y="52"/>
                </a:lnTo>
                <a:lnTo>
                  <a:pt x="417" y="54"/>
                </a:lnTo>
                <a:lnTo>
                  <a:pt x="417" y="58"/>
                </a:lnTo>
                <a:lnTo>
                  <a:pt x="418" y="58"/>
                </a:lnTo>
                <a:lnTo>
                  <a:pt x="417" y="58"/>
                </a:lnTo>
                <a:lnTo>
                  <a:pt x="418" y="59"/>
                </a:lnTo>
                <a:lnTo>
                  <a:pt x="418" y="58"/>
                </a:lnTo>
                <a:lnTo>
                  <a:pt x="418" y="59"/>
                </a:lnTo>
                <a:lnTo>
                  <a:pt x="420" y="56"/>
                </a:lnTo>
                <a:lnTo>
                  <a:pt x="423" y="56"/>
                </a:lnTo>
                <a:lnTo>
                  <a:pt x="425" y="56"/>
                </a:lnTo>
                <a:lnTo>
                  <a:pt x="427" y="58"/>
                </a:lnTo>
                <a:lnTo>
                  <a:pt x="430" y="58"/>
                </a:lnTo>
                <a:lnTo>
                  <a:pt x="432" y="56"/>
                </a:lnTo>
                <a:lnTo>
                  <a:pt x="434" y="58"/>
                </a:lnTo>
                <a:lnTo>
                  <a:pt x="435" y="59"/>
                </a:lnTo>
                <a:lnTo>
                  <a:pt x="435" y="61"/>
                </a:lnTo>
                <a:lnTo>
                  <a:pt x="437" y="61"/>
                </a:lnTo>
                <a:lnTo>
                  <a:pt x="437" y="63"/>
                </a:lnTo>
                <a:lnTo>
                  <a:pt x="437" y="64"/>
                </a:lnTo>
                <a:lnTo>
                  <a:pt x="439" y="64"/>
                </a:lnTo>
                <a:lnTo>
                  <a:pt x="437" y="63"/>
                </a:lnTo>
                <a:lnTo>
                  <a:pt x="439" y="63"/>
                </a:lnTo>
                <a:lnTo>
                  <a:pt x="440" y="63"/>
                </a:lnTo>
                <a:lnTo>
                  <a:pt x="440" y="64"/>
                </a:lnTo>
                <a:lnTo>
                  <a:pt x="439" y="66"/>
                </a:lnTo>
                <a:lnTo>
                  <a:pt x="439" y="68"/>
                </a:lnTo>
                <a:lnTo>
                  <a:pt x="437" y="68"/>
                </a:lnTo>
                <a:lnTo>
                  <a:pt x="437" y="71"/>
                </a:lnTo>
                <a:lnTo>
                  <a:pt x="435" y="73"/>
                </a:lnTo>
                <a:lnTo>
                  <a:pt x="437" y="73"/>
                </a:lnTo>
                <a:lnTo>
                  <a:pt x="439" y="73"/>
                </a:lnTo>
                <a:lnTo>
                  <a:pt x="439" y="75"/>
                </a:lnTo>
                <a:lnTo>
                  <a:pt x="440" y="78"/>
                </a:lnTo>
                <a:lnTo>
                  <a:pt x="439" y="78"/>
                </a:lnTo>
                <a:lnTo>
                  <a:pt x="437" y="78"/>
                </a:lnTo>
                <a:lnTo>
                  <a:pt x="435" y="80"/>
                </a:lnTo>
                <a:lnTo>
                  <a:pt x="435" y="81"/>
                </a:lnTo>
                <a:lnTo>
                  <a:pt x="437" y="83"/>
                </a:lnTo>
                <a:lnTo>
                  <a:pt x="435" y="83"/>
                </a:lnTo>
                <a:lnTo>
                  <a:pt x="437" y="85"/>
                </a:lnTo>
                <a:lnTo>
                  <a:pt x="439" y="85"/>
                </a:lnTo>
                <a:lnTo>
                  <a:pt x="440" y="85"/>
                </a:lnTo>
                <a:lnTo>
                  <a:pt x="442" y="85"/>
                </a:lnTo>
                <a:lnTo>
                  <a:pt x="446" y="86"/>
                </a:lnTo>
                <a:lnTo>
                  <a:pt x="449" y="88"/>
                </a:lnTo>
                <a:lnTo>
                  <a:pt x="452" y="86"/>
                </a:lnTo>
                <a:lnTo>
                  <a:pt x="454" y="85"/>
                </a:lnTo>
                <a:lnTo>
                  <a:pt x="456" y="85"/>
                </a:lnTo>
                <a:lnTo>
                  <a:pt x="457" y="85"/>
                </a:lnTo>
                <a:lnTo>
                  <a:pt x="459" y="85"/>
                </a:lnTo>
                <a:lnTo>
                  <a:pt x="461" y="85"/>
                </a:lnTo>
                <a:lnTo>
                  <a:pt x="461" y="81"/>
                </a:lnTo>
                <a:lnTo>
                  <a:pt x="461" y="80"/>
                </a:lnTo>
                <a:lnTo>
                  <a:pt x="461" y="78"/>
                </a:lnTo>
                <a:lnTo>
                  <a:pt x="464" y="76"/>
                </a:lnTo>
                <a:lnTo>
                  <a:pt x="464" y="75"/>
                </a:lnTo>
                <a:lnTo>
                  <a:pt x="466" y="73"/>
                </a:lnTo>
                <a:lnTo>
                  <a:pt x="468" y="73"/>
                </a:lnTo>
                <a:lnTo>
                  <a:pt x="469" y="75"/>
                </a:lnTo>
                <a:lnTo>
                  <a:pt x="469" y="76"/>
                </a:lnTo>
                <a:lnTo>
                  <a:pt x="469" y="78"/>
                </a:lnTo>
                <a:lnTo>
                  <a:pt x="468" y="78"/>
                </a:lnTo>
                <a:lnTo>
                  <a:pt x="468" y="80"/>
                </a:lnTo>
                <a:lnTo>
                  <a:pt x="466" y="80"/>
                </a:lnTo>
                <a:lnTo>
                  <a:pt x="468" y="81"/>
                </a:lnTo>
                <a:lnTo>
                  <a:pt x="466" y="83"/>
                </a:lnTo>
                <a:lnTo>
                  <a:pt x="466" y="85"/>
                </a:lnTo>
                <a:lnTo>
                  <a:pt x="464" y="86"/>
                </a:lnTo>
                <a:lnTo>
                  <a:pt x="468" y="88"/>
                </a:lnTo>
                <a:lnTo>
                  <a:pt x="468" y="90"/>
                </a:lnTo>
                <a:lnTo>
                  <a:pt x="469" y="92"/>
                </a:lnTo>
                <a:lnTo>
                  <a:pt x="468" y="92"/>
                </a:lnTo>
                <a:lnTo>
                  <a:pt x="468" y="93"/>
                </a:lnTo>
                <a:lnTo>
                  <a:pt x="466" y="93"/>
                </a:lnTo>
                <a:lnTo>
                  <a:pt x="468" y="95"/>
                </a:lnTo>
                <a:lnTo>
                  <a:pt x="468" y="97"/>
                </a:lnTo>
                <a:lnTo>
                  <a:pt x="466" y="98"/>
                </a:lnTo>
                <a:lnTo>
                  <a:pt x="469" y="100"/>
                </a:lnTo>
                <a:lnTo>
                  <a:pt x="471" y="98"/>
                </a:lnTo>
                <a:lnTo>
                  <a:pt x="473" y="98"/>
                </a:lnTo>
                <a:lnTo>
                  <a:pt x="473" y="100"/>
                </a:lnTo>
                <a:lnTo>
                  <a:pt x="476" y="102"/>
                </a:lnTo>
                <a:lnTo>
                  <a:pt x="478" y="102"/>
                </a:lnTo>
                <a:lnTo>
                  <a:pt x="478" y="103"/>
                </a:lnTo>
                <a:lnTo>
                  <a:pt x="478" y="105"/>
                </a:lnTo>
                <a:lnTo>
                  <a:pt x="480" y="105"/>
                </a:lnTo>
                <a:lnTo>
                  <a:pt x="480" y="107"/>
                </a:lnTo>
                <a:lnTo>
                  <a:pt x="481" y="107"/>
                </a:lnTo>
                <a:lnTo>
                  <a:pt x="483" y="107"/>
                </a:lnTo>
                <a:lnTo>
                  <a:pt x="485" y="107"/>
                </a:lnTo>
                <a:lnTo>
                  <a:pt x="485" y="109"/>
                </a:lnTo>
                <a:lnTo>
                  <a:pt x="488" y="110"/>
                </a:lnTo>
                <a:lnTo>
                  <a:pt x="486" y="112"/>
                </a:lnTo>
                <a:lnTo>
                  <a:pt x="486" y="114"/>
                </a:lnTo>
                <a:lnTo>
                  <a:pt x="488" y="112"/>
                </a:lnTo>
                <a:lnTo>
                  <a:pt x="490" y="114"/>
                </a:lnTo>
                <a:lnTo>
                  <a:pt x="491" y="114"/>
                </a:lnTo>
                <a:lnTo>
                  <a:pt x="491" y="117"/>
                </a:lnTo>
                <a:lnTo>
                  <a:pt x="493" y="117"/>
                </a:lnTo>
                <a:lnTo>
                  <a:pt x="491" y="117"/>
                </a:lnTo>
                <a:lnTo>
                  <a:pt x="493" y="119"/>
                </a:lnTo>
                <a:lnTo>
                  <a:pt x="491" y="120"/>
                </a:lnTo>
                <a:lnTo>
                  <a:pt x="493" y="122"/>
                </a:lnTo>
                <a:lnTo>
                  <a:pt x="493" y="120"/>
                </a:lnTo>
                <a:lnTo>
                  <a:pt x="497" y="120"/>
                </a:lnTo>
                <a:lnTo>
                  <a:pt x="497" y="119"/>
                </a:lnTo>
                <a:lnTo>
                  <a:pt x="500" y="120"/>
                </a:lnTo>
                <a:lnTo>
                  <a:pt x="500" y="119"/>
                </a:lnTo>
                <a:lnTo>
                  <a:pt x="502" y="119"/>
                </a:lnTo>
                <a:lnTo>
                  <a:pt x="503" y="119"/>
                </a:lnTo>
                <a:lnTo>
                  <a:pt x="505" y="119"/>
                </a:lnTo>
                <a:lnTo>
                  <a:pt x="507" y="117"/>
                </a:lnTo>
                <a:lnTo>
                  <a:pt x="508" y="119"/>
                </a:lnTo>
                <a:close/>
                <a:moveTo>
                  <a:pt x="279" y="597"/>
                </a:moveTo>
                <a:lnTo>
                  <a:pt x="282" y="598"/>
                </a:lnTo>
                <a:lnTo>
                  <a:pt x="281" y="600"/>
                </a:lnTo>
                <a:lnTo>
                  <a:pt x="279" y="600"/>
                </a:lnTo>
                <a:lnTo>
                  <a:pt x="279" y="597"/>
                </a:lnTo>
                <a:close/>
                <a:moveTo>
                  <a:pt x="668" y="585"/>
                </a:moveTo>
                <a:lnTo>
                  <a:pt x="672" y="587"/>
                </a:lnTo>
                <a:lnTo>
                  <a:pt x="670" y="588"/>
                </a:lnTo>
                <a:lnTo>
                  <a:pt x="672" y="590"/>
                </a:lnTo>
                <a:lnTo>
                  <a:pt x="672" y="593"/>
                </a:lnTo>
                <a:lnTo>
                  <a:pt x="672" y="595"/>
                </a:lnTo>
                <a:lnTo>
                  <a:pt x="672" y="597"/>
                </a:lnTo>
                <a:lnTo>
                  <a:pt x="672" y="598"/>
                </a:lnTo>
                <a:lnTo>
                  <a:pt x="672" y="600"/>
                </a:lnTo>
                <a:lnTo>
                  <a:pt x="672" y="602"/>
                </a:lnTo>
                <a:lnTo>
                  <a:pt x="670" y="605"/>
                </a:lnTo>
                <a:lnTo>
                  <a:pt x="670" y="607"/>
                </a:lnTo>
                <a:lnTo>
                  <a:pt x="670" y="609"/>
                </a:lnTo>
                <a:lnTo>
                  <a:pt x="670" y="610"/>
                </a:lnTo>
                <a:lnTo>
                  <a:pt x="672" y="612"/>
                </a:lnTo>
                <a:lnTo>
                  <a:pt x="673" y="614"/>
                </a:lnTo>
                <a:lnTo>
                  <a:pt x="673" y="615"/>
                </a:lnTo>
                <a:lnTo>
                  <a:pt x="675" y="617"/>
                </a:lnTo>
                <a:lnTo>
                  <a:pt x="675" y="619"/>
                </a:lnTo>
                <a:lnTo>
                  <a:pt x="673" y="621"/>
                </a:lnTo>
                <a:lnTo>
                  <a:pt x="675" y="624"/>
                </a:lnTo>
                <a:lnTo>
                  <a:pt x="675" y="626"/>
                </a:lnTo>
                <a:lnTo>
                  <a:pt x="673" y="629"/>
                </a:lnTo>
                <a:lnTo>
                  <a:pt x="675" y="631"/>
                </a:lnTo>
                <a:lnTo>
                  <a:pt x="675" y="633"/>
                </a:lnTo>
                <a:lnTo>
                  <a:pt x="675" y="634"/>
                </a:lnTo>
                <a:lnTo>
                  <a:pt x="675" y="636"/>
                </a:lnTo>
                <a:lnTo>
                  <a:pt x="675" y="639"/>
                </a:lnTo>
                <a:lnTo>
                  <a:pt x="675" y="643"/>
                </a:lnTo>
                <a:lnTo>
                  <a:pt x="675" y="644"/>
                </a:lnTo>
                <a:lnTo>
                  <a:pt x="675" y="648"/>
                </a:lnTo>
                <a:lnTo>
                  <a:pt x="673" y="650"/>
                </a:lnTo>
                <a:lnTo>
                  <a:pt x="673" y="651"/>
                </a:lnTo>
                <a:lnTo>
                  <a:pt x="672" y="653"/>
                </a:lnTo>
                <a:lnTo>
                  <a:pt x="670" y="655"/>
                </a:lnTo>
                <a:lnTo>
                  <a:pt x="670" y="656"/>
                </a:lnTo>
                <a:lnTo>
                  <a:pt x="668" y="658"/>
                </a:lnTo>
                <a:lnTo>
                  <a:pt x="668" y="660"/>
                </a:lnTo>
                <a:lnTo>
                  <a:pt x="668" y="661"/>
                </a:lnTo>
                <a:lnTo>
                  <a:pt x="667" y="665"/>
                </a:lnTo>
                <a:lnTo>
                  <a:pt x="667" y="667"/>
                </a:lnTo>
                <a:lnTo>
                  <a:pt x="667" y="668"/>
                </a:lnTo>
                <a:lnTo>
                  <a:pt x="667" y="670"/>
                </a:lnTo>
                <a:lnTo>
                  <a:pt x="667" y="672"/>
                </a:lnTo>
                <a:lnTo>
                  <a:pt x="667" y="675"/>
                </a:lnTo>
                <a:lnTo>
                  <a:pt x="667" y="677"/>
                </a:lnTo>
                <a:lnTo>
                  <a:pt x="665" y="678"/>
                </a:lnTo>
                <a:lnTo>
                  <a:pt x="667" y="682"/>
                </a:lnTo>
                <a:lnTo>
                  <a:pt x="665" y="682"/>
                </a:lnTo>
                <a:lnTo>
                  <a:pt x="665" y="684"/>
                </a:lnTo>
                <a:lnTo>
                  <a:pt x="663" y="684"/>
                </a:lnTo>
                <a:lnTo>
                  <a:pt x="661" y="682"/>
                </a:lnTo>
                <a:lnTo>
                  <a:pt x="660" y="684"/>
                </a:lnTo>
                <a:lnTo>
                  <a:pt x="661" y="685"/>
                </a:lnTo>
                <a:lnTo>
                  <a:pt x="663" y="684"/>
                </a:lnTo>
                <a:lnTo>
                  <a:pt x="665" y="685"/>
                </a:lnTo>
                <a:lnTo>
                  <a:pt x="663" y="687"/>
                </a:lnTo>
                <a:lnTo>
                  <a:pt x="661" y="689"/>
                </a:lnTo>
                <a:lnTo>
                  <a:pt x="660" y="689"/>
                </a:lnTo>
                <a:lnTo>
                  <a:pt x="660" y="690"/>
                </a:lnTo>
                <a:lnTo>
                  <a:pt x="660" y="692"/>
                </a:lnTo>
                <a:lnTo>
                  <a:pt x="661" y="692"/>
                </a:lnTo>
                <a:lnTo>
                  <a:pt x="660" y="694"/>
                </a:lnTo>
                <a:lnTo>
                  <a:pt x="658" y="695"/>
                </a:lnTo>
                <a:lnTo>
                  <a:pt x="656" y="697"/>
                </a:lnTo>
                <a:lnTo>
                  <a:pt x="660" y="697"/>
                </a:lnTo>
                <a:lnTo>
                  <a:pt x="658" y="699"/>
                </a:lnTo>
                <a:lnTo>
                  <a:pt x="656" y="701"/>
                </a:lnTo>
                <a:lnTo>
                  <a:pt x="655" y="701"/>
                </a:lnTo>
                <a:lnTo>
                  <a:pt x="653" y="699"/>
                </a:lnTo>
                <a:lnTo>
                  <a:pt x="650" y="699"/>
                </a:lnTo>
                <a:lnTo>
                  <a:pt x="651" y="697"/>
                </a:lnTo>
                <a:lnTo>
                  <a:pt x="651" y="695"/>
                </a:lnTo>
                <a:lnTo>
                  <a:pt x="650" y="695"/>
                </a:lnTo>
                <a:lnTo>
                  <a:pt x="650" y="692"/>
                </a:lnTo>
                <a:lnTo>
                  <a:pt x="648" y="694"/>
                </a:lnTo>
                <a:lnTo>
                  <a:pt x="644" y="692"/>
                </a:lnTo>
                <a:lnTo>
                  <a:pt x="644" y="694"/>
                </a:lnTo>
                <a:lnTo>
                  <a:pt x="643" y="692"/>
                </a:lnTo>
                <a:lnTo>
                  <a:pt x="641" y="692"/>
                </a:lnTo>
                <a:lnTo>
                  <a:pt x="641" y="690"/>
                </a:lnTo>
                <a:lnTo>
                  <a:pt x="639" y="690"/>
                </a:lnTo>
                <a:lnTo>
                  <a:pt x="639" y="689"/>
                </a:lnTo>
                <a:lnTo>
                  <a:pt x="638" y="690"/>
                </a:lnTo>
                <a:lnTo>
                  <a:pt x="638" y="687"/>
                </a:lnTo>
                <a:lnTo>
                  <a:pt x="638" y="689"/>
                </a:lnTo>
                <a:lnTo>
                  <a:pt x="636" y="687"/>
                </a:lnTo>
                <a:lnTo>
                  <a:pt x="634" y="687"/>
                </a:lnTo>
                <a:lnTo>
                  <a:pt x="634" y="685"/>
                </a:lnTo>
                <a:lnTo>
                  <a:pt x="634" y="682"/>
                </a:lnTo>
                <a:lnTo>
                  <a:pt x="636" y="680"/>
                </a:lnTo>
                <a:lnTo>
                  <a:pt x="636" y="682"/>
                </a:lnTo>
                <a:lnTo>
                  <a:pt x="639" y="680"/>
                </a:lnTo>
                <a:lnTo>
                  <a:pt x="639" y="678"/>
                </a:lnTo>
                <a:lnTo>
                  <a:pt x="641" y="677"/>
                </a:lnTo>
                <a:lnTo>
                  <a:pt x="639" y="678"/>
                </a:lnTo>
                <a:lnTo>
                  <a:pt x="638" y="677"/>
                </a:lnTo>
                <a:lnTo>
                  <a:pt x="636" y="675"/>
                </a:lnTo>
                <a:lnTo>
                  <a:pt x="634" y="677"/>
                </a:lnTo>
                <a:lnTo>
                  <a:pt x="634" y="673"/>
                </a:lnTo>
                <a:lnTo>
                  <a:pt x="631" y="675"/>
                </a:lnTo>
                <a:lnTo>
                  <a:pt x="629" y="673"/>
                </a:lnTo>
                <a:lnTo>
                  <a:pt x="627" y="673"/>
                </a:lnTo>
                <a:lnTo>
                  <a:pt x="629" y="673"/>
                </a:lnTo>
                <a:lnTo>
                  <a:pt x="631" y="672"/>
                </a:lnTo>
                <a:lnTo>
                  <a:pt x="631" y="670"/>
                </a:lnTo>
                <a:lnTo>
                  <a:pt x="633" y="670"/>
                </a:lnTo>
                <a:lnTo>
                  <a:pt x="634" y="668"/>
                </a:lnTo>
                <a:lnTo>
                  <a:pt x="634" y="667"/>
                </a:lnTo>
                <a:lnTo>
                  <a:pt x="633" y="667"/>
                </a:lnTo>
                <a:lnTo>
                  <a:pt x="634" y="667"/>
                </a:lnTo>
                <a:lnTo>
                  <a:pt x="634" y="663"/>
                </a:lnTo>
                <a:lnTo>
                  <a:pt x="636" y="663"/>
                </a:lnTo>
                <a:lnTo>
                  <a:pt x="634" y="661"/>
                </a:lnTo>
                <a:lnTo>
                  <a:pt x="633" y="660"/>
                </a:lnTo>
                <a:lnTo>
                  <a:pt x="631" y="661"/>
                </a:lnTo>
                <a:lnTo>
                  <a:pt x="629" y="661"/>
                </a:lnTo>
                <a:lnTo>
                  <a:pt x="627" y="661"/>
                </a:lnTo>
                <a:lnTo>
                  <a:pt x="626" y="663"/>
                </a:lnTo>
                <a:lnTo>
                  <a:pt x="626" y="660"/>
                </a:lnTo>
                <a:lnTo>
                  <a:pt x="624" y="658"/>
                </a:lnTo>
                <a:lnTo>
                  <a:pt x="627" y="658"/>
                </a:lnTo>
                <a:lnTo>
                  <a:pt x="629" y="656"/>
                </a:lnTo>
                <a:lnTo>
                  <a:pt x="627" y="655"/>
                </a:lnTo>
                <a:lnTo>
                  <a:pt x="629" y="653"/>
                </a:lnTo>
                <a:lnTo>
                  <a:pt x="631" y="653"/>
                </a:lnTo>
                <a:lnTo>
                  <a:pt x="633" y="653"/>
                </a:lnTo>
                <a:lnTo>
                  <a:pt x="633" y="651"/>
                </a:lnTo>
                <a:lnTo>
                  <a:pt x="631" y="651"/>
                </a:lnTo>
                <a:lnTo>
                  <a:pt x="631" y="650"/>
                </a:lnTo>
                <a:lnTo>
                  <a:pt x="631" y="648"/>
                </a:lnTo>
                <a:lnTo>
                  <a:pt x="627" y="648"/>
                </a:lnTo>
                <a:lnTo>
                  <a:pt x="627" y="646"/>
                </a:lnTo>
                <a:lnTo>
                  <a:pt x="626" y="646"/>
                </a:lnTo>
                <a:lnTo>
                  <a:pt x="624" y="646"/>
                </a:lnTo>
                <a:lnTo>
                  <a:pt x="624" y="644"/>
                </a:lnTo>
                <a:lnTo>
                  <a:pt x="622" y="644"/>
                </a:lnTo>
                <a:lnTo>
                  <a:pt x="624" y="643"/>
                </a:lnTo>
                <a:lnTo>
                  <a:pt x="622" y="643"/>
                </a:lnTo>
                <a:lnTo>
                  <a:pt x="624" y="643"/>
                </a:lnTo>
                <a:lnTo>
                  <a:pt x="624" y="641"/>
                </a:lnTo>
                <a:lnTo>
                  <a:pt x="624" y="639"/>
                </a:lnTo>
                <a:lnTo>
                  <a:pt x="622" y="638"/>
                </a:lnTo>
                <a:lnTo>
                  <a:pt x="624" y="638"/>
                </a:lnTo>
                <a:lnTo>
                  <a:pt x="626" y="638"/>
                </a:lnTo>
                <a:lnTo>
                  <a:pt x="629" y="636"/>
                </a:lnTo>
                <a:lnTo>
                  <a:pt x="631" y="636"/>
                </a:lnTo>
                <a:lnTo>
                  <a:pt x="629" y="634"/>
                </a:lnTo>
                <a:lnTo>
                  <a:pt x="626" y="634"/>
                </a:lnTo>
                <a:lnTo>
                  <a:pt x="626" y="633"/>
                </a:lnTo>
                <a:lnTo>
                  <a:pt x="627" y="633"/>
                </a:lnTo>
                <a:lnTo>
                  <a:pt x="626" y="631"/>
                </a:lnTo>
                <a:lnTo>
                  <a:pt x="624" y="631"/>
                </a:lnTo>
                <a:lnTo>
                  <a:pt x="622" y="631"/>
                </a:lnTo>
                <a:lnTo>
                  <a:pt x="622" y="629"/>
                </a:lnTo>
                <a:lnTo>
                  <a:pt x="624" y="629"/>
                </a:lnTo>
                <a:lnTo>
                  <a:pt x="624" y="627"/>
                </a:lnTo>
                <a:lnTo>
                  <a:pt x="626" y="627"/>
                </a:lnTo>
                <a:lnTo>
                  <a:pt x="626" y="626"/>
                </a:lnTo>
                <a:lnTo>
                  <a:pt x="627" y="626"/>
                </a:lnTo>
                <a:lnTo>
                  <a:pt x="629" y="624"/>
                </a:lnTo>
                <a:lnTo>
                  <a:pt x="627" y="624"/>
                </a:lnTo>
                <a:lnTo>
                  <a:pt x="629" y="624"/>
                </a:lnTo>
                <a:lnTo>
                  <a:pt x="629" y="622"/>
                </a:lnTo>
                <a:lnTo>
                  <a:pt x="627" y="621"/>
                </a:lnTo>
                <a:lnTo>
                  <a:pt x="629" y="619"/>
                </a:lnTo>
                <a:lnTo>
                  <a:pt x="633" y="619"/>
                </a:lnTo>
                <a:lnTo>
                  <a:pt x="633" y="615"/>
                </a:lnTo>
                <a:lnTo>
                  <a:pt x="631" y="615"/>
                </a:lnTo>
                <a:lnTo>
                  <a:pt x="633" y="614"/>
                </a:lnTo>
                <a:lnTo>
                  <a:pt x="633" y="615"/>
                </a:lnTo>
                <a:lnTo>
                  <a:pt x="634" y="615"/>
                </a:lnTo>
                <a:lnTo>
                  <a:pt x="636" y="615"/>
                </a:lnTo>
                <a:lnTo>
                  <a:pt x="636" y="612"/>
                </a:lnTo>
                <a:lnTo>
                  <a:pt x="639" y="612"/>
                </a:lnTo>
                <a:lnTo>
                  <a:pt x="641" y="610"/>
                </a:lnTo>
                <a:lnTo>
                  <a:pt x="643" y="610"/>
                </a:lnTo>
                <a:lnTo>
                  <a:pt x="644" y="610"/>
                </a:lnTo>
                <a:lnTo>
                  <a:pt x="646" y="610"/>
                </a:lnTo>
                <a:lnTo>
                  <a:pt x="648" y="610"/>
                </a:lnTo>
                <a:lnTo>
                  <a:pt x="650" y="609"/>
                </a:lnTo>
                <a:lnTo>
                  <a:pt x="650" y="607"/>
                </a:lnTo>
                <a:lnTo>
                  <a:pt x="651" y="605"/>
                </a:lnTo>
                <a:lnTo>
                  <a:pt x="653" y="604"/>
                </a:lnTo>
                <a:lnTo>
                  <a:pt x="655" y="604"/>
                </a:lnTo>
                <a:lnTo>
                  <a:pt x="656" y="604"/>
                </a:lnTo>
                <a:lnTo>
                  <a:pt x="658" y="604"/>
                </a:lnTo>
                <a:lnTo>
                  <a:pt x="660" y="605"/>
                </a:lnTo>
                <a:lnTo>
                  <a:pt x="661" y="609"/>
                </a:lnTo>
                <a:lnTo>
                  <a:pt x="661" y="607"/>
                </a:lnTo>
                <a:lnTo>
                  <a:pt x="663" y="607"/>
                </a:lnTo>
                <a:lnTo>
                  <a:pt x="665" y="604"/>
                </a:lnTo>
                <a:lnTo>
                  <a:pt x="665" y="602"/>
                </a:lnTo>
                <a:lnTo>
                  <a:pt x="665" y="598"/>
                </a:lnTo>
                <a:lnTo>
                  <a:pt x="663" y="597"/>
                </a:lnTo>
                <a:lnTo>
                  <a:pt x="665" y="595"/>
                </a:lnTo>
                <a:lnTo>
                  <a:pt x="663" y="592"/>
                </a:lnTo>
                <a:lnTo>
                  <a:pt x="665" y="590"/>
                </a:lnTo>
                <a:lnTo>
                  <a:pt x="665" y="588"/>
                </a:lnTo>
                <a:lnTo>
                  <a:pt x="665" y="585"/>
                </a:lnTo>
                <a:lnTo>
                  <a:pt x="668" y="585"/>
                </a:lnTo>
                <a:close/>
                <a:moveTo>
                  <a:pt x="145" y="326"/>
                </a:moveTo>
                <a:lnTo>
                  <a:pt x="146" y="326"/>
                </a:lnTo>
                <a:lnTo>
                  <a:pt x="146" y="328"/>
                </a:lnTo>
                <a:lnTo>
                  <a:pt x="148" y="328"/>
                </a:lnTo>
                <a:lnTo>
                  <a:pt x="148" y="330"/>
                </a:lnTo>
                <a:lnTo>
                  <a:pt x="150" y="331"/>
                </a:lnTo>
                <a:lnTo>
                  <a:pt x="151" y="331"/>
                </a:lnTo>
                <a:lnTo>
                  <a:pt x="151" y="333"/>
                </a:lnTo>
                <a:lnTo>
                  <a:pt x="151" y="337"/>
                </a:lnTo>
                <a:lnTo>
                  <a:pt x="153" y="338"/>
                </a:lnTo>
                <a:lnTo>
                  <a:pt x="151" y="342"/>
                </a:lnTo>
                <a:lnTo>
                  <a:pt x="151" y="343"/>
                </a:lnTo>
                <a:lnTo>
                  <a:pt x="150" y="345"/>
                </a:lnTo>
                <a:lnTo>
                  <a:pt x="150" y="343"/>
                </a:lnTo>
                <a:lnTo>
                  <a:pt x="150" y="340"/>
                </a:lnTo>
                <a:lnTo>
                  <a:pt x="150" y="338"/>
                </a:lnTo>
                <a:lnTo>
                  <a:pt x="148" y="337"/>
                </a:lnTo>
                <a:lnTo>
                  <a:pt x="146" y="335"/>
                </a:lnTo>
                <a:lnTo>
                  <a:pt x="145" y="333"/>
                </a:lnTo>
                <a:lnTo>
                  <a:pt x="145" y="330"/>
                </a:lnTo>
                <a:lnTo>
                  <a:pt x="145" y="328"/>
                </a:lnTo>
                <a:lnTo>
                  <a:pt x="145" y="326"/>
                </a:lnTo>
                <a:close/>
                <a:moveTo>
                  <a:pt x="73" y="217"/>
                </a:moveTo>
                <a:lnTo>
                  <a:pt x="75" y="219"/>
                </a:lnTo>
                <a:lnTo>
                  <a:pt x="75" y="221"/>
                </a:lnTo>
                <a:lnTo>
                  <a:pt x="77" y="221"/>
                </a:lnTo>
                <a:lnTo>
                  <a:pt x="77" y="223"/>
                </a:lnTo>
                <a:lnTo>
                  <a:pt x="78" y="224"/>
                </a:lnTo>
                <a:lnTo>
                  <a:pt x="80" y="224"/>
                </a:lnTo>
                <a:lnTo>
                  <a:pt x="80" y="226"/>
                </a:lnTo>
                <a:lnTo>
                  <a:pt x="78" y="228"/>
                </a:lnTo>
                <a:lnTo>
                  <a:pt x="77" y="226"/>
                </a:lnTo>
                <a:lnTo>
                  <a:pt x="75" y="224"/>
                </a:lnTo>
                <a:lnTo>
                  <a:pt x="73" y="224"/>
                </a:lnTo>
                <a:lnTo>
                  <a:pt x="72" y="223"/>
                </a:lnTo>
                <a:lnTo>
                  <a:pt x="73" y="223"/>
                </a:lnTo>
                <a:lnTo>
                  <a:pt x="72" y="221"/>
                </a:lnTo>
                <a:lnTo>
                  <a:pt x="72" y="219"/>
                </a:lnTo>
                <a:lnTo>
                  <a:pt x="73" y="219"/>
                </a:lnTo>
                <a:lnTo>
                  <a:pt x="73" y="217"/>
                </a:lnTo>
                <a:close/>
                <a:moveTo>
                  <a:pt x="141" y="311"/>
                </a:moveTo>
                <a:lnTo>
                  <a:pt x="143" y="313"/>
                </a:lnTo>
                <a:lnTo>
                  <a:pt x="141" y="313"/>
                </a:lnTo>
                <a:lnTo>
                  <a:pt x="143" y="314"/>
                </a:lnTo>
                <a:lnTo>
                  <a:pt x="145" y="313"/>
                </a:lnTo>
                <a:lnTo>
                  <a:pt x="143" y="313"/>
                </a:lnTo>
                <a:lnTo>
                  <a:pt x="146" y="313"/>
                </a:lnTo>
                <a:lnTo>
                  <a:pt x="145" y="314"/>
                </a:lnTo>
                <a:lnTo>
                  <a:pt x="146" y="314"/>
                </a:lnTo>
                <a:lnTo>
                  <a:pt x="148" y="316"/>
                </a:lnTo>
                <a:lnTo>
                  <a:pt x="150" y="316"/>
                </a:lnTo>
                <a:lnTo>
                  <a:pt x="151" y="318"/>
                </a:lnTo>
                <a:lnTo>
                  <a:pt x="151" y="320"/>
                </a:lnTo>
                <a:lnTo>
                  <a:pt x="153" y="320"/>
                </a:lnTo>
                <a:lnTo>
                  <a:pt x="151" y="320"/>
                </a:lnTo>
                <a:lnTo>
                  <a:pt x="150" y="320"/>
                </a:lnTo>
                <a:lnTo>
                  <a:pt x="148" y="320"/>
                </a:lnTo>
                <a:lnTo>
                  <a:pt x="146" y="318"/>
                </a:lnTo>
                <a:lnTo>
                  <a:pt x="145" y="316"/>
                </a:lnTo>
                <a:lnTo>
                  <a:pt x="143" y="314"/>
                </a:lnTo>
                <a:lnTo>
                  <a:pt x="141" y="314"/>
                </a:lnTo>
                <a:lnTo>
                  <a:pt x="140" y="314"/>
                </a:lnTo>
                <a:lnTo>
                  <a:pt x="140" y="313"/>
                </a:lnTo>
                <a:lnTo>
                  <a:pt x="140" y="311"/>
                </a:lnTo>
                <a:lnTo>
                  <a:pt x="141" y="311"/>
                </a:lnTo>
                <a:close/>
                <a:moveTo>
                  <a:pt x="114" y="251"/>
                </a:moveTo>
                <a:lnTo>
                  <a:pt x="117" y="253"/>
                </a:lnTo>
                <a:lnTo>
                  <a:pt x="116" y="255"/>
                </a:lnTo>
                <a:lnTo>
                  <a:pt x="116" y="253"/>
                </a:lnTo>
                <a:lnTo>
                  <a:pt x="116" y="255"/>
                </a:lnTo>
                <a:lnTo>
                  <a:pt x="117" y="257"/>
                </a:lnTo>
                <a:lnTo>
                  <a:pt x="119" y="257"/>
                </a:lnTo>
                <a:lnTo>
                  <a:pt x="119" y="258"/>
                </a:lnTo>
                <a:lnTo>
                  <a:pt x="119" y="262"/>
                </a:lnTo>
                <a:lnTo>
                  <a:pt x="117" y="260"/>
                </a:lnTo>
                <a:lnTo>
                  <a:pt x="117" y="258"/>
                </a:lnTo>
                <a:lnTo>
                  <a:pt x="116" y="257"/>
                </a:lnTo>
                <a:lnTo>
                  <a:pt x="114" y="257"/>
                </a:lnTo>
                <a:lnTo>
                  <a:pt x="112" y="253"/>
                </a:lnTo>
                <a:lnTo>
                  <a:pt x="112" y="251"/>
                </a:lnTo>
                <a:lnTo>
                  <a:pt x="114" y="251"/>
                </a:lnTo>
                <a:close/>
                <a:moveTo>
                  <a:pt x="106" y="270"/>
                </a:moveTo>
                <a:lnTo>
                  <a:pt x="109" y="272"/>
                </a:lnTo>
                <a:lnTo>
                  <a:pt x="111" y="275"/>
                </a:lnTo>
                <a:lnTo>
                  <a:pt x="109" y="274"/>
                </a:lnTo>
                <a:lnTo>
                  <a:pt x="107" y="274"/>
                </a:lnTo>
                <a:lnTo>
                  <a:pt x="106" y="274"/>
                </a:lnTo>
                <a:lnTo>
                  <a:pt x="104" y="270"/>
                </a:lnTo>
                <a:lnTo>
                  <a:pt x="106" y="270"/>
                </a:lnTo>
                <a:close/>
                <a:moveTo>
                  <a:pt x="4" y="126"/>
                </a:moveTo>
                <a:lnTo>
                  <a:pt x="5" y="127"/>
                </a:lnTo>
                <a:lnTo>
                  <a:pt x="4" y="129"/>
                </a:lnTo>
                <a:lnTo>
                  <a:pt x="2" y="129"/>
                </a:lnTo>
                <a:lnTo>
                  <a:pt x="2" y="127"/>
                </a:lnTo>
                <a:lnTo>
                  <a:pt x="0" y="127"/>
                </a:lnTo>
                <a:lnTo>
                  <a:pt x="2" y="126"/>
                </a:lnTo>
                <a:lnTo>
                  <a:pt x="4" y="127"/>
                </a:lnTo>
                <a:lnTo>
                  <a:pt x="4" y="126"/>
                </a:lnTo>
                <a:close/>
                <a:moveTo>
                  <a:pt x="65" y="197"/>
                </a:moveTo>
                <a:lnTo>
                  <a:pt x="66" y="199"/>
                </a:lnTo>
                <a:lnTo>
                  <a:pt x="68" y="199"/>
                </a:lnTo>
                <a:lnTo>
                  <a:pt x="68" y="200"/>
                </a:lnTo>
                <a:lnTo>
                  <a:pt x="65" y="199"/>
                </a:lnTo>
                <a:lnTo>
                  <a:pt x="65" y="197"/>
                </a:lnTo>
                <a:close/>
                <a:moveTo>
                  <a:pt x="505" y="578"/>
                </a:moveTo>
                <a:lnTo>
                  <a:pt x="505" y="580"/>
                </a:lnTo>
                <a:lnTo>
                  <a:pt x="502" y="581"/>
                </a:lnTo>
                <a:lnTo>
                  <a:pt x="500" y="580"/>
                </a:lnTo>
                <a:lnTo>
                  <a:pt x="503" y="580"/>
                </a:lnTo>
                <a:lnTo>
                  <a:pt x="505" y="578"/>
                </a:lnTo>
                <a:close/>
                <a:moveTo>
                  <a:pt x="519" y="576"/>
                </a:moveTo>
                <a:lnTo>
                  <a:pt x="515" y="580"/>
                </a:lnTo>
                <a:lnTo>
                  <a:pt x="514" y="580"/>
                </a:lnTo>
                <a:lnTo>
                  <a:pt x="515" y="578"/>
                </a:lnTo>
                <a:lnTo>
                  <a:pt x="519" y="576"/>
                </a:lnTo>
                <a:close/>
                <a:moveTo>
                  <a:pt x="174" y="405"/>
                </a:moveTo>
                <a:lnTo>
                  <a:pt x="172" y="403"/>
                </a:lnTo>
                <a:lnTo>
                  <a:pt x="170" y="401"/>
                </a:lnTo>
                <a:lnTo>
                  <a:pt x="170" y="399"/>
                </a:lnTo>
                <a:lnTo>
                  <a:pt x="170" y="398"/>
                </a:lnTo>
                <a:lnTo>
                  <a:pt x="170" y="399"/>
                </a:lnTo>
                <a:lnTo>
                  <a:pt x="172" y="401"/>
                </a:lnTo>
                <a:lnTo>
                  <a:pt x="172" y="403"/>
                </a:lnTo>
                <a:lnTo>
                  <a:pt x="174" y="405"/>
                </a:lnTo>
                <a:close/>
                <a:moveTo>
                  <a:pt x="362" y="1"/>
                </a:moveTo>
                <a:lnTo>
                  <a:pt x="359" y="1"/>
                </a:lnTo>
                <a:lnTo>
                  <a:pt x="355" y="3"/>
                </a:lnTo>
                <a:lnTo>
                  <a:pt x="355" y="1"/>
                </a:lnTo>
                <a:lnTo>
                  <a:pt x="357" y="1"/>
                </a:lnTo>
                <a:lnTo>
                  <a:pt x="359" y="1"/>
                </a:lnTo>
                <a:lnTo>
                  <a:pt x="361" y="1"/>
                </a:lnTo>
                <a:lnTo>
                  <a:pt x="362" y="1"/>
                </a:lnTo>
                <a:close/>
                <a:moveTo>
                  <a:pt x="510" y="580"/>
                </a:moveTo>
                <a:lnTo>
                  <a:pt x="514" y="580"/>
                </a:lnTo>
                <a:lnTo>
                  <a:pt x="514" y="581"/>
                </a:lnTo>
                <a:lnTo>
                  <a:pt x="510" y="580"/>
                </a:lnTo>
                <a:close/>
                <a:moveTo>
                  <a:pt x="253" y="98"/>
                </a:moveTo>
                <a:lnTo>
                  <a:pt x="252" y="98"/>
                </a:lnTo>
                <a:lnTo>
                  <a:pt x="250" y="98"/>
                </a:lnTo>
                <a:lnTo>
                  <a:pt x="252" y="98"/>
                </a:lnTo>
                <a:lnTo>
                  <a:pt x="253" y="98"/>
                </a:lnTo>
                <a:close/>
                <a:moveTo>
                  <a:pt x="94" y="206"/>
                </a:moveTo>
                <a:lnTo>
                  <a:pt x="95" y="207"/>
                </a:lnTo>
                <a:lnTo>
                  <a:pt x="95" y="209"/>
                </a:lnTo>
                <a:lnTo>
                  <a:pt x="94" y="209"/>
                </a:lnTo>
                <a:lnTo>
                  <a:pt x="94" y="206"/>
                </a:lnTo>
                <a:close/>
                <a:moveTo>
                  <a:pt x="168" y="389"/>
                </a:moveTo>
                <a:lnTo>
                  <a:pt x="170" y="389"/>
                </a:lnTo>
                <a:lnTo>
                  <a:pt x="168" y="393"/>
                </a:lnTo>
                <a:lnTo>
                  <a:pt x="168" y="389"/>
                </a:lnTo>
                <a:close/>
                <a:moveTo>
                  <a:pt x="56" y="117"/>
                </a:moveTo>
                <a:lnTo>
                  <a:pt x="56" y="119"/>
                </a:lnTo>
                <a:lnTo>
                  <a:pt x="55" y="117"/>
                </a:lnTo>
                <a:lnTo>
                  <a:pt x="56" y="117"/>
                </a:lnTo>
                <a:close/>
                <a:moveTo>
                  <a:pt x="85" y="219"/>
                </a:moveTo>
                <a:lnTo>
                  <a:pt x="87" y="221"/>
                </a:lnTo>
                <a:lnTo>
                  <a:pt x="85" y="219"/>
                </a:lnTo>
                <a:close/>
                <a:moveTo>
                  <a:pt x="170" y="396"/>
                </a:moveTo>
                <a:lnTo>
                  <a:pt x="170" y="393"/>
                </a:lnTo>
                <a:lnTo>
                  <a:pt x="170" y="391"/>
                </a:lnTo>
                <a:lnTo>
                  <a:pt x="170" y="394"/>
                </a:lnTo>
                <a:lnTo>
                  <a:pt x="170" y="396"/>
                </a:lnTo>
                <a:close/>
                <a:moveTo>
                  <a:pt x="95" y="207"/>
                </a:moveTo>
                <a:lnTo>
                  <a:pt x="97" y="207"/>
                </a:lnTo>
                <a:lnTo>
                  <a:pt x="97" y="209"/>
                </a:lnTo>
                <a:lnTo>
                  <a:pt x="95" y="209"/>
                </a:lnTo>
                <a:lnTo>
                  <a:pt x="95" y="207"/>
                </a:lnTo>
                <a:close/>
                <a:moveTo>
                  <a:pt x="102" y="119"/>
                </a:moveTo>
                <a:lnTo>
                  <a:pt x="104" y="119"/>
                </a:lnTo>
                <a:lnTo>
                  <a:pt x="104" y="120"/>
                </a:lnTo>
                <a:lnTo>
                  <a:pt x="102" y="120"/>
                </a:lnTo>
                <a:lnTo>
                  <a:pt x="102" y="119"/>
                </a:lnTo>
                <a:close/>
                <a:moveTo>
                  <a:pt x="89" y="224"/>
                </a:moveTo>
                <a:lnTo>
                  <a:pt x="90" y="224"/>
                </a:lnTo>
                <a:lnTo>
                  <a:pt x="89" y="224"/>
                </a:lnTo>
                <a:close/>
                <a:moveTo>
                  <a:pt x="456" y="556"/>
                </a:moveTo>
                <a:lnTo>
                  <a:pt x="457" y="558"/>
                </a:lnTo>
                <a:lnTo>
                  <a:pt x="457" y="559"/>
                </a:lnTo>
                <a:lnTo>
                  <a:pt x="456" y="559"/>
                </a:lnTo>
                <a:lnTo>
                  <a:pt x="456" y="556"/>
                </a:lnTo>
                <a:close/>
                <a:moveTo>
                  <a:pt x="155" y="330"/>
                </a:moveTo>
                <a:lnTo>
                  <a:pt x="157" y="330"/>
                </a:lnTo>
                <a:lnTo>
                  <a:pt x="155" y="330"/>
                </a:lnTo>
                <a:close/>
                <a:moveTo>
                  <a:pt x="7" y="158"/>
                </a:moveTo>
                <a:lnTo>
                  <a:pt x="9" y="158"/>
                </a:lnTo>
                <a:lnTo>
                  <a:pt x="9" y="160"/>
                </a:lnTo>
                <a:lnTo>
                  <a:pt x="7" y="160"/>
                </a:lnTo>
                <a:lnTo>
                  <a:pt x="7" y="158"/>
                </a:lnTo>
                <a:close/>
                <a:moveTo>
                  <a:pt x="168" y="391"/>
                </a:moveTo>
                <a:lnTo>
                  <a:pt x="170" y="391"/>
                </a:lnTo>
                <a:lnTo>
                  <a:pt x="168" y="394"/>
                </a:lnTo>
                <a:lnTo>
                  <a:pt x="168" y="391"/>
                </a:lnTo>
                <a:close/>
                <a:moveTo>
                  <a:pt x="459" y="554"/>
                </a:moveTo>
                <a:lnTo>
                  <a:pt x="461" y="554"/>
                </a:lnTo>
                <a:lnTo>
                  <a:pt x="459" y="556"/>
                </a:lnTo>
                <a:lnTo>
                  <a:pt x="459" y="554"/>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63" name="Freeform 29">
            <a:extLst>
              <a:ext uri="{FF2B5EF4-FFF2-40B4-BE49-F238E27FC236}">
                <a16:creationId xmlns:a16="http://schemas.microsoft.com/office/drawing/2014/main" id="{1895B3E4-8BA4-43E5-8A68-AB430A5E934A}"/>
              </a:ext>
            </a:extLst>
          </p:cNvPr>
          <p:cNvSpPr>
            <a:spLocks noEditPoints="1"/>
          </p:cNvSpPr>
          <p:nvPr/>
        </p:nvSpPr>
        <p:spPr bwMode="gray">
          <a:xfrm>
            <a:off x="2474163" y="3828472"/>
            <a:ext cx="602220" cy="399566"/>
          </a:xfrm>
          <a:custGeom>
            <a:avLst/>
            <a:gdLst>
              <a:gd name="T0" fmla="*/ 156 w 221"/>
              <a:gd name="T1" fmla="*/ 11 h 140"/>
              <a:gd name="T2" fmla="*/ 170 w 221"/>
              <a:gd name="T3" fmla="*/ 21 h 140"/>
              <a:gd name="T4" fmla="*/ 180 w 221"/>
              <a:gd name="T5" fmla="*/ 31 h 140"/>
              <a:gd name="T6" fmla="*/ 173 w 221"/>
              <a:gd name="T7" fmla="*/ 45 h 140"/>
              <a:gd name="T8" fmla="*/ 182 w 221"/>
              <a:gd name="T9" fmla="*/ 53 h 140"/>
              <a:gd name="T10" fmla="*/ 190 w 221"/>
              <a:gd name="T11" fmla="*/ 62 h 140"/>
              <a:gd name="T12" fmla="*/ 205 w 221"/>
              <a:gd name="T13" fmla="*/ 67 h 140"/>
              <a:gd name="T14" fmla="*/ 216 w 221"/>
              <a:gd name="T15" fmla="*/ 56 h 140"/>
              <a:gd name="T16" fmla="*/ 219 w 221"/>
              <a:gd name="T17" fmla="*/ 68 h 140"/>
              <a:gd name="T18" fmla="*/ 216 w 221"/>
              <a:gd name="T19" fmla="*/ 82 h 140"/>
              <a:gd name="T20" fmla="*/ 216 w 221"/>
              <a:gd name="T21" fmla="*/ 89 h 140"/>
              <a:gd name="T22" fmla="*/ 205 w 221"/>
              <a:gd name="T23" fmla="*/ 84 h 140"/>
              <a:gd name="T24" fmla="*/ 199 w 221"/>
              <a:gd name="T25" fmla="*/ 94 h 140"/>
              <a:gd name="T26" fmla="*/ 202 w 221"/>
              <a:gd name="T27" fmla="*/ 106 h 140"/>
              <a:gd name="T28" fmla="*/ 197 w 221"/>
              <a:gd name="T29" fmla="*/ 108 h 140"/>
              <a:gd name="T30" fmla="*/ 188 w 221"/>
              <a:gd name="T31" fmla="*/ 102 h 140"/>
              <a:gd name="T32" fmla="*/ 175 w 221"/>
              <a:gd name="T33" fmla="*/ 106 h 140"/>
              <a:gd name="T34" fmla="*/ 171 w 221"/>
              <a:gd name="T35" fmla="*/ 92 h 140"/>
              <a:gd name="T36" fmla="*/ 161 w 221"/>
              <a:gd name="T37" fmla="*/ 94 h 140"/>
              <a:gd name="T38" fmla="*/ 159 w 221"/>
              <a:gd name="T39" fmla="*/ 113 h 140"/>
              <a:gd name="T40" fmla="*/ 151 w 221"/>
              <a:gd name="T41" fmla="*/ 123 h 140"/>
              <a:gd name="T42" fmla="*/ 153 w 221"/>
              <a:gd name="T43" fmla="*/ 135 h 140"/>
              <a:gd name="T44" fmla="*/ 144 w 221"/>
              <a:gd name="T45" fmla="*/ 133 h 140"/>
              <a:gd name="T46" fmla="*/ 141 w 221"/>
              <a:gd name="T47" fmla="*/ 123 h 140"/>
              <a:gd name="T48" fmla="*/ 129 w 221"/>
              <a:gd name="T49" fmla="*/ 118 h 140"/>
              <a:gd name="T50" fmla="*/ 122 w 221"/>
              <a:gd name="T51" fmla="*/ 108 h 140"/>
              <a:gd name="T52" fmla="*/ 119 w 221"/>
              <a:gd name="T53" fmla="*/ 94 h 140"/>
              <a:gd name="T54" fmla="*/ 108 w 221"/>
              <a:gd name="T55" fmla="*/ 104 h 140"/>
              <a:gd name="T56" fmla="*/ 105 w 221"/>
              <a:gd name="T57" fmla="*/ 118 h 140"/>
              <a:gd name="T58" fmla="*/ 93 w 221"/>
              <a:gd name="T59" fmla="*/ 128 h 140"/>
              <a:gd name="T60" fmla="*/ 81 w 221"/>
              <a:gd name="T61" fmla="*/ 128 h 140"/>
              <a:gd name="T62" fmla="*/ 71 w 221"/>
              <a:gd name="T63" fmla="*/ 131 h 140"/>
              <a:gd name="T64" fmla="*/ 54 w 221"/>
              <a:gd name="T65" fmla="*/ 135 h 140"/>
              <a:gd name="T66" fmla="*/ 47 w 221"/>
              <a:gd name="T67" fmla="*/ 121 h 140"/>
              <a:gd name="T68" fmla="*/ 40 w 221"/>
              <a:gd name="T69" fmla="*/ 114 h 140"/>
              <a:gd name="T70" fmla="*/ 42 w 221"/>
              <a:gd name="T71" fmla="*/ 101 h 140"/>
              <a:gd name="T72" fmla="*/ 46 w 221"/>
              <a:gd name="T73" fmla="*/ 92 h 140"/>
              <a:gd name="T74" fmla="*/ 32 w 221"/>
              <a:gd name="T75" fmla="*/ 87 h 140"/>
              <a:gd name="T76" fmla="*/ 17 w 221"/>
              <a:gd name="T77" fmla="*/ 94 h 140"/>
              <a:gd name="T78" fmla="*/ 13 w 221"/>
              <a:gd name="T79" fmla="*/ 104 h 140"/>
              <a:gd name="T80" fmla="*/ 15 w 221"/>
              <a:gd name="T81" fmla="*/ 108 h 140"/>
              <a:gd name="T82" fmla="*/ 0 w 221"/>
              <a:gd name="T83" fmla="*/ 113 h 140"/>
              <a:gd name="T84" fmla="*/ 8 w 221"/>
              <a:gd name="T85" fmla="*/ 102 h 140"/>
              <a:gd name="T86" fmla="*/ 6 w 221"/>
              <a:gd name="T87" fmla="*/ 89 h 140"/>
              <a:gd name="T88" fmla="*/ 15 w 221"/>
              <a:gd name="T89" fmla="*/ 77 h 140"/>
              <a:gd name="T90" fmla="*/ 25 w 221"/>
              <a:gd name="T91" fmla="*/ 67 h 140"/>
              <a:gd name="T92" fmla="*/ 34 w 221"/>
              <a:gd name="T93" fmla="*/ 53 h 140"/>
              <a:gd name="T94" fmla="*/ 44 w 221"/>
              <a:gd name="T95" fmla="*/ 45 h 140"/>
              <a:gd name="T96" fmla="*/ 54 w 221"/>
              <a:gd name="T97" fmla="*/ 33 h 140"/>
              <a:gd name="T98" fmla="*/ 51 w 221"/>
              <a:gd name="T99" fmla="*/ 26 h 140"/>
              <a:gd name="T100" fmla="*/ 64 w 221"/>
              <a:gd name="T101" fmla="*/ 19 h 140"/>
              <a:gd name="T102" fmla="*/ 76 w 221"/>
              <a:gd name="T103" fmla="*/ 22 h 140"/>
              <a:gd name="T104" fmla="*/ 78 w 221"/>
              <a:gd name="T105" fmla="*/ 17 h 140"/>
              <a:gd name="T106" fmla="*/ 86 w 221"/>
              <a:gd name="T107" fmla="*/ 16 h 140"/>
              <a:gd name="T108" fmla="*/ 97 w 221"/>
              <a:gd name="T109" fmla="*/ 14 h 140"/>
              <a:gd name="T110" fmla="*/ 110 w 221"/>
              <a:gd name="T111" fmla="*/ 14 h 140"/>
              <a:gd name="T112" fmla="*/ 124 w 221"/>
              <a:gd name="T113" fmla="*/ 16 h 140"/>
              <a:gd name="T114" fmla="*/ 132 w 221"/>
              <a:gd name="T115" fmla="*/ 11 h 140"/>
              <a:gd name="T116" fmla="*/ 124 w 221"/>
              <a:gd name="T117" fmla="*/ 5 h 140"/>
              <a:gd name="T118" fmla="*/ 132 w 221"/>
              <a:gd name="T119" fmla="*/ 4 h 140"/>
              <a:gd name="T120" fmla="*/ 137 w 221"/>
              <a:gd name="T121" fmla="*/ 9 h 140"/>
              <a:gd name="T122" fmla="*/ 144 w 221"/>
              <a:gd name="T123" fmla="*/ 11 h 140"/>
              <a:gd name="T124" fmla="*/ 146 w 221"/>
              <a:gd name="T125"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1" h="140">
                <a:moveTo>
                  <a:pt x="144" y="11"/>
                </a:moveTo>
                <a:lnTo>
                  <a:pt x="142" y="11"/>
                </a:lnTo>
                <a:lnTo>
                  <a:pt x="144" y="11"/>
                </a:lnTo>
                <a:lnTo>
                  <a:pt x="148" y="11"/>
                </a:lnTo>
                <a:lnTo>
                  <a:pt x="151" y="9"/>
                </a:lnTo>
                <a:lnTo>
                  <a:pt x="153" y="9"/>
                </a:lnTo>
                <a:lnTo>
                  <a:pt x="154" y="11"/>
                </a:lnTo>
                <a:lnTo>
                  <a:pt x="156" y="11"/>
                </a:lnTo>
                <a:lnTo>
                  <a:pt x="158" y="11"/>
                </a:lnTo>
                <a:lnTo>
                  <a:pt x="159" y="12"/>
                </a:lnTo>
                <a:lnTo>
                  <a:pt x="161" y="12"/>
                </a:lnTo>
                <a:lnTo>
                  <a:pt x="163" y="14"/>
                </a:lnTo>
                <a:lnTo>
                  <a:pt x="165" y="16"/>
                </a:lnTo>
                <a:lnTo>
                  <a:pt x="168" y="17"/>
                </a:lnTo>
                <a:lnTo>
                  <a:pt x="168" y="19"/>
                </a:lnTo>
                <a:lnTo>
                  <a:pt x="170" y="21"/>
                </a:lnTo>
                <a:lnTo>
                  <a:pt x="171" y="22"/>
                </a:lnTo>
                <a:lnTo>
                  <a:pt x="175" y="22"/>
                </a:lnTo>
                <a:lnTo>
                  <a:pt x="176" y="22"/>
                </a:lnTo>
                <a:lnTo>
                  <a:pt x="178" y="24"/>
                </a:lnTo>
                <a:lnTo>
                  <a:pt x="180" y="26"/>
                </a:lnTo>
                <a:lnTo>
                  <a:pt x="180" y="29"/>
                </a:lnTo>
                <a:lnTo>
                  <a:pt x="182" y="29"/>
                </a:lnTo>
                <a:lnTo>
                  <a:pt x="180" y="31"/>
                </a:lnTo>
                <a:lnTo>
                  <a:pt x="178" y="33"/>
                </a:lnTo>
                <a:lnTo>
                  <a:pt x="176" y="34"/>
                </a:lnTo>
                <a:lnTo>
                  <a:pt x="175" y="36"/>
                </a:lnTo>
                <a:lnTo>
                  <a:pt x="175" y="38"/>
                </a:lnTo>
                <a:lnTo>
                  <a:pt x="173" y="39"/>
                </a:lnTo>
                <a:lnTo>
                  <a:pt x="173" y="41"/>
                </a:lnTo>
                <a:lnTo>
                  <a:pt x="171" y="45"/>
                </a:lnTo>
                <a:lnTo>
                  <a:pt x="173" y="45"/>
                </a:lnTo>
                <a:lnTo>
                  <a:pt x="173" y="48"/>
                </a:lnTo>
                <a:lnTo>
                  <a:pt x="173" y="50"/>
                </a:lnTo>
                <a:lnTo>
                  <a:pt x="173" y="51"/>
                </a:lnTo>
                <a:lnTo>
                  <a:pt x="171" y="53"/>
                </a:lnTo>
                <a:lnTo>
                  <a:pt x="175" y="53"/>
                </a:lnTo>
                <a:lnTo>
                  <a:pt x="178" y="53"/>
                </a:lnTo>
                <a:lnTo>
                  <a:pt x="180" y="53"/>
                </a:lnTo>
                <a:lnTo>
                  <a:pt x="182" y="53"/>
                </a:lnTo>
                <a:lnTo>
                  <a:pt x="183" y="53"/>
                </a:lnTo>
                <a:lnTo>
                  <a:pt x="185" y="55"/>
                </a:lnTo>
                <a:lnTo>
                  <a:pt x="187" y="55"/>
                </a:lnTo>
                <a:lnTo>
                  <a:pt x="188" y="56"/>
                </a:lnTo>
                <a:lnTo>
                  <a:pt x="190" y="55"/>
                </a:lnTo>
                <a:lnTo>
                  <a:pt x="192" y="58"/>
                </a:lnTo>
                <a:lnTo>
                  <a:pt x="190" y="60"/>
                </a:lnTo>
                <a:lnTo>
                  <a:pt x="190" y="62"/>
                </a:lnTo>
                <a:lnTo>
                  <a:pt x="192" y="62"/>
                </a:lnTo>
                <a:lnTo>
                  <a:pt x="193" y="63"/>
                </a:lnTo>
                <a:lnTo>
                  <a:pt x="195" y="63"/>
                </a:lnTo>
                <a:lnTo>
                  <a:pt x="197" y="63"/>
                </a:lnTo>
                <a:lnTo>
                  <a:pt x="199" y="67"/>
                </a:lnTo>
                <a:lnTo>
                  <a:pt x="200" y="67"/>
                </a:lnTo>
                <a:lnTo>
                  <a:pt x="202" y="68"/>
                </a:lnTo>
                <a:lnTo>
                  <a:pt x="205" y="67"/>
                </a:lnTo>
                <a:lnTo>
                  <a:pt x="207" y="67"/>
                </a:lnTo>
                <a:lnTo>
                  <a:pt x="207" y="65"/>
                </a:lnTo>
                <a:lnTo>
                  <a:pt x="209" y="62"/>
                </a:lnTo>
                <a:lnTo>
                  <a:pt x="210" y="63"/>
                </a:lnTo>
                <a:lnTo>
                  <a:pt x="212" y="62"/>
                </a:lnTo>
                <a:lnTo>
                  <a:pt x="212" y="60"/>
                </a:lnTo>
                <a:lnTo>
                  <a:pt x="214" y="58"/>
                </a:lnTo>
                <a:lnTo>
                  <a:pt x="216" y="56"/>
                </a:lnTo>
                <a:lnTo>
                  <a:pt x="217" y="58"/>
                </a:lnTo>
                <a:lnTo>
                  <a:pt x="217" y="60"/>
                </a:lnTo>
                <a:lnTo>
                  <a:pt x="219" y="60"/>
                </a:lnTo>
                <a:lnTo>
                  <a:pt x="221" y="62"/>
                </a:lnTo>
                <a:lnTo>
                  <a:pt x="221" y="63"/>
                </a:lnTo>
                <a:lnTo>
                  <a:pt x="219" y="65"/>
                </a:lnTo>
                <a:lnTo>
                  <a:pt x="219" y="67"/>
                </a:lnTo>
                <a:lnTo>
                  <a:pt x="219" y="68"/>
                </a:lnTo>
                <a:lnTo>
                  <a:pt x="219" y="70"/>
                </a:lnTo>
                <a:lnTo>
                  <a:pt x="217" y="72"/>
                </a:lnTo>
                <a:lnTo>
                  <a:pt x="217" y="74"/>
                </a:lnTo>
                <a:lnTo>
                  <a:pt x="216" y="75"/>
                </a:lnTo>
                <a:lnTo>
                  <a:pt x="217" y="77"/>
                </a:lnTo>
                <a:lnTo>
                  <a:pt x="216" y="79"/>
                </a:lnTo>
                <a:lnTo>
                  <a:pt x="216" y="80"/>
                </a:lnTo>
                <a:lnTo>
                  <a:pt x="216" y="82"/>
                </a:lnTo>
                <a:lnTo>
                  <a:pt x="219" y="82"/>
                </a:lnTo>
                <a:lnTo>
                  <a:pt x="221" y="84"/>
                </a:lnTo>
                <a:lnTo>
                  <a:pt x="221" y="85"/>
                </a:lnTo>
                <a:lnTo>
                  <a:pt x="219" y="87"/>
                </a:lnTo>
                <a:lnTo>
                  <a:pt x="219" y="89"/>
                </a:lnTo>
                <a:lnTo>
                  <a:pt x="219" y="91"/>
                </a:lnTo>
                <a:lnTo>
                  <a:pt x="217" y="89"/>
                </a:lnTo>
                <a:lnTo>
                  <a:pt x="216" y="89"/>
                </a:lnTo>
                <a:lnTo>
                  <a:pt x="214" y="89"/>
                </a:lnTo>
                <a:lnTo>
                  <a:pt x="210" y="89"/>
                </a:lnTo>
                <a:lnTo>
                  <a:pt x="210" y="87"/>
                </a:lnTo>
                <a:lnTo>
                  <a:pt x="209" y="87"/>
                </a:lnTo>
                <a:lnTo>
                  <a:pt x="209" y="84"/>
                </a:lnTo>
                <a:lnTo>
                  <a:pt x="209" y="82"/>
                </a:lnTo>
                <a:lnTo>
                  <a:pt x="207" y="84"/>
                </a:lnTo>
                <a:lnTo>
                  <a:pt x="205" y="84"/>
                </a:lnTo>
                <a:lnTo>
                  <a:pt x="204" y="84"/>
                </a:lnTo>
                <a:lnTo>
                  <a:pt x="204" y="85"/>
                </a:lnTo>
                <a:lnTo>
                  <a:pt x="202" y="84"/>
                </a:lnTo>
                <a:lnTo>
                  <a:pt x="202" y="87"/>
                </a:lnTo>
                <a:lnTo>
                  <a:pt x="200" y="87"/>
                </a:lnTo>
                <a:lnTo>
                  <a:pt x="199" y="89"/>
                </a:lnTo>
                <a:lnTo>
                  <a:pt x="199" y="91"/>
                </a:lnTo>
                <a:lnTo>
                  <a:pt x="199" y="94"/>
                </a:lnTo>
                <a:lnTo>
                  <a:pt x="199" y="96"/>
                </a:lnTo>
                <a:lnTo>
                  <a:pt x="200" y="97"/>
                </a:lnTo>
                <a:lnTo>
                  <a:pt x="204" y="97"/>
                </a:lnTo>
                <a:lnTo>
                  <a:pt x="205" y="99"/>
                </a:lnTo>
                <a:lnTo>
                  <a:pt x="205" y="101"/>
                </a:lnTo>
                <a:lnTo>
                  <a:pt x="204" y="101"/>
                </a:lnTo>
                <a:lnTo>
                  <a:pt x="202" y="102"/>
                </a:lnTo>
                <a:lnTo>
                  <a:pt x="202" y="106"/>
                </a:lnTo>
                <a:lnTo>
                  <a:pt x="204" y="106"/>
                </a:lnTo>
                <a:lnTo>
                  <a:pt x="205" y="109"/>
                </a:lnTo>
                <a:lnTo>
                  <a:pt x="204" y="111"/>
                </a:lnTo>
                <a:lnTo>
                  <a:pt x="200" y="113"/>
                </a:lnTo>
                <a:lnTo>
                  <a:pt x="199" y="111"/>
                </a:lnTo>
                <a:lnTo>
                  <a:pt x="199" y="109"/>
                </a:lnTo>
                <a:lnTo>
                  <a:pt x="199" y="108"/>
                </a:lnTo>
                <a:lnTo>
                  <a:pt x="197" y="108"/>
                </a:lnTo>
                <a:lnTo>
                  <a:pt x="197" y="106"/>
                </a:lnTo>
                <a:lnTo>
                  <a:pt x="195" y="104"/>
                </a:lnTo>
                <a:lnTo>
                  <a:pt x="197" y="102"/>
                </a:lnTo>
                <a:lnTo>
                  <a:pt x="195" y="101"/>
                </a:lnTo>
                <a:lnTo>
                  <a:pt x="193" y="101"/>
                </a:lnTo>
                <a:lnTo>
                  <a:pt x="192" y="101"/>
                </a:lnTo>
                <a:lnTo>
                  <a:pt x="190" y="102"/>
                </a:lnTo>
                <a:lnTo>
                  <a:pt x="188" y="102"/>
                </a:lnTo>
                <a:lnTo>
                  <a:pt x="187" y="104"/>
                </a:lnTo>
                <a:lnTo>
                  <a:pt x="183" y="102"/>
                </a:lnTo>
                <a:lnTo>
                  <a:pt x="183" y="106"/>
                </a:lnTo>
                <a:lnTo>
                  <a:pt x="183" y="108"/>
                </a:lnTo>
                <a:lnTo>
                  <a:pt x="182" y="106"/>
                </a:lnTo>
                <a:lnTo>
                  <a:pt x="178" y="108"/>
                </a:lnTo>
                <a:lnTo>
                  <a:pt x="176" y="106"/>
                </a:lnTo>
                <a:lnTo>
                  <a:pt x="175" y="106"/>
                </a:lnTo>
                <a:lnTo>
                  <a:pt x="173" y="104"/>
                </a:lnTo>
                <a:lnTo>
                  <a:pt x="173" y="101"/>
                </a:lnTo>
                <a:lnTo>
                  <a:pt x="171" y="101"/>
                </a:lnTo>
                <a:lnTo>
                  <a:pt x="171" y="99"/>
                </a:lnTo>
                <a:lnTo>
                  <a:pt x="170" y="97"/>
                </a:lnTo>
                <a:lnTo>
                  <a:pt x="171" y="94"/>
                </a:lnTo>
                <a:lnTo>
                  <a:pt x="170" y="94"/>
                </a:lnTo>
                <a:lnTo>
                  <a:pt x="171" y="92"/>
                </a:lnTo>
                <a:lnTo>
                  <a:pt x="170" y="92"/>
                </a:lnTo>
                <a:lnTo>
                  <a:pt x="168" y="94"/>
                </a:lnTo>
                <a:lnTo>
                  <a:pt x="166" y="92"/>
                </a:lnTo>
                <a:lnTo>
                  <a:pt x="166" y="91"/>
                </a:lnTo>
                <a:lnTo>
                  <a:pt x="166" y="92"/>
                </a:lnTo>
                <a:lnTo>
                  <a:pt x="163" y="92"/>
                </a:lnTo>
                <a:lnTo>
                  <a:pt x="161" y="92"/>
                </a:lnTo>
                <a:lnTo>
                  <a:pt x="161" y="94"/>
                </a:lnTo>
                <a:lnTo>
                  <a:pt x="159" y="97"/>
                </a:lnTo>
                <a:lnTo>
                  <a:pt x="161" y="97"/>
                </a:lnTo>
                <a:lnTo>
                  <a:pt x="161" y="101"/>
                </a:lnTo>
                <a:lnTo>
                  <a:pt x="163" y="104"/>
                </a:lnTo>
                <a:lnTo>
                  <a:pt x="161" y="106"/>
                </a:lnTo>
                <a:lnTo>
                  <a:pt x="159" y="108"/>
                </a:lnTo>
                <a:lnTo>
                  <a:pt x="159" y="111"/>
                </a:lnTo>
                <a:lnTo>
                  <a:pt x="159" y="113"/>
                </a:lnTo>
                <a:lnTo>
                  <a:pt x="158" y="113"/>
                </a:lnTo>
                <a:lnTo>
                  <a:pt x="158" y="114"/>
                </a:lnTo>
                <a:lnTo>
                  <a:pt x="156" y="114"/>
                </a:lnTo>
                <a:lnTo>
                  <a:pt x="154" y="116"/>
                </a:lnTo>
                <a:lnTo>
                  <a:pt x="154" y="118"/>
                </a:lnTo>
                <a:lnTo>
                  <a:pt x="151" y="119"/>
                </a:lnTo>
                <a:lnTo>
                  <a:pt x="153" y="121"/>
                </a:lnTo>
                <a:lnTo>
                  <a:pt x="151" y="123"/>
                </a:lnTo>
                <a:lnTo>
                  <a:pt x="149" y="123"/>
                </a:lnTo>
                <a:lnTo>
                  <a:pt x="148" y="125"/>
                </a:lnTo>
                <a:lnTo>
                  <a:pt x="149" y="128"/>
                </a:lnTo>
                <a:lnTo>
                  <a:pt x="148" y="130"/>
                </a:lnTo>
                <a:lnTo>
                  <a:pt x="149" y="130"/>
                </a:lnTo>
                <a:lnTo>
                  <a:pt x="149" y="131"/>
                </a:lnTo>
                <a:lnTo>
                  <a:pt x="151" y="133"/>
                </a:lnTo>
                <a:lnTo>
                  <a:pt x="153" y="135"/>
                </a:lnTo>
                <a:lnTo>
                  <a:pt x="151" y="136"/>
                </a:lnTo>
                <a:lnTo>
                  <a:pt x="149" y="140"/>
                </a:lnTo>
                <a:lnTo>
                  <a:pt x="148" y="140"/>
                </a:lnTo>
                <a:lnTo>
                  <a:pt x="148" y="138"/>
                </a:lnTo>
                <a:lnTo>
                  <a:pt x="146" y="138"/>
                </a:lnTo>
                <a:lnTo>
                  <a:pt x="144" y="138"/>
                </a:lnTo>
                <a:lnTo>
                  <a:pt x="146" y="136"/>
                </a:lnTo>
                <a:lnTo>
                  <a:pt x="144" y="133"/>
                </a:lnTo>
                <a:lnTo>
                  <a:pt x="142" y="131"/>
                </a:lnTo>
                <a:lnTo>
                  <a:pt x="142" y="130"/>
                </a:lnTo>
                <a:lnTo>
                  <a:pt x="141" y="130"/>
                </a:lnTo>
                <a:lnTo>
                  <a:pt x="139" y="128"/>
                </a:lnTo>
                <a:lnTo>
                  <a:pt x="137" y="128"/>
                </a:lnTo>
                <a:lnTo>
                  <a:pt x="139" y="125"/>
                </a:lnTo>
                <a:lnTo>
                  <a:pt x="139" y="123"/>
                </a:lnTo>
                <a:lnTo>
                  <a:pt x="141" y="123"/>
                </a:lnTo>
                <a:lnTo>
                  <a:pt x="141" y="121"/>
                </a:lnTo>
                <a:lnTo>
                  <a:pt x="139" y="119"/>
                </a:lnTo>
                <a:lnTo>
                  <a:pt x="136" y="119"/>
                </a:lnTo>
                <a:lnTo>
                  <a:pt x="136" y="118"/>
                </a:lnTo>
                <a:lnTo>
                  <a:pt x="134" y="119"/>
                </a:lnTo>
                <a:lnTo>
                  <a:pt x="131" y="119"/>
                </a:lnTo>
                <a:lnTo>
                  <a:pt x="131" y="118"/>
                </a:lnTo>
                <a:lnTo>
                  <a:pt x="129" y="118"/>
                </a:lnTo>
                <a:lnTo>
                  <a:pt x="129" y="116"/>
                </a:lnTo>
                <a:lnTo>
                  <a:pt x="127" y="114"/>
                </a:lnTo>
                <a:lnTo>
                  <a:pt x="125" y="113"/>
                </a:lnTo>
                <a:lnTo>
                  <a:pt x="125" y="111"/>
                </a:lnTo>
                <a:lnTo>
                  <a:pt x="124" y="111"/>
                </a:lnTo>
                <a:lnTo>
                  <a:pt x="122" y="111"/>
                </a:lnTo>
                <a:lnTo>
                  <a:pt x="120" y="109"/>
                </a:lnTo>
                <a:lnTo>
                  <a:pt x="122" y="108"/>
                </a:lnTo>
                <a:lnTo>
                  <a:pt x="120" y="106"/>
                </a:lnTo>
                <a:lnTo>
                  <a:pt x="122" y="102"/>
                </a:lnTo>
                <a:lnTo>
                  <a:pt x="122" y="101"/>
                </a:lnTo>
                <a:lnTo>
                  <a:pt x="122" y="99"/>
                </a:lnTo>
                <a:lnTo>
                  <a:pt x="122" y="97"/>
                </a:lnTo>
                <a:lnTo>
                  <a:pt x="122" y="96"/>
                </a:lnTo>
                <a:lnTo>
                  <a:pt x="120" y="94"/>
                </a:lnTo>
                <a:lnTo>
                  <a:pt x="119" y="94"/>
                </a:lnTo>
                <a:lnTo>
                  <a:pt x="117" y="94"/>
                </a:lnTo>
                <a:lnTo>
                  <a:pt x="115" y="96"/>
                </a:lnTo>
                <a:lnTo>
                  <a:pt x="114" y="97"/>
                </a:lnTo>
                <a:lnTo>
                  <a:pt x="115" y="99"/>
                </a:lnTo>
                <a:lnTo>
                  <a:pt x="112" y="101"/>
                </a:lnTo>
                <a:lnTo>
                  <a:pt x="112" y="102"/>
                </a:lnTo>
                <a:lnTo>
                  <a:pt x="110" y="102"/>
                </a:lnTo>
                <a:lnTo>
                  <a:pt x="108" y="104"/>
                </a:lnTo>
                <a:lnTo>
                  <a:pt x="107" y="104"/>
                </a:lnTo>
                <a:lnTo>
                  <a:pt x="105" y="106"/>
                </a:lnTo>
                <a:lnTo>
                  <a:pt x="103" y="108"/>
                </a:lnTo>
                <a:lnTo>
                  <a:pt x="105" y="109"/>
                </a:lnTo>
                <a:lnTo>
                  <a:pt x="107" y="111"/>
                </a:lnTo>
                <a:lnTo>
                  <a:pt x="107" y="113"/>
                </a:lnTo>
                <a:lnTo>
                  <a:pt x="107" y="116"/>
                </a:lnTo>
                <a:lnTo>
                  <a:pt x="105" y="118"/>
                </a:lnTo>
                <a:lnTo>
                  <a:pt x="102" y="119"/>
                </a:lnTo>
                <a:lnTo>
                  <a:pt x="100" y="121"/>
                </a:lnTo>
                <a:lnTo>
                  <a:pt x="102" y="123"/>
                </a:lnTo>
                <a:lnTo>
                  <a:pt x="100" y="125"/>
                </a:lnTo>
                <a:lnTo>
                  <a:pt x="98" y="126"/>
                </a:lnTo>
                <a:lnTo>
                  <a:pt x="97" y="126"/>
                </a:lnTo>
                <a:lnTo>
                  <a:pt x="95" y="126"/>
                </a:lnTo>
                <a:lnTo>
                  <a:pt x="93" y="128"/>
                </a:lnTo>
                <a:lnTo>
                  <a:pt x="93" y="130"/>
                </a:lnTo>
                <a:lnTo>
                  <a:pt x="93" y="131"/>
                </a:lnTo>
                <a:lnTo>
                  <a:pt x="90" y="131"/>
                </a:lnTo>
                <a:lnTo>
                  <a:pt x="86" y="130"/>
                </a:lnTo>
                <a:lnTo>
                  <a:pt x="85" y="131"/>
                </a:lnTo>
                <a:lnTo>
                  <a:pt x="85" y="130"/>
                </a:lnTo>
                <a:lnTo>
                  <a:pt x="83" y="128"/>
                </a:lnTo>
                <a:lnTo>
                  <a:pt x="81" y="128"/>
                </a:lnTo>
                <a:lnTo>
                  <a:pt x="80" y="128"/>
                </a:lnTo>
                <a:lnTo>
                  <a:pt x="78" y="126"/>
                </a:lnTo>
                <a:lnTo>
                  <a:pt x="76" y="126"/>
                </a:lnTo>
                <a:lnTo>
                  <a:pt x="76" y="128"/>
                </a:lnTo>
                <a:lnTo>
                  <a:pt x="74" y="128"/>
                </a:lnTo>
                <a:lnTo>
                  <a:pt x="73" y="130"/>
                </a:lnTo>
                <a:lnTo>
                  <a:pt x="71" y="130"/>
                </a:lnTo>
                <a:lnTo>
                  <a:pt x="71" y="131"/>
                </a:lnTo>
                <a:lnTo>
                  <a:pt x="69" y="131"/>
                </a:lnTo>
                <a:lnTo>
                  <a:pt x="66" y="131"/>
                </a:lnTo>
                <a:lnTo>
                  <a:pt x="64" y="130"/>
                </a:lnTo>
                <a:lnTo>
                  <a:pt x="63" y="133"/>
                </a:lnTo>
                <a:lnTo>
                  <a:pt x="61" y="133"/>
                </a:lnTo>
                <a:lnTo>
                  <a:pt x="59" y="135"/>
                </a:lnTo>
                <a:lnTo>
                  <a:pt x="57" y="133"/>
                </a:lnTo>
                <a:lnTo>
                  <a:pt x="54" y="135"/>
                </a:lnTo>
                <a:lnTo>
                  <a:pt x="54" y="133"/>
                </a:lnTo>
                <a:lnTo>
                  <a:pt x="52" y="130"/>
                </a:lnTo>
                <a:lnTo>
                  <a:pt x="52" y="128"/>
                </a:lnTo>
                <a:lnTo>
                  <a:pt x="51" y="126"/>
                </a:lnTo>
                <a:lnTo>
                  <a:pt x="51" y="125"/>
                </a:lnTo>
                <a:lnTo>
                  <a:pt x="49" y="125"/>
                </a:lnTo>
                <a:lnTo>
                  <a:pt x="49" y="123"/>
                </a:lnTo>
                <a:lnTo>
                  <a:pt x="47" y="121"/>
                </a:lnTo>
                <a:lnTo>
                  <a:pt x="47" y="119"/>
                </a:lnTo>
                <a:lnTo>
                  <a:pt x="46" y="121"/>
                </a:lnTo>
                <a:lnTo>
                  <a:pt x="44" y="121"/>
                </a:lnTo>
                <a:lnTo>
                  <a:pt x="46" y="119"/>
                </a:lnTo>
                <a:lnTo>
                  <a:pt x="46" y="118"/>
                </a:lnTo>
                <a:lnTo>
                  <a:pt x="46" y="116"/>
                </a:lnTo>
                <a:lnTo>
                  <a:pt x="42" y="114"/>
                </a:lnTo>
                <a:lnTo>
                  <a:pt x="40" y="114"/>
                </a:lnTo>
                <a:lnTo>
                  <a:pt x="40" y="113"/>
                </a:lnTo>
                <a:lnTo>
                  <a:pt x="42" y="111"/>
                </a:lnTo>
                <a:lnTo>
                  <a:pt x="40" y="109"/>
                </a:lnTo>
                <a:lnTo>
                  <a:pt x="42" y="108"/>
                </a:lnTo>
                <a:lnTo>
                  <a:pt x="44" y="106"/>
                </a:lnTo>
                <a:lnTo>
                  <a:pt x="44" y="104"/>
                </a:lnTo>
                <a:lnTo>
                  <a:pt x="42" y="102"/>
                </a:lnTo>
                <a:lnTo>
                  <a:pt x="42" y="101"/>
                </a:lnTo>
                <a:lnTo>
                  <a:pt x="40" y="99"/>
                </a:lnTo>
                <a:lnTo>
                  <a:pt x="42" y="97"/>
                </a:lnTo>
                <a:lnTo>
                  <a:pt x="42" y="96"/>
                </a:lnTo>
                <a:lnTo>
                  <a:pt x="44" y="97"/>
                </a:lnTo>
                <a:lnTo>
                  <a:pt x="46" y="96"/>
                </a:lnTo>
                <a:lnTo>
                  <a:pt x="47" y="96"/>
                </a:lnTo>
                <a:lnTo>
                  <a:pt x="47" y="94"/>
                </a:lnTo>
                <a:lnTo>
                  <a:pt x="46" y="92"/>
                </a:lnTo>
                <a:lnTo>
                  <a:pt x="44" y="92"/>
                </a:lnTo>
                <a:lnTo>
                  <a:pt x="44" y="91"/>
                </a:lnTo>
                <a:lnTo>
                  <a:pt x="40" y="91"/>
                </a:lnTo>
                <a:lnTo>
                  <a:pt x="39" y="89"/>
                </a:lnTo>
                <a:lnTo>
                  <a:pt x="35" y="89"/>
                </a:lnTo>
                <a:lnTo>
                  <a:pt x="34" y="89"/>
                </a:lnTo>
                <a:lnTo>
                  <a:pt x="34" y="87"/>
                </a:lnTo>
                <a:lnTo>
                  <a:pt x="32" y="87"/>
                </a:lnTo>
                <a:lnTo>
                  <a:pt x="30" y="87"/>
                </a:lnTo>
                <a:lnTo>
                  <a:pt x="29" y="87"/>
                </a:lnTo>
                <a:lnTo>
                  <a:pt x="25" y="89"/>
                </a:lnTo>
                <a:lnTo>
                  <a:pt x="23" y="91"/>
                </a:lnTo>
                <a:lnTo>
                  <a:pt x="20" y="91"/>
                </a:lnTo>
                <a:lnTo>
                  <a:pt x="18" y="92"/>
                </a:lnTo>
                <a:lnTo>
                  <a:pt x="17" y="92"/>
                </a:lnTo>
                <a:lnTo>
                  <a:pt x="17" y="94"/>
                </a:lnTo>
                <a:lnTo>
                  <a:pt x="15" y="96"/>
                </a:lnTo>
                <a:lnTo>
                  <a:pt x="13" y="97"/>
                </a:lnTo>
                <a:lnTo>
                  <a:pt x="12" y="101"/>
                </a:lnTo>
                <a:lnTo>
                  <a:pt x="10" y="104"/>
                </a:lnTo>
                <a:lnTo>
                  <a:pt x="10" y="108"/>
                </a:lnTo>
                <a:lnTo>
                  <a:pt x="12" y="106"/>
                </a:lnTo>
                <a:lnTo>
                  <a:pt x="12" y="104"/>
                </a:lnTo>
                <a:lnTo>
                  <a:pt x="13" y="104"/>
                </a:lnTo>
                <a:lnTo>
                  <a:pt x="13" y="102"/>
                </a:lnTo>
                <a:lnTo>
                  <a:pt x="15" y="101"/>
                </a:lnTo>
                <a:lnTo>
                  <a:pt x="15" y="102"/>
                </a:lnTo>
                <a:lnTo>
                  <a:pt x="13" y="102"/>
                </a:lnTo>
                <a:lnTo>
                  <a:pt x="15" y="104"/>
                </a:lnTo>
                <a:lnTo>
                  <a:pt x="17" y="104"/>
                </a:lnTo>
                <a:lnTo>
                  <a:pt x="17" y="108"/>
                </a:lnTo>
                <a:lnTo>
                  <a:pt x="15" y="108"/>
                </a:lnTo>
                <a:lnTo>
                  <a:pt x="13" y="108"/>
                </a:lnTo>
                <a:lnTo>
                  <a:pt x="12" y="111"/>
                </a:lnTo>
                <a:lnTo>
                  <a:pt x="8" y="113"/>
                </a:lnTo>
                <a:lnTo>
                  <a:pt x="6" y="111"/>
                </a:lnTo>
                <a:lnTo>
                  <a:pt x="5" y="111"/>
                </a:lnTo>
                <a:lnTo>
                  <a:pt x="3" y="113"/>
                </a:lnTo>
                <a:lnTo>
                  <a:pt x="1" y="111"/>
                </a:lnTo>
                <a:lnTo>
                  <a:pt x="0" y="113"/>
                </a:lnTo>
                <a:lnTo>
                  <a:pt x="1" y="109"/>
                </a:lnTo>
                <a:lnTo>
                  <a:pt x="0" y="108"/>
                </a:lnTo>
                <a:lnTo>
                  <a:pt x="1" y="108"/>
                </a:lnTo>
                <a:lnTo>
                  <a:pt x="5" y="106"/>
                </a:lnTo>
                <a:lnTo>
                  <a:pt x="5" y="104"/>
                </a:lnTo>
                <a:lnTo>
                  <a:pt x="6" y="106"/>
                </a:lnTo>
                <a:lnTo>
                  <a:pt x="8" y="104"/>
                </a:lnTo>
                <a:lnTo>
                  <a:pt x="8" y="102"/>
                </a:lnTo>
                <a:lnTo>
                  <a:pt x="8" y="101"/>
                </a:lnTo>
                <a:lnTo>
                  <a:pt x="10" y="99"/>
                </a:lnTo>
                <a:lnTo>
                  <a:pt x="12" y="97"/>
                </a:lnTo>
                <a:lnTo>
                  <a:pt x="10" y="96"/>
                </a:lnTo>
                <a:lnTo>
                  <a:pt x="8" y="94"/>
                </a:lnTo>
                <a:lnTo>
                  <a:pt x="6" y="92"/>
                </a:lnTo>
                <a:lnTo>
                  <a:pt x="8" y="91"/>
                </a:lnTo>
                <a:lnTo>
                  <a:pt x="6" y="89"/>
                </a:lnTo>
                <a:lnTo>
                  <a:pt x="8" y="89"/>
                </a:lnTo>
                <a:lnTo>
                  <a:pt x="8" y="87"/>
                </a:lnTo>
                <a:lnTo>
                  <a:pt x="10" y="85"/>
                </a:lnTo>
                <a:lnTo>
                  <a:pt x="12" y="84"/>
                </a:lnTo>
                <a:lnTo>
                  <a:pt x="8" y="82"/>
                </a:lnTo>
                <a:lnTo>
                  <a:pt x="10" y="80"/>
                </a:lnTo>
                <a:lnTo>
                  <a:pt x="13" y="79"/>
                </a:lnTo>
                <a:lnTo>
                  <a:pt x="15" y="77"/>
                </a:lnTo>
                <a:lnTo>
                  <a:pt x="17" y="75"/>
                </a:lnTo>
                <a:lnTo>
                  <a:pt x="18" y="74"/>
                </a:lnTo>
                <a:lnTo>
                  <a:pt x="20" y="74"/>
                </a:lnTo>
                <a:lnTo>
                  <a:pt x="22" y="72"/>
                </a:lnTo>
                <a:lnTo>
                  <a:pt x="23" y="70"/>
                </a:lnTo>
                <a:lnTo>
                  <a:pt x="25" y="70"/>
                </a:lnTo>
                <a:lnTo>
                  <a:pt x="27" y="68"/>
                </a:lnTo>
                <a:lnTo>
                  <a:pt x="25" y="67"/>
                </a:lnTo>
                <a:lnTo>
                  <a:pt x="27" y="63"/>
                </a:lnTo>
                <a:lnTo>
                  <a:pt x="27" y="60"/>
                </a:lnTo>
                <a:lnTo>
                  <a:pt x="25" y="58"/>
                </a:lnTo>
                <a:lnTo>
                  <a:pt x="27" y="56"/>
                </a:lnTo>
                <a:lnTo>
                  <a:pt x="29" y="55"/>
                </a:lnTo>
                <a:lnTo>
                  <a:pt x="30" y="55"/>
                </a:lnTo>
                <a:lnTo>
                  <a:pt x="32" y="55"/>
                </a:lnTo>
                <a:lnTo>
                  <a:pt x="34" y="53"/>
                </a:lnTo>
                <a:lnTo>
                  <a:pt x="35" y="53"/>
                </a:lnTo>
                <a:lnTo>
                  <a:pt x="37" y="51"/>
                </a:lnTo>
                <a:lnTo>
                  <a:pt x="39" y="51"/>
                </a:lnTo>
                <a:lnTo>
                  <a:pt x="40" y="50"/>
                </a:lnTo>
                <a:lnTo>
                  <a:pt x="39" y="48"/>
                </a:lnTo>
                <a:lnTo>
                  <a:pt x="40" y="46"/>
                </a:lnTo>
                <a:lnTo>
                  <a:pt x="42" y="45"/>
                </a:lnTo>
                <a:lnTo>
                  <a:pt x="44" y="45"/>
                </a:lnTo>
                <a:lnTo>
                  <a:pt x="46" y="43"/>
                </a:lnTo>
                <a:lnTo>
                  <a:pt x="46" y="41"/>
                </a:lnTo>
                <a:lnTo>
                  <a:pt x="47" y="41"/>
                </a:lnTo>
                <a:lnTo>
                  <a:pt x="47" y="39"/>
                </a:lnTo>
                <a:lnTo>
                  <a:pt x="51" y="38"/>
                </a:lnTo>
                <a:lnTo>
                  <a:pt x="52" y="36"/>
                </a:lnTo>
                <a:lnTo>
                  <a:pt x="51" y="34"/>
                </a:lnTo>
                <a:lnTo>
                  <a:pt x="54" y="33"/>
                </a:lnTo>
                <a:lnTo>
                  <a:pt x="54" y="31"/>
                </a:lnTo>
                <a:lnTo>
                  <a:pt x="57" y="31"/>
                </a:lnTo>
                <a:lnTo>
                  <a:pt x="56" y="29"/>
                </a:lnTo>
                <a:lnTo>
                  <a:pt x="56" y="28"/>
                </a:lnTo>
                <a:lnTo>
                  <a:pt x="52" y="29"/>
                </a:lnTo>
                <a:lnTo>
                  <a:pt x="51" y="29"/>
                </a:lnTo>
                <a:lnTo>
                  <a:pt x="49" y="29"/>
                </a:lnTo>
                <a:lnTo>
                  <a:pt x="51" y="26"/>
                </a:lnTo>
                <a:lnTo>
                  <a:pt x="52" y="24"/>
                </a:lnTo>
                <a:lnTo>
                  <a:pt x="54" y="22"/>
                </a:lnTo>
                <a:lnTo>
                  <a:pt x="54" y="19"/>
                </a:lnTo>
                <a:lnTo>
                  <a:pt x="56" y="19"/>
                </a:lnTo>
                <a:lnTo>
                  <a:pt x="57" y="19"/>
                </a:lnTo>
                <a:lnTo>
                  <a:pt x="61" y="19"/>
                </a:lnTo>
                <a:lnTo>
                  <a:pt x="63" y="19"/>
                </a:lnTo>
                <a:lnTo>
                  <a:pt x="64" y="19"/>
                </a:lnTo>
                <a:lnTo>
                  <a:pt x="63" y="21"/>
                </a:lnTo>
                <a:lnTo>
                  <a:pt x="63" y="22"/>
                </a:lnTo>
                <a:lnTo>
                  <a:pt x="66" y="24"/>
                </a:lnTo>
                <a:lnTo>
                  <a:pt x="68" y="24"/>
                </a:lnTo>
                <a:lnTo>
                  <a:pt x="69" y="24"/>
                </a:lnTo>
                <a:lnTo>
                  <a:pt x="73" y="24"/>
                </a:lnTo>
                <a:lnTo>
                  <a:pt x="74" y="22"/>
                </a:lnTo>
                <a:lnTo>
                  <a:pt x="76" y="22"/>
                </a:lnTo>
                <a:lnTo>
                  <a:pt x="74" y="21"/>
                </a:lnTo>
                <a:lnTo>
                  <a:pt x="74" y="19"/>
                </a:lnTo>
                <a:lnTo>
                  <a:pt x="78" y="21"/>
                </a:lnTo>
                <a:lnTo>
                  <a:pt x="80" y="21"/>
                </a:lnTo>
                <a:lnTo>
                  <a:pt x="78" y="19"/>
                </a:lnTo>
                <a:lnTo>
                  <a:pt x="80" y="19"/>
                </a:lnTo>
                <a:lnTo>
                  <a:pt x="80" y="17"/>
                </a:lnTo>
                <a:lnTo>
                  <a:pt x="78" y="17"/>
                </a:lnTo>
                <a:lnTo>
                  <a:pt x="80" y="17"/>
                </a:lnTo>
                <a:lnTo>
                  <a:pt x="81" y="16"/>
                </a:lnTo>
                <a:lnTo>
                  <a:pt x="81" y="14"/>
                </a:lnTo>
                <a:lnTo>
                  <a:pt x="83" y="14"/>
                </a:lnTo>
                <a:lnTo>
                  <a:pt x="85" y="14"/>
                </a:lnTo>
                <a:lnTo>
                  <a:pt x="88" y="12"/>
                </a:lnTo>
                <a:lnTo>
                  <a:pt x="86" y="14"/>
                </a:lnTo>
                <a:lnTo>
                  <a:pt x="86" y="16"/>
                </a:lnTo>
                <a:lnTo>
                  <a:pt x="85" y="16"/>
                </a:lnTo>
                <a:lnTo>
                  <a:pt x="86" y="17"/>
                </a:lnTo>
                <a:lnTo>
                  <a:pt x="88" y="17"/>
                </a:lnTo>
                <a:lnTo>
                  <a:pt x="90" y="17"/>
                </a:lnTo>
                <a:lnTo>
                  <a:pt x="93" y="16"/>
                </a:lnTo>
                <a:lnTo>
                  <a:pt x="93" y="14"/>
                </a:lnTo>
                <a:lnTo>
                  <a:pt x="95" y="14"/>
                </a:lnTo>
                <a:lnTo>
                  <a:pt x="97" y="14"/>
                </a:lnTo>
                <a:lnTo>
                  <a:pt x="98" y="17"/>
                </a:lnTo>
                <a:lnTo>
                  <a:pt x="100" y="17"/>
                </a:lnTo>
                <a:lnTo>
                  <a:pt x="100" y="16"/>
                </a:lnTo>
                <a:lnTo>
                  <a:pt x="103" y="17"/>
                </a:lnTo>
                <a:lnTo>
                  <a:pt x="105" y="16"/>
                </a:lnTo>
                <a:lnTo>
                  <a:pt x="107" y="17"/>
                </a:lnTo>
                <a:lnTo>
                  <a:pt x="107" y="16"/>
                </a:lnTo>
                <a:lnTo>
                  <a:pt x="110" y="14"/>
                </a:lnTo>
                <a:lnTo>
                  <a:pt x="112" y="12"/>
                </a:lnTo>
                <a:lnTo>
                  <a:pt x="114" y="14"/>
                </a:lnTo>
                <a:lnTo>
                  <a:pt x="115" y="14"/>
                </a:lnTo>
                <a:lnTo>
                  <a:pt x="117" y="16"/>
                </a:lnTo>
                <a:lnTo>
                  <a:pt x="120" y="16"/>
                </a:lnTo>
                <a:lnTo>
                  <a:pt x="122" y="16"/>
                </a:lnTo>
                <a:lnTo>
                  <a:pt x="125" y="16"/>
                </a:lnTo>
                <a:lnTo>
                  <a:pt x="124" y="16"/>
                </a:lnTo>
                <a:lnTo>
                  <a:pt x="124" y="14"/>
                </a:lnTo>
                <a:lnTo>
                  <a:pt x="125" y="12"/>
                </a:lnTo>
                <a:lnTo>
                  <a:pt x="127" y="12"/>
                </a:lnTo>
                <a:lnTo>
                  <a:pt x="129" y="12"/>
                </a:lnTo>
                <a:lnTo>
                  <a:pt x="129" y="14"/>
                </a:lnTo>
                <a:lnTo>
                  <a:pt x="131" y="14"/>
                </a:lnTo>
                <a:lnTo>
                  <a:pt x="131" y="11"/>
                </a:lnTo>
                <a:lnTo>
                  <a:pt x="132" y="11"/>
                </a:lnTo>
                <a:lnTo>
                  <a:pt x="131" y="9"/>
                </a:lnTo>
                <a:lnTo>
                  <a:pt x="129" y="11"/>
                </a:lnTo>
                <a:lnTo>
                  <a:pt x="129" y="9"/>
                </a:lnTo>
                <a:lnTo>
                  <a:pt x="127" y="11"/>
                </a:lnTo>
                <a:lnTo>
                  <a:pt x="124" y="11"/>
                </a:lnTo>
                <a:lnTo>
                  <a:pt x="122" y="9"/>
                </a:lnTo>
                <a:lnTo>
                  <a:pt x="122" y="7"/>
                </a:lnTo>
                <a:lnTo>
                  <a:pt x="124" y="5"/>
                </a:lnTo>
                <a:lnTo>
                  <a:pt x="124" y="4"/>
                </a:lnTo>
                <a:lnTo>
                  <a:pt x="125" y="2"/>
                </a:lnTo>
                <a:lnTo>
                  <a:pt x="127" y="2"/>
                </a:lnTo>
                <a:lnTo>
                  <a:pt x="129" y="0"/>
                </a:lnTo>
                <a:lnTo>
                  <a:pt x="129" y="2"/>
                </a:lnTo>
                <a:lnTo>
                  <a:pt x="129" y="0"/>
                </a:lnTo>
                <a:lnTo>
                  <a:pt x="132" y="0"/>
                </a:lnTo>
                <a:lnTo>
                  <a:pt x="132" y="4"/>
                </a:lnTo>
                <a:lnTo>
                  <a:pt x="134" y="2"/>
                </a:lnTo>
                <a:lnTo>
                  <a:pt x="134" y="0"/>
                </a:lnTo>
                <a:lnTo>
                  <a:pt x="136" y="4"/>
                </a:lnTo>
                <a:lnTo>
                  <a:pt x="137" y="4"/>
                </a:lnTo>
                <a:lnTo>
                  <a:pt x="136" y="5"/>
                </a:lnTo>
                <a:lnTo>
                  <a:pt x="137" y="5"/>
                </a:lnTo>
                <a:lnTo>
                  <a:pt x="137" y="7"/>
                </a:lnTo>
                <a:lnTo>
                  <a:pt x="137" y="9"/>
                </a:lnTo>
                <a:lnTo>
                  <a:pt x="139" y="9"/>
                </a:lnTo>
                <a:lnTo>
                  <a:pt x="141" y="7"/>
                </a:lnTo>
                <a:lnTo>
                  <a:pt x="139" y="5"/>
                </a:lnTo>
                <a:lnTo>
                  <a:pt x="141" y="5"/>
                </a:lnTo>
                <a:lnTo>
                  <a:pt x="141" y="7"/>
                </a:lnTo>
                <a:lnTo>
                  <a:pt x="144" y="7"/>
                </a:lnTo>
                <a:lnTo>
                  <a:pt x="142" y="9"/>
                </a:lnTo>
                <a:lnTo>
                  <a:pt x="144" y="11"/>
                </a:lnTo>
                <a:close/>
                <a:moveTo>
                  <a:pt x="136" y="5"/>
                </a:moveTo>
                <a:lnTo>
                  <a:pt x="134" y="7"/>
                </a:lnTo>
                <a:lnTo>
                  <a:pt x="134" y="9"/>
                </a:lnTo>
                <a:lnTo>
                  <a:pt x="136" y="7"/>
                </a:lnTo>
                <a:lnTo>
                  <a:pt x="136" y="5"/>
                </a:lnTo>
                <a:close/>
                <a:moveTo>
                  <a:pt x="146" y="128"/>
                </a:moveTo>
                <a:lnTo>
                  <a:pt x="146" y="130"/>
                </a:lnTo>
                <a:lnTo>
                  <a:pt x="146" y="128"/>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64" name="Freeform 30">
            <a:extLst>
              <a:ext uri="{FF2B5EF4-FFF2-40B4-BE49-F238E27FC236}">
                <a16:creationId xmlns:a16="http://schemas.microsoft.com/office/drawing/2014/main" id="{0FEC691F-07A4-4F76-8A47-6F96EE272A4D}"/>
              </a:ext>
            </a:extLst>
          </p:cNvPr>
          <p:cNvSpPr>
            <a:spLocks/>
          </p:cNvSpPr>
          <p:nvPr/>
        </p:nvSpPr>
        <p:spPr bwMode="gray">
          <a:xfrm>
            <a:off x="2119916" y="3066442"/>
            <a:ext cx="455071" cy="408129"/>
          </a:xfrm>
          <a:custGeom>
            <a:avLst/>
            <a:gdLst>
              <a:gd name="T0" fmla="*/ 157 w 167"/>
              <a:gd name="T1" fmla="*/ 63 h 143"/>
              <a:gd name="T2" fmla="*/ 159 w 167"/>
              <a:gd name="T3" fmla="*/ 70 h 143"/>
              <a:gd name="T4" fmla="*/ 162 w 167"/>
              <a:gd name="T5" fmla="*/ 75 h 143"/>
              <a:gd name="T6" fmla="*/ 167 w 167"/>
              <a:gd name="T7" fmla="*/ 85 h 143"/>
              <a:gd name="T8" fmla="*/ 155 w 167"/>
              <a:gd name="T9" fmla="*/ 94 h 143"/>
              <a:gd name="T10" fmla="*/ 153 w 167"/>
              <a:gd name="T11" fmla="*/ 99 h 143"/>
              <a:gd name="T12" fmla="*/ 143 w 167"/>
              <a:gd name="T13" fmla="*/ 101 h 143"/>
              <a:gd name="T14" fmla="*/ 136 w 167"/>
              <a:gd name="T15" fmla="*/ 113 h 143"/>
              <a:gd name="T16" fmla="*/ 136 w 167"/>
              <a:gd name="T17" fmla="*/ 123 h 143"/>
              <a:gd name="T18" fmla="*/ 142 w 167"/>
              <a:gd name="T19" fmla="*/ 133 h 143"/>
              <a:gd name="T20" fmla="*/ 131 w 167"/>
              <a:gd name="T21" fmla="*/ 140 h 143"/>
              <a:gd name="T22" fmla="*/ 121 w 167"/>
              <a:gd name="T23" fmla="*/ 143 h 143"/>
              <a:gd name="T24" fmla="*/ 118 w 167"/>
              <a:gd name="T25" fmla="*/ 135 h 143"/>
              <a:gd name="T26" fmla="*/ 111 w 167"/>
              <a:gd name="T27" fmla="*/ 128 h 143"/>
              <a:gd name="T28" fmla="*/ 104 w 167"/>
              <a:gd name="T29" fmla="*/ 123 h 143"/>
              <a:gd name="T30" fmla="*/ 96 w 167"/>
              <a:gd name="T31" fmla="*/ 116 h 143"/>
              <a:gd name="T32" fmla="*/ 92 w 167"/>
              <a:gd name="T33" fmla="*/ 107 h 143"/>
              <a:gd name="T34" fmla="*/ 97 w 167"/>
              <a:gd name="T35" fmla="*/ 99 h 143"/>
              <a:gd name="T36" fmla="*/ 89 w 167"/>
              <a:gd name="T37" fmla="*/ 99 h 143"/>
              <a:gd name="T38" fmla="*/ 82 w 167"/>
              <a:gd name="T39" fmla="*/ 106 h 143"/>
              <a:gd name="T40" fmla="*/ 65 w 167"/>
              <a:gd name="T41" fmla="*/ 106 h 143"/>
              <a:gd name="T42" fmla="*/ 68 w 167"/>
              <a:gd name="T43" fmla="*/ 99 h 143"/>
              <a:gd name="T44" fmla="*/ 67 w 167"/>
              <a:gd name="T45" fmla="*/ 89 h 143"/>
              <a:gd name="T46" fmla="*/ 65 w 167"/>
              <a:gd name="T47" fmla="*/ 85 h 143"/>
              <a:gd name="T48" fmla="*/ 58 w 167"/>
              <a:gd name="T49" fmla="*/ 79 h 143"/>
              <a:gd name="T50" fmla="*/ 46 w 167"/>
              <a:gd name="T51" fmla="*/ 80 h 143"/>
              <a:gd name="T52" fmla="*/ 45 w 167"/>
              <a:gd name="T53" fmla="*/ 68 h 143"/>
              <a:gd name="T54" fmla="*/ 36 w 167"/>
              <a:gd name="T55" fmla="*/ 65 h 143"/>
              <a:gd name="T56" fmla="*/ 28 w 167"/>
              <a:gd name="T57" fmla="*/ 56 h 143"/>
              <a:gd name="T58" fmla="*/ 24 w 167"/>
              <a:gd name="T59" fmla="*/ 45 h 143"/>
              <a:gd name="T60" fmla="*/ 12 w 167"/>
              <a:gd name="T61" fmla="*/ 50 h 143"/>
              <a:gd name="T62" fmla="*/ 2 w 167"/>
              <a:gd name="T63" fmla="*/ 39 h 143"/>
              <a:gd name="T64" fmla="*/ 2 w 167"/>
              <a:gd name="T65" fmla="*/ 28 h 143"/>
              <a:gd name="T66" fmla="*/ 6 w 167"/>
              <a:gd name="T67" fmla="*/ 19 h 143"/>
              <a:gd name="T68" fmla="*/ 17 w 167"/>
              <a:gd name="T69" fmla="*/ 12 h 143"/>
              <a:gd name="T70" fmla="*/ 23 w 167"/>
              <a:gd name="T71" fmla="*/ 9 h 143"/>
              <a:gd name="T72" fmla="*/ 29 w 167"/>
              <a:gd name="T73" fmla="*/ 5 h 143"/>
              <a:gd name="T74" fmla="*/ 34 w 167"/>
              <a:gd name="T75" fmla="*/ 5 h 143"/>
              <a:gd name="T76" fmla="*/ 45 w 167"/>
              <a:gd name="T77" fmla="*/ 14 h 143"/>
              <a:gd name="T78" fmla="*/ 55 w 167"/>
              <a:gd name="T79" fmla="*/ 14 h 143"/>
              <a:gd name="T80" fmla="*/ 63 w 167"/>
              <a:gd name="T81" fmla="*/ 17 h 143"/>
              <a:gd name="T82" fmla="*/ 74 w 167"/>
              <a:gd name="T83" fmla="*/ 10 h 143"/>
              <a:gd name="T84" fmla="*/ 82 w 167"/>
              <a:gd name="T85" fmla="*/ 9 h 143"/>
              <a:gd name="T86" fmla="*/ 89 w 167"/>
              <a:gd name="T87" fmla="*/ 0 h 143"/>
              <a:gd name="T88" fmla="*/ 96 w 167"/>
              <a:gd name="T89" fmla="*/ 4 h 143"/>
              <a:gd name="T90" fmla="*/ 101 w 167"/>
              <a:gd name="T91" fmla="*/ 4 h 143"/>
              <a:gd name="T92" fmla="*/ 108 w 167"/>
              <a:gd name="T93" fmla="*/ 7 h 143"/>
              <a:gd name="T94" fmla="*/ 113 w 167"/>
              <a:gd name="T95" fmla="*/ 9 h 143"/>
              <a:gd name="T96" fmla="*/ 119 w 167"/>
              <a:gd name="T97" fmla="*/ 19 h 143"/>
              <a:gd name="T98" fmla="*/ 131 w 167"/>
              <a:gd name="T99" fmla="*/ 17 h 143"/>
              <a:gd name="T100" fmla="*/ 140 w 167"/>
              <a:gd name="T101" fmla="*/ 26 h 143"/>
              <a:gd name="T102" fmla="*/ 142 w 167"/>
              <a:gd name="T103" fmla="*/ 34 h 143"/>
              <a:gd name="T104" fmla="*/ 138 w 167"/>
              <a:gd name="T105" fmla="*/ 43 h 143"/>
              <a:gd name="T106" fmla="*/ 136 w 167"/>
              <a:gd name="T107" fmla="*/ 51 h 143"/>
              <a:gd name="T108" fmla="*/ 143 w 167"/>
              <a:gd name="T109" fmla="*/ 5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7" h="143">
                <a:moveTo>
                  <a:pt x="150" y="56"/>
                </a:moveTo>
                <a:lnTo>
                  <a:pt x="152" y="56"/>
                </a:lnTo>
                <a:lnTo>
                  <a:pt x="152" y="58"/>
                </a:lnTo>
                <a:lnTo>
                  <a:pt x="153" y="58"/>
                </a:lnTo>
                <a:lnTo>
                  <a:pt x="155" y="58"/>
                </a:lnTo>
                <a:lnTo>
                  <a:pt x="155" y="62"/>
                </a:lnTo>
                <a:lnTo>
                  <a:pt x="157" y="63"/>
                </a:lnTo>
                <a:lnTo>
                  <a:pt x="157" y="65"/>
                </a:lnTo>
                <a:lnTo>
                  <a:pt x="159" y="65"/>
                </a:lnTo>
                <a:lnTo>
                  <a:pt x="160" y="65"/>
                </a:lnTo>
                <a:lnTo>
                  <a:pt x="162" y="65"/>
                </a:lnTo>
                <a:lnTo>
                  <a:pt x="160" y="68"/>
                </a:lnTo>
                <a:lnTo>
                  <a:pt x="159" y="68"/>
                </a:lnTo>
                <a:lnTo>
                  <a:pt x="159" y="70"/>
                </a:lnTo>
                <a:lnTo>
                  <a:pt x="157" y="70"/>
                </a:lnTo>
                <a:lnTo>
                  <a:pt x="157" y="72"/>
                </a:lnTo>
                <a:lnTo>
                  <a:pt x="159" y="72"/>
                </a:lnTo>
                <a:lnTo>
                  <a:pt x="157" y="72"/>
                </a:lnTo>
                <a:lnTo>
                  <a:pt x="159" y="75"/>
                </a:lnTo>
                <a:lnTo>
                  <a:pt x="160" y="73"/>
                </a:lnTo>
                <a:lnTo>
                  <a:pt x="162" y="75"/>
                </a:lnTo>
                <a:lnTo>
                  <a:pt x="164" y="75"/>
                </a:lnTo>
                <a:lnTo>
                  <a:pt x="164" y="77"/>
                </a:lnTo>
                <a:lnTo>
                  <a:pt x="165" y="79"/>
                </a:lnTo>
                <a:lnTo>
                  <a:pt x="165" y="80"/>
                </a:lnTo>
                <a:lnTo>
                  <a:pt x="164" y="84"/>
                </a:lnTo>
                <a:lnTo>
                  <a:pt x="165" y="85"/>
                </a:lnTo>
                <a:lnTo>
                  <a:pt x="167" y="85"/>
                </a:lnTo>
                <a:lnTo>
                  <a:pt x="164" y="89"/>
                </a:lnTo>
                <a:lnTo>
                  <a:pt x="164" y="87"/>
                </a:lnTo>
                <a:lnTo>
                  <a:pt x="162" y="87"/>
                </a:lnTo>
                <a:lnTo>
                  <a:pt x="160" y="90"/>
                </a:lnTo>
                <a:lnTo>
                  <a:pt x="157" y="90"/>
                </a:lnTo>
                <a:lnTo>
                  <a:pt x="155" y="92"/>
                </a:lnTo>
                <a:lnTo>
                  <a:pt x="155" y="94"/>
                </a:lnTo>
                <a:lnTo>
                  <a:pt x="157" y="97"/>
                </a:lnTo>
                <a:lnTo>
                  <a:pt x="153" y="97"/>
                </a:lnTo>
                <a:lnTo>
                  <a:pt x="153" y="99"/>
                </a:lnTo>
                <a:lnTo>
                  <a:pt x="155" y="99"/>
                </a:lnTo>
                <a:lnTo>
                  <a:pt x="153" y="101"/>
                </a:lnTo>
                <a:lnTo>
                  <a:pt x="152" y="99"/>
                </a:lnTo>
                <a:lnTo>
                  <a:pt x="153" y="99"/>
                </a:lnTo>
                <a:lnTo>
                  <a:pt x="152" y="97"/>
                </a:lnTo>
                <a:lnTo>
                  <a:pt x="150" y="99"/>
                </a:lnTo>
                <a:lnTo>
                  <a:pt x="148" y="97"/>
                </a:lnTo>
                <a:lnTo>
                  <a:pt x="148" y="96"/>
                </a:lnTo>
                <a:lnTo>
                  <a:pt x="147" y="97"/>
                </a:lnTo>
                <a:lnTo>
                  <a:pt x="145" y="99"/>
                </a:lnTo>
                <a:lnTo>
                  <a:pt x="143" y="101"/>
                </a:lnTo>
                <a:lnTo>
                  <a:pt x="142" y="102"/>
                </a:lnTo>
                <a:lnTo>
                  <a:pt x="140" y="104"/>
                </a:lnTo>
                <a:lnTo>
                  <a:pt x="142" y="106"/>
                </a:lnTo>
                <a:lnTo>
                  <a:pt x="138" y="107"/>
                </a:lnTo>
                <a:lnTo>
                  <a:pt x="140" y="109"/>
                </a:lnTo>
                <a:lnTo>
                  <a:pt x="136" y="111"/>
                </a:lnTo>
                <a:lnTo>
                  <a:pt x="136" y="113"/>
                </a:lnTo>
                <a:lnTo>
                  <a:pt x="136" y="114"/>
                </a:lnTo>
                <a:lnTo>
                  <a:pt x="135" y="114"/>
                </a:lnTo>
                <a:lnTo>
                  <a:pt x="136" y="116"/>
                </a:lnTo>
                <a:lnTo>
                  <a:pt x="135" y="118"/>
                </a:lnTo>
                <a:lnTo>
                  <a:pt x="135" y="119"/>
                </a:lnTo>
                <a:lnTo>
                  <a:pt x="135" y="123"/>
                </a:lnTo>
                <a:lnTo>
                  <a:pt x="136" y="123"/>
                </a:lnTo>
                <a:lnTo>
                  <a:pt x="138" y="126"/>
                </a:lnTo>
                <a:lnTo>
                  <a:pt x="138" y="128"/>
                </a:lnTo>
                <a:lnTo>
                  <a:pt x="140" y="128"/>
                </a:lnTo>
                <a:lnTo>
                  <a:pt x="142" y="130"/>
                </a:lnTo>
                <a:lnTo>
                  <a:pt x="140" y="131"/>
                </a:lnTo>
                <a:lnTo>
                  <a:pt x="142" y="131"/>
                </a:lnTo>
                <a:lnTo>
                  <a:pt x="142" y="133"/>
                </a:lnTo>
                <a:lnTo>
                  <a:pt x="140" y="135"/>
                </a:lnTo>
                <a:lnTo>
                  <a:pt x="138" y="136"/>
                </a:lnTo>
                <a:lnTo>
                  <a:pt x="140" y="138"/>
                </a:lnTo>
                <a:lnTo>
                  <a:pt x="136" y="140"/>
                </a:lnTo>
                <a:lnTo>
                  <a:pt x="135" y="138"/>
                </a:lnTo>
                <a:lnTo>
                  <a:pt x="133" y="140"/>
                </a:lnTo>
                <a:lnTo>
                  <a:pt x="131" y="140"/>
                </a:lnTo>
                <a:lnTo>
                  <a:pt x="130" y="140"/>
                </a:lnTo>
                <a:lnTo>
                  <a:pt x="128" y="140"/>
                </a:lnTo>
                <a:lnTo>
                  <a:pt x="128" y="141"/>
                </a:lnTo>
                <a:lnTo>
                  <a:pt x="125" y="140"/>
                </a:lnTo>
                <a:lnTo>
                  <a:pt x="125" y="141"/>
                </a:lnTo>
                <a:lnTo>
                  <a:pt x="121" y="141"/>
                </a:lnTo>
                <a:lnTo>
                  <a:pt x="121" y="143"/>
                </a:lnTo>
                <a:lnTo>
                  <a:pt x="119" y="141"/>
                </a:lnTo>
                <a:lnTo>
                  <a:pt x="121" y="140"/>
                </a:lnTo>
                <a:lnTo>
                  <a:pt x="119" y="138"/>
                </a:lnTo>
                <a:lnTo>
                  <a:pt x="121" y="138"/>
                </a:lnTo>
                <a:lnTo>
                  <a:pt x="119" y="138"/>
                </a:lnTo>
                <a:lnTo>
                  <a:pt x="119" y="135"/>
                </a:lnTo>
                <a:lnTo>
                  <a:pt x="118" y="135"/>
                </a:lnTo>
                <a:lnTo>
                  <a:pt x="116" y="133"/>
                </a:lnTo>
                <a:lnTo>
                  <a:pt x="114" y="135"/>
                </a:lnTo>
                <a:lnTo>
                  <a:pt x="114" y="133"/>
                </a:lnTo>
                <a:lnTo>
                  <a:pt x="116" y="131"/>
                </a:lnTo>
                <a:lnTo>
                  <a:pt x="113" y="130"/>
                </a:lnTo>
                <a:lnTo>
                  <a:pt x="113" y="128"/>
                </a:lnTo>
                <a:lnTo>
                  <a:pt x="111" y="128"/>
                </a:lnTo>
                <a:lnTo>
                  <a:pt x="109" y="128"/>
                </a:lnTo>
                <a:lnTo>
                  <a:pt x="108" y="128"/>
                </a:lnTo>
                <a:lnTo>
                  <a:pt x="108" y="126"/>
                </a:lnTo>
                <a:lnTo>
                  <a:pt x="106" y="126"/>
                </a:lnTo>
                <a:lnTo>
                  <a:pt x="106" y="124"/>
                </a:lnTo>
                <a:lnTo>
                  <a:pt x="106" y="123"/>
                </a:lnTo>
                <a:lnTo>
                  <a:pt x="104" y="123"/>
                </a:lnTo>
                <a:lnTo>
                  <a:pt x="101" y="121"/>
                </a:lnTo>
                <a:lnTo>
                  <a:pt x="101" y="119"/>
                </a:lnTo>
                <a:lnTo>
                  <a:pt x="99" y="119"/>
                </a:lnTo>
                <a:lnTo>
                  <a:pt x="97" y="121"/>
                </a:lnTo>
                <a:lnTo>
                  <a:pt x="94" y="119"/>
                </a:lnTo>
                <a:lnTo>
                  <a:pt x="96" y="118"/>
                </a:lnTo>
                <a:lnTo>
                  <a:pt x="96" y="116"/>
                </a:lnTo>
                <a:lnTo>
                  <a:pt x="94" y="114"/>
                </a:lnTo>
                <a:lnTo>
                  <a:pt x="96" y="114"/>
                </a:lnTo>
                <a:lnTo>
                  <a:pt x="96" y="113"/>
                </a:lnTo>
                <a:lnTo>
                  <a:pt x="97" y="113"/>
                </a:lnTo>
                <a:lnTo>
                  <a:pt x="96" y="111"/>
                </a:lnTo>
                <a:lnTo>
                  <a:pt x="96" y="109"/>
                </a:lnTo>
                <a:lnTo>
                  <a:pt x="92" y="107"/>
                </a:lnTo>
                <a:lnTo>
                  <a:pt x="94" y="106"/>
                </a:lnTo>
                <a:lnTo>
                  <a:pt x="94" y="104"/>
                </a:lnTo>
                <a:lnTo>
                  <a:pt x="96" y="102"/>
                </a:lnTo>
                <a:lnTo>
                  <a:pt x="94" y="101"/>
                </a:lnTo>
                <a:lnTo>
                  <a:pt x="96" y="101"/>
                </a:lnTo>
                <a:lnTo>
                  <a:pt x="96" y="99"/>
                </a:lnTo>
                <a:lnTo>
                  <a:pt x="97" y="99"/>
                </a:lnTo>
                <a:lnTo>
                  <a:pt x="97" y="97"/>
                </a:lnTo>
                <a:lnTo>
                  <a:pt x="97" y="96"/>
                </a:lnTo>
                <a:lnTo>
                  <a:pt x="96" y="94"/>
                </a:lnTo>
                <a:lnTo>
                  <a:pt x="94" y="94"/>
                </a:lnTo>
                <a:lnTo>
                  <a:pt x="92" y="96"/>
                </a:lnTo>
                <a:lnTo>
                  <a:pt x="92" y="97"/>
                </a:lnTo>
                <a:lnTo>
                  <a:pt x="89" y="99"/>
                </a:lnTo>
                <a:lnTo>
                  <a:pt x="89" y="101"/>
                </a:lnTo>
                <a:lnTo>
                  <a:pt x="89" y="102"/>
                </a:lnTo>
                <a:lnTo>
                  <a:pt x="89" y="106"/>
                </a:lnTo>
                <a:lnTo>
                  <a:pt x="87" y="106"/>
                </a:lnTo>
                <a:lnTo>
                  <a:pt x="85" y="106"/>
                </a:lnTo>
                <a:lnTo>
                  <a:pt x="84" y="106"/>
                </a:lnTo>
                <a:lnTo>
                  <a:pt x="82" y="106"/>
                </a:lnTo>
                <a:lnTo>
                  <a:pt x="80" y="107"/>
                </a:lnTo>
                <a:lnTo>
                  <a:pt x="77" y="109"/>
                </a:lnTo>
                <a:lnTo>
                  <a:pt x="74" y="107"/>
                </a:lnTo>
                <a:lnTo>
                  <a:pt x="70" y="106"/>
                </a:lnTo>
                <a:lnTo>
                  <a:pt x="68" y="106"/>
                </a:lnTo>
                <a:lnTo>
                  <a:pt x="67" y="106"/>
                </a:lnTo>
                <a:lnTo>
                  <a:pt x="65" y="106"/>
                </a:lnTo>
                <a:lnTo>
                  <a:pt x="63" y="104"/>
                </a:lnTo>
                <a:lnTo>
                  <a:pt x="65" y="104"/>
                </a:lnTo>
                <a:lnTo>
                  <a:pt x="63" y="102"/>
                </a:lnTo>
                <a:lnTo>
                  <a:pt x="63" y="101"/>
                </a:lnTo>
                <a:lnTo>
                  <a:pt x="65" y="99"/>
                </a:lnTo>
                <a:lnTo>
                  <a:pt x="67" y="99"/>
                </a:lnTo>
                <a:lnTo>
                  <a:pt x="68" y="99"/>
                </a:lnTo>
                <a:lnTo>
                  <a:pt x="67" y="96"/>
                </a:lnTo>
                <a:lnTo>
                  <a:pt x="67" y="94"/>
                </a:lnTo>
                <a:lnTo>
                  <a:pt x="65" y="94"/>
                </a:lnTo>
                <a:lnTo>
                  <a:pt x="63" y="94"/>
                </a:lnTo>
                <a:lnTo>
                  <a:pt x="65" y="92"/>
                </a:lnTo>
                <a:lnTo>
                  <a:pt x="65" y="89"/>
                </a:lnTo>
                <a:lnTo>
                  <a:pt x="67" y="89"/>
                </a:lnTo>
                <a:lnTo>
                  <a:pt x="67" y="87"/>
                </a:lnTo>
                <a:lnTo>
                  <a:pt x="68" y="85"/>
                </a:lnTo>
                <a:lnTo>
                  <a:pt x="68" y="84"/>
                </a:lnTo>
                <a:lnTo>
                  <a:pt x="67" y="84"/>
                </a:lnTo>
                <a:lnTo>
                  <a:pt x="65" y="84"/>
                </a:lnTo>
                <a:lnTo>
                  <a:pt x="67" y="85"/>
                </a:lnTo>
                <a:lnTo>
                  <a:pt x="65" y="85"/>
                </a:lnTo>
                <a:lnTo>
                  <a:pt x="65" y="84"/>
                </a:lnTo>
                <a:lnTo>
                  <a:pt x="65" y="82"/>
                </a:lnTo>
                <a:lnTo>
                  <a:pt x="63" y="82"/>
                </a:lnTo>
                <a:lnTo>
                  <a:pt x="63" y="80"/>
                </a:lnTo>
                <a:lnTo>
                  <a:pt x="62" y="79"/>
                </a:lnTo>
                <a:lnTo>
                  <a:pt x="60" y="77"/>
                </a:lnTo>
                <a:lnTo>
                  <a:pt x="58" y="79"/>
                </a:lnTo>
                <a:lnTo>
                  <a:pt x="55" y="79"/>
                </a:lnTo>
                <a:lnTo>
                  <a:pt x="53" y="77"/>
                </a:lnTo>
                <a:lnTo>
                  <a:pt x="51" y="77"/>
                </a:lnTo>
                <a:lnTo>
                  <a:pt x="48" y="77"/>
                </a:lnTo>
                <a:lnTo>
                  <a:pt x="46" y="80"/>
                </a:lnTo>
                <a:lnTo>
                  <a:pt x="46" y="79"/>
                </a:lnTo>
                <a:lnTo>
                  <a:pt x="46" y="80"/>
                </a:lnTo>
                <a:lnTo>
                  <a:pt x="45" y="79"/>
                </a:lnTo>
                <a:lnTo>
                  <a:pt x="46" y="79"/>
                </a:lnTo>
                <a:lnTo>
                  <a:pt x="45" y="79"/>
                </a:lnTo>
                <a:lnTo>
                  <a:pt x="45" y="75"/>
                </a:lnTo>
                <a:lnTo>
                  <a:pt x="45" y="73"/>
                </a:lnTo>
                <a:lnTo>
                  <a:pt x="45" y="70"/>
                </a:lnTo>
                <a:lnTo>
                  <a:pt x="45" y="68"/>
                </a:lnTo>
                <a:lnTo>
                  <a:pt x="43" y="67"/>
                </a:lnTo>
                <a:lnTo>
                  <a:pt x="41" y="67"/>
                </a:lnTo>
                <a:lnTo>
                  <a:pt x="40" y="67"/>
                </a:lnTo>
                <a:lnTo>
                  <a:pt x="38" y="67"/>
                </a:lnTo>
                <a:lnTo>
                  <a:pt x="40" y="65"/>
                </a:lnTo>
                <a:lnTo>
                  <a:pt x="38" y="63"/>
                </a:lnTo>
                <a:lnTo>
                  <a:pt x="36" y="65"/>
                </a:lnTo>
                <a:lnTo>
                  <a:pt x="33" y="67"/>
                </a:lnTo>
                <a:lnTo>
                  <a:pt x="33" y="65"/>
                </a:lnTo>
                <a:lnTo>
                  <a:pt x="31" y="65"/>
                </a:lnTo>
                <a:lnTo>
                  <a:pt x="29" y="63"/>
                </a:lnTo>
                <a:lnTo>
                  <a:pt x="28" y="60"/>
                </a:lnTo>
                <a:lnTo>
                  <a:pt x="29" y="58"/>
                </a:lnTo>
                <a:lnTo>
                  <a:pt x="28" y="56"/>
                </a:lnTo>
                <a:lnTo>
                  <a:pt x="28" y="53"/>
                </a:lnTo>
                <a:lnTo>
                  <a:pt x="29" y="53"/>
                </a:lnTo>
                <a:lnTo>
                  <a:pt x="29" y="51"/>
                </a:lnTo>
                <a:lnTo>
                  <a:pt x="26" y="50"/>
                </a:lnTo>
                <a:lnTo>
                  <a:pt x="26" y="48"/>
                </a:lnTo>
                <a:lnTo>
                  <a:pt x="26" y="46"/>
                </a:lnTo>
                <a:lnTo>
                  <a:pt x="24" y="45"/>
                </a:lnTo>
                <a:lnTo>
                  <a:pt x="23" y="43"/>
                </a:lnTo>
                <a:lnTo>
                  <a:pt x="21" y="45"/>
                </a:lnTo>
                <a:lnTo>
                  <a:pt x="19" y="45"/>
                </a:lnTo>
                <a:lnTo>
                  <a:pt x="16" y="46"/>
                </a:lnTo>
                <a:lnTo>
                  <a:pt x="14" y="46"/>
                </a:lnTo>
                <a:lnTo>
                  <a:pt x="14" y="48"/>
                </a:lnTo>
                <a:lnTo>
                  <a:pt x="12" y="50"/>
                </a:lnTo>
                <a:lnTo>
                  <a:pt x="11" y="48"/>
                </a:lnTo>
                <a:lnTo>
                  <a:pt x="9" y="46"/>
                </a:lnTo>
                <a:lnTo>
                  <a:pt x="7" y="45"/>
                </a:lnTo>
                <a:lnTo>
                  <a:pt x="6" y="43"/>
                </a:lnTo>
                <a:lnTo>
                  <a:pt x="6" y="41"/>
                </a:lnTo>
                <a:lnTo>
                  <a:pt x="4" y="39"/>
                </a:lnTo>
                <a:lnTo>
                  <a:pt x="2" y="39"/>
                </a:lnTo>
                <a:lnTo>
                  <a:pt x="0" y="38"/>
                </a:lnTo>
                <a:lnTo>
                  <a:pt x="2" y="36"/>
                </a:lnTo>
                <a:lnTo>
                  <a:pt x="2" y="33"/>
                </a:lnTo>
                <a:lnTo>
                  <a:pt x="0" y="33"/>
                </a:lnTo>
                <a:lnTo>
                  <a:pt x="2" y="31"/>
                </a:lnTo>
                <a:lnTo>
                  <a:pt x="2" y="29"/>
                </a:lnTo>
                <a:lnTo>
                  <a:pt x="2" y="28"/>
                </a:lnTo>
                <a:lnTo>
                  <a:pt x="0" y="28"/>
                </a:lnTo>
                <a:lnTo>
                  <a:pt x="0" y="26"/>
                </a:lnTo>
                <a:lnTo>
                  <a:pt x="0" y="24"/>
                </a:lnTo>
                <a:lnTo>
                  <a:pt x="0" y="22"/>
                </a:lnTo>
                <a:lnTo>
                  <a:pt x="0" y="21"/>
                </a:lnTo>
                <a:lnTo>
                  <a:pt x="2" y="19"/>
                </a:lnTo>
                <a:lnTo>
                  <a:pt x="6" y="19"/>
                </a:lnTo>
                <a:lnTo>
                  <a:pt x="7" y="17"/>
                </a:lnTo>
                <a:lnTo>
                  <a:pt x="9" y="19"/>
                </a:lnTo>
                <a:lnTo>
                  <a:pt x="7" y="17"/>
                </a:lnTo>
                <a:lnTo>
                  <a:pt x="11" y="16"/>
                </a:lnTo>
                <a:lnTo>
                  <a:pt x="12" y="16"/>
                </a:lnTo>
                <a:lnTo>
                  <a:pt x="16" y="14"/>
                </a:lnTo>
                <a:lnTo>
                  <a:pt x="17" y="12"/>
                </a:lnTo>
                <a:lnTo>
                  <a:pt x="19" y="14"/>
                </a:lnTo>
                <a:lnTo>
                  <a:pt x="21" y="14"/>
                </a:lnTo>
                <a:lnTo>
                  <a:pt x="17" y="12"/>
                </a:lnTo>
                <a:lnTo>
                  <a:pt x="19" y="12"/>
                </a:lnTo>
                <a:lnTo>
                  <a:pt x="17" y="12"/>
                </a:lnTo>
                <a:lnTo>
                  <a:pt x="21" y="10"/>
                </a:lnTo>
                <a:lnTo>
                  <a:pt x="23" y="9"/>
                </a:lnTo>
                <a:lnTo>
                  <a:pt x="24" y="9"/>
                </a:lnTo>
                <a:lnTo>
                  <a:pt x="26" y="7"/>
                </a:lnTo>
                <a:lnTo>
                  <a:pt x="28" y="7"/>
                </a:lnTo>
                <a:lnTo>
                  <a:pt x="29" y="7"/>
                </a:lnTo>
                <a:lnTo>
                  <a:pt x="29" y="5"/>
                </a:lnTo>
                <a:lnTo>
                  <a:pt x="29" y="4"/>
                </a:lnTo>
                <a:lnTo>
                  <a:pt x="29" y="5"/>
                </a:lnTo>
                <a:lnTo>
                  <a:pt x="31" y="5"/>
                </a:lnTo>
                <a:lnTo>
                  <a:pt x="29" y="7"/>
                </a:lnTo>
                <a:lnTo>
                  <a:pt x="31" y="5"/>
                </a:lnTo>
                <a:lnTo>
                  <a:pt x="31" y="4"/>
                </a:lnTo>
                <a:lnTo>
                  <a:pt x="31" y="5"/>
                </a:lnTo>
                <a:lnTo>
                  <a:pt x="33" y="5"/>
                </a:lnTo>
                <a:lnTo>
                  <a:pt x="34" y="5"/>
                </a:lnTo>
                <a:lnTo>
                  <a:pt x="38" y="5"/>
                </a:lnTo>
                <a:lnTo>
                  <a:pt x="38" y="7"/>
                </a:lnTo>
                <a:lnTo>
                  <a:pt x="38" y="9"/>
                </a:lnTo>
                <a:lnTo>
                  <a:pt x="38" y="10"/>
                </a:lnTo>
                <a:lnTo>
                  <a:pt x="40" y="14"/>
                </a:lnTo>
                <a:lnTo>
                  <a:pt x="41" y="14"/>
                </a:lnTo>
                <a:lnTo>
                  <a:pt x="45" y="14"/>
                </a:lnTo>
                <a:lnTo>
                  <a:pt x="43" y="10"/>
                </a:lnTo>
                <a:lnTo>
                  <a:pt x="46" y="10"/>
                </a:lnTo>
                <a:lnTo>
                  <a:pt x="48" y="10"/>
                </a:lnTo>
                <a:lnTo>
                  <a:pt x="50" y="10"/>
                </a:lnTo>
                <a:lnTo>
                  <a:pt x="51" y="12"/>
                </a:lnTo>
                <a:lnTo>
                  <a:pt x="53" y="12"/>
                </a:lnTo>
                <a:lnTo>
                  <a:pt x="55" y="14"/>
                </a:lnTo>
                <a:lnTo>
                  <a:pt x="55" y="16"/>
                </a:lnTo>
                <a:lnTo>
                  <a:pt x="55" y="17"/>
                </a:lnTo>
                <a:lnTo>
                  <a:pt x="58" y="17"/>
                </a:lnTo>
                <a:lnTo>
                  <a:pt x="60" y="17"/>
                </a:lnTo>
                <a:lnTo>
                  <a:pt x="60" y="19"/>
                </a:lnTo>
                <a:lnTo>
                  <a:pt x="62" y="17"/>
                </a:lnTo>
                <a:lnTo>
                  <a:pt x="63" y="17"/>
                </a:lnTo>
                <a:lnTo>
                  <a:pt x="65" y="16"/>
                </a:lnTo>
                <a:lnTo>
                  <a:pt x="67" y="16"/>
                </a:lnTo>
                <a:lnTo>
                  <a:pt x="68" y="16"/>
                </a:lnTo>
                <a:lnTo>
                  <a:pt x="70" y="14"/>
                </a:lnTo>
                <a:lnTo>
                  <a:pt x="72" y="14"/>
                </a:lnTo>
                <a:lnTo>
                  <a:pt x="72" y="12"/>
                </a:lnTo>
                <a:lnTo>
                  <a:pt x="74" y="10"/>
                </a:lnTo>
                <a:lnTo>
                  <a:pt x="75" y="9"/>
                </a:lnTo>
                <a:lnTo>
                  <a:pt x="77" y="9"/>
                </a:lnTo>
                <a:lnTo>
                  <a:pt x="75" y="7"/>
                </a:lnTo>
                <a:lnTo>
                  <a:pt x="79" y="7"/>
                </a:lnTo>
                <a:lnTo>
                  <a:pt x="80" y="7"/>
                </a:lnTo>
                <a:lnTo>
                  <a:pt x="80" y="9"/>
                </a:lnTo>
                <a:lnTo>
                  <a:pt x="82" y="9"/>
                </a:lnTo>
                <a:lnTo>
                  <a:pt x="84" y="9"/>
                </a:lnTo>
                <a:lnTo>
                  <a:pt x="82" y="5"/>
                </a:lnTo>
                <a:lnTo>
                  <a:pt x="84" y="4"/>
                </a:lnTo>
                <a:lnTo>
                  <a:pt x="82" y="2"/>
                </a:lnTo>
                <a:lnTo>
                  <a:pt x="85" y="2"/>
                </a:lnTo>
                <a:lnTo>
                  <a:pt x="87" y="0"/>
                </a:lnTo>
                <a:lnTo>
                  <a:pt x="89" y="0"/>
                </a:lnTo>
                <a:lnTo>
                  <a:pt x="89" y="2"/>
                </a:lnTo>
                <a:lnTo>
                  <a:pt x="89" y="4"/>
                </a:lnTo>
                <a:lnTo>
                  <a:pt x="89" y="5"/>
                </a:lnTo>
                <a:lnTo>
                  <a:pt x="91" y="5"/>
                </a:lnTo>
                <a:lnTo>
                  <a:pt x="94" y="5"/>
                </a:lnTo>
                <a:lnTo>
                  <a:pt x="94" y="4"/>
                </a:lnTo>
                <a:lnTo>
                  <a:pt x="96" y="4"/>
                </a:lnTo>
                <a:lnTo>
                  <a:pt x="96" y="2"/>
                </a:lnTo>
                <a:lnTo>
                  <a:pt x="97" y="2"/>
                </a:lnTo>
                <a:lnTo>
                  <a:pt x="99" y="0"/>
                </a:lnTo>
                <a:lnTo>
                  <a:pt x="101" y="2"/>
                </a:lnTo>
                <a:lnTo>
                  <a:pt x="102" y="2"/>
                </a:lnTo>
                <a:lnTo>
                  <a:pt x="102" y="4"/>
                </a:lnTo>
                <a:lnTo>
                  <a:pt x="101" y="4"/>
                </a:lnTo>
                <a:lnTo>
                  <a:pt x="102" y="7"/>
                </a:lnTo>
                <a:lnTo>
                  <a:pt x="99" y="5"/>
                </a:lnTo>
                <a:lnTo>
                  <a:pt x="99" y="7"/>
                </a:lnTo>
                <a:lnTo>
                  <a:pt x="102" y="7"/>
                </a:lnTo>
                <a:lnTo>
                  <a:pt x="104" y="7"/>
                </a:lnTo>
                <a:lnTo>
                  <a:pt x="106" y="9"/>
                </a:lnTo>
                <a:lnTo>
                  <a:pt x="108" y="7"/>
                </a:lnTo>
                <a:lnTo>
                  <a:pt x="109" y="5"/>
                </a:lnTo>
                <a:lnTo>
                  <a:pt x="109" y="4"/>
                </a:lnTo>
                <a:lnTo>
                  <a:pt x="111" y="2"/>
                </a:lnTo>
                <a:lnTo>
                  <a:pt x="111" y="4"/>
                </a:lnTo>
                <a:lnTo>
                  <a:pt x="113" y="4"/>
                </a:lnTo>
                <a:lnTo>
                  <a:pt x="114" y="7"/>
                </a:lnTo>
                <a:lnTo>
                  <a:pt x="113" y="9"/>
                </a:lnTo>
                <a:lnTo>
                  <a:pt x="114" y="10"/>
                </a:lnTo>
                <a:lnTo>
                  <a:pt x="114" y="12"/>
                </a:lnTo>
                <a:lnTo>
                  <a:pt x="114" y="14"/>
                </a:lnTo>
                <a:lnTo>
                  <a:pt x="118" y="14"/>
                </a:lnTo>
                <a:lnTo>
                  <a:pt x="119" y="16"/>
                </a:lnTo>
                <a:lnTo>
                  <a:pt x="118" y="19"/>
                </a:lnTo>
                <a:lnTo>
                  <a:pt x="119" y="19"/>
                </a:lnTo>
                <a:lnTo>
                  <a:pt x="121" y="19"/>
                </a:lnTo>
                <a:lnTo>
                  <a:pt x="123" y="19"/>
                </a:lnTo>
                <a:lnTo>
                  <a:pt x="123" y="17"/>
                </a:lnTo>
                <a:lnTo>
                  <a:pt x="126" y="19"/>
                </a:lnTo>
                <a:lnTo>
                  <a:pt x="128" y="17"/>
                </a:lnTo>
                <a:lnTo>
                  <a:pt x="130" y="17"/>
                </a:lnTo>
                <a:lnTo>
                  <a:pt x="131" y="17"/>
                </a:lnTo>
                <a:lnTo>
                  <a:pt x="133" y="19"/>
                </a:lnTo>
                <a:lnTo>
                  <a:pt x="133" y="22"/>
                </a:lnTo>
                <a:lnTo>
                  <a:pt x="135" y="24"/>
                </a:lnTo>
                <a:lnTo>
                  <a:pt x="136" y="24"/>
                </a:lnTo>
                <a:lnTo>
                  <a:pt x="136" y="26"/>
                </a:lnTo>
                <a:lnTo>
                  <a:pt x="138" y="26"/>
                </a:lnTo>
                <a:lnTo>
                  <a:pt x="140" y="26"/>
                </a:lnTo>
                <a:lnTo>
                  <a:pt x="142" y="26"/>
                </a:lnTo>
                <a:lnTo>
                  <a:pt x="142" y="28"/>
                </a:lnTo>
                <a:lnTo>
                  <a:pt x="145" y="28"/>
                </a:lnTo>
                <a:lnTo>
                  <a:pt x="145" y="29"/>
                </a:lnTo>
                <a:lnTo>
                  <a:pt x="143" y="31"/>
                </a:lnTo>
                <a:lnTo>
                  <a:pt x="142" y="33"/>
                </a:lnTo>
                <a:lnTo>
                  <a:pt x="142" y="34"/>
                </a:lnTo>
                <a:lnTo>
                  <a:pt x="140" y="36"/>
                </a:lnTo>
                <a:lnTo>
                  <a:pt x="142" y="36"/>
                </a:lnTo>
                <a:lnTo>
                  <a:pt x="140" y="38"/>
                </a:lnTo>
                <a:lnTo>
                  <a:pt x="140" y="39"/>
                </a:lnTo>
                <a:lnTo>
                  <a:pt x="138" y="41"/>
                </a:lnTo>
                <a:lnTo>
                  <a:pt x="140" y="41"/>
                </a:lnTo>
                <a:lnTo>
                  <a:pt x="138" y="43"/>
                </a:lnTo>
                <a:lnTo>
                  <a:pt x="138" y="45"/>
                </a:lnTo>
                <a:lnTo>
                  <a:pt x="136" y="45"/>
                </a:lnTo>
                <a:lnTo>
                  <a:pt x="136" y="46"/>
                </a:lnTo>
                <a:lnTo>
                  <a:pt x="135" y="46"/>
                </a:lnTo>
                <a:lnTo>
                  <a:pt x="135" y="48"/>
                </a:lnTo>
                <a:lnTo>
                  <a:pt x="135" y="51"/>
                </a:lnTo>
                <a:lnTo>
                  <a:pt x="136" y="51"/>
                </a:lnTo>
                <a:lnTo>
                  <a:pt x="136" y="53"/>
                </a:lnTo>
                <a:lnTo>
                  <a:pt x="136" y="55"/>
                </a:lnTo>
                <a:lnTo>
                  <a:pt x="138" y="55"/>
                </a:lnTo>
                <a:lnTo>
                  <a:pt x="140" y="53"/>
                </a:lnTo>
                <a:lnTo>
                  <a:pt x="142" y="55"/>
                </a:lnTo>
                <a:lnTo>
                  <a:pt x="143" y="55"/>
                </a:lnTo>
                <a:lnTo>
                  <a:pt x="143" y="56"/>
                </a:lnTo>
                <a:lnTo>
                  <a:pt x="145" y="55"/>
                </a:lnTo>
                <a:lnTo>
                  <a:pt x="145" y="56"/>
                </a:lnTo>
                <a:lnTo>
                  <a:pt x="148" y="55"/>
                </a:lnTo>
                <a:lnTo>
                  <a:pt x="150" y="56"/>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65" name="Freeform 31">
            <a:extLst>
              <a:ext uri="{FF2B5EF4-FFF2-40B4-BE49-F238E27FC236}">
                <a16:creationId xmlns:a16="http://schemas.microsoft.com/office/drawing/2014/main" id="{B427AD75-D2C5-4421-B6FB-D332EDED55A6}"/>
              </a:ext>
            </a:extLst>
          </p:cNvPr>
          <p:cNvSpPr>
            <a:spLocks noEditPoints="1"/>
          </p:cNvSpPr>
          <p:nvPr/>
        </p:nvSpPr>
        <p:spPr bwMode="gray">
          <a:xfrm>
            <a:off x="2223465" y="2669732"/>
            <a:ext cx="471420" cy="556539"/>
          </a:xfrm>
          <a:custGeom>
            <a:avLst/>
            <a:gdLst>
              <a:gd name="T0" fmla="*/ 87 w 173"/>
              <a:gd name="T1" fmla="*/ 83 h 195"/>
              <a:gd name="T2" fmla="*/ 100 w 173"/>
              <a:gd name="T3" fmla="*/ 81 h 195"/>
              <a:gd name="T4" fmla="*/ 81 w 173"/>
              <a:gd name="T5" fmla="*/ 78 h 195"/>
              <a:gd name="T6" fmla="*/ 109 w 173"/>
              <a:gd name="T7" fmla="*/ 68 h 195"/>
              <a:gd name="T8" fmla="*/ 112 w 173"/>
              <a:gd name="T9" fmla="*/ 73 h 195"/>
              <a:gd name="T10" fmla="*/ 112 w 173"/>
              <a:gd name="T11" fmla="*/ 64 h 195"/>
              <a:gd name="T12" fmla="*/ 102 w 173"/>
              <a:gd name="T13" fmla="*/ 49 h 195"/>
              <a:gd name="T14" fmla="*/ 93 w 173"/>
              <a:gd name="T15" fmla="*/ 32 h 195"/>
              <a:gd name="T16" fmla="*/ 119 w 173"/>
              <a:gd name="T17" fmla="*/ 12 h 195"/>
              <a:gd name="T18" fmla="*/ 131 w 173"/>
              <a:gd name="T19" fmla="*/ 15 h 195"/>
              <a:gd name="T20" fmla="*/ 143 w 173"/>
              <a:gd name="T21" fmla="*/ 10 h 195"/>
              <a:gd name="T22" fmla="*/ 160 w 173"/>
              <a:gd name="T23" fmla="*/ 17 h 195"/>
              <a:gd name="T24" fmla="*/ 172 w 173"/>
              <a:gd name="T25" fmla="*/ 42 h 195"/>
              <a:gd name="T26" fmla="*/ 153 w 173"/>
              <a:gd name="T27" fmla="*/ 64 h 195"/>
              <a:gd name="T28" fmla="*/ 163 w 173"/>
              <a:gd name="T29" fmla="*/ 87 h 195"/>
              <a:gd name="T30" fmla="*/ 149 w 173"/>
              <a:gd name="T31" fmla="*/ 109 h 195"/>
              <a:gd name="T32" fmla="*/ 129 w 173"/>
              <a:gd name="T33" fmla="*/ 119 h 195"/>
              <a:gd name="T34" fmla="*/ 117 w 173"/>
              <a:gd name="T35" fmla="*/ 127 h 195"/>
              <a:gd name="T36" fmla="*/ 119 w 173"/>
              <a:gd name="T37" fmla="*/ 160 h 195"/>
              <a:gd name="T38" fmla="*/ 109 w 173"/>
              <a:gd name="T39" fmla="*/ 173 h 195"/>
              <a:gd name="T40" fmla="*/ 114 w 173"/>
              <a:gd name="T41" fmla="*/ 194 h 195"/>
              <a:gd name="T42" fmla="*/ 100 w 173"/>
              <a:gd name="T43" fmla="*/ 184 h 195"/>
              <a:gd name="T44" fmla="*/ 98 w 173"/>
              <a:gd name="T45" fmla="*/ 163 h 195"/>
              <a:gd name="T46" fmla="*/ 75 w 173"/>
              <a:gd name="T47" fmla="*/ 148 h 195"/>
              <a:gd name="T48" fmla="*/ 61 w 173"/>
              <a:gd name="T49" fmla="*/ 139 h 195"/>
              <a:gd name="T50" fmla="*/ 42 w 173"/>
              <a:gd name="T51" fmla="*/ 148 h 195"/>
              <a:gd name="T52" fmla="*/ 19 w 173"/>
              <a:gd name="T53" fmla="*/ 143 h 195"/>
              <a:gd name="T54" fmla="*/ 15 w 173"/>
              <a:gd name="T55" fmla="*/ 121 h 195"/>
              <a:gd name="T56" fmla="*/ 44 w 173"/>
              <a:gd name="T57" fmla="*/ 124 h 195"/>
              <a:gd name="T58" fmla="*/ 32 w 173"/>
              <a:gd name="T59" fmla="*/ 122 h 195"/>
              <a:gd name="T60" fmla="*/ 32 w 173"/>
              <a:gd name="T61" fmla="*/ 127 h 195"/>
              <a:gd name="T62" fmla="*/ 19 w 173"/>
              <a:gd name="T63" fmla="*/ 129 h 195"/>
              <a:gd name="T64" fmla="*/ 17 w 173"/>
              <a:gd name="T65" fmla="*/ 134 h 195"/>
              <a:gd name="T66" fmla="*/ 37 w 173"/>
              <a:gd name="T67" fmla="*/ 141 h 195"/>
              <a:gd name="T68" fmla="*/ 36 w 173"/>
              <a:gd name="T69" fmla="*/ 126 h 195"/>
              <a:gd name="T70" fmla="*/ 59 w 173"/>
              <a:gd name="T71" fmla="*/ 124 h 195"/>
              <a:gd name="T72" fmla="*/ 66 w 173"/>
              <a:gd name="T73" fmla="*/ 119 h 195"/>
              <a:gd name="T74" fmla="*/ 41 w 173"/>
              <a:gd name="T75" fmla="*/ 119 h 195"/>
              <a:gd name="T76" fmla="*/ 34 w 173"/>
              <a:gd name="T77" fmla="*/ 104 h 195"/>
              <a:gd name="T78" fmla="*/ 36 w 173"/>
              <a:gd name="T79" fmla="*/ 105 h 195"/>
              <a:gd name="T80" fmla="*/ 44 w 173"/>
              <a:gd name="T81" fmla="*/ 110 h 195"/>
              <a:gd name="T82" fmla="*/ 54 w 173"/>
              <a:gd name="T83" fmla="*/ 110 h 195"/>
              <a:gd name="T84" fmla="*/ 46 w 173"/>
              <a:gd name="T85" fmla="*/ 93 h 195"/>
              <a:gd name="T86" fmla="*/ 66 w 173"/>
              <a:gd name="T87" fmla="*/ 76 h 195"/>
              <a:gd name="T88" fmla="*/ 71 w 173"/>
              <a:gd name="T89" fmla="*/ 42 h 195"/>
              <a:gd name="T90" fmla="*/ 90 w 173"/>
              <a:gd name="T91" fmla="*/ 58 h 195"/>
              <a:gd name="T92" fmla="*/ 90 w 173"/>
              <a:gd name="T93" fmla="*/ 58 h 195"/>
              <a:gd name="T94" fmla="*/ 80 w 173"/>
              <a:gd name="T95" fmla="*/ 71 h 195"/>
              <a:gd name="T96" fmla="*/ 58 w 173"/>
              <a:gd name="T97" fmla="*/ 71 h 195"/>
              <a:gd name="T98" fmla="*/ 68 w 173"/>
              <a:gd name="T99" fmla="*/ 37 h 195"/>
              <a:gd name="T100" fmla="*/ 15 w 173"/>
              <a:gd name="T101" fmla="*/ 151 h 195"/>
              <a:gd name="T102" fmla="*/ 10 w 173"/>
              <a:gd name="T103" fmla="*/ 143 h 195"/>
              <a:gd name="T104" fmla="*/ 32 w 173"/>
              <a:gd name="T105" fmla="*/ 148 h 195"/>
              <a:gd name="T106" fmla="*/ 75 w 173"/>
              <a:gd name="T107" fmla="*/ 27 h 195"/>
              <a:gd name="T108" fmla="*/ 71 w 173"/>
              <a:gd name="T109" fmla="*/ 24 h 195"/>
              <a:gd name="T110" fmla="*/ 88 w 173"/>
              <a:gd name="T111" fmla="*/ 8 h 195"/>
              <a:gd name="T112" fmla="*/ 112 w 173"/>
              <a:gd name="T113" fmla="*/ 8 h 195"/>
              <a:gd name="T114" fmla="*/ 134 w 173"/>
              <a:gd name="T115" fmla="*/ 3 h 195"/>
              <a:gd name="T116" fmla="*/ 42 w 173"/>
              <a:gd name="T117" fmla="*/ 121 h 195"/>
              <a:gd name="T118" fmla="*/ 29 w 173"/>
              <a:gd name="T119" fmla="*/ 117 h 195"/>
              <a:gd name="T120" fmla="*/ 146 w 173"/>
              <a:gd name="T121" fmla="*/ 2 h 195"/>
              <a:gd name="T122" fmla="*/ 87 w 173"/>
              <a:gd name="T123" fmla="*/ 36 h 195"/>
              <a:gd name="T124" fmla="*/ 126 w 173"/>
              <a:gd name="T125" fmla="*/ 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3" h="195">
                <a:moveTo>
                  <a:pt x="73" y="78"/>
                </a:moveTo>
                <a:lnTo>
                  <a:pt x="73" y="80"/>
                </a:lnTo>
                <a:lnTo>
                  <a:pt x="75" y="81"/>
                </a:lnTo>
                <a:lnTo>
                  <a:pt x="75" y="80"/>
                </a:lnTo>
                <a:lnTo>
                  <a:pt x="73" y="80"/>
                </a:lnTo>
                <a:lnTo>
                  <a:pt x="73" y="78"/>
                </a:lnTo>
                <a:lnTo>
                  <a:pt x="75" y="78"/>
                </a:lnTo>
                <a:lnTo>
                  <a:pt x="75" y="80"/>
                </a:lnTo>
                <a:lnTo>
                  <a:pt x="73" y="80"/>
                </a:lnTo>
                <a:lnTo>
                  <a:pt x="76" y="81"/>
                </a:lnTo>
                <a:lnTo>
                  <a:pt x="78" y="81"/>
                </a:lnTo>
                <a:lnTo>
                  <a:pt x="78" y="83"/>
                </a:lnTo>
                <a:lnTo>
                  <a:pt x="78" y="81"/>
                </a:lnTo>
                <a:lnTo>
                  <a:pt x="80" y="81"/>
                </a:lnTo>
                <a:lnTo>
                  <a:pt x="81" y="83"/>
                </a:lnTo>
                <a:lnTo>
                  <a:pt x="83" y="85"/>
                </a:lnTo>
                <a:lnTo>
                  <a:pt x="85" y="85"/>
                </a:lnTo>
                <a:lnTo>
                  <a:pt x="87" y="83"/>
                </a:lnTo>
                <a:lnTo>
                  <a:pt x="85" y="85"/>
                </a:lnTo>
                <a:lnTo>
                  <a:pt x="87" y="83"/>
                </a:lnTo>
                <a:lnTo>
                  <a:pt x="88" y="85"/>
                </a:lnTo>
                <a:lnTo>
                  <a:pt x="88" y="87"/>
                </a:lnTo>
                <a:lnTo>
                  <a:pt x="90" y="88"/>
                </a:lnTo>
                <a:lnTo>
                  <a:pt x="92" y="88"/>
                </a:lnTo>
                <a:lnTo>
                  <a:pt x="93" y="90"/>
                </a:lnTo>
                <a:lnTo>
                  <a:pt x="95" y="88"/>
                </a:lnTo>
                <a:lnTo>
                  <a:pt x="98" y="88"/>
                </a:lnTo>
                <a:lnTo>
                  <a:pt x="95" y="88"/>
                </a:lnTo>
                <a:lnTo>
                  <a:pt x="98" y="88"/>
                </a:lnTo>
                <a:lnTo>
                  <a:pt x="98" y="87"/>
                </a:lnTo>
                <a:lnTo>
                  <a:pt x="98" y="85"/>
                </a:lnTo>
                <a:lnTo>
                  <a:pt x="102" y="83"/>
                </a:lnTo>
                <a:lnTo>
                  <a:pt x="102" y="81"/>
                </a:lnTo>
                <a:lnTo>
                  <a:pt x="102" y="83"/>
                </a:lnTo>
                <a:lnTo>
                  <a:pt x="102" y="81"/>
                </a:lnTo>
                <a:lnTo>
                  <a:pt x="100" y="81"/>
                </a:lnTo>
                <a:lnTo>
                  <a:pt x="98" y="83"/>
                </a:lnTo>
                <a:lnTo>
                  <a:pt x="98" y="85"/>
                </a:lnTo>
                <a:lnTo>
                  <a:pt x="98" y="87"/>
                </a:lnTo>
                <a:lnTo>
                  <a:pt x="97" y="88"/>
                </a:lnTo>
                <a:lnTo>
                  <a:pt x="95" y="88"/>
                </a:lnTo>
                <a:lnTo>
                  <a:pt x="93" y="88"/>
                </a:lnTo>
                <a:lnTo>
                  <a:pt x="92" y="88"/>
                </a:lnTo>
                <a:lnTo>
                  <a:pt x="90" y="87"/>
                </a:lnTo>
                <a:lnTo>
                  <a:pt x="90" y="85"/>
                </a:lnTo>
                <a:lnTo>
                  <a:pt x="88" y="85"/>
                </a:lnTo>
                <a:lnTo>
                  <a:pt x="87" y="83"/>
                </a:lnTo>
                <a:lnTo>
                  <a:pt x="85" y="83"/>
                </a:lnTo>
                <a:lnTo>
                  <a:pt x="83" y="83"/>
                </a:lnTo>
                <a:lnTo>
                  <a:pt x="81" y="83"/>
                </a:lnTo>
                <a:lnTo>
                  <a:pt x="81" y="81"/>
                </a:lnTo>
                <a:lnTo>
                  <a:pt x="81" y="80"/>
                </a:lnTo>
                <a:lnTo>
                  <a:pt x="83" y="78"/>
                </a:lnTo>
                <a:lnTo>
                  <a:pt x="81" y="78"/>
                </a:lnTo>
                <a:lnTo>
                  <a:pt x="83" y="78"/>
                </a:lnTo>
                <a:lnTo>
                  <a:pt x="85" y="76"/>
                </a:lnTo>
                <a:lnTo>
                  <a:pt x="87" y="76"/>
                </a:lnTo>
                <a:lnTo>
                  <a:pt x="92" y="73"/>
                </a:lnTo>
                <a:lnTo>
                  <a:pt x="93" y="73"/>
                </a:lnTo>
                <a:lnTo>
                  <a:pt x="95" y="71"/>
                </a:lnTo>
                <a:lnTo>
                  <a:pt x="95" y="68"/>
                </a:lnTo>
                <a:lnTo>
                  <a:pt x="97" y="68"/>
                </a:lnTo>
                <a:lnTo>
                  <a:pt x="98" y="68"/>
                </a:lnTo>
                <a:lnTo>
                  <a:pt x="98" y="66"/>
                </a:lnTo>
                <a:lnTo>
                  <a:pt x="100" y="66"/>
                </a:lnTo>
                <a:lnTo>
                  <a:pt x="104" y="64"/>
                </a:lnTo>
                <a:lnTo>
                  <a:pt x="105" y="66"/>
                </a:lnTo>
                <a:lnTo>
                  <a:pt x="107" y="66"/>
                </a:lnTo>
                <a:lnTo>
                  <a:pt x="109" y="66"/>
                </a:lnTo>
                <a:lnTo>
                  <a:pt x="109" y="68"/>
                </a:lnTo>
                <a:lnTo>
                  <a:pt x="109" y="66"/>
                </a:lnTo>
                <a:lnTo>
                  <a:pt x="109" y="68"/>
                </a:lnTo>
                <a:lnTo>
                  <a:pt x="110" y="68"/>
                </a:lnTo>
                <a:lnTo>
                  <a:pt x="112" y="70"/>
                </a:lnTo>
                <a:lnTo>
                  <a:pt x="112" y="71"/>
                </a:lnTo>
                <a:lnTo>
                  <a:pt x="112" y="73"/>
                </a:lnTo>
                <a:lnTo>
                  <a:pt x="110" y="76"/>
                </a:lnTo>
                <a:lnTo>
                  <a:pt x="107" y="78"/>
                </a:lnTo>
                <a:lnTo>
                  <a:pt x="104" y="80"/>
                </a:lnTo>
                <a:lnTo>
                  <a:pt x="102" y="81"/>
                </a:lnTo>
                <a:lnTo>
                  <a:pt x="104" y="81"/>
                </a:lnTo>
                <a:lnTo>
                  <a:pt x="105" y="81"/>
                </a:lnTo>
                <a:lnTo>
                  <a:pt x="107" y="80"/>
                </a:lnTo>
                <a:lnTo>
                  <a:pt x="109" y="78"/>
                </a:lnTo>
                <a:lnTo>
                  <a:pt x="110" y="78"/>
                </a:lnTo>
                <a:lnTo>
                  <a:pt x="110" y="76"/>
                </a:lnTo>
                <a:lnTo>
                  <a:pt x="112" y="76"/>
                </a:lnTo>
                <a:lnTo>
                  <a:pt x="110" y="76"/>
                </a:lnTo>
                <a:lnTo>
                  <a:pt x="112" y="75"/>
                </a:lnTo>
                <a:lnTo>
                  <a:pt x="112" y="73"/>
                </a:lnTo>
                <a:lnTo>
                  <a:pt x="114" y="71"/>
                </a:lnTo>
                <a:lnTo>
                  <a:pt x="112" y="70"/>
                </a:lnTo>
                <a:lnTo>
                  <a:pt x="112" y="68"/>
                </a:lnTo>
                <a:lnTo>
                  <a:pt x="110" y="66"/>
                </a:lnTo>
                <a:lnTo>
                  <a:pt x="112" y="66"/>
                </a:lnTo>
                <a:lnTo>
                  <a:pt x="110" y="66"/>
                </a:lnTo>
                <a:lnTo>
                  <a:pt x="112" y="66"/>
                </a:lnTo>
                <a:lnTo>
                  <a:pt x="112" y="64"/>
                </a:lnTo>
                <a:lnTo>
                  <a:pt x="114" y="64"/>
                </a:lnTo>
                <a:lnTo>
                  <a:pt x="115" y="64"/>
                </a:lnTo>
                <a:lnTo>
                  <a:pt x="119" y="64"/>
                </a:lnTo>
                <a:lnTo>
                  <a:pt x="121" y="63"/>
                </a:lnTo>
                <a:lnTo>
                  <a:pt x="119" y="63"/>
                </a:lnTo>
                <a:lnTo>
                  <a:pt x="117" y="63"/>
                </a:lnTo>
                <a:lnTo>
                  <a:pt x="115" y="64"/>
                </a:lnTo>
                <a:lnTo>
                  <a:pt x="112" y="64"/>
                </a:lnTo>
                <a:lnTo>
                  <a:pt x="109" y="64"/>
                </a:lnTo>
                <a:lnTo>
                  <a:pt x="112" y="64"/>
                </a:lnTo>
                <a:lnTo>
                  <a:pt x="109" y="64"/>
                </a:lnTo>
                <a:lnTo>
                  <a:pt x="107" y="64"/>
                </a:lnTo>
                <a:lnTo>
                  <a:pt x="105" y="64"/>
                </a:lnTo>
                <a:lnTo>
                  <a:pt x="104" y="64"/>
                </a:lnTo>
                <a:lnTo>
                  <a:pt x="104" y="61"/>
                </a:lnTo>
                <a:lnTo>
                  <a:pt x="102" y="61"/>
                </a:lnTo>
                <a:lnTo>
                  <a:pt x="102" y="59"/>
                </a:lnTo>
                <a:lnTo>
                  <a:pt x="102" y="58"/>
                </a:lnTo>
                <a:lnTo>
                  <a:pt x="102" y="56"/>
                </a:lnTo>
                <a:lnTo>
                  <a:pt x="102" y="54"/>
                </a:lnTo>
                <a:lnTo>
                  <a:pt x="104" y="53"/>
                </a:lnTo>
                <a:lnTo>
                  <a:pt x="105" y="49"/>
                </a:lnTo>
                <a:lnTo>
                  <a:pt x="109" y="49"/>
                </a:lnTo>
                <a:lnTo>
                  <a:pt x="107" y="47"/>
                </a:lnTo>
                <a:lnTo>
                  <a:pt x="107" y="49"/>
                </a:lnTo>
                <a:lnTo>
                  <a:pt x="105" y="47"/>
                </a:lnTo>
                <a:lnTo>
                  <a:pt x="102" y="47"/>
                </a:lnTo>
                <a:lnTo>
                  <a:pt x="102" y="49"/>
                </a:lnTo>
                <a:lnTo>
                  <a:pt x="100" y="49"/>
                </a:lnTo>
                <a:lnTo>
                  <a:pt x="98" y="47"/>
                </a:lnTo>
                <a:lnTo>
                  <a:pt x="97" y="47"/>
                </a:lnTo>
                <a:lnTo>
                  <a:pt x="95" y="47"/>
                </a:lnTo>
                <a:lnTo>
                  <a:pt x="93" y="46"/>
                </a:lnTo>
                <a:lnTo>
                  <a:pt x="93" y="44"/>
                </a:lnTo>
                <a:lnTo>
                  <a:pt x="95" y="42"/>
                </a:lnTo>
                <a:lnTo>
                  <a:pt x="95" y="41"/>
                </a:lnTo>
                <a:lnTo>
                  <a:pt x="97" y="39"/>
                </a:lnTo>
                <a:lnTo>
                  <a:pt x="95" y="39"/>
                </a:lnTo>
                <a:lnTo>
                  <a:pt x="95" y="37"/>
                </a:lnTo>
                <a:lnTo>
                  <a:pt x="97" y="36"/>
                </a:lnTo>
                <a:lnTo>
                  <a:pt x="95" y="36"/>
                </a:lnTo>
                <a:lnTo>
                  <a:pt x="95" y="34"/>
                </a:lnTo>
                <a:lnTo>
                  <a:pt x="95" y="32"/>
                </a:lnTo>
                <a:lnTo>
                  <a:pt x="95" y="34"/>
                </a:lnTo>
                <a:lnTo>
                  <a:pt x="95" y="30"/>
                </a:lnTo>
                <a:lnTo>
                  <a:pt x="93" y="32"/>
                </a:lnTo>
                <a:lnTo>
                  <a:pt x="93" y="30"/>
                </a:lnTo>
                <a:lnTo>
                  <a:pt x="95" y="29"/>
                </a:lnTo>
                <a:lnTo>
                  <a:pt x="97" y="29"/>
                </a:lnTo>
                <a:lnTo>
                  <a:pt x="97" y="25"/>
                </a:lnTo>
                <a:lnTo>
                  <a:pt x="98" y="24"/>
                </a:lnTo>
                <a:lnTo>
                  <a:pt x="97" y="24"/>
                </a:lnTo>
                <a:lnTo>
                  <a:pt x="98" y="22"/>
                </a:lnTo>
                <a:lnTo>
                  <a:pt x="100" y="20"/>
                </a:lnTo>
                <a:lnTo>
                  <a:pt x="102" y="19"/>
                </a:lnTo>
                <a:lnTo>
                  <a:pt x="104" y="17"/>
                </a:lnTo>
                <a:lnTo>
                  <a:pt x="105" y="17"/>
                </a:lnTo>
                <a:lnTo>
                  <a:pt x="107" y="15"/>
                </a:lnTo>
                <a:lnTo>
                  <a:pt x="109" y="15"/>
                </a:lnTo>
                <a:lnTo>
                  <a:pt x="112" y="13"/>
                </a:lnTo>
                <a:lnTo>
                  <a:pt x="115" y="12"/>
                </a:lnTo>
                <a:lnTo>
                  <a:pt x="117" y="12"/>
                </a:lnTo>
                <a:lnTo>
                  <a:pt x="117" y="10"/>
                </a:lnTo>
                <a:lnTo>
                  <a:pt x="119" y="12"/>
                </a:lnTo>
                <a:lnTo>
                  <a:pt x="121" y="10"/>
                </a:lnTo>
                <a:lnTo>
                  <a:pt x="122" y="10"/>
                </a:lnTo>
                <a:lnTo>
                  <a:pt x="126" y="10"/>
                </a:lnTo>
                <a:lnTo>
                  <a:pt x="127" y="10"/>
                </a:lnTo>
                <a:lnTo>
                  <a:pt x="129" y="10"/>
                </a:lnTo>
                <a:lnTo>
                  <a:pt x="131" y="10"/>
                </a:lnTo>
                <a:lnTo>
                  <a:pt x="129" y="10"/>
                </a:lnTo>
                <a:lnTo>
                  <a:pt x="129" y="12"/>
                </a:lnTo>
                <a:lnTo>
                  <a:pt x="129" y="13"/>
                </a:lnTo>
                <a:lnTo>
                  <a:pt x="127" y="13"/>
                </a:lnTo>
                <a:lnTo>
                  <a:pt x="129" y="15"/>
                </a:lnTo>
                <a:lnTo>
                  <a:pt x="129" y="17"/>
                </a:lnTo>
                <a:lnTo>
                  <a:pt x="129" y="15"/>
                </a:lnTo>
                <a:lnTo>
                  <a:pt x="131" y="15"/>
                </a:lnTo>
                <a:lnTo>
                  <a:pt x="129" y="13"/>
                </a:lnTo>
                <a:lnTo>
                  <a:pt x="131" y="15"/>
                </a:lnTo>
                <a:lnTo>
                  <a:pt x="131" y="13"/>
                </a:lnTo>
                <a:lnTo>
                  <a:pt x="131" y="15"/>
                </a:lnTo>
                <a:lnTo>
                  <a:pt x="132" y="15"/>
                </a:lnTo>
                <a:lnTo>
                  <a:pt x="131" y="13"/>
                </a:lnTo>
                <a:lnTo>
                  <a:pt x="132" y="15"/>
                </a:lnTo>
                <a:lnTo>
                  <a:pt x="134" y="15"/>
                </a:lnTo>
                <a:lnTo>
                  <a:pt x="132" y="15"/>
                </a:lnTo>
                <a:lnTo>
                  <a:pt x="132" y="13"/>
                </a:lnTo>
                <a:lnTo>
                  <a:pt x="131" y="13"/>
                </a:lnTo>
                <a:lnTo>
                  <a:pt x="132" y="13"/>
                </a:lnTo>
                <a:lnTo>
                  <a:pt x="129" y="12"/>
                </a:lnTo>
                <a:lnTo>
                  <a:pt x="131" y="12"/>
                </a:lnTo>
                <a:lnTo>
                  <a:pt x="129" y="10"/>
                </a:lnTo>
                <a:lnTo>
                  <a:pt x="132" y="12"/>
                </a:lnTo>
                <a:lnTo>
                  <a:pt x="131" y="10"/>
                </a:lnTo>
                <a:lnTo>
                  <a:pt x="132" y="10"/>
                </a:lnTo>
                <a:lnTo>
                  <a:pt x="136" y="12"/>
                </a:lnTo>
                <a:lnTo>
                  <a:pt x="138" y="10"/>
                </a:lnTo>
                <a:lnTo>
                  <a:pt x="141" y="10"/>
                </a:lnTo>
                <a:lnTo>
                  <a:pt x="143" y="10"/>
                </a:lnTo>
                <a:lnTo>
                  <a:pt x="144" y="10"/>
                </a:lnTo>
                <a:lnTo>
                  <a:pt x="146" y="8"/>
                </a:lnTo>
                <a:lnTo>
                  <a:pt x="146" y="10"/>
                </a:lnTo>
                <a:lnTo>
                  <a:pt x="146" y="8"/>
                </a:lnTo>
                <a:lnTo>
                  <a:pt x="148" y="8"/>
                </a:lnTo>
                <a:lnTo>
                  <a:pt x="151" y="8"/>
                </a:lnTo>
                <a:lnTo>
                  <a:pt x="153" y="7"/>
                </a:lnTo>
                <a:lnTo>
                  <a:pt x="156" y="8"/>
                </a:lnTo>
                <a:lnTo>
                  <a:pt x="158" y="10"/>
                </a:lnTo>
                <a:lnTo>
                  <a:pt x="158" y="8"/>
                </a:lnTo>
                <a:lnTo>
                  <a:pt x="160" y="8"/>
                </a:lnTo>
                <a:lnTo>
                  <a:pt x="158" y="12"/>
                </a:lnTo>
                <a:lnTo>
                  <a:pt x="160" y="13"/>
                </a:lnTo>
                <a:lnTo>
                  <a:pt x="160" y="15"/>
                </a:lnTo>
                <a:lnTo>
                  <a:pt x="161" y="17"/>
                </a:lnTo>
                <a:lnTo>
                  <a:pt x="163" y="19"/>
                </a:lnTo>
                <a:lnTo>
                  <a:pt x="161" y="17"/>
                </a:lnTo>
                <a:lnTo>
                  <a:pt x="160" y="17"/>
                </a:lnTo>
                <a:lnTo>
                  <a:pt x="161" y="19"/>
                </a:lnTo>
                <a:lnTo>
                  <a:pt x="163" y="19"/>
                </a:lnTo>
                <a:lnTo>
                  <a:pt x="165" y="19"/>
                </a:lnTo>
                <a:lnTo>
                  <a:pt x="165" y="20"/>
                </a:lnTo>
                <a:lnTo>
                  <a:pt x="168" y="19"/>
                </a:lnTo>
                <a:lnTo>
                  <a:pt x="166" y="20"/>
                </a:lnTo>
                <a:lnTo>
                  <a:pt x="166" y="22"/>
                </a:lnTo>
                <a:lnTo>
                  <a:pt x="170" y="24"/>
                </a:lnTo>
                <a:lnTo>
                  <a:pt x="172" y="24"/>
                </a:lnTo>
                <a:lnTo>
                  <a:pt x="172" y="27"/>
                </a:lnTo>
                <a:lnTo>
                  <a:pt x="173" y="29"/>
                </a:lnTo>
                <a:lnTo>
                  <a:pt x="172" y="29"/>
                </a:lnTo>
                <a:lnTo>
                  <a:pt x="170" y="30"/>
                </a:lnTo>
                <a:lnTo>
                  <a:pt x="172" y="32"/>
                </a:lnTo>
                <a:lnTo>
                  <a:pt x="172" y="36"/>
                </a:lnTo>
                <a:lnTo>
                  <a:pt x="172" y="37"/>
                </a:lnTo>
                <a:lnTo>
                  <a:pt x="172" y="41"/>
                </a:lnTo>
                <a:lnTo>
                  <a:pt x="172" y="42"/>
                </a:lnTo>
                <a:lnTo>
                  <a:pt x="170" y="44"/>
                </a:lnTo>
                <a:lnTo>
                  <a:pt x="168" y="47"/>
                </a:lnTo>
                <a:lnTo>
                  <a:pt x="168" y="49"/>
                </a:lnTo>
                <a:lnTo>
                  <a:pt x="166" y="49"/>
                </a:lnTo>
                <a:lnTo>
                  <a:pt x="166" y="51"/>
                </a:lnTo>
                <a:lnTo>
                  <a:pt x="165" y="54"/>
                </a:lnTo>
                <a:lnTo>
                  <a:pt x="165" y="56"/>
                </a:lnTo>
                <a:lnTo>
                  <a:pt x="165" y="59"/>
                </a:lnTo>
                <a:lnTo>
                  <a:pt x="165" y="61"/>
                </a:lnTo>
                <a:lnTo>
                  <a:pt x="165" y="63"/>
                </a:lnTo>
                <a:lnTo>
                  <a:pt x="163" y="64"/>
                </a:lnTo>
                <a:lnTo>
                  <a:pt x="165" y="64"/>
                </a:lnTo>
                <a:lnTo>
                  <a:pt x="163" y="66"/>
                </a:lnTo>
                <a:lnTo>
                  <a:pt x="161" y="64"/>
                </a:lnTo>
                <a:lnTo>
                  <a:pt x="158" y="66"/>
                </a:lnTo>
                <a:lnTo>
                  <a:pt x="156" y="64"/>
                </a:lnTo>
                <a:lnTo>
                  <a:pt x="155" y="64"/>
                </a:lnTo>
                <a:lnTo>
                  <a:pt x="153" y="64"/>
                </a:lnTo>
                <a:lnTo>
                  <a:pt x="151" y="64"/>
                </a:lnTo>
                <a:lnTo>
                  <a:pt x="149" y="66"/>
                </a:lnTo>
                <a:lnTo>
                  <a:pt x="149" y="68"/>
                </a:lnTo>
                <a:lnTo>
                  <a:pt x="151" y="71"/>
                </a:lnTo>
                <a:lnTo>
                  <a:pt x="149" y="70"/>
                </a:lnTo>
                <a:lnTo>
                  <a:pt x="149" y="71"/>
                </a:lnTo>
                <a:lnTo>
                  <a:pt x="148" y="71"/>
                </a:lnTo>
                <a:lnTo>
                  <a:pt x="149" y="73"/>
                </a:lnTo>
                <a:lnTo>
                  <a:pt x="148" y="76"/>
                </a:lnTo>
                <a:lnTo>
                  <a:pt x="151" y="78"/>
                </a:lnTo>
                <a:lnTo>
                  <a:pt x="155" y="78"/>
                </a:lnTo>
                <a:lnTo>
                  <a:pt x="156" y="78"/>
                </a:lnTo>
                <a:lnTo>
                  <a:pt x="158" y="80"/>
                </a:lnTo>
                <a:lnTo>
                  <a:pt x="161" y="78"/>
                </a:lnTo>
                <a:lnTo>
                  <a:pt x="161" y="80"/>
                </a:lnTo>
                <a:lnTo>
                  <a:pt x="163" y="83"/>
                </a:lnTo>
                <a:lnTo>
                  <a:pt x="163" y="85"/>
                </a:lnTo>
                <a:lnTo>
                  <a:pt x="163" y="87"/>
                </a:lnTo>
                <a:lnTo>
                  <a:pt x="163" y="88"/>
                </a:lnTo>
                <a:lnTo>
                  <a:pt x="161" y="90"/>
                </a:lnTo>
                <a:lnTo>
                  <a:pt x="161" y="92"/>
                </a:lnTo>
                <a:lnTo>
                  <a:pt x="163" y="93"/>
                </a:lnTo>
                <a:lnTo>
                  <a:pt x="161" y="95"/>
                </a:lnTo>
                <a:lnTo>
                  <a:pt x="160" y="95"/>
                </a:lnTo>
                <a:lnTo>
                  <a:pt x="158" y="97"/>
                </a:lnTo>
                <a:lnTo>
                  <a:pt x="156" y="98"/>
                </a:lnTo>
                <a:lnTo>
                  <a:pt x="155" y="98"/>
                </a:lnTo>
                <a:lnTo>
                  <a:pt x="155" y="100"/>
                </a:lnTo>
                <a:lnTo>
                  <a:pt x="155" y="102"/>
                </a:lnTo>
                <a:lnTo>
                  <a:pt x="153" y="102"/>
                </a:lnTo>
                <a:lnTo>
                  <a:pt x="149" y="102"/>
                </a:lnTo>
                <a:lnTo>
                  <a:pt x="149" y="104"/>
                </a:lnTo>
                <a:lnTo>
                  <a:pt x="146" y="105"/>
                </a:lnTo>
                <a:lnTo>
                  <a:pt x="146" y="107"/>
                </a:lnTo>
                <a:lnTo>
                  <a:pt x="149" y="107"/>
                </a:lnTo>
                <a:lnTo>
                  <a:pt x="149" y="109"/>
                </a:lnTo>
                <a:lnTo>
                  <a:pt x="151" y="110"/>
                </a:lnTo>
                <a:lnTo>
                  <a:pt x="153" y="110"/>
                </a:lnTo>
                <a:lnTo>
                  <a:pt x="153" y="112"/>
                </a:lnTo>
                <a:lnTo>
                  <a:pt x="151" y="112"/>
                </a:lnTo>
                <a:lnTo>
                  <a:pt x="151" y="115"/>
                </a:lnTo>
                <a:lnTo>
                  <a:pt x="149" y="115"/>
                </a:lnTo>
                <a:lnTo>
                  <a:pt x="148" y="117"/>
                </a:lnTo>
                <a:lnTo>
                  <a:pt x="146" y="115"/>
                </a:lnTo>
                <a:lnTo>
                  <a:pt x="144" y="117"/>
                </a:lnTo>
                <a:lnTo>
                  <a:pt x="141" y="117"/>
                </a:lnTo>
                <a:lnTo>
                  <a:pt x="139" y="117"/>
                </a:lnTo>
                <a:lnTo>
                  <a:pt x="138" y="119"/>
                </a:lnTo>
                <a:lnTo>
                  <a:pt x="136" y="119"/>
                </a:lnTo>
                <a:lnTo>
                  <a:pt x="132" y="117"/>
                </a:lnTo>
                <a:lnTo>
                  <a:pt x="134" y="119"/>
                </a:lnTo>
                <a:lnTo>
                  <a:pt x="134" y="121"/>
                </a:lnTo>
                <a:lnTo>
                  <a:pt x="131" y="119"/>
                </a:lnTo>
                <a:lnTo>
                  <a:pt x="129" y="119"/>
                </a:lnTo>
                <a:lnTo>
                  <a:pt x="129" y="117"/>
                </a:lnTo>
                <a:lnTo>
                  <a:pt x="126" y="117"/>
                </a:lnTo>
                <a:lnTo>
                  <a:pt x="124" y="115"/>
                </a:lnTo>
                <a:lnTo>
                  <a:pt x="122" y="115"/>
                </a:lnTo>
                <a:lnTo>
                  <a:pt x="121" y="115"/>
                </a:lnTo>
                <a:lnTo>
                  <a:pt x="122" y="117"/>
                </a:lnTo>
                <a:lnTo>
                  <a:pt x="124" y="119"/>
                </a:lnTo>
                <a:lnTo>
                  <a:pt x="121" y="119"/>
                </a:lnTo>
                <a:lnTo>
                  <a:pt x="119" y="117"/>
                </a:lnTo>
                <a:lnTo>
                  <a:pt x="117" y="119"/>
                </a:lnTo>
                <a:lnTo>
                  <a:pt x="115" y="121"/>
                </a:lnTo>
                <a:lnTo>
                  <a:pt x="114" y="119"/>
                </a:lnTo>
                <a:lnTo>
                  <a:pt x="114" y="121"/>
                </a:lnTo>
                <a:lnTo>
                  <a:pt x="115" y="122"/>
                </a:lnTo>
                <a:lnTo>
                  <a:pt x="115" y="124"/>
                </a:lnTo>
                <a:lnTo>
                  <a:pt x="114" y="126"/>
                </a:lnTo>
                <a:lnTo>
                  <a:pt x="115" y="126"/>
                </a:lnTo>
                <a:lnTo>
                  <a:pt x="117" y="127"/>
                </a:lnTo>
                <a:lnTo>
                  <a:pt x="117" y="129"/>
                </a:lnTo>
                <a:lnTo>
                  <a:pt x="117" y="131"/>
                </a:lnTo>
                <a:lnTo>
                  <a:pt x="119" y="132"/>
                </a:lnTo>
                <a:lnTo>
                  <a:pt x="121" y="132"/>
                </a:lnTo>
                <a:lnTo>
                  <a:pt x="119" y="134"/>
                </a:lnTo>
                <a:lnTo>
                  <a:pt x="119" y="136"/>
                </a:lnTo>
                <a:lnTo>
                  <a:pt x="121" y="138"/>
                </a:lnTo>
                <a:lnTo>
                  <a:pt x="122" y="139"/>
                </a:lnTo>
                <a:lnTo>
                  <a:pt x="122" y="141"/>
                </a:lnTo>
                <a:lnTo>
                  <a:pt x="124" y="141"/>
                </a:lnTo>
                <a:lnTo>
                  <a:pt x="124" y="143"/>
                </a:lnTo>
                <a:lnTo>
                  <a:pt x="124" y="144"/>
                </a:lnTo>
                <a:lnTo>
                  <a:pt x="124" y="148"/>
                </a:lnTo>
                <a:lnTo>
                  <a:pt x="124" y="151"/>
                </a:lnTo>
                <a:lnTo>
                  <a:pt x="124" y="153"/>
                </a:lnTo>
                <a:lnTo>
                  <a:pt x="122" y="155"/>
                </a:lnTo>
                <a:lnTo>
                  <a:pt x="121" y="156"/>
                </a:lnTo>
                <a:lnTo>
                  <a:pt x="119" y="160"/>
                </a:lnTo>
                <a:lnTo>
                  <a:pt x="117" y="161"/>
                </a:lnTo>
                <a:lnTo>
                  <a:pt x="117" y="163"/>
                </a:lnTo>
                <a:lnTo>
                  <a:pt x="117" y="165"/>
                </a:lnTo>
                <a:lnTo>
                  <a:pt x="117" y="167"/>
                </a:lnTo>
                <a:lnTo>
                  <a:pt x="119" y="165"/>
                </a:lnTo>
                <a:lnTo>
                  <a:pt x="121" y="165"/>
                </a:lnTo>
                <a:lnTo>
                  <a:pt x="122" y="165"/>
                </a:lnTo>
                <a:lnTo>
                  <a:pt x="119" y="167"/>
                </a:lnTo>
                <a:lnTo>
                  <a:pt x="121" y="167"/>
                </a:lnTo>
                <a:lnTo>
                  <a:pt x="121" y="168"/>
                </a:lnTo>
                <a:lnTo>
                  <a:pt x="119" y="168"/>
                </a:lnTo>
                <a:lnTo>
                  <a:pt x="117" y="168"/>
                </a:lnTo>
                <a:lnTo>
                  <a:pt x="117" y="170"/>
                </a:lnTo>
                <a:lnTo>
                  <a:pt x="115" y="172"/>
                </a:lnTo>
                <a:lnTo>
                  <a:pt x="114" y="172"/>
                </a:lnTo>
                <a:lnTo>
                  <a:pt x="112" y="173"/>
                </a:lnTo>
                <a:lnTo>
                  <a:pt x="110" y="175"/>
                </a:lnTo>
                <a:lnTo>
                  <a:pt x="109" y="173"/>
                </a:lnTo>
                <a:lnTo>
                  <a:pt x="107" y="173"/>
                </a:lnTo>
                <a:lnTo>
                  <a:pt x="107" y="177"/>
                </a:lnTo>
                <a:lnTo>
                  <a:pt x="109" y="177"/>
                </a:lnTo>
                <a:lnTo>
                  <a:pt x="109" y="180"/>
                </a:lnTo>
                <a:lnTo>
                  <a:pt x="110" y="178"/>
                </a:lnTo>
                <a:lnTo>
                  <a:pt x="112" y="178"/>
                </a:lnTo>
                <a:lnTo>
                  <a:pt x="114" y="178"/>
                </a:lnTo>
                <a:lnTo>
                  <a:pt x="114" y="180"/>
                </a:lnTo>
                <a:lnTo>
                  <a:pt x="114" y="182"/>
                </a:lnTo>
                <a:lnTo>
                  <a:pt x="115" y="184"/>
                </a:lnTo>
                <a:lnTo>
                  <a:pt x="117" y="184"/>
                </a:lnTo>
                <a:lnTo>
                  <a:pt x="115" y="185"/>
                </a:lnTo>
                <a:lnTo>
                  <a:pt x="115" y="187"/>
                </a:lnTo>
                <a:lnTo>
                  <a:pt x="115" y="189"/>
                </a:lnTo>
                <a:lnTo>
                  <a:pt x="114" y="189"/>
                </a:lnTo>
                <a:lnTo>
                  <a:pt x="114" y="190"/>
                </a:lnTo>
                <a:lnTo>
                  <a:pt x="110" y="192"/>
                </a:lnTo>
                <a:lnTo>
                  <a:pt x="114" y="194"/>
                </a:lnTo>
                <a:lnTo>
                  <a:pt x="112" y="195"/>
                </a:lnTo>
                <a:lnTo>
                  <a:pt x="110" y="194"/>
                </a:lnTo>
                <a:lnTo>
                  <a:pt x="107" y="195"/>
                </a:lnTo>
                <a:lnTo>
                  <a:pt x="107" y="194"/>
                </a:lnTo>
                <a:lnTo>
                  <a:pt x="105" y="195"/>
                </a:lnTo>
                <a:lnTo>
                  <a:pt x="105" y="194"/>
                </a:lnTo>
                <a:lnTo>
                  <a:pt x="104" y="194"/>
                </a:lnTo>
                <a:lnTo>
                  <a:pt x="102" y="192"/>
                </a:lnTo>
                <a:lnTo>
                  <a:pt x="100" y="194"/>
                </a:lnTo>
                <a:lnTo>
                  <a:pt x="98" y="194"/>
                </a:lnTo>
                <a:lnTo>
                  <a:pt x="98" y="192"/>
                </a:lnTo>
                <a:lnTo>
                  <a:pt x="98" y="190"/>
                </a:lnTo>
                <a:lnTo>
                  <a:pt x="97" y="190"/>
                </a:lnTo>
                <a:lnTo>
                  <a:pt x="97" y="187"/>
                </a:lnTo>
                <a:lnTo>
                  <a:pt x="97" y="185"/>
                </a:lnTo>
                <a:lnTo>
                  <a:pt x="98" y="185"/>
                </a:lnTo>
                <a:lnTo>
                  <a:pt x="98" y="184"/>
                </a:lnTo>
                <a:lnTo>
                  <a:pt x="100" y="184"/>
                </a:lnTo>
                <a:lnTo>
                  <a:pt x="100" y="182"/>
                </a:lnTo>
                <a:lnTo>
                  <a:pt x="102" y="180"/>
                </a:lnTo>
                <a:lnTo>
                  <a:pt x="100" y="180"/>
                </a:lnTo>
                <a:lnTo>
                  <a:pt x="102" y="178"/>
                </a:lnTo>
                <a:lnTo>
                  <a:pt x="102" y="177"/>
                </a:lnTo>
                <a:lnTo>
                  <a:pt x="104" y="175"/>
                </a:lnTo>
                <a:lnTo>
                  <a:pt x="102" y="175"/>
                </a:lnTo>
                <a:lnTo>
                  <a:pt x="104" y="173"/>
                </a:lnTo>
                <a:lnTo>
                  <a:pt x="104" y="172"/>
                </a:lnTo>
                <a:lnTo>
                  <a:pt x="105" y="170"/>
                </a:lnTo>
                <a:lnTo>
                  <a:pt x="107" y="168"/>
                </a:lnTo>
                <a:lnTo>
                  <a:pt x="107" y="167"/>
                </a:lnTo>
                <a:lnTo>
                  <a:pt x="104" y="167"/>
                </a:lnTo>
                <a:lnTo>
                  <a:pt x="104" y="165"/>
                </a:lnTo>
                <a:lnTo>
                  <a:pt x="102" y="165"/>
                </a:lnTo>
                <a:lnTo>
                  <a:pt x="100" y="165"/>
                </a:lnTo>
                <a:lnTo>
                  <a:pt x="98" y="165"/>
                </a:lnTo>
                <a:lnTo>
                  <a:pt x="98" y="163"/>
                </a:lnTo>
                <a:lnTo>
                  <a:pt x="97" y="163"/>
                </a:lnTo>
                <a:lnTo>
                  <a:pt x="95" y="161"/>
                </a:lnTo>
                <a:lnTo>
                  <a:pt x="95" y="158"/>
                </a:lnTo>
                <a:lnTo>
                  <a:pt x="93" y="156"/>
                </a:lnTo>
                <a:lnTo>
                  <a:pt x="92" y="156"/>
                </a:lnTo>
                <a:lnTo>
                  <a:pt x="90" y="156"/>
                </a:lnTo>
                <a:lnTo>
                  <a:pt x="88" y="158"/>
                </a:lnTo>
                <a:lnTo>
                  <a:pt x="85" y="156"/>
                </a:lnTo>
                <a:lnTo>
                  <a:pt x="85" y="158"/>
                </a:lnTo>
                <a:lnTo>
                  <a:pt x="83" y="158"/>
                </a:lnTo>
                <a:lnTo>
                  <a:pt x="81" y="158"/>
                </a:lnTo>
                <a:lnTo>
                  <a:pt x="80" y="158"/>
                </a:lnTo>
                <a:lnTo>
                  <a:pt x="81" y="155"/>
                </a:lnTo>
                <a:lnTo>
                  <a:pt x="80" y="153"/>
                </a:lnTo>
                <a:lnTo>
                  <a:pt x="76" y="153"/>
                </a:lnTo>
                <a:lnTo>
                  <a:pt x="76" y="151"/>
                </a:lnTo>
                <a:lnTo>
                  <a:pt x="76" y="149"/>
                </a:lnTo>
                <a:lnTo>
                  <a:pt x="75" y="148"/>
                </a:lnTo>
                <a:lnTo>
                  <a:pt x="76" y="146"/>
                </a:lnTo>
                <a:lnTo>
                  <a:pt x="75" y="143"/>
                </a:lnTo>
                <a:lnTo>
                  <a:pt x="73" y="143"/>
                </a:lnTo>
                <a:lnTo>
                  <a:pt x="73" y="141"/>
                </a:lnTo>
                <a:lnTo>
                  <a:pt x="71" y="143"/>
                </a:lnTo>
                <a:lnTo>
                  <a:pt x="71" y="144"/>
                </a:lnTo>
                <a:lnTo>
                  <a:pt x="70" y="146"/>
                </a:lnTo>
                <a:lnTo>
                  <a:pt x="68" y="148"/>
                </a:lnTo>
                <a:lnTo>
                  <a:pt x="66" y="146"/>
                </a:lnTo>
                <a:lnTo>
                  <a:pt x="64" y="146"/>
                </a:lnTo>
                <a:lnTo>
                  <a:pt x="61" y="146"/>
                </a:lnTo>
                <a:lnTo>
                  <a:pt x="61" y="144"/>
                </a:lnTo>
                <a:lnTo>
                  <a:pt x="64" y="146"/>
                </a:lnTo>
                <a:lnTo>
                  <a:pt x="63" y="143"/>
                </a:lnTo>
                <a:lnTo>
                  <a:pt x="64" y="143"/>
                </a:lnTo>
                <a:lnTo>
                  <a:pt x="64" y="141"/>
                </a:lnTo>
                <a:lnTo>
                  <a:pt x="63" y="141"/>
                </a:lnTo>
                <a:lnTo>
                  <a:pt x="61" y="139"/>
                </a:lnTo>
                <a:lnTo>
                  <a:pt x="59" y="141"/>
                </a:lnTo>
                <a:lnTo>
                  <a:pt x="58" y="141"/>
                </a:lnTo>
                <a:lnTo>
                  <a:pt x="58" y="143"/>
                </a:lnTo>
                <a:lnTo>
                  <a:pt x="56" y="143"/>
                </a:lnTo>
                <a:lnTo>
                  <a:pt x="56" y="144"/>
                </a:lnTo>
                <a:lnTo>
                  <a:pt x="53" y="144"/>
                </a:lnTo>
                <a:lnTo>
                  <a:pt x="51" y="144"/>
                </a:lnTo>
                <a:lnTo>
                  <a:pt x="51" y="143"/>
                </a:lnTo>
                <a:lnTo>
                  <a:pt x="51" y="141"/>
                </a:lnTo>
                <a:lnTo>
                  <a:pt x="51" y="139"/>
                </a:lnTo>
                <a:lnTo>
                  <a:pt x="49" y="139"/>
                </a:lnTo>
                <a:lnTo>
                  <a:pt x="47" y="141"/>
                </a:lnTo>
                <a:lnTo>
                  <a:pt x="44" y="141"/>
                </a:lnTo>
                <a:lnTo>
                  <a:pt x="46" y="143"/>
                </a:lnTo>
                <a:lnTo>
                  <a:pt x="44" y="144"/>
                </a:lnTo>
                <a:lnTo>
                  <a:pt x="46" y="148"/>
                </a:lnTo>
                <a:lnTo>
                  <a:pt x="44" y="148"/>
                </a:lnTo>
                <a:lnTo>
                  <a:pt x="42" y="148"/>
                </a:lnTo>
                <a:lnTo>
                  <a:pt x="42" y="146"/>
                </a:lnTo>
                <a:lnTo>
                  <a:pt x="41" y="146"/>
                </a:lnTo>
                <a:lnTo>
                  <a:pt x="37" y="146"/>
                </a:lnTo>
                <a:lnTo>
                  <a:pt x="36" y="144"/>
                </a:lnTo>
                <a:lnTo>
                  <a:pt x="34" y="144"/>
                </a:lnTo>
                <a:lnTo>
                  <a:pt x="32" y="144"/>
                </a:lnTo>
                <a:lnTo>
                  <a:pt x="30" y="143"/>
                </a:lnTo>
                <a:lnTo>
                  <a:pt x="29" y="141"/>
                </a:lnTo>
                <a:lnTo>
                  <a:pt x="29" y="139"/>
                </a:lnTo>
                <a:lnTo>
                  <a:pt x="29" y="141"/>
                </a:lnTo>
                <a:lnTo>
                  <a:pt x="27" y="139"/>
                </a:lnTo>
                <a:lnTo>
                  <a:pt x="24" y="139"/>
                </a:lnTo>
                <a:lnTo>
                  <a:pt x="25" y="141"/>
                </a:lnTo>
                <a:lnTo>
                  <a:pt x="24" y="141"/>
                </a:lnTo>
                <a:lnTo>
                  <a:pt x="24" y="144"/>
                </a:lnTo>
                <a:lnTo>
                  <a:pt x="22" y="144"/>
                </a:lnTo>
                <a:lnTo>
                  <a:pt x="19" y="144"/>
                </a:lnTo>
                <a:lnTo>
                  <a:pt x="19" y="143"/>
                </a:lnTo>
                <a:lnTo>
                  <a:pt x="15" y="143"/>
                </a:lnTo>
                <a:lnTo>
                  <a:pt x="15" y="141"/>
                </a:lnTo>
                <a:lnTo>
                  <a:pt x="13" y="139"/>
                </a:lnTo>
                <a:lnTo>
                  <a:pt x="15" y="139"/>
                </a:lnTo>
                <a:lnTo>
                  <a:pt x="15" y="138"/>
                </a:lnTo>
                <a:lnTo>
                  <a:pt x="13" y="139"/>
                </a:lnTo>
                <a:lnTo>
                  <a:pt x="10" y="139"/>
                </a:lnTo>
                <a:lnTo>
                  <a:pt x="7" y="138"/>
                </a:lnTo>
                <a:lnTo>
                  <a:pt x="7" y="136"/>
                </a:lnTo>
                <a:lnTo>
                  <a:pt x="3" y="132"/>
                </a:lnTo>
                <a:lnTo>
                  <a:pt x="7" y="131"/>
                </a:lnTo>
                <a:lnTo>
                  <a:pt x="10" y="129"/>
                </a:lnTo>
                <a:lnTo>
                  <a:pt x="12" y="129"/>
                </a:lnTo>
                <a:lnTo>
                  <a:pt x="15" y="129"/>
                </a:lnTo>
                <a:lnTo>
                  <a:pt x="15" y="127"/>
                </a:lnTo>
                <a:lnTo>
                  <a:pt x="17" y="126"/>
                </a:lnTo>
                <a:lnTo>
                  <a:pt x="15" y="122"/>
                </a:lnTo>
                <a:lnTo>
                  <a:pt x="15" y="121"/>
                </a:lnTo>
                <a:lnTo>
                  <a:pt x="17" y="119"/>
                </a:lnTo>
                <a:lnTo>
                  <a:pt x="20" y="119"/>
                </a:lnTo>
                <a:lnTo>
                  <a:pt x="22" y="119"/>
                </a:lnTo>
                <a:lnTo>
                  <a:pt x="24" y="117"/>
                </a:lnTo>
                <a:lnTo>
                  <a:pt x="24" y="114"/>
                </a:lnTo>
                <a:lnTo>
                  <a:pt x="27" y="114"/>
                </a:lnTo>
                <a:lnTo>
                  <a:pt x="29" y="112"/>
                </a:lnTo>
                <a:lnTo>
                  <a:pt x="30" y="112"/>
                </a:lnTo>
                <a:lnTo>
                  <a:pt x="29" y="112"/>
                </a:lnTo>
                <a:lnTo>
                  <a:pt x="30" y="112"/>
                </a:lnTo>
                <a:lnTo>
                  <a:pt x="29" y="114"/>
                </a:lnTo>
                <a:lnTo>
                  <a:pt x="30" y="114"/>
                </a:lnTo>
                <a:lnTo>
                  <a:pt x="32" y="115"/>
                </a:lnTo>
                <a:lnTo>
                  <a:pt x="36" y="117"/>
                </a:lnTo>
                <a:lnTo>
                  <a:pt x="37" y="119"/>
                </a:lnTo>
                <a:lnTo>
                  <a:pt x="41" y="121"/>
                </a:lnTo>
                <a:lnTo>
                  <a:pt x="41" y="122"/>
                </a:lnTo>
                <a:lnTo>
                  <a:pt x="44" y="124"/>
                </a:lnTo>
                <a:lnTo>
                  <a:pt x="46" y="124"/>
                </a:lnTo>
                <a:lnTo>
                  <a:pt x="46" y="126"/>
                </a:lnTo>
                <a:lnTo>
                  <a:pt x="46" y="124"/>
                </a:lnTo>
                <a:lnTo>
                  <a:pt x="44" y="124"/>
                </a:lnTo>
                <a:lnTo>
                  <a:pt x="46" y="126"/>
                </a:lnTo>
                <a:lnTo>
                  <a:pt x="44" y="126"/>
                </a:lnTo>
                <a:lnTo>
                  <a:pt x="44" y="127"/>
                </a:lnTo>
                <a:lnTo>
                  <a:pt x="41" y="127"/>
                </a:lnTo>
                <a:lnTo>
                  <a:pt x="39" y="127"/>
                </a:lnTo>
                <a:lnTo>
                  <a:pt x="39" y="126"/>
                </a:lnTo>
                <a:lnTo>
                  <a:pt x="37" y="124"/>
                </a:lnTo>
                <a:lnTo>
                  <a:pt x="36" y="124"/>
                </a:lnTo>
                <a:lnTo>
                  <a:pt x="36" y="126"/>
                </a:lnTo>
                <a:lnTo>
                  <a:pt x="37" y="126"/>
                </a:lnTo>
                <a:lnTo>
                  <a:pt x="36" y="126"/>
                </a:lnTo>
                <a:lnTo>
                  <a:pt x="36" y="124"/>
                </a:lnTo>
                <a:lnTo>
                  <a:pt x="36" y="122"/>
                </a:lnTo>
                <a:lnTo>
                  <a:pt x="32" y="122"/>
                </a:lnTo>
                <a:lnTo>
                  <a:pt x="32" y="124"/>
                </a:lnTo>
                <a:lnTo>
                  <a:pt x="32" y="122"/>
                </a:lnTo>
                <a:lnTo>
                  <a:pt x="30" y="121"/>
                </a:lnTo>
                <a:lnTo>
                  <a:pt x="30" y="119"/>
                </a:lnTo>
                <a:lnTo>
                  <a:pt x="30" y="115"/>
                </a:lnTo>
                <a:lnTo>
                  <a:pt x="27" y="115"/>
                </a:lnTo>
                <a:lnTo>
                  <a:pt x="25" y="115"/>
                </a:lnTo>
                <a:lnTo>
                  <a:pt x="24" y="119"/>
                </a:lnTo>
                <a:lnTo>
                  <a:pt x="22" y="119"/>
                </a:lnTo>
                <a:lnTo>
                  <a:pt x="25" y="119"/>
                </a:lnTo>
                <a:lnTo>
                  <a:pt x="25" y="121"/>
                </a:lnTo>
                <a:lnTo>
                  <a:pt x="29" y="121"/>
                </a:lnTo>
                <a:lnTo>
                  <a:pt x="30" y="124"/>
                </a:lnTo>
                <a:lnTo>
                  <a:pt x="32" y="126"/>
                </a:lnTo>
                <a:lnTo>
                  <a:pt x="34" y="124"/>
                </a:lnTo>
                <a:lnTo>
                  <a:pt x="36" y="126"/>
                </a:lnTo>
                <a:lnTo>
                  <a:pt x="34" y="126"/>
                </a:lnTo>
                <a:lnTo>
                  <a:pt x="32" y="127"/>
                </a:lnTo>
                <a:lnTo>
                  <a:pt x="29" y="129"/>
                </a:lnTo>
                <a:lnTo>
                  <a:pt x="27" y="129"/>
                </a:lnTo>
                <a:lnTo>
                  <a:pt x="25" y="127"/>
                </a:lnTo>
                <a:lnTo>
                  <a:pt x="24" y="127"/>
                </a:lnTo>
                <a:lnTo>
                  <a:pt x="25" y="126"/>
                </a:lnTo>
                <a:lnTo>
                  <a:pt x="24" y="127"/>
                </a:lnTo>
                <a:lnTo>
                  <a:pt x="24" y="124"/>
                </a:lnTo>
                <a:lnTo>
                  <a:pt x="20" y="124"/>
                </a:lnTo>
                <a:lnTo>
                  <a:pt x="22" y="122"/>
                </a:lnTo>
                <a:lnTo>
                  <a:pt x="20" y="122"/>
                </a:lnTo>
                <a:lnTo>
                  <a:pt x="19" y="124"/>
                </a:lnTo>
                <a:lnTo>
                  <a:pt x="17" y="124"/>
                </a:lnTo>
                <a:lnTo>
                  <a:pt x="17" y="126"/>
                </a:lnTo>
                <a:lnTo>
                  <a:pt x="17" y="127"/>
                </a:lnTo>
                <a:lnTo>
                  <a:pt x="15" y="127"/>
                </a:lnTo>
                <a:lnTo>
                  <a:pt x="15" y="129"/>
                </a:lnTo>
                <a:lnTo>
                  <a:pt x="17" y="129"/>
                </a:lnTo>
                <a:lnTo>
                  <a:pt x="19" y="129"/>
                </a:lnTo>
                <a:lnTo>
                  <a:pt x="20" y="129"/>
                </a:lnTo>
                <a:lnTo>
                  <a:pt x="22" y="129"/>
                </a:lnTo>
                <a:lnTo>
                  <a:pt x="24" y="131"/>
                </a:lnTo>
                <a:lnTo>
                  <a:pt x="24" y="132"/>
                </a:lnTo>
                <a:lnTo>
                  <a:pt x="22" y="134"/>
                </a:lnTo>
                <a:lnTo>
                  <a:pt x="22" y="132"/>
                </a:lnTo>
                <a:lnTo>
                  <a:pt x="20" y="132"/>
                </a:lnTo>
                <a:lnTo>
                  <a:pt x="19" y="132"/>
                </a:lnTo>
                <a:lnTo>
                  <a:pt x="17" y="132"/>
                </a:lnTo>
                <a:lnTo>
                  <a:pt x="15" y="134"/>
                </a:lnTo>
                <a:lnTo>
                  <a:pt x="15" y="131"/>
                </a:lnTo>
                <a:lnTo>
                  <a:pt x="15" y="132"/>
                </a:lnTo>
                <a:lnTo>
                  <a:pt x="13" y="131"/>
                </a:lnTo>
                <a:lnTo>
                  <a:pt x="13" y="129"/>
                </a:lnTo>
                <a:lnTo>
                  <a:pt x="12" y="131"/>
                </a:lnTo>
                <a:lnTo>
                  <a:pt x="13" y="132"/>
                </a:lnTo>
                <a:lnTo>
                  <a:pt x="15" y="136"/>
                </a:lnTo>
                <a:lnTo>
                  <a:pt x="17" y="134"/>
                </a:lnTo>
                <a:lnTo>
                  <a:pt x="15" y="134"/>
                </a:lnTo>
                <a:lnTo>
                  <a:pt x="17" y="134"/>
                </a:lnTo>
                <a:lnTo>
                  <a:pt x="17" y="132"/>
                </a:lnTo>
                <a:lnTo>
                  <a:pt x="19" y="132"/>
                </a:lnTo>
                <a:lnTo>
                  <a:pt x="17" y="132"/>
                </a:lnTo>
                <a:lnTo>
                  <a:pt x="19" y="132"/>
                </a:lnTo>
                <a:lnTo>
                  <a:pt x="20" y="132"/>
                </a:lnTo>
                <a:lnTo>
                  <a:pt x="22" y="134"/>
                </a:lnTo>
                <a:lnTo>
                  <a:pt x="25" y="134"/>
                </a:lnTo>
                <a:lnTo>
                  <a:pt x="27" y="134"/>
                </a:lnTo>
                <a:lnTo>
                  <a:pt x="29" y="136"/>
                </a:lnTo>
                <a:lnTo>
                  <a:pt x="30" y="138"/>
                </a:lnTo>
                <a:lnTo>
                  <a:pt x="30" y="139"/>
                </a:lnTo>
                <a:lnTo>
                  <a:pt x="32" y="141"/>
                </a:lnTo>
                <a:lnTo>
                  <a:pt x="34" y="143"/>
                </a:lnTo>
                <a:lnTo>
                  <a:pt x="36" y="141"/>
                </a:lnTo>
                <a:lnTo>
                  <a:pt x="37" y="143"/>
                </a:lnTo>
                <a:lnTo>
                  <a:pt x="37" y="141"/>
                </a:lnTo>
                <a:lnTo>
                  <a:pt x="37" y="138"/>
                </a:lnTo>
                <a:lnTo>
                  <a:pt x="36" y="138"/>
                </a:lnTo>
                <a:lnTo>
                  <a:pt x="36" y="136"/>
                </a:lnTo>
                <a:lnTo>
                  <a:pt x="34" y="136"/>
                </a:lnTo>
                <a:lnTo>
                  <a:pt x="32" y="136"/>
                </a:lnTo>
                <a:lnTo>
                  <a:pt x="30" y="134"/>
                </a:lnTo>
                <a:lnTo>
                  <a:pt x="29" y="132"/>
                </a:lnTo>
                <a:lnTo>
                  <a:pt x="27" y="131"/>
                </a:lnTo>
                <a:lnTo>
                  <a:pt x="29" y="131"/>
                </a:lnTo>
                <a:lnTo>
                  <a:pt x="32" y="129"/>
                </a:lnTo>
                <a:lnTo>
                  <a:pt x="34" y="131"/>
                </a:lnTo>
                <a:lnTo>
                  <a:pt x="36" y="131"/>
                </a:lnTo>
                <a:lnTo>
                  <a:pt x="36" y="129"/>
                </a:lnTo>
                <a:lnTo>
                  <a:pt x="34" y="129"/>
                </a:lnTo>
                <a:lnTo>
                  <a:pt x="34" y="127"/>
                </a:lnTo>
                <a:lnTo>
                  <a:pt x="36" y="127"/>
                </a:lnTo>
                <a:lnTo>
                  <a:pt x="37" y="129"/>
                </a:lnTo>
                <a:lnTo>
                  <a:pt x="36" y="126"/>
                </a:lnTo>
                <a:lnTo>
                  <a:pt x="37" y="126"/>
                </a:lnTo>
                <a:lnTo>
                  <a:pt x="36" y="126"/>
                </a:lnTo>
                <a:lnTo>
                  <a:pt x="36" y="127"/>
                </a:lnTo>
                <a:lnTo>
                  <a:pt x="37" y="127"/>
                </a:lnTo>
                <a:lnTo>
                  <a:pt x="37" y="129"/>
                </a:lnTo>
                <a:lnTo>
                  <a:pt x="39" y="127"/>
                </a:lnTo>
                <a:lnTo>
                  <a:pt x="41" y="129"/>
                </a:lnTo>
                <a:lnTo>
                  <a:pt x="44" y="127"/>
                </a:lnTo>
                <a:lnTo>
                  <a:pt x="46" y="127"/>
                </a:lnTo>
                <a:lnTo>
                  <a:pt x="46" y="126"/>
                </a:lnTo>
                <a:lnTo>
                  <a:pt x="47" y="124"/>
                </a:lnTo>
                <a:lnTo>
                  <a:pt x="47" y="126"/>
                </a:lnTo>
                <a:lnTo>
                  <a:pt x="47" y="124"/>
                </a:lnTo>
                <a:lnTo>
                  <a:pt x="51" y="126"/>
                </a:lnTo>
                <a:lnTo>
                  <a:pt x="53" y="126"/>
                </a:lnTo>
                <a:lnTo>
                  <a:pt x="56" y="126"/>
                </a:lnTo>
                <a:lnTo>
                  <a:pt x="58" y="124"/>
                </a:lnTo>
                <a:lnTo>
                  <a:pt x="59" y="124"/>
                </a:lnTo>
                <a:lnTo>
                  <a:pt x="61" y="124"/>
                </a:lnTo>
                <a:lnTo>
                  <a:pt x="64" y="126"/>
                </a:lnTo>
                <a:lnTo>
                  <a:pt x="66" y="126"/>
                </a:lnTo>
                <a:lnTo>
                  <a:pt x="66" y="124"/>
                </a:lnTo>
                <a:lnTo>
                  <a:pt x="64" y="124"/>
                </a:lnTo>
                <a:lnTo>
                  <a:pt x="61" y="124"/>
                </a:lnTo>
                <a:lnTo>
                  <a:pt x="64" y="122"/>
                </a:lnTo>
                <a:lnTo>
                  <a:pt x="63" y="122"/>
                </a:lnTo>
                <a:lnTo>
                  <a:pt x="61" y="122"/>
                </a:lnTo>
                <a:lnTo>
                  <a:pt x="63" y="121"/>
                </a:lnTo>
                <a:lnTo>
                  <a:pt x="61" y="122"/>
                </a:lnTo>
                <a:lnTo>
                  <a:pt x="59" y="122"/>
                </a:lnTo>
                <a:lnTo>
                  <a:pt x="59" y="124"/>
                </a:lnTo>
                <a:lnTo>
                  <a:pt x="61" y="122"/>
                </a:lnTo>
                <a:lnTo>
                  <a:pt x="63" y="119"/>
                </a:lnTo>
                <a:lnTo>
                  <a:pt x="66" y="119"/>
                </a:lnTo>
                <a:lnTo>
                  <a:pt x="68" y="117"/>
                </a:lnTo>
                <a:lnTo>
                  <a:pt x="66" y="119"/>
                </a:lnTo>
                <a:lnTo>
                  <a:pt x="64" y="119"/>
                </a:lnTo>
                <a:lnTo>
                  <a:pt x="63" y="119"/>
                </a:lnTo>
                <a:lnTo>
                  <a:pt x="61" y="121"/>
                </a:lnTo>
                <a:lnTo>
                  <a:pt x="59" y="122"/>
                </a:lnTo>
                <a:lnTo>
                  <a:pt x="58" y="124"/>
                </a:lnTo>
                <a:lnTo>
                  <a:pt x="58" y="122"/>
                </a:lnTo>
                <a:lnTo>
                  <a:pt x="58" y="124"/>
                </a:lnTo>
                <a:lnTo>
                  <a:pt x="56" y="122"/>
                </a:lnTo>
                <a:lnTo>
                  <a:pt x="56" y="124"/>
                </a:lnTo>
                <a:lnTo>
                  <a:pt x="53" y="124"/>
                </a:lnTo>
                <a:lnTo>
                  <a:pt x="49" y="124"/>
                </a:lnTo>
                <a:lnTo>
                  <a:pt x="47" y="122"/>
                </a:lnTo>
                <a:lnTo>
                  <a:pt x="46" y="122"/>
                </a:lnTo>
                <a:lnTo>
                  <a:pt x="44" y="121"/>
                </a:lnTo>
                <a:lnTo>
                  <a:pt x="42" y="121"/>
                </a:lnTo>
                <a:lnTo>
                  <a:pt x="41" y="119"/>
                </a:lnTo>
                <a:lnTo>
                  <a:pt x="39" y="119"/>
                </a:lnTo>
                <a:lnTo>
                  <a:pt x="41" y="119"/>
                </a:lnTo>
                <a:lnTo>
                  <a:pt x="41" y="117"/>
                </a:lnTo>
                <a:lnTo>
                  <a:pt x="39" y="115"/>
                </a:lnTo>
                <a:lnTo>
                  <a:pt x="37" y="117"/>
                </a:lnTo>
                <a:lnTo>
                  <a:pt x="37" y="115"/>
                </a:lnTo>
                <a:lnTo>
                  <a:pt x="36" y="115"/>
                </a:lnTo>
                <a:lnTo>
                  <a:pt x="36" y="114"/>
                </a:lnTo>
                <a:lnTo>
                  <a:pt x="34" y="114"/>
                </a:lnTo>
                <a:lnTo>
                  <a:pt x="32" y="114"/>
                </a:lnTo>
                <a:lnTo>
                  <a:pt x="32" y="112"/>
                </a:lnTo>
                <a:lnTo>
                  <a:pt x="32" y="110"/>
                </a:lnTo>
                <a:lnTo>
                  <a:pt x="32" y="109"/>
                </a:lnTo>
                <a:lnTo>
                  <a:pt x="32" y="107"/>
                </a:lnTo>
                <a:lnTo>
                  <a:pt x="30" y="109"/>
                </a:lnTo>
                <a:lnTo>
                  <a:pt x="30" y="107"/>
                </a:lnTo>
                <a:lnTo>
                  <a:pt x="29" y="105"/>
                </a:lnTo>
                <a:lnTo>
                  <a:pt x="30" y="104"/>
                </a:lnTo>
                <a:lnTo>
                  <a:pt x="32" y="104"/>
                </a:lnTo>
                <a:lnTo>
                  <a:pt x="34" y="104"/>
                </a:lnTo>
                <a:lnTo>
                  <a:pt x="34" y="105"/>
                </a:lnTo>
                <a:lnTo>
                  <a:pt x="34" y="104"/>
                </a:lnTo>
                <a:lnTo>
                  <a:pt x="34" y="105"/>
                </a:lnTo>
                <a:lnTo>
                  <a:pt x="30" y="104"/>
                </a:lnTo>
                <a:lnTo>
                  <a:pt x="29" y="105"/>
                </a:lnTo>
                <a:lnTo>
                  <a:pt x="30" y="105"/>
                </a:lnTo>
                <a:lnTo>
                  <a:pt x="30" y="107"/>
                </a:lnTo>
                <a:lnTo>
                  <a:pt x="32" y="105"/>
                </a:lnTo>
                <a:lnTo>
                  <a:pt x="30" y="104"/>
                </a:lnTo>
                <a:lnTo>
                  <a:pt x="32" y="105"/>
                </a:lnTo>
                <a:lnTo>
                  <a:pt x="34" y="105"/>
                </a:lnTo>
                <a:lnTo>
                  <a:pt x="32" y="105"/>
                </a:lnTo>
                <a:lnTo>
                  <a:pt x="34" y="107"/>
                </a:lnTo>
                <a:lnTo>
                  <a:pt x="32" y="107"/>
                </a:lnTo>
                <a:lnTo>
                  <a:pt x="32" y="105"/>
                </a:lnTo>
                <a:lnTo>
                  <a:pt x="32" y="107"/>
                </a:lnTo>
                <a:lnTo>
                  <a:pt x="34" y="107"/>
                </a:lnTo>
                <a:lnTo>
                  <a:pt x="36" y="105"/>
                </a:lnTo>
                <a:lnTo>
                  <a:pt x="36" y="107"/>
                </a:lnTo>
                <a:lnTo>
                  <a:pt x="37" y="105"/>
                </a:lnTo>
                <a:lnTo>
                  <a:pt x="37" y="107"/>
                </a:lnTo>
                <a:lnTo>
                  <a:pt x="39" y="107"/>
                </a:lnTo>
                <a:lnTo>
                  <a:pt x="39" y="109"/>
                </a:lnTo>
                <a:lnTo>
                  <a:pt x="41" y="110"/>
                </a:lnTo>
                <a:lnTo>
                  <a:pt x="41" y="109"/>
                </a:lnTo>
                <a:lnTo>
                  <a:pt x="37" y="107"/>
                </a:lnTo>
                <a:lnTo>
                  <a:pt x="37" y="105"/>
                </a:lnTo>
                <a:lnTo>
                  <a:pt x="36" y="105"/>
                </a:lnTo>
                <a:lnTo>
                  <a:pt x="37" y="105"/>
                </a:lnTo>
                <a:lnTo>
                  <a:pt x="39" y="107"/>
                </a:lnTo>
                <a:lnTo>
                  <a:pt x="41" y="109"/>
                </a:lnTo>
                <a:lnTo>
                  <a:pt x="42" y="110"/>
                </a:lnTo>
                <a:lnTo>
                  <a:pt x="44" y="110"/>
                </a:lnTo>
                <a:lnTo>
                  <a:pt x="42" y="110"/>
                </a:lnTo>
                <a:lnTo>
                  <a:pt x="42" y="112"/>
                </a:lnTo>
                <a:lnTo>
                  <a:pt x="44" y="110"/>
                </a:lnTo>
                <a:lnTo>
                  <a:pt x="42" y="112"/>
                </a:lnTo>
                <a:lnTo>
                  <a:pt x="44" y="112"/>
                </a:lnTo>
                <a:lnTo>
                  <a:pt x="44" y="110"/>
                </a:lnTo>
                <a:lnTo>
                  <a:pt x="44" y="112"/>
                </a:lnTo>
                <a:lnTo>
                  <a:pt x="44" y="110"/>
                </a:lnTo>
                <a:lnTo>
                  <a:pt x="46" y="112"/>
                </a:lnTo>
                <a:lnTo>
                  <a:pt x="46" y="110"/>
                </a:lnTo>
                <a:lnTo>
                  <a:pt x="46" y="112"/>
                </a:lnTo>
                <a:lnTo>
                  <a:pt x="46" y="110"/>
                </a:lnTo>
                <a:lnTo>
                  <a:pt x="49" y="112"/>
                </a:lnTo>
                <a:lnTo>
                  <a:pt x="47" y="110"/>
                </a:lnTo>
                <a:lnTo>
                  <a:pt x="49" y="110"/>
                </a:lnTo>
                <a:lnTo>
                  <a:pt x="49" y="112"/>
                </a:lnTo>
                <a:lnTo>
                  <a:pt x="51" y="110"/>
                </a:lnTo>
                <a:lnTo>
                  <a:pt x="49" y="110"/>
                </a:lnTo>
                <a:lnTo>
                  <a:pt x="51" y="110"/>
                </a:lnTo>
                <a:lnTo>
                  <a:pt x="53" y="110"/>
                </a:lnTo>
                <a:lnTo>
                  <a:pt x="54" y="110"/>
                </a:lnTo>
                <a:lnTo>
                  <a:pt x="53" y="109"/>
                </a:lnTo>
                <a:lnTo>
                  <a:pt x="51" y="110"/>
                </a:lnTo>
                <a:lnTo>
                  <a:pt x="47" y="110"/>
                </a:lnTo>
                <a:lnTo>
                  <a:pt x="46" y="110"/>
                </a:lnTo>
                <a:lnTo>
                  <a:pt x="42" y="110"/>
                </a:lnTo>
                <a:lnTo>
                  <a:pt x="41" y="109"/>
                </a:lnTo>
                <a:lnTo>
                  <a:pt x="41" y="107"/>
                </a:lnTo>
                <a:lnTo>
                  <a:pt x="37" y="105"/>
                </a:lnTo>
                <a:lnTo>
                  <a:pt x="36" y="104"/>
                </a:lnTo>
                <a:lnTo>
                  <a:pt x="37" y="102"/>
                </a:lnTo>
                <a:lnTo>
                  <a:pt x="37" y="100"/>
                </a:lnTo>
                <a:lnTo>
                  <a:pt x="39" y="100"/>
                </a:lnTo>
                <a:lnTo>
                  <a:pt x="39" y="98"/>
                </a:lnTo>
                <a:lnTo>
                  <a:pt x="42" y="97"/>
                </a:lnTo>
                <a:lnTo>
                  <a:pt x="42" y="95"/>
                </a:lnTo>
                <a:lnTo>
                  <a:pt x="42" y="97"/>
                </a:lnTo>
                <a:lnTo>
                  <a:pt x="42" y="95"/>
                </a:lnTo>
                <a:lnTo>
                  <a:pt x="46" y="93"/>
                </a:lnTo>
                <a:lnTo>
                  <a:pt x="47" y="90"/>
                </a:lnTo>
                <a:lnTo>
                  <a:pt x="49" y="88"/>
                </a:lnTo>
                <a:lnTo>
                  <a:pt x="51" y="87"/>
                </a:lnTo>
                <a:lnTo>
                  <a:pt x="51" y="85"/>
                </a:lnTo>
                <a:lnTo>
                  <a:pt x="53" y="83"/>
                </a:lnTo>
                <a:lnTo>
                  <a:pt x="54" y="81"/>
                </a:lnTo>
                <a:lnTo>
                  <a:pt x="54" y="80"/>
                </a:lnTo>
                <a:lnTo>
                  <a:pt x="54" y="78"/>
                </a:lnTo>
                <a:lnTo>
                  <a:pt x="56" y="78"/>
                </a:lnTo>
                <a:lnTo>
                  <a:pt x="58" y="75"/>
                </a:lnTo>
                <a:lnTo>
                  <a:pt x="58" y="73"/>
                </a:lnTo>
                <a:lnTo>
                  <a:pt x="56" y="71"/>
                </a:lnTo>
                <a:lnTo>
                  <a:pt x="58" y="73"/>
                </a:lnTo>
                <a:lnTo>
                  <a:pt x="61" y="71"/>
                </a:lnTo>
                <a:lnTo>
                  <a:pt x="61" y="73"/>
                </a:lnTo>
                <a:lnTo>
                  <a:pt x="64" y="75"/>
                </a:lnTo>
                <a:lnTo>
                  <a:pt x="66" y="75"/>
                </a:lnTo>
                <a:lnTo>
                  <a:pt x="66" y="76"/>
                </a:lnTo>
                <a:lnTo>
                  <a:pt x="68" y="76"/>
                </a:lnTo>
                <a:lnTo>
                  <a:pt x="66" y="75"/>
                </a:lnTo>
                <a:lnTo>
                  <a:pt x="68" y="76"/>
                </a:lnTo>
                <a:lnTo>
                  <a:pt x="68" y="78"/>
                </a:lnTo>
                <a:lnTo>
                  <a:pt x="70" y="76"/>
                </a:lnTo>
                <a:lnTo>
                  <a:pt x="68" y="76"/>
                </a:lnTo>
                <a:lnTo>
                  <a:pt x="70" y="76"/>
                </a:lnTo>
                <a:lnTo>
                  <a:pt x="71" y="76"/>
                </a:lnTo>
                <a:lnTo>
                  <a:pt x="70" y="76"/>
                </a:lnTo>
                <a:lnTo>
                  <a:pt x="71" y="76"/>
                </a:lnTo>
                <a:lnTo>
                  <a:pt x="71" y="78"/>
                </a:lnTo>
                <a:lnTo>
                  <a:pt x="73" y="78"/>
                </a:lnTo>
                <a:close/>
                <a:moveTo>
                  <a:pt x="70" y="37"/>
                </a:moveTo>
                <a:lnTo>
                  <a:pt x="70" y="39"/>
                </a:lnTo>
                <a:lnTo>
                  <a:pt x="70" y="37"/>
                </a:lnTo>
                <a:lnTo>
                  <a:pt x="70" y="39"/>
                </a:lnTo>
                <a:lnTo>
                  <a:pt x="70" y="41"/>
                </a:lnTo>
                <a:lnTo>
                  <a:pt x="71" y="42"/>
                </a:lnTo>
                <a:lnTo>
                  <a:pt x="73" y="42"/>
                </a:lnTo>
                <a:lnTo>
                  <a:pt x="76" y="42"/>
                </a:lnTo>
                <a:lnTo>
                  <a:pt x="76" y="41"/>
                </a:lnTo>
                <a:lnTo>
                  <a:pt x="80" y="39"/>
                </a:lnTo>
                <a:lnTo>
                  <a:pt x="80" y="41"/>
                </a:lnTo>
                <a:lnTo>
                  <a:pt x="81" y="44"/>
                </a:lnTo>
                <a:lnTo>
                  <a:pt x="81" y="46"/>
                </a:lnTo>
                <a:lnTo>
                  <a:pt x="83" y="46"/>
                </a:lnTo>
                <a:lnTo>
                  <a:pt x="83" y="47"/>
                </a:lnTo>
                <a:lnTo>
                  <a:pt x="81" y="51"/>
                </a:lnTo>
                <a:lnTo>
                  <a:pt x="83" y="51"/>
                </a:lnTo>
                <a:lnTo>
                  <a:pt x="81" y="53"/>
                </a:lnTo>
                <a:lnTo>
                  <a:pt x="83" y="54"/>
                </a:lnTo>
                <a:lnTo>
                  <a:pt x="85" y="54"/>
                </a:lnTo>
                <a:lnTo>
                  <a:pt x="85" y="53"/>
                </a:lnTo>
                <a:lnTo>
                  <a:pt x="88" y="54"/>
                </a:lnTo>
                <a:lnTo>
                  <a:pt x="90" y="54"/>
                </a:lnTo>
                <a:lnTo>
                  <a:pt x="90" y="58"/>
                </a:lnTo>
                <a:lnTo>
                  <a:pt x="88" y="58"/>
                </a:lnTo>
                <a:lnTo>
                  <a:pt x="90" y="58"/>
                </a:lnTo>
                <a:lnTo>
                  <a:pt x="92" y="59"/>
                </a:lnTo>
                <a:lnTo>
                  <a:pt x="93" y="61"/>
                </a:lnTo>
                <a:lnTo>
                  <a:pt x="95" y="63"/>
                </a:lnTo>
                <a:lnTo>
                  <a:pt x="95" y="64"/>
                </a:lnTo>
                <a:lnTo>
                  <a:pt x="97" y="64"/>
                </a:lnTo>
                <a:lnTo>
                  <a:pt x="97" y="66"/>
                </a:lnTo>
                <a:lnTo>
                  <a:pt x="97" y="68"/>
                </a:lnTo>
                <a:lnTo>
                  <a:pt x="95" y="68"/>
                </a:lnTo>
                <a:lnTo>
                  <a:pt x="95" y="70"/>
                </a:lnTo>
                <a:lnTo>
                  <a:pt x="95" y="68"/>
                </a:lnTo>
                <a:lnTo>
                  <a:pt x="97" y="66"/>
                </a:lnTo>
                <a:lnTo>
                  <a:pt x="95" y="64"/>
                </a:lnTo>
                <a:lnTo>
                  <a:pt x="95" y="63"/>
                </a:lnTo>
                <a:lnTo>
                  <a:pt x="93" y="61"/>
                </a:lnTo>
                <a:lnTo>
                  <a:pt x="92" y="59"/>
                </a:lnTo>
                <a:lnTo>
                  <a:pt x="90" y="58"/>
                </a:lnTo>
                <a:lnTo>
                  <a:pt x="88" y="58"/>
                </a:lnTo>
                <a:lnTo>
                  <a:pt x="87" y="61"/>
                </a:lnTo>
                <a:lnTo>
                  <a:pt x="85" y="61"/>
                </a:lnTo>
                <a:lnTo>
                  <a:pt x="83" y="63"/>
                </a:lnTo>
                <a:lnTo>
                  <a:pt x="81" y="63"/>
                </a:lnTo>
                <a:lnTo>
                  <a:pt x="81" y="61"/>
                </a:lnTo>
                <a:lnTo>
                  <a:pt x="78" y="61"/>
                </a:lnTo>
                <a:lnTo>
                  <a:pt x="78" y="64"/>
                </a:lnTo>
                <a:lnTo>
                  <a:pt x="78" y="66"/>
                </a:lnTo>
                <a:lnTo>
                  <a:pt x="80" y="70"/>
                </a:lnTo>
                <a:lnTo>
                  <a:pt x="80" y="71"/>
                </a:lnTo>
                <a:lnTo>
                  <a:pt x="78" y="71"/>
                </a:lnTo>
                <a:lnTo>
                  <a:pt x="80" y="73"/>
                </a:lnTo>
                <a:lnTo>
                  <a:pt x="78" y="73"/>
                </a:lnTo>
                <a:lnTo>
                  <a:pt x="78" y="75"/>
                </a:lnTo>
                <a:lnTo>
                  <a:pt x="80" y="75"/>
                </a:lnTo>
                <a:lnTo>
                  <a:pt x="80" y="73"/>
                </a:lnTo>
                <a:lnTo>
                  <a:pt x="80" y="71"/>
                </a:lnTo>
                <a:lnTo>
                  <a:pt x="80" y="73"/>
                </a:lnTo>
                <a:lnTo>
                  <a:pt x="81" y="73"/>
                </a:lnTo>
                <a:lnTo>
                  <a:pt x="80" y="75"/>
                </a:lnTo>
                <a:lnTo>
                  <a:pt x="78" y="76"/>
                </a:lnTo>
                <a:lnTo>
                  <a:pt x="76" y="78"/>
                </a:lnTo>
                <a:lnTo>
                  <a:pt x="76" y="80"/>
                </a:lnTo>
                <a:lnTo>
                  <a:pt x="73" y="78"/>
                </a:lnTo>
                <a:lnTo>
                  <a:pt x="71" y="78"/>
                </a:lnTo>
                <a:lnTo>
                  <a:pt x="70" y="76"/>
                </a:lnTo>
                <a:lnTo>
                  <a:pt x="70" y="75"/>
                </a:lnTo>
                <a:lnTo>
                  <a:pt x="70" y="76"/>
                </a:lnTo>
                <a:lnTo>
                  <a:pt x="66" y="75"/>
                </a:lnTo>
                <a:lnTo>
                  <a:pt x="64" y="75"/>
                </a:lnTo>
                <a:lnTo>
                  <a:pt x="61" y="71"/>
                </a:lnTo>
                <a:lnTo>
                  <a:pt x="63" y="71"/>
                </a:lnTo>
                <a:lnTo>
                  <a:pt x="61" y="71"/>
                </a:lnTo>
                <a:lnTo>
                  <a:pt x="59" y="71"/>
                </a:lnTo>
                <a:lnTo>
                  <a:pt x="58" y="71"/>
                </a:lnTo>
                <a:lnTo>
                  <a:pt x="56" y="71"/>
                </a:lnTo>
                <a:lnTo>
                  <a:pt x="58" y="71"/>
                </a:lnTo>
                <a:lnTo>
                  <a:pt x="59" y="70"/>
                </a:lnTo>
                <a:lnTo>
                  <a:pt x="59" y="68"/>
                </a:lnTo>
                <a:lnTo>
                  <a:pt x="59" y="64"/>
                </a:lnTo>
                <a:lnTo>
                  <a:pt x="61" y="63"/>
                </a:lnTo>
                <a:lnTo>
                  <a:pt x="61" y="59"/>
                </a:lnTo>
                <a:lnTo>
                  <a:pt x="61" y="58"/>
                </a:lnTo>
                <a:lnTo>
                  <a:pt x="61" y="56"/>
                </a:lnTo>
                <a:lnTo>
                  <a:pt x="63" y="54"/>
                </a:lnTo>
                <a:lnTo>
                  <a:pt x="63" y="51"/>
                </a:lnTo>
                <a:lnTo>
                  <a:pt x="64" y="47"/>
                </a:lnTo>
                <a:lnTo>
                  <a:pt x="64" y="44"/>
                </a:lnTo>
                <a:lnTo>
                  <a:pt x="66" y="44"/>
                </a:lnTo>
                <a:lnTo>
                  <a:pt x="66" y="42"/>
                </a:lnTo>
                <a:lnTo>
                  <a:pt x="66" y="41"/>
                </a:lnTo>
                <a:lnTo>
                  <a:pt x="66" y="39"/>
                </a:lnTo>
                <a:lnTo>
                  <a:pt x="68" y="37"/>
                </a:lnTo>
                <a:lnTo>
                  <a:pt x="70" y="37"/>
                </a:lnTo>
                <a:close/>
                <a:moveTo>
                  <a:pt x="37" y="148"/>
                </a:moveTo>
                <a:lnTo>
                  <a:pt x="36" y="149"/>
                </a:lnTo>
                <a:lnTo>
                  <a:pt x="34" y="151"/>
                </a:lnTo>
                <a:lnTo>
                  <a:pt x="34" y="153"/>
                </a:lnTo>
                <a:lnTo>
                  <a:pt x="32" y="153"/>
                </a:lnTo>
                <a:lnTo>
                  <a:pt x="30" y="155"/>
                </a:lnTo>
                <a:lnTo>
                  <a:pt x="29" y="155"/>
                </a:lnTo>
                <a:lnTo>
                  <a:pt x="27" y="155"/>
                </a:lnTo>
                <a:lnTo>
                  <a:pt x="25" y="156"/>
                </a:lnTo>
                <a:lnTo>
                  <a:pt x="24" y="156"/>
                </a:lnTo>
                <a:lnTo>
                  <a:pt x="22" y="158"/>
                </a:lnTo>
                <a:lnTo>
                  <a:pt x="22" y="156"/>
                </a:lnTo>
                <a:lnTo>
                  <a:pt x="20" y="156"/>
                </a:lnTo>
                <a:lnTo>
                  <a:pt x="17" y="156"/>
                </a:lnTo>
                <a:lnTo>
                  <a:pt x="17" y="155"/>
                </a:lnTo>
                <a:lnTo>
                  <a:pt x="17" y="153"/>
                </a:lnTo>
                <a:lnTo>
                  <a:pt x="15" y="151"/>
                </a:lnTo>
                <a:lnTo>
                  <a:pt x="13" y="151"/>
                </a:lnTo>
                <a:lnTo>
                  <a:pt x="12" y="149"/>
                </a:lnTo>
                <a:lnTo>
                  <a:pt x="10" y="149"/>
                </a:lnTo>
                <a:lnTo>
                  <a:pt x="8" y="149"/>
                </a:lnTo>
                <a:lnTo>
                  <a:pt x="5" y="149"/>
                </a:lnTo>
                <a:lnTo>
                  <a:pt x="7" y="153"/>
                </a:lnTo>
                <a:lnTo>
                  <a:pt x="3" y="153"/>
                </a:lnTo>
                <a:lnTo>
                  <a:pt x="2" y="153"/>
                </a:lnTo>
                <a:lnTo>
                  <a:pt x="0" y="149"/>
                </a:lnTo>
                <a:lnTo>
                  <a:pt x="0" y="148"/>
                </a:lnTo>
                <a:lnTo>
                  <a:pt x="0" y="146"/>
                </a:lnTo>
                <a:lnTo>
                  <a:pt x="0" y="144"/>
                </a:lnTo>
                <a:lnTo>
                  <a:pt x="0" y="143"/>
                </a:lnTo>
                <a:lnTo>
                  <a:pt x="3" y="143"/>
                </a:lnTo>
                <a:lnTo>
                  <a:pt x="5" y="143"/>
                </a:lnTo>
                <a:lnTo>
                  <a:pt x="7" y="141"/>
                </a:lnTo>
                <a:lnTo>
                  <a:pt x="8" y="141"/>
                </a:lnTo>
                <a:lnTo>
                  <a:pt x="10" y="143"/>
                </a:lnTo>
                <a:lnTo>
                  <a:pt x="12" y="144"/>
                </a:lnTo>
                <a:lnTo>
                  <a:pt x="13" y="144"/>
                </a:lnTo>
                <a:lnTo>
                  <a:pt x="15" y="146"/>
                </a:lnTo>
                <a:lnTo>
                  <a:pt x="17" y="148"/>
                </a:lnTo>
                <a:lnTo>
                  <a:pt x="17" y="146"/>
                </a:lnTo>
                <a:lnTo>
                  <a:pt x="19" y="148"/>
                </a:lnTo>
                <a:lnTo>
                  <a:pt x="22" y="148"/>
                </a:lnTo>
                <a:lnTo>
                  <a:pt x="24" y="146"/>
                </a:lnTo>
                <a:lnTo>
                  <a:pt x="25" y="146"/>
                </a:lnTo>
                <a:lnTo>
                  <a:pt x="27" y="143"/>
                </a:lnTo>
                <a:lnTo>
                  <a:pt x="25" y="143"/>
                </a:lnTo>
                <a:lnTo>
                  <a:pt x="27" y="143"/>
                </a:lnTo>
                <a:lnTo>
                  <a:pt x="29" y="144"/>
                </a:lnTo>
                <a:lnTo>
                  <a:pt x="29" y="146"/>
                </a:lnTo>
                <a:lnTo>
                  <a:pt x="32" y="146"/>
                </a:lnTo>
                <a:lnTo>
                  <a:pt x="32" y="149"/>
                </a:lnTo>
                <a:lnTo>
                  <a:pt x="34" y="149"/>
                </a:lnTo>
                <a:lnTo>
                  <a:pt x="32" y="148"/>
                </a:lnTo>
                <a:lnTo>
                  <a:pt x="34" y="149"/>
                </a:lnTo>
                <a:lnTo>
                  <a:pt x="34" y="148"/>
                </a:lnTo>
                <a:lnTo>
                  <a:pt x="34" y="149"/>
                </a:lnTo>
                <a:lnTo>
                  <a:pt x="36" y="149"/>
                </a:lnTo>
                <a:lnTo>
                  <a:pt x="34" y="148"/>
                </a:lnTo>
                <a:lnTo>
                  <a:pt x="36" y="148"/>
                </a:lnTo>
                <a:lnTo>
                  <a:pt x="34" y="148"/>
                </a:lnTo>
                <a:lnTo>
                  <a:pt x="36" y="148"/>
                </a:lnTo>
                <a:lnTo>
                  <a:pt x="36" y="146"/>
                </a:lnTo>
                <a:lnTo>
                  <a:pt x="36" y="148"/>
                </a:lnTo>
                <a:lnTo>
                  <a:pt x="37" y="146"/>
                </a:lnTo>
                <a:lnTo>
                  <a:pt x="37" y="148"/>
                </a:lnTo>
                <a:lnTo>
                  <a:pt x="36" y="149"/>
                </a:lnTo>
                <a:lnTo>
                  <a:pt x="37" y="148"/>
                </a:lnTo>
                <a:close/>
                <a:moveTo>
                  <a:pt x="73" y="22"/>
                </a:moveTo>
                <a:lnTo>
                  <a:pt x="75" y="24"/>
                </a:lnTo>
                <a:lnTo>
                  <a:pt x="75" y="25"/>
                </a:lnTo>
                <a:lnTo>
                  <a:pt x="75" y="27"/>
                </a:lnTo>
                <a:lnTo>
                  <a:pt x="75" y="29"/>
                </a:lnTo>
                <a:lnTo>
                  <a:pt x="75" y="30"/>
                </a:lnTo>
                <a:lnTo>
                  <a:pt x="73" y="30"/>
                </a:lnTo>
                <a:lnTo>
                  <a:pt x="73" y="32"/>
                </a:lnTo>
                <a:lnTo>
                  <a:pt x="71" y="34"/>
                </a:lnTo>
                <a:lnTo>
                  <a:pt x="70" y="36"/>
                </a:lnTo>
                <a:lnTo>
                  <a:pt x="68" y="34"/>
                </a:lnTo>
                <a:lnTo>
                  <a:pt x="70" y="36"/>
                </a:lnTo>
                <a:lnTo>
                  <a:pt x="66" y="36"/>
                </a:lnTo>
                <a:lnTo>
                  <a:pt x="66" y="34"/>
                </a:lnTo>
                <a:lnTo>
                  <a:pt x="66" y="32"/>
                </a:lnTo>
                <a:lnTo>
                  <a:pt x="68" y="29"/>
                </a:lnTo>
                <a:lnTo>
                  <a:pt x="70" y="27"/>
                </a:lnTo>
                <a:lnTo>
                  <a:pt x="71" y="25"/>
                </a:lnTo>
                <a:lnTo>
                  <a:pt x="73" y="25"/>
                </a:lnTo>
                <a:lnTo>
                  <a:pt x="71" y="24"/>
                </a:lnTo>
                <a:lnTo>
                  <a:pt x="71" y="25"/>
                </a:lnTo>
                <a:lnTo>
                  <a:pt x="71" y="24"/>
                </a:lnTo>
                <a:lnTo>
                  <a:pt x="73" y="22"/>
                </a:lnTo>
                <a:close/>
                <a:moveTo>
                  <a:pt x="104" y="7"/>
                </a:moveTo>
                <a:lnTo>
                  <a:pt x="102" y="7"/>
                </a:lnTo>
                <a:lnTo>
                  <a:pt x="102" y="8"/>
                </a:lnTo>
                <a:lnTo>
                  <a:pt x="100" y="7"/>
                </a:lnTo>
                <a:lnTo>
                  <a:pt x="100" y="8"/>
                </a:lnTo>
                <a:lnTo>
                  <a:pt x="100" y="7"/>
                </a:lnTo>
                <a:lnTo>
                  <a:pt x="100" y="8"/>
                </a:lnTo>
                <a:lnTo>
                  <a:pt x="98" y="7"/>
                </a:lnTo>
                <a:lnTo>
                  <a:pt x="100" y="8"/>
                </a:lnTo>
                <a:lnTo>
                  <a:pt x="97" y="8"/>
                </a:lnTo>
                <a:lnTo>
                  <a:pt x="93" y="10"/>
                </a:lnTo>
                <a:lnTo>
                  <a:pt x="92" y="10"/>
                </a:lnTo>
                <a:lnTo>
                  <a:pt x="90" y="12"/>
                </a:lnTo>
                <a:lnTo>
                  <a:pt x="90" y="10"/>
                </a:lnTo>
                <a:lnTo>
                  <a:pt x="88" y="12"/>
                </a:lnTo>
                <a:lnTo>
                  <a:pt x="87" y="12"/>
                </a:lnTo>
                <a:lnTo>
                  <a:pt x="88" y="8"/>
                </a:lnTo>
                <a:lnTo>
                  <a:pt x="92" y="8"/>
                </a:lnTo>
                <a:lnTo>
                  <a:pt x="95" y="8"/>
                </a:lnTo>
                <a:lnTo>
                  <a:pt x="97" y="7"/>
                </a:lnTo>
                <a:lnTo>
                  <a:pt x="98" y="7"/>
                </a:lnTo>
                <a:lnTo>
                  <a:pt x="100" y="7"/>
                </a:lnTo>
                <a:lnTo>
                  <a:pt x="102" y="7"/>
                </a:lnTo>
                <a:lnTo>
                  <a:pt x="104" y="7"/>
                </a:lnTo>
                <a:close/>
                <a:moveTo>
                  <a:pt x="109" y="5"/>
                </a:moveTo>
                <a:lnTo>
                  <a:pt x="110" y="5"/>
                </a:lnTo>
                <a:lnTo>
                  <a:pt x="112" y="5"/>
                </a:lnTo>
                <a:lnTo>
                  <a:pt x="114" y="5"/>
                </a:lnTo>
                <a:lnTo>
                  <a:pt x="115" y="5"/>
                </a:lnTo>
                <a:lnTo>
                  <a:pt x="117" y="5"/>
                </a:lnTo>
                <a:lnTo>
                  <a:pt x="119" y="5"/>
                </a:lnTo>
                <a:lnTo>
                  <a:pt x="121" y="7"/>
                </a:lnTo>
                <a:lnTo>
                  <a:pt x="117" y="7"/>
                </a:lnTo>
                <a:lnTo>
                  <a:pt x="114" y="7"/>
                </a:lnTo>
                <a:lnTo>
                  <a:pt x="112" y="8"/>
                </a:lnTo>
                <a:lnTo>
                  <a:pt x="110" y="7"/>
                </a:lnTo>
                <a:lnTo>
                  <a:pt x="110" y="8"/>
                </a:lnTo>
                <a:lnTo>
                  <a:pt x="109" y="8"/>
                </a:lnTo>
                <a:lnTo>
                  <a:pt x="107" y="7"/>
                </a:lnTo>
                <a:lnTo>
                  <a:pt x="109" y="5"/>
                </a:lnTo>
                <a:close/>
                <a:moveTo>
                  <a:pt x="139" y="3"/>
                </a:moveTo>
                <a:lnTo>
                  <a:pt x="136" y="3"/>
                </a:lnTo>
                <a:lnTo>
                  <a:pt x="134" y="5"/>
                </a:lnTo>
                <a:lnTo>
                  <a:pt x="132" y="5"/>
                </a:lnTo>
                <a:lnTo>
                  <a:pt x="131" y="5"/>
                </a:lnTo>
                <a:lnTo>
                  <a:pt x="132" y="5"/>
                </a:lnTo>
                <a:lnTo>
                  <a:pt x="131" y="7"/>
                </a:lnTo>
                <a:lnTo>
                  <a:pt x="129" y="5"/>
                </a:lnTo>
                <a:lnTo>
                  <a:pt x="129" y="7"/>
                </a:lnTo>
                <a:lnTo>
                  <a:pt x="127" y="5"/>
                </a:lnTo>
                <a:lnTo>
                  <a:pt x="129" y="3"/>
                </a:lnTo>
                <a:lnTo>
                  <a:pt x="132" y="3"/>
                </a:lnTo>
                <a:lnTo>
                  <a:pt x="134" y="3"/>
                </a:lnTo>
                <a:lnTo>
                  <a:pt x="136" y="3"/>
                </a:lnTo>
                <a:lnTo>
                  <a:pt x="139" y="3"/>
                </a:lnTo>
                <a:close/>
                <a:moveTo>
                  <a:pt x="83" y="15"/>
                </a:moveTo>
                <a:lnTo>
                  <a:pt x="85" y="15"/>
                </a:lnTo>
                <a:lnTo>
                  <a:pt x="83" y="15"/>
                </a:lnTo>
                <a:lnTo>
                  <a:pt x="81" y="17"/>
                </a:lnTo>
                <a:lnTo>
                  <a:pt x="78" y="17"/>
                </a:lnTo>
                <a:lnTo>
                  <a:pt x="80" y="19"/>
                </a:lnTo>
                <a:lnTo>
                  <a:pt x="78" y="19"/>
                </a:lnTo>
                <a:lnTo>
                  <a:pt x="76" y="20"/>
                </a:lnTo>
                <a:lnTo>
                  <a:pt x="73" y="20"/>
                </a:lnTo>
                <a:lnTo>
                  <a:pt x="75" y="19"/>
                </a:lnTo>
                <a:lnTo>
                  <a:pt x="76" y="19"/>
                </a:lnTo>
                <a:lnTo>
                  <a:pt x="78" y="17"/>
                </a:lnTo>
                <a:lnTo>
                  <a:pt x="80" y="15"/>
                </a:lnTo>
                <a:lnTo>
                  <a:pt x="83" y="15"/>
                </a:lnTo>
                <a:close/>
                <a:moveTo>
                  <a:pt x="41" y="121"/>
                </a:moveTo>
                <a:lnTo>
                  <a:pt x="42" y="121"/>
                </a:lnTo>
                <a:lnTo>
                  <a:pt x="44" y="122"/>
                </a:lnTo>
                <a:lnTo>
                  <a:pt x="42" y="122"/>
                </a:lnTo>
                <a:lnTo>
                  <a:pt x="41" y="121"/>
                </a:lnTo>
                <a:close/>
                <a:moveTo>
                  <a:pt x="143" y="0"/>
                </a:moveTo>
                <a:lnTo>
                  <a:pt x="144" y="2"/>
                </a:lnTo>
                <a:lnTo>
                  <a:pt x="143" y="2"/>
                </a:lnTo>
                <a:lnTo>
                  <a:pt x="144" y="2"/>
                </a:lnTo>
                <a:lnTo>
                  <a:pt x="143" y="2"/>
                </a:lnTo>
                <a:lnTo>
                  <a:pt x="143" y="3"/>
                </a:lnTo>
                <a:lnTo>
                  <a:pt x="141" y="2"/>
                </a:lnTo>
                <a:lnTo>
                  <a:pt x="143" y="0"/>
                </a:lnTo>
                <a:close/>
                <a:moveTo>
                  <a:pt x="64" y="36"/>
                </a:moveTo>
                <a:lnTo>
                  <a:pt x="66" y="36"/>
                </a:lnTo>
                <a:lnTo>
                  <a:pt x="66" y="37"/>
                </a:lnTo>
                <a:lnTo>
                  <a:pt x="64" y="37"/>
                </a:lnTo>
                <a:lnTo>
                  <a:pt x="64" y="36"/>
                </a:lnTo>
                <a:close/>
                <a:moveTo>
                  <a:pt x="27" y="117"/>
                </a:moveTo>
                <a:lnTo>
                  <a:pt x="29" y="117"/>
                </a:lnTo>
                <a:lnTo>
                  <a:pt x="25" y="117"/>
                </a:lnTo>
                <a:lnTo>
                  <a:pt x="27" y="117"/>
                </a:lnTo>
                <a:close/>
                <a:moveTo>
                  <a:pt x="29" y="119"/>
                </a:moveTo>
                <a:lnTo>
                  <a:pt x="30" y="119"/>
                </a:lnTo>
                <a:lnTo>
                  <a:pt x="30" y="121"/>
                </a:lnTo>
                <a:lnTo>
                  <a:pt x="29" y="121"/>
                </a:lnTo>
                <a:lnTo>
                  <a:pt x="29" y="119"/>
                </a:lnTo>
                <a:close/>
                <a:moveTo>
                  <a:pt x="32" y="146"/>
                </a:moveTo>
                <a:lnTo>
                  <a:pt x="34" y="146"/>
                </a:lnTo>
                <a:lnTo>
                  <a:pt x="34" y="148"/>
                </a:lnTo>
                <a:lnTo>
                  <a:pt x="32" y="148"/>
                </a:lnTo>
                <a:lnTo>
                  <a:pt x="32" y="146"/>
                </a:lnTo>
                <a:close/>
                <a:moveTo>
                  <a:pt x="85" y="15"/>
                </a:moveTo>
                <a:lnTo>
                  <a:pt x="87" y="15"/>
                </a:lnTo>
                <a:lnTo>
                  <a:pt x="87" y="17"/>
                </a:lnTo>
                <a:lnTo>
                  <a:pt x="85" y="17"/>
                </a:lnTo>
                <a:lnTo>
                  <a:pt x="85" y="15"/>
                </a:lnTo>
                <a:close/>
                <a:moveTo>
                  <a:pt x="146" y="2"/>
                </a:moveTo>
                <a:lnTo>
                  <a:pt x="148" y="2"/>
                </a:lnTo>
                <a:lnTo>
                  <a:pt x="148" y="3"/>
                </a:lnTo>
                <a:lnTo>
                  <a:pt x="146" y="3"/>
                </a:lnTo>
                <a:lnTo>
                  <a:pt x="146" y="2"/>
                </a:lnTo>
                <a:close/>
                <a:moveTo>
                  <a:pt x="93" y="32"/>
                </a:moveTo>
                <a:lnTo>
                  <a:pt x="92" y="32"/>
                </a:lnTo>
                <a:lnTo>
                  <a:pt x="88" y="34"/>
                </a:lnTo>
                <a:lnTo>
                  <a:pt x="88" y="36"/>
                </a:lnTo>
                <a:lnTo>
                  <a:pt x="87" y="36"/>
                </a:lnTo>
                <a:lnTo>
                  <a:pt x="88" y="36"/>
                </a:lnTo>
                <a:lnTo>
                  <a:pt x="87" y="36"/>
                </a:lnTo>
                <a:lnTo>
                  <a:pt x="83" y="37"/>
                </a:lnTo>
                <a:lnTo>
                  <a:pt x="81" y="39"/>
                </a:lnTo>
                <a:lnTo>
                  <a:pt x="81" y="41"/>
                </a:lnTo>
                <a:lnTo>
                  <a:pt x="80" y="41"/>
                </a:lnTo>
                <a:lnTo>
                  <a:pt x="81" y="41"/>
                </a:lnTo>
                <a:lnTo>
                  <a:pt x="85" y="36"/>
                </a:lnTo>
                <a:lnTo>
                  <a:pt x="87" y="36"/>
                </a:lnTo>
                <a:lnTo>
                  <a:pt x="92" y="32"/>
                </a:lnTo>
                <a:lnTo>
                  <a:pt x="93" y="32"/>
                </a:lnTo>
                <a:close/>
                <a:moveTo>
                  <a:pt x="75" y="80"/>
                </a:moveTo>
                <a:lnTo>
                  <a:pt x="76" y="80"/>
                </a:lnTo>
                <a:lnTo>
                  <a:pt x="76" y="81"/>
                </a:lnTo>
                <a:lnTo>
                  <a:pt x="75" y="81"/>
                </a:lnTo>
                <a:lnTo>
                  <a:pt x="75" y="80"/>
                </a:lnTo>
                <a:close/>
                <a:moveTo>
                  <a:pt x="34" y="146"/>
                </a:moveTo>
                <a:lnTo>
                  <a:pt x="36" y="146"/>
                </a:lnTo>
                <a:lnTo>
                  <a:pt x="34" y="148"/>
                </a:lnTo>
                <a:lnTo>
                  <a:pt x="34" y="146"/>
                </a:lnTo>
                <a:close/>
                <a:moveTo>
                  <a:pt x="53" y="124"/>
                </a:moveTo>
                <a:lnTo>
                  <a:pt x="54" y="126"/>
                </a:lnTo>
                <a:lnTo>
                  <a:pt x="53" y="126"/>
                </a:lnTo>
                <a:lnTo>
                  <a:pt x="53" y="124"/>
                </a:lnTo>
                <a:close/>
                <a:moveTo>
                  <a:pt x="124" y="5"/>
                </a:moveTo>
                <a:lnTo>
                  <a:pt x="126" y="5"/>
                </a:lnTo>
                <a:lnTo>
                  <a:pt x="126" y="7"/>
                </a:lnTo>
                <a:lnTo>
                  <a:pt x="124" y="7"/>
                </a:lnTo>
                <a:lnTo>
                  <a:pt x="124" y="5"/>
                </a:lnTo>
                <a:close/>
                <a:moveTo>
                  <a:pt x="61" y="122"/>
                </a:moveTo>
                <a:lnTo>
                  <a:pt x="63" y="122"/>
                </a:lnTo>
                <a:lnTo>
                  <a:pt x="63" y="124"/>
                </a:lnTo>
                <a:lnTo>
                  <a:pt x="61" y="124"/>
                </a:lnTo>
                <a:lnTo>
                  <a:pt x="61" y="122"/>
                </a:lnTo>
                <a:close/>
                <a:moveTo>
                  <a:pt x="44" y="122"/>
                </a:moveTo>
                <a:lnTo>
                  <a:pt x="46" y="122"/>
                </a:lnTo>
                <a:lnTo>
                  <a:pt x="46" y="124"/>
                </a:lnTo>
                <a:lnTo>
                  <a:pt x="44" y="124"/>
                </a:lnTo>
                <a:lnTo>
                  <a:pt x="44" y="122"/>
                </a:lnTo>
                <a:close/>
                <a:moveTo>
                  <a:pt x="93" y="71"/>
                </a:moveTo>
                <a:lnTo>
                  <a:pt x="95" y="71"/>
                </a:lnTo>
                <a:lnTo>
                  <a:pt x="93" y="71"/>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66" name="Freeform 33">
            <a:extLst>
              <a:ext uri="{FF2B5EF4-FFF2-40B4-BE49-F238E27FC236}">
                <a16:creationId xmlns:a16="http://schemas.microsoft.com/office/drawing/2014/main" id="{0B5CBAC4-D5EB-4B1F-9C6E-87C0D6BE8281}"/>
              </a:ext>
            </a:extLst>
          </p:cNvPr>
          <p:cNvSpPr>
            <a:spLocks noEditPoints="1"/>
          </p:cNvSpPr>
          <p:nvPr/>
        </p:nvSpPr>
        <p:spPr bwMode="gray">
          <a:xfrm>
            <a:off x="2801161" y="1844912"/>
            <a:ext cx="771168" cy="633597"/>
          </a:xfrm>
          <a:custGeom>
            <a:avLst/>
            <a:gdLst>
              <a:gd name="T0" fmla="*/ 17 w 283"/>
              <a:gd name="T1" fmla="*/ 187 h 222"/>
              <a:gd name="T2" fmla="*/ 14 w 283"/>
              <a:gd name="T3" fmla="*/ 160 h 222"/>
              <a:gd name="T4" fmla="*/ 4 w 283"/>
              <a:gd name="T5" fmla="*/ 129 h 222"/>
              <a:gd name="T6" fmla="*/ 7 w 283"/>
              <a:gd name="T7" fmla="*/ 115 h 222"/>
              <a:gd name="T8" fmla="*/ 7 w 283"/>
              <a:gd name="T9" fmla="*/ 95 h 222"/>
              <a:gd name="T10" fmla="*/ 12 w 283"/>
              <a:gd name="T11" fmla="*/ 81 h 222"/>
              <a:gd name="T12" fmla="*/ 31 w 283"/>
              <a:gd name="T13" fmla="*/ 73 h 222"/>
              <a:gd name="T14" fmla="*/ 50 w 283"/>
              <a:gd name="T15" fmla="*/ 85 h 222"/>
              <a:gd name="T16" fmla="*/ 62 w 283"/>
              <a:gd name="T17" fmla="*/ 52 h 222"/>
              <a:gd name="T18" fmla="*/ 89 w 283"/>
              <a:gd name="T19" fmla="*/ 73 h 222"/>
              <a:gd name="T20" fmla="*/ 85 w 283"/>
              <a:gd name="T21" fmla="*/ 85 h 222"/>
              <a:gd name="T22" fmla="*/ 106 w 283"/>
              <a:gd name="T23" fmla="*/ 85 h 222"/>
              <a:gd name="T24" fmla="*/ 97 w 283"/>
              <a:gd name="T25" fmla="*/ 115 h 222"/>
              <a:gd name="T26" fmla="*/ 85 w 283"/>
              <a:gd name="T27" fmla="*/ 112 h 222"/>
              <a:gd name="T28" fmla="*/ 73 w 283"/>
              <a:gd name="T29" fmla="*/ 131 h 222"/>
              <a:gd name="T30" fmla="*/ 67 w 283"/>
              <a:gd name="T31" fmla="*/ 149 h 222"/>
              <a:gd name="T32" fmla="*/ 60 w 283"/>
              <a:gd name="T33" fmla="*/ 173 h 222"/>
              <a:gd name="T34" fmla="*/ 62 w 283"/>
              <a:gd name="T35" fmla="*/ 192 h 222"/>
              <a:gd name="T36" fmla="*/ 179 w 283"/>
              <a:gd name="T37" fmla="*/ 117 h 222"/>
              <a:gd name="T38" fmla="*/ 167 w 283"/>
              <a:gd name="T39" fmla="*/ 161 h 222"/>
              <a:gd name="T40" fmla="*/ 162 w 283"/>
              <a:gd name="T41" fmla="*/ 192 h 222"/>
              <a:gd name="T42" fmla="*/ 143 w 283"/>
              <a:gd name="T43" fmla="*/ 177 h 222"/>
              <a:gd name="T44" fmla="*/ 124 w 283"/>
              <a:gd name="T45" fmla="*/ 168 h 222"/>
              <a:gd name="T46" fmla="*/ 113 w 283"/>
              <a:gd name="T47" fmla="*/ 141 h 222"/>
              <a:gd name="T48" fmla="*/ 130 w 283"/>
              <a:gd name="T49" fmla="*/ 124 h 222"/>
              <a:gd name="T50" fmla="*/ 145 w 283"/>
              <a:gd name="T51" fmla="*/ 137 h 222"/>
              <a:gd name="T52" fmla="*/ 157 w 283"/>
              <a:gd name="T53" fmla="*/ 132 h 222"/>
              <a:gd name="T54" fmla="*/ 158 w 283"/>
              <a:gd name="T55" fmla="*/ 136 h 222"/>
              <a:gd name="T56" fmla="*/ 94 w 283"/>
              <a:gd name="T57" fmla="*/ 15 h 222"/>
              <a:gd name="T58" fmla="*/ 73 w 283"/>
              <a:gd name="T59" fmla="*/ 47 h 222"/>
              <a:gd name="T60" fmla="*/ 34 w 283"/>
              <a:gd name="T61" fmla="*/ 52 h 222"/>
              <a:gd name="T62" fmla="*/ 21 w 283"/>
              <a:gd name="T63" fmla="*/ 81 h 222"/>
              <a:gd name="T64" fmla="*/ 24 w 283"/>
              <a:gd name="T65" fmla="*/ 42 h 222"/>
              <a:gd name="T66" fmla="*/ 73 w 283"/>
              <a:gd name="T67" fmla="*/ 13 h 222"/>
              <a:gd name="T68" fmla="*/ 94 w 283"/>
              <a:gd name="T69" fmla="*/ 161 h 222"/>
              <a:gd name="T70" fmla="*/ 99 w 283"/>
              <a:gd name="T71" fmla="*/ 161 h 222"/>
              <a:gd name="T72" fmla="*/ 90 w 283"/>
              <a:gd name="T73" fmla="*/ 188 h 222"/>
              <a:gd name="T74" fmla="*/ 72 w 283"/>
              <a:gd name="T75" fmla="*/ 166 h 222"/>
              <a:gd name="T76" fmla="*/ 84 w 283"/>
              <a:gd name="T77" fmla="*/ 151 h 222"/>
              <a:gd name="T78" fmla="*/ 150 w 283"/>
              <a:gd name="T79" fmla="*/ 205 h 222"/>
              <a:gd name="T80" fmla="*/ 124 w 283"/>
              <a:gd name="T81" fmla="*/ 211 h 222"/>
              <a:gd name="T82" fmla="*/ 274 w 283"/>
              <a:gd name="T83" fmla="*/ 171 h 222"/>
              <a:gd name="T84" fmla="*/ 266 w 283"/>
              <a:gd name="T85" fmla="*/ 168 h 222"/>
              <a:gd name="T86" fmla="*/ 153 w 283"/>
              <a:gd name="T87" fmla="*/ 212 h 222"/>
              <a:gd name="T88" fmla="*/ 28 w 283"/>
              <a:gd name="T89" fmla="*/ 74 h 222"/>
              <a:gd name="T90" fmla="*/ 34 w 283"/>
              <a:gd name="T91" fmla="*/ 56 h 222"/>
              <a:gd name="T92" fmla="*/ 70 w 283"/>
              <a:gd name="T93" fmla="*/ 197 h 222"/>
              <a:gd name="T94" fmla="*/ 106 w 283"/>
              <a:gd name="T95" fmla="*/ 211 h 222"/>
              <a:gd name="T96" fmla="*/ 175 w 283"/>
              <a:gd name="T97" fmla="*/ 194 h 222"/>
              <a:gd name="T98" fmla="*/ 121 w 283"/>
              <a:gd name="T99" fmla="*/ 32 h 222"/>
              <a:gd name="T100" fmla="*/ 97 w 283"/>
              <a:gd name="T101" fmla="*/ 134 h 222"/>
              <a:gd name="T102" fmla="*/ 92 w 283"/>
              <a:gd name="T103" fmla="*/ 199 h 222"/>
              <a:gd name="T104" fmla="*/ 97 w 283"/>
              <a:gd name="T105" fmla="*/ 192 h 222"/>
              <a:gd name="T106" fmla="*/ 136 w 283"/>
              <a:gd name="T107" fmla="*/ 71 h 222"/>
              <a:gd name="T108" fmla="*/ 148 w 283"/>
              <a:gd name="T109" fmla="*/ 136 h 222"/>
              <a:gd name="T110" fmla="*/ 138 w 283"/>
              <a:gd name="T111" fmla="*/ 192 h 222"/>
              <a:gd name="T112" fmla="*/ 70 w 283"/>
              <a:gd name="T113" fmla="*/ 47 h 222"/>
              <a:gd name="T114" fmla="*/ 147 w 283"/>
              <a:gd name="T115" fmla="*/ 177 h 222"/>
              <a:gd name="T116" fmla="*/ 92 w 283"/>
              <a:gd name="T117" fmla="*/ 126 h 222"/>
              <a:gd name="T118" fmla="*/ 84 w 283"/>
              <a:gd name="T119" fmla="*/ 148 h 222"/>
              <a:gd name="T120" fmla="*/ 116 w 283"/>
              <a:gd name="T121" fmla="*/ 170 h 222"/>
              <a:gd name="T122" fmla="*/ 11 w 283"/>
              <a:gd name="T123" fmla="*/ 12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3" h="222">
                <a:moveTo>
                  <a:pt x="53" y="204"/>
                </a:moveTo>
                <a:lnTo>
                  <a:pt x="51" y="204"/>
                </a:lnTo>
                <a:lnTo>
                  <a:pt x="50" y="205"/>
                </a:lnTo>
                <a:lnTo>
                  <a:pt x="48" y="205"/>
                </a:lnTo>
                <a:lnTo>
                  <a:pt x="46" y="205"/>
                </a:lnTo>
                <a:lnTo>
                  <a:pt x="46" y="202"/>
                </a:lnTo>
                <a:lnTo>
                  <a:pt x="45" y="202"/>
                </a:lnTo>
                <a:lnTo>
                  <a:pt x="43" y="200"/>
                </a:lnTo>
                <a:lnTo>
                  <a:pt x="39" y="200"/>
                </a:lnTo>
                <a:lnTo>
                  <a:pt x="38" y="200"/>
                </a:lnTo>
                <a:lnTo>
                  <a:pt x="34" y="199"/>
                </a:lnTo>
                <a:lnTo>
                  <a:pt x="33" y="199"/>
                </a:lnTo>
                <a:lnTo>
                  <a:pt x="31" y="199"/>
                </a:lnTo>
                <a:lnTo>
                  <a:pt x="29" y="199"/>
                </a:lnTo>
                <a:lnTo>
                  <a:pt x="28" y="199"/>
                </a:lnTo>
                <a:lnTo>
                  <a:pt x="26" y="199"/>
                </a:lnTo>
                <a:lnTo>
                  <a:pt x="24" y="199"/>
                </a:lnTo>
                <a:lnTo>
                  <a:pt x="22" y="197"/>
                </a:lnTo>
                <a:lnTo>
                  <a:pt x="22" y="195"/>
                </a:lnTo>
                <a:lnTo>
                  <a:pt x="22" y="194"/>
                </a:lnTo>
                <a:lnTo>
                  <a:pt x="22" y="192"/>
                </a:lnTo>
                <a:lnTo>
                  <a:pt x="22" y="188"/>
                </a:lnTo>
                <a:lnTo>
                  <a:pt x="22" y="185"/>
                </a:lnTo>
                <a:lnTo>
                  <a:pt x="24" y="182"/>
                </a:lnTo>
                <a:lnTo>
                  <a:pt x="22" y="182"/>
                </a:lnTo>
                <a:lnTo>
                  <a:pt x="21" y="182"/>
                </a:lnTo>
                <a:lnTo>
                  <a:pt x="19" y="182"/>
                </a:lnTo>
                <a:lnTo>
                  <a:pt x="19" y="183"/>
                </a:lnTo>
                <a:lnTo>
                  <a:pt x="19" y="185"/>
                </a:lnTo>
                <a:lnTo>
                  <a:pt x="17" y="187"/>
                </a:lnTo>
                <a:lnTo>
                  <a:pt x="16" y="185"/>
                </a:lnTo>
                <a:lnTo>
                  <a:pt x="16" y="182"/>
                </a:lnTo>
                <a:lnTo>
                  <a:pt x="16" y="180"/>
                </a:lnTo>
                <a:lnTo>
                  <a:pt x="17" y="177"/>
                </a:lnTo>
                <a:lnTo>
                  <a:pt x="17" y="178"/>
                </a:lnTo>
                <a:lnTo>
                  <a:pt x="17" y="177"/>
                </a:lnTo>
                <a:lnTo>
                  <a:pt x="21" y="178"/>
                </a:lnTo>
                <a:lnTo>
                  <a:pt x="19" y="180"/>
                </a:lnTo>
                <a:lnTo>
                  <a:pt x="22" y="182"/>
                </a:lnTo>
                <a:lnTo>
                  <a:pt x="24" y="180"/>
                </a:lnTo>
                <a:lnTo>
                  <a:pt x="24" y="178"/>
                </a:lnTo>
                <a:lnTo>
                  <a:pt x="24" y="177"/>
                </a:lnTo>
                <a:lnTo>
                  <a:pt x="22" y="177"/>
                </a:lnTo>
                <a:lnTo>
                  <a:pt x="24" y="173"/>
                </a:lnTo>
                <a:lnTo>
                  <a:pt x="22" y="173"/>
                </a:lnTo>
                <a:lnTo>
                  <a:pt x="22" y="170"/>
                </a:lnTo>
                <a:lnTo>
                  <a:pt x="21" y="171"/>
                </a:lnTo>
                <a:lnTo>
                  <a:pt x="19" y="173"/>
                </a:lnTo>
                <a:lnTo>
                  <a:pt x="17" y="171"/>
                </a:lnTo>
                <a:lnTo>
                  <a:pt x="19" y="171"/>
                </a:lnTo>
                <a:lnTo>
                  <a:pt x="21" y="171"/>
                </a:lnTo>
                <a:lnTo>
                  <a:pt x="24" y="170"/>
                </a:lnTo>
                <a:lnTo>
                  <a:pt x="24" y="168"/>
                </a:lnTo>
                <a:lnTo>
                  <a:pt x="22" y="166"/>
                </a:lnTo>
                <a:lnTo>
                  <a:pt x="22" y="165"/>
                </a:lnTo>
                <a:lnTo>
                  <a:pt x="22" y="163"/>
                </a:lnTo>
                <a:lnTo>
                  <a:pt x="22" y="161"/>
                </a:lnTo>
                <a:lnTo>
                  <a:pt x="19" y="160"/>
                </a:lnTo>
                <a:lnTo>
                  <a:pt x="16" y="160"/>
                </a:lnTo>
                <a:lnTo>
                  <a:pt x="14" y="160"/>
                </a:lnTo>
                <a:lnTo>
                  <a:pt x="14" y="158"/>
                </a:lnTo>
                <a:lnTo>
                  <a:pt x="12" y="156"/>
                </a:lnTo>
                <a:lnTo>
                  <a:pt x="12" y="154"/>
                </a:lnTo>
                <a:lnTo>
                  <a:pt x="11" y="153"/>
                </a:lnTo>
                <a:lnTo>
                  <a:pt x="9" y="151"/>
                </a:lnTo>
                <a:lnTo>
                  <a:pt x="11" y="151"/>
                </a:lnTo>
                <a:lnTo>
                  <a:pt x="9" y="149"/>
                </a:lnTo>
                <a:lnTo>
                  <a:pt x="7" y="151"/>
                </a:lnTo>
                <a:lnTo>
                  <a:pt x="7" y="153"/>
                </a:lnTo>
                <a:lnTo>
                  <a:pt x="9" y="154"/>
                </a:lnTo>
                <a:lnTo>
                  <a:pt x="7" y="154"/>
                </a:lnTo>
                <a:lnTo>
                  <a:pt x="9" y="156"/>
                </a:lnTo>
                <a:lnTo>
                  <a:pt x="9" y="158"/>
                </a:lnTo>
                <a:lnTo>
                  <a:pt x="7" y="156"/>
                </a:lnTo>
                <a:lnTo>
                  <a:pt x="5" y="154"/>
                </a:lnTo>
                <a:lnTo>
                  <a:pt x="4" y="154"/>
                </a:lnTo>
                <a:lnTo>
                  <a:pt x="4" y="153"/>
                </a:lnTo>
                <a:lnTo>
                  <a:pt x="0" y="153"/>
                </a:lnTo>
                <a:lnTo>
                  <a:pt x="0" y="151"/>
                </a:lnTo>
                <a:lnTo>
                  <a:pt x="2" y="149"/>
                </a:lnTo>
                <a:lnTo>
                  <a:pt x="2" y="146"/>
                </a:lnTo>
                <a:lnTo>
                  <a:pt x="4" y="146"/>
                </a:lnTo>
                <a:lnTo>
                  <a:pt x="4" y="143"/>
                </a:lnTo>
                <a:lnTo>
                  <a:pt x="4" y="141"/>
                </a:lnTo>
                <a:lnTo>
                  <a:pt x="5" y="139"/>
                </a:lnTo>
                <a:lnTo>
                  <a:pt x="5" y="137"/>
                </a:lnTo>
                <a:lnTo>
                  <a:pt x="5" y="134"/>
                </a:lnTo>
                <a:lnTo>
                  <a:pt x="4" y="132"/>
                </a:lnTo>
                <a:lnTo>
                  <a:pt x="4" y="131"/>
                </a:lnTo>
                <a:lnTo>
                  <a:pt x="4" y="129"/>
                </a:lnTo>
                <a:lnTo>
                  <a:pt x="4" y="126"/>
                </a:lnTo>
                <a:lnTo>
                  <a:pt x="4" y="122"/>
                </a:lnTo>
                <a:lnTo>
                  <a:pt x="2" y="120"/>
                </a:lnTo>
                <a:lnTo>
                  <a:pt x="4" y="122"/>
                </a:lnTo>
                <a:lnTo>
                  <a:pt x="4" y="124"/>
                </a:lnTo>
                <a:lnTo>
                  <a:pt x="5" y="126"/>
                </a:lnTo>
                <a:lnTo>
                  <a:pt x="5" y="127"/>
                </a:lnTo>
                <a:lnTo>
                  <a:pt x="5" y="131"/>
                </a:lnTo>
                <a:lnTo>
                  <a:pt x="5" y="132"/>
                </a:lnTo>
                <a:lnTo>
                  <a:pt x="5" y="134"/>
                </a:lnTo>
                <a:lnTo>
                  <a:pt x="5" y="132"/>
                </a:lnTo>
                <a:lnTo>
                  <a:pt x="7" y="131"/>
                </a:lnTo>
                <a:lnTo>
                  <a:pt x="7" y="129"/>
                </a:lnTo>
                <a:lnTo>
                  <a:pt x="7" y="131"/>
                </a:lnTo>
                <a:lnTo>
                  <a:pt x="9" y="129"/>
                </a:lnTo>
                <a:lnTo>
                  <a:pt x="9" y="132"/>
                </a:lnTo>
                <a:lnTo>
                  <a:pt x="11" y="131"/>
                </a:lnTo>
                <a:lnTo>
                  <a:pt x="12" y="129"/>
                </a:lnTo>
                <a:lnTo>
                  <a:pt x="14" y="127"/>
                </a:lnTo>
                <a:lnTo>
                  <a:pt x="12" y="127"/>
                </a:lnTo>
                <a:lnTo>
                  <a:pt x="14" y="127"/>
                </a:lnTo>
                <a:lnTo>
                  <a:pt x="12" y="127"/>
                </a:lnTo>
                <a:lnTo>
                  <a:pt x="14" y="126"/>
                </a:lnTo>
                <a:lnTo>
                  <a:pt x="12" y="126"/>
                </a:lnTo>
                <a:lnTo>
                  <a:pt x="12" y="124"/>
                </a:lnTo>
                <a:lnTo>
                  <a:pt x="11" y="122"/>
                </a:lnTo>
                <a:lnTo>
                  <a:pt x="11" y="119"/>
                </a:lnTo>
                <a:lnTo>
                  <a:pt x="11" y="117"/>
                </a:lnTo>
                <a:lnTo>
                  <a:pt x="9" y="115"/>
                </a:lnTo>
                <a:lnTo>
                  <a:pt x="7" y="115"/>
                </a:lnTo>
                <a:lnTo>
                  <a:pt x="5" y="114"/>
                </a:lnTo>
                <a:lnTo>
                  <a:pt x="4" y="114"/>
                </a:lnTo>
                <a:lnTo>
                  <a:pt x="4" y="115"/>
                </a:lnTo>
                <a:lnTo>
                  <a:pt x="4" y="117"/>
                </a:lnTo>
                <a:lnTo>
                  <a:pt x="4" y="119"/>
                </a:lnTo>
                <a:lnTo>
                  <a:pt x="4" y="120"/>
                </a:lnTo>
                <a:lnTo>
                  <a:pt x="2" y="120"/>
                </a:lnTo>
                <a:lnTo>
                  <a:pt x="2" y="119"/>
                </a:lnTo>
                <a:lnTo>
                  <a:pt x="2" y="117"/>
                </a:lnTo>
                <a:lnTo>
                  <a:pt x="2" y="114"/>
                </a:lnTo>
                <a:lnTo>
                  <a:pt x="4" y="112"/>
                </a:lnTo>
                <a:lnTo>
                  <a:pt x="4" y="110"/>
                </a:lnTo>
                <a:lnTo>
                  <a:pt x="4" y="108"/>
                </a:lnTo>
                <a:lnTo>
                  <a:pt x="4" y="107"/>
                </a:lnTo>
                <a:lnTo>
                  <a:pt x="4" y="105"/>
                </a:lnTo>
                <a:lnTo>
                  <a:pt x="4" y="103"/>
                </a:lnTo>
                <a:lnTo>
                  <a:pt x="4" y="102"/>
                </a:lnTo>
                <a:lnTo>
                  <a:pt x="4" y="100"/>
                </a:lnTo>
                <a:lnTo>
                  <a:pt x="4" y="98"/>
                </a:lnTo>
                <a:lnTo>
                  <a:pt x="4" y="97"/>
                </a:lnTo>
                <a:lnTo>
                  <a:pt x="4" y="95"/>
                </a:lnTo>
                <a:lnTo>
                  <a:pt x="4" y="98"/>
                </a:lnTo>
                <a:lnTo>
                  <a:pt x="5" y="98"/>
                </a:lnTo>
                <a:lnTo>
                  <a:pt x="9" y="98"/>
                </a:lnTo>
                <a:lnTo>
                  <a:pt x="9" y="102"/>
                </a:lnTo>
                <a:lnTo>
                  <a:pt x="11" y="98"/>
                </a:lnTo>
                <a:lnTo>
                  <a:pt x="9" y="98"/>
                </a:lnTo>
                <a:lnTo>
                  <a:pt x="11" y="98"/>
                </a:lnTo>
                <a:lnTo>
                  <a:pt x="9" y="97"/>
                </a:lnTo>
                <a:lnTo>
                  <a:pt x="7" y="95"/>
                </a:lnTo>
                <a:lnTo>
                  <a:pt x="5" y="93"/>
                </a:lnTo>
                <a:lnTo>
                  <a:pt x="5" y="91"/>
                </a:lnTo>
                <a:lnTo>
                  <a:pt x="4" y="91"/>
                </a:lnTo>
                <a:lnTo>
                  <a:pt x="4" y="93"/>
                </a:lnTo>
                <a:lnTo>
                  <a:pt x="4" y="95"/>
                </a:lnTo>
                <a:lnTo>
                  <a:pt x="4" y="93"/>
                </a:lnTo>
                <a:lnTo>
                  <a:pt x="4" y="91"/>
                </a:lnTo>
                <a:lnTo>
                  <a:pt x="4" y="88"/>
                </a:lnTo>
                <a:lnTo>
                  <a:pt x="4" y="86"/>
                </a:lnTo>
                <a:lnTo>
                  <a:pt x="4" y="85"/>
                </a:lnTo>
                <a:lnTo>
                  <a:pt x="4" y="81"/>
                </a:lnTo>
                <a:lnTo>
                  <a:pt x="5" y="78"/>
                </a:lnTo>
                <a:lnTo>
                  <a:pt x="5" y="76"/>
                </a:lnTo>
                <a:lnTo>
                  <a:pt x="5" y="74"/>
                </a:lnTo>
                <a:lnTo>
                  <a:pt x="7" y="73"/>
                </a:lnTo>
                <a:lnTo>
                  <a:pt x="9" y="71"/>
                </a:lnTo>
                <a:lnTo>
                  <a:pt x="9" y="73"/>
                </a:lnTo>
                <a:lnTo>
                  <a:pt x="7" y="74"/>
                </a:lnTo>
                <a:lnTo>
                  <a:pt x="9" y="74"/>
                </a:lnTo>
                <a:lnTo>
                  <a:pt x="9" y="76"/>
                </a:lnTo>
                <a:lnTo>
                  <a:pt x="7" y="74"/>
                </a:lnTo>
                <a:lnTo>
                  <a:pt x="7" y="76"/>
                </a:lnTo>
                <a:lnTo>
                  <a:pt x="9" y="78"/>
                </a:lnTo>
                <a:lnTo>
                  <a:pt x="7" y="78"/>
                </a:lnTo>
                <a:lnTo>
                  <a:pt x="9" y="78"/>
                </a:lnTo>
                <a:lnTo>
                  <a:pt x="9" y="80"/>
                </a:lnTo>
                <a:lnTo>
                  <a:pt x="11" y="80"/>
                </a:lnTo>
                <a:lnTo>
                  <a:pt x="11" y="81"/>
                </a:lnTo>
                <a:lnTo>
                  <a:pt x="11" y="83"/>
                </a:lnTo>
                <a:lnTo>
                  <a:pt x="12" y="81"/>
                </a:lnTo>
                <a:lnTo>
                  <a:pt x="14" y="81"/>
                </a:lnTo>
                <a:lnTo>
                  <a:pt x="17" y="83"/>
                </a:lnTo>
                <a:lnTo>
                  <a:pt x="19" y="83"/>
                </a:lnTo>
                <a:lnTo>
                  <a:pt x="21" y="83"/>
                </a:lnTo>
                <a:lnTo>
                  <a:pt x="21" y="81"/>
                </a:lnTo>
                <a:lnTo>
                  <a:pt x="22" y="83"/>
                </a:lnTo>
                <a:lnTo>
                  <a:pt x="22" y="85"/>
                </a:lnTo>
                <a:lnTo>
                  <a:pt x="22" y="86"/>
                </a:lnTo>
                <a:lnTo>
                  <a:pt x="21" y="86"/>
                </a:lnTo>
                <a:lnTo>
                  <a:pt x="19" y="88"/>
                </a:lnTo>
                <a:lnTo>
                  <a:pt x="21" y="86"/>
                </a:lnTo>
                <a:lnTo>
                  <a:pt x="22" y="86"/>
                </a:lnTo>
                <a:lnTo>
                  <a:pt x="24" y="88"/>
                </a:lnTo>
                <a:lnTo>
                  <a:pt x="26" y="88"/>
                </a:lnTo>
                <a:lnTo>
                  <a:pt x="28" y="88"/>
                </a:lnTo>
                <a:lnTo>
                  <a:pt x="28" y="86"/>
                </a:lnTo>
                <a:lnTo>
                  <a:pt x="28" y="85"/>
                </a:lnTo>
                <a:lnTo>
                  <a:pt x="29" y="83"/>
                </a:lnTo>
                <a:lnTo>
                  <a:pt x="28" y="81"/>
                </a:lnTo>
                <a:lnTo>
                  <a:pt x="26" y="80"/>
                </a:lnTo>
                <a:lnTo>
                  <a:pt x="26" y="78"/>
                </a:lnTo>
                <a:lnTo>
                  <a:pt x="28" y="78"/>
                </a:lnTo>
                <a:lnTo>
                  <a:pt x="29" y="76"/>
                </a:lnTo>
                <a:lnTo>
                  <a:pt x="29" y="74"/>
                </a:lnTo>
                <a:lnTo>
                  <a:pt x="31" y="73"/>
                </a:lnTo>
                <a:lnTo>
                  <a:pt x="33" y="74"/>
                </a:lnTo>
                <a:lnTo>
                  <a:pt x="34" y="73"/>
                </a:lnTo>
                <a:lnTo>
                  <a:pt x="34" y="71"/>
                </a:lnTo>
                <a:lnTo>
                  <a:pt x="33" y="73"/>
                </a:lnTo>
                <a:lnTo>
                  <a:pt x="31" y="73"/>
                </a:lnTo>
                <a:lnTo>
                  <a:pt x="33" y="69"/>
                </a:lnTo>
                <a:lnTo>
                  <a:pt x="33" y="68"/>
                </a:lnTo>
                <a:lnTo>
                  <a:pt x="34" y="68"/>
                </a:lnTo>
                <a:lnTo>
                  <a:pt x="36" y="66"/>
                </a:lnTo>
                <a:lnTo>
                  <a:pt x="39" y="68"/>
                </a:lnTo>
                <a:lnTo>
                  <a:pt x="39" y="66"/>
                </a:lnTo>
                <a:lnTo>
                  <a:pt x="41" y="66"/>
                </a:lnTo>
                <a:lnTo>
                  <a:pt x="43" y="66"/>
                </a:lnTo>
                <a:lnTo>
                  <a:pt x="43" y="68"/>
                </a:lnTo>
                <a:lnTo>
                  <a:pt x="43" y="69"/>
                </a:lnTo>
                <a:lnTo>
                  <a:pt x="45" y="73"/>
                </a:lnTo>
                <a:lnTo>
                  <a:pt x="41" y="74"/>
                </a:lnTo>
                <a:lnTo>
                  <a:pt x="43" y="76"/>
                </a:lnTo>
                <a:lnTo>
                  <a:pt x="39" y="78"/>
                </a:lnTo>
                <a:lnTo>
                  <a:pt x="39" y="80"/>
                </a:lnTo>
                <a:lnTo>
                  <a:pt x="39" y="81"/>
                </a:lnTo>
                <a:lnTo>
                  <a:pt x="39" y="83"/>
                </a:lnTo>
                <a:lnTo>
                  <a:pt x="41" y="83"/>
                </a:lnTo>
                <a:lnTo>
                  <a:pt x="41" y="81"/>
                </a:lnTo>
                <a:lnTo>
                  <a:pt x="41" y="80"/>
                </a:lnTo>
                <a:lnTo>
                  <a:pt x="45" y="80"/>
                </a:lnTo>
                <a:lnTo>
                  <a:pt x="43" y="78"/>
                </a:lnTo>
                <a:lnTo>
                  <a:pt x="45" y="76"/>
                </a:lnTo>
                <a:lnTo>
                  <a:pt x="45" y="78"/>
                </a:lnTo>
                <a:lnTo>
                  <a:pt x="46" y="78"/>
                </a:lnTo>
                <a:lnTo>
                  <a:pt x="50" y="78"/>
                </a:lnTo>
                <a:lnTo>
                  <a:pt x="50" y="80"/>
                </a:lnTo>
                <a:lnTo>
                  <a:pt x="48" y="81"/>
                </a:lnTo>
                <a:lnTo>
                  <a:pt x="48" y="85"/>
                </a:lnTo>
                <a:lnTo>
                  <a:pt x="50" y="85"/>
                </a:lnTo>
                <a:lnTo>
                  <a:pt x="51" y="85"/>
                </a:lnTo>
                <a:lnTo>
                  <a:pt x="53" y="85"/>
                </a:lnTo>
                <a:lnTo>
                  <a:pt x="53" y="83"/>
                </a:lnTo>
                <a:lnTo>
                  <a:pt x="51" y="83"/>
                </a:lnTo>
                <a:lnTo>
                  <a:pt x="50" y="83"/>
                </a:lnTo>
                <a:lnTo>
                  <a:pt x="50" y="80"/>
                </a:lnTo>
                <a:lnTo>
                  <a:pt x="51" y="76"/>
                </a:lnTo>
                <a:lnTo>
                  <a:pt x="50" y="73"/>
                </a:lnTo>
                <a:lnTo>
                  <a:pt x="48" y="73"/>
                </a:lnTo>
                <a:lnTo>
                  <a:pt x="48" y="74"/>
                </a:lnTo>
                <a:lnTo>
                  <a:pt x="45" y="74"/>
                </a:lnTo>
                <a:lnTo>
                  <a:pt x="46" y="71"/>
                </a:lnTo>
                <a:lnTo>
                  <a:pt x="48" y="69"/>
                </a:lnTo>
                <a:lnTo>
                  <a:pt x="46" y="68"/>
                </a:lnTo>
                <a:lnTo>
                  <a:pt x="45" y="66"/>
                </a:lnTo>
                <a:lnTo>
                  <a:pt x="46" y="64"/>
                </a:lnTo>
                <a:lnTo>
                  <a:pt x="46" y="63"/>
                </a:lnTo>
                <a:lnTo>
                  <a:pt x="46" y="61"/>
                </a:lnTo>
                <a:lnTo>
                  <a:pt x="45" y="59"/>
                </a:lnTo>
                <a:lnTo>
                  <a:pt x="45" y="57"/>
                </a:lnTo>
                <a:lnTo>
                  <a:pt x="46" y="56"/>
                </a:lnTo>
                <a:lnTo>
                  <a:pt x="48" y="56"/>
                </a:lnTo>
                <a:lnTo>
                  <a:pt x="48" y="54"/>
                </a:lnTo>
                <a:lnTo>
                  <a:pt x="50" y="54"/>
                </a:lnTo>
                <a:lnTo>
                  <a:pt x="50" y="52"/>
                </a:lnTo>
                <a:lnTo>
                  <a:pt x="51" y="51"/>
                </a:lnTo>
                <a:lnTo>
                  <a:pt x="55" y="51"/>
                </a:lnTo>
                <a:lnTo>
                  <a:pt x="56" y="51"/>
                </a:lnTo>
                <a:lnTo>
                  <a:pt x="60" y="52"/>
                </a:lnTo>
                <a:lnTo>
                  <a:pt x="62" y="52"/>
                </a:lnTo>
                <a:lnTo>
                  <a:pt x="60" y="54"/>
                </a:lnTo>
                <a:lnTo>
                  <a:pt x="60" y="56"/>
                </a:lnTo>
                <a:lnTo>
                  <a:pt x="60" y="57"/>
                </a:lnTo>
                <a:lnTo>
                  <a:pt x="60" y="54"/>
                </a:lnTo>
                <a:lnTo>
                  <a:pt x="62" y="54"/>
                </a:lnTo>
                <a:lnTo>
                  <a:pt x="63" y="52"/>
                </a:lnTo>
                <a:lnTo>
                  <a:pt x="65" y="51"/>
                </a:lnTo>
                <a:lnTo>
                  <a:pt x="65" y="49"/>
                </a:lnTo>
                <a:lnTo>
                  <a:pt x="67" y="49"/>
                </a:lnTo>
                <a:lnTo>
                  <a:pt x="68" y="49"/>
                </a:lnTo>
                <a:lnTo>
                  <a:pt x="70" y="49"/>
                </a:lnTo>
                <a:lnTo>
                  <a:pt x="73" y="47"/>
                </a:lnTo>
                <a:lnTo>
                  <a:pt x="75" y="49"/>
                </a:lnTo>
                <a:lnTo>
                  <a:pt x="77" y="47"/>
                </a:lnTo>
                <a:lnTo>
                  <a:pt x="79" y="49"/>
                </a:lnTo>
                <a:lnTo>
                  <a:pt x="80" y="51"/>
                </a:lnTo>
                <a:lnTo>
                  <a:pt x="82" y="51"/>
                </a:lnTo>
                <a:lnTo>
                  <a:pt x="84" y="52"/>
                </a:lnTo>
                <a:lnTo>
                  <a:pt x="85" y="54"/>
                </a:lnTo>
                <a:lnTo>
                  <a:pt x="89" y="52"/>
                </a:lnTo>
                <a:lnTo>
                  <a:pt x="87" y="54"/>
                </a:lnTo>
                <a:lnTo>
                  <a:pt x="87" y="56"/>
                </a:lnTo>
                <a:lnTo>
                  <a:pt x="87" y="59"/>
                </a:lnTo>
                <a:lnTo>
                  <a:pt x="87" y="61"/>
                </a:lnTo>
                <a:lnTo>
                  <a:pt x="87" y="63"/>
                </a:lnTo>
                <a:lnTo>
                  <a:pt x="87" y="66"/>
                </a:lnTo>
                <a:lnTo>
                  <a:pt x="87" y="68"/>
                </a:lnTo>
                <a:lnTo>
                  <a:pt x="89" y="69"/>
                </a:lnTo>
                <a:lnTo>
                  <a:pt x="89" y="71"/>
                </a:lnTo>
                <a:lnTo>
                  <a:pt x="89" y="73"/>
                </a:lnTo>
                <a:lnTo>
                  <a:pt x="85" y="71"/>
                </a:lnTo>
                <a:lnTo>
                  <a:pt x="84" y="73"/>
                </a:lnTo>
                <a:lnTo>
                  <a:pt x="82" y="71"/>
                </a:lnTo>
                <a:lnTo>
                  <a:pt x="82" y="73"/>
                </a:lnTo>
                <a:lnTo>
                  <a:pt x="80" y="73"/>
                </a:lnTo>
                <a:lnTo>
                  <a:pt x="77" y="73"/>
                </a:lnTo>
                <a:lnTo>
                  <a:pt x="77" y="74"/>
                </a:lnTo>
                <a:lnTo>
                  <a:pt x="75" y="76"/>
                </a:lnTo>
                <a:lnTo>
                  <a:pt x="73" y="76"/>
                </a:lnTo>
                <a:lnTo>
                  <a:pt x="70" y="76"/>
                </a:lnTo>
                <a:lnTo>
                  <a:pt x="68" y="78"/>
                </a:lnTo>
                <a:lnTo>
                  <a:pt x="70" y="78"/>
                </a:lnTo>
                <a:lnTo>
                  <a:pt x="72" y="76"/>
                </a:lnTo>
                <a:lnTo>
                  <a:pt x="75" y="76"/>
                </a:lnTo>
                <a:lnTo>
                  <a:pt x="77" y="76"/>
                </a:lnTo>
                <a:lnTo>
                  <a:pt x="79" y="74"/>
                </a:lnTo>
                <a:lnTo>
                  <a:pt x="80" y="74"/>
                </a:lnTo>
                <a:lnTo>
                  <a:pt x="82" y="73"/>
                </a:lnTo>
                <a:lnTo>
                  <a:pt x="84" y="73"/>
                </a:lnTo>
                <a:lnTo>
                  <a:pt x="85" y="74"/>
                </a:lnTo>
                <a:lnTo>
                  <a:pt x="87" y="73"/>
                </a:lnTo>
                <a:lnTo>
                  <a:pt x="90" y="73"/>
                </a:lnTo>
                <a:lnTo>
                  <a:pt x="90" y="76"/>
                </a:lnTo>
                <a:lnTo>
                  <a:pt x="90" y="78"/>
                </a:lnTo>
                <a:lnTo>
                  <a:pt x="89" y="80"/>
                </a:lnTo>
                <a:lnTo>
                  <a:pt x="87" y="80"/>
                </a:lnTo>
                <a:lnTo>
                  <a:pt x="87" y="81"/>
                </a:lnTo>
                <a:lnTo>
                  <a:pt x="85" y="81"/>
                </a:lnTo>
                <a:lnTo>
                  <a:pt x="85" y="83"/>
                </a:lnTo>
                <a:lnTo>
                  <a:pt x="85" y="85"/>
                </a:lnTo>
                <a:lnTo>
                  <a:pt x="85" y="86"/>
                </a:lnTo>
                <a:lnTo>
                  <a:pt x="85" y="88"/>
                </a:lnTo>
                <a:lnTo>
                  <a:pt x="84" y="90"/>
                </a:lnTo>
                <a:lnTo>
                  <a:pt x="82" y="90"/>
                </a:lnTo>
                <a:lnTo>
                  <a:pt x="80" y="90"/>
                </a:lnTo>
                <a:lnTo>
                  <a:pt x="79" y="90"/>
                </a:lnTo>
                <a:lnTo>
                  <a:pt x="80" y="90"/>
                </a:lnTo>
                <a:lnTo>
                  <a:pt x="82" y="90"/>
                </a:lnTo>
                <a:lnTo>
                  <a:pt x="84" y="90"/>
                </a:lnTo>
                <a:lnTo>
                  <a:pt x="85" y="88"/>
                </a:lnTo>
                <a:lnTo>
                  <a:pt x="87" y="90"/>
                </a:lnTo>
                <a:lnTo>
                  <a:pt x="89" y="90"/>
                </a:lnTo>
                <a:lnTo>
                  <a:pt x="87" y="90"/>
                </a:lnTo>
                <a:lnTo>
                  <a:pt x="85" y="88"/>
                </a:lnTo>
                <a:lnTo>
                  <a:pt x="85" y="86"/>
                </a:lnTo>
                <a:lnTo>
                  <a:pt x="85" y="85"/>
                </a:lnTo>
                <a:lnTo>
                  <a:pt x="87" y="83"/>
                </a:lnTo>
                <a:lnTo>
                  <a:pt x="87" y="81"/>
                </a:lnTo>
                <a:lnTo>
                  <a:pt x="89" y="81"/>
                </a:lnTo>
                <a:lnTo>
                  <a:pt x="89" y="80"/>
                </a:lnTo>
                <a:lnTo>
                  <a:pt x="90" y="80"/>
                </a:lnTo>
                <a:lnTo>
                  <a:pt x="90" y="81"/>
                </a:lnTo>
                <a:lnTo>
                  <a:pt x="90" y="83"/>
                </a:lnTo>
                <a:lnTo>
                  <a:pt x="92" y="85"/>
                </a:lnTo>
                <a:lnTo>
                  <a:pt x="94" y="85"/>
                </a:lnTo>
                <a:lnTo>
                  <a:pt x="96" y="86"/>
                </a:lnTo>
                <a:lnTo>
                  <a:pt x="99" y="86"/>
                </a:lnTo>
                <a:lnTo>
                  <a:pt x="101" y="85"/>
                </a:lnTo>
                <a:lnTo>
                  <a:pt x="104" y="85"/>
                </a:lnTo>
                <a:lnTo>
                  <a:pt x="106" y="85"/>
                </a:lnTo>
                <a:lnTo>
                  <a:pt x="109" y="85"/>
                </a:lnTo>
                <a:lnTo>
                  <a:pt x="109" y="86"/>
                </a:lnTo>
                <a:lnTo>
                  <a:pt x="111" y="88"/>
                </a:lnTo>
                <a:lnTo>
                  <a:pt x="113" y="90"/>
                </a:lnTo>
                <a:lnTo>
                  <a:pt x="114" y="90"/>
                </a:lnTo>
                <a:lnTo>
                  <a:pt x="114" y="91"/>
                </a:lnTo>
                <a:lnTo>
                  <a:pt x="113" y="93"/>
                </a:lnTo>
                <a:lnTo>
                  <a:pt x="113" y="95"/>
                </a:lnTo>
                <a:lnTo>
                  <a:pt x="113" y="98"/>
                </a:lnTo>
                <a:lnTo>
                  <a:pt x="111" y="100"/>
                </a:lnTo>
                <a:lnTo>
                  <a:pt x="111" y="102"/>
                </a:lnTo>
                <a:lnTo>
                  <a:pt x="109" y="102"/>
                </a:lnTo>
                <a:lnTo>
                  <a:pt x="107" y="103"/>
                </a:lnTo>
                <a:lnTo>
                  <a:pt x="107" y="105"/>
                </a:lnTo>
                <a:lnTo>
                  <a:pt x="106" y="107"/>
                </a:lnTo>
                <a:lnTo>
                  <a:pt x="106" y="108"/>
                </a:lnTo>
                <a:lnTo>
                  <a:pt x="104" y="112"/>
                </a:lnTo>
                <a:lnTo>
                  <a:pt x="102" y="112"/>
                </a:lnTo>
                <a:lnTo>
                  <a:pt x="104" y="112"/>
                </a:lnTo>
                <a:lnTo>
                  <a:pt x="102" y="112"/>
                </a:lnTo>
                <a:lnTo>
                  <a:pt x="102" y="110"/>
                </a:lnTo>
                <a:lnTo>
                  <a:pt x="102" y="108"/>
                </a:lnTo>
                <a:lnTo>
                  <a:pt x="102" y="107"/>
                </a:lnTo>
                <a:lnTo>
                  <a:pt x="101" y="107"/>
                </a:lnTo>
                <a:lnTo>
                  <a:pt x="99" y="107"/>
                </a:lnTo>
                <a:lnTo>
                  <a:pt x="97" y="108"/>
                </a:lnTo>
                <a:lnTo>
                  <a:pt x="97" y="110"/>
                </a:lnTo>
                <a:lnTo>
                  <a:pt x="99" y="112"/>
                </a:lnTo>
                <a:lnTo>
                  <a:pt x="99" y="114"/>
                </a:lnTo>
                <a:lnTo>
                  <a:pt x="97" y="115"/>
                </a:lnTo>
                <a:lnTo>
                  <a:pt x="96" y="114"/>
                </a:lnTo>
                <a:lnTo>
                  <a:pt x="96" y="112"/>
                </a:lnTo>
                <a:lnTo>
                  <a:pt x="97" y="112"/>
                </a:lnTo>
                <a:lnTo>
                  <a:pt x="97" y="110"/>
                </a:lnTo>
                <a:lnTo>
                  <a:pt x="94" y="108"/>
                </a:lnTo>
                <a:lnTo>
                  <a:pt x="94" y="110"/>
                </a:lnTo>
                <a:lnTo>
                  <a:pt x="92" y="110"/>
                </a:lnTo>
                <a:lnTo>
                  <a:pt x="90" y="108"/>
                </a:lnTo>
                <a:lnTo>
                  <a:pt x="92" y="108"/>
                </a:lnTo>
                <a:lnTo>
                  <a:pt x="92" y="107"/>
                </a:lnTo>
                <a:lnTo>
                  <a:pt x="94" y="107"/>
                </a:lnTo>
                <a:lnTo>
                  <a:pt x="94" y="108"/>
                </a:lnTo>
                <a:lnTo>
                  <a:pt x="96" y="107"/>
                </a:lnTo>
                <a:lnTo>
                  <a:pt x="94" y="107"/>
                </a:lnTo>
                <a:lnTo>
                  <a:pt x="96" y="105"/>
                </a:lnTo>
                <a:lnTo>
                  <a:pt x="96" y="103"/>
                </a:lnTo>
                <a:lnTo>
                  <a:pt x="97" y="103"/>
                </a:lnTo>
                <a:lnTo>
                  <a:pt x="96" y="102"/>
                </a:lnTo>
                <a:lnTo>
                  <a:pt x="96" y="103"/>
                </a:lnTo>
                <a:lnTo>
                  <a:pt x="94" y="102"/>
                </a:lnTo>
                <a:lnTo>
                  <a:pt x="92" y="102"/>
                </a:lnTo>
                <a:lnTo>
                  <a:pt x="92" y="103"/>
                </a:lnTo>
                <a:lnTo>
                  <a:pt x="90" y="103"/>
                </a:lnTo>
                <a:lnTo>
                  <a:pt x="90" y="105"/>
                </a:lnTo>
                <a:lnTo>
                  <a:pt x="89" y="107"/>
                </a:lnTo>
                <a:lnTo>
                  <a:pt x="87" y="108"/>
                </a:lnTo>
                <a:lnTo>
                  <a:pt x="85" y="108"/>
                </a:lnTo>
                <a:lnTo>
                  <a:pt x="85" y="112"/>
                </a:lnTo>
                <a:lnTo>
                  <a:pt x="85" y="110"/>
                </a:lnTo>
                <a:lnTo>
                  <a:pt x="85" y="112"/>
                </a:lnTo>
                <a:lnTo>
                  <a:pt x="87" y="110"/>
                </a:lnTo>
                <a:lnTo>
                  <a:pt x="87" y="112"/>
                </a:lnTo>
                <a:lnTo>
                  <a:pt x="85" y="112"/>
                </a:lnTo>
                <a:lnTo>
                  <a:pt x="85" y="114"/>
                </a:lnTo>
                <a:lnTo>
                  <a:pt x="87" y="115"/>
                </a:lnTo>
                <a:lnTo>
                  <a:pt x="87" y="119"/>
                </a:lnTo>
                <a:lnTo>
                  <a:pt x="87" y="120"/>
                </a:lnTo>
                <a:lnTo>
                  <a:pt x="85" y="122"/>
                </a:lnTo>
                <a:lnTo>
                  <a:pt x="87" y="120"/>
                </a:lnTo>
                <a:lnTo>
                  <a:pt x="87" y="122"/>
                </a:lnTo>
                <a:lnTo>
                  <a:pt x="87" y="126"/>
                </a:lnTo>
                <a:lnTo>
                  <a:pt x="87" y="127"/>
                </a:lnTo>
                <a:lnTo>
                  <a:pt x="87" y="129"/>
                </a:lnTo>
                <a:lnTo>
                  <a:pt x="85" y="131"/>
                </a:lnTo>
                <a:lnTo>
                  <a:pt x="84" y="131"/>
                </a:lnTo>
                <a:lnTo>
                  <a:pt x="85" y="132"/>
                </a:lnTo>
                <a:lnTo>
                  <a:pt x="84" y="132"/>
                </a:lnTo>
                <a:lnTo>
                  <a:pt x="84" y="134"/>
                </a:lnTo>
                <a:lnTo>
                  <a:pt x="82" y="132"/>
                </a:lnTo>
                <a:lnTo>
                  <a:pt x="82" y="131"/>
                </a:lnTo>
                <a:lnTo>
                  <a:pt x="82" y="132"/>
                </a:lnTo>
                <a:lnTo>
                  <a:pt x="80" y="132"/>
                </a:lnTo>
                <a:lnTo>
                  <a:pt x="79" y="132"/>
                </a:lnTo>
                <a:lnTo>
                  <a:pt x="79" y="131"/>
                </a:lnTo>
                <a:lnTo>
                  <a:pt x="82" y="132"/>
                </a:lnTo>
                <a:lnTo>
                  <a:pt x="80" y="131"/>
                </a:lnTo>
                <a:lnTo>
                  <a:pt x="79" y="131"/>
                </a:lnTo>
                <a:lnTo>
                  <a:pt x="75" y="131"/>
                </a:lnTo>
                <a:lnTo>
                  <a:pt x="75" y="132"/>
                </a:lnTo>
                <a:lnTo>
                  <a:pt x="73" y="131"/>
                </a:lnTo>
                <a:lnTo>
                  <a:pt x="72" y="132"/>
                </a:lnTo>
                <a:lnTo>
                  <a:pt x="75" y="134"/>
                </a:lnTo>
                <a:lnTo>
                  <a:pt x="77" y="134"/>
                </a:lnTo>
                <a:lnTo>
                  <a:pt x="77" y="132"/>
                </a:lnTo>
                <a:lnTo>
                  <a:pt x="77" y="136"/>
                </a:lnTo>
                <a:lnTo>
                  <a:pt x="79" y="134"/>
                </a:lnTo>
                <a:lnTo>
                  <a:pt x="79" y="136"/>
                </a:lnTo>
                <a:lnTo>
                  <a:pt x="77" y="137"/>
                </a:lnTo>
                <a:lnTo>
                  <a:pt x="77" y="139"/>
                </a:lnTo>
                <a:lnTo>
                  <a:pt x="80" y="139"/>
                </a:lnTo>
                <a:lnTo>
                  <a:pt x="79" y="139"/>
                </a:lnTo>
                <a:lnTo>
                  <a:pt x="77" y="141"/>
                </a:lnTo>
                <a:lnTo>
                  <a:pt x="77" y="143"/>
                </a:lnTo>
                <a:lnTo>
                  <a:pt x="79" y="143"/>
                </a:lnTo>
                <a:lnTo>
                  <a:pt x="77" y="143"/>
                </a:lnTo>
                <a:lnTo>
                  <a:pt x="75" y="144"/>
                </a:lnTo>
                <a:lnTo>
                  <a:pt x="73" y="144"/>
                </a:lnTo>
                <a:lnTo>
                  <a:pt x="72" y="144"/>
                </a:lnTo>
                <a:lnTo>
                  <a:pt x="70" y="146"/>
                </a:lnTo>
                <a:lnTo>
                  <a:pt x="67" y="144"/>
                </a:lnTo>
                <a:lnTo>
                  <a:pt x="65" y="143"/>
                </a:lnTo>
                <a:lnTo>
                  <a:pt x="63" y="143"/>
                </a:lnTo>
                <a:lnTo>
                  <a:pt x="60" y="143"/>
                </a:lnTo>
                <a:lnTo>
                  <a:pt x="58" y="143"/>
                </a:lnTo>
                <a:lnTo>
                  <a:pt x="60" y="144"/>
                </a:lnTo>
                <a:lnTo>
                  <a:pt x="63" y="144"/>
                </a:lnTo>
                <a:lnTo>
                  <a:pt x="65" y="146"/>
                </a:lnTo>
                <a:lnTo>
                  <a:pt x="67" y="146"/>
                </a:lnTo>
                <a:lnTo>
                  <a:pt x="67" y="148"/>
                </a:lnTo>
                <a:lnTo>
                  <a:pt x="67" y="149"/>
                </a:lnTo>
                <a:lnTo>
                  <a:pt x="68" y="148"/>
                </a:lnTo>
                <a:lnTo>
                  <a:pt x="72" y="148"/>
                </a:lnTo>
                <a:lnTo>
                  <a:pt x="70" y="149"/>
                </a:lnTo>
                <a:lnTo>
                  <a:pt x="68" y="151"/>
                </a:lnTo>
                <a:lnTo>
                  <a:pt x="67" y="153"/>
                </a:lnTo>
                <a:lnTo>
                  <a:pt x="67" y="156"/>
                </a:lnTo>
                <a:lnTo>
                  <a:pt x="63" y="154"/>
                </a:lnTo>
                <a:lnTo>
                  <a:pt x="62" y="156"/>
                </a:lnTo>
                <a:lnTo>
                  <a:pt x="60" y="154"/>
                </a:lnTo>
                <a:lnTo>
                  <a:pt x="60" y="156"/>
                </a:lnTo>
                <a:lnTo>
                  <a:pt x="60" y="158"/>
                </a:lnTo>
                <a:lnTo>
                  <a:pt x="58" y="156"/>
                </a:lnTo>
                <a:lnTo>
                  <a:pt x="56" y="158"/>
                </a:lnTo>
                <a:lnTo>
                  <a:pt x="58" y="158"/>
                </a:lnTo>
                <a:lnTo>
                  <a:pt x="60" y="158"/>
                </a:lnTo>
                <a:lnTo>
                  <a:pt x="62" y="158"/>
                </a:lnTo>
                <a:lnTo>
                  <a:pt x="63" y="158"/>
                </a:lnTo>
                <a:lnTo>
                  <a:pt x="65" y="160"/>
                </a:lnTo>
                <a:lnTo>
                  <a:pt x="63" y="161"/>
                </a:lnTo>
                <a:lnTo>
                  <a:pt x="60" y="163"/>
                </a:lnTo>
                <a:lnTo>
                  <a:pt x="62" y="165"/>
                </a:lnTo>
                <a:lnTo>
                  <a:pt x="62" y="166"/>
                </a:lnTo>
                <a:lnTo>
                  <a:pt x="60" y="166"/>
                </a:lnTo>
                <a:lnTo>
                  <a:pt x="62" y="166"/>
                </a:lnTo>
                <a:lnTo>
                  <a:pt x="63" y="168"/>
                </a:lnTo>
                <a:lnTo>
                  <a:pt x="62" y="170"/>
                </a:lnTo>
                <a:lnTo>
                  <a:pt x="63" y="170"/>
                </a:lnTo>
                <a:lnTo>
                  <a:pt x="63" y="171"/>
                </a:lnTo>
                <a:lnTo>
                  <a:pt x="62" y="171"/>
                </a:lnTo>
                <a:lnTo>
                  <a:pt x="60" y="173"/>
                </a:lnTo>
                <a:lnTo>
                  <a:pt x="60" y="175"/>
                </a:lnTo>
                <a:lnTo>
                  <a:pt x="56" y="175"/>
                </a:lnTo>
                <a:lnTo>
                  <a:pt x="60" y="175"/>
                </a:lnTo>
                <a:lnTo>
                  <a:pt x="60" y="173"/>
                </a:lnTo>
                <a:lnTo>
                  <a:pt x="62" y="171"/>
                </a:lnTo>
                <a:lnTo>
                  <a:pt x="63" y="171"/>
                </a:lnTo>
                <a:lnTo>
                  <a:pt x="65" y="173"/>
                </a:lnTo>
                <a:lnTo>
                  <a:pt x="65" y="175"/>
                </a:lnTo>
                <a:lnTo>
                  <a:pt x="65" y="177"/>
                </a:lnTo>
                <a:lnTo>
                  <a:pt x="63" y="177"/>
                </a:lnTo>
                <a:lnTo>
                  <a:pt x="65" y="177"/>
                </a:lnTo>
                <a:lnTo>
                  <a:pt x="65" y="178"/>
                </a:lnTo>
                <a:lnTo>
                  <a:pt x="62" y="180"/>
                </a:lnTo>
                <a:lnTo>
                  <a:pt x="62" y="178"/>
                </a:lnTo>
                <a:lnTo>
                  <a:pt x="60" y="178"/>
                </a:lnTo>
                <a:lnTo>
                  <a:pt x="60" y="180"/>
                </a:lnTo>
                <a:lnTo>
                  <a:pt x="56" y="182"/>
                </a:lnTo>
                <a:lnTo>
                  <a:pt x="58" y="183"/>
                </a:lnTo>
                <a:lnTo>
                  <a:pt x="56" y="183"/>
                </a:lnTo>
                <a:lnTo>
                  <a:pt x="55" y="183"/>
                </a:lnTo>
                <a:lnTo>
                  <a:pt x="58" y="185"/>
                </a:lnTo>
                <a:lnTo>
                  <a:pt x="58" y="187"/>
                </a:lnTo>
                <a:lnTo>
                  <a:pt x="56" y="188"/>
                </a:lnTo>
                <a:lnTo>
                  <a:pt x="53" y="188"/>
                </a:lnTo>
                <a:lnTo>
                  <a:pt x="53" y="190"/>
                </a:lnTo>
                <a:lnTo>
                  <a:pt x="56" y="190"/>
                </a:lnTo>
                <a:lnTo>
                  <a:pt x="58" y="190"/>
                </a:lnTo>
                <a:lnTo>
                  <a:pt x="60" y="190"/>
                </a:lnTo>
                <a:lnTo>
                  <a:pt x="60" y="188"/>
                </a:lnTo>
                <a:lnTo>
                  <a:pt x="62" y="192"/>
                </a:lnTo>
                <a:lnTo>
                  <a:pt x="65" y="194"/>
                </a:lnTo>
                <a:lnTo>
                  <a:pt x="67" y="194"/>
                </a:lnTo>
                <a:lnTo>
                  <a:pt x="67" y="195"/>
                </a:lnTo>
                <a:lnTo>
                  <a:pt x="67" y="197"/>
                </a:lnTo>
                <a:lnTo>
                  <a:pt x="67" y="199"/>
                </a:lnTo>
                <a:lnTo>
                  <a:pt x="68" y="199"/>
                </a:lnTo>
                <a:lnTo>
                  <a:pt x="67" y="199"/>
                </a:lnTo>
                <a:lnTo>
                  <a:pt x="65" y="199"/>
                </a:lnTo>
                <a:lnTo>
                  <a:pt x="67" y="200"/>
                </a:lnTo>
                <a:lnTo>
                  <a:pt x="67" y="202"/>
                </a:lnTo>
                <a:lnTo>
                  <a:pt x="67" y="204"/>
                </a:lnTo>
                <a:lnTo>
                  <a:pt x="65" y="202"/>
                </a:lnTo>
                <a:lnTo>
                  <a:pt x="62" y="202"/>
                </a:lnTo>
                <a:lnTo>
                  <a:pt x="63" y="200"/>
                </a:lnTo>
                <a:lnTo>
                  <a:pt x="60" y="199"/>
                </a:lnTo>
                <a:lnTo>
                  <a:pt x="63" y="199"/>
                </a:lnTo>
                <a:lnTo>
                  <a:pt x="62" y="197"/>
                </a:lnTo>
                <a:lnTo>
                  <a:pt x="60" y="199"/>
                </a:lnTo>
                <a:lnTo>
                  <a:pt x="60" y="200"/>
                </a:lnTo>
                <a:lnTo>
                  <a:pt x="58" y="200"/>
                </a:lnTo>
                <a:lnTo>
                  <a:pt x="56" y="202"/>
                </a:lnTo>
                <a:lnTo>
                  <a:pt x="53" y="204"/>
                </a:lnTo>
                <a:close/>
                <a:moveTo>
                  <a:pt x="167" y="112"/>
                </a:moveTo>
                <a:lnTo>
                  <a:pt x="169" y="112"/>
                </a:lnTo>
                <a:lnTo>
                  <a:pt x="170" y="114"/>
                </a:lnTo>
                <a:lnTo>
                  <a:pt x="172" y="114"/>
                </a:lnTo>
                <a:lnTo>
                  <a:pt x="175" y="114"/>
                </a:lnTo>
                <a:lnTo>
                  <a:pt x="175" y="115"/>
                </a:lnTo>
                <a:lnTo>
                  <a:pt x="177" y="115"/>
                </a:lnTo>
                <a:lnTo>
                  <a:pt x="179" y="117"/>
                </a:lnTo>
                <a:lnTo>
                  <a:pt x="179" y="119"/>
                </a:lnTo>
                <a:lnTo>
                  <a:pt x="177" y="122"/>
                </a:lnTo>
                <a:lnTo>
                  <a:pt x="175" y="124"/>
                </a:lnTo>
                <a:lnTo>
                  <a:pt x="175" y="126"/>
                </a:lnTo>
                <a:lnTo>
                  <a:pt x="177" y="129"/>
                </a:lnTo>
                <a:lnTo>
                  <a:pt x="177" y="131"/>
                </a:lnTo>
                <a:lnTo>
                  <a:pt x="177" y="134"/>
                </a:lnTo>
                <a:lnTo>
                  <a:pt x="179" y="136"/>
                </a:lnTo>
                <a:lnTo>
                  <a:pt x="179" y="137"/>
                </a:lnTo>
                <a:lnTo>
                  <a:pt x="179" y="139"/>
                </a:lnTo>
                <a:lnTo>
                  <a:pt x="179" y="141"/>
                </a:lnTo>
                <a:lnTo>
                  <a:pt x="181" y="139"/>
                </a:lnTo>
                <a:lnTo>
                  <a:pt x="179" y="141"/>
                </a:lnTo>
                <a:lnTo>
                  <a:pt x="179" y="143"/>
                </a:lnTo>
                <a:lnTo>
                  <a:pt x="177" y="144"/>
                </a:lnTo>
                <a:lnTo>
                  <a:pt x="177" y="146"/>
                </a:lnTo>
                <a:lnTo>
                  <a:pt x="175" y="146"/>
                </a:lnTo>
                <a:lnTo>
                  <a:pt x="175" y="148"/>
                </a:lnTo>
                <a:lnTo>
                  <a:pt x="174" y="148"/>
                </a:lnTo>
                <a:lnTo>
                  <a:pt x="172" y="148"/>
                </a:lnTo>
                <a:lnTo>
                  <a:pt x="170" y="149"/>
                </a:lnTo>
                <a:lnTo>
                  <a:pt x="169" y="149"/>
                </a:lnTo>
                <a:lnTo>
                  <a:pt x="165" y="151"/>
                </a:lnTo>
                <a:lnTo>
                  <a:pt x="165" y="153"/>
                </a:lnTo>
                <a:lnTo>
                  <a:pt x="165" y="154"/>
                </a:lnTo>
                <a:lnTo>
                  <a:pt x="164" y="154"/>
                </a:lnTo>
                <a:lnTo>
                  <a:pt x="164" y="158"/>
                </a:lnTo>
                <a:lnTo>
                  <a:pt x="164" y="160"/>
                </a:lnTo>
                <a:lnTo>
                  <a:pt x="165" y="161"/>
                </a:lnTo>
                <a:lnTo>
                  <a:pt x="167" y="161"/>
                </a:lnTo>
                <a:lnTo>
                  <a:pt x="169" y="163"/>
                </a:lnTo>
                <a:lnTo>
                  <a:pt x="170" y="163"/>
                </a:lnTo>
                <a:lnTo>
                  <a:pt x="172" y="165"/>
                </a:lnTo>
                <a:lnTo>
                  <a:pt x="174" y="166"/>
                </a:lnTo>
                <a:lnTo>
                  <a:pt x="174" y="168"/>
                </a:lnTo>
                <a:lnTo>
                  <a:pt x="174" y="170"/>
                </a:lnTo>
                <a:lnTo>
                  <a:pt x="172" y="171"/>
                </a:lnTo>
                <a:lnTo>
                  <a:pt x="170" y="173"/>
                </a:lnTo>
                <a:lnTo>
                  <a:pt x="170" y="175"/>
                </a:lnTo>
                <a:lnTo>
                  <a:pt x="169" y="175"/>
                </a:lnTo>
                <a:lnTo>
                  <a:pt x="167" y="173"/>
                </a:lnTo>
                <a:lnTo>
                  <a:pt x="164" y="175"/>
                </a:lnTo>
                <a:lnTo>
                  <a:pt x="164" y="177"/>
                </a:lnTo>
                <a:lnTo>
                  <a:pt x="160" y="178"/>
                </a:lnTo>
                <a:lnTo>
                  <a:pt x="162" y="182"/>
                </a:lnTo>
                <a:lnTo>
                  <a:pt x="160" y="182"/>
                </a:lnTo>
                <a:lnTo>
                  <a:pt x="160" y="178"/>
                </a:lnTo>
                <a:lnTo>
                  <a:pt x="157" y="180"/>
                </a:lnTo>
                <a:lnTo>
                  <a:pt x="158" y="182"/>
                </a:lnTo>
                <a:lnTo>
                  <a:pt x="160" y="182"/>
                </a:lnTo>
                <a:lnTo>
                  <a:pt x="162" y="182"/>
                </a:lnTo>
                <a:lnTo>
                  <a:pt x="164" y="183"/>
                </a:lnTo>
                <a:lnTo>
                  <a:pt x="164" y="185"/>
                </a:lnTo>
                <a:lnTo>
                  <a:pt x="160" y="185"/>
                </a:lnTo>
                <a:lnTo>
                  <a:pt x="162" y="185"/>
                </a:lnTo>
                <a:lnTo>
                  <a:pt x="162" y="187"/>
                </a:lnTo>
                <a:lnTo>
                  <a:pt x="162" y="188"/>
                </a:lnTo>
                <a:lnTo>
                  <a:pt x="164" y="190"/>
                </a:lnTo>
                <a:lnTo>
                  <a:pt x="164" y="192"/>
                </a:lnTo>
                <a:lnTo>
                  <a:pt x="162" y="192"/>
                </a:lnTo>
                <a:lnTo>
                  <a:pt x="160" y="194"/>
                </a:lnTo>
                <a:lnTo>
                  <a:pt x="158" y="194"/>
                </a:lnTo>
                <a:lnTo>
                  <a:pt x="157" y="192"/>
                </a:lnTo>
                <a:lnTo>
                  <a:pt x="155" y="192"/>
                </a:lnTo>
                <a:lnTo>
                  <a:pt x="153" y="190"/>
                </a:lnTo>
                <a:lnTo>
                  <a:pt x="153" y="192"/>
                </a:lnTo>
                <a:lnTo>
                  <a:pt x="150" y="190"/>
                </a:lnTo>
                <a:lnTo>
                  <a:pt x="150" y="188"/>
                </a:lnTo>
                <a:lnTo>
                  <a:pt x="148" y="188"/>
                </a:lnTo>
                <a:lnTo>
                  <a:pt x="147" y="187"/>
                </a:lnTo>
                <a:lnTo>
                  <a:pt x="143" y="187"/>
                </a:lnTo>
                <a:lnTo>
                  <a:pt x="141" y="185"/>
                </a:lnTo>
                <a:lnTo>
                  <a:pt x="143" y="187"/>
                </a:lnTo>
                <a:lnTo>
                  <a:pt x="145" y="187"/>
                </a:lnTo>
                <a:lnTo>
                  <a:pt x="147" y="187"/>
                </a:lnTo>
                <a:lnTo>
                  <a:pt x="150" y="188"/>
                </a:lnTo>
                <a:lnTo>
                  <a:pt x="148" y="187"/>
                </a:lnTo>
                <a:lnTo>
                  <a:pt x="148" y="185"/>
                </a:lnTo>
                <a:lnTo>
                  <a:pt x="147" y="185"/>
                </a:lnTo>
                <a:lnTo>
                  <a:pt x="145" y="183"/>
                </a:lnTo>
                <a:lnTo>
                  <a:pt x="145" y="182"/>
                </a:lnTo>
                <a:lnTo>
                  <a:pt x="147" y="183"/>
                </a:lnTo>
                <a:lnTo>
                  <a:pt x="148" y="182"/>
                </a:lnTo>
                <a:lnTo>
                  <a:pt x="150" y="182"/>
                </a:lnTo>
                <a:lnTo>
                  <a:pt x="148" y="180"/>
                </a:lnTo>
                <a:lnTo>
                  <a:pt x="148" y="182"/>
                </a:lnTo>
                <a:lnTo>
                  <a:pt x="145" y="180"/>
                </a:lnTo>
                <a:lnTo>
                  <a:pt x="147" y="178"/>
                </a:lnTo>
                <a:lnTo>
                  <a:pt x="145" y="177"/>
                </a:lnTo>
                <a:lnTo>
                  <a:pt x="143" y="177"/>
                </a:lnTo>
                <a:lnTo>
                  <a:pt x="141" y="178"/>
                </a:lnTo>
                <a:lnTo>
                  <a:pt x="140" y="178"/>
                </a:lnTo>
                <a:lnTo>
                  <a:pt x="138" y="178"/>
                </a:lnTo>
                <a:lnTo>
                  <a:pt x="136" y="178"/>
                </a:lnTo>
                <a:lnTo>
                  <a:pt x="136" y="177"/>
                </a:lnTo>
                <a:lnTo>
                  <a:pt x="135" y="177"/>
                </a:lnTo>
                <a:lnTo>
                  <a:pt x="133" y="177"/>
                </a:lnTo>
                <a:lnTo>
                  <a:pt x="135" y="177"/>
                </a:lnTo>
                <a:lnTo>
                  <a:pt x="135" y="178"/>
                </a:lnTo>
                <a:lnTo>
                  <a:pt x="131" y="178"/>
                </a:lnTo>
                <a:lnTo>
                  <a:pt x="133" y="178"/>
                </a:lnTo>
                <a:lnTo>
                  <a:pt x="133" y="177"/>
                </a:lnTo>
                <a:lnTo>
                  <a:pt x="131" y="178"/>
                </a:lnTo>
                <a:lnTo>
                  <a:pt x="130" y="177"/>
                </a:lnTo>
                <a:lnTo>
                  <a:pt x="130" y="178"/>
                </a:lnTo>
                <a:lnTo>
                  <a:pt x="131" y="178"/>
                </a:lnTo>
                <a:lnTo>
                  <a:pt x="128" y="178"/>
                </a:lnTo>
                <a:lnTo>
                  <a:pt x="126" y="178"/>
                </a:lnTo>
                <a:lnTo>
                  <a:pt x="126" y="177"/>
                </a:lnTo>
                <a:lnTo>
                  <a:pt x="126" y="175"/>
                </a:lnTo>
                <a:lnTo>
                  <a:pt x="128" y="175"/>
                </a:lnTo>
                <a:lnTo>
                  <a:pt x="128" y="173"/>
                </a:lnTo>
                <a:lnTo>
                  <a:pt x="128" y="171"/>
                </a:lnTo>
                <a:lnTo>
                  <a:pt x="128" y="175"/>
                </a:lnTo>
                <a:lnTo>
                  <a:pt x="126" y="175"/>
                </a:lnTo>
                <a:lnTo>
                  <a:pt x="126" y="171"/>
                </a:lnTo>
                <a:lnTo>
                  <a:pt x="123" y="170"/>
                </a:lnTo>
                <a:lnTo>
                  <a:pt x="121" y="168"/>
                </a:lnTo>
                <a:lnTo>
                  <a:pt x="124" y="170"/>
                </a:lnTo>
                <a:lnTo>
                  <a:pt x="124" y="168"/>
                </a:lnTo>
                <a:lnTo>
                  <a:pt x="123" y="166"/>
                </a:lnTo>
                <a:lnTo>
                  <a:pt x="123" y="168"/>
                </a:lnTo>
                <a:lnTo>
                  <a:pt x="119" y="168"/>
                </a:lnTo>
                <a:lnTo>
                  <a:pt x="121" y="166"/>
                </a:lnTo>
                <a:lnTo>
                  <a:pt x="123" y="166"/>
                </a:lnTo>
                <a:lnTo>
                  <a:pt x="124" y="165"/>
                </a:lnTo>
                <a:lnTo>
                  <a:pt x="124" y="163"/>
                </a:lnTo>
                <a:lnTo>
                  <a:pt x="124" y="160"/>
                </a:lnTo>
                <a:lnTo>
                  <a:pt x="123" y="158"/>
                </a:lnTo>
                <a:lnTo>
                  <a:pt x="123" y="156"/>
                </a:lnTo>
                <a:lnTo>
                  <a:pt x="121" y="154"/>
                </a:lnTo>
                <a:lnTo>
                  <a:pt x="121" y="156"/>
                </a:lnTo>
                <a:lnTo>
                  <a:pt x="119" y="156"/>
                </a:lnTo>
                <a:lnTo>
                  <a:pt x="119" y="154"/>
                </a:lnTo>
                <a:lnTo>
                  <a:pt x="123" y="154"/>
                </a:lnTo>
                <a:lnTo>
                  <a:pt x="121" y="154"/>
                </a:lnTo>
                <a:lnTo>
                  <a:pt x="123" y="153"/>
                </a:lnTo>
                <a:lnTo>
                  <a:pt x="123" y="151"/>
                </a:lnTo>
                <a:lnTo>
                  <a:pt x="121" y="148"/>
                </a:lnTo>
                <a:lnTo>
                  <a:pt x="118" y="146"/>
                </a:lnTo>
                <a:lnTo>
                  <a:pt x="116" y="146"/>
                </a:lnTo>
                <a:lnTo>
                  <a:pt x="114" y="146"/>
                </a:lnTo>
                <a:lnTo>
                  <a:pt x="114" y="144"/>
                </a:lnTo>
                <a:lnTo>
                  <a:pt x="116" y="144"/>
                </a:lnTo>
                <a:lnTo>
                  <a:pt x="118" y="146"/>
                </a:lnTo>
                <a:lnTo>
                  <a:pt x="119" y="146"/>
                </a:lnTo>
                <a:lnTo>
                  <a:pt x="119" y="144"/>
                </a:lnTo>
                <a:lnTo>
                  <a:pt x="118" y="143"/>
                </a:lnTo>
                <a:lnTo>
                  <a:pt x="116" y="141"/>
                </a:lnTo>
                <a:lnTo>
                  <a:pt x="113" y="141"/>
                </a:lnTo>
                <a:lnTo>
                  <a:pt x="111" y="139"/>
                </a:lnTo>
                <a:lnTo>
                  <a:pt x="114" y="139"/>
                </a:lnTo>
                <a:lnTo>
                  <a:pt x="116" y="139"/>
                </a:lnTo>
                <a:lnTo>
                  <a:pt x="118" y="141"/>
                </a:lnTo>
                <a:lnTo>
                  <a:pt x="119" y="141"/>
                </a:lnTo>
                <a:lnTo>
                  <a:pt x="121" y="139"/>
                </a:lnTo>
                <a:lnTo>
                  <a:pt x="123" y="139"/>
                </a:lnTo>
                <a:lnTo>
                  <a:pt x="123" y="141"/>
                </a:lnTo>
                <a:lnTo>
                  <a:pt x="124" y="141"/>
                </a:lnTo>
                <a:lnTo>
                  <a:pt x="124" y="139"/>
                </a:lnTo>
                <a:lnTo>
                  <a:pt x="126" y="141"/>
                </a:lnTo>
                <a:lnTo>
                  <a:pt x="128" y="139"/>
                </a:lnTo>
                <a:lnTo>
                  <a:pt x="130" y="139"/>
                </a:lnTo>
                <a:lnTo>
                  <a:pt x="131" y="137"/>
                </a:lnTo>
                <a:lnTo>
                  <a:pt x="131" y="136"/>
                </a:lnTo>
                <a:lnTo>
                  <a:pt x="131" y="134"/>
                </a:lnTo>
                <a:lnTo>
                  <a:pt x="130" y="132"/>
                </a:lnTo>
                <a:lnTo>
                  <a:pt x="131" y="134"/>
                </a:lnTo>
                <a:lnTo>
                  <a:pt x="133" y="132"/>
                </a:lnTo>
                <a:lnTo>
                  <a:pt x="136" y="132"/>
                </a:lnTo>
                <a:lnTo>
                  <a:pt x="136" y="129"/>
                </a:lnTo>
                <a:lnTo>
                  <a:pt x="136" y="126"/>
                </a:lnTo>
                <a:lnTo>
                  <a:pt x="135" y="126"/>
                </a:lnTo>
                <a:lnTo>
                  <a:pt x="133" y="126"/>
                </a:lnTo>
                <a:lnTo>
                  <a:pt x="131" y="126"/>
                </a:lnTo>
                <a:lnTo>
                  <a:pt x="130" y="124"/>
                </a:lnTo>
                <a:lnTo>
                  <a:pt x="128" y="124"/>
                </a:lnTo>
                <a:lnTo>
                  <a:pt x="126" y="120"/>
                </a:lnTo>
                <a:lnTo>
                  <a:pt x="128" y="122"/>
                </a:lnTo>
                <a:lnTo>
                  <a:pt x="130" y="124"/>
                </a:lnTo>
                <a:lnTo>
                  <a:pt x="131" y="124"/>
                </a:lnTo>
                <a:lnTo>
                  <a:pt x="133" y="124"/>
                </a:lnTo>
                <a:lnTo>
                  <a:pt x="135" y="124"/>
                </a:lnTo>
                <a:lnTo>
                  <a:pt x="136" y="126"/>
                </a:lnTo>
                <a:lnTo>
                  <a:pt x="140" y="124"/>
                </a:lnTo>
                <a:lnTo>
                  <a:pt x="141" y="126"/>
                </a:lnTo>
                <a:lnTo>
                  <a:pt x="143" y="126"/>
                </a:lnTo>
                <a:lnTo>
                  <a:pt x="145" y="124"/>
                </a:lnTo>
                <a:lnTo>
                  <a:pt x="147" y="122"/>
                </a:lnTo>
                <a:lnTo>
                  <a:pt x="147" y="126"/>
                </a:lnTo>
                <a:lnTo>
                  <a:pt x="145" y="126"/>
                </a:lnTo>
                <a:lnTo>
                  <a:pt x="145" y="127"/>
                </a:lnTo>
                <a:lnTo>
                  <a:pt x="145" y="129"/>
                </a:lnTo>
                <a:lnTo>
                  <a:pt x="143" y="127"/>
                </a:lnTo>
                <a:lnTo>
                  <a:pt x="141" y="127"/>
                </a:lnTo>
                <a:lnTo>
                  <a:pt x="143" y="127"/>
                </a:lnTo>
                <a:lnTo>
                  <a:pt x="141" y="129"/>
                </a:lnTo>
                <a:lnTo>
                  <a:pt x="143" y="131"/>
                </a:lnTo>
                <a:lnTo>
                  <a:pt x="143" y="132"/>
                </a:lnTo>
                <a:lnTo>
                  <a:pt x="145" y="132"/>
                </a:lnTo>
                <a:lnTo>
                  <a:pt x="145" y="134"/>
                </a:lnTo>
                <a:lnTo>
                  <a:pt x="145" y="136"/>
                </a:lnTo>
                <a:lnTo>
                  <a:pt x="141" y="134"/>
                </a:lnTo>
                <a:lnTo>
                  <a:pt x="141" y="136"/>
                </a:lnTo>
                <a:lnTo>
                  <a:pt x="140" y="137"/>
                </a:lnTo>
                <a:lnTo>
                  <a:pt x="141" y="137"/>
                </a:lnTo>
                <a:lnTo>
                  <a:pt x="143" y="136"/>
                </a:lnTo>
                <a:lnTo>
                  <a:pt x="145" y="136"/>
                </a:lnTo>
                <a:lnTo>
                  <a:pt x="147" y="137"/>
                </a:lnTo>
                <a:lnTo>
                  <a:pt x="145" y="137"/>
                </a:lnTo>
                <a:lnTo>
                  <a:pt x="147" y="139"/>
                </a:lnTo>
                <a:lnTo>
                  <a:pt x="143" y="139"/>
                </a:lnTo>
                <a:lnTo>
                  <a:pt x="141" y="139"/>
                </a:lnTo>
                <a:lnTo>
                  <a:pt x="141" y="141"/>
                </a:lnTo>
                <a:lnTo>
                  <a:pt x="143" y="141"/>
                </a:lnTo>
                <a:lnTo>
                  <a:pt x="145" y="141"/>
                </a:lnTo>
                <a:lnTo>
                  <a:pt x="147" y="141"/>
                </a:lnTo>
                <a:lnTo>
                  <a:pt x="147" y="143"/>
                </a:lnTo>
                <a:lnTo>
                  <a:pt x="148" y="143"/>
                </a:lnTo>
                <a:lnTo>
                  <a:pt x="148" y="144"/>
                </a:lnTo>
                <a:lnTo>
                  <a:pt x="147" y="144"/>
                </a:lnTo>
                <a:lnTo>
                  <a:pt x="147" y="146"/>
                </a:lnTo>
                <a:lnTo>
                  <a:pt x="148" y="144"/>
                </a:lnTo>
                <a:lnTo>
                  <a:pt x="148" y="143"/>
                </a:lnTo>
                <a:lnTo>
                  <a:pt x="150" y="141"/>
                </a:lnTo>
                <a:lnTo>
                  <a:pt x="150" y="139"/>
                </a:lnTo>
                <a:lnTo>
                  <a:pt x="150" y="137"/>
                </a:lnTo>
                <a:lnTo>
                  <a:pt x="150" y="136"/>
                </a:lnTo>
                <a:lnTo>
                  <a:pt x="150" y="134"/>
                </a:lnTo>
                <a:lnTo>
                  <a:pt x="153" y="134"/>
                </a:lnTo>
                <a:lnTo>
                  <a:pt x="153" y="132"/>
                </a:lnTo>
                <a:lnTo>
                  <a:pt x="152" y="129"/>
                </a:lnTo>
                <a:lnTo>
                  <a:pt x="152" y="127"/>
                </a:lnTo>
                <a:lnTo>
                  <a:pt x="152" y="126"/>
                </a:lnTo>
                <a:lnTo>
                  <a:pt x="153" y="126"/>
                </a:lnTo>
                <a:lnTo>
                  <a:pt x="155" y="127"/>
                </a:lnTo>
                <a:lnTo>
                  <a:pt x="157" y="127"/>
                </a:lnTo>
                <a:lnTo>
                  <a:pt x="155" y="129"/>
                </a:lnTo>
                <a:lnTo>
                  <a:pt x="155" y="131"/>
                </a:lnTo>
                <a:lnTo>
                  <a:pt x="157" y="132"/>
                </a:lnTo>
                <a:lnTo>
                  <a:pt x="157" y="134"/>
                </a:lnTo>
                <a:lnTo>
                  <a:pt x="157" y="136"/>
                </a:lnTo>
                <a:lnTo>
                  <a:pt x="158" y="136"/>
                </a:lnTo>
                <a:lnTo>
                  <a:pt x="157" y="136"/>
                </a:lnTo>
                <a:lnTo>
                  <a:pt x="158" y="137"/>
                </a:lnTo>
                <a:lnTo>
                  <a:pt x="157" y="137"/>
                </a:lnTo>
                <a:lnTo>
                  <a:pt x="158" y="139"/>
                </a:lnTo>
                <a:lnTo>
                  <a:pt x="157" y="139"/>
                </a:lnTo>
                <a:lnTo>
                  <a:pt x="157" y="141"/>
                </a:lnTo>
                <a:lnTo>
                  <a:pt x="155" y="139"/>
                </a:lnTo>
                <a:lnTo>
                  <a:pt x="155" y="141"/>
                </a:lnTo>
                <a:lnTo>
                  <a:pt x="153" y="144"/>
                </a:lnTo>
                <a:lnTo>
                  <a:pt x="153" y="146"/>
                </a:lnTo>
                <a:lnTo>
                  <a:pt x="153" y="144"/>
                </a:lnTo>
                <a:lnTo>
                  <a:pt x="155" y="144"/>
                </a:lnTo>
                <a:lnTo>
                  <a:pt x="155" y="141"/>
                </a:lnTo>
                <a:lnTo>
                  <a:pt x="158" y="143"/>
                </a:lnTo>
                <a:lnTo>
                  <a:pt x="155" y="143"/>
                </a:lnTo>
                <a:lnTo>
                  <a:pt x="155" y="144"/>
                </a:lnTo>
                <a:lnTo>
                  <a:pt x="158" y="144"/>
                </a:lnTo>
                <a:lnTo>
                  <a:pt x="158" y="146"/>
                </a:lnTo>
                <a:lnTo>
                  <a:pt x="158" y="144"/>
                </a:lnTo>
                <a:lnTo>
                  <a:pt x="158" y="143"/>
                </a:lnTo>
                <a:lnTo>
                  <a:pt x="160" y="143"/>
                </a:lnTo>
                <a:lnTo>
                  <a:pt x="160" y="141"/>
                </a:lnTo>
                <a:lnTo>
                  <a:pt x="160" y="139"/>
                </a:lnTo>
                <a:lnTo>
                  <a:pt x="158" y="139"/>
                </a:lnTo>
                <a:lnTo>
                  <a:pt x="160" y="139"/>
                </a:lnTo>
                <a:lnTo>
                  <a:pt x="160" y="137"/>
                </a:lnTo>
                <a:lnTo>
                  <a:pt x="158" y="136"/>
                </a:lnTo>
                <a:lnTo>
                  <a:pt x="158" y="132"/>
                </a:lnTo>
                <a:lnTo>
                  <a:pt x="157" y="132"/>
                </a:lnTo>
                <a:lnTo>
                  <a:pt x="158" y="131"/>
                </a:lnTo>
                <a:lnTo>
                  <a:pt x="158" y="129"/>
                </a:lnTo>
                <a:lnTo>
                  <a:pt x="157" y="127"/>
                </a:lnTo>
                <a:lnTo>
                  <a:pt x="157" y="126"/>
                </a:lnTo>
                <a:lnTo>
                  <a:pt x="155" y="124"/>
                </a:lnTo>
                <a:lnTo>
                  <a:pt x="153" y="124"/>
                </a:lnTo>
                <a:lnTo>
                  <a:pt x="152" y="124"/>
                </a:lnTo>
                <a:lnTo>
                  <a:pt x="150" y="126"/>
                </a:lnTo>
                <a:lnTo>
                  <a:pt x="148" y="124"/>
                </a:lnTo>
                <a:lnTo>
                  <a:pt x="150" y="122"/>
                </a:lnTo>
                <a:lnTo>
                  <a:pt x="153" y="120"/>
                </a:lnTo>
                <a:lnTo>
                  <a:pt x="155" y="119"/>
                </a:lnTo>
                <a:lnTo>
                  <a:pt x="157" y="117"/>
                </a:lnTo>
                <a:lnTo>
                  <a:pt x="158" y="115"/>
                </a:lnTo>
                <a:lnTo>
                  <a:pt x="160" y="114"/>
                </a:lnTo>
                <a:lnTo>
                  <a:pt x="162" y="114"/>
                </a:lnTo>
                <a:lnTo>
                  <a:pt x="164" y="114"/>
                </a:lnTo>
                <a:lnTo>
                  <a:pt x="165" y="112"/>
                </a:lnTo>
                <a:lnTo>
                  <a:pt x="167" y="112"/>
                </a:lnTo>
                <a:close/>
                <a:moveTo>
                  <a:pt x="99" y="0"/>
                </a:moveTo>
                <a:lnTo>
                  <a:pt x="101" y="0"/>
                </a:lnTo>
                <a:lnTo>
                  <a:pt x="99" y="1"/>
                </a:lnTo>
                <a:lnTo>
                  <a:pt x="97" y="1"/>
                </a:lnTo>
                <a:lnTo>
                  <a:pt x="96" y="5"/>
                </a:lnTo>
                <a:lnTo>
                  <a:pt x="96" y="6"/>
                </a:lnTo>
                <a:lnTo>
                  <a:pt x="94" y="8"/>
                </a:lnTo>
                <a:lnTo>
                  <a:pt x="92" y="12"/>
                </a:lnTo>
                <a:lnTo>
                  <a:pt x="94" y="15"/>
                </a:lnTo>
                <a:lnTo>
                  <a:pt x="96" y="17"/>
                </a:lnTo>
                <a:lnTo>
                  <a:pt x="96" y="18"/>
                </a:lnTo>
                <a:lnTo>
                  <a:pt x="97" y="20"/>
                </a:lnTo>
                <a:lnTo>
                  <a:pt x="97" y="22"/>
                </a:lnTo>
                <a:lnTo>
                  <a:pt x="96" y="25"/>
                </a:lnTo>
                <a:lnTo>
                  <a:pt x="97" y="29"/>
                </a:lnTo>
                <a:lnTo>
                  <a:pt x="97" y="30"/>
                </a:lnTo>
                <a:lnTo>
                  <a:pt x="97" y="32"/>
                </a:lnTo>
                <a:lnTo>
                  <a:pt x="97" y="34"/>
                </a:lnTo>
                <a:lnTo>
                  <a:pt x="97" y="37"/>
                </a:lnTo>
                <a:lnTo>
                  <a:pt x="97" y="35"/>
                </a:lnTo>
                <a:lnTo>
                  <a:pt x="96" y="37"/>
                </a:lnTo>
                <a:lnTo>
                  <a:pt x="96" y="39"/>
                </a:lnTo>
                <a:lnTo>
                  <a:pt x="94" y="40"/>
                </a:lnTo>
                <a:lnTo>
                  <a:pt x="92" y="44"/>
                </a:lnTo>
                <a:lnTo>
                  <a:pt x="92" y="46"/>
                </a:lnTo>
                <a:lnTo>
                  <a:pt x="90" y="47"/>
                </a:lnTo>
                <a:lnTo>
                  <a:pt x="90" y="49"/>
                </a:lnTo>
                <a:lnTo>
                  <a:pt x="90" y="51"/>
                </a:lnTo>
                <a:lnTo>
                  <a:pt x="89" y="52"/>
                </a:lnTo>
                <a:lnTo>
                  <a:pt x="85" y="52"/>
                </a:lnTo>
                <a:lnTo>
                  <a:pt x="84" y="52"/>
                </a:lnTo>
                <a:lnTo>
                  <a:pt x="84" y="51"/>
                </a:lnTo>
                <a:lnTo>
                  <a:pt x="82" y="51"/>
                </a:lnTo>
                <a:lnTo>
                  <a:pt x="80" y="49"/>
                </a:lnTo>
                <a:lnTo>
                  <a:pt x="79" y="47"/>
                </a:lnTo>
                <a:lnTo>
                  <a:pt x="77" y="46"/>
                </a:lnTo>
                <a:lnTo>
                  <a:pt x="75" y="46"/>
                </a:lnTo>
                <a:lnTo>
                  <a:pt x="73" y="49"/>
                </a:lnTo>
                <a:lnTo>
                  <a:pt x="73" y="47"/>
                </a:lnTo>
                <a:lnTo>
                  <a:pt x="72" y="47"/>
                </a:lnTo>
                <a:lnTo>
                  <a:pt x="70" y="46"/>
                </a:lnTo>
                <a:lnTo>
                  <a:pt x="68" y="44"/>
                </a:lnTo>
                <a:lnTo>
                  <a:pt x="68" y="46"/>
                </a:lnTo>
                <a:lnTo>
                  <a:pt x="67" y="47"/>
                </a:lnTo>
                <a:lnTo>
                  <a:pt x="65" y="47"/>
                </a:lnTo>
                <a:lnTo>
                  <a:pt x="63" y="47"/>
                </a:lnTo>
                <a:lnTo>
                  <a:pt x="65" y="46"/>
                </a:lnTo>
                <a:lnTo>
                  <a:pt x="63" y="46"/>
                </a:lnTo>
                <a:lnTo>
                  <a:pt x="62" y="47"/>
                </a:lnTo>
                <a:lnTo>
                  <a:pt x="63" y="47"/>
                </a:lnTo>
                <a:lnTo>
                  <a:pt x="62" y="49"/>
                </a:lnTo>
                <a:lnTo>
                  <a:pt x="60" y="49"/>
                </a:lnTo>
                <a:lnTo>
                  <a:pt x="58" y="49"/>
                </a:lnTo>
                <a:lnTo>
                  <a:pt x="56" y="49"/>
                </a:lnTo>
                <a:lnTo>
                  <a:pt x="55" y="49"/>
                </a:lnTo>
                <a:lnTo>
                  <a:pt x="53" y="51"/>
                </a:lnTo>
                <a:lnTo>
                  <a:pt x="51" y="51"/>
                </a:lnTo>
                <a:lnTo>
                  <a:pt x="50" y="51"/>
                </a:lnTo>
                <a:lnTo>
                  <a:pt x="48" y="52"/>
                </a:lnTo>
                <a:lnTo>
                  <a:pt x="45" y="51"/>
                </a:lnTo>
                <a:lnTo>
                  <a:pt x="45" y="49"/>
                </a:lnTo>
                <a:lnTo>
                  <a:pt x="45" y="51"/>
                </a:lnTo>
                <a:lnTo>
                  <a:pt x="45" y="49"/>
                </a:lnTo>
                <a:lnTo>
                  <a:pt x="41" y="51"/>
                </a:lnTo>
                <a:lnTo>
                  <a:pt x="39" y="51"/>
                </a:lnTo>
                <a:lnTo>
                  <a:pt x="38" y="51"/>
                </a:lnTo>
                <a:lnTo>
                  <a:pt x="36" y="51"/>
                </a:lnTo>
                <a:lnTo>
                  <a:pt x="36" y="52"/>
                </a:lnTo>
                <a:lnTo>
                  <a:pt x="34" y="52"/>
                </a:lnTo>
                <a:lnTo>
                  <a:pt x="34" y="54"/>
                </a:lnTo>
                <a:lnTo>
                  <a:pt x="34" y="52"/>
                </a:lnTo>
                <a:lnTo>
                  <a:pt x="33" y="52"/>
                </a:lnTo>
                <a:lnTo>
                  <a:pt x="33" y="54"/>
                </a:lnTo>
                <a:lnTo>
                  <a:pt x="31" y="54"/>
                </a:lnTo>
                <a:lnTo>
                  <a:pt x="29" y="56"/>
                </a:lnTo>
                <a:lnTo>
                  <a:pt x="28" y="54"/>
                </a:lnTo>
                <a:lnTo>
                  <a:pt x="26" y="56"/>
                </a:lnTo>
                <a:lnTo>
                  <a:pt x="26" y="57"/>
                </a:lnTo>
                <a:lnTo>
                  <a:pt x="24" y="59"/>
                </a:lnTo>
                <a:lnTo>
                  <a:pt x="24" y="61"/>
                </a:lnTo>
                <a:lnTo>
                  <a:pt x="24" y="63"/>
                </a:lnTo>
                <a:lnTo>
                  <a:pt x="22" y="64"/>
                </a:lnTo>
                <a:lnTo>
                  <a:pt x="21" y="64"/>
                </a:lnTo>
                <a:lnTo>
                  <a:pt x="17" y="66"/>
                </a:lnTo>
                <a:lnTo>
                  <a:pt x="19" y="69"/>
                </a:lnTo>
                <a:lnTo>
                  <a:pt x="17" y="71"/>
                </a:lnTo>
                <a:lnTo>
                  <a:pt x="19" y="71"/>
                </a:lnTo>
                <a:lnTo>
                  <a:pt x="19" y="74"/>
                </a:lnTo>
                <a:lnTo>
                  <a:pt x="17" y="73"/>
                </a:lnTo>
                <a:lnTo>
                  <a:pt x="16" y="73"/>
                </a:lnTo>
                <a:lnTo>
                  <a:pt x="16" y="74"/>
                </a:lnTo>
                <a:lnTo>
                  <a:pt x="19" y="73"/>
                </a:lnTo>
                <a:lnTo>
                  <a:pt x="19" y="74"/>
                </a:lnTo>
                <a:lnTo>
                  <a:pt x="22" y="73"/>
                </a:lnTo>
                <a:lnTo>
                  <a:pt x="22" y="76"/>
                </a:lnTo>
                <a:lnTo>
                  <a:pt x="22" y="78"/>
                </a:lnTo>
                <a:lnTo>
                  <a:pt x="22" y="80"/>
                </a:lnTo>
                <a:lnTo>
                  <a:pt x="21" y="80"/>
                </a:lnTo>
                <a:lnTo>
                  <a:pt x="21" y="81"/>
                </a:lnTo>
                <a:lnTo>
                  <a:pt x="19" y="80"/>
                </a:lnTo>
                <a:lnTo>
                  <a:pt x="19" y="78"/>
                </a:lnTo>
                <a:lnTo>
                  <a:pt x="17" y="76"/>
                </a:lnTo>
                <a:lnTo>
                  <a:pt x="16" y="74"/>
                </a:lnTo>
                <a:lnTo>
                  <a:pt x="14" y="74"/>
                </a:lnTo>
                <a:lnTo>
                  <a:pt x="14" y="73"/>
                </a:lnTo>
                <a:lnTo>
                  <a:pt x="12" y="71"/>
                </a:lnTo>
                <a:lnTo>
                  <a:pt x="11" y="68"/>
                </a:lnTo>
                <a:lnTo>
                  <a:pt x="9" y="68"/>
                </a:lnTo>
                <a:lnTo>
                  <a:pt x="9" y="71"/>
                </a:lnTo>
                <a:lnTo>
                  <a:pt x="9" y="73"/>
                </a:lnTo>
                <a:lnTo>
                  <a:pt x="7" y="71"/>
                </a:lnTo>
                <a:lnTo>
                  <a:pt x="9" y="69"/>
                </a:lnTo>
                <a:lnTo>
                  <a:pt x="9" y="68"/>
                </a:lnTo>
                <a:lnTo>
                  <a:pt x="9" y="66"/>
                </a:lnTo>
                <a:lnTo>
                  <a:pt x="11" y="63"/>
                </a:lnTo>
                <a:lnTo>
                  <a:pt x="11" y="61"/>
                </a:lnTo>
                <a:lnTo>
                  <a:pt x="11" y="59"/>
                </a:lnTo>
                <a:lnTo>
                  <a:pt x="12" y="57"/>
                </a:lnTo>
                <a:lnTo>
                  <a:pt x="14" y="56"/>
                </a:lnTo>
                <a:lnTo>
                  <a:pt x="14" y="54"/>
                </a:lnTo>
                <a:lnTo>
                  <a:pt x="16" y="54"/>
                </a:lnTo>
                <a:lnTo>
                  <a:pt x="17" y="51"/>
                </a:lnTo>
                <a:lnTo>
                  <a:pt x="19" y="49"/>
                </a:lnTo>
                <a:lnTo>
                  <a:pt x="21" y="47"/>
                </a:lnTo>
                <a:lnTo>
                  <a:pt x="21" y="46"/>
                </a:lnTo>
                <a:lnTo>
                  <a:pt x="22" y="44"/>
                </a:lnTo>
                <a:lnTo>
                  <a:pt x="22" y="42"/>
                </a:lnTo>
                <a:lnTo>
                  <a:pt x="22" y="44"/>
                </a:lnTo>
                <a:lnTo>
                  <a:pt x="24" y="42"/>
                </a:lnTo>
                <a:lnTo>
                  <a:pt x="26" y="44"/>
                </a:lnTo>
                <a:lnTo>
                  <a:pt x="29" y="44"/>
                </a:lnTo>
                <a:lnTo>
                  <a:pt x="29" y="46"/>
                </a:lnTo>
                <a:lnTo>
                  <a:pt x="31" y="44"/>
                </a:lnTo>
                <a:lnTo>
                  <a:pt x="34" y="44"/>
                </a:lnTo>
                <a:lnTo>
                  <a:pt x="34" y="42"/>
                </a:lnTo>
                <a:lnTo>
                  <a:pt x="38" y="40"/>
                </a:lnTo>
                <a:lnTo>
                  <a:pt x="39" y="40"/>
                </a:lnTo>
                <a:lnTo>
                  <a:pt x="41" y="40"/>
                </a:lnTo>
                <a:lnTo>
                  <a:pt x="43" y="42"/>
                </a:lnTo>
                <a:lnTo>
                  <a:pt x="46" y="42"/>
                </a:lnTo>
                <a:lnTo>
                  <a:pt x="48" y="42"/>
                </a:lnTo>
                <a:lnTo>
                  <a:pt x="50" y="42"/>
                </a:lnTo>
                <a:lnTo>
                  <a:pt x="51" y="40"/>
                </a:lnTo>
                <a:lnTo>
                  <a:pt x="53" y="40"/>
                </a:lnTo>
                <a:lnTo>
                  <a:pt x="55" y="40"/>
                </a:lnTo>
                <a:lnTo>
                  <a:pt x="56" y="39"/>
                </a:lnTo>
                <a:lnTo>
                  <a:pt x="58" y="37"/>
                </a:lnTo>
                <a:lnTo>
                  <a:pt x="60" y="35"/>
                </a:lnTo>
                <a:lnTo>
                  <a:pt x="62" y="34"/>
                </a:lnTo>
                <a:lnTo>
                  <a:pt x="63" y="30"/>
                </a:lnTo>
                <a:lnTo>
                  <a:pt x="65" y="27"/>
                </a:lnTo>
                <a:lnTo>
                  <a:pt x="65" y="25"/>
                </a:lnTo>
                <a:lnTo>
                  <a:pt x="67" y="25"/>
                </a:lnTo>
                <a:lnTo>
                  <a:pt x="67" y="23"/>
                </a:lnTo>
                <a:lnTo>
                  <a:pt x="68" y="20"/>
                </a:lnTo>
                <a:lnTo>
                  <a:pt x="68" y="18"/>
                </a:lnTo>
                <a:lnTo>
                  <a:pt x="70" y="17"/>
                </a:lnTo>
                <a:lnTo>
                  <a:pt x="72" y="15"/>
                </a:lnTo>
                <a:lnTo>
                  <a:pt x="73" y="13"/>
                </a:lnTo>
                <a:lnTo>
                  <a:pt x="73" y="12"/>
                </a:lnTo>
                <a:lnTo>
                  <a:pt x="75" y="10"/>
                </a:lnTo>
                <a:lnTo>
                  <a:pt x="77" y="10"/>
                </a:lnTo>
                <a:lnTo>
                  <a:pt x="75" y="10"/>
                </a:lnTo>
                <a:lnTo>
                  <a:pt x="77" y="10"/>
                </a:lnTo>
                <a:lnTo>
                  <a:pt x="79" y="10"/>
                </a:lnTo>
                <a:lnTo>
                  <a:pt x="82" y="12"/>
                </a:lnTo>
                <a:lnTo>
                  <a:pt x="84" y="10"/>
                </a:lnTo>
                <a:lnTo>
                  <a:pt x="85" y="10"/>
                </a:lnTo>
                <a:lnTo>
                  <a:pt x="87" y="8"/>
                </a:lnTo>
                <a:lnTo>
                  <a:pt x="89" y="8"/>
                </a:lnTo>
                <a:lnTo>
                  <a:pt x="89" y="6"/>
                </a:lnTo>
                <a:lnTo>
                  <a:pt x="90" y="6"/>
                </a:lnTo>
                <a:lnTo>
                  <a:pt x="92" y="5"/>
                </a:lnTo>
                <a:lnTo>
                  <a:pt x="94" y="3"/>
                </a:lnTo>
                <a:lnTo>
                  <a:pt x="96" y="1"/>
                </a:lnTo>
                <a:lnTo>
                  <a:pt x="99" y="0"/>
                </a:lnTo>
                <a:close/>
                <a:moveTo>
                  <a:pt x="89" y="149"/>
                </a:moveTo>
                <a:lnTo>
                  <a:pt x="90" y="149"/>
                </a:lnTo>
                <a:lnTo>
                  <a:pt x="94" y="151"/>
                </a:lnTo>
                <a:lnTo>
                  <a:pt x="96" y="153"/>
                </a:lnTo>
                <a:lnTo>
                  <a:pt x="97" y="154"/>
                </a:lnTo>
                <a:lnTo>
                  <a:pt x="99" y="156"/>
                </a:lnTo>
                <a:lnTo>
                  <a:pt x="97" y="154"/>
                </a:lnTo>
                <a:lnTo>
                  <a:pt x="96" y="154"/>
                </a:lnTo>
                <a:lnTo>
                  <a:pt x="97" y="158"/>
                </a:lnTo>
                <a:lnTo>
                  <a:pt x="94" y="158"/>
                </a:lnTo>
                <a:lnTo>
                  <a:pt x="94" y="161"/>
                </a:lnTo>
                <a:lnTo>
                  <a:pt x="92" y="163"/>
                </a:lnTo>
                <a:lnTo>
                  <a:pt x="94" y="161"/>
                </a:lnTo>
                <a:lnTo>
                  <a:pt x="94" y="160"/>
                </a:lnTo>
                <a:lnTo>
                  <a:pt x="94" y="161"/>
                </a:lnTo>
                <a:lnTo>
                  <a:pt x="96" y="161"/>
                </a:lnTo>
                <a:lnTo>
                  <a:pt x="97" y="161"/>
                </a:lnTo>
                <a:lnTo>
                  <a:pt x="96" y="160"/>
                </a:lnTo>
                <a:lnTo>
                  <a:pt x="97" y="160"/>
                </a:lnTo>
                <a:lnTo>
                  <a:pt x="99" y="158"/>
                </a:lnTo>
                <a:lnTo>
                  <a:pt x="99" y="160"/>
                </a:lnTo>
                <a:lnTo>
                  <a:pt x="101" y="158"/>
                </a:lnTo>
                <a:lnTo>
                  <a:pt x="101" y="156"/>
                </a:lnTo>
                <a:lnTo>
                  <a:pt x="99" y="156"/>
                </a:lnTo>
                <a:lnTo>
                  <a:pt x="101" y="154"/>
                </a:lnTo>
                <a:lnTo>
                  <a:pt x="102" y="156"/>
                </a:lnTo>
                <a:lnTo>
                  <a:pt x="101" y="154"/>
                </a:lnTo>
                <a:lnTo>
                  <a:pt x="101" y="151"/>
                </a:lnTo>
                <a:lnTo>
                  <a:pt x="101" y="153"/>
                </a:lnTo>
                <a:lnTo>
                  <a:pt x="102" y="153"/>
                </a:lnTo>
                <a:lnTo>
                  <a:pt x="102" y="151"/>
                </a:lnTo>
                <a:lnTo>
                  <a:pt x="101" y="149"/>
                </a:lnTo>
                <a:lnTo>
                  <a:pt x="102" y="151"/>
                </a:lnTo>
                <a:lnTo>
                  <a:pt x="104" y="153"/>
                </a:lnTo>
                <a:lnTo>
                  <a:pt x="104" y="154"/>
                </a:lnTo>
                <a:lnTo>
                  <a:pt x="104" y="156"/>
                </a:lnTo>
                <a:lnTo>
                  <a:pt x="106" y="158"/>
                </a:lnTo>
                <a:lnTo>
                  <a:pt x="106" y="160"/>
                </a:lnTo>
                <a:lnTo>
                  <a:pt x="104" y="160"/>
                </a:lnTo>
                <a:lnTo>
                  <a:pt x="102" y="161"/>
                </a:lnTo>
                <a:lnTo>
                  <a:pt x="101" y="160"/>
                </a:lnTo>
                <a:lnTo>
                  <a:pt x="99" y="160"/>
                </a:lnTo>
                <a:lnTo>
                  <a:pt x="99" y="161"/>
                </a:lnTo>
                <a:lnTo>
                  <a:pt x="99" y="163"/>
                </a:lnTo>
                <a:lnTo>
                  <a:pt x="101" y="160"/>
                </a:lnTo>
                <a:lnTo>
                  <a:pt x="102" y="161"/>
                </a:lnTo>
                <a:lnTo>
                  <a:pt x="104" y="161"/>
                </a:lnTo>
                <a:lnTo>
                  <a:pt x="106" y="163"/>
                </a:lnTo>
                <a:lnTo>
                  <a:pt x="107" y="165"/>
                </a:lnTo>
                <a:lnTo>
                  <a:pt x="107" y="166"/>
                </a:lnTo>
                <a:lnTo>
                  <a:pt x="109" y="168"/>
                </a:lnTo>
                <a:lnTo>
                  <a:pt x="109" y="170"/>
                </a:lnTo>
                <a:lnTo>
                  <a:pt x="111" y="171"/>
                </a:lnTo>
                <a:lnTo>
                  <a:pt x="109" y="171"/>
                </a:lnTo>
                <a:lnTo>
                  <a:pt x="107" y="170"/>
                </a:lnTo>
                <a:lnTo>
                  <a:pt x="107" y="171"/>
                </a:lnTo>
                <a:lnTo>
                  <a:pt x="106" y="171"/>
                </a:lnTo>
                <a:lnTo>
                  <a:pt x="107" y="171"/>
                </a:lnTo>
                <a:lnTo>
                  <a:pt x="107" y="173"/>
                </a:lnTo>
                <a:lnTo>
                  <a:pt x="109" y="177"/>
                </a:lnTo>
                <a:lnTo>
                  <a:pt x="109" y="178"/>
                </a:lnTo>
                <a:lnTo>
                  <a:pt x="109" y="180"/>
                </a:lnTo>
                <a:lnTo>
                  <a:pt x="107" y="182"/>
                </a:lnTo>
                <a:lnTo>
                  <a:pt x="107" y="185"/>
                </a:lnTo>
                <a:lnTo>
                  <a:pt x="106" y="187"/>
                </a:lnTo>
                <a:lnTo>
                  <a:pt x="106" y="188"/>
                </a:lnTo>
                <a:lnTo>
                  <a:pt x="104" y="187"/>
                </a:lnTo>
                <a:lnTo>
                  <a:pt x="101" y="188"/>
                </a:lnTo>
                <a:lnTo>
                  <a:pt x="97" y="190"/>
                </a:lnTo>
                <a:lnTo>
                  <a:pt x="96" y="188"/>
                </a:lnTo>
                <a:lnTo>
                  <a:pt x="94" y="188"/>
                </a:lnTo>
                <a:lnTo>
                  <a:pt x="92" y="187"/>
                </a:lnTo>
                <a:lnTo>
                  <a:pt x="90" y="188"/>
                </a:lnTo>
                <a:lnTo>
                  <a:pt x="89" y="188"/>
                </a:lnTo>
                <a:lnTo>
                  <a:pt x="89" y="187"/>
                </a:lnTo>
                <a:lnTo>
                  <a:pt x="85" y="185"/>
                </a:lnTo>
                <a:lnTo>
                  <a:pt x="85" y="187"/>
                </a:lnTo>
                <a:lnTo>
                  <a:pt x="85" y="188"/>
                </a:lnTo>
                <a:lnTo>
                  <a:pt x="84" y="187"/>
                </a:lnTo>
                <a:lnTo>
                  <a:pt x="82" y="185"/>
                </a:lnTo>
                <a:lnTo>
                  <a:pt x="80" y="187"/>
                </a:lnTo>
                <a:lnTo>
                  <a:pt x="80" y="185"/>
                </a:lnTo>
                <a:lnTo>
                  <a:pt x="82" y="183"/>
                </a:lnTo>
                <a:lnTo>
                  <a:pt x="84" y="183"/>
                </a:lnTo>
                <a:lnTo>
                  <a:pt x="82" y="182"/>
                </a:lnTo>
                <a:lnTo>
                  <a:pt x="82" y="178"/>
                </a:lnTo>
                <a:lnTo>
                  <a:pt x="79" y="180"/>
                </a:lnTo>
                <a:lnTo>
                  <a:pt x="77" y="178"/>
                </a:lnTo>
                <a:lnTo>
                  <a:pt x="77" y="180"/>
                </a:lnTo>
                <a:lnTo>
                  <a:pt x="79" y="183"/>
                </a:lnTo>
                <a:lnTo>
                  <a:pt x="77" y="183"/>
                </a:lnTo>
                <a:lnTo>
                  <a:pt x="75" y="183"/>
                </a:lnTo>
                <a:lnTo>
                  <a:pt x="77" y="182"/>
                </a:lnTo>
                <a:lnTo>
                  <a:pt x="75" y="180"/>
                </a:lnTo>
                <a:lnTo>
                  <a:pt x="75" y="177"/>
                </a:lnTo>
                <a:lnTo>
                  <a:pt x="73" y="177"/>
                </a:lnTo>
                <a:lnTo>
                  <a:pt x="72" y="175"/>
                </a:lnTo>
                <a:lnTo>
                  <a:pt x="73" y="175"/>
                </a:lnTo>
                <a:lnTo>
                  <a:pt x="72" y="173"/>
                </a:lnTo>
                <a:lnTo>
                  <a:pt x="72" y="171"/>
                </a:lnTo>
                <a:lnTo>
                  <a:pt x="72" y="168"/>
                </a:lnTo>
                <a:lnTo>
                  <a:pt x="73" y="168"/>
                </a:lnTo>
                <a:lnTo>
                  <a:pt x="72" y="166"/>
                </a:lnTo>
                <a:lnTo>
                  <a:pt x="70" y="168"/>
                </a:lnTo>
                <a:lnTo>
                  <a:pt x="68" y="166"/>
                </a:lnTo>
                <a:lnTo>
                  <a:pt x="70" y="165"/>
                </a:lnTo>
                <a:lnTo>
                  <a:pt x="68" y="163"/>
                </a:lnTo>
                <a:lnTo>
                  <a:pt x="70" y="163"/>
                </a:lnTo>
                <a:lnTo>
                  <a:pt x="68" y="161"/>
                </a:lnTo>
                <a:lnTo>
                  <a:pt x="67" y="161"/>
                </a:lnTo>
                <a:lnTo>
                  <a:pt x="65" y="160"/>
                </a:lnTo>
                <a:lnTo>
                  <a:pt x="67" y="160"/>
                </a:lnTo>
                <a:lnTo>
                  <a:pt x="68" y="161"/>
                </a:lnTo>
                <a:lnTo>
                  <a:pt x="70" y="161"/>
                </a:lnTo>
                <a:lnTo>
                  <a:pt x="68" y="160"/>
                </a:lnTo>
                <a:lnTo>
                  <a:pt x="67" y="160"/>
                </a:lnTo>
                <a:lnTo>
                  <a:pt x="67" y="158"/>
                </a:lnTo>
                <a:lnTo>
                  <a:pt x="63" y="156"/>
                </a:lnTo>
                <a:lnTo>
                  <a:pt x="65" y="156"/>
                </a:lnTo>
                <a:lnTo>
                  <a:pt x="67" y="156"/>
                </a:lnTo>
                <a:lnTo>
                  <a:pt x="68" y="154"/>
                </a:lnTo>
                <a:lnTo>
                  <a:pt x="67" y="154"/>
                </a:lnTo>
                <a:lnTo>
                  <a:pt x="68" y="154"/>
                </a:lnTo>
                <a:lnTo>
                  <a:pt x="70" y="153"/>
                </a:lnTo>
                <a:lnTo>
                  <a:pt x="72" y="156"/>
                </a:lnTo>
                <a:lnTo>
                  <a:pt x="73" y="156"/>
                </a:lnTo>
                <a:lnTo>
                  <a:pt x="75" y="156"/>
                </a:lnTo>
                <a:lnTo>
                  <a:pt x="77" y="154"/>
                </a:lnTo>
                <a:lnTo>
                  <a:pt x="79" y="153"/>
                </a:lnTo>
                <a:lnTo>
                  <a:pt x="80" y="153"/>
                </a:lnTo>
                <a:lnTo>
                  <a:pt x="82" y="151"/>
                </a:lnTo>
                <a:lnTo>
                  <a:pt x="85" y="151"/>
                </a:lnTo>
                <a:lnTo>
                  <a:pt x="84" y="151"/>
                </a:lnTo>
                <a:lnTo>
                  <a:pt x="85" y="151"/>
                </a:lnTo>
                <a:lnTo>
                  <a:pt x="85" y="149"/>
                </a:lnTo>
                <a:lnTo>
                  <a:pt x="89" y="149"/>
                </a:lnTo>
                <a:lnTo>
                  <a:pt x="87" y="151"/>
                </a:lnTo>
                <a:lnTo>
                  <a:pt x="89" y="151"/>
                </a:lnTo>
                <a:lnTo>
                  <a:pt x="89" y="149"/>
                </a:lnTo>
                <a:close/>
                <a:moveTo>
                  <a:pt x="124" y="195"/>
                </a:moveTo>
                <a:lnTo>
                  <a:pt x="128" y="195"/>
                </a:lnTo>
                <a:lnTo>
                  <a:pt x="130" y="197"/>
                </a:lnTo>
                <a:lnTo>
                  <a:pt x="131" y="197"/>
                </a:lnTo>
                <a:lnTo>
                  <a:pt x="133" y="200"/>
                </a:lnTo>
                <a:lnTo>
                  <a:pt x="135" y="202"/>
                </a:lnTo>
                <a:lnTo>
                  <a:pt x="136" y="200"/>
                </a:lnTo>
                <a:lnTo>
                  <a:pt x="136" y="202"/>
                </a:lnTo>
                <a:lnTo>
                  <a:pt x="136" y="204"/>
                </a:lnTo>
                <a:lnTo>
                  <a:pt x="140" y="204"/>
                </a:lnTo>
                <a:lnTo>
                  <a:pt x="141" y="204"/>
                </a:lnTo>
                <a:lnTo>
                  <a:pt x="143" y="205"/>
                </a:lnTo>
                <a:lnTo>
                  <a:pt x="141" y="204"/>
                </a:lnTo>
                <a:lnTo>
                  <a:pt x="140" y="204"/>
                </a:lnTo>
                <a:lnTo>
                  <a:pt x="140" y="202"/>
                </a:lnTo>
                <a:lnTo>
                  <a:pt x="141" y="202"/>
                </a:lnTo>
                <a:lnTo>
                  <a:pt x="143" y="202"/>
                </a:lnTo>
                <a:lnTo>
                  <a:pt x="143" y="199"/>
                </a:lnTo>
                <a:lnTo>
                  <a:pt x="145" y="200"/>
                </a:lnTo>
                <a:lnTo>
                  <a:pt x="147" y="200"/>
                </a:lnTo>
                <a:lnTo>
                  <a:pt x="147" y="202"/>
                </a:lnTo>
                <a:lnTo>
                  <a:pt x="148" y="202"/>
                </a:lnTo>
                <a:lnTo>
                  <a:pt x="148" y="205"/>
                </a:lnTo>
                <a:lnTo>
                  <a:pt x="150" y="205"/>
                </a:lnTo>
                <a:lnTo>
                  <a:pt x="152" y="207"/>
                </a:lnTo>
                <a:lnTo>
                  <a:pt x="152" y="209"/>
                </a:lnTo>
                <a:lnTo>
                  <a:pt x="152" y="211"/>
                </a:lnTo>
                <a:lnTo>
                  <a:pt x="150" y="209"/>
                </a:lnTo>
                <a:lnTo>
                  <a:pt x="150" y="212"/>
                </a:lnTo>
                <a:lnTo>
                  <a:pt x="152" y="212"/>
                </a:lnTo>
                <a:lnTo>
                  <a:pt x="152" y="214"/>
                </a:lnTo>
                <a:lnTo>
                  <a:pt x="150" y="216"/>
                </a:lnTo>
                <a:lnTo>
                  <a:pt x="152" y="216"/>
                </a:lnTo>
                <a:lnTo>
                  <a:pt x="150" y="216"/>
                </a:lnTo>
                <a:lnTo>
                  <a:pt x="148" y="216"/>
                </a:lnTo>
                <a:lnTo>
                  <a:pt x="147" y="216"/>
                </a:lnTo>
                <a:lnTo>
                  <a:pt x="147" y="214"/>
                </a:lnTo>
                <a:lnTo>
                  <a:pt x="147" y="216"/>
                </a:lnTo>
                <a:lnTo>
                  <a:pt x="143" y="214"/>
                </a:lnTo>
                <a:lnTo>
                  <a:pt x="143" y="216"/>
                </a:lnTo>
                <a:lnTo>
                  <a:pt x="141" y="216"/>
                </a:lnTo>
                <a:lnTo>
                  <a:pt x="140" y="216"/>
                </a:lnTo>
                <a:lnTo>
                  <a:pt x="140" y="217"/>
                </a:lnTo>
                <a:lnTo>
                  <a:pt x="138" y="217"/>
                </a:lnTo>
                <a:lnTo>
                  <a:pt x="136" y="219"/>
                </a:lnTo>
                <a:lnTo>
                  <a:pt x="138" y="219"/>
                </a:lnTo>
                <a:lnTo>
                  <a:pt x="136" y="219"/>
                </a:lnTo>
                <a:lnTo>
                  <a:pt x="135" y="219"/>
                </a:lnTo>
                <a:lnTo>
                  <a:pt x="133" y="217"/>
                </a:lnTo>
                <a:lnTo>
                  <a:pt x="131" y="216"/>
                </a:lnTo>
                <a:lnTo>
                  <a:pt x="130" y="214"/>
                </a:lnTo>
                <a:lnTo>
                  <a:pt x="128" y="212"/>
                </a:lnTo>
                <a:lnTo>
                  <a:pt x="126" y="212"/>
                </a:lnTo>
                <a:lnTo>
                  <a:pt x="124" y="211"/>
                </a:lnTo>
                <a:lnTo>
                  <a:pt x="121" y="211"/>
                </a:lnTo>
                <a:lnTo>
                  <a:pt x="119" y="209"/>
                </a:lnTo>
                <a:lnTo>
                  <a:pt x="118" y="209"/>
                </a:lnTo>
                <a:lnTo>
                  <a:pt x="118" y="207"/>
                </a:lnTo>
                <a:lnTo>
                  <a:pt x="116" y="205"/>
                </a:lnTo>
                <a:lnTo>
                  <a:pt x="116" y="204"/>
                </a:lnTo>
                <a:lnTo>
                  <a:pt x="116" y="207"/>
                </a:lnTo>
                <a:lnTo>
                  <a:pt x="118" y="205"/>
                </a:lnTo>
                <a:lnTo>
                  <a:pt x="116" y="204"/>
                </a:lnTo>
                <a:lnTo>
                  <a:pt x="119" y="205"/>
                </a:lnTo>
                <a:lnTo>
                  <a:pt x="119" y="204"/>
                </a:lnTo>
                <a:lnTo>
                  <a:pt x="121" y="205"/>
                </a:lnTo>
                <a:lnTo>
                  <a:pt x="121" y="204"/>
                </a:lnTo>
                <a:lnTo>
                  <a:pt x="123" y="204"/>
                </a:lnTo>
                <a:lnTo>
                  <a:pt x="121" y="204"/>
                </a:lnTo>
                <a:lnTo>
                  <a:pt x="119" y="200"/>
                </a:lnTo>
                <a:lnTo>
                  <a:pt x="118" y="200"/>
                </a:lnTo>
                <a:lnTo>
                  <a:pt x="118" y="199"/>
                </a:lnTo>
                <a:lnTo>
                  <a:pt x="119" y="195"/>
                </a:lnTo>
                <a:lnTo>
                  <a:pt x="121" y="197"/>
                </a:lnTo>
                <a:lnTo>
                  <a:pt x="121" y="195"/>
                </a:lnTo>
                <a:lnTo>
                  <a:pt x="123" y="195"/>
                </a:lnTo>
                <a:lnTo>
                  <a:pt x="124" y="195"/>
                </a:lnTo>
                <a:close/>
                <a:moveTo>
                  <a:pt x="267" y="165"/>
                </a:moveTo>
                <a:lnTo>
                  <a:pt x="267" y="166"/>
                </a:lnTo>
                <a:lnTo>
                  <a:pt x="269" y="166"/>
                </a:lnTo>
                <a:lnTo>
                  <a:pt x="269" y="168"/>
                </a:lnTo>
                <a:lnTo>
                  <a:pt x="271" y="168"/>
                </a:lnTo>
                <a:lnTo>
                  <a:pt x="271" y="170"/>
                </a:lnTo>
                <a:lnTo>
                  <a:pt x="274" y="171"/>
                </a:lnTo>
                <a:lnTo>
                  <a:pt x="274" y="170"/>
                </a:lnTo>
                <a:lnTo>
                  <a:pt x="276" y="171"/>
                </a:lnTo>
                <a:lnTo>
                  <a:pt x="277" y="173"/>
                </a:lnTo>
                <a:lnTo>
                  <a:pt x="279" y="173"/>
                </a:lnTo>
                <a:lnTo>
                  <a:pt x="279" y="175"/>
                </a:lnTo>
                <a:lnTo>
                  <a:pt x="281" y="175"/>
                </a:lnTo>
                <a:lnTo>
                  <a:pt x="283" y="175"/>
                </a:lnTo>
                <a:lnTo>
                  <a:pt x="283" y="177"/>
                </a:lnTo>
                <a:lnTo>
                  <a:pt x="283" y="178"/>
                </a:lnTo>
                <a:lnTo>
                  <a:pt x="283" y="180"/>
                </a:lnTo>
                <a:lnTo>
                  <a:pt x="283" y="182"/>
                </a:lnTo>
                <a:lnTo>
                  <a:pt x="281" y="182"/>
                </a:lnTo>
                <a:lnTo>
                  <a:pt x="283" y="183"/>
                </a:lnTo>
                <a:lnTo>
                  <a:pt x="281" y="185"/>
                </a:lnTo>
                <a:lnTo>
                  <a:pt x="279" y="185"/>
                </a:lnTo>
                <a:lnTo>
                  <a:pt x="277" y="185"/>
                </a:lnTo>
                <a:lnTo>
                  <a:pt x="276" y="185"/>
                </a:lnTo>
                <a:lnTo>
                  <a:pt x="274" y="185"/>
                </a:lnTo>
                <a:lnTo>
                  <a:pt x="271" y="183"/>
                </a:lnTo>
                <a:lnTo>
                  <a:pt x="269" y="182"/>
                </a:lnTo>
                <a:lnTo>
                  <a:pt x="267" y="182"/>
                </a:lnTo>
                <a:lnTo>
                  <a:pt x="266" y="180"/>
                </a:lnTo>
                <a:lnTo>
                  <a:pt x="264" y="180"/>
                </a:lnTo>
                <a:lnTo>
                  <a:pt x="264" y="178"/>
                </a:lnTo>
                <a:lnTo>
                  <a:pt x="264" y="180"/>
                </a:lnTo>
                <a:lnTo>
                  <a:pt x="266" y="177"/>
                </a:lnTo>
                <a:lnTo>
                  <a:pt x="264" y="175"/>
                </a:lnTo>
                <a:lnTo>
                  <a:pt x="264" y="173"/>
                </a:lnTo>
                <a:lnTo>
                  <a:pt x="264" y="170"/>
                </a:lnTo>
                <a:lnTo>
                  <a:pt x="266" y="168"/>
                </a:lnTo>
                <a:lnTo>
                  <a:pt x="266" y="166"/>
                </a:lnTo>
                <a:lnTo>
                  <a:pt x="266" y="165"/>
                </a:lnTo>
                <a:lnTo>
                  <a:pt x="267" y="165"/>
                </a:lnTo>
                <a:close/>
                <a:moveTo>
                  <a:pt x="150" y="194"/>
                </a:moveTo>
                <a:lnTo>
                  <a:pt x="152" y="194"/>
                </a:lnTo>
                <a:lnTo>
                  <a:pt x="153" y="197"/>
                </a:lnTo>
                <a:lnTo>
                  <a:pt x="153" y="195"/>
                </a:lnTo>
                <a:lnTo>
                  <a:pt x="155" y="195"/>
                </a:lnTo>
                <a:lnTo>
                  <a:pt x="157" y="195"/>
                </a:lnTo>
                <a:lnTo>
                  <a:pt x="157" y="199"/>
                </a:lnTo>
                <a:lnTo>
                  <a:pt x="160" y="199"/>
                </a:lnTo>
                <a:lnTo>
                  <a:pt x="162" y="199"/>
                </a:lnTo>
                <a:lnTo>
                  <a:pt x="162" y="200"/>
                </a:lnTo>
                <a:lnTo>
                  <a:pt x="164" y="202"/>
                </a:lnTo>
                <a:lnTo>
                  <a:pt x="162" y="204"/>
                </a:lnTo>
                <a:lnTo>
                  <a:pt x="162" y="205"/>
                </a:lnTo>
                <a:lnTo>
                  <a:pt x="160" y="207"/>
                </a:lnTo>
                <a:lnTo>
                  <a:pt x="158" y="207"/>
                </a:lnTo>
                <a:lnTo>
                  <a:pt x="158" y="211"/>
                </a:lnTo>
                <a:lnTo>
                  <a:pt x="157" y="212"/>
                </a:lnTo>
                <a:lnTo>
                  <a:pt x="157" y="216"/>
                </a:lnTo>
                <a:lnTo>
                  <a:pt x="157" y="217"/>
                </a:lnTo>
                <a:lnTo>
                  <a:pt x="157" y="219"/>
                </a:lnTo>
                <a:lnTo>
                  <a:pt x="157" y="221"/>
                </a:lnTo>
                <a:lnTo>
                  <a:pt x="157" y="222"/>
                </a:lnTo>
                <a:lnTo>
                  <a:pt x="155" y="221"/>
                </a:lnTo>
                <a:lnTo>
                  <a:pt x="155" y="219"/>
                </a:lnTo>
                <a:lnTo>
                  <a:pt x="153" y="217"/>
                </a:lnTo>
                <a:lnTo>
                  <a:pt x="152" y="216"/>
                </a:lnTo>
                <a:lnTo>
                  <a:pt x="153" y="212"/>
                </a:lnTo>
                <a:lnTo>
                  <a:pt x="153" y="211"/>
                </a:lnTo>
                <a:lnTo>
                  <a:pt x="152" y="211"/>
                </a:lnTo>
                <a:lnTo>
                  <a:pt x="153" y="209"/>
                </a:lnTo>
                <a:lnTo>
                  <a:pt x="152" y="207"/>
                </a:lnTo>
                <a:lnTo>
                  <a:pt x="150" y="205"/>
                </a:lnTo>
                <a:lnTo>
                  <a:pt x="148" y="204"/>
                </a:lnTo>
                <a:lnTo>
                  <a:pt x="150" y="202"/>
                </a:lnTo>
                <a:lnTo>
                  <a:pt x="147" y="202"/>
                </a:lnTo>
                <a:lnTo>
                  <a:pt x="147" y="199"/>
                </a:lnTo>
                <a:lnTo>
                  <a:pt x="147" y="197"/>
                </a:lnTo>
                <a:lnTo>
                  <a:pt x="145" y="195"/>
                </a:lnTo>
                <a:lnTo>
                  <a:pt x="147" y="194"/>
                </a:lnTo>
                <a:lnTo>
                  <a:pt x="150" y="195"/>
                </a:lnTo>
                <a:lnTo>
                  <a:pt x="150" y="194"/>
                </a:lnTo>
                <a:close/>
                <a:moveTo>
                  <a:pt x="36" y="52"/>
                </a:moveTo>
                <a:lnTo>
                  <a:pt x="34" y="54"/>
                </a:lnTo>
                <a:lnTo>
                  <a:pt x="36" y="57"/>
                </a:lnTo>
                <a:lnTo>
                  <a:pt x="34" y="57"/>
                </a:lnTo>
                <a:lnTo>
                  <a:pt x="34" y="61"/>
                </a:lnTo>
                <a:lnTo>
                  <a:pt x="33" y="59"/>
                </a:lnTo>
                <a:lnTo>
                  <a:pt x="33" y="61"/>
                </a:lnTo>
                <a:lnTo>
                  <a:pt x="33" y="64"/>
                </a:lnTo>
                <a:lnTo>
                  <a:pt x="34" y="66"/>
                </a:lnTo>
                <a:lnTo>
                  <a:pt x="34" y="68"/>
                </a:lnTo>
                <a:lnTo>
                  <a:pt x="33" y="66"/>
                </a:lnTo>
                <a:lnTo>
                  <a:pt x="33" y="68"/>
                </a:lnTo>
                <a:lnTo>
                  <a:pt x="31" y="69"/>
                </a:lnTo>
                <a:lnTo>
                  <a:pt x="29" y="71"/>
                </a:lnTo>
                <a:lnTo>
                  <a:pt x="29" y="73"/>
                </a:lnTo>
                <a:lnTo>
                  <a:pt x="28" y="74"/>
                </a:lnTo>
                <a:lnTo>
                  <a:pt x="24" y="74"/>
                </a:lnTo>
                <a:lnTo>
                  <a:pt x="24" y="73"/>
                </a:lnTo>
                <a:lnTo>
                  <a:pt x="24" y="74"/>
                </a:lnTo>
                <a:lnTo>
                  <a:pt x="24" y="73"/>
                </a:lnTo>
                <a:lnTo>
                  <a:pt x="24" y="71"/>
                </a:lnTo>
                <a:lnTo>
                  <a:pt x="22" y="71"/>
                </a:lnTo>
                <a:lnTo>
                  <a:pt x="22" y="73"/>
                </a:lnTo>
                <a:lnTo>
                  <a:pt x="21" y="73"/>
                </a:lnTo>
                <a:lnTo>
                  <a:pt x="21" y="71"/>
                </a:lnTo>
                <a:lnTo>
                  <a:pt x="22" y="71"/>
                </a:lnTo>
                <a:lnTo>
                  <a:pt x="21" y="71"/>
                </a:lnTo>
                <a:lnTo>
                  <a:pt x="21" y="69"/>
                </a:lnTo>
                <a:lnTo>
                  <a:pt x="19" y="71"/>
                </a:lnTo>
                <a:lnTo>
                  <a:pt x="19" y="69"/>
                </a:lnTo>
                <a:lnTo>
                  <a:pt x="21" y="68"/>
                </a:lnTo>
                <a:lnTo>
                  <a:pt x="21" y="66"/>
                </a:lnTo>
                <a:lnTo>
                  <a:pt x="22" y="66"/>
                </a:lnTo>
                <a:lnTo>
                  <a:pt x="24" y="66"/>
                </a:lnTo>
                <a:lnTo>
                  <a:pt x="26" y="66"/>
                </a:lnTo>
                <a:lnTo>
                  <a:pt x="24" y="64"/>
                </a:lnTo>
                <a:lnTo>
                  <a:pt x="24" y="63"/>
                </a:lnTo>
                <a:lnTo>
                  <a:pt x="24" y="61"/>
                </a:lnTo>
                <a:lnTo>
                  <a:pt x="24" y="59"/>
                </a:lnTo>
                <a:lnTo>
                  <a:pt x="26" y="59"/>
                </a:lnTo>
                <a:lnTo>
                  <a:pt x="28" y="59"/>
                </a:lnTo>
                <a:lnTo>
                  <a:pt x="29" y="59"/>
                </a:lnTo>
                <a:lnTo>
                  <a:pt x="31" y="59"/>
                </a:lnTo>
                <a:lnTo>
                  <a:pt x="33" y="56"/>
                </a:lnTo>
                <a:lnTo>
                  <a:pt x="33" y="54"/>
                </a:lnTo>
                <a:lnTo>
                  <a:pt x="34" y="56"/>
                </a:lnTo>
                <a:lnTo>
                  <a:pt x="36" y="54"/>
                </a:lnTo>
                <a:lnTo>
                  <a:pt x="36" y="52"/>
                </a:lnTo>
                <a:close/>
                <a:moveTo>
                  <a:pt x="67" y="187"/>
                </a:moveTo>
                <a:lnTo>
                  <a:pt x="70" y="187"/>
                </a:lnTo>
                <a:lnTo>
                  <a:pt x="70" y="188"/>
                </a:lnTo>
                <a:lnTo>
                  <a:pt x="72" y="190"/>
                </a:lnTo>
                <a:lnTo>
                  <a:pt x="75" y="190"/>
                </a:lnTo>
                <a:lnTo>
                  <a:pt x="77" y="192"/>
                </a:lnTo>
                <a:lnTo>
                  <a:pt x="77" y="194"/>
                </a:lnTo>
                <a:lnTo>
                  <a:pt x="79" y="195"/>
                </a:lnTo>
                <a:lnTo>
                  <a:pt x="79" y="197"/>
                </a:lnTo>
                <a:lnTo>
                  <a:pt x="79" y="200"/>
                </a:lnTo>
                <a:lnTo>
                  <a:pt x="77" y="200"/>
                </a:lnTo>
                <a:lnTo>
                  <a:pt x="77" y="202"/>
                </a:lnTo>
                <a:lnTo>
                  <a:pt x="75" y="202"/>
                </a:lnTo>
                <a:lnTo>
                  <a:pt x="72" y="202"/>
                </a:lnTo>
                <a:lnTo>
                  <a:pt x="72" y="200"/>
                </a:lnTo>
                <a:lnTo>
                  <a:pt x="73" y="199"/>
                </a:lnTo>
                <a:lnTo>
                  <a:pt x="73" y="200"/>
                </a:lnTo>
                <a:lnTo>
                  <a:pt x="75" y="200"/>
                </a:lnTo>
                <a:lnTo>
                  <a:pt x="77" y="202"/>
                </a:lnTo>
                <a:lnTo>
                  <a:pt x="75" y="200"/>
                </a:lnTo>
                <a:lnTo>
                  <a:pt x="73" y="199"/>
                </a:lnTo>
                <a:lnTo>
                  <a:pt x="72" y="199"/>
                </a:lnTo>
                <a:lnTo>
                  <a:pt x="70" y="200"/>
                </a:lnTo>
                <a:lnTo>
                  <a:pt x="68" y="199"/>
                </a:lnTo>
                <a:lnTo>
                  <a:pt x="67" y="197"/>
                </a:lnTo>
                <a:lnTo>
                  <a:pt x="67" y="194"/>
                </a:lnTo>
                <a:lnTo>
                  <a:pt x="68" y="194"/>
                </a:lnTo>
                <a:lnTo>
                  <a:pt x="70" y="197"/>
                </a:lnTo>
                <a:lnTo>
                  <a:pt x="72" y="195"/>
                </a:lnTo>
                <a:lnTo>
                  <a:pt x="70" y="195"/>
                </a:lnTo>
                <a:lnTo>
                  <a:pt x="72" y="194"/>
                </a:lnTo>
                <a:lnTo>
                  <a:pt x="70" y="194"/>
                </a:lnTo>
                <a:lnTo>
                  <a:pt x="68" y="194"/>
                </a:lnTo>
                <a:lnTo>
                  <a:pt x="68" y="192"/>
                </a:lnTo>
                <a:lnTo>
                  <a:pt x="65" y="192"/>
                </a:lnTo>
                <a:lnTo>
                  <a:pt x="63" y="190"/>
                </a:lnTo>
                <a:lnTo>
                  <a:pt x="65" y="190"/>
                </a:lnTo>
                <a:lnTo>
                  <a:pt x="65" y="188"/>
                </a:lnTo>
                <a:lnTo>
                  <a:pt x="63" y="190"/>
                </a:lnTo>
                <a:lnTo>
                  <a:pt x="62" y="188"/>
                </a:lnTo>
                <a:lnTo>
                  <a:pt x="63" y="187"/>
                </a:lnTo>
                <a:lnTo>
                  <a:pt x="65" y="187"/>
                </a:lnTo>
                <a:lnTo>
                  <a:pt x="67" y="187"/>
                </a:lnTo>
                <a:close/>
                <a:moveTo>
                  <a:pt x="114" y="180"/>
                </a:moveTo>
                <a:lnTo>
                  <a:pt x="114" y="182"/>
                </a:lnTo>
                <a:lnTo>
                  <a:pt x="114" y="183"/>
                </a:lnTo>
                <a:lnTo>
                  <a:pt x="114" y="187"/>
                </a:lnTo>
                <a:lnTo>
                  <a:pt x="114" y="188"/>
                </a:lnTo>
                <a:lnTo>
                  <a:pt x="113" y="192"/>
                </a:lnTo>
                <a:lnTo>
                  <a:pt x="111" y="194"/>
                </a:lnTo>
                <a:lnTo>
                  <a:pt x="111" y="197"/>
                </a:lnTo>
                <a:lnTo>
                  <a:pt x="109" y="199"/>
                </a:lnTo>
                <a:lnTo>
                  <a:pt x="109" y="200"/>
                </a:lnTo>
                <a:lnTo>
                  <a:pt x="107" y="202"/>
                </a:lnTo>
                <a:lnTo>
                  <a:pt x="107" y="204"/>
                </a:lnTo>
                <a:lnTo>
                  <a:pt x="107" y="207"/>
                </a:lnTo>
                <a:lnTo>
                  <a:pt x="107" y="209"/>
                </a:lnTo>
                <a:lnTo>
                  <a:pt x="106" y="211"/>
                </a:lnTo>
                <a:lnTo>
                  <a:pt x="104" y="211"/>
                </a:lnTo>
                <a:lnTo>
                  <a:pt x="104" y="209"/>
                </a:lnTo>
                <a:lnTo>
                  <a:pt x="104" y="207"/>
                </a:lnTo>
                <a:lnTo>
                  <a:pt x="102" y="205"/>
                </a:lnTo>
                <a:lnTo>
                  <a:pt x="101" y="204"/>
                </a:lnTo>
                <a:lnTo>
                  <a:pt x="102" y="204"/>
                </a:lnTo>
                <a:lnTo>
                  <a:pt x="104" y="202"/>
                </a:lnTo>
                <a:lnTo>
                  <a:pt x="104" y="200"/>
                </a:lnTo>
                <a:lnTo>
                  <a:pt x="106" y="200"/>
                </a:lnTo>
                <a:lnTo>
                  <a:pt x="106" y="199"/>
                </a:lnTo>
                <a:lnTo>
                  <a:pt x="104" y="199"/>
                </a:lnTo>
                <a:lnTo>
                  <a:pt x="106" y="195"/>
                </a:lnTo>
                <a:lnTo>
                  <a:pt x="107" y="194"/>
                </a:lnTo>
                <a:lnTo>
                  <a:pt x="109" y="192"/>
                </a:lnTo>
                <a:lnTo>
                  <a:pt x="109" y="190"/>
                </a:lnTo>
                <a:lnTo>
                  <a:pt x="111" y="190"/>
                </a:lnTo>
                <a:lnTo>
                  <a:pt x="111" y="188"/>
                </a:lnTo>
                <a:lnTo>
                  <a:pt x="113" y="185"/>
                </a:lnTo>
                <a:lnTo>
                  <a:pt x="113" y="182"/>
                </a:lnTo>
                <a:lnTo>
                  <a:pt x="114" y="180"/>
                </a:lnTo>
                <a:close/>
                <a:moveTo>
                  <a:pt x="167" y="187"/>
                </a:moveTo>
                <a:lnTo>
                  <a:pt x="169" y="188"/>
                </a:lnTo>
                <a:lnTo>
                  <a:pt x="172" y="188"/>
                </a:lnTo>
                <a:lnTo>
                  <a:pt x="174" y="188"/>
                </a:lnTo>
                <a:lnTo>
                  <a:pt x="175" y="188"/>
                </a:lnTo>
                <a:lnTo>
                  <a:pt x="177" y="190"/>
                </a:lnTo>
                <a:lnTo>
                  <a:pt x="179" y="192"/>
                </a:lnTo>
                <a:lnTo>
                  <a:pt x="179" y="194"/>
                </a:lnTo>
                <a:lnTo>
                  <a:pt x="177" y="194"/>
                </a:lnTo>
                <a:lnTo>
                  <a:pt x="175" y="194"/>
                </a:lnTo>
                <a:lnTo>
                  <a:pt x="174" y="194"/>
                </a:lnTo>
                <a:lnTo>
                  <a:pt x="172" y="194"/>
                </a:lnTo>
                <a:lnTo>
                  <a:pt x="170" y="194"/>
                </a:lnTo>
                <a:lnTo>
                  <a:pt x="169" y="195"/>
                </a:lnTo>
                <a:lnTo>
                  <a:pt x="167" y="197"/>
                </a:lnTo>
                <a:lnTo>
                  <a:pt x="167" y="199"/>
                </a:lnTo>
                <a:lnTo>
                  <a:pt x="165" y="199"/>
                </a:lnTo>
                <a:lnTo>
                  <a:pt x="164" y="199"/>
                </a:lnTo>
                <a:lnTo>
                  <a:pt x="162" y="199"/>
                </a:lnTo>
                <a:lnTo>
                  <a:pt x="164" y="197"/>
                </a:lnTo>
                <a:lnTo>
                  <a:pt x="162" y="197"/>
                </a:lnTo>
                <a:lnTo>
                  <a:pt x="164" y="195"/>
                </a:lnTo>
                <a:lnTo>
                  <a:pt x="162" y="194"/>
                </a:lnTo>
                <a:lnTo>
                  <a:pt x="164" y="194"/>
                </a:lnTo>
                <a:lnTo>
                  <a:pt x="164" y="192"/>
                </a:lnTo>
                <a:lnTo>
                  <a:pt x="165" y="194"/>
                </a:lnTo>
                <a:lnTo>
                  <a:pt x="169" y="192"/>
                </a:lnTo>
                <a:lnTo>
                  <a:pt x="169" y="194"/>
                </a:lnTo>
                <a:lnTo>
                  <a:pt x="169" y="192"/>
                </a:lnTo>
                <a:lnTo>
                  <a:pt x="170" y="192"/>
                </a:lnTo>
                <a:lnTo>
                  <a:pt x="169" y="192"/>
                </a:lnTo>
                <a:lnTo>
                  <a:pt x="167" y="190"/>
                </a:lnTo>
                <a:lnTo>
                  <a:pt x="169" y="190"/>
                </a:lnTo>
                <a:lnTo>
                  <a:pt x="169" y="188"/>
                </a:lnTo>
                <a:lnTo>
                  <a:pt x="165" y="188"/>
                </a:lnTo>
                <a:lnTo>
                  <a:pt x="167" y="187"/>
                </a:lnTo>
                <a:close/>
                <a:moveTo>
                  <a:pt x="119" y="29"/>
                </a:moveTo>
                <a:lnTo>
                  <a:pt x="123" y="29"/>
                </a:lnTo>
                <a:lnTo>
                  <a:pt x="123" y="32"/>
                </a:lnTo>
                <a:lnTo>
                  <a:pt x="121" y="32"/>
                </a:lnTo>
                <a:lnTo>
                  <a:pt x="123" y="30"/>
                </a:lnTo>
                <a:lnTo>
                  <a:pt x="121" y="30"/>
                </a:lnTo>
                <a:lnTo>
                  <a:pt x="119" y="30"/>
                </a:lnTo>
                <a:lnTo>
                  <a:pt x="118" y="32"/>
                </a:lnTo>
                <a:lnTo>
                  <a:pt x="118" y="34"/>
                </a:lnTo>
                <a:lnTo>
                  <a:pt x="118" y="35"/>
                </a:lnTo>
                <a:lnTo>
                  <a:pt x="114" y="37"/>
                </a:lnTo>
                <a:lnTo>
                  <a:pt x="113" y="35"/>
                </a:lnTo>
                <a:lnTo>
                  <a:pt x="109" y="34"/>
                </a:lnTo>
                <a:lnTo>
                  <a:pt x="111" y="32"/>
                </a:lnTo>
                <a:lnTo>
                  <a:pt x="111" y="30"/>
                </a:lnTo>
                <a:lnTo>
                  <a:pt x="114" y="30"/>
                </a:lnTo>
                <a:lnTo>
                  <a:pt x="116" y="30"/>
                </a:lnTo>
                <a:lnTo>
                  <a:pt x="119" y="29"/>
                </a:lnTo>
                <a:close/>
                <a:moveTo>
                  <a:pt x="101" y="126"/>
                </a:moveTo>
                <a:lnTo>
                  <a:pt x="102" y="127"/>
                </a:lnTo>
                <a:lnTo>
                  <a:pt x="101" y="127"/>
                </a:lnTo>
                <a:lnTo>
                  <a:pt x="101" y="129"/>
                </a:lnTo>
                <a:lnTo>
                  <a:pt x="102" y="131"/>
                </a:lnTo>
                <a:lnTo>
                  <a:pt x="104" y="131"/>
                </a:lnTo>
                <a:lnTo>
                  <a:pt x="104" y="129"/>
                </a:lnTo>
                <a:lnTo>
                  <a:pt x="102" y="127"/>
                </a:lnTo>
                <a:lnTo>
                  <a:pt x="104" y="129"/>
                </a:lnTo>
                <a:lnTo>
                  <a:pt x="104" y="131"/>
                </a:lnTo>
                <a:lnTo>
                  <a:pt x="102" y="134"/>
                </a:lnTo>
                <a:lnTo>
                  <a:pt x="102" y="136"/>
                </a:lnTo>
                <a:lnTo>
                  <a:pt x="101" y="139"/>
                </a:lnTo>
                <a:lnTo>
                  <a:pt x="99" y="137"/>
                </a:lnTo>
                <a:lnTo>
                  <a:pt x="97" y="136"/>
                </a:lnTo>
                <a:lnTo>
                  <a:pt x="97" y="134"/>
                </a:lnTo>
                <a:lnTo>
                  <a:pt x="97" y="132"/>
                </a:lnTo>
                <a:lnTo>
                  <a:pt x="99" y="131"/>
                </a:lnTo>
                <a:lnTo>
                  <a:pt x="101" y="129"/>
                </a:lnTo>
                <a:lnTo>
                  <a:pt x="99" y="127"/>
                </a:lnTo>
                <a:lnTo>
                  <a:pt x="97" y="127"/>
                </a:lnTo>
                <a:lnTo>
                  <a:pt x="97" y="124"/>
                </a:lnTo>
                <a:lnTo>
                  <a:pt x="99" y="122"/>
                </a:lnTo>
                <a:lnTo>
                  <a:pt x="99" y="126"/>
                </a:lnTo>
                <a:lnTo>
                  <a:pt x="101" y="126"/>
                </a:lnTo>
                <a:close/>
                <a:moveTo>
                  <a:pt x="181" y="141"/>
                </a:moveTo>
                <a:lnTo>
                  <a:pt x="181" y="143"/>
                </a:lnTo>
                <a:lnTo>
                  <a:pt x="181" y="144"/>
                </a:lnTo>
                <a:lnTo>
                  <a:pt x="182" y="146"/>
                </a:lnTo>
                <a:lnTo>
                  <a:pt x="182" y="148"/>
                </a:lnTo>
                <a:lnTo>
                  <a:pt x="182" y="149"/>
                </a:lnTo>
                <a:lnTo>
                  <a:pt x="181" y="149"/>
                </a:lnTo>
                <a:lnTo>
                  <a:pt x="179" y="151"/>
                </a:lnTo>
                <a:lnTo>
                  <a:pt x="179" y="149"/>
                </a:lnTo>
                <a:lnTo>
                  <a:pt x="177" y="149"/>
                </a:lnTo>
                <a:lnTo>
                  <a:pt x="175" y="148"/>
                </a:lnTo>
                <a:lnTo>
                  <a:pt x="177" y="146"/>
                </a:lnTo>
                <a:lnTo>
                  <a:pt x="179" y="143"/>
                </a:lnTo>
                <a:lnTo>
                  <a:pt x="179" y="141"/>
                </a:lnTo>
                <a:lnTo>
                  <a:pt x="181" y="141"/>
                </a:lnTo>
                <a:close/>
                <a:moveTo>
                  <a:pt x="85" y="194"/>
                </a:moveTo>
                <a:lnTo>
                  <a:pt x="87" y="197"/>
                </a:lnTo>
                <a:lnTo>
                  <a:pt x="89" y="197"/>
                </a:lnTo>
                <a:lnTo>
                  <a:pt x="90" y="199"/>
                </a:lnTo>
                <a:lnTo>
                  <a:pt x="92" y="200"/>
                </a:lnTo>
                <a:lnTo>
                  <a:pt x="92" y="199"/>
                </a:lnTo>
                <a:lnTo>
                  <a:pt x="94" y="199"/>
                </a:lnTo>
                <a:lnTo>
                  <a:pt x="92" y="199"/>
                </a:lnTo>
                <a:lnTo>
                  <a:pt x="94" y="202"/>
                </a:lnTo>
                <a:lnTo>
                  <a:pt x="96" y="200"/>
                </a:lnTo>
                <a:lnTo>
                  <a:pt x="96" y="202"/>
                </a:lnTo>
                <a:lnTo>
                  <a:pt x="96" y="200"/>
                </a:lnTo>
                <a:lnTo>
                  <a:pt x="96" y="199"/>
                </a:lnTo>
                <a:lnTo>
                  <a:pt x="96" y="200"/>
                </a:lnTo>
                <a:lnTo>
                  <a:pt x="97" y="202"/>
                </a:lnTo>
                <a:lnTo>
                  <a:pt x="99" y="202"/>
                </a:lnTo>
                <a:lnTo>
                  <a:pt x="97" y="202"/>
                </a:lnTo>
                <a:lnTo>
                  <a:pt x="99" y="202"/>
                </a:lnTo>
                <a:lnTo>
                  <a:pt x="97" y="204"/>
                </a:lnTo>
                <a:lnTo>
                  <a:pt x="96" y="204"/>
                </a:lnTo>
                <a:lnTo>
                  <a:pt x="94" y="205"/>
                </a:lnTo>
                <a:lnTo>
                  <a:pt x="90" y="202"/>
                </a:lnTo>
                <a:lnTo>
                  <a:pt x="89" y="200"/>
                </a:lnTo>
                <a:lnTo>
                  <a:pt x="87" y="197"/>
                </a:lnTo>
                <a:lnTo>
                  <a:pt x="85" y="194"/>
                </a:lnTo>
                <a:close/>
                <a:moveTo>
                  <a:pt x="102" y="188"/>
                </a:moveTo>
                <a:lnTo>
                  <a:pt x="102" y="190"/>
                </a:lnTo>
                <a:lnTo>
                  <a:pt x="102" y="194"/>
                </a:lnTo>
                <a:lnTo>
                  <a:pt x="104" y="192"/>
                </a:lnTo>
                <a:lnTo>
                  <a:pt x="104" y="194"/>
                </a:lnTo>
                <a:lnTo>
                  <a:pt x="102" y="194"/>
                </a:lnTo>
                <a:lnTo>
                  <a:pt x="102" y="195"/>
                </a:lnTo>
                <a:lnTo>
                  <a:pt x="101" y="195"/>
                </a:lnTo>
                <a:lnTo>
                  <a:pt x="99" y="195"/>
                </a:lnTo>
                <a:lnTo>
                  <a:pt x="97" y="194"/>
                </a:lnTo>
                <a:lnTo>
                  <a:pt x="97" y="192"/>
                </a:lnTo>
                <a:lnTo>
                  <a:pt x="99" y="190"/>
                </a:lnTo>
                <a:lnTo>
                  <a:pt x="102" y="188"/>
                </a:lnTo>
                <a:close/>
                <a:moveTo>
                  <a:pt x="12" y="158"/>
                </a:moveTo>
                <a:lnTo>
                  <a:pt x="14" y="161"/>
                </a:lnTo>
                <a:lnTo>
                  <a:pt x="16" y="161"/>
                </a:lnTo>
                <a:lnTo>
                  <a:pt x="16" y="163"/>
                </a:lnTo>
                <a:lnTo>
                  <a:pt x="16" y="165"/>
                </a:lnTo>
                <a:lnTo>
                  <a:pt x="16" y="166"/>
                </a:lnTo>
                <a:lnTo>
                  <a:pt x="16" y="168"/>
                </a:lnTo>
                <a:lnTo>
                  <a:pt x="14" y="166"/>
                </a:lnTo>
                <a:lnTo>
                  <a:pt x="12" y="163"/>
                </a:lnTo>
                <a:lnTo>
                  <a:pt x="11" y="160"/>
                </a:lnTo>
                <a:lnTo>
                  <a:pt x="12" y="158"/>
                </a:lnTo>
                <a:lnTo>
                  <a:pt x="11" y="160"/>
                </a:lnTo>
                <a:lnTo>
                  <a:pt x="12" y="158"/>
                </a:lnTo>
                <a:close/>
                <a:moveTo>
                  <a:pt x="39" y="63"/>
                </a:moveTo>
                <a:lnTo>
                  <a:pt x="41" y="63"/>
                </a:lnTo>
                <a:lnTo>
                  <a:pt x="41" y="64"/>
                </a:lnTo>
                <a:lnTo>
                  <a:pt x="39" y="64"/>
                </a:lnTo>
                <a:lnTo>
                  <a:pt x="39" y="66"/>
                </a:lnTo>
                <a:lnTo>
                  <a:pt x="38" y="64"/>
                </a:lnTo>
                <a:lnTo>
                  <a:pt x="36" y="64"/>
                </a:lnTo>
                <a:lnTo>
                  <a:pt x="36" y="63"/>
                </a:lnTo>
                <a:lnTo>
                  <a:pt x="39" y="63"/>
                </a:lnTo>
                <a:close/>
                <a:moveTo>
                  <a:pt x="140" y="69"/>
                </a:moveTo>
                <a:lnTo>
                  <a:pt x="138" y="71"/>
                </a:lnTo>
                <a:lnTo>
                  <a:pt x="138" y="73"/>
                </a:lnTo>
                <a:lnTo>
                  <a:pt x="136" y="73"/>
                </a:lnTo>
                <a:lnTo>
                  <a:pt x="135" y="71"/>
                </a:lnTo>
                <a:lnTo>
                  <a:pt x="136" y="71"/>
                </a:lnTo>
                <a:lnTo>
                  <a:pt x="140" y="69"/>
                </a:lnTo>
                <a:close/>
                <a:moveTo>
                  <a:pt x="133" y="194"/>
                </a:moveTo>
                <a:lnTo>
                  <a:pt x="135" y="194"/>
                </a:lnTo>
                <a:lnTo>
                  <a:pt x="136" y="195"/>
                </a:lnTo>
                <a:lnTo>
                  <a:pt x="135" y="195"/>
                </a:lnTo>
                <a:lnTo>
                  <a:pt x="133" y="197"/>
                </a:lnTo>
                <a:lnTo>
                  <a:pt x="131" y="195"/>
                </a:lnTo>
                <a:lnTo>
                  <a:pt x="131" y="194"/>
                </a:lnTo>
                <a:lnTo>
                  <a:pt x="131" y="195"/>
                </a:lnTo>
                <a:lnTo>
                  <a:pt x="133" y="195"/>
                </a:lnTo>
                <a:lnTo>
                  <a:pt x="133" y="194"/>
                </a:lnTo>
                <a:close/>
                <a:moveTo>
                  <a:pt x="186" y="143"/>
                </a:moveTo>
                <a:lnTo>
                  <a:pt x="186" y="146"/>
                </a:lnTo>
                <a:lnTo>
                  <a:pt x="187" y="148"/>
                </a:lnTo>
                <a:lnTo>
                  <a:pt x="186" y="148"/>
                </a:lnTo>
                <a:lnTo>
                  <a:pt x="186" y="146"/>
                </a:lnTo>
                <a:lnTo>
                  <a:pt x="186" y="148"/>
                </a:lnTo>
                <a:lnTo>
                  <a:pt x="186" y="146"/>
                </a:lnTo>
                <a:lnTo>
                  <a:pt x="184" y="146"/>
                </a:lnTo>
                <a:lnTo>
                  <a:pt x="186" y="144"/>
                </a:lnTo>
                <a:lnTo>
                  <a:pt x="184" y="144"/>
                </a:lnTo>
                <a:lnTo>
                  <a:pt x="186" y="144"/>
                </a:lnTo>
                <a:lnTo>
                  <a:pt x="184" y="143"/>
                </a:lnTo>
                <a:lnTo>
                  <a:pt x="186" y="144"/>
                </a:lnTo>
                <a:lnTo>
                  <a:pt x="186" y="143"/>
                </a:lnTo>
                <a:close/>
                <a:moveTo>
                  <a:pt x="148" y="134"/>
                </a:moveTo>
                <a:lnTo>
                  <a:pt x="150" y="136"/>
                </a:lnTo>
                <a:lnTo>
                  <a:pt x="148" y="139"/>
                </a:lnTo>
                <a:lnTo>
                  <a:pt x="147" y="136"/>
                </a:lnTo>
                <a:lnTo>
                  <a:pt x="148" y="136"/>
                </a:lnTo>
                <a:lnTo>
                  <a:pt x="148" y="134"/>
                </a:lnTo>
                <a:close/>
                <a:moveTo>
                  <a:pt x="157" y="194"/>
                </a:moveTo>
                <a:lnTo>
                  <a:pt x="157" y="195"/>
                </a:lnTo>
                <a:lnTo>
                  <a:pt x="160" y="195"/>
                </a:lnTo>
                <a:lnTo>
                  <a:pt x="160" y="197"/>
                </a:lnTo>
                <a:lnTo>
                  <a:pt x="162" y="197"/>
                </a:lnTo>
                <a:lnTo>
                  <a:pt x="160" y="197"/>
                </a:lnTo>
                <a:lnTo>
                  <a:pt x="157" y="197"/>
                </a:lnTo>
                <a:lnTo>
                  <a:pt x="157" y="194"/>
                </a:lnTo>
                <a:close/>
                <a:moveTo>
                  <a:pt x="89" y="137"/>
                </a:moveTo>
                <a:lnTo>
                  <a:pt x="89" y="141"/>
                </a:lnTo>
                <a:lnTo>
                  <a:pt x="85" y="139"/>
                </a:lnTo>
                <a:lnTo>
                  <a:pt x="89" y="139"/>
                </a:lnTo>
                <a:lnTo>
                  <a:pt x="89" y="136"/>
                </a:lnTo>
                <a:lnTo>
                  <a:pt x="89" y="137"/>
                </a:lnTo>
                <a:close/>
                <a:moveTo>
                  <a:pt x="119" y="127"/>
                </a:moveTo>
                <a:lnTo>
                  <a:pt x="121" y="127"/>
                </a:lnTo>
                <a:lnTo>
                  <a:pt x="121" y="129"/>
                </a:lnTo>
                <a:lnTo>
                  <a:pt x="123" y="131"/>
                </a:lnTo>
                <a:lnTo>
                  <a:pt x="124" y="131"/>
                </a:lnTo>
                <a:lnTo>
                  <a:pt x="124" y="132"/>
                </a:lnTo>
                <a:lnTo>
                  <a:pt x="124" y="131"/>
                </a:lnTo>
                <a:lnTo>
                  <a:pt x="121" y="131"/>
                </a:lnTo>
                <a:lnTo>
                  <a:pt x="119" y="129"/>
                </a:lnTo>
                <a:lnTo>
                  <a:pt x="119" y="127"/>
                </a:lnTo>
                <a:close/>
                <a:moveTo>
                  <a:pt x="138" y="192"/>
                </a:moveTo>
                <a:lnTo>
                  <a:pt x="140" y="194"/>
                </a:lnTo>
                <a:lnTo>
                  <a:pt x="138" y="195"/>
                </a:lnTo>
                <a:lnTo>
                  <a:pt x="136" y="194"/>
                </a:lnTo>
                <a:lnTo>
                  <a:pt x="138" y="192"/>
                </a:lnTo>
                <a:close/>
                <a:moveTo>
                  <a:pt x="123" y="175"/>
                </a:moveTo>
                <a:lnTo>
                  <a:pt x="124" y="175"/>
                </a:lnTo>
                <a:lnTo>
                  <a:pt x="123" y="175"/>
                </a:lnTo>
                <a:lnTo>
                  <a:pt x="124" y="178"/>
                </a:lnTo>
                <a:lnTo>
                  <a:pt x="126" y="178"/>
                </a:lnTo>
                <a:lnTo>
                  <a:pt x="124" y="178"/>
                </a:lnTo>
                <a:lnTo>
                  <a:pt x="123" y="178"/>
                </a:lnTo>
                <a:lnTo>
                  <a:pt x="123" y="175"/>
                </a:lnTo>
                <a:close/>
                <a:moveTo>
                  <a:pt x="22" y="74"/>
                </a:moveTo>
                <a:lnTo>
                  <a:pt x="24" y="74"/>
                </a:lnTo>
                <a:lnTo>
                  <a:pt x="24" y="78"/>
                </a:lnTo>
                <a:lnTo>
                  <a:pt x="22" y="76"/>
                </a:lnTo>
                <a:lnTo>
                  <a:pt x="22" y="74"/>
                </a:lnTo>
                <a:close/>
                <a:moveTo>
                  <a:pt x="104" y="188"/>
                </a:moveTo>
                <a:lnTo>
                  <a:pt x="106" y="190"/>
                </a:lnTo>
                <a:lnTo>
                  <a:pt x="104" y="190"/>
                </a:lnTo>
                <a:lnTo>
                  <a:pt x="104" y="188"/>
                </a:lnTo>
                <a:lnTo>
                  <a:pt x="102" y="188"/>
                </a:lnTo>
                <a:lnTo>
                  <a:pt x="104" y="188"/>
                </a:lnTo>
                <a:close/>
                <a:moveTo>
                  <a:pt x="26" y="81"/>
                </a:moveTo>
                <a:lnTo>
                  <a:pt x="24" y="81"/>
                </a:lnTo>
                <a:lnTo>
                  <a:pt x="26" y="81"/>
                </a:lnTo>
                <a:lnTo>
                  <a:pt x="24" y="83"/>
                </a:lnTo>
                <a:lnTo>
                  <a:pt x="24" y="86"/>
                </a:lnTo>
                <a:lnTo>
                  <a:pt x="22" y="83"/>
                </a:lnTo>
                <a:lnTo>
                  <a:pt x="24" y="81"/>
                </a:lnTo>
                <a:lnTo>
                  <a:pt x="26" y="81"/>
                </a:lnTo>
                <a:close/>
                <a:moveTo>
                  <a:pt x="70" y="47"/>
                </a:moveTo>
                <a:lnTo>
                  <a:pt x="72" y="47"/>
                </a:lnTo>
                <a:lnTo>
                  <a:pt x="70" y="47"/>
                </a:lnTo>
                <a:close/>
                <a:moveTo>
                  <a:pt x="82" y="188"/>
                </a:moveTo>
                <a:lnTo>
                  <a:pt x="84" y="188"/>
                </a:lnTo>
                <a:lnTo>
                  <a:pt x="82" y="190"/>
                </a:lnTo>
                <a:lnTo>
                  <a:pt x="82" y="188"/>
                </a:lnTo>
                <a:close/>
                <a:moveTo>
                  <a:pt x="68" y="170"/>
                </a:moveTo>
                <a:lnTo>
                  <a:pt x="70" y="170"/>
                </a:lnTo>
                <a:lnTo>
                  <a:pt x="70" y="171"/>
                </a:lnTo>
                <a:lnTo>
                  <a:pt x="68" y="171"/>
                </a:lnTo>
                <a:lnTo>
                  <a:pt x="68" y="170"/>
                </a:lnTo>
                <a:close/>
                <a:moveTo>
                  <a:pt x="68" y="173"/>
                </a:moveTo>
                <a:lnTo>
                  <a:pt x="67" y="175"/>
                </a:lnTo>
                <a:lnTo>
                  <a:pt x="67" y="173"/>
                </a:lnTo>
                <a:lnTo>
                  <a:pt x="67" y="175"/>
                </a:lnTo>
                <a:lnTo>
                  <a:pt x="68" y="173"/>
                </a:lnTo>
                <a:lnTo>
                  <a:pt x="67" y="173"/>
                </a:lnTo>
                <a:lnTo>
                  <a:pt x="68" y="173"/>
                </a:lnTo>
                <a:close/>
                <a:moveTo>
                  <a:pt x="17" y="166"/>
                </a:moveTo>
                <a:lnTo>
                  <a:pt x="19" y="168"/>
                </a:lnTo>
                <a:lnTo>
                  <a:pt x="16" y="168"/>
                </a:lnTo>
                <a:lnTo>
                  <a:pt x="17" y="166"/>
                </a:lnTo>
                <a:close/>
                <a:moveTo>
                  <a:pt x="87" y="188"/>
                </a:moveTo>
                <a:lnTo>
                  <a:pt x="89" y="190"/>
                </a:lnTo>
                <a:lnTo>
                  <a:pt x="90" y="190"/>
                </a:lnTo>
                <a:lnTo>
                  <a:pt x="90" y="192"/>
                </a:lnTo>
                <a:lnTo>
                  <a:pt x="89" y="190"/>
                </a:lnTo>
                <a:lnTo>
                  <a:pt x="87" y="190"/>
                </a:lnTo>
                <a:lnTo>
                  <a:pt x="85" y="190"/>
                </a:lnTo>
                <a:lnTo>
                  <a:pt x="87" y="188"/>
                </a:lnTo>
                <a:close/>
                <a:moveTo>
                  <a:pt x="145" y="177"/>
                </a:moveTo>
                <a:lnTo>
                  <a:pt x="147" y="177"/>
                </a:lnTo>
                <a:lnTo>
                  <a:pt x="147" y="180"/>
                </a:lnTo>
                <a:lnTo>
                  <a:pt x="145" y="180"/>
                </a:lnTo>
                <a:lnTo>
                  <a:pt x="145" y="177"/>
                </a:lnTo>
                <a:close/>
                <a:moveTo>
                  <a:pt x="164" y="187"/>
                </a:moveTo>
                <a:lnTo>
                  <a:pt x="165" y="187"/>
                </a:lnTo>
                <a:lnTo>
                  <a:pt x="165" y="188"/>
                </a:lnTo>
                <a:lnTo>
                  <a:pt x="164" y="188"/>
                </a:lnTo>
                <a:lnTo>
                  <a:pt x="164" y="187"/>
                </a:lnTo>
                <a:close/>
                <a:moveTo>
                  <a:pt x="101" y="197"/>
                </a:moveTo>
                <a:lnTo>
                  <a:pt x="102" y="197"/>
                </a:lnTo>
                <a:lnTo>
                  <a:pt x="102" y="200"/>
                </a:lnTo>
                <a:lnTo>
                  <a:pt x="101" y="200"/>
                </a:lnTo>
                <a:lnTo>
                  <a:pt x="101" y="197"/>
                </a:lnTo>
                <a:close/>
                <a:moveTo>
                  <a:pt x="123" y="180"/>
                </a:moveTo>
                <a:lnTo>
                  <a:pt x="124" y="180"/>
                </a:lnTo>
                <a:lnTo>
                  <a:pt x="124" y="182"/>
                </a:lnTo>
                <a:lnTo>
                  <a:pt x="123" y="182"/>
                </a:lnTo>
                <a:lnTo>
                  <a:pt x="123" y="180"/>
                </a:lnTo>
                <a:close/>
                <a:moveTo>
                  <a:pt x="94" y="194"/>
                </a:moveTo>
                <a:lnTo>
                  <a:pt x="94" y="195"/>
                </a:lnTo>
                <a:lnTo>
                  <a:pt x="90" y="194"/>
                </a:lnTo>
                <a:lnTo>
                  <a:pt x="94" y="194"/>
                </a:lnTo>
                <a:close/>
                <a:moveTo>
                  <a:pt x="63" y="158"/>
                </a:moveTo>
                <a:lnTo>
                  <a:pt x="65" y="158"/>
                </a:lnTo>
                <a:lnTo>
                  <a:pt x="65" y="160"/>
                </a:lnTo>
                <a:lnTo>
                  <a:pt x="63" y="160"/>
                </a:lnTo>
                <a:lnTo>
                  <a:pt x="63" y="158"/>
                </a:lnTo>
                <a:close/>
                <a:moveTo>
                  <a:pt x="92" y="126"/>
                </a:moveTo>
                <a:lnTo>
                  <a:pt x="96" y="126"/>
                </a:lnTo>
                <a:lnTo>
                  <a:pt x="92" y="126"/>
                </a:lnTo>
                <a:close/>
                <a:moveTo>
                  <a:pt x="136" y="197"/>
                </a:moveTo>
                <a:lnTo>
                  <a:pt x="138" y="197"/>
                </a:lnTo>
                <a:lnTo>
                  <a:pt x="138" y="200"/>
                </a:lnTo>
                <a:lnTo>
                  <a:pt x="136" y="200"/>
                </a:lnTo>
                <a:lnTo>
                  <a:pt x="136" y="197"/>
                </a:lnTo>
                <a:close/>
                <a:moveTo>
                  <a:pt x="143" y="178"/>
                </a:moveTo>
                <a:lnTo>
                  <a:pt x="143" y="180"/>
                </a:lnTo>
                <a:lnTo>
                  <a:pt x="145" y="182"/>
                </a:lnTo>
                <a:lnTo>
                  <a:pt x="143" y="180"/>
                </a:lnTo>
                <a:lnTo>
                  <a:pt x="143" y="178"/>
                </a:lnTo>
                <a:lnTo>
                  <a:pt x="141" y="180"/>
                </a:lnTo>
                <a:lnTo>
                  <a:pt x="143" y="178"/>
                </a:lnTo>
                <a:lnTo>
                  <a:pt x="143" y="180"/>
                </a:lnTo>
                <a:lnTo>
                  <a:pt x="143" y="178"/>
                </a:lnTo>
                <a:close/>
                <a:moveTo>
                  <a:pt x="79" y="134"/>
                </a:moveTo>
                <a:lnTo>
                  <a:pt x="80" y="134"/>
                </a:lnTo>
                <a:lnTo>
                  <a:pt x="79" y="134"/>
                </a:lnTo>
                <a:close/>
                <a:moveTo>
                  <a:pt x="41" y="59"/>
                </a:moveTo>
                <a:lnTo>
                  <a:pt x="43" y="61"/>
                </a:lnTo>
                <a:lnTo>
                  <a:pt x="41" y="61"/>
                </a:lnTo>
                <a:lnTo>
                  <a:pt x="41" y="59"/>
                </a:lnTo>
                <a:close/>
                <a:moveTo>
                  <a:pt x="114" y="37"/>
                </a:moveTo>
                <a:lnTo>
                  <a:pt x="116" y="37"/>
                </a:lnTo>
                <a:lnTo>
                  <a:pt x="114" y="37"/>
                </a:lnTo>
                <a:close/>
                <a:moveTo>
                  <a:pt x="58" y="183"/>
                </a:moveTo>
                <a:lnTo>
                  <a:pt x="60" y="183"/>
                </a:lnTo>
                <a:lnTo>
                  <a:pt x="60" y="185"/>
                </a:lnTo>
                <a:lnTo>
                  <a:pt x="58" y="185"/>
                </a:lnTo>
                <a:lnTo>
                  <a:pt x="58" y="183"/>
                </a:lnTo>
                <a:close/>
                <a:moveTo>
                  <a:pt x="84" y="148"/>
                </a:moveTo>
                <a:lnTo>
                  <a:pt x="84" y="149"/>
                </a:lnTo>
                <a:lnTo>
                  <a:pt x="84" y="148"/>
                </a:lnTo>
                <a:close/>
                <a:moveTo>
                  <a:pt x="128" y="136"/>
                </a:moveTo>
                <a:lnTo>
                  <a:pt x="128" y="137"/>
                </a:lnTo>
                <a:lnTo>
                  <a:pt x="128" y="136"/>
                </a:lnTo>
                <a:close/>
                <a:moveTo>
                  <a:pt x="152" y="192"/>
                </a:moveTo>
                <a:lnTo>
                  <a:pt x="153" y="192"/>
                </a:lnTo>
                <a:lnTo>
                  <a:pt x="153" y="194"/>
                </a:lnTo>
                <a:lnTo>
                  <a:pt x="152" y="194"/>
                </a:lnTo>
                <a:lnTo>
                  <a:pt x="152" y="192"/>
                </a:lnTo>
                <a:close/>
                <a:moveTo>
                  <a:pt x="160" y="194"/>
                </a:moveTo>
                <a:lnTo>
                  <a:pt x="162" y="194"/>
                </a:lnTo>
                <a:lnTo>
                  <a:pt x="162" y="195"/>
                </a:lnTo>
                <a:lnTo>
                  <a:pt x="160" y="195"/>
                </a:lnTo>
                <a:lnTo>
                  <a:pt x="160" y="194"/>
                </a:lnTo>
                <a:close/>
                <a:moveTo>
                  <a:pt x="158" y="139"/>
                </a:moveTo>
                <a:lnTo>
                  <a:pt x="160" y="141"/>
                </a:lnTo>
                <a:lnTo>
                  <a:pt x="158" y="141"/>
                </a:lnTo>
                <a:lnTo>
                  <a:pt x="158" y="139"/>
                </a:lnTo>
                <a:close/>
                <a:moveTo>
                  <a:pt x="131" y="188"/>
                </a:moveTo>
                <a:lnTo>
                  <a:pt x="131" y="190"/>
                </a:lnTo>
                <a:lnTo>
                  <a:pt x="131" y="188"/>
                </a:lnTo>
                <a:close/>
                <a:moveTo>
                  <a:pt x="85" y="187"/>
                </a:moveTo>
                <a:lnTo>
                  <a:pt x="87" y="187"/>
                </a:lnTo>
                <a:lnTo>
                  <a:pt x="87" y="188"/>
                </a:lnTo>
                <a:lnTo>
                  <a:pt x="85" y="188"/>
                </a:lnTo>
                <a:lnTo>
                  <a:pt x="85" y="187"/>
                </a:lnTo>
                <a:close/>
                <a:moveTo>
                  <a:pt x="114" y="168"/>
                </a:moveTo>
                <a:lnTo>
                  <a:pt x="116" y="168"/>
                </a:lnTo>
                <a:lnTo>
                  <a:pt x="116" y="170"/>
                </a:lnTo>
                <a:lnTo>
                  <a:pt x="114" y="170"/>
                </a:lnTo>
                <a:lnTo>
                  <a:pt x="114" y="168"/>
                </a:lnTo>
                <a:close/>
                <a:moveTo>
                  <a:pt x="96" y="158"/>
                </a:moveTo>
                <a:lnTo>
                  <a:pt x="96" y="160"/>
                </a:lnTo>
                <a:lnTo>
                  <a:pt x="96" y="158"/>
                </a:lnTo>
                <a:close/>
                <a:moveTo>
                  <a:pt x="145" y="182"/>
                </a:moveTo>
                <a:lnTo>
                  <a:pt x="145" y="183"/>
                </a:lnTo>
                <a:lnTo>
                  <a:pt x="145" y="182"/>
                </a:lnTo>
                <a:close/>
                <a:moveTo>
                  <a:pt x="162" y="192"/>
                </a:moveTo>
                <a:lnTo>
                  <a:pt x="162" y="194"/>
                </a:lnTo>
                <a:lnTo>
                  <a:pt x="162" y="192"/>
                </a:lnTo>
                <a:close/>
                <a:moveTo>
                  <a:pt x="184" y="148"/>
                </a:moveTo>
                <a:lnTo>
                  <a:pt x="186" y="149"/>
                </a:lnTo>
                <a:lnTo>
                  <a:pt x="184" y="148"/>
                </a:lnTo>
                <a:close/>
                <a:moveTo>
                  <a:pt x="118" y="202"/>
                </a:moveTo>
                <a:lnTo>
                  <a:pt x="118" y="204"/>
                </a:lnTo>
                <a:lnTo>
                  <a:pt x="118" y="202"/>
                </a:lnTo>
                <a:close/>
                <a:moveTo>
                  <a:pt x="167" y="185"/>
                </a:moveTo>
                <a:lnTo>
                  <a:pt x="167" y="187"/>
                </a:lnTo>
                <a:lnTo>
                  <a:pt x="167" y="185"/>
                </a:lnTo>
                <a:close/>
                <a:moveTo>
                  <a:pt x="80" y="183"/>
                </a:moveTo>
                <a:lnTo>
                  <a:pt x="79" y="183"/>
                </a:lnTo>
                <a:lnTo>
                  <a:pt x="80" y="183"/>
                </a:lnTo>
                <a:close/>
                <a:moveTo>
                  <a:pt x="109" y="34"/>
                </a:moveTo>
                <a:lnTo>
                  <a:pt x="111" y="34"/>
                </a:lnTo>
                <a:lnTo>
                  <a:pt x="111" y="35"/>
                </a:lnTo>
                <a:lnTo>
                  <a:pt x="109" y="35"/>
                </a:lnTo>
                <a:lnTo>
                  <a:pt x="109" y="34"/>
                </a:lnTo>
                <a:close/>
                <a:moveTo>
                  <a:pt x="9" y="120"/>
                </a:moveTo>
                <a:lnTo>
                  <a:pt x="11" y="120"/>
                </a:lnTo>
                <a:lnTo>
                  <a:pt x="11" y="122"/>
                </a:lnTo>
                <a:lnTo>
                  <a:pt x="9" y="122"/>
                </a:lnTo>
                <a:lnTo>
                  <a:pt x="9" y="120"/>
                </a:lnTo>
                <a:close/>
                <a:moveTo>
                  <a:pt x="152" y="221"/>
                </a:moveTo>
                <a:lnTo>
                  <a:pt x="153" y="221"/>
                </a:lnTo>
                <a:lnTo>
                  <a:pt x="152" y="221"/>
                </a:lnTo>
                <a:close/>
                <a:moveTo>
                  <a:pt x="99" y="202"/>
                </a:moveTo>
                <a:lnTo>
                  <a:pt x="101" y="202"/>
                </a:lnTo>
                <a:lnTo>
                  <a:pt x="101" y="204"/>
                </a:lnTo>
                <a:lnTo>
                  <a:pt x="99" y="204"/>
                </a:lnTo>
                <a:lnTo>
                  <a:pt x="99" y="202"/>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67" name="Freeform 34">
            <a:extLst>
              <a:ext uri="{FF2B5EF4-FFF2-40B4-BE49-F238E27FC236}">
                <a16:creationId xmlns:a16="http://schemas.microsoft.com/office/drawing/2014/main" id="{9D60F727-1396-43E4-9BD4-7014B057ED42}"/>
              </a:ext>
            </a:extLst>
          </p:cNvPr>
          <p:cNvSpPr>
            <a:spLocks noEditPoints="1"/>
          </p:cNvSpPr>
          <p:nvPr/>
        </p:nvSpPr>
        <p:spPr bwMode="gray">
          <a:xfrm>
            <a:off x="3479679" y="2372911"/>
            <a:ext cx="1226240" cy="1093098"/>
          </a:xfrm>
          <a:custGeom>
            <a:avLst/>
            <a:gdLst>
              <a:gd name="T0" fmla="*/ 210 w 450"/>
              <a:gd name="T1" fmla="*/ 34 h 383"/>
              <a:gd name="T2" fmla="*/ 232 w 450"/>
              <a:gd name="T3" fmla="*/ 19 h 383"/>
              <a:gd name="T4" fmla="*/ 272 w 450"/>
              <a:gd name="T5" fmla="*/ 19 h 383"/>
              <a:gd name="T6" fmla="*/ 311 w 450"/>
              <a:gd name="T7" fmla="*/ 14 h 383"/>
              <a:gd name="T8" fmla="*/ 346 w 450"/>
              <a:gd name="T9" fmla="*/ 5 h 383"/>
              <a:gd name="T10" fmla="*/ 374 w 450"/>
              <a:gd name="T11" fmla="*/ 12 h 383"/>
              <a:gd name="T12" fmla="*/ 384 w 450"/>
              <a:gd name="T13" fmla="*/ 39 h 383"/>
              <a:gd name="T14" fmla="*/ 401 w 450"/>
              <a:gd name="T15" fmla="*/ 71 h 383"/>
              <a:gd name="T16" fmla="*/ 411 w 450"/>
              <a:gd name="T17" fmla="*/ 100 h 383"/>
              <a:gd name="T18" fmla="*/ 397 w 450"/>
              <a:gd name="T19" fmla="*/ 124 h 383"/>
              <a:gd name="T20" fmla="*/ 392 w 450"/>
              <a:gd name="T21" fmla="*/ 150 h 383"/>
              <a:gd name="T22" fmla="*/ 413 w 450"/>
              <a:gd name="T23" fmla="*/ 163 h 383"/>
              <a:gd name="T24" fmla="*/ 413 w 450"/>
              <a:gd name="T25" fmla="*/ 191 h 383"/>
              <a:gd name="T26" fmla="*/ 425 w 450"/>
              <a:gd name="T27" fmla="*/ 211 h 383"/>
              <a:gd name="T28" fmla="*/ 443 w 450"/>
              <a:gd name="T29" fmla="*/ 233 h 383"/>
              <a:gd name="T30" fmla="*/ 450 w 450"/>
              <a:gd name="T31" fmla="*/ 253 h 383"/>
              <a:gd name="T32" fmla="*/ 435 w 450"/>
              <a:gd name="T33" fmla="*/ 276 h 383"/>
              <a:gd name="T34" fmla="*/ 416 w 450"/>
              <a:gd name="T35" fmla="*/ 305 h 383"/>
              <a:gd name="T36" fmla="*/ 399 w 450"/>
              <a:gd name="T37" fmla="*/ 339 h 383"/>
              <a:gd name="T38" fmla="*/ 414 w 450"/>
              <a:gd name="T39" fmla="*/ 369 h 383"/>
              <a:gd name="T40" fmla="*/ 391 w 450"/>
              <a:gd name="T41" fmla="*/ 367 h 383"/>
              <a:gd name="T42" fmla="*/ 365 w 450"/>
              <a:gd name="T43" fmla="*/ 357 h 383"/>
              <a:gd name="T44" fmla="*/ 336 w 450"/>
              <a:gd name="T45" fmla="*/ 356 h 383"/>
              <a:gd name="T46" fmla="*/ 319 w 450"/>
              <a:gd name="T47" fmla="*/ 364 h 383"/>
              <a:gd name="T48" fmla="*/ 297 w 450"/>
              <a:gd name="T49" fmla="*/ 369 h 383"/>
              <a:gd name="T50" fmla="*/ 277 w 450"/>
              <a:gd name="T51" fmla="*/ 383 h 383"/>
              <a:gd name="T52" fmla="*/ 263 w 450"/>
              <a:gd name="T53" fmla="*/ 366 h 383"/>
              <a:gd name="T54" fmla="*/ 244 w 450"/>
              <a:gd name="T55" fmla="*/ 369 h 383"/>
              <a:gd name="T56" fmla="*/ 227 w 450"/>
              <a:gd name="T57" fmla="*/ 362 h 383"/>
              <a:gd name="T58" fmla="*/ 212 w 450"/>
              <a:gd name="T59" fmla="*/ 339 h 383"/>
              <a:gd name="T60" fmla="*/ 188 w 450"/>
              <a:gd name="T61" fmla="*/ 332 h 383"/>
              <a:gd name="T62" fmla="*/ 168 w 450"/>
              <a:gd name="T63" fmla="*/ 327 h 383"/>
              <a:gd name="T64" fmla="*/ 159 w 450"/>
              <a:gd name="T65" fmla="*/ 320 h 383"/>
              <a:gd name="T66" fmla="*/ 136 w 450"/>
              <a:gd name="T67" fmla="*/ 311 h 383"/>
              <a:gd name="T68" fmla="*/ 132 w 450"/>
              <a:gd name="T69" fmla="*/ 330 h 383"/>
              <a:gd name="T70" fmla="*/ 107 w 450"/>
              <a:gd name="T71" fmla="*/ 318 h 383"/>
              <a:gd name="T72" fmla="*/ 108 w 450"/>
              <a:gd name="T73" fmla="*/ 298 h 383"/>
              <a:gd name="T74" fmla="*/ 88 w 450"/>
              <a:gd name="T75" fmla="*/ 299 h 383"/>
              <a:gd name="T76" fmla="*/ 64 w 450"/>
              <a:gd name="T77" fmla="*/ 291 h 383"/>
              <a:gd name="T78" fmla="*/ 47 w 450"/>
              <a:gd name="T79" fmla="*/ 281 h 383"/>
              <a:gd name="T80" fmla="*/ 45 w 450"/>
              <a:gd name="T81" fmla="*/ 277 h 383"/>
              <a:gd name="T82" fmla="*/ 42 w 450"/>
              <a:gd name="T83" fmla="*/ 245 h 383"/>
              <a:gd name="T84" fmla="*/ 30 w 450"/>
              <a:gd name="T85" fmla="*/ 218 h 383"/>
              <a:gd name="T86" fmla="*/ 23 w 450"/>
              <a:gd name="T87" fmla="*/ 192 h 383"/>
              <a:gd name="T88" fmla="*/ 17 w 450"/>
              <a:gd name="T89" fmla="*/ 165 h 383"/>
              <a:gd name="T90" fmla="*/ 1 w 450"/>
              <a:gd name="T91" fmla="*/ 145 h 383"/>
              <a:gd name="T92" fmla="*/ 11 w 450"/>
              <a:gd name="T93" fmla="*/ 116 h 383"/>
              <a:gd name="T94" fmla="*/ 8 w 450"/>
              <a:gd name="T95" fmla="*/ 92 h 383"/>
              <a:gd name="T96" fmla="*/ 18 w 450"/>
              <a:gd name="T97" fmla="*/ 83 h 383"/>
              <a:gd name="T98" fmla="*/ 28 w 450"/>
              <a:gd name="T99" fmla="*/ 66 h 383"/>
              <a:gd name="T100" fmla="*/ 62 w 450"/>
              <a:gd name="T101" fmla="*/ 53 h 383"/>
              <a:gd name="T102" fmla="*/ 81 w 450"/>
              <a:gd name="T103" fmla="*/ 44 h 383"/>
              <a:gd name="T104" fmla="*/ 103 w 450"/>
              <a:gd name="T105" fmla="*/ 22 h 383"/>
              <a:gd name="T106" fmla="*/ 134 w 450"/>
              <a:gd name="T107" fmla="*/ 7 h 383"/>
              <a:gd name="T108" fmla="*/ 168 w 450"/>
              <a:gd name="T109" fmla="*/ 3 h 383"/>
              <a:gd name="T110" fmla="*/ 171 w 450"/>
              <a:gd name="T111" fmla="*/ 5 h 383"/>
              <a:gd name="T112" fmla="*/ 173 w 450"/>
              <a:gd name="T113" fmla="*/ 20 h 383"/>
              <a:gd name="T114" fmla="*/ 202 w 450"/>
              <a:gd name="T115" fmla="*/ 29 h 383"/>
              <a:gd name="T116" fmla="*/ 18 w 450"/>
              <a:gd name="T117" fmla="*/ 83 h 383"/>
              <a:gd name="T118" fmla="*/ 3 w 450"/>
              <a:gd name="T119" fmla="*/ 78 h 383"/>
              <a:gd name="T120" fmla="*/ 3 w 450"/>
              <a:gd name="T121" fmla="*/ 78 h 383"/>
              <a:gd name="T122" fmla="*/ 23 w 450"/>
              <a:gd name="T123" fmla="*/ 73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0" h="383">
                <a:moveTo>
                  <a:pt x="219" y="19"/>
                </a:moveTo>
                <a:lnTo>
                  <a:pt x="217" y="20"/>
                </a:lnTo>
                <a:lnTo>
                  <a:pt x="215" y="22"/>
                </a:lnTo>
                <a:lnTo>
                  <a:pt x="214" y="24"/>
                </a:lnTo>
                <a:lnTo>
                  <a:pt x="212" y="24"/>
                </a:lnTo>
                <a:lnTo>
                  <a:pt x="210" y="26"/>
                </a:lnTo>
                <a:lnTo>
                  <a:pt x="207" y="27"/>
                </a:lnTo>
                <a:lnTo>
                  <a:pt x="205" y="27"/>
                </a:lnTo>
                <a:lnTo>
                  <a:pt x="204" y="29"/>
                </a:lnTo>
                <a:lnTo>
                  <a:pt x="202" y="29"/>
                </a:lnTo>
                <a:lnTo>
                  <a:pt x="205" y="31"/>
                </a:lnTo>
                <a:lnTo>
                  <a:pt x="205" y="34"/>
                </a:lnTo>
                <a:lnTo>
                  <a:pt x="205" y="32"/>
                </a:lnTo>
                <a:lnTo>
                  <a:pt x="207" y="32"/>
                </a:lnTo>
                <a:lnTo>
                  <a:pt x="209" y="34"/>
                </a:lnTo>
                <a:lnTo>
                  <a:pt x="210" y="32"/>
                </a:lnTo>
                <a:lnTo>
                  <a:pt x="210" y="34"/>
                </a:lnTo>
                <a:lnTo>
                  <a:pt x="209" y="36"/>
                </a:lnTo>
                <a:lnTo>
                  <a:pt x="209" y="37"/>
                </a:lnTo>
                <a:lnTo>
                  <a:pt x="210" y="36"/>
                </a:lnTo>
                <a:lnTo>
                  <a:pt x="210" y="34"/>
                </a:lnTo>
                <a:lnTo>
                  <a:pt x="210" y="32"/>
                </a:lnTo>
                <a:lnTo>
                  <a:pt x="212" y="31"/>
                </a:lnTo>
                <a:lnTo>
                  <a:pt x="214" y="29"/>
                </a:lnTo>
                <a:lnTo>
                  <a:pt x="215" y="27"/>
                </a:lnTo>
                <a:lnTo>
                  <a:pt x="219" y="27"/>
                </a:lnTo>
                <a:lnTo>
                  <a:pt x="221" y="26"/>
                </a:lnTo>
                <a:lnTo>
                  <a:pt x="222" y="22"/>
                </a:lnTo>
                <a:lnTo>
                  <a:pt x="222" y="20"/>
                </a:lnTo>
                <a:lnTo>
                  <a:pt x="226" y="19"/>
                </a:lnTo>
                <a:lnTo>
                  <a:pt x="227" y="19"/>
                </a:lnTo>
                <a:lnTo>
                  <a:pt x="229" y="19"/>
                </a:lnTo>
                <a:lnTo>
                  <a:pt x="231" y="19"/>
                </a:lnTo>
                <a:lnTo>
                  <a:pt x="232" y="19"/>
                </a:lnTo>
                <a:lnTo>
                  <a:pt x="236" y="19"/>
                </a:lnTo>
                <a:lnTo>
                  <a:pt x="238" y="19"/>
                </a:lnTo>
                <a:lnTo>
                  <a:pt x="239" y="19"/>
                </a:lnTo>
                <a:lnTo>
                  <a:pt x="241" y="19"/>
                </a:lnTo>
                <a:lnTo>
                  <a:pt x="244" y="19"/>
                </a:lnTo>
                <a:lnTo>
                  <a:pt x="246" y="19"/>
                </a:lnTo>
                <a:lnTo>
                  <a:pt x="248" y="19"/>
                </a:lnTo>
                <a:lnTo>
                  <a:pt x="249" y="19"/>
                </a:lnTo>
                <a:lnTo>
                  <a:pt x="253" y="19"/>
                </a:lnTo>
                <a:lnTo>
                  <a:pt x="255" y="19"/>
                </a:lnTo>
                <a:lnTo>
                  <a:pt x="256" y="19"/>
                </a:lnTo>
                <a:lnTo>
                  <a:pt x="260" y="19"/>
                </a:lnTo>
                <a:lnTo>
                  <a:pt x="261" y="19"/>
                </a:lnTo>
                <a:lnTo>
                  <a:pt x="263" y="19"/>
                </a:lnTo>
                <a:lnTo>
                  <a:pt x="266" y="19"/>
                </a:lnTo>
                <a:lnTo>
                  <a:pt x="268" y="19"/>
                </a:lnTo>
                <a:lnTo>
                  <a:pt x="272" y="19"/>
                </a:lnTo>
                <a:lnTo>
                  <a:pt x="275" y="19"/>
                </a:lnTo>
                <a:lnTo>
                  <a:pt x="278" y="19"/>
                </a:lnTo>
                <a:lnTo>
                  <a:pt x="280" y="19"/>
                </a:lnTo>
                <a:lnTo>
                  <a:pt x="283" y="19"/>
                </a:lnTo>
                <a:lnTo>
                  <a:pt x="285" y="19"/>
                </a:lnTo>
                <a:lnTo>
                  <a:pt x="287" y="17"/>
                </a:lnTo>
                <a:lnTo>
                  <a:pt x="290" y="17"/>
                </a:lnTo>
                <a:lnTo>
                  <a:pt x="292" y="17"/>
                </a:lnTo>
                <a:lnTo>
                  <a:pt x="294" y="17"/>
                </a:lnTo>
                <a:lnTo>
                  <a:pt x="295" y="17"/>
                </a:lnTo>
                <a:lnTo>
                  <a:pt x="297" y="17"/>
                </a:lnTo>
                <a:lnTo>
                  <a:pt x="300" y="15"/>
                </a:lnTo>
                <a:lnTo>
                  <a:pt x="304" y="15"/>
                </a:lnTo>
                <a:lnTo>
                  <a:pt x="306" y="15"/>
                </a:lnTo>
                <a:lnTo>
                  <a:pt x="307" y="14"/>
                </a:lnTo>
                <a:lnTo>
                  <a:pt x="309" y="14"/>
                </a:lnTo>
                <a:lnTo>
                  <a:pt x="311" y="14"/>
                </a:lnTo>
                <a:lnTo>
                  <a:pt x="314" y="14"/>
                </a:lnTo>
                <a:lnTo>
                  <a:pt x="316" y="12"/>
                </a:lnTo>
                <a:lnTo>
                  <a:pt x="317" y="12"/>
                </a:lnTo>
                <a:lnTo>
                  <a:pt x="321" y="12"/>
                </a:lnTo>
                <a:lnTo>
                  <a:pt x="323" y="10"/>
                </a:lnTo>
                <a:lnTo>
                  <a:pt x="324" y="10"/>
                </a:lnTo>
                <a:lnTo>
                  <a:pt x="326" y="10"/>
                </a:lnTo>
                <a:lnTo>
                  <a:pt x="328" y="10"/>
                </a:lnTo>
                <a:lnTo>
                  <a:pt x="329" y="10"/>
                </a:lnTo>
                <a:lnTo>
                  <a:pt x="331" y="9"/>
                </a:lnTo>
                <a:lnTo>
                  <a:pt x="333" y="9"/>
                </a:lnTo>
                <a:lnTo>
                  <a:pt x="334" y="9"/>
                </a:lnTo>
                <a:lnTo>
                  <a:pt x="336" y="9"/>
                </a:lnTo>
                <a:lnTo>
                  <a:pt x="340" y="7"/>
                </a:lnTo>
                <a:lnTo>
                  <a:pt x="341" y="7"/>
                </a:lnTo>
                <a:lnTo>
                  <a:pt x="343" y="7"/>
                </a:lnTo>
                <a:lnTo>
                  <a:pt x="346" y="5"/>
                </a:lnTo>
                <a:lnTo>
                  <a:pt x="346" y="2"/>
                </a:lnTo>
                <a:lnTo>
                  <a:pt x="348" y="2"/>
                </a:lnTo>
                <a:lnTo>
                  <a:pt x="350" y="2"/>
                </a:lnTo>
                <a:lnTo>
                  <a:pt x="353" y="2"/>
                </a:lnTo>
                <a:lnTo>
                  <a:pt x="355" y="2"/>
                </a:lnTo>
                <a:lnTo>
                  <a:pt x="353" y="3"/>
                </a:lnTo>
                <a:lnTo>
                  <a:pt x="357" y="5"/>
                </a:lnTo>
                <a:lnTo>
                  <a:pt x="357" y="7"/>
                </a:lnTo>
                <a:lnTo>
                  <a:pt x="358" y="9"/>
                </a:lnTo>
                <a:lnTo>
                  <a:pt x="360" y="7"/>
                </a:lnTo>
                <a:lnTo>
                  <a:pt x="362" y="7"/>
                </a:lnTo>
                <a:lnTo>
                  <a:pt x="363" y="7"/>
                </a:lnTo>
                <a:lnTo>
                  <a:pt x="365" y="9"/>
                </a:lnTo>
                <a:lnTo>
                  <a:pt x="367" y="9"/>
                </a:lnTo>
                <a:lnTo>
                  <a:pt x="368" y="9"/>
                </a:lnTo>
                <a:lnTo>
                  <a:pt x="372" y="10"/>
                </a:lnTo>
                <a:lnTo>
                  <a:pt x="374" y="12"/>
                </a:lnTo>
                <a:lnTo>
                  <a:pt x="374" y="14"/>
                </a:lnTo>
                <a:lnTo>
                  <a:pt x="375" y="14"/>
                </a:lnTo>
                <a:lnTo>
                  <a:pt x="377" y="15"/>
                </a:lnTo>
                <a:lnTo>
                  <a:pt x="377" y="17"/>
                </a:lnTo>
                <a:lnTo>
                  <a:pt x="379" y="19"/>
                </a:lnTo>
                <a:lnTo>
                  <a:pt x="379" y="20"/>
                </a:lnTo>
                <a:lnTo>
                  <a:pt x="380" y="22"/>
                </a:lnTo>
                <a:lnTo>
                  <a:pt x="379" y="26"/>
                </a:lnTo>
                <a:lnTo>
                  <a:pt x="379" y="27"/>
                </a:lnTo>
                <a:lnTo>
                  <a:pt x="380" y="27"/>
                </a:lnTo>
                <a:lnTo>
                  <a:pt x="380" y="31"/>
                </a:lnTo>
                <a:lnTo>
                  <a:pt x="382" y="34"/>
                </a:lnTo>
                <a:lnTo>
                  <a:pt x="384" y="36"/>
                </a:lnTo>
                <a:lnTo>
                  <a:pt x="382" y="36"/>
                </a:lnTo>
                <a:lnTo>
                  <a:pt x="384" y="36"/>
                </a:lnTo>
                <a:lnTo>
                  <a:pt x="384" y="37"/>
                </a:lnTo>
                <a:lnTo>
                  <a:pt x="384" y="39"/>
                </a:lnTo>
                <a:lnTo>
                  <a:pt x="384" y="41"/>
                </a:lnTo>
                <a:lnTo>
                  <a:pt x="385" y="43"/>
                </a:lnTo>
                <a:lnTo>
                  <a:pt x="385" y="44"/>
                </a:lnTo>
                <a:lnTo>
                  <a:pt x="387" y="46"/>
                </a:lnTo>
                <a:lnTo>
                  <a:pt x="387" y="48"/>
                </a:lnTo>
                <a:lnTo>
                  <a:pt x="389" y="51"/>
                </a:lnTo>
                <a:lnTo>
                  <a:pt x="389" y="53"/>
                </a:lnTo>
                <a:lnTo>
                  <a:pt x="391" y="54"/>
                </a:lnTo>
                <a:lnTo>
                  <a:pt x="392" y="56"/>
                </a:lnTo>
                <a:lnTo>
                  <a:pt x="392" y="58"/>
                </a:lnTo>
                <a:lnTo>
                  <a:pt x="394" y="60"/>
                </a:lnTo>
                <a:lnTo>
                  <a:pt x="394" y="63"/>
                </a:lnTo>
                <a:lnTo>
                  <a:pt x="396" y="63"/>
                </a:lnTo>
                <a:lnTo>
                  <a:pt x="397" y="65"/>
                </a:lnTo>
                <a:lnTo>
                  <a:pt x="397" y="66"/>
                </a:lnTo>
                <a:lnTo>
                  <a:pt x="399" y="70"/>
                </a:lnTo>
                <a:lnTo>
                  <a:pt x="401" y="71"/>
                </a:lnTo>
                <a:lnTo>
                  <a:pt x="401" y="73"/>
                </a:lnTo>
                <a:lnTo>
                  <a:pt x="402" y="75"/>
                </a:lnTo>
                <a:lnTo>
                  <a:pt x="404" y="75"/>
                </a:lnTo>
                <a:lnTo>
                  <a:pt x="404" y="78"/>
                </a:lnTo>
                <a:lnTo>
                  <a:pt x="406" y="78"/>
                </a:lnTo>
                <a:lnTo>
                  <a:pt x="408" y="80"/>
                </a:lnTo>
                <a:lnTo>
                  <a:pt x="406" y="82"/>
                </a:lnTo>
                <a:lnTo>
                  <a:pt x="406" y="85"/>
                </a:lnTo>
                <a:lnTo>
                  <a:pt x="408" y="87"/>
                </a:lnTo>
                <a:lnTo>
                  <a:pt x="409" y="88"/>
                </a:lnTo>
                <a:lnTo>
                  <a:pt x="408" y="88"/>
                </a:lnTo>
                <a:lnTo>
                  <a:pt x="409" y="88"/>
                </a:lnTo>
                <a:lnTo>
                  <a:pt x="409" y="92"/>
                </a:lnTo>
                <a:lnTo>
                  <a:pt x="411" y="94"/>
                </a:lnTo>
                <a:lnTo>
                  <a:pt x="409" y="95"/>
                </a:lnTo>
                <a:lnTo>
                  <a:pt x="411" y="97"/>
                </a:lnTo>
                <a:lnTo>
                  <a:pt x="411" y="100"/>
                </a:lnTo>
                <a:lnTo>
                  <a:pt x="411" y="102"/>
                </a:lnTo>
                <a:lnTo>
                  <a:pt x="413" y="104"/>
                </a:lnTo>
                <a:lnTo>
                  <a:pt x="413" y="106"/>
                </a:lnTo>
                <a:lnTo>
                  <a:pt x="413" y="107"/>
                </a:lnTo>
                <a:lnTo>
                  <a:pt x="414" y="109"/>
                </a:lnTo>
                <a:lnTo>
                  <a:pt x="414" y="111"/>
                </a:lnTo>
                <a:lnTo>
                  <a:pt x="413" y="112"/>
                </a:lnTo>
                <a:lnTo>
                  <a:pt x="411" y="114"/>
                </a:lnTo>
                <a:lnTo>
                  <a:pt x="409" y="116"/>
                </a:lnTo>
                <a:lnTo>
                  <a:pt x="409" y="117"/>
                </a:lnTo>
                <a:lnTo>
                  <a:pt x="408" y="117"/>
                </a:lnTo>
                <a:lnTo>
                  <a:pt x="408" y="119"/>
                </a:lnTo>
                <a:lnTo>
                  <a:pt x="406" y="119"/>
                </a:lnTo>
                <a:lnTo>
                  <a:pt x="402" y="119"/>
                </a:lnTo>
                <a:lnTo>
                  <a:pt x="401" y="121"/>
                </a:lnTo>
                <a:lnTo>
                  <a:pt x="399" y="123"/>
                </a:lnTo>
                <a:lnTo>
                  <a:pt x="397" y="124"/>
                </a:lnTo>
                <a:lnTo>
                  <a:pt x="396" y="124"/>
                </a:lnTo>
                <a:lnTo>
                  <a:pt x="396" y="126"/>
                </a:lnTo>
                <a:lnTo>
                  <a:pt x="394" y="128"/>
                </a:lnTo>
                <a:lnTo>
                  <a:pt x="394" y="129"/>
                </a:lnTo>
                <a:lnTo>
                  <a:pt x="392" y="131"/>
                </a:lnTo>
                <a:lnTo>
                  <a:pt x="392" y="133"/>
                </a:lnTo>
                <a:lnTo>
                  <a:pt x="392" y="134"/>
                </a:lnTo>
                <a:lnTo>
                  <a:pt x="391" y="136"/>
                </a:lnTo>
                <a:lnTo>
                  <a:pt x="391" y="138"/>
                </a:lnTo>
                <a:lnTo>
                  <a:pt x="389" y="140"/>
                </a:lnTo>
                <a:lnTo>
                  <a:pt x="389" y="143"/>
                </a:lnTo>
                <a:lnTo>
                  <a:pt x="389" y="145"/>
                </a:lnTo>
                <a:lnTo>
                  <a:pt x="387" y="146"/>
                </a:lnTo>
                <a:lnTo>
                  <a:pt x="389" y="146"/>
                </a:lnTo>
                <a:lnTo>
                  <a:pt x="389" y="148"/>
                </a:lnTo>
                <a:lnTo>
                  <a:pt x="389" y="150"/>
                </a:lnTo>
                <a:lnTo>
                  <a:pt x="392" y="150"/>
                </a:lnTo>
                <a:lnTo>
                  <a:pt x="394" y="148"/>
                </a:lnTo>
                <a:lnTo>
                  <a:pt x="394" y="150"/>
                </a:lnTo>
                <a:lnTo>
                  <a:pt x="397" y="150"/>
                </a:lnTo>
                <a:lnTo>
                  <a:pt x="399" y="151"/>
                </a:lnTo>
                <a:lnTo>
                  <a:pt x="401" y="150"/>
                </a:lnTo>
                <a:lnTo>
                  <a:pt x="402" y="150"/>
                </a:lnTo>
                <a:lnTo>
                  <a:pt x="402" y="151"/>
                </a:lnTo>
                <a:lnTo>
                  <a:pt x="404" y="151"/>
                </a:lnTo>
                <a:lnTo>
                  <a:pt x="406" y="153"/>
                </a:lnTo>
                <a:lnTo>
                  <a:pt x="406" y="155"/>
                </a:lnTo>
                <a:lnTo>
                  <a:pt x="408" y="153"/>
                </a:lnTo>
                <a:lnTo>
                  <a:pt x="409" y="155"/>
                </a:lnTo>
                <a:lnTo>
                  <a:pt x="408" y="155"/>
                </a:lnTo>
                <a:lnTo>
                  <a:pt x="411" y="157"/>
                </a:lnTo>
                <a:lnTo>
                  <a:pt x="411" y="160"/>
                </a:lnTo>
                <a:lnTo>
                  <a:pt x="413" y="162"/>
                </a:lnTo>
                <a:lnTo>
                  <a:pt x="413" y="163"/>
                </a:lnTo>
                <a:lnTo>
                  <a:pt x="411" y="165"/>
                </a:lnTo>
                <a:lnTo>
                  <a:pt x="413" y="165"/>
                </a:lnTo>
                <a:lnTo>
                  <a:pt x="411" y="167"/>
                </a:lnTo>
                <a:lnTo>
                  <a:pt x="413" y="168"/>
                </a:lnTo>
                <a:lnTo>
                  <a:pt x="413" y="170"/>
                </a:lnTo>
                <a:lnTo>
                  <a:pt x="411" y="170"/>
                </a:lnTo>
                <a:lnTo>
                  <a:pt x="411" y="172"/>
                </a:lnTo>
                <a:lnTo>
                  <a:pt x="413" y="174"/>
                </a:lnTo>
                <a:lnTo>
                  <a:pt x="414" y="175"/>
                </a:lnTo>
                <a:lnTo>
                  <a:pt x="413" y="177"/>
                </a:lnTo>
                <a:lnTo>
                  <a:pt x="411" y="179"/>
                </a:lnTo>
                <a:lnTo>
                  <a:pt x="409" y="180"/>
                </a:lnTo>
                <a:lnTo>
                  <a:pt x="411" y="182"/>
                </a:lnTo>
                <a:lnTo>
                  <a:pt x="411" y="185"/>
                </a:lnTo>
                <a:lnTo>
                  <a:pt x="411" y="187"/>
                </a:lnTo>
                <a:lnTo>
                  <a:pt x="413" y="189"/>
                </a:lnTo>
                <a:lnTo>
                  <a:pt x="413" y="191"/>
                </a:lnTo>
                <a:lnTo>
                  <a:pt x="414" y="192"/>
                </a:lnTo>
                <a:lnTo>
                  <a:pt x="414" y="194"/>
                </a:lnTo>
                <a:lnTo>
                  <a:pt x="416" y="194"/>
                </a:lnTo>
                <a:lnTo>
                  <a:pt x="416" y="196"/>
                </a:lnTo>
                <a:lnTo>
                  <a:pt x="418" y="197"/>
                </a:lnTo>
                <a:lnTo>
                  <a:pt x="419" y="197"/>
                </a:lnTo>
                <a:lnTo>
                  <a:pt x="418" y="199"/>
                </a:lnTo>
                <a:lnTo>
                  <a:pt x="419" y="199"/>
                </a:lnTo>
                <a:lnTo>
                  <a:pt x="419" y="201"/>
                </a:lnTo>
                <a:lnTo>
                  <a:pt x="421" y="201"/>
                </a:lnTo>
                <a:lnTo>
                  <a:pt x="421" y="202"/>
                </a:lnTo>
                <a:lnTo>
                  <a:pt x="421" y="204"/>
                </a:lnTo>
                <a:lnTo>
                  <a:pt x="419" y="204"/>
                </a:lnTo>
                <a:lnTo>
                  <a:pt x="419" y="208"/>
                </a:lnTo>
                <a:lnTo>
                  <a:pt x="421" y="211"/>
                </a:lnTo>
                <a:lnTo>
                  <a:pt x="423" y="209"/>
                </a:lnTo>
                <a:lnTo>
                  <a:pt x="425" y="211"/>
                </a:lnTo>
                <a:lnTo>
                  <a:pt x="426" y="214"/>
                </a:lnTo>
                <a:lnTo>
                  <a:pt x="430" y="216"/>
                </a:lnTo>
                <a:lnTo>
                  <a:pt x="430" y="218"/>
                </a:lnTo>
                <a:lnTo>
                  <a:pt x="431" y="218"/>
                </a:lnTo>
                <a:lnTo>
                  <a:pt x="431" y="219"/>
                </a:lnTo>
                <a:lnTo>
                  <a:pt x="431" y="221"/>
                </a:lnTo>
                <a:lnTo>
                  <a:pt x="433" y="223"/>
                </a:lnTo>
                <a:lnTo>
                  <a:pt x="435" y="223"/>
                </a:lnTo>
                <a:lnTo>
                  <a:pt x="435" y="225"/>
                </a:lnTo>
                <a:lnTo>
                  <a:pt x="436" y="225"/>
                </a:lnTo>
                <a:lnTo>
                  <a:pt x="435" y="226"/>
                </a:lnTo>
                <a:lnTo>
                  <a:pt x="436" y="226"/>
                </a:lnTo>
                <a:lnTo>
                  <a:pt x="436" y="228"/>
                </a:lnTo>
                <a:lnTo>
                  <a:pt x="438" y="228"/>
                </a:lnTo>
                <a:lnTo>
                  <a:pt x="438" y="231"/>
                </a:lnTo>
                <a:lnTo>
                  <a:pt x="440" y="231"/>
                </a:lnTo>
                <a:lnTo>
                  <a:pt x="443" y="233"/>
                </a:lnTo>
                <a:lnTo>
                  <a:pt x="443" y="235"/>
                </a:lnTo>
                <a:lnTo>
                  <a:pt x="445" y="233"/>
                </a:lnTo>
                <a:lnTo>
                  <a:pt x="447" y="235"/>
                </a:lnTo>
                <a:lnTo>
                  <a:pt x="448" y="235"/>
                </a:lnTo>
                <a:lnTo>
                  <a:pt x="447" y="238"/>
                </a:lnTo>
                <a:lnTo>
                  <a:pt x="443" y="238"/>
                </a:lnTo>
                <a:lnTo>
                  <a:pt x="442" y="238"/>
                </a:lnTo>
                <a:lnTo>
                  <a:pt x="440" y="240"/>
                </a:lnTo>
                <a:lnTo>
                  <a:pt x="440" y="242"/>
                </a:lnTo>
                <a:lnTo>
                  <a:pt x="442" y="243"/>
                </a:lnTo>
                <a:lnTo>
                  <a:pt x="443" y="243"/>
                </a:lnTo>
                <a:lnTo>
                  <a:pt x="443" y="247"/>
                </a:lnTo>
                <a:lnTo>
                  <a:pt x="447" y="247"/>
                </a:lnTo>
                <a:lnTo>
                  <a:pt x="447" y="248"/>
                </a:lnTo>
                <a:lnTo>
                  <a:pt x="448" y="250"/>
                </a:lnTo>
                <a:lnTo>
                  <a:pt x="448" y="252"/>
                </a:lnTo>
                <a:lnTo>
                  <a:pt x="450" y="253"/>
                </a:lnTo>
                <a:lnTo>
                  <a:pt x="450" y="257"/>
                </a:lnTo>
                <a:lnTo>
                  <a:pt x="450" y="259"/>
                </a:lnTo>
                <a:lnTo>
                  <a:pt x="450" y="260"/>
                </a:lnTo>
                <a:lnTo>
                  <a:pt x="448" y="262"/>
                </a:lnTo>
                <a:lnTo>
                  <a:pt x="448" y="264"/>
                </a:lnTo>
                <a:lnTo>
                  <a:pt x="448" y="265"/>
                </a:lnTo>
                <a:lnTo>
                  <a:pt x="447" y="265"/>
                </a:lnTo>
                <a:lnTo>
                  <a:pt x="447" y="267"/>
                </a:lnTo>
                <a:lnTo>
                  <a:pt x="445" y="267"/>
                </a:lnTo>
                <a:lnTo>
                  <a:pt x="443" y="269"/>
                </a:lnTo>
                <a:lnTo>
                  <a:pt x="442" y="269"/>
                </a:lnTo>
                <a:lnTo>
                  <a:pt x="438" y="269"/>
                </a:lnTo>
                <a:lnTo>
                  <a:pt x="438" y="271"/>
                </a:lnTo>
                <a:lnTo>
                  <a:pt x="436" y="271"/>
                </a:lnTo>
                <a:lnTo>
                  <a:pt x="435" y="272"/>
                </a:lnTo>
                <a:lnTo>
                  <a:pt x="435" y="274"/>
                </a:lnTo>
                <a:lnTo>
                  <a:pt x="435" y="276"/>
                </a:lnTo>
                <a:lnTo>
                  <a:pt x="433" y="277"/>
                </a:lnTo>
                <a:lnTo>
                  <a:pt x="431" y="279"/>
                </a:lnTo>
                <a:lnTo>
                  <a:pt x="431" y="281"/>
                </a:lnTo>
                <a:lnTo>
                  <a:pt x="430" y="282"/>
                </a:lnTo>
                <a:lnTo>
                  <a:pt x="428" y="284"/>
                </a:lnTo>
                <a:lnTo>
                  <a:pt x="426" y="286"/>
                </a:lnTo>
                <a:lnTo>
                  <a:pt x="426" y="288"/>
                </a:lnTo>
                <a:lnTo>
                  <a:pt x="423" y="289"/>
                </a:lnTo>
                <a:lnTo>
                  <a:pt x="423" y="293"/>
                </a:lnTo>
                <a:lnTo>
                  <a:pt x="421" y="294"/>
                </a:lnTo>
                <a:lnTo>
                  <a:pt x="419" y="294"/>
                </a:lnTo>
                <a:lnTo>
                  <a:pt x="419" y="296"/>
                </a:lnTo>
                <a:lnTo>
                  <a:pt x="419" y="298"/>
                </a:lnTo>
                <a:lnTo>
                  <a:pt x="418" y="299"/>
                </a:lnTo>
                <a:lnTo>
                  <a:pt x="418" y="301"/>
                </a:lnTo>
                <a:lnTo>
                  <a:pt x="416" y="303"/>
                </a:lnTo>
                <a:lnTo>
                  <a:pt x="416" y="305"/>
                </a:lnTo>
                <a:lnTo>
                  <a:pt x="414" y="306"/>
                </a:lnTo>
                <a:lnTo>
                  <a:pt x="414" y="308"/>
                </a:lnTo>
                <a:lnTo>
                  <a:pt x="413" y="310"/>
                </a:lnTo>
                <a:lnTo>
                  <a:pt x="413" y="311"/>
                </a:lnTo>
                <a:lnTo>
                  <a:pt x="411" y="315"/>
                </a:lnTo>
                <a:lnTo>
                  <a:pt x="409" y="315"/>
                </a:lnTo>
                <a:lnTo>
                  <a:pt x="409" y="318"/>
                </a:lnTo>
                <a:lnTo>
                  <a:pt x="408" y="322"/>
                </a:lnTo>
                <a:lnTo>
                  <a:pt x="406" y="323"/>
                </a:lnTo>
                <a:lnTo>
                  <a:pt x="406" y="325"/>
                </a:lnTo>
                <a:lnTo>
                  <a:pt x="404" y="327"/>
                </a:lnTo>
                <a:lnTo>
                  <a:pt x="404" y="330"/>
                </a:lnTo>
                <a:lnTo>
                  <a:pt x="402" y="332"/>
                </a:lnTo>
                <a:lnTo>
                  <a:pt x="401" y="333"/>
                </a:lnTo>
                <a:lnTo>
                  <a:pt x="401" y="335"/>
                </a:lnTo>
                <a:lnTo>
                  <a:pt x="401" y="339"/>
                </a:lnTo>
                <a:lnTo>
                  <a:pt x="399" y="339"/>
                </a:lnTo>
                <a:lnTo>
                  <a:pt x="399" y="340"/>
                </a:lnTo>
                <a:lnTo>
                  <a:pt x="402" y="342"/>
                </a:lnTo>
                <a:lnTo>
                  <a:pt x="402" y="345"/>
                </a:lnTo>
                <a:lnTo>
                  <a:pt x="404" y="347"/>
                </a:lnTo>
                <a:lnTo>
                  <a:pt x="406" y="350"/>
                </a:lnTo>
                <a:lnTo>
                  <a:pt x="406" y="354"/>
                </a:lnTo>
                <a:lnTo>
                  <a:pt x="406" y="357"/>
                </a:lnTo>
                <a:lnTo>
                  <a:pt x="406" y="359"/>
                </a:lnTo>
                <a:lnTo>
                  <a:pt x="408" y="361"/>
                </a:lnTo>
                <a:lnTo>
                  <a:pt x="406" y="364"/>
                </a:lnTo>
                <a:lnTo>
                  <a:pt x="408" y="362"/>
                </a:lnTo>
                <a:lnTo>
                  <a:pt x="408" y="364"/>
                </a:lnTo>
                <a:lnTo>
                  <a:pt x="409" y="364"/>
                </a:lnTo>
                <a:lnTo>
                  <a:pt x="411" y="366"/>
                </a:lnTo>
                <a:lnTo>
                  <a:pt x="413" y="367"/>
                </a:lnTo>
                <a:lnTo>
                  <a:pt x="416" y="367"/>
                </a:lnTo>
                <a:lnTo>
                  <a:pt x="414" y="369"/>
                </a:lnTo>
                <a:lnTo>
                  <a:pt x="414" y="371"/>
                </a:lnTo>
                <a:lnTo>
                  <a:pt x="416" y="373"/>
                </a:lnTo>
                <a:lnTo>
                  <a:pt x="414" y="374"/>
                </a:lnTo>
                <a:lnTo>
                  <a:pt x="414" y="373"/>
                </a:lnTo>
                <a:lnTo>
                  <a:pt x="413" y="373"/>
                </a:lnTo>
                <a:lnTo>
                  <a:pt x="411" y="371"/>
                </a:lnTo>
                <a:lnTo>
                  <a:pt x="409" y="373"/>
                </a:lnTo>
                <a:lnTo>
                  <a:pt x="408" y="371"/>
                </a:lnTo>
                <a:lnTo>
                  <a:pt x="406" y="373"/>
                </a:lnTo>
                <a:lnTo>
                  <a:pt x="404" y="371"/>
                </a:lnTo>
                <a:lnTo>
                  <a:pt x="402" y="369"/>
                </a:lnTo>
                <a:lnTo>
                  <a:pt x="401" y="371"/>
                </a:lnTo>
                <a:lnTo>
                  <a:pt x="397" y="371"/>
                </a:lnTo>
                <a:lnTo>
                  <a:pt x="396" y="371"/>
                </a:lnTo>
                <a:lnTo>
                  <a:pt x="394" y="371"/>
                </a:lnTo>
                <a:lnTo>
                  <a:pt x="392" y="369"/>
                </a:lnTo>
                <a:lnTo>
                  <a:pt x="391" y="367"/>
                </a:lnTo>
                <a:lnTo>
                  <a:pt x="389" y="369"/>
                </a:lnTo>
                <a:lnTo>
                  <a:pt x="387" y="369"/>
                </a:lnTo>
                <a:lnTo>
                  <a:pt x="385" y="369"/>
                </a:lnTo>
                <a:lnTo>
                  <a:pt x="384" y="366"/>
                </a:lnTo>
                <a:lnTo>
                  <a:pt x="382" y="367"/>
                </a:lnTo>
                <a:lnTo>
                  <a:pt x="380" y="366"/>
                </a:lnTo>
                <a:lnTo>
                  <a:pt x="379" y="366"/>
                </a:lnTo>
                <a:lnTo>
                  <a:pt x="377" y="366"/>
                </a:lnTo>
                <a:lnTo>
                  <a:pt x="375" y="366"/>
                </a:lnTo>
                <a:lnTo>
                  <a:pt x="375" y="362"/>
                </a:lnTo>
                <a:lnTo>
                  <a:pt x="375" y="361"/>
                </a:lnTo>
                <a:lnTo>
                  <a:pt x="374" y="361"/>
                </a:lnTo>
                <a:lnTo>
                  <a:pt x="372" y="359"/>
                </a:lnTo>
                <a:lnTo>
                  <a:pt x="370" y="357"/>
                </a:lnTo>
                <a:lnTo>
                  <a:pt x="368" y="357"/>
                </a:lnTo>
                <a:lnTo>
                  <a:pt x="367" y="356"/>
                </a:lnTo>
                <a:lnTo>
                  <a:pt x="365" y="357"/>
                </a:lnTo>
                <a:lnTo>
                  <a:pt x="365" y="356"/>
                </a:lnTo>
                <a:lnTo>
                  <a:pt x="363" y="356"/>
                </a:lnTo>
                <a:lnTo>
                  <a:pt x="362" y="357"/>
                </a:lnTo>
                <a:lnTo>
                  <a:pt x="362" y="356"/>
                </a:lnTo>
                <a:lnTo>
                  <a:pt x="358" y="354"/>
                </a:lnTo>
                <a:lnTo>
                  <a:pt x="357" y="354"/>
                </a:lnTo>
                <a:lnTo>
                  <a:pt x="355" y="352"/>
                </a:lnTo>
                <a:lnTo>
                  <a:pt x="353" y="354"/>
                </a:lnTo>
                <a:lnTo>
                  <a:pt x="350" y="354"/>
                </a:lnTo>
                <a:lnTo>
                  <a:pt x="350" y="356"/>
                </a:lnTo>
                <a:lnTo>
                  <a:pt x="348" y="356"/>
                </a:lnTo>
                <a:lnTo>
                  <a:pt x="346" y="357"/>
                </a:lnTo>
                <a:lnTo>
                  <a:pt x="345" y="356"/>
                </a:lnTo>
                <a:lnTo>
                  <a:pt x="343" y="356"/>
                </a:lnTo>
                <a:lnTo>
                  <a:pt x="341" y="354"/>
                </a:lnTo>
                <a:lnTo>
                  <a:pt x="338" y="354"/>
                </a:lnTo>
                <a:lnTo>
                  <a:pt x="336" y="356"/>
                </a:lnTo>
                <a:lnTo>
                  <a:pt x="336" y="359"/>
                </a:lnTo>
                <a:lnTo>
                  <a:pt x="334" y="359"/>
                </a:lnTo>
                <a:lnTo>
                  <a:pt x="333" y="357"/>
                </a:lnTo>
                <a:lnTo>
                  <a:pt x="331" y="357"/>
                </a:lnTo>
                <a:lnTo>
                  <a:pt x="329" y="359"/>
                </a:lnTo>
                <a:lnTo>
                  <a:pt x="331" y="361"/>
                </a:lnTo>
                <a:lnTo>
                  <a:pt x="331" y="362"/>
                </a:lnTo>
                <a:lnTo>
                  <a:pt x="329" y="362"/>
                </a:lnTo>
                <a:lnTo>
                  <a:pt x="328" y="366"/>
                </a:lnTo>
                <a:lnTo>
                  <a:pt x="328" y="367"/>
                </a:lnTo>
                <a:lnTo>
                  <a:pt x="324" y="367"/>
                </a:lnTo>
                <a:lnTo>
                  <a:pt x="323" y="366"/>
                </a:lnTo>
                <a:lnTo>
                  <a:pt x="323" y="367"/>
                </a:lnTo>
                <a:lnTo>
                  <a:pt x="321" y="366"/>
                </a:lnTo>
                <a:lnTo>
                  <a:pt x="319" y="366"/>
                </a:lnTo>
                <a:lnTo>
                  <a:pt x="317" y="366"/>
                </a:lnTo>
                <a:lnTo>
                  <a:pt x="319" y="364"/>
                </a:lnTo>
                <a:lnTo>
                  <a:pt x="316" y="364"/>
                </a:lnTo>
                <a:lnTo>
                  <a:pt x="316" y="362"/>
                </a:lnTo>
                <a:lnTo>
                  <a:pt x="314" y="361"/>
                </a:lnTo>
                <a:lnTo>
                  <a:pt x="312" y="361"/>
                </a:lnTo>
                <a:lnTo>
                  <a:pt x="311" y="362"/>
                </a:lnTo>
                <a:lnTo>
                  <a:pt x="309" y="362"/>
                </a:lnTo>
                <a:lnTo>
                  <a:pt x="307" y="366"/>
                </a:lnTo>
                <a:lnTo>
                  <a:pt x="304" y="364"/>
                </a:lnTo>
                <a:lnTo>
                  <a:pt x="302" y="362"/>
                </a:lnTo>
                <a:lnTo>
                  <a:pt x="300" y="362"/>
                </a:lnTo>
                <a:lnTo>
                  <a:pt x="300" y="364"/>
                </a:lnTo>
                <a:lnTo>
                  <a:pt x="299" y="366"/>
                </a:lnTo>
                <a:lnTo>
                  <a:pt x="299" y="364"/>
                </a:lnTo>
                <a:lnTo>
                  <a:pt x="295" y="364"/>
                </a:lnTo>
                <a:lnTo>
                  <a:pt x="295" y="366"/>
                </a:lnTo>
                <a:lnTo>
                  <a:pt x="297" y="366"/>
                </a:lnTo>
                <a:lnTo>
                  <a:pt x="297" y="369"/>
                </a:lnTo>
                <a:lnTo>
                  <a:pt x="295" y="369"/>
                </a:lnTo>
                <a:lnTo>
                  <a:pt x="294" y="369"/>
                </a:lnTo>
                <a:lnTo>
                  <a:pt x="292" y="369"/>
                </a:lnTo>
                <a:lnTo>
                  <a:pt x="290" y="371"/>
                </a:lnTo>
                <a:lnTo>
                  <a:pt x="290" y="373"/>
                </a:lnTo>
                <a:lnTo>
                  <a:pt x="289" y="373"/>
                </a:lnTo>
                <a:lnTo>
                  <a:pt x="289" y="376"/>
                </a:lnTo>
                <a:lnTo>
                  <a:pt x="287" y="378"/>
                </a:lnTo>
                <a:lnTo>
                  <a:pt x="289" y="379"/>
                </a:lnTo>
                <a:lnTo>
                  <a:pt x="287" y="381"/>
                </a:lnTo>
                <a:lnTo>
                  <a:pt x="287" y="383"/>
                </a:lnTo>
                <a:lnTo>
                  <a:pt x="285" y="381"/>
                </a:lnTo>
                <a:lnTo>
                  <a:pt x="282" y="379"/>
                </a:lnTo>
                <a:lnTo>
                  <a:pt x="280" y="379"/>
                </a:lnTo>
                <a:lnTo>
                  <a:pt x="278" y="379"/>
                </a:lnTo>
                <a:lnTo>
                  <a:pt x="278" y="383"/>
                </a:lnTo>
                <a:lnTo>
                  <a:pt x="277" y="383"/>
                </a:lnTo>
                <a:lnTo>
                  <a:pt x="275" y="381"/>
                </a:lnTo>
                <a:lnTo>
                  <a:pt x="273" y="381"/>
                </a:lnTo>
                <a:lnTo>
                  <a:pt x="273" y="379"/>
                </a:lnTo>
                <a:lnTo>
                  <a:pt x="273" y="378"/>
                </a:lnTo>
                <a:lnTo>
                  <a:pt x="275" y="376"/>
                </a:lnTo>
                <a:lnTo>
                  <a:pt x="273" y="376"/>
                </a:lnTo>
                <a:lnTo>
                  <a:pt x="273" y="374"/>
                </a:lnTo>
                <a:lnTo>
                  <a:pt x="273" y="373"/>
                </a:lnTo>
                <a:lnTo>
                  <a:pt x="273" y="371"/>
                </a:lnTo>
                <a:lnTo>
                  <a:pt x="272" y="369"/>
                </a:lnTo>
                <a:lnTo>
                  <a:pt x="272" y="367"/>
                </a:lnTo>
                <a:lnTo>
                  <a:pt x="270" y="367"/>
                </a:lnTo>
                <a:lnTo>
                  <a:pt x="268" y="369"/>
                </a:lnTo>
                <a:lnTo>
                  <a:pt x="265" y="369"/>
                </a:lnTo>
                <a:lnTo>
                  <a:pt x="265" y="367"/>
                </a:lnTo>
                <a:lnTo>
                  <a:pt x="265" y="366"/>
                </a:lnTo>
                <a:lnTo>
                  <a:pt x="263" y="366"/>
                </a:lnTo>
                <a:lnTo>
                  <a:pt x="261" y="366"/>
                </a:lnTo>
                <a:lnTo>
                  <a:pt x="261" y="364"/>
                </a:lnTo>
                <a:lnTo>
                  <a:pt x="260" y="362"/>
                </a:lnTo>
                <a:lnTo>
                  <a:pt x="260" y="361"/>
                </a:lnTo>
                <a:lnTo>
                  <a:pt x="258" y="357"/>
                </a:lnTo>
                <a:lnTo>
                  <a:pt x="256" y="357"/>
                </a:lnTo>
                <a:lnTo>
                  <a:pt x="256" y="356"/>
                </a:lnTo>
                <a:lnTo>
                  <a:pt x="255" y="356"/>
                </a:lnTo>
                <a:lnTo>
                  <a:pt x="255" y="357"/>
                </a:lnTo>
                <a:lnTo>
                  <a:pt x="253" y="357"/>
                </a:lnTo>
                <a:lnTo>
                  <a:pt x="251" y="359"/>
                </a:lnTo>
                <a:lnTo>
                  <a:pt x="251" y="362"/>
                </a:lnTo>
                <a:lnTo>
                  <a:pt x="249" y="362"/>
                </a:lnTo>
                <a:lnTo>
                  <a:pt x="248" y="362"/>
                </a:lnTo>
                <a:lnTo>
                  <a:pt x="246" y="364"/>
                </a:lnTo>
                <a:lnTo>
                  <a:pt x="246" y="367"/>
                </a:lnTo>
                <a:lnTo>
                  <a:pt x="244" y="369"/>
                </a:lnTo>
                <a:lnTo>
                  <a:pt x="246" y="371"/>
                </a:lnTo>
                <a:lnTo>
                  <a:pt x="243" y="373"/>
                </a:lnTo>
                <a:lnTo>
                  <a:pt x="241" y="373"/>
                </a:lnTo>
                <a:lnTo>
                  <a:pt x="239" y="371"/>
                </a:lnTo>
                <a:lnTo>
                  <a:pt x="238" y="373"/>
                </a:lnTo>
                <a:lnTo>
                  <a:pt x="236" y="374"/>
                </a:lnTo>
                <a:lnTo>
                  <a:pt x="234" y="373"/>
                </a:lnTo>
                <a:lnTo>
                  <a:pt x="236" y="371"/>
                </a:lnTo>
                <a:lnTo>
                  <a:pt x="234" y="369"/>
                </a:lnTo>
                <a:lnTo>
                  <a:pt x="234" y="367"/>
                </a:lnTo>
                <a:lnTo>
                  <a:pt x="234" y="366"/>
                </a:lnTo>
                <a:lnTo>
                  <a:pt x="232" y="366"/>
                </a:lnTo>
                <a:lnTo>
                  <a:pt x="231" y="366"/>
                </a:lnTo>
                <a:lnTo>
                  <a:pt x="229" y="366"/>
                </a:lnTo>
                <a:lnTo>
                  <a:pt x="227" y="366"/>
                </a:lnTo>
                <a:lnTo>
                  <a:pt x="229" y="364"/>
                </a:lnTo>
                <a:lnTo>
                  <a:pt x="227" y="362"/>
                </a:lnTo>
                <a:lnTo>
                  <a:pt x="227" y="361"/>
                </a:lnTo>
                <a:lnTo>
                  <a:pt x="227" y="359"/>
                </a:lnTo>
                <a:lnTo>
                  <a:pt x="226" y="357"/>
                </a:lnTo>
                <a:lnTo>
                  <a:pt x="226" y="356"/>
                </a:lnTo>
                <a:lnTo>
                  <a:pt x="224" y="354"/>
                </a:lnTo>
                <a:lnTo>
                  <a:pt x="222" y="356"/>
                </a:lnTo>
                <a:lnTo>
                  <a:pt x="221" y="354"/>
                </a:lnTo>
                <a:lnTo>
                  <a:pt x="219" y="354"/>
                </a:lnTo>
                <a:lnTo>
                  <a:pt x="217" y="352"/>
                </a:lnTo>
                <a:lnTo>
                  <a:pt x="217" y="350"/>
                </a:lnTo>
                <a:lnTo>
                  <a:pt x="215" y="350"/>
                </a:lnTo>
                <a:lnTo>
                  <a:pt x="215" y="349"/>
                </a:lnTo>
                <a:lnTo>
                  <a:pt x="215" y="347"/>
                </a:lnTo>
                <a:lnTo>
                  <a:pt x="214" y="345"/>
                </a:lnTo>
                <a:lnTo>
                  <a:pt x="215" y="344"/>
                </a:lnTo>
                <a:lnTo>
                  <a:pt x="212" y="342"/>
                </a:lnTo>
                <a:lnTo>
                  <a:pt x="212" y="339"/>
                </a:lnTo>
                <a:lnTo>
                  <a:pt x="212" y="340"/>
                </a:lnTo>
                <a:lnTo>
                  <a:pt x="209" y="340"/>
                </a:lnTo>
                <a:lnTo>
                  <a:pt x="207" y="340"/>
                </a:lnTo>
                <a:lnTo>
                  <a:pt x="207" y="339"/>
                </a:lnTo>
                <a:lnTo>
                  <a:pt x="204" y="339"/>
                </a:lnTo>
                <a:lnTo>
                  <a:pt x="202" y="339"/>
                </a:lnTo>
                <a:lnTo>
                  <a:pt x="204" y="340"/>
                </a:lnTo>
                <a:lnTo>
                  <a:pt x="202" y="340"/>
                </a:lnTo>
                <a:lnTo>
                  <a:pt x="200" y="340"/>
                </a:lnTo>
                <a:lnTo>
                  <a:pt x="198" y="339"/>
                </a:lnTo>
                <a:lnTo>
                  <a:pt x="197" y="337"/>
                </a:lnTo>
                <a:lnTo>
                  <a:pt x="195" y="335"/>
                </a:lnTo>
                <a:lnTo>
                  <a:pt x="193" y="337"/>
                </a:lnTo>
                <a:lnTo>
                  <a:pt x="192" y="337"/>
                </a:lnTo>
                <a:lnTo>
                  <a:pt x="190" y="335"/>
                </a:lnTo>
                <a:lnTo>
                  <a:pt x="190" y="333"/>
                </a:lnTo>
                <a:lnTo>
                  <a:pt x="188" y="332"/>
                </a:lnTo>
                <a:lnTo>
                  <a:pt x="187" y="333"/>
                </a:lnTo>
                <a:lnTo>
                  <a:pt x="188" y="333"/>
                </a:lnTo>
                <a:lnTo>
                  <a:pt x="188" y="337"/>
                </a:lnTo>
                <a:lnTo>
                  <a:pt x="187" y="335"/>
                </a:lnTo>
                <a:lnTo>
                  <a:pt x="185" y="337"/>
                </a:lnTo>
                <a:lnTo>
                  <a:pt x="183" y="339"/>
                </a:lnTo>
                <a:lnTo>
                  <a:pt x="181" y="339"/>
                </a:lnTo>
                <a:lnTo>
                  <a:pt x="178" y="339"/>
                </a:lnTo>
                <a:lnTo>
                  <a:pt x="178" y="337"/>
                </a:lnTo>
                <a:lnTo>
                  <a:pt x="176" y="337"/>
                </a:lnTo>
                <a:lnTo>
                  <a:pt x="175" y="333"/>
                </a:lnTo>
                <a:lnTo>
                  <a:pt x="175" y="332"/>
                </a:lnTo>
                <a:lnTo>
                  <a:pt x="173" y="330"/>
                </a:lnTo>
                <a:lnTo>
                  <a:pt x="171" y="332"/>
                </a:lnTo>
                <a:lnTo>
                  <a:pt x="170" y="330"/>
                </a:lnTo>
                <a:lnTo>
                  <a:pt x="168" y="328"/>
                </a:lnTo>
                <a:lnTo>
                  <a:pt x="168" y="327"/>
                </a:lnTo>
                <a:lnTo>
                  <a:pt x="170" y="327"/>
                </a:lnTo>
                <a:lnTo>
                  <a:pt x="171" y="325"/>
                </a:lnTo>
                <a:lnTo>
                  <a:pt x="173" y="325"/>
                </a:lnTo>
                <a:lnTo>
                  <a:pt x="175" y="323"/>
                </a:lnTo>
                <a:lnTo>
                  <a:pt x="175" y="322"/>
                </a:lnTo>
                <a:lnTo>
                  <a:pt x="173" y="320"/>
                </a:lnTo>
                <a:lnTo>
                  <a:pt x="173" y="316"/>
                </a:lnTo>
                <a:lnTo>
                  <a:pt x="171" y="316"/>
                </a:lnTo>
                <a:lnTo>
                  <a:pt x="170" y="315"/>
                </a:lnTo>
                <a:lnTo>
                  <a:pt x="170" y="318"/>
                </a:lnTo>
                <a:lnTo>
                  <a:pt x="170" y="320"/>
                </a:lnTo>
                <a:lnTo>
                  <a:pt x="168" y="320"/>
                </a:lnTo>
                <a:lnTo>
                  <a:pt x="166" y="320"/>
                </a:lnTo>
                <a:lnTo>
                  <a:pt x="164" y="320"/>
                </a:lnTo>
                <a:lnTo>
                  <a:pt x="163" y="320"/>
                </a:lnTo>
                <a:lnTo>
                  <a:pt x="159" y="322"/>
                </a:lnTo>
                <a:lnTo>
                  <a:pt x="159" y="320"/>
                </a:lnTo>
                <a:lnTo>
                  <a:pt x="158" y="320"/>
                </a:lnTo>
                <a:lnTo>
                  <a:pt x="156" y="322"/>
                </a:lnTo>
                <a:lnTo>
                  <a:pt x="154" y="320"/>
                </a:lnTo>
                <a:lnTo>
                  <a:pt x="156" y="318"/>
                </a:lnTo>
                <a:lnTo>
                  <a:pt x="154" y="318"/>
                </a:lnTo>
                <a:lnTo>
                  <a:pt x="156" y="316"/>
                </a:lnTo>
                <a:lnTo>
                  <a:pt x="153" y="318"/>
                </a:lnTo>
                <a:lnTo>
                  <a:pt x="151" y="316"/>
                </a:lnTo>
                <a:lnTo>
                  <a:pt x="149" y="315"/>
                </a:lnTo>
                <a:lnTo>
                  <a:pt x="147" y="313"/>
                </a:lnTo>
                <a:lnTo>
                  <a:pt x="146" y="315"/>
                </a:lnTo>
                <a:lnTo>
                  <a:pt x="144" y="313"/>
                </a:lnTo>
                <a:lnTo>
                  <a:pt x="141" y="313"/>
                </a:lnTo>
                <a:lnTo>
                  <a:pt x="139" y="311"/>
                </a:lnTo>
                <a:lnTo>
                  <a:pt x="137" y="313"/>
                </a:lnTo>
                <a:lnTo>
                  <a:pt x="137" y="311"/>
                </a:lnTo>
                <a:lnTo>
                  <a:pt x="136" y="311"/>
                </a:lnTo>
                <a:lnTo>
                  <a:pt x="134" y="311"/>
                </a:lnTo>
                <a:lnTo>
                  <a:pt x="132" y="313"/>
                </a:lnTo>
                <a:lnTo>
                  <a:pt x="136" y="315"/>
                </a:lnTo>
                <a:lnTo>
                  <a:pt x="136" y="316"/>
                </a:lnTo>
                <a:lnTo>
                  <a:pt x="137" y="318"/>
                </a:lnTo>
                <a:lnTo>
                  <a:pt x="137" y="320"/>
                </a:lnTo>
                <a:lnTo>
                  <a:pt x="141" y="320"/>
                </a:lnTo>
                <a:lnTo>
                  <a:pt x="141" y="322"/>
                </a:lnTo>
                <a:lnTo>
                  <a:pt x="141" y="323"/>
                </a:lnTo>
                <a:lnTo>
                  <a:pt x="142" y="325"/>
                </a:lnTo>
                <a:lnTo>
                  <a:pt x="141" y="327"/>
                </a:lnTo>
                <a:lnTo>
                  <a:pt x="139" y="325"/>
                </a:lnTo>
                <a:lnTo>
                  <a:pt x="139" y="327"/>
                </a:lnTo>
                <a:lnTo>
                  <a:pt x="136" y="327"/>
                </a:lnTo>
                <a:lnTo>
                  <a:pt x="136" y="328"/>
                </a:lnTo>
                <a:lnTo>
                  <a:pt x="134" y="328"/>
                </a:lnTo>
                <a:lnTo>
                  <a:pt x="132" y="330"/>
                </a:lnTo>
                <a:lnTo>
                  <a:pt x="130" y="332"/>
                </a:lnTo>
                <a:lnTo>
                  <a:pt x="129" y="333"/>
                </a:lnTo>
                <a:lnTo>
                  <a:pt x="129" y="335"/>
                </a:lnTo>
                <a:lnTo>
                  <a:pt x="125" y="335"/>
                </a:lnTo>
                <a:lnTo>
                  <a:pt x="124" y="333"/>
                </a:lnTo>
                <a:lnTo>
                  <a:pt x="122" y="332"/>
                </a:lnTo>
                <a:lnTo>
                  <a:pt x="120" y="328"/>
                </a:lnTo>
                <a:lnTo>
                  <a:pt x="120" y="327"/>
                </a:lnTo>
                <a:lnTo>
                  <a:pt x="119" y="325"/>
                </a:lnTo>
                <a:lnTo>
                  <a:pt x="117" y="325"/>
                </a:lnTo>
                <a:lnTo>
                  <a:pt x="117" y="323"/>
                </a:lnTo>
                <a:lnTo>
                  <a:pt x="115" y="322"/>
                </a:lnTo>
                <a:lnTo>
                  <a:pt x="112" y="322"/>
                </a:lnTo>
                <a:lnTo>
                  <a:pt x="112" y="320"/>
                </a:lnTo>
                <a:lnTo>
                  <a:pt x="110" y="318"/>
                </a:lnTo>
                <a:lnTo>
                  <a:pt x="108" y="318"/>
                </a:lnTo>
                <a:lnTo>
                  <a:pt x="107" y="318"/>
                </a:lnTo>
                <a:lnTo>
                  <a:pt x="107" y="316"/>
                </a:lnTo>
                <a:lnTo>
                  <a:pt x="105" y="316"/>
                </a:lnTo>
                <a:lnTo>
                  <a:pt x="103" y="315"/>
                </a:lnTo>
                <a:lnTo>
                  <a:pt x="103" y="313"/>
                </a:lnTo>
                <a:lnTo>
                  <a:pt x="105" y="313"/>
                </a:lnTo>
                <a:lnTo>
                  <a:pt x="105" y="311"/>
                </a:lnTo>
                <a:lnTo>
                  <a:pt x="107" y="311"/>
                </a:lnTo>
                <a:lnTo>
                  <a:pt x="108" y="310"/>
                </a:lnTo>
                <a:lnTo>
                  <a:pt x="110" y="310"/>
                </a:lnTo>
                <a:lnTo>
                  <a:pt x="110" y="308"/>
                </a:lnTo>
                <a:lnTo>
                  <a:pt x="112" y="308"/>
                </a:lnTo>
                <a:lnTo>
                  <a:pt x="112" y="305"/>
                </a:lnTo>
                <a:lnTo>
                  <a:pt x="113" y="303"/>
                </a:lnTo>
                <a:lnTo>
                  <a:pt x="112" y="301"/>
                </a:lnTo>
                <a:lnTo>
                  <a:pt x="110" y="299"/>
                </a:lnTo>
                <a:lnTo>
                  <a:pt x="108" y="299"/>
                </a:lnTo>
                <a:lnTo>
                  <a:pt x="108" y="298"/>
                </a:lnTo>
                <a:lnTo>
                  <a:pt x="105" y="298"/>
                </a:lnTo>
                <a:lnTo>
                  <a:pt x="103" y="298"/>
                </a:lnTo>
                <a:lnTo>
                  <a:pt x="103" y="301"/>
                </a:lnTo>
                <a:lnTo>
                  <a:pt x="102" y="301"/>
                </a:lnTo>
                <a:lnTo>
                  <a:pt x="102" y="299"/>
                </a:lnTo>
                <a:lnTo>
                  <a:pt x="98" y="299"/>
                </a:lnTo>
                <a:lnTo>
                  <a:pt x="96" y="301"/>
                </a:lnTo>
                <a:lnTo>
                  <a:pt x="96" y="303"/>
                </a:lnTo>
                <a:lnTo>
                  <a:pt x="95" y="303"/>
                </a:lnTo>
                <a:lnTo>
                  <a:pt x="93" y="303"/>
                </a:lnTo>
                <a:lnTo>
                  <a:pt x="93" y="301"/>
                </a:lnTo>
                <a:lnTo>
                  <a:pt x="95" y="301"/>
                </a:lnTo>
                <a:lnTo>
                  <a:pt x="93" y="301"/>
                </a:lnTo>
                <a:lnTo>
                  <a:pt x="93" y="298"/>
                </a:lnTo>
                <a:lnTo>
                  <a:pt x="91" y="298"/>
                </a:lnTo>
                <a:lnTo>
                  <a:pt x="90" y="298"/>
                </a:lnTo>
                <a:lnTo>
                  <a:pt x="88" y="299"/>
                </a:lnTo>
                <a:lnTo>
                  <a:pt x="86" y="299"/>
                </a:lnTo>
                <a:lnTo>
                  <a:pt x="86" y="296"/>
                </a:lnTo>
                <a:lnTo>
                  <a:pt x="85" y="296"/>
                </a:lnTo>
                <a:lnTo>
                  <a:pt x="85" y="293"/>
                </a:lnTo>
                <a:lnTo>
                  <a:pt x="83" y="294"/>
                </a:lnTo>
                <a:lnTo>
                  <a:pt x="81" y="294"/>
                </a:lnTo>
                <a:lnTo>
                  <a:pt x="79" y="294"/>
                </a:lnTo>
                <a:lnTo>
                  <a:pt x="78" y="294"/>
                </a:lnTo>
                <a:lnTo>
                  <a:pt x="76" y="293"/>
                </a:lnTo>
                <a:lnTo>
                  <a:pt x="74" y="293"/>
                </a:lnTo>
                <a:lnTo>
                  <a:pt x="73" y="293"/>
                </a:lnTo>
                <a:lnTo>
                  <a:pt x="71" y="293"/>
                </a:lnTo>
                <a:lnTo>
                  <a:pt x="69" y="293"/>
                </a:lnTo>
                <a:lnTo>
                  <a:pt x="68" y="291"/>
                </a:lnTo>
                <a:lnTo>
                  <a:pt x="66" y="293"/>
                </a:lnTo>
                <a:lnTo>
                  <a:pt x="64" y="293"/>
                </a:lnTo>
                <a:lnTo>
                  <a:pt x="64" y="291"/>
                </a:lnTo>
                <a:lnTo>
                  <a:pt x="64" y="289"/>
                </a:lnTo>
                <a:lnTo>
                  <a:pt x="62" y="288"/>
                </a:lnTo>
                <a:lnTo>
                  <a:pt x="61" y="286"/>
                </a:lnTo>
                <a:lnTo>
                  <a:pt x="59" y="282"/>
                </a:lnTo>
                <a:lnTo>
                  <a:pt x="61" y="281"/>
                </a:lnTo>
                <a:lnTo>
                  <a:pt x="59" y="279"/>
                </a:lnTo>
                <a:lnTo>
                  <a:pt x="57" y="279"/>
                </a:lnTo>
                <a:lnTo>
                  <a:pt x="56" y="279"/>
                </a:lnTo>
                <a:lnTo>
                  <a:pt x="56" y="277"/>
                </a:lnTo>
                <a:lnTo>
                  <a:pt x="54" y="279"/>
                </a:lnTo>
                <a:lnTo>
                  <a:pt x="52" y="279"/>
                </a:lnTo>
                <a:lnTo>
                  <a:pt x="52" y="277"/>
                </a:lnTo>
                <a:lnTo>
                  <a:pt x="51" y="277"/>
                </a:lnTo>
                <a:lnTo>
                  <a:pt x="49" y="277"/>
                </a:lnTo>
                <a:lnTo>
                  <a:pt x="47" y="279"/>
                </a:lnTo>
                <a:lnTo>
                  <a:pt x="45" y="281"/>
                </a:lnTo>
                <a:lnTo>
                  <a:pt x="47" y="281"/>
                </a:lnTo>
                <a:lnTo>
                  <a:pt x="49" y="281"/>
                </a:lnTo>
                <a:lnTo>
                  <a:pt x="49" y="282"/>
                </a:lnTo>
                <a:lnTo>
                  <a:pt x="47" y="284"/>
                </a:lnTo>
                <a:lnTo>
                  <a:pt x="49" y="286"/>
                </a:lnTo>
                <a:lnTo>
                  <a:pt x="49" y="288"/>
                </a:lnTo>
                <a:lnTo>
                  <a:pt x="45" y="289"/>
                </a:lnTo>
                <a:lnTo>
                  <a:pt x="44" y="288"/>
                </a:lnTo>
                <a:lnTo>
                  <a:pt x="44" y="289"/>
                </a:lnTo>
                <a:lnTo>
                  <a:pt x="42" y="288"/>
                </a:lnTo>
                <a:lnTo>
                  <a:pt x="40" y="289"/>
                </a:lnTo>
                <a:lnTo>
                  <a:pt x="40" y="288"/>
                </a:lnTo>
                <a:lnTo>
                  <a:pt x="42" y="286"/>
                </a:lnTo>
                <a:lnTo>
                  <a:pt x="42" y="284"/>
                </a:lnTo>
                <a:lnTo>
                  <a:pt x="44" y="284"/>
                </a:lnTo>
                <a:lnTo>
                  <a:pt x="44" y="281"/>
                </a:lnTo>
                <a:lnTo>
                  <a:pt x="44" y="279"/>
                </a:lnTo>
                <a:lnTo>
                  <a:pt x="45" y="277"/>
                </a:lnTo>
                <a:lnTo>
                  <a:pt x="45" y="276"/>
                </a:lnTo>
                <a:lnTo>
                  <a:pt x="45" y="274"/>
                </a:lnTo>
                <a:lnTo>
                  <a:pt x="45" y="271"/>
                </a:lnTo>
                <a:lnTo>
                  <a:pt x="47" y="271"/>
                </a:lnTo>
                <a:lnTo>
                  <a:pt x="47" y="267"/>
                </a:lnTo>
                <a:lnTo>
                  <a:pt x="47" y="265"/>
                </a:lnTo>
                <a:lnTo>
                  <a:pt x="47" y="264"/>
                </a:lnTo>
                <a:lnTo>
                  <a:pt x="47" y="262"/>
                </a:lnTo>
                <a:lnTo>
                  <a:pt x="47" y="260"/>
                </a:lnTo>
                <a:lnTo>
                  <a:pt x="47" y="259"/>
                </a:lnTo>
                <a:lnTo>
                  <a:pt x="45" y="257"/>
                </a:lnTo>
                <a:lnTo>
                  <a:pt x="44" y="253"/>
                </a:lnTo>
                <a:lnTo>
                  <a:pt x="45" y="253"/>
                </a:lnTo>
                <a:lnTo>
                  <a:pt x="44" y="252"/>
                </a:lnTo>
                <a:lnTo>
                  <a:pt x="44" y="248"/>
                </a:lnTo>
                <a:lnTo>
                  <a:pt x="44" y="247"/>
                </a:lnTo>
                <a:lnTo>
                  <a:pt x="42" y="245"/>
                </a:lnTo>
                <a:lnTo>
                  <a:pt x="39" y="245"/>
                </a:lnTo>
                <a:lnTo>
                  <a:pt x="35" y="243"/>
                </a:lnTo>
                <a:lnTo>
                  <a:pt x="34" y="243"/>
                </a:lnTo>
                <a:lnTo>
                  <a:pt x="32" y="240"/>
                </a:lnTo>
                <a:lnTo>
                  <a:pt x="34" y="238"/>
                </a:lnTo>
                <a:lnTo>
                  <a:pt x="34" y="236"/>
                </a:lnTo>
                <a:lnTo>
                  <a:pt x="34" y="233"/>
                </a:lnTo>
                <a:lnTo>
                  <a:pt x="32" y="231"/>
                </a:lnTo>
                <a:lnTo>
                  <a:pt x="30" y="231"/>
                </a:lnTo>
                <a:lnTo>
                  <a:pt x="30" y="230"/>
                </a:lnTo>
                <a:lnTo>
                  <a:pt x="28" y="228"/>
                </a:lnTo>
                <a:lnTo>
                  <a:pt x="28" y="225"/>
                </a:lnTo>
                <a:lnTo>
                  <a:pt x="25" y="223"/>
                </a:lnTo>
                <a:lnTo>
                  <a:pt x="27" y="221"/>
                </a:lnTo>
                <a:lnTo>
                  <a:pt x="28" y="219"/>
                </a:lnTo>
                <a:lnTo>
                  <a:pt x="28" y="218"/>
                </a:lnTo>
                <a:lnTo>
                  <a:pt x="30" y="218"/>
                </a:lnTo>
                <a:lnTo>
                  <a:pt x="30" y="214"/>
                </a:lnTo>
                <a:lnTo>
                  <a:pt x="30" y="213"/>
                </a:lnTo>
                <a:lnTo>
                  <a:pt x="30" y="209"/>
                </a:lnTo>
                <a:lnTo>
                  <a:pt x="32" y="208"/>
                </a:lnTo>
                <a:lnTo>
                  <a:pt x="32" y="206"/>
                </a:lnTo>
                <a:lnTo>
                  <a:pt x="32" y="204"/>
                </a:lnTo>
                <a:lnTo>
                  <a:pt x="28" y="204"/>
                </a:lnTo>
                <a:lnTo>
                  <a:pt x="28" y="202"/>
                </a:lnTo>
                <a:lnTo>
                  <a:pt x="28" y="201"/>
                </a:lnTo>
                <a:lnTo>
                  <a:pt x="28" y="199"/>
                </a:lnTo>
                <a:lnTo>
                  <a:pt x="28" y="197"/>
                </a:lnTo>
                <a:lnTo>
                  <a:pt x="28" y="196"/>
                </a:lnTo>
                <a:lnTo>
                  <a:pt x="28" y="194"/>
                </a:lnTo>
                <a:lnTo>
                  <a:pt x="28" y="192"/>
                </a:lnTo>
                <a:lnTo>
                  <a:pt x="27" y="192"/>
                </a:lnTo>
                <a:lnTo>
                  <a:pt x="25" y="192"/>
                </a:lnTo>
                <a:lnTo>
                  <a:pt x="23" y="192"/>
                </a:lnTo>
                <a:lnTo>
                  <a:pt x="23" y="191"/>
                </a:lnTo>
                <a:lnTo>
                  <a:pt x="23" y="189"/>
                </a:lnTo>
                <a:lnTo>
                  <a:pt x="22" y="187"/>
                </a:lnTo>
                <a:lnTo>
                  <a:pt x="22" y="185"/>
                </a:lnTo>
                <a:lnTo>
                  <a:pt x="22" y="184"/>
                </a:lnTo>
                <a:lnTo>
                  <a:pt x="22" y="180"/>
                </a:lnTo>
                <a:lnTo>
                  <a:pt x="23" y="180"/>
                </a:lnTo>
                <a:lnTo>
                  <a:pt x="23" y="179"/>
                </a:lnTo>
                <a:lnTo>
                  <a:pt x="25" y="175"/>
                </a:lnTo>
                <a:lnTo>
                  <a:pt x="23" y="174"/>
                </a:lnTo>
                <a:lnTo>
                  <a:pt x="23" y="172"/>
                </a:lnTo>
                <a:lnTo>
                  <a:pt x="25" y="170"/>
                </a:lnTo>
                <a:lnTo>
                  <a:pt x="23" y="170"/>
                </a:lnTo>
                <a:lnTo>
                  <a:pt x="23" y="168"/>
                </a:lnTo>
                <a:lnTo>
                  <a:pt x="22" y="167"/>
                </a:lnTo>
                <a:lnTo>
                  <a:pt x="18" y="167"/>
                </a:lnTo>
                <a:lnTo>
                  <a:pt x="17" y="165"/>
                </a:lnTo>
                <a:lnTo>
                  <a:pt x="17" y="163"/>
                </a:lnTo>
                <a:lnTo>
                  <a:pt x="15" y="163"/>
                </a:lnTo>
                <a:lnTo>
                  <a:pt x="15" y="162"/>
                </a:lnTo>
                <a:lnTo>
                  <a:pt x="13" y="160"/>
                </a:lnTo>
                <a:lnTo>
                  <a:pt x="11" y="160"/>
                </a:lnTo>
                <a:lnTo>
                  <a:pt x="11" y="158"/>
                </a:lnTo>
                <a:lnTo>
                  <a:pt x="10" y="158"/>
                </a:lnTo>
                <a:lnTo>
                  <a:pt x="8" y="157"/>
                </a:lnTo>
                <a:lnTo>
                  <a:pt x="6" y="155"/>
                </a:lnTo>
                <a:lnTo>
                  <a:pt x="5" y="155"/>
                </a:lnTo>
                <a:lnTo>
                  <a:pt x="3" y="155"/>
                </a:lnTo>
                <a:lnTo>
                  <a:pt x="1" y="153"/>
                </a:lnTo>
                <a:lnTo>
                  <a:pt x="3" y="151"/>
                </a:lnTo>
                <a:lnTo>
                  <a:pt x="3" y="150"/>
                </a:lnTo>
                <a:lnTo>
                  <a:pt x="3" y="148"/>
                </a:lnTo>
                <a:lnTo>
                  <a:pt x="1" y="146"/>
                </a:lnTo>
                <a:lnTo>
                  <a:pt x="1" y="145"/>
                </a:lnTo>
                <a:lnTo>
                  <a:pt x="3" y="143"/>
                </a:lnTo>
                <a:lnTo>
                  <a:pt x="6" y="143"/>
                </a:lnTo>
                <a:lnTo>
                  <a:pt x="6" y="141"/>
                </a:lnTo>
                <a:lnTo>
                  <a:pt x="8" y="140"/>
                </a:lnTo>
                <a:lnTo>
                  <a:pt x="10" y="138"/>
                </a:lnTo>
                <a:lnTo>
                  <a:pt x="11" y="136"/>
                </a:lnTo>
                <a:lnTo>
                  <a:pt x="11" y="134"/>
                </a:lnTo>
                <a:lnTo>
                  <a:pt x="11" y="131"/>
                </a:lnTo>
                <a:lnTo>
                  <a:pt x="10" y="129"/>
                </a:lnTo>
                <a:lnTo>
                  <a:pt x="11" y="128"/>
                </a:lnTo>
                <a:lnTo>
                  <a:pt x="11" y="126"/>
                </a:lnTo>
                <a:lnTo>
                  <a:pt x="13" y="124"/>
                </a:lnTo>
                <a:lnTo>
                  <a:pt x="13" y="123"/>
                </a:lnTo>
                <a:lnTo>
                  <a:pt x="11" y="123"/>
                </a:lnTo>
                <a:lnTo>
                  <a:pt x="11" y="119"/>
                </a:lnTo>
                <a:lnTo>
                  <a:pt x="11" y="117"/>
                </a:lnTo>
                <a:lnTo>
                  <a:pt x="11" y="116"/>
                </a:lnTo>
                <a:lnTo>
                  <a:pt x="10" y="112"/>
                </a:lnTo>
                <a:lnTo>
                  <a:pt x="10" y="111"/>
                </a:lnTo>
                <a:lnTo>
                  <a:pt x="10" y="109"/>
                </a:lnTo>
                <a:lnTo>
                  <a:pt x="8" y="109"/>
                </a:lnTo>
                <a:lnTo>
                  <a:pt x="8" y="107"/>
                </a:lnTo>
                <a:lnTo>
                  <a:pt x="8" y="106"/>
                </a:lnTo>
                <a:lnTo>
                  <a:pt x="6" y="104"/>
                </a:lnTo>
                <a:lnTo>
                  <a:pt x="6" y="102"/>
                </a:lnTo>
                <a:lnTo>
                  <a:pt x="6" y="100"/>
                </a:lnTo>
                <a:lnTo>
                  <a:pt x="6" y="99"/>
                </a:lnTo>
                <a:lnTo>
                  <a:pt x="5" y="97"/>
                </a:lnTo>
                <a:lnTo>
                  <a:pt x="5" y="95"/>
                </a:lnTo>
                <a:lnTo>
                  <a:pt x="5" y="94"/>
                </a:lnTo>
                <a:lnTo>
                  <a:pt x="6" y="92"/>
                </a:lnTo>
                <a:lnTo>
                  <a:pt x="5" y="90"/>
                </a:lnTo>
                <a:lnTo>
                  <a:pt x="6" y="90"/>
                </a:lnTo>
                <a:lnTo>
                  <a:pt x="8" y="92"/>
                </a:lnTo>
                <a:lnTo>
                  <a:pt x="10" y="94"/>
                </a:lnTo>
                <a:lnTo>
                  <a:pt x="11" y="94"/>
                </a:lnTo>
                <a:lnTo>
                  <a:pt x="15" y="95"/>
                </a:lnTo>
                <a:lnTo>
                  <a:pt x="17" y="99"/>
                </a:lnTo>
                <a:lnTo>
                  <a:pt x="18" y="100"/>
                </a:lnTo>
                <a:lnTo>
                  <a:pt x="18" y="97"/>
                </a:lnTo>
                <a:lnTo>
                  <a:pt x="18" y="95"/>
                </a:lnTo>
                <a:lnTo>
                  <a:pt x="17" y="95"/>
                </a:lnTo>
                <a:lnTo>
                  <a:pt x="15" y="94"/>
                </a:lnTo>
                <a:lnTo>
                  <a:pt x="15" y="92"/>
                </a:lnTo>
                <a:lnTo>
                  <a:pt x="17" y="90"/>
                </a:lnTo>
                <a:lnTo>
                  <a:pt x="17" y="88"/>
                </a:lnTo>
                <a:lnTo>
                  <a:pt x="17" y="87"/>
                </a:lnTo>
                <a:lnTo>
                  <a:pt x="17" y="88"/>
                </a:lnTo>
                <a:lnTo>
                  <a:pt x="18" y="87"/>
                </a:lnTo>
                <a:lnTo>
                  <a:pt x="18" y="85"/>
                </a:lnTo>
                <a:lnTo>
                  <a:pt x="18" y="83"/>
                </a:lnTo>
                <a:lnTo>
                  <a:pt x="18" y="82"/>
                </a:lnTo>
                <a:lnTo>
                  <a:pt x="18" y="80"/>
                </a:lnTo>
                <a:lnTo>
                  <a:pt x="20" y="78"/>
                </a:lnTo>
                <a:lnTo>
                  <a:pt x="22" y="77"/>
                </a:lnTo>
                <a:lnTo>
                  <a:pt x="22" y="75"/>
                </a:lnTo>
                <a:lnTo>
                  <a:pt x="23" y="75"/>
                </a:lnTo>
                <a:lnTo>
                  <a:pt x="23" y="73"/>
                </a:lnTo>
                <a:lnTo>
                  <a:pt x="25" y="71"/>
                </a:lnTo>
                <a:lnTo>
                  <a:pt x="23" y="71"/>
                </a:lnTo>
                <a:lnTo>
                  <a:pt x="25" y="70"/>
                </a:lnTo>
                <a:lnTo>
                  <a:pt x="25" y="68"/>
                </a:lnTo>
                <a:lnTo>
                  <a:pt x="23" y="68"/>
                </a:lnTo>
                <a:lnTo>
                  <a:pt x="22" y="70"/>
                </a:lnTo>
                <a:lnTo>
                  <a:pt x="22" y="68"/>
                </a:lnTo>
                <a:lnTo>
                  <a:pt x="25" y="68"/>
                </a:lnTo>
                <a:lnTo>
                  <a:pt x="27" y="66"/>
                </a:lnTo>
                <a:lnTo>
                  <a:pt x="28" y="66"/>
                </a:lnTo>
                <a:lnTo>
                  <a:pt x="32" y="65"/>
                </a:lnTo>
                <a:lnTo>
                  <a:pt x="35" y="63"/>
                </a:lnTo>
                <a:lnTo>
                  <a:pt x="37" y="63"/>
                </a:lnTo>
                <a:lnTo>
                  <a:pt x="39" y="61"/>
                </a:lnTo>
                <a:lnTo>
                  <a:pt x="40" y="61"/>
                </a:lnTo>
                <a:lnTo>
                  <a:pt x="42" y="60"/>
                </a:lnTo>
                <a:lnTo>
                  <a:pt x="44" y="58"/>
                </a:lnTo>
                <a:lnTo>
                  <a:pt x="45" y="58"/>
                </a:lnTo>
                <a:lnTo>
                  <a:pt x="47" y="58"/>
                </a:lnTo>
                <a:lnTo>
                  <a:pt x="49" y="58"/>
                </a:lnTo>
                <a:lnTo>
                  <a:pt x="52" y="56"/>
                </a:lnTo>
                <a:lnTo>
                  <a:pt x="54" y="54"/>
                </a:lnTo>
                <a:lnTo>
                  <a:pt x="56" y="54"/>
                </a:lnTo>
                <a:lnTo>
                  <a:pt x="57" y="54"/>
                </a:lnTo>
                <a:lnTo>
                  <a:pt x="59" y="54"/>
                </a:lnTo>
                <a:lnTo>
                  <a:pt x="61" y="53"/>
                </a:lnTo>
                <a:lnTo>
                  <a:pt x="62" y="53"/>
                </a:lnTo>
                <a:lnTo>
                  <a:pt x="66" y="51"/>
                </a:lnTo>
                <a:lnTo>
                  <a:pt x="68" y="49"/>
                </a:lnTo>
                <a:lnTo>
                  <a:pt x="69" y="49"/>
                </a:lnTo>
                <a:lnTo>
                  <a:pt x="71" y="49"/>
                </a:lnTo>
                <a:lnTo>
                  <a:pt x="73" y="49"/>
                </a:lnTo>
                <a:lnTo>
                  <a:pt x="76" y="48"/>
                </a:lnTo>
                <a:lnTo>
                  <a:pt x="78" y="46"/>
                </a:lnTo>
                <a:lnTo>
                  <a:pt x="76" y="48"/>
                </a:lnTo>
                <a:lnTo>
                  <a:pt x="74" y="49"/>
                </a:lnTo>
                <a:lnTo>
                  <a:pt x="76" y="48"/>
                </a:lnTo>
                <a:lnTo>
                  <a:pt x="78" y="49"/>
                </a:lnTo>
                <a:lnTo>
                  <a:pt x="79" y="48"/>
                </a:lnTo>
                <a:lnTo>
                  <a:pt x="81" y="46"/>
                </a:lnTo>
                <a:lnTo>
                  <a:pt x="79" y="44"/>
                </a:lnTo>
                <a:lnTo>
                  <a:pt x="78" y="46"/>
                </a:lnTo>
                <a:lnTo>
                  <a:pt x="79" y="44"/>
                </a:lnTo>
                <a:lnTo>
                  <a:pt x="81" y="44"/>
                </a:lnTo>
                <a:lnTo>
                  <a:pt x="81" y="43"/>
                </a:lnTo>
                <a:lnTo>
                  <a:pt x="83" y="41"/>
                </a:lnTo>
                <a:lnTo>
                  <a:pt x="85" y="39"/>
                </a:lnTo>
                <a:lnTo>
                  <a:pt x="85" y="37"/>
                </a:lnTo>
                <a:lnTo>
                  <a:pt x="86" y="34"/>
                </a:lnTo>
                <a:lnTo>
                  <a:pt x="88" y="34"/>
                </a:lnTo>
                <a:lnTo>
                  <a:pt x="88" y="32"/>
                </a:lnTo>
                <a:lnTo>
                  <a:pt x="88" y="31"/>
                </a:lnTo>
                <a:lnTo>
                  <a:pt x="90" y="29"/>
                </a:lnTo>
                <a:lnTo>
                  <a:pt x="91" y="27"/>
                </a:lnTo>
                <a:lnTo>
                  <a:pt x="93" y="27"/>
                </a:lnTo>
                <a:lnTo>
                  <a:pt x="95" y="26"/>
                </a:lnTo>
                <a:lnTo>
                  <a:pt x="98" y="26"/>
                </a:lnTo>
                <a:lnTo>
                  <a:pt x="98" y="24"/>
                </a:lnTo>
                <a:lnTo>
                  <a:pt x="102" y="24"/>
                </a:lnTo>
                <a:lnTo>
                  <a:pt x="103" y="24"/>
                </a:lnTo>
                <a:lnTo>
                  <a:pt x="103" y="22"/>
                </a:lnTo>
                <a:lnTo>
                  <a:pt x="105" y="22"/>
                </a:lnTo>
                <a:lnTo>
                  <a:pt x="107" y="22"/>
                </a:lnTo>
                <a:lnTo>
                  <a:pt x="108" y="20"/>
                </a:lnTo>
                <a:lnTo>
                  <a:pt x="110" y="19"/>
                </a:lnTo>
                <a:lnTo>
                  <a:pt x="112" y="17"/>
                </a:lnTo>
                <a:lnTo>
                  <a:pt x="113" y="15"/>
                </a:lnTo>
                <a:lnTo>
                  <a:pt x="115" y="15"/>
                </a:lnTo>
                <a:lnTo>
                  <a:pt x="117" y="14"/>
                </a:lnTo>
                <a:lnTo>
                  <a:pt x="117" y="12"/>
                </a:lnTo>
                <a:lnTo>
                  <a:pt x="119" y="12"/>
                </a:lnTo>
                <a:lnTo>
                  <a:pt x="120" y="10"/>
                </a:lnTo>
                <a:lnTo>
                  <a:pt x="124" y="10"/>
                </a:lnTo>
                <a:lnTo>
                  <a:pt x="125" y="9"/>
                </a:lnTo>
                <a:lnTo>
                  <a:pt x="129" y="9"/>
                </a:lnTo>
                <a:lnTo>
                  <a:pt x="130" y="7"/>
                </a:lnTo>
                <a:lnTo>
                  <a:pt x="132" y="7"/>
                </a:lnTo>
                <a:lnTo>
                  <a:pt x="134" y="7"/>
                </a:lnTo>
                <a:lnTo>
                  <a:pt x="137" y="5"/>
                </a:lnTo>
                <a:lnTo>
                  <a:pt x="139" y="3"/>
                </a:lnTo>
                <a:lnTo>
                  <a:pt x="142" y="3"/>
                </a:lnTo>
                <a:lnTo>
                  <a:pt x="144" y="2"/>
                </a:lnTo>
                <a:lnTo>
                  <a:pt x="146" y="2"/>
                </a:lnTo>
                <a:lnTo>
                  <a:pt x="147" y="2"/>
                </a:lnTo>
                <a:lnTo>
                  <a:pt x="151" y="0"/>
                </a:lnTo>
                <a:lnTo>
                  <a:pt x="153" y="0"/>
                </a:lnTo>
                <a:lnTo>
                  <a:pt x="154" y="0"/>
                </a:lnTo>
                <a:lnTo>
                  <a:pt x="156" y="0"/>
                </a:lnTo>
                <a:lnTo>
                  <a:pt x="158" y="0"/>
                </a:lnTo>
                <a:lnTo>
                  <a:pt x="161" y="0"/>
                </a:lnTo>
                <a:lnTo>
                  <a:pt x="163" y="0"/>
                </a:lnTo>
                <a:lnTo>
                  <a:pt x="164" y="0"/>
                </a:lnTo>
                <a:lnTo>
                  <a:pt x="166" y="2"/>
                </a:lnTo>
                <a:lnTo>
                  <a:pt x="168" y="2"/>
                </a:lnTo>
                <a:lnTo>
                  <a:pt x="168" y="3"/>
                </a:lnTo>
                <a:lnTo>
                  <a:pt x="171" y="3"/>
                </a:lnTo>
                <a:lnTo>
                  <a:pt x="173" y="5"/>
                </a:lnTo>
                <a:lnTo>
                  <a:pt x="175" y="5"/>
                </a:lnTo>
                <a:lnTo>
                  <a:pt x="176" y="7"/>
                </a:lnTo>
                <a:lnTo>
                  <a:pt x="178" y="7"/>
                </a:lnTo>
                <a:lnTo>
                  <a:pt x="180" y="9"/>
                </a:lnTo>
                <a:lnTo>
                  <a:pt x="181" y="10"/>
                </a:lnTo>
                <a:lnTo>
                  <a:pt x="183" y="12"/>
                </a:lnTo>
                <a:lnTo>
                  <a:pt x="183" y="14"/>
                </a:lnTo>
                <a:lnTo>
                  <a:pt x="181" y="12"/>
                </a:lnTo>
                <a:lnTo>
                  <a:pt x="181" y="10"/>
                </a:lnTo>
                <a:lnTo>
                  <a:pt x="180" y="10"/>
                </a:lnTo>
                <a:lnTo>
                  <a:pt x="178" y="9"/>
                </a:lnTo>
                <a:lnTo>
                  <a:pt x="176" y="7"/>
                </a:lnTo>
                <a:lnTo>
                  <a:pt x="175" y="5"/>
                </a:lnTo>
                <a:lnTo>
                  <a:pt x="173" y="5"/>
                </a:lnTo>
                <a:lnTo>
                  <a:pt x="171" y="5"/>
                </a:lnTo>
                <a:lnTo>
                  <a:pt x="171" y="3"/>
                </a:lnTo>
                <a:lnTo>
                  <a:pt x="170" y="3"/>
                </a:lnTo>
                <a:lnTo>
                  <a:pt x="168" y="3"/>
                </a:lnTo>
                <a:lnTo>
                  <a:pt x="166" y="2"/>
                </a:lnTo>
                <a:lnTo>
                  <a:pt x="166" y="3"/>
                </a:lnTo>
                <a:lnTo>
                  <a:pt x="166" y="5"/>
                </a:lnTo>
                <a:lnTo>
                  <a:pt x="166" y="7"/>
                </a:lnTo>
                <a:lnTo>
                  <a:pt x="170" y="9"/>
                </a:lnTo>
                <a:lnTo>
                  <a:pt x="170" y="10"/>
                </a:lnTo>
                <a:lnTo>
                  <a:pt x="170" y="12"/>
                </a:lnTo>
                <a:lnTo>
                  <a:pt x="171" y="12"/>
                </a:lnTo>
                <a:lnTo>
                  <a:pt x="171" y="14"/>
                </a:lnTo>
                <a:lnTo>
                  <a:pt x="173" y="15"/>
                </a:lnTo>
                <a:lnTo>
                  <a:pt x="175" y="19"/>
                </a:lnTo>
                <a:lnTo>
                  <a:pt x="173" y="20"/>
                </a:lnTo>
                <a:lnTo>
                  <a:pt x="175" y="20"/>
                </a:lnTo>
                <a:lnTo>
                  <a:pt x="173" y="20"/>
                </a:lnTo>
                <a:lnTo>
                  <a:pt x="175" y="22"/>
                </a:lnTo>
                <a:lnTo>
                  <a:pt x="175" y="26"/>
                </a:lnTo>
                <a:lnTo>
                  <a:pt x="176" y="26"/>
                </a:lnTo>
                <a:lnTo>
                  <a:pt x="178" y="27"/>
                </a:lnTo>
                <a:lnTo>
                  <a:pt x="180" y="27"/>
                </a:lnTo>
                <a:lnTo>
                  <a:pt x="181" y="27"/>
                </a:lnTo>
                <a:lnTo>
                  <a:pt x="180" y="27"/>
                </a:lnTo>
                <a:lnTo>
                  <a:pt x="181" y="29"/>
                </a:lnTo>
                <a:lnTo>
                  <a:pt x="185" y="29"/>
                </a:lnTo>
                <a:lnTo>
                  <a:pt x="187" y="31"/>
                </a:lnTo>
                <a:lnTo>
                  <a:pt x="190" y="31"/>
                </a:lnTo>
                <a:lnTo>
                  <a:pt x="192" y="29"/>
                </a:lnTo>
                <a:lnTo>
                  <a:pt x="193" y="31"/>
                </a:lnTo>
                <a:lnTo>
                  <a:pt x="195" y="31"/>
                </a:lnTo>
                <a:lnTo>
                  <a:pt x="198" y="29"/>
                </a:lnTo>
                <a:lnTo>
                  <a:pt x="200" y="29"/>
                </a:lnTo>
                <a:lnTo>
                  <a:pt x="202" y="29"/>
                </a:lnTo>
                <a:lnTo>
                  <a:pt x="204" y="27"/>
                </a:lnTo>
                <a:lnTo>
                  <a:pt x="205" y="27"/>
                </a:lnTo>
                <a:lnTo>
                  <a:pt x="209" y="26"/>
                </a:lnTo>
                <a:lnTo>
                  <a:pt x="210" y="26"/>
                </a:lnTo>
                <a:lnTo>
                  <a:pt x="212" y="24"/>
                </a:lnTo>
                <a:lnTo>
                  <a:pt x="214" y="22"/>
                </a:lnTo>
                <a:lnTo>
                  <a:pt x="215" y="20"/>
                </a:lnTo>
                <a:lnTo>
                  <a:pt x="217" y="20"/>
                </a:lnTo>
                <a:lnTo>
                  <a:pt x="219" y="19"/>
                </a:lnTo>
                <a:close/>
                <a:moveTo>
                  <a:pt x="23" y="70"/>
                </a:moveTo>
                <a:lnTo>
                  <a:pt x="22" y="70"/>
                </a:lnTo>
                <a:lnTo>
                  <a:pt x="20" y="71"/>
                </a:lnTo>
                <a:lnTo>
                  <a:pt x="20" y="75"/>
                </a:lnTo>
                <a:lnTo>
                  <a:pt x="20" y="77"/>
                </a:lnTo>
                <a:lnTo>
                  <a:pt x="18" y="78"/>
                </a:lnTo>
                <a:lnTo>
                  <a:pt x="18" y="80"/>
                </a:lnTo>
                <a:lnTo>
                  <a:pt x="18" y="83"/>
                </a:lnTo>
                <a:lnTo>
                  <a:pt x="17" y="83"/>
                </a:lnTo>
                <a:lnTo>
                  <a:pt x="17" y="85"/>
                </a:lnTo>
                <a:lnTo>
                  <a:pt x="17" y="83"/>
                </a:lnTo>
                <a:lnTo>
                  <a:pt x="17" y="82"/>
                </a:lnTo>
                <a:lnTo>
                  <a:pt x="15" y="82"/>
                </a:lnTo>
                <a:lnTo>
                  <a:pt x="13" y="82"/>
                </a:lnTo>
                <a:lnTo>
                  <a:pt x="11" y="80"/>
                </a:lnTo>
                <a:lnTo>
                  <a:pt x="10" y="82"/>
                </a:lnTo>
                <a:lnTo>
                  <a:pt x="10" y="80"/>
                </a:lnTo>
                <a:lnTo>
                  <a:pt x="10" y="78"/>
                </a:lnTo>
                <a:lnTo>
                  <a:pt x="10" y="80"/>
                </a:lnTo>
                <a:lnTo>
                  <a:pt x="8" y="80"/>
                </a:lnTo>
                <a:lnTo>
                  <a:pt x="8" y="82"/>
                </a:lnTo>
                <a:lnTo>
                  <a:pt x="6" y="80"/>
                </a:lnTo>
                <a:lnTo>
                  <a:pt x="5" y="82"/>
                </a:lnTo>
                <a:lnTo>
                  <a:pt x="5" y="80"/>
                </a:lnTo>
                <a:lnTo>
                  <a:pt x="3" y="78"/>
                </a:lnTo>
                <a:lnTo>
                  <a:pt x="5" y="77"/>
                </a:lnTo>
                <a:lnTo>
                  <a:pt x="6" y="78"/>
                </a:lnTo>
                <a:lnTo>
                  <a:pt x="8" y="77"/>
                </a:lnTo>
                <a:lnTo>
                  <a:pt x="10" y="77"/>
                </a:lnTo>
                <a:lnTo>
                  <a:pt x="13" y="73"/>
                </a:lnTo>
                <a:lnTo>
                  <a:pt x="17" y="71"/>
                </a:lnTo>
                <a:lnTo>
                  <a:pt x="18" y="71"/>
                </a:lnTo>
                <a:lnTo>
                  <a:pt x="20" y="70"/>
                </a:lnTo>
                <a:lnTo>
                  <a:pt x="22" y="70"/>
                </a:lnTo>
                <a:lnTo>
                  <a:pt x="23" y="68"/>
                </a:lnTo>
                <a:lnTo>
                  <a:pt x="23" y="70"/>
                </a:lnTo>
                <a:close/>
                <a:moveTo>
                  <a:pt x="1" y="82"/>
                </a:moveTo>
                <a:lnTo>
                  <a:pt x="1" y="78"/>
                </a:lnTo>
                <a:lnTo>
                  <a:pt x="0" y="78"/>
                </a:lnTo>
                <a:lnTo>
                  <a:pt x="1" y="77"/>
                </a:lnTo>
                <a:lnTo>
                  <a:pt x="3" y="77"/>
                </a:lnTo>
                <a:lnTo>
                  <a:pt x="3" y="78"/>
                </a:lnTo>
                <a:lnTo>
                  <a:pt x="3" y="82"/>
                </a:lnTo>
                <a:lnTo>
                  <a:pt x="3" y="80"/>
                </a:lnTo>
                <a:lnTo>
                  <a:pt x="5" y="82"/>
                </a:lnTo>
                <a:lnTo>
                  <a:pt x="6" y="85"/>
                </a:lnTo>
                <a:lnTo>
                  <a:pt x="5" y="83"/>
                </a:lnTo>
                <a:lnTo>
                  <a:pt x="1" y="82"/>
                </a:lnTo>
                <a:close/>
                <a:moveTo>
                  <a:pt x="6" y="82"/>
                </a:moveTo>
                <a:lnTo>
                  <a:pt x="8" y="82"/>
                </a:lnTo>
                <a:lnTo>
                  <a:pt x="6" y="83"/>
                </a:lnTo>
                <a:lnTo>
                  <a:pt x="6" y="85"/>
                </a:lnTo>
                <a:lnTo>
                  <a:pt x="5" y="83"/>
                </a:lnTo>
                <a:lnTo>
                  <a:pt x="5" y="82"/>
                </a:lnTo>
                <a:lnTo>
                  <a:pt x="6" y="82"/>
                </a:lnTo>
                <a:close/>
                <a:moveTo>
                  <a:pt x="23" y="73"/>
                </a:moveTo>
                <a:lnTo>
                  <a:pt x="22" y="75"/>
                </a:lnTo>
                <a:lnTo>
                  <a:pt x="22" y="71"/>
                </a:lnTo>
                <a:lnTo>
                  <a:pt x="23" y="73"/>
                </a:lnTo>
                <a:close/>
                <a:moveTo>
                  <a:pt x="8" y="82"/>
                </a:moveTo>
                <a:lnTo>
                  <a:pt x="10" y="82"/>
                </a:lnTo>
                <a:lnTo>
                  <a:pt x="10" y="83"/>
                </a:lnTo>
                <a:lnTo>
                  <a:pt x="8" y="83"/>
                </a:lnTo>
                <a:lnTo>
                  <a:pt x="8" y="82"/>
                </a:lnTo>
                <a:close/>
                <a:moveTo>
                  <a:pt x="3" y="80"/>
                </a:moveTo>
                <a:lnTo>
                  <a:pt x="5" y="82"/>
                </a:lnTo>
                <a:lnTo>
                  <a:pt x="3" y="82"/>
                </a:lnTo>
                <a:lnTo>
                  <a:pt x="3" y="80"/>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68" name="Freeform 36">
            <a:extLst>
              <a:ext uri="{FF2B5EF4-FFF2-40B4-BE49-F238E27FC236}">
                <a16:creationId xmlns:a16="http://schemas.microsoft.com/office/drawing/2014/main" id="{D4D1E0BE-C77E-460F-8CCE-27806B302685}"/>
              </a:ext>
            </a:extLst>
          </p:cNvPr>
          <p:cNvSpPr>
            <a:spLocks noEditPoints="1"/>
          </p:cNvSpPr>
          <p:nvPr/>
        </p:nvSpPr>
        <p:spPr bwMode="gray">
          <a:xfrm>
            <a:off x="4182725" y="1936241"/>
            <a:ext cx="640369" cy="525144"/>
          </a:xfrm>
          <a:custGeom>
            <a:avLst/>
            <a:gdLst>
              <a:gd name="T0" fmla="*/ 219 w 235"/>
              <a:gd name="T1" fmla="*/ 51 h 184"/>
              <a:gd name="T2" fmla="*/ 223 w 235"/>
              <a:gd name="T3" fmla="*/ 61 h 184"/>
              <a:gd name="T4" fmla="*/ 233 w 235"/>
              <a:gd name="T5" fmla="*/ 63 h 184"/>
              <a:gd name="T6" fmla="*/ 226 w 235"/>
              <a:gd name="T7" fmla="*/ 73 h 184"/>
              <a:gd name="T8" fmla="*/ 214 w 235"/>
              <a:gd name="T9" fmla="*/ 78 h 184"/>
              <a:gd name="T10" fmla="*/ 211 w 235"/>
              <a:gd name="T11" fmla="*/ 90 h 184"/>
              <a:gd name="T12" fmla="*/ 201 w 235"/>
              <a:gd name="T13" fmla="*/ 100 h 184"/>
              <a:gd name="T14" fmla="*/ 201 w 235"/>
              <a:gd name="T15" fmla="*/ 114 h 184"/>
              <a:gd name="T16" fmla="*/ 199 w 235"/>
              <a:gd name="T17" fmla="*/ 129 h 184"/>
              <a:gd name="T18" fmla="*/ 202 w 235"/>
              <a:gd name="T19" fmla="*/ 139 h 184"/>
              <a:gd name="T20" fmla="*/ 209 w 235"/>
              <a:gd name="T21" fmla="*/ 146 h 184"/>
              <a:gd name="T22" fmla="*/ 201 w 235"/>
              <a:gd name="T23" fmla="*/ 151 h 184"/>
              <a:gd name="T24" fmla="*/ 197 w 235"/>
              <a:gd name="T25" fmla="*/ 141 h 184"/>
              <a:gd name="T26" fmla="*/ 185 w 235"/>
              <a:gd name="T27" fmla="*/ 150 h 184"/>
              <a:gd name="T28" fmla="*/ 177 w 235"/>
              <a:gd name="T29" fmla="*/ 155 h 184"/>
              <a:gd name="T30" fmla="*/ 175 w 235"/>
              <a:gd name="T31" fmla="*/ 165 h 184"/>
              <a:gd name="T32" fmla="*/ 170 w 235"/>
              <a:gd name="T33" fmla="*/ 168 h 184"/>
              <a:gd name="T34" fmla="*/ 160 w 235"/>
              <a:gd name="T35" fmla="*/ 179 h 184"/>
              <a:gd name="T36" fmla="*/ 150 w 235"/>
              <a:gd name="T37" fmla="*/ 175 h 184"/>
              <a:gd name="T38" fmla="*/ 138 w 235"/>
              <a:gd name="T39" fmla="*/ 177 h 184"/>
              <a:gd name="T40" fmla="*/ 127 w 235"/>
              <a:gd name="T41" fmla="*/ 182 h 184"/>
              <a:gd name="T42" fmla="*/ 121 w 235"/>
              <a:gd name="T43" fmla="*/ 172 h 184"/>
              <a:gd name="T44" fmla="*/ 109 w 235"/>
              <a:gd name="T45" fmla="*/ 162 h 184"/>
              <a:gd name="T46" fmla="*/ 95 w 235"/>
              <a:gd name="T47" fmla="*/ 156 h 184"/>
              <a:gd name="T48" fmla="*/ 85 w 235"/>
              <a:gd name="T49" fmla="*/ 155 h 184"/>
              <a:gd name="T50" fmla="*/ 83 w 235"/>
              <a:gd name="T51" fmla="*/ 139 h 184"/>
              <a:gd name="T52" fmla="*/ 87 w 235"/>
              <a:gd name="T53" fmla="*/ 128 h 184"/>
              <a:gd name="T54" fmla="*/ 80 w 235"/>
              <a:gd name="T55" fmla="*/ 119 h 184"/>
              <a:gd name="T56" fmla="*/ 71 w 235"/>
              <a:gd name="T57" fmla="*/ 112 h 184"/>
              <a:gd name="T58" fmla="*/ 59 w 235"/>
              <a:gd name="T59" fmla="*/ 114 h 184"/>
              <a:gd name="T60" fmla="*/ 46 w 235"/>
              <a:gd name="T61" fmla="*/ 116 h 184"/>
              <a:gd name="T62" fmla="*/ 29 w 235"/>
              <a:gd name="T63" fmla="*/ 109 h 184"/>
              <a:gd name="T64" fmla="*/ 19 w 235"/>
              <a:gd name="T65" fmla="*/ 107 h 184"/>
              <a:gd name="T66" fmla="*/ 14 w 235"/>
              <a:gd name="T67" fmla="*/ 99 h 184"/>
              <a:gd name="T68" fmla="*/ 8 w 235"/>
              <a:gd name="T69" fmla="*/ 80 h 184"/>
              <a:gd name="T70" fmla="*/ 2 w 235"/>
              <a:gd name="T71" fmla="*/ 65 h 184"/>
              <a:gd name="T72" fmla="*/ 5 w 235"/>
              <a:gd name="T73" fmla="*/ 48 h 184"/>
              <a:gd name="T74" fmla="*/ 14 w 235"/>
              <a:gd name="T75" fmla="*/ 37 h 184"/>
              <a:gd name="T76" fmla="*/ 25 w 235"/>
              <a:gd name="T77" fmla="*/ 29 h 184"/>
              <a:gd name="T78" fmla="*/ 37 w 235"/>
              <a:gd name="T79" fmla="*/ 20 h 184"/>
              <a:gd name="T80" fmla="*/ 51 w 235"/>
              <a:gd name="T81" fmla="*/ 20 h 184"/>
              <a:gd name="T82" fmla="*/ 66 w 235"/>
              <a:gd name="T83" fmla="*/ 19 h 184"/>
              <a:gd name="T84" fmla="*/ 76 w 235"/>
              <a:gd name="T85" fmla="*/ 22 h 184"/>
              <a:gd name="T86" fmla="*/ 85 w 235"/>
              <a:gd name="T87" fmla="*/ 15 h 184"/>
              <a:gd name="T88" fmla="*/ 100 w 235"/>
              <a:gd name="T89" fmla="*/ 17 h 184"/>
              <a:gd name="T90" fmla="*/ 112 w 235"/>
              <a:gd name="T91" fmla="*/ 17 h 184"/>
              <a:gd name="T92" fmla="*/ 122 w 235"/>
              <a:gd name="T93" fmla="*/ 14 h 184"/>
              <a:gd name="T94" fmla="*/ 133 w 235"/>
              <a:gd name="T95" fmla="*/ 7 h 184"/>
              <a:gd name="T96" fmla="*/ 143 w 235"/>
              <a:gd name="T97" fmla="*/ 2 h 184"/>
              <a:gd name="T98" fmla="*/ 156 w 235"/>
              <a:gd name="T99" fmla="*/ 15 h 184"/>
              <a:gd name="T100" fmla="*/ 170 w 235"/>
              <a:gd name="T101" fmla="*/ 14 h 184"/>
              <a:gd name="T102" fmla="*/ 184 w 235"/>
              <a:gd name="T103" fmla="*/ 19 h 184"/>
              <a:gd name="T104" fmla="*/ 194 w 235"/>
              <a:gd name="T105" fmla="*/ 25 h 184"/>
              <a:gd name="T106" fmla="*/ 207 w 235"/>
              <a:gd name="T107" fmla="*/ 36 h 184"/>
              <a:gd name="T108" fmla="*/ 7 w 235"/>
              <a:gd name="T109" fmla="*/ 102 h 184"/>
              <a:gd name="T110" fmla="*/ 7 w 235"/>
              <a:gd name="T111" fmla="*/ 82 h 184"/>
              <a:gd name="T112" fmla="*/ 8 w 235"/>
              <a:gd name="T113" fmla="*/ 87 h 184"/>
              <a:gd name="T114" fmla="*/ 8 w 235"/>
              <a:gd name="T115" fmla="*/ 10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5" h="184">
                <a:moveTo>
                  <a:pt x="219" y="37"/>
                </a:moveTo>
                <a:lnTo>
                  <a:pt x="221" y="39"/>
                </a:lnTo>
                <a:lnTo>
                  <a:pt x="221" y="41"/>
                </a:lnTo>
                <a:lnTo>
                  <a:pt x="221" y="44"/>
                </a:lnTo>
                <a:lnTo>
                  <a:pt x="221" y="46"/>
                </a:lnTo>
                <a:lnTo>
                  <a:pt x="221" y="48"/>
                </a:lnTo>
                <a:lnTo>
                  <a:pt x="219" y="49"/>
                </a:lnTo>
                <a:lnTo>
                  <a:pt x="219" y="51"/>
                </a:lnTo>
                <a:lnTo>
                  <a:pt x="221" y="53"/>
                </a:lnTo>
                <a:lnTo>
                  <a:pt x="221" y="54"/>
                </a:lnTo>
                <a:lnTo>
                  <a:pt x="221" y="56"/>
                </a:lnTo>
                <a:lnTo>
                  <a:pt x="221" y="58"/>
                </a:lnTo>
                <a:lnTo>
                  <a:pt x="219" y="59"/>
                </a:lnTo>
                <a:lnTo>
                  <a:pt x="218" y="61"/>
                </a:lnTo>
                <a:lnTo>
                  <a:pt x="219" y="61"/>
                </a:lnTo>
                <a:lnTo>
                  <a:pt x="223" y="61"/>
                </a:lnTo>
                <a:lnTo>
                  <a:pt x="223" y="63"/>
                </a:lnTo>
                <a:lnTo>
                  <a:pt x="224" y="61"/>
                </a:lnTo>
                <a:lnTo>
                  <a:pt x="226" y="61"/>
                </a:lnTo>
                <a:lnTo>
                  <a:pt x="229" y="61"/>
                </a:lnTo>
                <a:lnTo>
                  <a:pt x="231" y="59"/>
                </a:lnTo>
                <a:lnTo>
                  <a:pt x="233" y="61"/>
                </a:lnTo>
                <a:lnTo>
                  <a:pt x="235" y="63"/>
                </a:lnTo>
                <a:lnTo>
                  <a:pt x="233" y="63"/>
                </a:lnTo>
                <a:lnTo>
                  <a:pt x="233" y="65"/>
                </a:lnTo>
                <a:lnTo>
                  <a:pt x="231" y="66"/>
                </a:lnTo>
                <a:lnTo>
                  <a:pt x="231" y="68"/>
                </a:lnTo>
                <a:lnTo>
                  <a:pt x="229" y="70"/>
                </a:lnTo>
                <a:lnTo>
                  <a:pt x="231" y="71"/>
                </a:lnTo>
                <a:lnTo>
                  <a:pt x="229" y="71"/>
                </a:lnTo>
                <a:lnTo>
                  <a:pt x="228" y="73"/>
                </a:lnTo>
                <a:lnTo>
                  <a:pt x="226" y="73"/>
                </a:lnTo>
                <a:lnTo>
                  <a:pt x="224" y="75"/>
                </a:lnTo>
                <a:lnTo>
                  <a:pt x="224" y="73"/>
                </a:lnTo>
                <a:lnTo>
                  <a:pt x="223" y="75"/>
                </a:lnTo>
                <a:lnTo>
                  <a:pt x="223" y="76"/>
                </a:lnTo>
                <a:lnTo>
                  <a:pt x="219" y="76"/>
                </a:lnTo>
                <a:lnTo>
                  <a:pt x="218" y="76"/>
                </a:lnTo>
                <a:lnTo>
                  <a:pt x="216" y="78"/>
                </a:lnTo>
                <a:lnTo>
                  <a:pt x="214" y="78"/>
                </a:lnTo>
                <a:lnTo>
                  <a:pt x="212" y="80"/>
                </a:lnTo>
                <a:lnTo>
                  <a:pt x="216" y="82"/>
                </a:lnTo>
                <a:lnTo>
                  <a:pt x="214" y="82"/>
                </a:lnTo>
                <a:lnTo>
                  <a:pt x="214" y="85"/>
                </a:lnTo>
                <a:lnTo>
                  <a:pt x="214" y="87"/>
                </a:lnTo>
                <a:lnTo>
                  <a:pt x="214" y="88"/>
                </a:lnTo>
                <a:lnTo>
                  <a:pt x="211" y="88"/>
                </a:lnTo>
                <a:lnTo>
                  <a:pt x="211" y="90"/>
                </a:lnTo>
                <a:lnTo>
                  <a:pt x="209" y="90"/>
                </a:lnTo>
                <a:lnTo>
                  <a:pt x="209" y="92"/>
                </a:lnTo>
                <a:lnTo>
                  <a:pt x="207" y="92"/>
                </a:lnTo>
                <a:lnTo>
                  <a:pt x="206" y="92"/>
                </a:lnTo>
                <a:lnTo>
                  <a:pt x="204" y="94"/>
                </a:lnTo>
                <a:lnTo>
                  <a:pt x="202" y="95"/>
                </a:lnTo>
                <a:lnTo>
                  <a:pt x="202" y="97"/>
                </a:lnTo>
                <a:lnTo>
                  <a:pt x="201" y="100"/>
                </a:lnTo>
                <a:lnTo>
                  <a:pt x="199" y="100"/>
                </a:lnTo>
                <a:lnTo>
                  <a:pt x="201" y="104"/>
                </a:lnTo>
                <a:lnTo>
                  <a:pt x="199" y="104"/>
                </a:lnTo>
                <a:lnTo>
                  <a:pt x="199" y="105"/>
                </a:lnTo>
                <a:lnTo>
                  <a:pt x="199" y="107"/>
                </a:lnTo>
                <a:lnTo>
                  <a:pt x="201" y="109"/>
                </a:lnTo>
                <a:lnTo>
                  <a:pt x="201" y="112"/>
                </a:lnTo>
                <a:lnTo>
                  <a:pt x="201" y="114"/>
                </a:lnTo>
                <a:lnTo>
                  <a:pt x="202" y="116"/>
                </a:lnTo>
                <a:lnTo>
                  <a:pt x="202" y="117"/>
                </a:lnTo>
                <a:lnTo>
                  <a:pt x="204" y="121"/>
                </a:lnTo>
                <a:lnTo>
                  <a:pt x="202" y="121"/>
                </a:lnTo>
                <a:lnTo>
                  <a:pt x="201" y="124"/>
                </a:lnTo>
                <a:lnTo>
                  <a:pt x="201" y="126"/>
                </a:lnTo>
                <a:lnTo>
                  <a:pt x="201" y="129"/>
                </a:lnTo>
                <a:lnTo>
                  <a:pt x="199" y="129"/>
                </a:lnTo>
                <a:lnTo>
                  <a:pt x="201" y="131"/>
                </a:lnTo>
                <a:lnTo>
                  <a:pt x="199" y="134"/>
                </a:lnTo>
                <a:lnTo>
                  <a:pt x="199" y="133"/>
                </a:lnTo>
                <a:lnTo>
                  <a:pt x="199" y="136"/>
                </a:lnTo>
                <a:lnTo>
                  <a:pt x="197" y="139"/>
                </a:lnTo>
                <a:lnTo>
                  <a:pt x="199" y="139"/>
                </a:lnTo>
                <a:lnTo>
                  <a:pt x="201" y="139"/>
                </a:lnTo>
                <a:lnTo>
                  <a:pt x="202" y="139"/>
                </a:lnTo>
                <a:lnTo>
                  <a:pt x="204" y="138"/>
                </a:lnTo>
                <a:lnTo>
                  <a:pt x="206" y="139"/>
                </a:lnTo>
                <a:lnTo>
                  <a:pt x="206" y="141"/>
                </a:lnTo>
                <a:lnTo>
                  <a:pt x="207" y="141"/>
                </a:lnTo>
                <a:lnTo>
                  <a:pt x="207" y="143"/>
                </a:lnTo>
                <a:lnTo>
                  <a:pt x="209" y="143"/>
                </a:lnTo>
                <a:lnTo>
                  <a:pt x="207" y="145"/>
                </a:lnTo>
                <a:lnTo>
                  <a:pt x="209" y="146"/>
                </a:lnTo>
                <a:lnTo>
                  <a:pt x="211" y="148"/>
                </a:lnTo>
                <a:lnTo>
                  <a:pt x="209" y="148"/>
                </a:lnTo>
                <a:lnTo>
                  <a:pt x="209" y="150"/>
                </a:lnTo>
                <a:lnTo>
                  <a:pt x="207" y="148"/>
                </a:lnTo>
                <a:lnTo>
                  <a:pt x="207" y="151"/>
                </a:lnTo>
                <a:lnTo>
                  <a:pt x="206" y="151"/>
                </a:lnTo>
                <a:lnTo>
                  <a:pt x="204" y="151"/>
                </a:lnTo>
                <a:lnTo>
                  <a:pt x="201" y="151"/>
                </a:lnTo>
                <a:lnTo>
                  <a:pt x="199" y="150"/>
                </a:lnTo>
                <a:lnTo>
                  <a:pt x="201" y="146"/>
                </a:lnTo>
                <a:lnTo>
                  <a:pt x="199" y="146"/>
                </a:lnTo>
                <a:lnTo>
                  <a:pt x="202" y="145"/>
                </a:lnTo>
                <a:lnTo>
                  <a:pt x="199" y="143"/>
                </a:lnTo>
                <a:lnTo>
                  <a:pt x="201" y="143"/>
                </a:lnTo>
                <a:lnTo>
                  <a:pt x="199" y="143"/>
                </a:lnTo>
                <a:lnTo>
                  <a:pt x="197" y="141"/>
                </a:lnTo>
                <a:lnTo>
                  <a:pt x="195" y="143"/>
                </a:lnTo>
                <a:lnTo>
                  <a:pt x="194" y="143"/>
                </a:lnTo>
                <a:lnTo>
                  <a:pt x="192" y="145"/>
                </a:lnTo>
                <a:lnTo>
                  <a:pt x="189" y="146"/>
                </a:lnTo>
                <a:lnTo>
                  <a:pt x="189" y="145"/>
                </a:lnTo>
                <a:lnTo>
                  <a:pt x="187" y="146"/>
                </a:lnTo>
                <a:lnTo>
                  <a:pt x="185" y="148"/>
                </a:lnTo>
                <a:lnTo>
                  <a:pt x="185" y="150"/>
                </a:lnTo>
                <a:lnTo>
                  <a:pt x="185" y="151"/>
                </a:lnTo>
                <a:lnTo>
                  <a:pt x="184" y="153"/>
                </a:lnTo>
                <a:lnTo>
                  <a:pt x="184" y="155"/>
                </a:lnTo>
                <a:lnTo>
                  <a:pt x="182" y="155"/>
                </a:lnTo>
                <a:lnTo>
                  <a:pt x="182" y="156"/>
                </a:lnTo>
                <a:lnTo>
                  <a:pt x="180" y="156"/>
                </a:lnTo>
                <a:lnTo>
                  <a:pt x="178" y="156"/>
                </a:lnTo>
                <a:lnTo>
                  <a:pt x="177" y="155"/>
                </a:lnTo>
                <a:lnTo>
                  <a:pt x="173" y="156"/>
                </a:lnTo>
                <a:lnTo>
                  <a:pt x="172" y="158"/>
                </a:lnTo>
                <a:lnTo>
                  <a:pt x="173" y="158"/>
                </a:lnTo>
                <a:lnTo>
                  <a:pt x="170" y="160"/>
                </a:lnTo>
                <a:lnTo>
                  <a:pt x="172" y="162"/>
                </a:lnTo>
                <a:lnTo>
                  <a:pt x="173" y="163"/>
                </a:lnTo>
                <a:lnTo>
                  <a:pt x="173" y="165"/>
                </a:lnTo>
                <a:lnTo>
                  <a:pt x="175" y="165"/>
                </a:lnTo>
                <a:lnTo>
                  <a:pt x="173" y="165"/>
                </a:lnTo>
                <a:lnTo>
                  <a:pt x="175" y="167"/>
                </a:lnTo>
                <a:lnTo>
                  <a:pt x="173" y="168"/>
                </a:lnTo>
                <a:lnTo>
                  <a:pt x="172" y="168"/>
                </a:lnTo>
                <a:lnTo>
                  <a:pt x="172" y="170"/>
                </a:lnTo>
                <a:lnTo>
                  <a:pt x="170" y="172"/>
                </a:lnTo>
                <a:lnTo>
                  <a:pt x="170" y="170"/>
                </a:lnTo>
                <a:lnTo>
                  <a:pt x="170" y="168"/>
                </a:lnTo>
                <a:lnTo>
                  <a:pt x="168" y="167"/>
                </a:lnTo>
                <a:lnTo>
                  <a:pt x="167" y="168"/>
                </a:lnTo>
                <a:lnTo>
                  <a:pt x="165" y="170"/>
                </a:lnTo>
                <a:lnTo>
                  <a:pt x="163" y="173"/>
                </a:lnTo>
                <a:lnTo>
                  <a:pt x="161" y="173"/>
                </a:lnTo>
                <a:lnTo>
                  <a:pt x="161" y="177"/>
                </a:lnTo>
                <a:lnTo>
                  <a:pt x="160" y="177"/>
                </a:lnTo>
                <a:lnTo>
                  <a:pt x="160" y="179"/>
                </a:lnTo>
                <a:lnTo>
                  <a:pt x="160" y="177"/>
                </a:lnTo>
                <a:lnTo>
                  <a:pt x="158" y="179"/>
                </a:lnTo>
                <a:lnTo>
                  <a:pt x="156" y="177"/>
                </a:lnTo>
                <a:lnTo>
                  <a:pt x="155" y="179"/>
                </a:lnTo>
                <a:lnTo>
                  <a:pt x="155" y="177"/>
                </a:lnTo>
                <a:lnTo>
                  <a:pt x="151" y="175"/>
                </a:lnTo>
                <a:lnTo>
                  <a:pt x="150" y="177"/>
                </a:lnTo>
                <a:lnTo>
                  <a:pt x="150" y="175"/>
                </a:lnTo>
                <a:lnTo>
                  <a:pt x="148" y="177"/>
                </a:lnTo>
                <a:lnTo>
                  <a:pt x="146" y="177"/>
                </a:lnTo>
                <a:lnTo>
                  <a:pt x="144" y="179"/>
                </a:lnTo>
                <a:lnTo>
                  <a:pt x="143" y="179"/>
                </a:lnTo>
                <a:lnTo>
                  <a:pt x="141" y="179"/>
                </a:lnTo>
                <a:lnTo>
                  <a:pt x="141" y="180"/>
                </a:lnTo>
                <a:lnTo>
                  <a:pt x="139" y="177"/>
                </a:lnTo>
                <a:lnTo>
                  <a:pt x="138" y="177"/>
                </a:lnTo>
                <a:lnTo>
                  <a:pt x="138" y="179"/>
                </a:lnTo>
                <a:lnTo>
                  <a:pt x="136" y="179"/>
                </a:lnTo>
                <a:lnTo>
                  <a:pt x="134" y="180"/>
                </a:lnTo>
                <a:lnTo>
                  <a:pt x="134" y="182"/>
                </a:lnTo>
                <a:lnTo>
                  <a:pt x="134" y="184"/>
                </a:lnTo>
                <a:lnTo>
                  <a:pt x="133" y="182"/>
                </a:lnTo>
                <a:lnTo>
                  <a:pt x="131" y="180"/>
                </a:lnTo>
                <a:lnTo>
                  <a:pt x="127" y="182"/>
                </a:lnTo>
                <a:lnTo>
                  <a:pt x="126" y="182"/>
                </a:lnTo>
                <a:lnTo>
                  <a:pt x="124" y="182"/>
                </a:lnTo>
                <a:lnTo>
                  <a:pt x="122" y="180"/>
                </a:lnTo>
                <a:lnTo>
                  <a:pt x="121" y="180"/>
                </a:lnTo>
                <a:lnTo>
                  <a:pt x="121" y="179"/>
                </a:lnTo>
                <a:lnTo>
                  <a:pt x="122" y="175"/>
                </a:lnTo>
                <a:lnTo>
                  <a:pt x="121" y="173"/>
                </a:lnTo>
                <a:lnTo>
                  <a:pt x="121" y="172"/>
                </a:lnTo>
                <a:lnTo>
                  <a:pt x="119" y="170"/>
                </a:lnTo>
                <a:lnTo>
                  <a:pt x="119" y="168"/>
                </a:lnTo>
                <a:lnTo>
                  <a:pt x="117" y="167"/>
                </a:lnTo>
                <a:lnTo>
                  <a:pt x="116" y="167"/>
                </a:lnTo>
                <a:lnTo>
                  <a:pt x="116" y="165"/>
                </a:lnTo>
                <a:lnTo>
                  <a:pt x="114" y="163"/>
                </a:lnTo>
                <a:lnTo>
                  <a:pt x="110" y="162"/>
                </a:lnTo>
                <a:lnTo>
                  <a:pt x="109" y="162"/>
                </a:lnTo>
                <a:lnTo>
                  <a:pt x="107" y="162"/>
                </a:lnTo>
                <a:lnTo>
                  <a:pt x="105" y="160"/>
                </a:lnTo>
                <a:lnTo>
                  <a:pt x="104" y="160"/>
                </a:lnTo>
                <a:lnTo>
                  <a:pt x="102" y="160"/>
                </a:lnTo>
                <a:lnTo>
                  <a:pt x="100" y="162"/>
                </a:lnTo>
                <a:lnTo>
                  <a:pt x="99" y="160"/>
                </a:lnTo>
                <a:lnTo>
                  <a:pt x="99" y="158"/>
                </a:lnTo>
                <a:lnTo>
                  <a:pt x="95" y="156"/>
                </a:lnTo>
                <a:lnTo>
                  <a:pt x="97" y="155"/>
                </a:lnTo>
                <a:lnTo>
                  <a:pt x="95" y="155"/>
                </a:lnTo>
                <a:lnTo>
                  <a:pt x="92" y="155"/>
                </a:lnTo>
                <a:lnTo>
                  <a:pt x="90" y="155"/>
                </a:lnTo>
                <a:lnTo>
                  <a:pt x="88" y="155"/>
                </a:lnTo>
                <a:lnTo>
                  <a:pt x="88" y="158"/>
                </a:lnTo>
                <a:lnTo>
                  <a:pt x="87" y="158"/>
                </a:lnTo>
                <a:lnTo>
                  <a:pt x="85" y="155"/>
                </a:lnTo>
                <a:lnTo>
                  <a:pt x="83" y="153"/>
                </a:lnTo>
                <a:lnTo>
                  <a:pt x="83" y="150"/>
                </a:lnTo>
                <a:lnTo>
                  <a:pt x="82" y="150"/>
                </a:lnTo>
                <a:lnTo>
                  <a:pt x="82" y="148"/>
                </a:lnTo>
                <a:lnTo>
                  <a:pt x="82" y="145"/>
                </a:lnTo>
                <a:lnTo>
                  <a:pt x="82" y="141"/>
                </a:lnTo>
                <a:lnTo>
                  <a:pt x="83" y="141"/>
                </a:lnTo>
                <a:lnTo>
                  <a:pt x="83" y="139"/>
                </a:lnTo>
                <a:lnTo>
                  <a:pt x="82" y="136"/>
                </a:lnTo>
                <a:lnTo>
                  <a:pt x="82" y="134"/>
                </a:lnTo>
                <a:lnTo>
                  <a:pt x="82" y="133"/>
                </a:lnTo>
                <a:lnTo>
                  <a:pt x="83" y="133"/>
                </a:lnTo>
                <a:lnTo>
                  <a:pt x="83" y="131"/>
                </a:lnTo>
                <a:lnTo>
                  <a:pt x="85" y="131"/>
                </a:lnTo>
                <a:lnTo>
                  <a:pt x="85" y="129"/>
                </a:lnTo>
                <a:lnTo>
                  <a:pt x="87" y="128"/>
                </a:lnTo>
                <a:lnTo>
                  <a:pt x="87" y="126"/>
                </a:lnTo>
                <a:lnTo>
                  <a:pt x="85" y="126"/>
                </a:lnTo>
                <a:lnTo>
                  <a:pt x="85" y="124"/>
                </a:lnTo>
                <a:lnTo>
                  <a:pt x="83" y="124"/>
                </a:lnTo>
                <a:lnTo>
                  <a:pt x="83" y="122"/>
                </a:lnTo>
                <a:lnTo>
                  <a:pt x="83" y="121"/>
                </a:lnTo>
                <a:lnTo>
                  <a:pt x="82" y="121"/>
                </a:lnTo>
                <a:lnTo>
                  <a:pt x="80" y="119"/>
                </a:lnTo>
                <a:lnTo>
                  <a:pt x="80" y="121"/>
                </a:lnTo>
                <a:lnTo>
                  <a:pt x="80" y="119"/>
                </a:lnTo>
                <a:lnTo>
                  <a:pt x="78" y="119"/>
                </a:lnTo>
                <a:lnTo>
                  <a:pt x="78" y="117"/>
                </a:lnTo>
                <a:lnTo>
                  <a:pt x="76" y="116"/>
                </a:lnTo>
                <a:lnTo>
                  <a:pt x="75" y="117"/>
                </a:lnTo>
                <a:lnTo>
                  <a:pt x="71" y="114"/>
                </a:lnTo>
                <a:lnTo>
                  <a:pt x="71" y="112"/>
                </a:lnTo>
                <a:lnTo>
                  <a:pt x="71" y="111"/>
                </a:lnTo>
                <a:lnTo>
                  <a:pt x="70" y="112"/>
                </a:lnTo>
                <a:lnTo>
                  <a:pt x="68" y="114"/>
                </a:lnTo>
                <a:lnTo>
                  <a:pt x="66" y="114"/>
                </a:lnTo>
                <a:lnTo>
                  <a:pt x="65" y="114"/>
                </a:lnTo>
                <a:lnTo>
                  <a:pt x="63" y="114"/>
                </a:lnTo>
                <a:lnTo>
                  <a:pt x="61" y="114"/>
                </a:lnTo>
                <a:lnTo>
                  <a:pt x="59" y="114"/>
                </a:lnTo>
                <a:lnTo>
                  <a:pt x="56" y="114"/>
                </a:lnTo>
                <a:lnTo>
                  <a:pt x="56" y="116"/>
                </a:lnTo>
                <a:lnTo>
                  <a:pt x="54" y="116"/>
                </a:lnTo>
                <a:lnTo>
                  <a:pt x="53" y="117"/>
                </a:lnTo>
                <a:lnTo>
                  <a:pt x="51" y="117"/>
                </a:lnTo>
                <a:lnTo>
                  <a:pt x="49" y="117"/>
                </a:lnTo>
                <a:lnTo>
                  <a:pt x="49" y="114"/>
                </a:lnTo>
                <a:lnTo>
                  <a:pt x="46" y="116"/>
                </a:lnTo>
                <a:lnTo>
                  <a:pt x="44" y="116"/>
                </a:lnTo>
                <a:lnTo>
                  <a:pt x="41" y="114"/>
                </a:lnTo>
                <a:lnTo>
                  <a:pt x="39" y="114"/>
                </a:lnTo>
                <a:lnTo>
                  <a:pt x="36" y="112"/>
                </a:lnTo>
                <a:lnTo>
                  <a:pt x="34" y="111"/>
                </a:lnTo>
                <a:lnTo>
                  <a:pt x="32" y="111"/>
                </a:lnTo>
                <a:lnTo>
                  <a:pt x="31" y="111"/>
                </a:lnTo>
                <a:lnTo>
                  <a:pt x="29" y="109"/>
                </a:lnTo>
                <a:lnTo>
                  <a:pt x="27" y="111"/>
                </a:lnTo>
                <a:lnTo>
                  <a:pt x="25" y="109"/>
                </a:lnTo>
                <a:lnTo>
                  <a:pt x="24" y="109"/>
                </a:lnTo>
                <a:lnTo>
                  <a:pt x="24" y="107"/>
                </a:lnTo>
                <a:lnTo>
                  <a:pt x="22" y="105"/>
                </a:lnTo>
                <a:lnTo>
                  <a:pt x="20" y="104"/>
                </a:lnTo>
                <a:lnTo>
                  <a:pt x="19" y="105"/>
                </a:lnTo>
                <a:lnTo>
                  <a:pt x="19" y="107"/>
                </a:lnTo>
                <a:lnTo>
                  <a:pt x="17" y="107"/>
                </a:lnTo>
                <a:lnTo>
                  <a:pt x="17" y="105"/>
                </a:lnTo>
                <a:lnTo>
                  <a:pt x="17" y="104"/>
                </a:lnTo>
                <a:lnTo>
                  <a:pt x="17" y="102"/>
                </a:lnTo>
                <a:lnTo>
                  <a:pt x="15" y="102"/>
                </a:lnTo>
                <a:lnTo>
                  <a:pt x="15" y="100"/>
                </a:lnTo>
                <a:lnTo>
                  <a:pt x="14" y="102"/>
                </a:lnTo>
                <a:lnTo>
                  <a:pt x="14" y="99"/>
                </a:lnTo>
                <a:lnTo>
                  <a:pt x="15" y="97"/>
                </a:lnTo>
                <a:lnTo>
                  <a:pt x="14" y="94"/>
                </a:lnTo>
                <a:lnTo>
                  <a:pt x="14" y="92"/>
                </a:lnTo>
                <a:lnTo>
                  <a:pt x="12" y="88"/>
                </a:lnTo>
                <a:lnTo>
                  <a:pt x="10" y="87"/>
                </a:lnTo>
                <a:lnTo>
                  <a:pt x="10" y="85"/>
                </a:lnTo>
                <a:lnTo>
                  <a:pt x="8" y="82"/>
                </a:lnTo>
                <a:lnTo>
                  <a:pt x="8" y="80"/>
                </a:lnTo>
                <a:lnTo>
                  <a:pt x="7" y="76"/>
                </a:lnTo>
                <a:lnTo>
                  <a:pt x="5" y="76"/>
                </a:lnTo>
                <a:lnTo>
                  <a:pt x="5" y="75"/>
                </a:lnTo>
                <a:lnTo>
                  <a:pt x="3" y="71"/>
                </a:lnTo>
                <a:lnTo>
                  <a:pt x="3" y="70"/>
                </a:lnTo>
                <a:lnTo>
                  <a:pt x="2" y="68"/>
                </a:lnTo>
                <a:lnTo>
                  <a:pt x="2" y="66"/>
                </a:lnTo>
                <a:lnTo>
                  <a:pt x="2" y="65"/>
                </a:lnTo>
                <a:lnTo>
                  <a:pt x="2" y="63"/>
                </a:lnTo>
                <a:lnTo>
                  <a:pt x="2" y="59"/>
                </a:lnTo>
                <a:lnTo>
                  <a:pt x="2" y="56"/>
                </a:lnTo>
                <a:lnTo>
                  <a:pt x="0" y="54"/>
                </a:lnTo>
                <a:lnTo>
                  <a:pt x="0" y="53"/>
                </a:lnTo>
                <a:lnTo>
                  <a:pt x="3" y="51"/>
                </a:lnTo>
                <a:lnTo>
                  <a:pt x="5" y="51"/>
                </a:lnTo>
                <a:lnTo>
                  <a:pt x="5" y="48"/>
                </a:lnTo>
                <a:lnTo>
                  <a:pt x="7" y="48"/>
                </a:lnTo>
                <a:lnTo>
                  <a:pt x="5" y="44"/>
                </a:lnTo>
                <a:lnTo>
                  <a:pt x="7" y="44"/>
                </a:lnTo>
                <a:lnTo>
                  <a:pt x="7" y="42"/>
                </a:lnTo>
                <a:lnTo>
                  <a:pt x="8" y="41"/>
                </a:lnTo>
                <a:lnTo>
                  <a:pt x="10" y="39"/>
                </a:lnTo>
                <a:lnTo>
                  <a:pt x="12" y="37"/>
                </a:lnTo>
                <a:lnTo>
                  <a:pt x="14" y="37"/>
                </a:lnTo>
                <a:lnTo>
                  <a:pt x="14" y="36"/>
                </a:lnTo>
                <a:lnTo>
                  <a:pt x="14" y="34"/>
                </a:lnTo>
                <a:lnTo>
                  <a:pt x="15" y="34"/>
                </a:lnTo>
                <a:lnTo>
                  <a:pt x="17" y="32"/>
                </a:lnTo>
                <a:lnTo>
                  <a:pt x="19" y="31"/>
                </a:lnTo>
                <a:lnTo>
                  <a:pt x="20" y="32"/>
                </a:lnTo>
                <a:lnTo>
                  <a:pt x="24" y="31"/>
                </a:lnTo>
                <a:lnTo>
                  <a:pt x="25" y="29"/>
                </a:lnTo>
                <a:lnTo>
                  <a:pt x="27" y="27"/>
                </a:lnTo>
                <a:lnTo>
                  <a:pt x="29" y="27"/>
                </a:lnTo>
                <a:lnTo>
                  <a:pt x="29" y="25"/>
                </a:lnTo>
                <a:lnTo>
                  <a:pt x="31" y="25"/>
                </a:lnTo>
                <a:lnTo>
                  <a:pt x="32" y="25"/>
                </a:lnTo>
                <a:lnTo>
                  <a:pt x="32" y="22"/>
                </a:lnTo>
                <a:lnTo>
                  <a:pt x="34" y="22"/>
                </a:lnTo>
                <a:lnTo>
                  <a:pt x="37" y="20"/>
                </a:lnTo>
                <a:lnTo>
                  <a:pt x="39" y="20"/>
                </a:lnTo>
                <a:lnTo>
                  <a:pt x="41" y="20"/>
                </a:lnTo>
                <a:lnTo>
                  <a:pt x="42" y="22"/>
                </a:lnTo>
                <a:lnTo>
                  <a:pt x="44" y="20"/>
                </a:lnTo>
                <a:lnTo>
                  <a:pt x="46" y="22"/>
                </a:lnTo>
                <a:lnTo>
                  <a:pt x="46" y="20"/>
                </a:lnTo>
                <a:lnTo>
                  <a:pt x="49" y="20"/>
                </a:lnTo>
                <a:lnTo>
                  <a:pt x="51" y="20"/>
                </a:lnTo>
                <a:lnTo>
                  <a:pt x="53" y="20"/>
                </a:lnTo>
                <a:lnTo>
                  <a:pt x="54" y="20"/>
                </a:lnTo>
                <a:lnTo>
                  <a:pt x="56" y="20"/>
                </a:lnTo>
                <a:lnTo>
                  <a:pt x="58" y="22"/>
                </a:lnTo>
                <a:lnTo>
                  <a:pt x="59" y="22"/>
                </a:lnTo>
                <a:lnTo>
                  <a:pt x="61" y="20"/>
                </a:lnTo>
                <a:lnTo>
                  <a:pt x="65" y="20"/>
                </a:lnTo>
                <a:lnTo>
                  <a:pt x="66" y="19"/>
                </a:lnTo>
                <a:lnTo>
                  <a:pt x="68" y="19"/>
                </a:lnTo>
                <a:lnTo>
                  <a:pt x="68" y="17"/>
                </a:lnTo>
                <a:lnTo>
                  <a:pt x="70" y="15"/>
                </a:lnTo>
                <a:lnTo>
                  <a:pt x="71" y="17"/>
                </a:lnTo>
                <a:lnTo>
                  <a:pt x="71" y="19"/>
                </a:lnTo>
                <a:lnTo>
                  <a:pt x="73" y="22"/>
                </a:lnTo>
                <a:lnTo>
                  <a:pt x="75" y="22"/>
                </a:lnTo>
                <a:lnTo>
                  <a:pt x="76" y="22"/>
                </a:lnTo>
                <a:lnTo>
                  <a:pt x="76" y="20"/>
                </a:lnTo>
                <a:lnTo>
                  <a:pt x="78" y="20"/>
                </a:lnTo>
                <a:lnTo>
                  <a:pt x="78" y="19"/>
                </a:lnTo>
                <a:lnTo>
                  <a:pt x="78" y="17"/>
                </a:lnTo>
                <a:lnTo>
                  <a:pt x="80" y="17"/>
                </a:lnTo>
                <a:lnTo>
                  <a:pt x="82" y="17"/>
                </a:lnTo>
                <a:lnTo>
                  <a:pt x="83" y="15"/>
                </a:lnTo>
                <a:lnTo>
                  <a:pt x="85" y="15"/>
                </a:lnTo>
                <a:lnTo>
                  <a:pt x="88" y="17"/>
                </a:lnTo>
                <a:lnTo>
                  <a:pt x="90" y="17"/>
                </a:lnTo>
                <a:lnTo>
                  <a:pt x="92" y="17"/>
                </a:lnTo>
                <a:lnTo>
                  <a:pt x="95" y="15"/>
                </a:lnTo>
                <a:lnTo>
                  <a:pt x="97" y="15"/>
                </a:lnTo>
                <a:lnTo>
                  <a:pt x="99" y="14"/>
                </a:lnTo>
                <a:lnTo>
                  <a:pt x="100" y="14"/>
                </a:lnTo>
                <a:lnTo>
                  <a:pt x="100" y="17"/>
                </a:lnTo>
                <a:lnTo>
                  <a:pt x="102" y="15"/>
                </a:lnTo>
                <a:lnTo>
                  <a:pt x="104" y="15"/>
                </a:lnTo>
                <a:lnTo>
                  <a:pt x="105" y="14"/>
                </a:lnTo>
                <a:lnTo>
                  <a:pt x="107" y="15"/>
                </a:lnTo>
                <a:lnTo>
                  <a:pt x="109" y="14"/>
                </a:lnTo>
                <a:lnTo>
                  <a:pt x="110" y="14"/>
                </a:lnTo>
                <a:lnTo>
                  <a:pt x="112" y="15"/>
                </a:lnTo>
                <a:lnTo>
                  <a:pt x="112" y="17"/>
                </a:lnTo>
                <a:lnTo>
                  <a:pt x="114" y="17"/>
                </a:lnTo>
                <a:lnTo>
                  <a:pt x="116" y="19"/>
                </a:lnTo>
                <a:lnTo>
                  <a:pt x="117" y="19"/>
                </a:lnTo>
                <a:lnTo>
                  <a:pt x="119" y="17"/>
                </a:lnTo>
                <a:lnTo>
                  <a:pt x="119" y="15"/>
                </a:lnTo>
                <a:lnTo>
                  <a:pt x="121" y="15"/>
                </a:lnTo>
                <a:lnTo>
                  <a:pt x="121" y="14"/>
                </a:lnTo>
                <a:lnTo>
                  <a:pt x="122" y="14"/>
                </a:lnTo>
                <a:lnTo>
                  <a:pt x="124" y="15"/>
                </a:lnTo>
                <a:lnTo>
                  <a:pt x="126" y="15"/>
                </a:lnTo>
                <a:lnTo>
                  <a:pt x="127" y="15"/>
                </a:lnTo>
                <a:lnTo>
                  <a:pt x="131" y="14"/>
                </a:lnTo>
                <a:lnTo>
                  <a:pt x="133" y="14"/>
                </a:lnTo>
                <a:lnTo>
                  <a:pt x="131" y="10"/>
                </a:lnTo>
                <a:lnTo>
                  <a:pt x="133" y="8"/>
                </a:lnTo>
                <a:lnTo>
                  <a:pt x="133" y="7"/>
                </a:lnTo>
                <a:lnTo>
                  <a:pt x="136" y="5"/>
                </a:lnTo>
                <a:lnTo>
                  <a:pt x="136" y="3"/>
                </a:lnTo>
                <a:lnTo>
                  <a:pt x="138" y="3"/>
                </a:lnTo>
                <a:lnTo>
                  <a:pt x="139" y="2"/>
                </a:lnTo>
                <a:lnTo>
                  <a:pt x="141" y="2"/>
                </a:lnTo>
                <a:lnTo>
                  <a:pt x="141" y="0"/>
                </a:lnTo>
                <a:lnTo>
                  <a:pt x="143" y="0"/>
                </a:lnTo>
                <a:lnTo>
                  <a:pt x="143" y="2"/>
                </a:lnTo>
                <a:lnTo>
                  <a:pt x="144" y="3"/>
                </a:lnTo>
                <a:lnTo>
                  <a:pt x="146" y="5"/>
                </a:lnTo>
                <a:lnTo>
                  <a:pt x="146" y="8"/>
                </a:lnTo>
                <a:lnTo>
                  <a:pt x="150" y="10"/>
                </a:lnTo>
                <a:lnTo>
                  <a:pt x="151" y="10"/>
                </a:lnTo>
                <a:lnTo>
                  <a:pt x="151" y="12"/>
                </a:lnTo>
                <a:lnTo>
                  <a:pt x="153" y="15"/>
                </a:lnTo>
                <a:lnTo>
                  <a:pt x="156" y="15"/>
                </a:lnTo>
                <a:lnTo>
                  <a:pt x="158" y="14"/>
                </a:lnTo>
                <a:lnTo>
                  <a:pt x="161" y="15"/>
                </a:lnTo>
                <a:lnTo>
                  <a:pt x="161" y="17"/>
                </a:lnTo>
                <a:lnTo>
                  <a:pt x="163" y="15"/>
                </a:lnTo>
                <a:lnTo>
                  <a:pt x="165" y="15"/>
                </a:lnTo>
                <a:lnTo>
                  <a:pt x="167" y="15"/>
                </a:lnTo>
                <a:lnTo>
                  <a:pt x="170" y="15"/>
                </a:lnTo>
                <a:lnTo>
                  <a:pt x="170" y="14"/>
                </a:lnTo>
                <a:lnTo>
                  <a:pt x="172" y="15"/>
                </a:lnTo>
                <a:lnTo>
                  <a:pt x="173" y="15"/>
                </a:lnTo>
                <a:lnTo>
                  <a:pt x="175" y="14"/>
                </a:lnTo>
                <a:lnTo>
                  <a:pt x="177" y="15"/>
                </a:lnTo>
                <a:lnTo>
                  <a:pt x="177" y="17"/>
                </a:lnTo>
                <a:lnTo>
                  <a:pt x="180" y="17"/>
                </a:lnTo>
                <a:lnTo>
                  <a:pt x="180" y="19"/>
                </a:lnTo>
                <a:lnTo>
                  <a:pt x="184" y="19"/>
                </a:lnTo>
                <a:lnTo>
                  <a:pt x="185" y="20"/>
                </a:lnTo>
                <a:lnTo>
                  <a:pt x="185" y="22"/>
                </a:lnTo>
                <a:lnTo>
                  <a:pt x="187" y="22"/>
                </a:lnTo>
                <a:lnTo>
                  <a:pt x="189" y="22"/>
                </a:lnTo>
                <a:lnTo>
                  <a:pt x="190" y="22"/>
                </a:lnTo>
                <a:lnTo>
                  <a:pt x="190" y="24"/>
                </a:lnTo>
                <a:lnTo>
                  <a:pt x="194" y="24"/>
                </a:lnTo>
                <a:lnTo>
                  <a:pt x="194" y="25"/>
                </a:lnTo>
                <a:lnTo>
                  <a:pt x="195" y="27"/>
                </a:lnTo>
                <a:lnTo>
                  <a:pt x="197" y="27"/>
                </a:lnTo>
                <a:lnTo>
                  <a:pt x="199" y="29"/>
                </a:lnTo>
                <a:lnTo>
                  <a:pt x="202" y="31"/>
                </a:lnTo>
                <a:lnTo>
                  <a:pt x="202" y="32"/>
                </a:lnTo>
                <a:lnTo>
                  <a:pt x="204" y="34"/>
                </a:lnTo>
                <a:lnTo>
                  <a:pt x="206" y="36"/>
                </a:lnTo>
                <a:lnTo>
                  <a:pt x="207" y="36"/>
                </a:lnTo>
                <a:lnTo>
                  <a:pt x="209" y="37"/>
                </a:lnTo>
                <a:lnTo>
                  <a:pt x="212" y="37"/>
                </a:lnTo>
                <a:lnTo>
                  <a:pt x="214" y="37"/>
                </a:lnTo>
                <a:lnTo>
                  <a:pt x="216" y="37"/>
                </a:lnTo>
                <a:lnTo>
                  <a:pt x="219" y="37"/>
                </a:lnTo>
                <a:close/>
                <a:moveTo>
                  <a:pt x="5" y="107"/>
                </a:moveTo>
                <a:lnTo>
                  <a:pt x="5" y="104"/>
                </a:lnTo>
                <a:lnTo>
                  <a:pt x="7" y="102"/>
                </a:lnTo>
                <a:lnTo>
                  <a:pt x="7" y="99"/>
                </a:lnTo>
                <a:lnTo>
                  <a:pt x="7" y="97"/>
                </a:lnTo>
                <a:lnTo>
                  <a:pt x="7" y="95"/>
                </a:lnTo>
                <a:lnTo>
                  <a:pt x="7" y="92"/>
                </a:lnTo>
                <a:lnTo>
                  <a:pt x="7" y="90"/>
                </a:lnTo>
                <a:lnTo>
                  <a:pt x="7" y="88"/>
                </a:lnTo>
                <a:lnTo>
                  <a:pt x="7" y="85"/>
                </a:lnTo>
                <a:lnTo>
                  <a:pt x="7" y="82"/>
                </a:lnTo>
                <a:lnTo>
                  <a:pt x="7" y="80"/>
                </a:lnTo>
                <a:lnTo>
                  <a:pt x="5" y="78"/>
                </a:lnTo>
                <a:lnTo>
                  <a:pt x="5" y="76"/>
                </a:lnTo>
                <a:lnTo>
                  <a:pt x="7" y="78"/>
                </a:lnTo>
                <a:lnTo>
                  <a:pt x="7" y="80"/>
                </a:lnTo>
                <a:lnTo>
                  <a:pt x="8" y="83"/>
                </a:lnTo>
                <a:lnTo>
                  <a:pt x="8" y="85"/>
                </a:lnTo>
                <a:lnTo>
                  <a:pt x="8" y="87"/>
                </a:lnTo>
                <a:lnTo>
                  <a:pt x="8" y="88"/>
                </a:lnTo>
                <a:lnTo>
                  <a:pt x="8" y="92"/>
                </a:lnTo>
                <a:lnTo>
                  <a:pt x="8" y="94"/>
                </a:lnTo>
                <a:lnTo>
                  <a:pt x="8" y="95"/>
                </a:lnTo>
                <a:lnTo>
                  <a:pt x="8" y="97"/>
                </a:lnTo>
                <a:lnTo>
                  <a:pt x="8" y="99"/>
                </a:lnTo>
                <a:lnTo>
                  <a:pt x="7" y="100"/>
                </a:lnTo>
                <a:lnTo>
                  <a:pt x="8" y="104"/>
                </a:lnTo>
                <a:lnTo>
                  <a:pt x="7" y="105"/>
                </a:lnTo>
                <a:lnTo>
                  <a:pt x="5" y="107"/>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69" name="Freeform 45">
            <a:extLst>
              <a:ext uri="{FF2B5EF4-FFF2-40B4-BE49-F238E27FC236}">
                <a16:creationId xmlns:a16="http://schemas.microsoft.com/office/drawing/2014/main" id="{A7D6105A-D8F7-499A-B839-D857FABF5F6F}"/>
              </a:ext>
            </a:extLst>
          </p:cNvPr>
          <p:cNvSpPr>
            <a:spLocks/>
          </p:cNvSpPr>
          <p:nvPr/>
        </p:nvSpPr>
        <p:spPr bwMode="gray">
          <a:xfrm>
            <a:off x="4520621" y="4767451"/>
            <a:ext cx="365147" cy="333924"/>
          </a:xfrm>
          <a:custGeom>
            <a:avLst/>
            <a:gdLst>
              <a:gd name="T0" fmla="*/ 95 w 134"/>
              <a:gd name="T1" fmla="*/ 6 h 117"/>
              <a:gd name="T2" fmla="*/ 100 w 134"/>
              <a:gd name="T3" fmla="*/ 13 h 117"/>
              <a:gd name="T4" fmla="*/ 105 w 134"/>
              <a:gd name="T5" fmla="*/ 17 h 117"/>
              <a:gd name="T6" fmla="*/ 112 w 134"/>
              <a:gd name="T7" fmla="*/ 17 h 117"/>
              <a:gd name="T8" fmla="*/ 121 w 134"/>
              <a:gd name="T9" fmla="*/ 18 h 117"/>
              <a:gd name="T10" fmla="*/ 124 w 134"/>
              <a:gd name="T11" fmla="*/ 27 h 117"/>
              <a:gd name="T12" fmla="*/ 129 w 134"/>
              <a:gd name="T13" fmla="*/ 34 h 117"/>
              <a:gd name="T14" fmla="*/ 133 w 134"/>
              <a:gd name="T15" fmla="*/ 39 h 117"/>
              <a:gd name="T16" fmla="*/ 129 w 134"/>
              <a:gd name="T17" fmla="*/ 46 h 117"/>
              <a:gd name="T18" fmla="*/ 133 w 134"/>
              <a:gd name="T19" fmla="*/ 54 h 117"/>
              <a:gd name="T20" fmla="*/ 134 w 134"/>
              <a:gd name="T21" fmla="*/ 63 h 117"/>
              <a:gd name="T22" fmla="*/ 128 w 134"/>
              <a:gd name="T23" fmla="*/ 68 h 117"/>
              <a:gd name="T24" fmla="*/ 124 w 134"/>
              <a:gd name="T25" fmla="*/ 73 h 117"/>
              <a:gd name="T26" fmla="*/ 126 w 134"/>
              <a:gd name="T27" fmla="*/ 80 h 117"/>
              <a:gd name="T28" fmla="*/ 119 w 134"/>
              <a:gd name="T29" fmla="*/ 80 h 117"/>
              <a:gd name="T30" fmla="*/ 116 w 134"/>
              <a:gd name="T31" fmla="*/ 85 h 117"/>
              <a:gd name="T32" fmla="*/ 109 w 134"/>
              <a:gd name="T33" fmla="*/ 86 h 117"/>
              <a:gd name="T34" fmla="*/ 102 w 134"/>
              <a:gd name="T35" fmla="*/ 85 h 117"/>
              <a:gd name="T36" fmla="*/ 94 w 134"/>
              <a:gd name="T37" fmla="*/ 88 h 117"/>
              <a:gd name="T38" fmla="*/ 85 w 134"/>
              <a:gd name="T39" fmla="*/ 90 h 117"/>
              <a:gd name="T40" fmla="*/ 82 w 134"/>
              <a:gd name="T41" fmla="*/ 97 h 117"/>
              <a:gd name="T42" fmla="*/ 78 w 134"/>
              <a:gd name="T43" fmla="*/ 103 h 117"/>
              <a:gd name="T44" fmla="*/ 71 w 134"/>
              <a:gd name="T45" fmla="*/ 109 h 117"/>
              <a:gd name="T46" fmla="*/ 66 w 134"/>
              <a:gd name="T47" fmla="*/ 110 h 117"/>
              <a:gd name="T48" fmla="*/ 58 w 134"/>
              <a:gd name="T49" fmla="*/ 109 h 117"/>
              <a:gd name="T50" fmla="*/ 53 w 134"/>
              <a:gd name="T51" fmla="*/ 114 h 117"/>
              <a:gd name="T52" fmla="*/ 46 w 134"/>
              <a:gd name="T53" fmla="*/ 114 h 117"/>
              <a:gd name="T54" fmla="*/ 36 w 134"/>
              <a:gd name="T55" fmla="*/ 117 h 117"/>
              <a:gd name="T56" fmla="*/ 29 w 134"/>
              <a:gd name="T57" fmla="*/ 114 h 117"/>
              <a:gd name="T58" fmla="*/ 22 w 134"/>
              <a:gd name="T59" fmla="*/ 115 h 117"/>
              <a:gd name="T60" fmla="*/ 14 w 134"/>
              <a:gd name="T61" fmla="*/ 103 h 117"/>
              <a:gd name="T62" fmla="*/ 10 w 134"/>
              <a:gd name="T63" fmla="*/ 98 h 117"/>
              <a:gd name="T64" fmla="*/ 5 w 134"/>
              <a:gd name="T65" fmla="*/ 92 h 117"/>
              <a:gd name="T66" fmla="*/ 7 w 134"/>
              <a:gd name="T67" fmla="*/ 85 h 117"/>
              <a:gd name="T68" fmla="*/ 3 w 134"/>
              <a:gd name="T69" fmla="*/ 76 h 117"/>
              <a:gd name="T70" fmla="*/ 3 w 134"/>
              <a:gd name="T71" fmla="*/ 71 h 117"/>
              <a:gd name="T72" fmla="*/ 2 w 134"/>
              <a:gd name="T73" fmla="*/ 63 h 117"/>
              <a:gd name="T74" fmla="*/ 3 w 134"/>
              <a:gd name="T75" fmla="*/ 54 h 117"/>
              <a:gd name="T76" fmla="*/ 3 w 134"/>
              <a:gd name="T77" fmla="*/ 49 h 117"/>
              <a:gd name="T78" fmla="*/ 10 w 134"/>
              <a:gd name="T79" fmla="*/ 49 h 117"/>
              <a:gd name="T80" fmla="*/ 12 w 134"/>
              <a:gd name="T81" fmla="*/ 40 h 117"/>
              <a:gd name="T82" fmla="*/ 12 w 134"/>
              <a:gd name="T83" fmla="*/ 34 h 117"/>
              <a:gd name="T84" fmla="*/ 19 w 134"/>
              <a:gd name="T85" fmla="*/ 29 h 117"/>
              <a:gd name="T86" fmla="*/ 24 w 134"/>
              <a:gd name="T87" fmla="*/ 25 h 117"/>
              <a:gd name="T88" fmla="*/ 31 w 134"/>
              <a:gd name="T89" fmla="*/ 23 h 117"/>
              <a:gd name="T90" fmla="*/ 37 w 134"/>
              <a:gd name="T91" fmla="*/ 27 h 117"/>
              <a:gd name="T92" fmla="*/ 39 w 134"/>
              <a:gd name="T93" fmla="*/ 22 h 117"/>
              <a:gd name="T94" fmla="*/ 44 w 134"/>
              <a:gd name="T95" fmla="*/ 17 h 117"/>
              <a:gd name="T96" fmla="*/ 48 w 134"/>
              <a:gd name="T97" fmla="*/ 13 h 117"/>
              <a:gd name="T98" fmla="*/ 53 w 134"/>
              <a:gd name="T99" fmla="*/ 13 h 117"/>
              <a:gd name="T100" fmla="*/ 61 w 134"/>
              <a:gd name="T101" fmla="*/ 12 h 117"/>
              <a:gd name="T102" fmla="*/ 66 w 134"/>
              <a:gd name="T103" fmla="*/ 8 h 117"/>
              <a:gd name="T104" fmla="*/ 71 w 134"/>
              <a:gd name="T105" fmla="*/ 6 h 117"/>
              <a:gd name="T106" fmla="*/ 80 w 134"/>
              <a:gd name="T107" fmla="*/ 6 h 117"/>
              <a:gd name="T108" fmla="*/ 83 w 134"/>
              <a:gd name="T109" fmla="*/ 3 h 117"/>
              <a:gd name="T110" fmla="*/ 90 w 134"/>
              <a:gd name="T111" fmla="*/ 3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4" h="117">
                <a:moveTo>
                  <a:pt x="90" y="3"/>
                </a:moveTo>
                <a:lnTo>
                  <a:pt x="92" y="3"/>
                </a:lnTo>
                <a:lnTo>
                  <a:pt x="94" y="5"/>
                </a:lnTo>
                <a:lnTo>
                  <a:pt x="95" y="6"/>
                </a:lnTo>
                <a:lnTo>
                  <a:pt x="97" y="8"/>
                </a:lnTo>
                <a:lnTo>
                  <a:pt x="99" y="10"/>
                </a:lnTo>
                <a:lnTo>
                  <a:pt x="100" y="10"/>
                </a:lnTo>
                <a:lnTo>
                  <a:pt x="100" y="13"/>
                </a:lnTo>
                <a:lnTo>
                  <a:pt x="102" y="13"/>
                </a:lnTo>
                <a:lnTo>
                  <a:pt x="104" y="15"/>
                </a:lnTo>
                <a:lnTo>
                  <a:pt x="105" y="15"/>
                </a:lnTo>
                <a:lnTo>
                  <a:pt x="105" y="17"/>
                </a:lnTo>
                <a:lnTo>
                  <a:pt x="107" y="17"/>
                </a:lnTo>
                <a:lnTo>
                  <a:pt x="109" y="17"/>
                </a:lnTo>
                <a:lnTo>
                  <a:pt x="111" y="18"/>
                </a:lnTo>
                <a:lnTo>
                  <a:pt x="112" y="17"/>
                </a:lnTo>
                <a:lnTo>
                  <a:pt x="114" y="18"/>
                </a:lnTo>
                <a:lnTo>
                  <a:pt x="117" y="18"/>
                </a:lnTo>
                <a:lnTo>
                  <a:pt x="119" y="20"/>
                </a:lnTo>
                <a:lnTo>
                  <a:pt x="121" y="18"/>
                </a:lnTo>
                <a:lnTo>
                  <a:pt x="121" y="20"/>
                </a:lnTo>
                <a:lnTo>
                  <a:pt x="122" y="22"/>
                </a:lnTo>
                <a:lnTo>
                  <a:pt x="122" y="25"/>
                </a:lnTo>
                <a:lnTo>
                  <a:pt x="124" y="27"/>
                </a:lnTo>
                <a:lnTo>
                  <a:pt x="124" y="29"/>
                </a:lnTo>
                <a:lnTo>
                  <a:pt x="126" y="30"/>
                </a:lnTo>
                <a:lnTo>
                  <a:pt x="128" y="32"/>
                </a:lnTo>
                <a:lnTo>
                  <a:pt x="129" y="34"/>
                </a:lnTo>
                <a:lnTo>
                  <a:pt x="129" y="35"/>
                </a:lnTo>
                <a:lnTo>
                  <a:pt x="131" y="35"/>
                </a:lnTo>
                <a:lnTo>
                  <a:pt x="133" y="37"/>
                </a:lnTo>
                <a:lnTo>
                  <a:pt x="133" y="39"/>
                </a:lnTo>
                <a:lnTo>
                  <a:pt x="133" y="40"/>
                </a:lnTo>
                <a:lnTo>
                  <a:pt x="133" y="42"/>
                </a:lnTo>
                <a:lnTo>
                  <a:pt x="131" y="44"/>
                </a:lnTo>
                <a:lnTo>
                  <a:pt x="129" y="46"/>
                </a:lnTo>
                <a:lnTo>
                  <a:pt x="131" y="49"/>
                </a:lnTo>
                <a:lnTo>
                  <a:pt x="133" y="51"/>
                </a:lnTo>
                <a:lnTo>
                  <a:pt x="131" y="52"/>
                </a:lnTo>
                <a:lnTo>
                  <a:pt x="133" y="54"/>
                </a:lnTo>
                <a:lnTo>
                  <a:pt x="133" y="56"/>
                </a:lnTo>
                <a:lnTo>
                  <a:pt x="134" y="58"/>
                </a:lnTo>
                <a:lnTo>
                  <a:pt x="133" y="61"/>
                </a:lnTo>
                <a:lnTo>
                  <a:pt x="134" y="63"/>
                </a:lnTo>
                <a:lnTo>
                  <a:pt x="134" y="64"/>
                </a:lnTo>
                <a:lnTo>
                  <a:pt x="133" y="66"/>
                </a:lnTo>
                <a:lnTo>
                  <a:pt x="129" y="66"/>
                </a:lnTo>
                <a:lnTo>
                  <a:pt x="128" y="68"/>
                </a:lnTo>
                <a:lnTo>
                  <a:pt x="126" y="68"/>
                </a:lnTo>
                <a:lnTo>
                  <a:pt x="124" y="69"/>
                </a:lnTo>
                <a:lnTo>
                  <a:pt x="124" y="71"/>
                </a:lnTo>
                <a:lnTo>
                  <a:pt x="124" y="73"/>
                </a:lnTo>
                <a:lnTo>
                  <a:pt x="124" y="75"/>
                </a:lnTo>
                <a:lnTo>
                  <a:pt x="124" y="76"/>
                </a:lnTo>
                <a:lnTo>
                  <a:pt x="126" y="78"/>
                </a:lnTo>
                <a:lnTo>
                  <a:pt x="126" y="80"/>
                </a:lnTo>
                <a:lnTo>
                  <a:pt x="124" y="81"/>
                </a:lnTo>
                <a:lnTo>
                  <a:pt x="122" y="81"/>
                </a:lnTo>
                <a:lnTo>
                  <a:pt x="121" y="80"/>
                </a:lnTo>
                <a:lnTo>
                  <a:pt x="119" y="80"/>
                </a:lnTo>
                <a:lnTo>
                  <a:pt x="119" y="81"/>
                </a:lnTo>
                <a:lnTo>
                  <a:pt x="119" y="83"/>
                </a:lnTo>
                <a:lnTo>
                  <a:pt x="117" y="85"/>
                </a:lnTo>
                <a:lnTo>
                  <a:pt x="116" y="85"/>
                </a:lnTo>
                <a:lnTo>
                  <a:pt x="114" y="85"/>
                </a:lnTo>
                <a:lnTo>
                  <a:pt x="112" y="86"/>
                </a:lnTo>
                <a:lnTo>
                  <a:pt x="111" y="86"/>
                </a:lnTo>
                <a:lnTo>
                  <a:pt x="109" y="86"/>
                </a:lnTo>
                <a:lnTo>
                  <a:pt x="107" y="85"/>
                </a:lnTo>
                <a:lnTo>
                  <a:pt x="104" y="86"/>
                </a:lnTo>
                <a:lnTo>
                  <a:pt x="104" y="85"/>
                </a:lnTo>
                <a:lnTo>
                  <a:pt x="102" y="85"/>
                </a:lnTo>
                <a:lnTo>
                  <a:pt x="100" y="85"/>
                </a:lnTo>
                <a:lnTo>
                  <a:pt x="97" y="85"/>
                </a:lnTo>
                <a:lnTo>
                  <a:pt x="95" y="86"/>
                </a:lnTo>
                <a:lnTo>
                  <a:pt x="94" y="88"/>
                </a:lnTo>
                <a:lnTo>
                  <a:pt x="90" y="88"/>
                </a:lnTo>
                <a:lnTo>
                  <a:pt x="88" y="86"/>
                </a:lnTo>
                <a:lnTo>
                  <a:pt x="88" y="88"/>
                </a:lnTo>
                <a:lnTo>
                  <a:pt x="85" y="90"/>
                </a:lnTo>
                <a:lnTo>
                  <a:pt x="83" y="92"/>
                </a:lnTo>
                <a:lnTo>
                  <a:pt x="82" y="93"/>
                </a:lnTo>
                <a:lnTo>
                  <a:pt x="83" y="97"/>
                </a:lnTo>
                <a:lnTo>
                  <a:pt x="82" y="97"/>
                </a:lnTo>
                <a:lnTo>
                  <a:pt x="82" y="98"/>
                </a:lnTo>
                <a:lnTo>
                  <a:pt x="80" y="100"/>
                </a:lnTo>
                <a:lnTo>
                  <a:pt x="78" y="102"/>
                </a:lnTo>
                <a:lnTo>
                  <a:pt x="78" y="103"/>
                </a:lnTo>
                <a:lnTo>
                  <a:pt x="77" y="105"/>
                </a:lnTo>
                <a:lnTo>
                  <a:pt x="73" y="105"/>
                </a:lnTo>
                <a:lnTo>
                  <a:pt x="71" y="105"/>
                </a:lnTo>
                <a:lnTo>
                  <a:pt x="71" y="109"/>
                </a:lnTo>
                <a:lnTo>
                  <a:pt x="70" y="109"/>
                </a:lnTo>
                <a:lnTo>
                  <a:pt x="68" y="112"/>
                </a:lnTo>
                <a:lnTo>
                  <a:pt x="66" y="112"/>
                </a:lnTo>
                <a:lnTo>
                  <a:pt x="66" y="110"/>
                </a:lnTo>
                <a:lnTo>
                  <a:pt x="63" y="109"/>
                </a:lnTo>
                <a:lnTo>
                  <a:pt x="61" y="109"/>
                </a:lnTo>
                <a:lnTo>
                  <a:pt x="60" y="110"/>
                </a:lnTo>
                <a:lnTo>
                  <a:pt x="58" y="109"/>
                </a:lnTo>
                <a:lnTo>
                  <a:pt x="58" y="110"/>
                </a:lnTo>
                <a:lnTo>
                  <a:pt x="56" y="110"/>
                </a:lnTo>
                <a:lnTo>
                  <a:pt x="54" y="112"/>
                </a:lnTo>
                <a:lnTo>
                  <a:pt x="53" y="114"/>
                </a:lnTo>
                <a:lnTo>
                  <a:pt x="49" y="115"/>
                </a:lnTo>
                <a:lnTo>
                  <a:pt x="49" y="114"/>
                </a:lnTo>
                <a:lnTo>
                  <a:pt x="48" y="114"/>
                </a:lnTo>
                <a:lnTo>
                  <a:pt x="46" y="114"/>
                </a:lnTo>
                <a:lnTo>
                  <a:pt x="44" y="115"/>
                </a:lnTo>
                <a:lnTo>
                  <a:pt x="43" y="117"/>
                </a:lnTo>
                <a:lnTo>
                  <a:pt x="39" y="117"/>
                </a:lnTo>
                <a:lnTo>
                  <a:pt x="36" y="117"/>
                </a:lnTo>
                <a:lnTo>
                  <a:pt x="34" y="115"/>
                </a:lnTo>
                <a:lnTo>
                  <a:pt x="32" y="114"/>
                </a:lnTo>
                <a:lnTo>
                  <a:pt x="31" y="114"/>
                </a:lnTo>
                <a:lnTo>
                  <a:pt x="29" y="114"/>
                </a:lnTo>
                <a:lnTo>
                  <a:pt x="27" y="112"/>
                </a:lnTo>
                <a:lnTo>
                  <a:pt x="27" y="115"/>
                </a:lnTo>
                <a:lnTo>
                  <a:pt x="26" y="115"/>
                </a:lnTo>
                <a:lnTo>
                  <a:pt x="22" y="115"/>
                </a:lnTo>
                <a:lnTo>
                  <a:pt x="20" y="114"/>
                </a:lnTo>
                <a:lnTo>
                  <a:pt x="19" y="110"/>
                </a:lnTo>
                <a:lnTo>
                  <a:pt x="17" y="103"/>
                </a:lnTo>
                <a:lnTo>
                  <a:pt x="14" y="103"/>
                </a:lnTo>
                <a:lnTo>
                  <a:pt x="12" y="103"/>
                </a:lnTo>
                <a:lnTo>
                  <a:pt x="12" y="102"/>
                </a:lnTo>
                <a:lnTo>
                  <a:pt x="12" y="100"/>
                </a:lnTo>
                <a:lnTo>
                  <a:pt x="10" y="98"/>
                </a:lnTo>
                <a:lnTo>
                  <a:pt x="9" y="97"/>
                </a:lnTo>
                <a:lnTo>
                  <a:pt x="7" y="95"/>
                </a:lnTo>
                <a:lnTo>
                  <a:pt x="7" y="93"/>
                </a:lnTo>
                <a:lnTo>
                  <a:pt x="5" y="92"/>
                </a:lnTo>
                <a:lnTo>
                  <a:pt x="5" y="88"/>
                </a:lnTo>
                <a:lnTo>
                  <a:pt x="3" y="88"/>
                </a:lnTo>
                <a:lnTo>
                  <a:pt x="5" y="86"/>
                </a:lnTo>
                <a:lnTo>
                  <a:pt x="7" y="85"/>
                </a:lnTo>
                <a:lnTo>
                  <a:pt x="7" y="81"/>
                </a:lnTo>
                <a:lnTo>
                  <a:pt x="5" y="80"/>
                </a:lnTo>
                <a:lnTo>
                  <a:pt x="3" y="80"/>
                </a:lnTo>
                <a:lnTo>
                  <a:pt x="3" y="76"/>
                </a:lnTo>
                <a:lnTo>
                  <a:pt x="0" y="75"/>
                </a:lnTo>
                <a:lnTo>
                  <a:pt x="2" y="73"/>
                </a:lnTo>
                <a:lnTo>
                  <a:pt x="0" y="73"/>
                </a:lnTo>
                <a:lnTo>
                  <a:pt x="3" y="71"/>
                </a:lnTo>
                <a:lnTo>
                  <a:pt x="5" y="69"/>
                </a:lnTo>
                <a:lnTo>
                  <a:pt x="3" y="68"/>
                </a:lnTo>
                <a:lnTo>
                  <a:pt x="2" y="64"/>
                </a:lnTo>
                <a:lnTo>
                  <a:pt x="2" y="63"/>
                </a:lnTo>
                <a:lnTo>
                  <a:pt x="2" y="59"/>
                </a:lnTo>
                <a:lnTo>
                  <a:pt x="2" y="58"/>
                </a:lnTo>
                <a:lnTo>
                  <a:pt x="2" y="56"/>
                </a:lnTo>
                <a:lnTo>
                  <a:pt x="3" y="54"/>
                </a:lnTo>
                <a:lnTo>
                  <a:pt x="3" y="52"/>
                </a:lnTo>
                <a:lnTo>
                  <a:pt x="3" y="51"/>
                </a:lnTo>
                <a:lnTo>
                  <a:pt x="2" y="49"/>
                </a:lnTo>
                <a:lnTo>
                  <a:pt x="3" y="49"/>
                </a:lnTo>
                <a:lnTo>
                  <a:pt x="5" y="51"/>
                </a:lnTo>
                <a:lnTo>
                  <a:pt x="7" y="47"/>
                </a:lnTo>
                <a:lnTo>
                  <a:pt x="9" y="49"/>
                </a:lnTo>
                <a:lnTo>
                  <a:pt x="10" y="49"/>
                </a:lnTo>
                <a:lnTo>
                  <a:pt x="12" y="46"/>
                </a:lnTo>
                <a:lnTo>
                  <a:pt x="14" y="44"/>
                </a:lnTo>
                <a:lnTo>
                  <a:pt x="12" y="42"/>
                </a:lnTo>
                <a:lnTo>
                  <a:pt x="12" y="40"/>
                </a:lnTo>
                <a:lnTo>
                  <a:pt x="10" y="40"/>
                </a:lnTo>
                <a:lnTo>
                  <a:pt x="10" y="37"/>
                </a:lnTo>
                <a:lnTo>
                  <a:pt x="10" y="35"/>
                </a:lnTo>
                <a:lnTo>
                  <a:pt x="12" y="34"/>
                </a:lnTo>
                <a:lnTo>
                  <a:pt x="14" y="32"/>
                </a:lnTo>
                <a:lnTo>
                  <a:pt x="15" y="30"/>
                </a:lnTo>
                <a:lnTo>
                  <a:pt x="17" y="30"/>
                </a:lnTo>
                <a:lnTo>
                  <a:pt x="19" y="29"/>
                </a:lnTo>
                <a:lnTo>
                  <a:pt x="19" y="27"/>
                </a:lnTo>
                <a:lnTo>
                  <a:pt x="20" y="27"/>
                </a:lnTo>
                <a:lnTo>
                  <a:pt x="22" y="27"/>
                </a:lnTo>
                <a:lnTo>
                  <a:pt x="24" y="25"/>
                </a:lnTo>
                <a:lnTo>
                  <a:pt x="26" y="23"/>
                </a:lnTo>
                <a:lnTo>
                  <a:pt x="27" y="22"/>
                </a:lnTo>
                <a:lnTo>
                  <a:pt x="31" y="22"/>
                </a:lnTo>
                <a:lnTo>
                  <a:pt x="31" y="23"/>
                </a:lnTo>
                <a:lnTo>
                  <a:pt x="34" y="25"/>
                </a:lnTo>
                <a:lnTo>
                  <a:pt x="34" y="29"/>
                </a:lnTo>
                <a:lnTo>
                  <a:pt x="36" y="29"/>
                </a:lnTo>
                <a:lnTo>
                  <a:pt x="37" y="27"/>
                </a:lnTo>
                <a:lnTo>
                  <a:pt x="39" y="27"/>
                </a:lnTo>
                <a:lnTo>
                  <a:pt x="37" y="23"/>
                </a:lnTo>
                <a:lnTo>
                  <a:pt x="39" y="23"/>
                </a:lnTo>
                <a:lnTo>
                  <a:pt x="39" y="22"/>
                </a:lnTo>
                <a:lnTo>
                  <a:pt x="39" y="20"/>
                </a:lnTo>
                <a:lnTo>
                  <a:pt x="41" y="18"/>
                </a:lnTo>
                <a:lnTo>
                  <a:pt x="41" y="17"/>
                </a:lnTo>
                <a:lnTo>
                  <a:pt x="44" y="17"/>
                </a:lnTo>
                <a:lnTo>
                  <a:pt x="44" y="15"/>
                </a:lnTo>
                <a:lnTo>
                  <a:pt x="44" y="13"/>
                </a:lnTo>
                <a:lnTo>
                  <a:pt x="46" y="13"/>
                </a:lnTo>
                <a:lnTo>
                  <a:pt x="48" y="13"/>
                </a:lnTo>
                <a:lnTo>
                  <a:pt x="48" y="15"/>
                </a:lnTo>
                <a:lnTo>
                  <a:pt x="51" y="15"/>
                </a:lnTo>
                <a:lnTo>
                  <a:pt x="51" y="13"/>
                </a:lnTo>
                <a:lnTo>
                  <a:pt x="53" y="13"/>
                </a:lnTo>
                <a:lnTo>
                  <a:pt x="56" y="13"/>
                </a:lnTo>
                <a:lnTo>
                  <a:pt x="58" y="15"/>
                </a:lnTo>
                <a:lnTo>
                  <a:pt x="60" y="12"/>
                </a:lnTo>
                <a:lnTo>
                  <a:pt x="61" y="12"/>
                </a:lnTo>
                <a:lnTo>
                  <a:pt x="61" y="10"/>
                </a:lnTo>
                <a:lnTo>
                  <a:pt x="63" y="10"/>
                </a:lnTo>
                <a:lnTo>
                  <a:pt x="65" y="6"/>
                </a:lnTo>
                <a:lnTo>
                  <a:pt x="66" y="8"/>
                </a:lnTo>
                <a:lnTo>
                  <a:pt x="68" y="8"/>
                </a:lnTo>
                <a:lnTo>
                  <a:pt x="68" y="6"/>
                </a:lnTo>
                <a:lnTo>
                  <a:pt x="70" y="5"/>
                </a:lnTo>
                <a:lnTo>
                  <a:pt x="71" y="6"/>
                </a:lnTo>
                <a:lnTo>
                  <a:pt x="73" y="6"/>
                </a:lnTo>
                <a:lnTo>
                  <a:pt x="77" y="6"/>
                </a:lnTo>
                <a:lnTo>
                  <a:pt x="78" y="5"/>
                </a:lnTo>
                <a:lnTo>
                  <a:pt x="80" y="6"/>
                </a:lnTo>
                <a:lnTo>
                  <a:pt x="80" y="5"/>
                </a:lnTo>
                <a:lnTo>
                  <a:pt x="82" y="5"/>
                </a:lnTo>
                <a:lnTo>
                  <a:pt x="82" y="3"/>
                </a:lnTo>
                <a:lnTo>
                  <a:pt x="83" y="3"/>
                </a:lnTo>
                <a:lnTo>
                  <a:pt x="85" y="1"/>
                </a:lnTo>
                <a:lnTo>
                  <a:pt x="87" y="0"/>
                </a:lnTo>
                <a:lnTo>
                  <a:pt x="87" y="1"/>
                </a:lnTo>
                <a:lnTo>
                  <a:pt x="90" y="3"/>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70" name="Freeform 46">
            <a:extLst>
              <a:ext uri="{FF2B5EF4-FFF2-40B4-BE49-F238E27FC236}">
                <a16:creationId xmlns:a16="http://schemas.microsoft.com/office/drawing/2014/main" id="{1666B738-8484-41EA-A59A-1097D02C304C}"/>
              </a:ext>
            </a:extLst>
          </p:cNvPr>
          <p:cNvSpPr>
            <a:spLocks/>
          </p:cNvSpPr>
          <p:nvPr/>
        </p:nvSpPr>
        <p:spPr bwMode="gray">
          <a:xfrm>
            <a:off x="4427972" y="4621896"/>
            <a:ext cx="250699" cy="291113"/>
          </a:xfrm>
          <a:custGeom>
            <a:avLst/>
            <a:gdLst>
              <a:gd name="T0" fmla="*/ 82 w 92"/>
              <a:gd name="T1" fmla="*/ 66 h 102"/>
              <a:gd name="T2" fmla="*/ 78 w 92"/>
              <a:gd name="T3" fmla="*/ 64 h 102"/>
              <a:gd name="T4" fmla="*/ 75 w 92"/>
              <a:gd name="T5" fmla="*/ 68 h 102"/>
              <a:gd name="T6" fmla="*/ 73 w 92"/>
              <a:gd name="T7" fmla="*/ 73 h 102"/>
              <a:gd name="T8" fmla="*/ 73 w 92"/>
              <a:gd name="T9" fmla="*/ 78 h 102"/>
              <a:gd name="T10" fmla="*/ 68 w 92"/>
              <a:gd name="T11" fmla="*/ 80 h 102"/>
              <a:gd name="T12" fmla="*/ 65 w 92"/>
              <a:gd name="T13" fmla="*/ 73 h 102"/>
              <a:gd name="T14" fmla="*/ 58 w 92"/>
              <a:gd name="T15" fmla="*/ 76 h 102"/>
              <a:gd name="T16" fmla="*/ 53 w 92"/>
              <a:gd name="T17" fmla="*/ 78 h 102"/>
              <a:gd name="T18" fmla="*/ 49 w 92"/>
              <a:gd name="T19" fmla="*/ 81 h 102"/>
              <a:gd name="T20" fmla="*/ 44 w 92"/>
              <a:gd name="T21" fmla="*/ 86 h 102"/>
              <a:gd name="T22" fmla="*/ 46 w 92"/>
              <a:gd name="T23" fmla="*/ 91 h 102"/>
              <a:gd name="T24" fmla="*/ 46 w 92"/>
              <a:gd name="T25" fmla="*/ 97 h 102"/>
              <a:gd name="T26" fmla="*/ 41 w 92"/>
              <a:gd name="T27" fmla="*/ 98 h 102"/>
              <a:gd name="T28" fmla="*/ 36 w 92"/>
              <a:gd name="T29" fmla="*/ 97 h 102"/>
              <a:gd name="T30" fmla="*/ 37 w 92"/>
              <a:gd name="T31" fmla="*/ 91 h 102"/>
              <a:gd name="T32" fmla="*/ 34 w 92"/>
              <a:gd name="T33" fmla="*/ 86 h 102"/>
              <a:gd name="T34" fmla="*/ 32 w 92"/>
              <a:gd name="T35" fmla="*/ 80 h 102"/>
              <a:gd name="T36" fmla="*/ 29 w 92"/>
              <a:gd name="T37" fmla="*/ 76 h 102"/>
              <a:gd name="T38" fmla="*/ 24 w 92"/>
              <a:gd name="T39" fmla="*/ 73 h 102"/>
              <a:gd name="T40" fmla="*/ 20 w 92"/>
              <a:gd name="T41" fmla="*/ 69 h 102"/>
              <a:gd name="T42" fmla="*/ 15 w 92"/>
              <a:gd name="T43" fmla="*/ 71 h 102"/>
              <a:gd name="T44" fmla="*/ 12 w 92"/>
              <a:gd name="T45" fmla="*/ 66 h 102"/>
              <a:gd name="T46" fmla="*/ 12 w 92"/>
              <a:gd name="T47" fmla="*/ 61 h 102"/>
              <a:gd name="T48" fmla="*/ 9 w 92"/>
              <a:gd name="T49" fmla="*/ 57 h 102"/>
              <a:gd name="T50" fmla="*/ 3 w 92"/>
              <a:gd name="T51" fmla="*/ 56 h 102"/>
              <a:gd name="T52" fmla="*/ 3 w 92"/>
              <a:gd name="T53" fmla="*/ 51 h 102"/>
              <a:gd name="T54" fmla="*/ 0 w 92"/>
              <a:gd name="T55" fmla="*/ 46 h 102"/>
              <a:gd name="T56" fmla="*/ 2 w 92"/>
              <a:gd name="T57" fmla="*/ 40 h 102"/>
              <a:gd name="T58" fmla="*/ 7 w 92"/>
              <a:gd name="T59" fmla="*/ 40 h 102"/>
              <a:gd name="T60" fmla="*/ 12 w 92"/>
              <a:gd name="T61" fmla="*/ 40 h 102"/>
              <a:gd name="T62" fmla="*/ 14 w 92"/>
              <a:gd name="T63" fmla="*/ 34 h 102"/>
              <a:gd name="T64" fmla="*/ 19 w 92"/>
              <a:gd name="T65" fmla="*/ 32 h 102"/>
              <a:gd name="T66" fmla="*/ 22 w 92"/>
              <a:gd name="T67" fmla="*/ 30 h 102"/>
              <a:gd name="T68" fmla="*/ 22 w 92"/>
              <a:gd name="T69" fmla="*/ 27 h 102"/>
              <a:gd name="T70" fmla="*/ 26 w 92"/>
              <a:gd name="T71" fmla="*/ 22 h 102"/>
              <a:gd name="T72" fmla="*/ 31 w 92"/>
              <a:gd name="T73" fmla="*/ 17 h 102"/>
              <a:gd name="T74" fmla="*/ 31 w 92"/>
              <a:gd name="T75" fmla="*/ 12 h 102"/>
              <a:gd name="T76" fmla="*/ 24 w 92"/>
              <a:gd name="T77" fmla="*/ 6 h 102"/>
              <a:gd name="T78" fmla="*/ 29 w 92"/>
              <a:gd name="T79" fmla="*/ 5 h 102"/>
              <a:gd name="T80" fmla="*/ 34 w 92"/>
              <a:gd name="T81" fmla="*/ 1 h 102"/>
              <a:gd name="T82" fmla="*/ 36 w 92"/>
              <a:gd name="T83" fmla="*/ 1 h 102"/>
              <a:gd name="T84" fmla="*/ 39 w 92"/>
              <a:gd name="T85" fmla="*/ 5 h 102"/>
              <a:gd name="T86" fmla="*/ 39 w 92"/>
              <a:gd name="T87" fmla="*/ 6 h 102"/>
              <a:gd name="T88" fmla="*/ 44 w 92"/>
              <a:gd name="T89" fmla="*/ 10 h 102"/>
              <a:gd name="T90" fmla="*/ 49 w 92"/>
              <a:gd name="T91" fmla="*/ 8 h 102"/>
              <a:gd name="T92" fmla="*/ 53 w 92"/>
              <a:gd name="T93" fmla="*/ 12 h 102"/>
              <a:gd name="T94" fmla="*/ 56 w 92"/>
              <a:gd name="T95" fmla="*/ 15 h 102"/>
              <a:gd name="T96" fmla="*/ 60 w 92"/>
              <a:gd name="T97" fmla="*/ 15 h 102"/>
              <a:gd name="T98" fmla="*/ 61 w 92"/>
              <a:gd name="T99" fmla="*/ 22 h 102"/>
              <a:gd name="T100" fmla="*/ 66 w 92"/>
              <a:gd name="T101" fmla="*/ 23 h 102"/>
              <a:gd name="T102" fmla="*/ 71 w 92"/>
              <a:gd name="T103" fmla="*/ 25 h 102"/>
              <a:gd name="T104" fmla="*/ 70 w 92"/>
              <a:gd name="T105" fmla="*/ 29 h 102"/>
              <a:gd name="T106" fmla="*/ 73 w 92"/>
              <a:gd name="T107" fmla="*/ 32 h 102"/>
              <a:gd name="T108" fmla="*/ 78 w 92"/>
              <a:gd name="T109" fmla="*/ 32 h 102"/>
              <a:gd name="T110" fmla="*/ 83 w 92"/>
              <a:gd name="T111" fmla="*/ 34 h 102"/>
              <a:gd name="T112" fmla="*/ 87 w 92"/>
              <a:gd name="T113" fmla="*/ 34 h 102"/>
              <a:gd name="T114" fmla="*/ 92 w 92"/>
              <a:gd name="T115" fmla="*/ 35 h 102"/>
              <a:gd name="T116" fmla="*/ 90 w 92"/>
              <a:gd name="T117" fmla="*/ 42 h 102"/>
              <a:gd name="T118" fmla="*/ 87 w 92"/>
              <a:gd name="T119" fmla="*/ 49 h 102"/>
              <a:gd name="T120" fmla="*/ 87 w 92"/>
              <a:gd name="T121" fmla="*/ 54 h 102"/>
              <a:gd name="T122" fmla="*/ 83 w 92"/>
              <a:gd name="T123" fmla="*/ 57 h 102"/>
              <a:gd name="T124" fmla="*/ 83 w 92"/>
              <a:gd name="T125" fmla="*/ 6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2" h="102">
                <a:moveTo>
                  <a:pt x="85" y="64"/>
                </a:moveTo>
                <a:lnTo>
                  <a:pt x="85" y="66"/>
                </a:lnTo>
                <a:lnTo>
                  <a:pt x="82" y="66"/>
                </a:lnTo>
                <a:lnTo>
                  <a:pt x="82" y="64"/>
                </a:lnTo>
                <a:lnTo>
                  <a:pt x="80" y="64"/>
                </a:lnTo>
                <a:lnTo>
                  <a:pt x="78" y="64"/>
                </a:lnTo>
                <a:lnTo>
                  <a:pt x="78" y="66"/>
                </a:lnTo>
                <a:lnTo>
                  <a:pt x="78" y="68"/>
                </a:lnTo>
                <a:lnTo>
                  <a:pt x="75" y="68"/>
                </a:lnTo>
                <a:lnTo>
                  <a:pt x="75" y="69"/>
                </a:lnTo>
                <a:lnTo>
                  <a:pt x="73" y="71"/>
                </a:lnTo>
                <a:lnTo>
                  <a:pt x="73" y="73"/>
                </a:lnTo>
                <a:lnTo>
                  <a:pt x="73" y="74"/>
                </a:lnTo>
                <a:lnTo>
                  <a:pt x="71" y="74"/>
                </a:lnTo>
                <a:lnTo>
                  <a:pt x="73" y="78"/>
                </a:lnTo>
                <a:lnTo>
                  <a:pt x="71" y="78"/>
                </a:lnTo>
                <a:lnTo>
                  <a:pt x="70" y="80"/>
                </a:lnTo>
                <a:lnTo>
                  <a:pt x="68" y="80"/>
                </a:lnTo>
                <a:lnTo>
                  <a:pt x="68" y="76"/>
                </a:lnTo>
                <a:lnTo>
                  <a:pt x="65" y="74"/>
                </a:lnTo>
                <a:lnTo>
                  <a:pt x="65" y="73"/>
                </a:lnTo>
                <a:lnTo>
                  <a:pt x="61" y="73"/>
                </a:lnTo>
                <a:lnTo>
                  <a:pt x="60" y="74"/>
                </a:lnTo>
                <a:lnTo>
                  <a:pt x="58" y="76"/>
                </a:lnTo>
                <a:lnTo>
                  <a:pt x="56" y="78"/>
                </a:lnTo>
                <a:lnTo>
                  <a:pt x="54" y="78"/>
                </a:lnTo>
                <a:lnTo>
                  <a:pt x="53" y="78"/>
                </a:lnTo>
                <a:lnTo>
                  <a:pt x="53" y="80"/>
                </a:lnTo>
                <a:lnTo>
                  <a:pt x="51" y="81"/>
                </a:lnTo>
                <a:lnTo>
                  <a:pt x="49" y="81"/>
                </a:lnTo>
                <a:lnTo>
                  <a:pt x="48" y="83"/>
                </a:lnTo>
                <a:lnTo>
                  <a:pt x="46" y="85"/>
                </a:lnTo>
                <a:lnTo>
                  <a:pt x="44" y="86"/>
                </a:lnTo>
                <a:lnTo>
                  <a:pt x="44" y="88"/>
                </a:lnTo>
                <a:lnTo>
                  <a:pt x="44" y="91"/>
                </a:lnTo>
                <a:lnTo>
                  <a:pt x="46" y="91"/>
                </a:lnTo>
                <a:lnTo>
                  <a:pt x="46" y="93"/>
                </a:lnTo>
                <a:lnTo>
                  <a:pt x="48" y="95"/>
                </a:lnTo>
                <a:lnTo>
                  <a:pt x="46" y="97"/>
                </a:lnTo>
                <a:lnTo>
                  <a:pt x="44" y="100"/>
                </a:lnTo>
                <a:lnTo>
                  <a:pt x="43" y="100"/>
                </a:lnTo>
                <a:lnTo>
                  <a:pt x="41" y="98"/>
                </a:lnTo>
                <a:lnTo>
                  <a:pt x="39" y="102"/>
                </a:lnTo>
                <a:lnTo>
                  <a:pt x="37" y="100"/>
                </a:lnTo>
                <a:lnTo>
                  <a:pt x="36" y="97"/>
                </a:lnTo>
                <a:lnTo>
                  <a:pt x="39" y="95"/>
                </a:lnTo>
                <a:lnTo>
                  <a:pt x="39" y="93"/>
                </a:lnTo>
                <a:lnTo>
                  <a:pt x="37" y="91"/>
                </a:lnTo>
                <a:lnTo>
                  <a:pt x="37" y="90"/>
                </a:lnTo>
                <a:lnTo>
                  <a:pt x="36" y="88"/>
                </a:lnTo>
                <a:lnTo>
                  <a:pt x="34" y="86"/>
                </a:lnTo>
                <a:lnTo>
                  <a:pt x="34" y="85"/>
                </a:lnTo>
                <a:lnTo>
                  <a:pt x="34" y="83"/>
                </a:lnTo>
                <a:lnTo>
                  <a:pt x="32" y="80"/>
                </a:lnTo>
                <a:lnTo>
                  <a:pt x="32" y="78"/>
                </a:lnTo>
                <a:lnTo>
                  <a:pt x="31" y="76"/>
                </a:lnTo>
                <a:lnTo>
                  <a:pt x="29" y="76"/>
                </a:lnTo>
                <a:lnTo>
                  <a:pt x="29" y="74"/>
                </a:lnTo>
                <a:lnTo>
                  <a:pt x="27" y="73"/>
                </a:lnTo>
                <a:lnTo>
                  <a:pt x="24" y="73"/>
                </a:lnTo>
                <a:lnTo>
                  <a:pt x="24" y="71"/>
                </a:lnTo>
                <a:lnTo>
                  <a:pt x="20" y="71"/>
                </a:lnTo>
                <a:lnTo>
                  <a:pt x="20" y="69"/>
                </a:lnTo>
                <a:lnTo>
                  <a:pt x="19" y="71"/>
                </a:lnTo>
                <a:lnTo>
                  <a:pt x="17" y="71"/>
                </a:lnTo>
                <a:lnTo>
                  <a:pt x="15" y="71"/>
                </a:lnTo>
                <a:lnTo>
                  <a:pt x="15" y="69"/>
                </a:lnTo>
                <a:lnTo>
                  <a:pt x="15" y="68"/>
                </a:lnTo>
                <a:lnTo>
                  <a:pt x="12" y="66"/>
                </a:lnTo>
                <a:lnTo>
                  <a:pt x="14" y="63"/>
                </a:lnTo>
                <a:lnTo>
                  <a:pt x="12" y="63"/>
                </a:lnTo>
                <a:lnTo>
                  <a:pt x="12" y="61"/>
                </a:lnTo>
                <a:lnTo>
                  <a:pt x="10" y="61"/>
                </a:lnTo>
                <a:lnTo>
                  <a:pt x="9" y="59"/>
                </a:lnTo>
                <a:lnTo>
                  <a:pt x="9" y="57"/>
                </a:lnTo>
                <a:lnTo>
                  <a:pt x="7" y="57"/>
                </a:lnTo>
                <a:lnTo>
                  <a:pt x="5" y="57"/>
                </a:lnTo>
                <a:lnTo>
                  <a:pt x="3" y="56"/>
                </a:lnTo>
                <a:lnTo>
                  <a:pt x="5" y="54"/>
                </a:lnTo>
                <a:lnTo>
                  <a:pt x="3" y="52"/>
                </a:lnTo>
                <a:lnTo>
                  <a:pt x="3" y="51"/>
                </a:lnTo>
                <a:lnTo>
                  <a:pt x="5" y="49"/>
                </a:lnTo>
                <a:lnTo>
                  <a:pt x="3" y="47"/>
                </a:lnTo>
                <a:lnTo>
                  <a:pt x="0" y="46"/>
                </a:lnTo>
                <a:lnTo>
                  <a:pt x="0" y="44"/>
                </a:lnTo>
                <a:lnTo>
                  <a:pt x="0" y="40"/>
                </a:lnTo>
                <a:lnTo>
                  <a:pt x="2" y="40"/>
                </a:lnTo>
                <a:lnTo>
                  <a:pt x="3" y="40"/>
                </a:lnTo>
                <a:lnTo>
                  <a:pt x="5" y="40"/>
                </a:lnTo>
                <a:lnTo>
                  <a:pt x="7" y="40"/>
                </a:lnTo>
                <a:lnTo>
                  <a:pt x="9" y="42"/>
                </a:lnTo>
                <a:lnTo>
                  <a:pt x="10" y="40"/>
                </a:lnTo>
                <a:lnTo>
                  <a:pt x="12" y="40"/>
                </a:lnTo>
                <a:lnTo>
                  <a:pt x="12" y="39"/>
                </a:lnTo>
                <a:lnTo>
                  <a:pt x="10" y="35"/>
                </a:lnTo>
                <a:lnTo>
                  <a:pt x="14" y="34"/>
                </a:lnTo>
                <a:lnTo>
                  <a:pt x="14" y="35"/>
                </a:lnTo>
                <a:lnTo>
                  <a:pt x="15" y="34"/>
                </a:lnTo>
                <a:lnTo>
                  <a:pt x="19" y="32"/>
                </a:lnTo>
                <a:lnTo>
                  <a:pt x="20" y="34"/>
                </a:lnTo>
                <a:lnTo>
                  <a:pt x="20" y="32"/>
                </a:lnTo>
                <a:lnTo>
                  <a:pt x="22" y="30"/>
                </a:lnTo>
                <a:lnTo>
                  <a:pt x="24" y="29"/>
                </a:lnTo>
                <a:lnTo>
                  <a:pt x="22" y="29"/>
                </a:lnTo>
                <a:lnTo>
                  <a:pt x="22" y="27"/>
                </a:lnTo>
                <a:lnTo>
                  <a:pt x="22" y="25"/>
                </a:lnTo>
                <a:lnTo>
                  <a:pt x="24" y="23"/>
                </a:lnTo>
                <a:lnTo>
                  <a:pt x="26" y="22"/>
                </a:lnTo>
                <a:lnTo>
                  <a:pt x="26" y="20"/>
                </a:lnTo>
                <a:lnTo>
                  <a:pt x="29" y="20"/>
                </a:lnTo>
                <a:lnTo>
                  <a:pt x="31" y="17"/>
                </a:lnTo>
                <a:lnTo>
                  <a:pt x="29" y="15"/>
                </a:lnTo>
                <a:lnTo>
                  <a:pt x="31" y="15"/>
                </a:lnTo>
                <a:lnTo>
                  <a:pt x="31" y="12"/>
                </a:lnTo>
                <a:lnTo>
                  <a:pt x="27" y="10"/>
                </a:lnTo>
                <a:lnTo>
                  <a:pt x="26" y="8"/>
                </a:lnTo>
                <a:lnTo>
                  <a:pt x="24" y="6"/>
                </a:lnTo>
                <a:lnTo>
                  <a:pt x="26" y="6"/>
                </a:lnTo>
                <a:lnTo>
                  <a:pt x="27" y="5"/>
                </a:lnTo>
                <a:lnTo>
                  <a:pt x="29" y="5"/>
                </a:lnTo>
                <a:lnTo>
                  <a:pt x="31" y="3"/>
                </a:lnTo>
                <a:lnTo>
                  <a:pt x="32" y="3"/>
                </a:lnTo>
                <a:lnTo>
                  <a:pt x="34" y="1"/>
                </a:lnTo>
                <a:lnTo>
                  <a:pt x="34" y="0"/>
                </a:lnTo>
                <a:lnTo>
                  <a:pt x="36" y="0"/>
                </a:lnTo>
                <a:lnTo>
                  <a:pt x="36" y="1"/>
                </a:lnTo>
                <a:lnTo>
                  <a:pt x="37" y="1"/>
                </a:lnTo>
                <a:lnTo>
                  <a:pt x="39" y="3"/>
                </a:lnTo>
                <a:lnTo>
                  <a:pt x="39" y="5"/>
                </a:lnTo>
                <a:lnTo>
                  <a:pt x="37" y="5"/>
                </a:lnTo>
                <a:lnTo>
                  <a:pt x="37" y="6"/>
                </a:lnTo>
                <a:lnTo>
                  <a:pt x="39" y="6"/>
                </a:lnTo>
                <a:lnTo>
                  <a:pt x="39" y="8"/>
                </a:lnTo>
                <a:lnTo>
                  <a:pt x="43" y="8"/>
                </a:lnTo>
                <a:lnTo>
                  <a:pt x="44" y="10"/>
                </a:lnTo>
                <a:lnTo>
                  <a:pt x="46" y="8"/>
                </a:lnTo>
                <a:lnTo>
                  <a:pt x="49" y="10"/>
                </a:lnTo>
                <a:lnTo>
                  <a:pt x="49" y="8"/>
                </a:lnTo>
                <a:lnTo>
                  <a:pt x="51" y="8"/>
                </a:lnTo>
                <a:lnTo>
                  <a:pt x="53" y="8"/>
                </a:lnTo>
                <a:lnTo>
                  <a:pt x="53" y="12"/>
                </a:lnTo>
                <a:lnTo>
                  <a:pt x="54" y="12"/>
                </a:lnTo>
                <a:lnTo>
                  <a:pt x="54" y="15"/>
                </a:lnTo>
                <a:lnTo>
                  <a:pt x="56" y="15"/>
                </a:lnTo>
                <a:lnTo>
                  <a:pt x="56" y="17"/>
                </a:lnTo>
                <a:lnTo>
                  <a:pt x="56" y="15"/>
                </a:lnTo>
                <a:lnTo>
                  <a:pt x="60" y="15"/>
                </a:lnTo>
                <a:lnTo>
                  <a:pt x="60" y="17"/>
                </a:lnTo>
                <a:lnTo>
                  <a:pt x="60" y="20"/>
                </a:lnTo>
                <a:lnTo>
                  <a:pt x="61" y="22"/>
                </a:lnTo>
                <a:lnTo>
                  <a:pt x="61" y="23"/>
                </a:lnTo>
                <a:lnTo>
                  <a:pt x="65" y="22"/>
                </a:lnTo>
                <a:lnTo>
                  <a:pt x="66" y="23"/>
                </a:lnTo>
                <a:lnTo>
                  <a:pt x="68" y="23"/>
                </a:lnTo>
                <a:lnTo>
                  <a:pt x="70" y="23"/>
                </a:lnTo>
                <a:lnTo>
                  <a:pt x="71" y="25"/>
                </a:lnTo>
                <a:lnTo>
                  <a:pt x="70" y="27"/>
                </a:lnTo>
                <a:lnTo>
                  <a:pt x="71" y="29"/>
                </a:lnTo>
                <a:lnTo>
                  <a:pt x="70" y="29"/>
                </a:lnTo>
                <a:lnTo>
                  <a:pt x="71" y="30"/>
                </a:lnTo>
                <a:lnTo>
                  <a:pt x="70" y="32"/>
                </a:lnTo>
                <a:lnTo>
                  <a:pt x="73" y="32"/>
                </a:lnTo>
                <a:lnTo>
                  <a:pt x="75" y="32"/>
                </a:lnTo>
                <a:lnTo>
                  <a:pt x="77" y="32"/>
                </a:lnTo>
                <a:lnTo>
                  <a:pt x="78" y="32"/>
                </a:lnTo>
                <a:lnTo>
                  <a:pt x="80" y="32"/>
                </a:lnTo>
                <a:lnTo>
                  <a:pt x="80" y="34"/>
                </a:lnTo>
                <a:lnTo>
                  <a:pt x="83" y="34"/>
                </a:lnTo>
                <a:lnTo>
                  <a:pt x="85" y="35"/>
                </a:lnTo>
                <a:lnTo>
                  <a:pt x="85" y="34"/>
                </a:lnTo>
                <a:lnTo>
                  <a:pt x="87" y="34"/>
                </a:lnTo>
                <a:lnTo>
                  <a:pt x="88" y="32"/>
                </a:lnTo>
                <a:lnTo>
                  <a:pt x="90" y="35"/>
                </a:lnTo>
                <a:lnTo>
                  <a:pt x="92" y="35"/>
                </a:lnTo>
                <a:lnTo>
                  <a:pt x="90" y="37"/>
                </a:lnTo>
                <a:lnTo>
                  <a:pt x="88" y="39"/>
                </a:lnTo>
                <a:lnTo>
                  <a:pt x="90" y="42"/>
                </a:lnTo>
                <a:lnTo>
                  <a:pt x="88" y="44"/>
                </a:lnTo>
                <a:lnTo>
                  <a:pt x="88" y="46"/>
                </a:lnTo>
                <a:lnTo>
                  <a:pt x="87" y="49"/>
                </a:lnTo>
                <a:lnTo>
                  <a:pt x="85" y="51"/>
                </a:lnTo>
                <a:lnTo>
                  <a:pt x="87" y="52"/>
                </a:lnTo>
                <a:lnTo>
                  <a:pt x="87" y="54"/>
                </a:lnTo>
                <a:lnTo>
                  <a:pt x="87" y="56"/>
                </a:lnTo>
                <a:lnTo>
                  <a:pt x="85" y="56"/>
                </a:lnTo>
                <a:lnTo>
                  <a:pt x="83" y="57"/>
                </a:lnTo>
                <a:lnTo>
                  <a:pt x="82" y="57"/>
                </a:lnTo>
                <a:lnTo>
                  <a:pt x="82" y="61"/>
                </a:lnTo>
                <a:lnTo>
                  <a:pt x="83" y="61"/>
                </a:lnTo>
                <a:lnTo>
                  <a:pt x="83" y="63"/>
                </a:lnTo>
                <a:lnTo>
                  <a:pt x="85" y="64"/>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71" name="Freeform 47">
            <a:extLst>
              <a:ext uri="{FF2B5EF4-FFF2-40B4-BE49-F238E27FC236}">
                <a16:creationId xmlns:a16="http://schemas.microsoft.com/office/drawing/2014/main" id="{FD819692-F612-4BD8-A6A9-08B66554DEF1}"/>
              </a:ext>
            </a:extLst>
          </p:cNvPr>
          <p:cNvSpPr>
            <a:spLocks noEditPoints="1"/>
          </p:cNvSpPr>
          <p:nvPr/>
        </p:nvSpPr>
        <p:spPr bwMode="gray">
          <a:xfrm>
            <a:off x="4188174" y="4056796"/>
            <a:ext cx="643095" cy="753468"/>
          </a:xfrm>
          <a:custGeom>
            <a:avLst/>
            <a:gdLst>
              <a:gd name="T0" fmla="*/ 78 w 236"/>
              <a:gd name="T1" fmla="*/ 14 h 264"/>
              <a:gd name="T2" fmla="*/ 93 w 236"/>
              <a:gd name="T3" fmla="*/ 26 h 264"/>
              <a:gd name="T4" fmla="*/ 98 w 236"/>
              <a:gd name="T5" fmla="*/ 38 h 264"/>
              <a:gd name="T6" fmla="*/ 108 w 236"/>
              <a:gd name="T7" fmla="*/ 51 h 264"/>
              <a:gd name="T8" fmla="*/ 125 w 236"/>
              <a:gd name="T9" fmla="*/ 58 h 264"/>
              <a:gd name="T10" fmla="*/ 136 w 236"/>
              <a:gd name="T11" fmla="*/ 68 h 264"/>
              <a:gd name="T12" fmla="*/ 141 w 236"/>
              <a:gd name="T13" fmla="*/ 80 h 264"/>
              <a:gd name="T14" fmla="*/ 142 w 236"/>
              <a:gd name="T15" fmla="*/ 87 h 264"/>
              <a:gd name="T16" fmla="*/ 159 w 236"/>
              <a:gd name="T17" fmla="*/ 94 h 264"/>
              <a:gd name="T18" fmla="*/ 176 w 236"/>
              <a:gd name="T19" fmla="*/ 104 h 264"/>
              <a:gd name="T20" fmla="*/ 187 w 236"/>
              <a:gd name="T21" fmla="*/ 84 h 264"/>
              <a:gd name="T22" fmla="*/ 204 w 236"/>
              <a:gd name="T23" fmla="*/ 96 h 264"/>
              <a:gd name="T24" fmla="*/ 195 w 236"/>
              <a:gd name="T25" fmla="*/ 104 h 264"/>
              <a:gd name="T26" fmla="*/ 204 w 236"/>
              <a:gd name="T27" fmla="*/ 121 h 264"/>
              <a:gd name="T28" fmla="*/ 195 w 236"/>
              <a:gd name="T29" fmla="*/ 140 h 264"/>
              <a:gd name="T30" fmla="*/ 204 w 236"/>
              <a:gd name="T31" fmla="*/ 160 h 264"/>
              <a:gd name="T32" fmla="*/ 216 w 236"/>
              <a:gd name="T33" fmla="*/ 174 h 264"/>
              <a:gd name="T34" fmla="*/ 234 w 236"/>
              <a:gd name="T35" fmla="*/ 184 h 264"/>
              <a:gd name="T36" fmla="*/ 229 w 236"/>
              <a:gd name="T37" fmla="*/ 199 h 264"/>
              <a:gd name="T38" fmla="*/ 217 w 236"/>
              <a:gd name="T39" fmla="*/ 210 h 264"/>
              <a:gd name="T40" fmla="*/ 214 w 236"/>
              <a:gd name="T41" fmla="*/ 227 h 264"/>
              <a:gd name="T42" fmla="*/ 217 w 236"/>
              <a:gd name="T43" fmla="*/ 245 h 264"/>
              <a:gd name="T44" fmla="*/ 204 w 236"/>
              <a:gd name="T45" fmla="*/ 252 h 264"/>
              <a:gd name="T46" fmla="*/ 188 w 236"/>
              <a:gd name="T47" fmla="*/ 257 h 264"/>
              <a:gd name="T48" fmla="*/ 171 w 236"/>
              <a:gd name="T49" fmla="*/ 259 h 264"/>
              <a:gd name="T50" fmla="*/ 176 w 236"/>
              <a:gd name="T51" fmla="*/ 242 h 264"/>
              <a:gd name="T52" fmla="*/ 168 w 236"/>
              <a:gd name="T53" fmla="*/ 232 h 264"/>
              <a:gd name="T54" fmla="*/ 159 w 236"/>
              <a:gd name="T55" fmla="*/ 223 h 264"/>
              <a:gd name="T56" fmla="*/ 144 w 236"/>
              <a:gd name="T57" fmla="*/ 215 h 264"/>
              <a:gd name="T58" fmla="*/ 131 w 236"/>
              <a:gd name="T59" fmla="*/ 206 h 264"/>
              <a:gd name="T60" fmla="*/ 122 w 236"/>
              <a:gd name="T61" fmla="*/ 199 h 264"/>
              <a:gd name="T62" fmla="*/ 117 w 236"/>
              <a:gd name="T63" fmla="*/ 213 h 264"/>
              <a:gd name="T64" fmla="*/ 108 w 236"/>
              <a:gd name="T65" fmla="*/ 230 h 264"/>
              <a:gd name="T66" fmla="*/ 91 w 236"/>
              <a:gd name="T67" fmla="*/ 223 h 264"/>
              <a:gd name="T68" fmla="*/ 74 w 236"/>
              <a:gd name="T69" fmla="*/ 218 h 264"/>
              <a:gd name="T70" fmla="*/ 57 w 236"/>
              <a:gd name="T71" fmla="*/ 210 h 264"/>
              <a:gd name="T72" fmla="*/ 46 w 236"/>
              <a:gd name="T73" fmla="*/ 198 h 264"/>
              <a:gd name="T74" fmla="*/ 44 w 236"/>
              <a:gd name="T75" fmla="*/ 186 h 264"/>
              <a:gd name="T76" fmla="*/ 52 w 236"/>
              <a:gd name="T77" fmla="*/ 176 h 264"/>
              <a:gd name="T78" fmla="*/ 35 w 236"/>
              <a:gd name="T79" fmla="*/ 159 h 264"/>
              <a:gd name="T80" fmla="*/ 54 w 236"/>
              <a:gd name="T81" fmla="*/ 155 h 264"/>
              <a:gd name="T82" fmla="*/ 42 w 236"/>
              <a:gd name="T83" fmla="*/ 145 h 264"/>
              <a:gd name="T84" fmla="*/ 27 w 236"/>
              <a:gd name="T85" fmla="*/ 135 h 264"/>
              <a:gd name="T86" fmla="*/ 30 w 236"/>
              <a:gd name="T87" fmla="*/ 116 h 264"/>
              <a:gd name="T88" fmla="*/ 35 w 236"/>
              <a:gd name="T89" fmla="*/ 97 h 264"/>
              <a:gd name="T90" fmla="*/ 17 w 236"/>
              <a:gd name="T91" fmla="*/ 97 h 264"/>
              <a:gd name="T92" fmla="*/ 20 w 236"/>
              <a:gd name="T93" fmla="*/ 89 h 264"/>
              <a:gd name="T94" fmla="*/ 25 w 236"/>
              <a:gd name="T95" fmla="*/ 75 h 264"/>
              <a:gd name="T96" fmla="*/ 27 w 236"/>
              <a:gd name="T97" fmla="*/ 72 h 264"/>
              <a:gd name="T98" fmla="*/ 10 w 236"/>
              <a:gd name="T99" fmla="*/ 62 h 264"/>
              <a:gd name="T100" fmla="*/ 6 w 236"/>
              <a:gd name="T101" fmla="*/ 53 h 264"/>
              <a:gd name="T102" fmla="*/ 5 w 236"/>
              <a:gd name="T103" fmla="*/ 41 h 264"/>
              <a:gd name="T104" fmla="*/ 5 w 236"/>
              <a:gd name="T105" fmla="*/ 36 h 264"/>
              <a:gd name="T106" fmla="*/ 5 w 236"/>
              <a:gd name="T107" fmla="*/ 26 h 264"/>
              <a:gd name="T108" fmla="*/ 15 w 236"/>
              <a:gd name="T109" fmla="*/ 19 h 264"/>
              <a:gd name="T110" fmla="*/ 29 w 236"/>
              <a:gd name="T111" fmla="*/ 7 h 264"/>
              <a:gd name="T112" fmla="*/ 46 w 236"/>
              <a:gd name="T113" fmla="*/ 4 h 264"/>
              <a:gd name="T114" fmla="*/ 64 w 236"/>
              <a:gd name="T115" fmla="*/ 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6" h="264">
                <a:moveTo>
                  <a:pt x="66" y="2"/>
                </a:moveTo>
                <a:lnTo>
                  <a:pt x="68" y="4"/>
                </a:lnTo>
                <a:lnTo>
                  <a:pt x="66" y="4"/>
                </a:lnTo>
                <a:lnTo>
                  <a:pt x="66" y="5"/>
                </a:lnTo>
                <a:lnTo>
                  <a:pt x="68" y="5"/>
                </a:lnTo>
                <a:lnTo>
                  <a:pt x="69" y="5"/>
                </a:lnTo>
                <a:lnTo>
                  <a:pt x="71" y="7"/>
                </a:lnTo>
                <a:lnTo>
                  <a:pt x="71" y="11"/>
                </a:lnTo>
                <a:lnTo>
                  <a:pt x="74" y="12"/>
                </a:lnTo>
                <a:lnTo>
                  <a:pt x="76" y="12"/>
                </a:lnTo>
                <a:lnTo>
                  <a:pt x="78" y="14"/>
                </a:lnTo>
                <a:lnTo>
                  <a:pt x="80" y="16"/>
                </a:lnTo>
                <a:lnTo>
                  <a:pt x="81" y="17"/>
                </a:lnTo>
                <a:lnTo>
                  <a:pt x="83" y="16"/>
                </a:lnTo>
                <a:lnTo>
                  <a:pt x="85" y="19"/>
                </a:lnTo>
                <a:lnTo>
                  <a:pt x="86" y="19"/>
                </a:lnTo>
                <a:lnTo>
                  <a:pt x="88" y="21"/>
                </a:lnTo>
                <a:lnTo>
                  <a:pt x="88" y="22"/>
                </a:lnTo>
                <a:lnTo>
                  <a:pt x="90" y="22"/>
                </a:lnTo>
                <a:lnTo>
                  <a:pt x="90" y="26"/>
                </a:lnTo>
                <a:lnTo>
                  <a:pt x="91" y="26"/>
                </a:lnTo>
                <a:lnTo>
                  <a:pt x="93" y="26"/>
                </a:lnTo>
                <a:lnTo>
                  <a:pt x="95" y="26"/>
                </a:lnTo>
                <a:lnTo>
                  <a:pt x="95" y="22"/>
                </a:lnTo>
                <a:lnTo>
                  <a:pt x="97" y="22"/>
                </a:lnTo>
                <a:lnTo>
                  <a:pt x="97" y="26"/>
                </a:lnTo>
                <a:lnTo>
                  <a:pt x="97" y="29"/>
                </a:lnTo>
                <a:lnTo>
                  <a:pt x="97" y="31"/>
                </a:lnTo>
                <a:lnTo>
                  <a:pt x="97" y="33"/>
                </a:lnTo>
                <a:lnTo>
                  <a:pt x="95" y="34"/>
                </a:lnTo>
                <a:lnTo>
                  <a:pt x="97" y="38"/>
                </a:lnTo>
                <a:lnTo>
                  <a:pt x="97" y="36"/>
                </a:lnTo>
                <a:lnTo>
                  <a:pt x="98" y="38"/>
                </a:lnTo>
                <a:lnTo>
                  <a:pt x="100" y="39"/>
                </a:lnTo>
                <a:lnTo>
                  <a:pt x="98" y="41"/>
                </a:lnTo>
                <a:lnTo>
                  <a:pt x="97" y="43"/>
                </a:lnTo>
                <a:lnTo>
                  <a:pt x="97" y="45"/>
                </a:lnTo>
                <a:lnTo>
                  <a:pt x="100" y="45"/>
                </a:lnTo>
                <a:lnTo>
                  <a:pt x="102" y="45"/>
                </a:lnTo>
                <a:lnTo>
                  <a:pt x="103" y="46"/>
                </a:lnTo>
                <a:lnTo>
                  <a:pt x="102" y="46"/>
                </a:lnTo>
                <a:lnTo>
                  <a:pt x="105" y="48"/>
                </a:lnTo>
                <a:lnTo>
                  <a:pt x="107" y="50"/>
                </a:lnTo>
                <a:lnTo>
                  <a:pt x="108" y="51"/>
                </a:lnTo>
                <a:lnTo>
                  <a:pt x="110" y="51"/>
                </a:lnTo>
                <a:lnTo>
                  <a:pt x="110" y="53"/>
                </a:lnTo>
                <a:lnTo>
                  <a:pt x="114" y="53"/>
                </a:lnTo>
                <a:lnTo>
                  <a:pt x="115" y="55"/>
                </a:lnTo>
                <a:lnTo>
                  <a:pt x="117" y="53"/>
                </a:lnTo>
                <a:lnTo>
                  <a:pt x="119" y="51"/>
                </a:lnTo>
                <a:lnTo>
                  <a:pt x="120" y="55"/>
                </a:lnTo>
                <a:lnTo>
                  <a:pt x="120" y="56"/>
                </a:lnTo>
                <a:lnTo>
                  <a:pt x="122" y="56"/>
                </a:lnTo>
                <a:lnTo>
                  <a:pt x="124" y="56"/>
                </a:lnTo>
                <a:lnTo>
                  <a:pt x="125" y="58"/>
                </a:lnTo>
                <a:lnTo>
                  <a:pt x="125" y="56"/>
                </a:lnTo>
                <a:lnTo>
                  <a:pt x="127" y="56"/>
                </a:lnTo>
                <a:lnTo>
                  <a:pt x="129" y="58"/>
                </a:lnTo>
                <a:lnTo>
                  <a:pt x="131" y="56"/>
                </a:lnTo>
                <a:lnTo>
                  <a:pt x="132" y="58"/>
                </a:lnTo>
                <a:lnTo>
                  <a:pt x="136" y="58"/>
                </a:lnTo>
                <a:lnTo>
                  <a:pt x="137" y="60"/>
                </a:lnTo>
                <a:lnTo>
                  <a:pt x="137" y="62"/>
                </a:lnTo>
                <a:lnTo>
                  <a:pt x="136" y="63"/>
                </a:lnTo>
                <a:lnTo>
                  <a:pt x="136" y="65"/>
                </a:lnTo>
                <a:lnTo>
                  <a:pt x="136" y="68"/>
                </a:lnTo>
                <a:lnTo>
                  <a:pt x="136" y="70"/>
                </a:lnTo>
                <a:lnTo>
                  <a:pt x="134" y="70"/>
                </a:lnTo>
                <a:lnTo>
                  <a:pt x="131" y="72"/>
                </a:lnTo>
                <a:lnTo>
                  <a:pt x="132" y="73"/>
                </a:lnTo>
                <a:lnTo>
                  <a:pt x="134" y="73"/>
                </a:lnTo>
                <a:lnTo>
                  <a:pt x="136" y="75"/>
                </a:lnTo>
                <a:lnTo>
                  <a:pt x="137" y="75"/>
                </a:lnTo>
                <a:lnTo>
                  <a:pt x="139" y="77"/>
                </a:lnTo>
                <a:lnTo>
                  <a:pt x="141" y="77"/>
                </a:lnTo>
                <a:lnTo>
                  <a:pt x="142" y="79"/>
                </a:lnTo>
                <a:lnTo>
                  <a:pt x="141" y="80"/>
                </a:lnTo>
                <a:lnTo>
                  <a:pt x="139" y="82"/>
                </a:lnTo>
                <a:lnTo>
                  <a:pt x="137" y="82"/>
                </a:lnTo>
                <a:lnTo>
                  <a:pt x="136" y="82"/>
                </a:lnTo>
                <a:lnTo>
                  <a:pt x="134" y="82"/>
                </a:lnTo>
                <a:lnTo>
                  <a:pt x="132" y="85"/>
                </a:lnTo>
                <a:lnTo>
                  <a:pt x="134" y="87"/>
                </a:lnTo>
                <a:lnTo>
                  <a:pt x="136" y="89"/>
                </a:lnTo>
                <a:lnTo>
                  <a:pt x="137" y="89"/>
                </a:lnTo>
                <a:lnTo>
                  <a:pt x="139" y="87"/>
                </a:lnTo>
                <a:lnTo>
                  <a:pt x="141" y="87"/>
                </a:lnTo>
                <a:lnTo>
                  <a:pt x="142" y="87"/>
                </a:lnTo>
                <a:lnTo>
                  <a:pt x="146" y="89"/>
                </a:lnTo>
                <a:lnTo>
                  <a:pt x="148" y="90"/>
                </a:lnTo>
                <a:lnTo>
                  <a:pt x="148" y="92"/>
                </a:lnTo>
                <a:lnTo>
                  <a:pt x="148" y="94"/>
                </a:lnTo>
                <a:lnTo>
                  <a:pt x="149" y="94"/>
                </a:lnTo>
                <a:lnTo>
                  <a:pt x="151" y="94"/>
                </a:lnTo>
                <a:lnTo>
                  <a:pt x="153" y="94"/>
                </a:lnTo>
                <a:lnTo>
                  <a:pt x="154" y="94"/>
                </a:lnTo>
                <a:lnTo>
                  <a:pt x="156" y="94"/>
                </a:lnTo>
                <a:lnTo>
                  <a:pt x="158" y="94"/>
                </a:lnTo>
                <a:lnTo>
                  <a:pt x="159" y="94"/>
                </a:lnTo>
                <a:lnTo>
                  <a:pt x="161" y="94"/>
                </a:lnTo>
                <a:lnTo>
                  <a:pt x="163" y="94"/>
                </a:lnTo>
                <a:lnTo>
                  <a:pt x="165" y="94"/>
                </a:lnTo>
                <a:lnTo>
                  <a:pt x="166" y="94"/>
                </a:lnTo>
                <a:lnTo>
                  <a:pt x="168" y="96"/>
                </a:lnTo>
                <a:lnTo>
                  <a:pt x="170" y="96"/>
                </a:lnTo>
                <a:lnTo>
                  <a:pt x="170" y="97"/>
                </a:lnTo>
                <a:lnTo>
                  <a:pt x="170" y="99"/>
                </a:lnTo>
                <a:lnTo>
                  <a:pt x="171" y="101"/>
                </a:lnTo>
                <a:lnTo>
                  <a:pt x="173" y="102"/>
                </a:lnTo>
                <a:lnTo>
                  <a:pt x="176" y="104"/>
                </a:lnTo>
                <a:lnTo>
                  <a:pt x="178" y="102"/>
                </a:lnTo>
                <a:lnTo>
                  <a:pt x="178" y="101"/>
                </a:lnTo>
                <a:lnTo>
                  <a:pt x="178" y="99"/>
                </a:lnTo>
                <a:lnTo>
                  <a:pt x="180" y="97"/>
                </a:lnTo>
                <a:lnTo>
                  <a:pt x="180" y="94"/>
                </a:lnTo>
                <a:lnTo>
                  <a:pt x="182" y="92"/>
                </a:lnTo>
                <a:lnTo>
                  <a:pt x="182" y="90"/>
                </a:lnTo>
                <a:lnTo>
                  <a:pt x="183" y="87"/>
                </a:lnTo>
                <a:lnTo>
                  <a:pt x="185" y="87"/>
                </a:lnTo>
                <a:lnTo>
                  <a:pt x="187" y="85"/>
                </a:lnTo>
                <a:lnTo>
                  <a:pt x="187" y="84"/>
                </a:lnTo>
                <a:lnTo>
                  <a:pt x="190" y="84"/>
                </a:lnTo>
                <a:lnTo>
                  <a:pt x="192" y="85"/>
                </a:lnTo>
                <a:lnTo>
                  <a:pt x="193" y="87"/>
                </a:lnTo>
                <a:lnTo>
                  <a:pt x="195" y="87"/>
                </a:lnTo>
                <a:lnTo>
                  <a:pt x="195" y="89"/>
                </a:lnTo>
                <a:lnTo>
                  <a:pt x="199" y="89"/>
                </a:lnTo>
                <a:lnTo>
                  <a:pt x="200" y="89"/>
                </a:lnTo>
                <a:lnTo>
                  <a:pt x="202" y="89"/>
                </a:lnTo>
                <a:lnTo>
                  <a:pt x="205" y="92"/>
                </a:lnTo>
                <a:lnTo>
                  <a:pt x="205" y="94"/>
                </a:lnTo>
                <a:lnTo>
                  <a:pt x="204" y="96"/>
                </a:lnTo>
                <a:lnTo>
                  <a:pt x="202" y="96"/>
                </a:lnTo>
                <a:lnTo>
                  <a:pt x="200" y="94"/>
                </a:lnTo>
                <a:lnTo>
                  <a:pt x="199" y="94"/>
                </a:lnTo>
                <a:lnTo>
                  <a:pt x="197" y="94"/>
                </a:lnTo>
                <a:lnTo>
                  <a:pt x="197" y="96"/>
                </a:lnTo>
                <a:lnTo>
                  <a:pt x="197" y="97"/>
                </a:lnTo>
                <a:lnTo>
                  <a:pt x="197" y="99"/>
                </a:lnTo>
                <a:lnTo>
                  <a:pt x="195" y="101"/>
                </a:lnTo>
                <a:lnTo>
                  <a:pt x="192" y="101"/>
                </a:lnTo>
                <a:lnTo>
                  <a:pt x="192" y="102"/>
                </a:lnTo>
                <a:lnTo>
                  <a:pt x="195" y="104"/>
                </a:lnTo>
                <a:lnTo>
                  <a:pt x="195" y="107"/>
                </a:lnTo>
                <a:lnTo>
                  <a:pt x="197" y="109"/>
                </a:lnTo>
                <a:lnTo>
                  <a:pt x="199" y="111"/>
                </a:lnTo>
                <a:lnTo>
                  <a:pt x="202" y="113"/>
                </a:lnTo>
                <a:lnTo>
                  <a:pt x="204" y="111"/>
                </a:lnTo>
                <a:lnTo>
                  <a:pt x="205" y="113"/>
                </a:lnTo>
                <a:lnTo>
                  <a:pt x="205" y="114"/>
                </a:lnTo>
                <a:lnTo>
                  <a:pt x="205" y="116"/>
                </a:lnTo>
                <a:lnTo>
                  <a:pt x="204" y="118"/>
                </a:lnTo>
                <a:lnTo>
                  <a:pt x="204" y="119"/>
                </a:lnTo>
                <a:lnTo>
                  <a:pt x="204" y="121"/>
                </a:lnTo>
                <a:lnTo>
                  <a:pt x="204" y="124"/>
                </a:lnTo>
                <a:lnTo>
                  <a:pt x="205" y="128"/>
                </a:lnTo>
                <a:lnTo>
                  <a:pt x="204" y="130"/>
                </a:lnTo>
                <a:lnTo>
                  <a:pt x="200" y="130"/>
                </a:lnTo>
                <a:lnTo>
                  <a:pt x="200" y="131"/>
                </a:lnTo>
                <a:lnTo>
                  <a:pt x="197" y="133"/>
                </a:lnTo>
                <a:lnTo>
                  <a:pt x="195" y="133"/>
                </a:lnTo>
                <a:lnTo>
                  <a:pt x="195" y="135"/>
                </a:lnTo>
                <a:lnTo>
                  <a:pt x="195" y="136"/>
                </a:lnTo>
                <a:lnTo>
                  <a:pt x="195" y="138"/>
                </a:lnTo>
                <a:lnTo>
                  <a:pt x="195" y="140"/>
                </a:lnTo>
                <a:lnTo>
                  <a:pt x="195" y="143"/>
                </a:lnTo>
                <a:lnTo>
                  <a:pt x="195" y="145"/>
                </a:lnTo>
                <a:lnTo>
                  <a:pt x="195" y="148"/>
                </a:lnTo>
                <a:lnTo>
                  <a:pt x="197" y="150"/>
                </a:lnTo>
                <a:lnTo>
                  <a:pt x="197" y="152"/>
                </a:lnTo>
                <a:lnTo>
                  <a:pt x="197" y="153"/>
                </a:lnTo>
                <a:lnTo>
                  <a:pt x="199" y="155"/>
                </a:lnTo>
                <a:lnTo>
                  <a:pt x="200" y="157"/>
                </a:lnTo>
                <a:lnTo>
                  <a:pt x="202" y="157"/>
                </a:lnTo>
                <a:lnTo>
                  <a:pt x="204" y="159"/>
                </a:lnTo>
                <a:lnTo>
                  <a:pt x="204" y="160"/>
                </a:lnTo>
                <a:lnTo>
                  <a:pt x="204" y="162"/>
                </a:lnTo>
                <a:lnTo>
                  <a:pt x="204" y="164"/>
                </a:lnTo>
                <a:lnTo>
                  <a:pt x="205" y="165"/>
                </a:lnTo>
                <a:lnTo>
                  <a:pt x="205" y="167"/>
                </a:lnTo>
                <a:lnTo>
                  <a:pt x="207" y="169"/>
                </a:lnTo>
                <a:lnTo>
                  <a:pt x="207" y="170"/>
                </a:lnTo>
                <a:lnTo>
                  <a:pt x="210" y="170"/>
                </a:lnTo>
                <a:lnTo>
                  <a:pt x="210" y="172"/>
                </a:lnTo>
                <a:lnTo>
                  <a:pt x="212" y="172"/>
                </a:lnTo>
                <a:lnTo>
                  <a:pt x="214" y="172"/>
                </a:lnTo>
                <a:lnTo>
                  <a:pt x="216" y="174"/>
                </a:lnTo>
                <a:lnTo>
                  <a:pt x="219" y="174"/>
                </a:lnTo>
                <a:lnTo>
                  <a:pt x="221" y="174"/>
                </a:lnTo>
                <a:lnTo>
                  <a:pt x="222" y="176"/>
                </a:lnTo>
                <a:lnTo>
                  <a:pt x="224" y="177"/>
                </a:lnTo>
                <a:lnTo>
                  <a:pt x="226" y="179"/>
                </a:lnTo>
                <a:lnTo>
                  <a:pt x="226" y="181"/>
                </a:lnTo>
                <a:lnTo>
                  <a:pt x="227" y="181"/>
                </a:lnTo>
                <a:lnTo>
                  <a:pt x="227" y="182"/>
                </a:lnTo>
                <a:lnTo>
                  <a:pt x="229" y="184"/>
                </a:lnTo>
                <a:lnTo>
                  <a:pt x="231" y="184"/>
                </a:lnTo>
                <a:lnTo>
                  <a:pt x="234" y="184"/>
                </a:lnTo>
                <a:lnTo>
                  <a:pt x="236" y="186"/>
                </a:lnTo>
                <a:lnTo>
                  <a:pt x="234" y="187"/>
                </a:lnTo>
                <a:lnTo>
                  <a:pt x="236" y="187"/>
                </a:lnTo>
                <a:lnTo>
                  <a:pt x="236" y="189"/>
                </a:lnTo>
                <a:lnTo>
                  <a:pt x="234" y="191"/>
                </a:lnTo>
                <a:lnTo>
                  <a:pt x="234" y="193"/>
                </a:lnTo>
                <a:lnTo>
                  <a:pt x="233" y="194"/>
                </a:lnTo>
                <a:lnTo>
                  <a:pt x="231" y="196"/>
                </a:lnTo>
                <a:lnTo>
                  <a:pt x="231" y="198"/>
                </a:lnTo>
                <a:lnTo>
                  <a:pt x="229" y="198"/>
                </a:lnTo>
                <a:lnTo>
                  <a:pt x="229" y="199"/>
                </a:lnTo>
                <a:lnTo>
                  <a:pt x="229" y="201"/>
                </a:lnTo>
                <a:lnTo>
                  <a:pt x="226" y="201"/>
                </a:lnTo>
                <a:lnTo>
                  <a:pt x="226" y="204"/>
                </a:lnTo>
                <a:lnTo>
                  <a:pt x="227" y="206"/>
                </a:lnTo>
                <a:lnTo>
                  <a:pt x="226" y="206"/>
                </a:lnTo>
                <a:lnTo>
                  <a:pt x="226" y="210"/>
                </a:lnTo>
                <a:lnTo>
                  <a:pt x="224" y="210"/>
                </a:lnTo>
                <a:lnTo>
                  <a:pt x="222" y="211"/>
                </a:lnTo>
                <a:lnTo>
                  <a:pt x="221" y="210"/>
                </a:lnTo>
                <a:lnTo>
                  <a:pt x="219" y="210"/>
                </a:lnTo>
                <a:lnTo>
                  <a:pt x="217" y="210"/>
                </a:lnTo>
                <a:lnTo>
                  <a:pt x="217" y="211"/>
                </a:lnTo>
                <a:lnTo>
                  <a:pt x="216" y="211"/>
                </a:lnTo>
                <a:lnTo>
                  <a:pt x="214" y="213"/>
                </a:lnTo>
                <a:lnTo>
                  <a:pt x="212" y="215"/>
                </a:lnTo>
                <a:lnTo>
                  <a:pt x="210" y="216"/>
                </a:lnTo>
                <a:lnTo>
                  <a:pt x="212" y="218"/>
                </a:lnTo>
                <a:lnTo>
                  <a:pt x="214" y="220"/>
                </a:lnTo>
                <a:lnTo>
                  <a:pt x="216" y="221"/>
                </a:lnTo>
                <a:lnTo>
                  <a:pt x="216" y="223"/>
                </a:lnTo>
                <a:lnTo>
                  <a:pt x="214" y="225"/>
                </a:lnTo>
                <a:lnTo>
                  <a:pt x="214" y="227"/>
                </a:lnTo>
                <a:lnTo>
                  <a:pt x="214" y="228"/>
                </a:lnTo>
                <a:lnTo>
                  <a:pt x="214" y="232"/>
                </a:lnTo>
                <a:lnTo>
                  <a:pt x="214" y="233"/>
                </a:lnTo>
                <a:lnTo>
                  <a:pt x="216" y="233"/>
                </a:lnTo>
                <a:lnTo>
                  <a:pt x="217" y="235"/>
                </a:lnTo>
                <a:lnTo>
                  <a:pt x="221" y="237"/>
                </a:lnTo>
                <a:lnTo>
                  <a:pt x="221" y="238"/>
                </a:lnTo>
                <a:lnTo>
                  <a:pt x="221" y="240"/>
                </a:lnTo>
                <a:lnTo>
                  <a:pt x="221" y="244"/>
                </a:lnTo>
                <a:lnTo>
                  <a:pt x="221" y="245"/>
                </a:lnTo>
                <a:lnTo>
                  <a:pt x="217" y="245"/>
                </a:lnTo>
                <a:lnTo>
                  <a:pt x="219" y="247"/>
                </a:lnTo>
                <a:lnTo>
                  <a:pt x="217" y="247"/>
                </a:lnTo>
                <a:lnTo>
                  <a:pt x="217" y="250"/>
                </a:lnTo>
                <a:lnTo>
                  <a:pt x="216" y="250"/>
                </a:lnTo>
                <a:lnTo>
                  <a:pt x="214" y="252"/>
                </a:lnTo>
                <a:lnTo>
                  <a:pt x="212" y="252"/>
                </a:lnTo>
                <a:lnTo>
                  <a:pt x="209" y="250"/>
                </a:lnTo>
                <a:lnTo>
                  <a:pt x="209" y="249"/>
                </a:lnTo>
                <a:lnTo>
                  <a:pt x="207" y="250"/>
                </a:lnTo>
                <a:lnTo>
                  <a:pt x="205" y="252"/>
                </a:lnTo>
                <a:lnTo>
                  <a:pt x="204" y="252"/>
                </a:lnTo>
                <a:lnTo>
                  <a:pt x="204" y="254"/>
                </a:lnTo>
                <a:lnTo>
                  <a:pt x="202" y="254"/>
                </a:lnTo>
                <a:lnTo>
                  <a:pt x="202" y="255"/>
                </a:lnTo>
                <a:lnTo>
                  <a:pt x="200" y="254"/>
                </a:lnTo>
                <a:lnTo>
                  <a:pt x="199" y="255"/>
                </a:lnTo>
                <a:lnTo>
                  <a:pt x="195" y="255"/>
                </a:lnTo>
                <a:lnTo>
                  <a:pt x="193" y="255"/>
                </a:lnTo>
                <a:lnTo>
                  <a:pt x="192" y="254"/>
                </a:lnTo>
                <a:lnTo>
                  <a:pt x="190" y="255"/>
                </a:lnTo>
                <a:lnTo>
                  <a:pt x="190" y="257"/>
                </a:lnTo>
                <a:lnTo>
                  <a:pt x="188" y="257"/>
                </a:lnTo>
                <a:lnTo>
                  <a:pt x="187" y="255"/>
                </a:lnTo>
                <a:lnTo>
                  <a:pt x="185" y="259"/>
                </a:lnTo>
                <a:lnTo>
                  <a:pt x="183" y="259"/>
                </a:lnTo>
                <a:lnTo>
                  <a:pt x="183" y="261"/>
                </a:lnTo>
                <a:lnTo>
                  <a:pt x="182" y="261"/>
                </a:lnTo>
                <a:lnTo>
                  <a:pt x="180" y="264"/>
                </a:lnTo>
                <a:lnTo>
                  <a:pt x="178" y="262"/>
                </a:lnTo>
                <a:lnTo>
                  <a:pt x="175" y="262"/>
                </a:lnTo>
                <a:lnTo>
                  <a:pt x="173" y="262"/>
                </a:lnTo>
                <a:lnTo>
                  <a:pt x="171" y="261"/>
                </a:lnTo>
                <a:lnTo>
                  <a:pt x="171" y="259"/>
                </a:lnTo>
                <a:lnTo>
                  <a:pt x="170" y="259"/>
                </a:lnTo>
                <a:lnTo>
                  <a:pt x="170" y="255"/>
                </a:lnTo>
                <a:lnTo>
                  <a:pt x="171" y="255"/>
                </a:lnTo>
                <a:lnTo>
                  <a:pt x="173" y="254"/>
                </a:lnTo>
                <a:lnTo>
                  <a:pt x="175" y="254"/>
                </a:lnTo>
                <a:lnTo>
                  <a:pt x="175" y="252"/>
                </a:lnTo>
                <a:lnTo>
                  <a:pt x="175" y="250"/>
                </a:lnTo>
                <a:lnTo>
                  <a:pt x="173" y="249"/>
                </a:lnTo>
                <a:lnTo>
                  <a:pt x="175" y="247"/>
                </a:lnTo>
                <a:lnTo>
                  <a:pt x="176" y="244"/>
                </a:lnTo>
                <a:lnTo>
                  <a:pt x="176" y="242"/>
                </a:lnTo>
                <a:lnTo>
                  <a:pt x="178" y="240"/>
                </a:lnTo>
                <a:lnTo>
                  <a:pt x="176" y="237"/>
                </a:lnTo>
                <a:lnTo>
                  <a:pt x="178" y="235"/>
                </a:lnTo>
                <a:lnTo>
                  <a:pt x="180" y="233"/>
                </a:lnTo>
                <a:lnTo>
                  <a:pt x="178" y="233"/>
                </a:lnTo>
                <a:lnTo>
                  <a:pt x="176" y="230"/>
                </a:lnTo>
                <a:lnTo>
                  <a:pt x="175" y="232"/>
                </a:lnTo>
                <a:lnTo>
                  <a:pt x="173" y="232"/>
                </a:lnTo>
                <a:lnTo>
                  <a:pt x="173" y="233"/>
                </a:lnTo>
                <a:lnTo>
                  <a:pt x="171" y="232"/>
                </a:lnTo>
                <a:lnTo>
                  <a:pt x="168" y="232"/>
                </a:lnTo>
                <a:lnTo>
                  <a:pt x="168" y="230"/>
                </a:lnTo>
                <a:lnTo>
                  <a:pt x="166" y="230"/>
                </a:lnTo>
                <a:lnTo>
                  <a:pt x="165" y="230"/>
                </a:lnTo>
                <a:lnTo>
                  <a:pt x="163" y="230"/>
                </a:lnTo>
                <a:lnTo>
                  <a:pt x="161" y="230"/>
                </a:lnTo>
                <a:lnTo>
                  <a:pt x="158" y="230"/>
                </a:lnTo>
                <a:lnTo>
                  <a:pt x="159" y="228"/>
                </a:lnTo>
                <a:lnTo>
                  <a:pt x="158" y="227"/>
                </a:lnTo>
                <a:lnTo>
                  <a:pt x="159" y="227"/>
                </a:lnTo>
                <a:lnTo>
                  <a:pt x="158" y="225"/>
                </a:lnTo>
                <a:lnTo>
                  <a:pt x="159" y="223"/>
                </a:lnTo>
                <a:lnTo>
                  <a:pt x="158" y="221"/>
                </a:lnTo>
                <a:lnTo>
                  <a:pt x="156" y="221"/>
                </a:lnTo>
                <a:lnTo>
                  <a:pt x="154" y="221"/>
                </a:lnTo>
                <a:lnTo>
                  <a:pt x="153" y="220"/>
                </a:lnTo>
                <a:lnTo>
                  <a:pt x="149" y="221"/>
                </a:lnTo>
                <a:lnTo>
                  <a:pt x="149" y="220"/>
                </a:lnTo>
                <a:lnTo>
                  <a:pt x="148" y="218"/>
                </a:lnTo>
                <a:lnTo>
                  <a:pt x="148" y="215"/>
                </a:lnTo>
                <a:lnTo>
                  <a:pt x="148" y="213"/>
                </a:lnTo>
                <a:lnTo>
                  <a:pt x="144" y="213"/>
                </a:lnTo>
                <a:lnTo>
                  <a:pt x="144" y="215"/>
                </a:lnTo>
                <a:lnTo>
                  <a:pt x="144" y="213"/>
                </a:lnTo>
                <a:lnTo>
                  <a:pt x="142" y="213"/>
                </a:lnTo>
                <a:lnTo>
                  <a:pt x="142" y="210"/>
                </a:lnTo>
                <a:lnTo>
                  <a:pt x="141" y="210"/>
                </a:lnTo>
                <a:lnTo>
                  <a:pt x="141" y="206"/>
                </a:lnTo>
                <a:lnTo>
                  <a:pt x="139" y="206"/>
                </a:lnTo>
                <a:lnTo>
                  <a:pt x="137" y="206"/>
                </a:lnTo>
                <a:lnTo>
                  <a:pt x="137" y="208"/>
                </a:lnTo>
                <a:lnTo>
                  <a:pt x="134" y="206"/>
                </a:lnTo>
                <a:lnTo>
                  <a:pt x="132" y="208"/>
                </a:lnTo>
                <a:lnTo>
                  <a:pt x="131" y="206"/>
                </a:lnTo>
                <a:lnTo>
                  <a:pt x="127" y="206"/>
                </a:lnTo>
                <a:lnTo>
                  <a:pt x="127" y="204"/>
                </a:lnTo>
                <a:lnTo>
                  <a:pt x="125" y="204"/>
                </a:lnTo>
                <a:lnTo>
                  <a:pt x="125" y="203"/>
                </a:lnTo>
                <a:lnTo>
                  <a:pt x="127" y="203"/>
                </a:lnTo>
                <a:lnTo>
                  <a:pt x="127" y="201"/>
                </a:lnTo>
                <a:lnTo>
                  <a:pt x="125" y="199"/>
                </a:lnTo>
                <a:lnTo>
                  <a:pt x="124" y="199"/>
                </a:lnTo>
                <a:lnTo>
                  <a:pt x="124" y="198"/>
                </a:lnTo>
                <a:lnTo>
                  <a:pt x="122" y="198"/>
                </a:lnTo>
                <a:lnTo>
                  <a:pt x="122" y="199"/>
                </a:lnTo>
                <a:lnTo>
                  <a:pt x="120" y="201"/>
                </a:lnTo>
                <a:lnTo>
                  <a:pt x="119" y="201"/>
                </a:lnTo>
                <a:lnTo>
                  <a:pt x="117" y="203"/>
                </a:lnTo>
                <a:lnTo>
                  <a:pt x="115" y="203"/>
                </a:lnTo>
                <a:lnTo>
                  <a:pt x="114" y="204"/>
                </a:lnTo>
                <a:lnTo>
                  <a:pt x="112" y="204"/>
                </a:lnTo>
                <a:lnTo>
                  <a:pt x="114" y="206"/>
                </a:lnTo>
                <a:lnTo>
                  <a:pt x="115" y="208"/>
                </a:lnTo>
                <a:lnTo>
                  <a:pt x="119" y="210"/>
                </a:lnTo>
                <a:lnTo>
                  <a:pt x="119" y="213"/>
                </a:lnTo>
                <a:lnTo>
                  <a:pt x="117" y="213"/>
                </a:lnTo>
                <a:lnTo>
                  <a:pt x="119" y="215"/>
                </a:lnTo>
                <a:lnTo>
                  <a:pt x="117" y="218"/>
                </a:lnTo>
                <a:lnTo>
                  <a:pt x="114" y="218"/>
                </a:lnTo>
                <a:lnTo>
                  <a:pt x="114" y="220"/>
                </a:lnTo>
                <a:lnTo>
                  <a:pt x="112" y="221"/>
                </a:lnTo>
                <a:lnTo>
                  <a:pt x="110" y="223"/>
                </a:lnTo>
                <a:lnTo>
                  <a:pt x="110" y="225"/>
                </a:lnTo>
                <a:lnTo>
                  <a:pt x="110" y="227"/>
                </a:lnTo>
                <a:lnTo>
                  <a:pt x="112" y="227"/>
                </a:lnTo>
                <a:lnTo>
                  <a:pt x="110" y="228"/>
                </a:lnTo>
                <a:lnTo>
                  <a:pt x="108" y="230"/>
                </a:lnTo>
                <a:lnTo>
                  <a:pt x="108" y="232"/>
                </a:lnTo>
                <a:lnTo>
                  <a:pt x="107" y="230"/>
                </a:lnTo>
                <a:lnTo>
                  <a:pt x="103" y="232"/>
                </a:lnTo>
                <a:lnTo>
                  <a:pt x="103" y="230"/>
                </a:lnTo>
                <a:lnTo>
                  <a:pt x="102" y="227"/>
                </a:lnTo>
                <a:lnTo>
                  <a:pt x="100" y="227"/>
                </a:lnTo>
                <a:lnTo>
                  <a:pt x="98" y="227"/>
                </a:lnTo>
                <a:lnTo>
                  <a:pt x="97" y="225"/>
                </a:lnTo>
                <a:lnTo>
                  <a:pt x="95" y="225"/>
                </a:lnTo>
                <a:lnTo>
                  <a:pt x="93" y="225"/>
                </a:lnTo>
                <a:lnTo>
                  <a:pt x="91" y="223"/>
                </a:lnTo>
                <a:lnTo>
                  <a:pt x="90" y="225"/>
                </a:lnTo>
                <a:lnTo>
                  <a:pt x="88" y="223"/>
                </a:lnTo>
                <a:lnTo>
                  <a:pt x="86" y="221"/>
                </a:lnTo>
                <a:lnTo>
                  <a:pt x="85" y="220"/>
                </a:lnTo>
                <a:lnTo>
                  <a:pt x="83" y="220"/>
                </a:lnTo>
                <a:lnTo>
                  <a:pt x="81" y="218"/>
                </a:lnTo>
                <a:lnTo>
                  <a:pt x="81" y="215"/>
                </a:lnTo>
                <a:lnTo>
                  <a:pt x="80" y="216"/>
                </a:lnTo>
                <a:lnTo>
                  <a:pt x="80" y="218"/>
                </a:lnTo>
                <a:lnTo>
                  <a:pt x="76" y="216"/>
                </a:lnTo>
                <a:lnTo>
                  <a:pt x="74" y="218"/>
                </a:lnTo>
                <a:lnTo>
                  <a:pt x="74" y="216"/>
                </a:lnTo>
                <a:lnTo>
                  <a:pt x="71" y="216"/>
                </a:lnTo>
                <a:lnTo>
                  <a:pt x="71" y="213"/>
                </a:lnTo>
                <a:lnTo>
                  <a:pt x="69" y="213"/>
                </a:lnTo>
                <a:lnTo>
                  <a:pt x="68" y="213"/>
                </a:lnTo>
                <a:lnTo>
                  <a:pt x="66" y="213"/>
                </a:lnTo>
                <a:lnTo>
                  <a:pt x="64" y="213"/>
                </a:lnTo>
                <a:lnTo>
                  <a:pt x="64" y="211"/>
                </a:lnTo>
                <a:lnTo>
                  <a:pt x="63" y="210"/>
                </a:lnTo>
                <a:lnTo>
                  <a:pt x="61" y="210"/>
                </a:lnTo>
                <a:lnTo>
                  <a:pt x="57" y="210"/>
                </a:lnTo>
                <a:lnTo>
                  <a:pt x="57" y="206"/>
                </a:lnTo>
                <a:lnTo>
                  <a:pt x="57" y="204"/>
                </a:lnTo>
                <a:lnTo>
                  <a:pt x="56" y="204"/>
                </a:lnTo>
                <a:lnTo>
                  <a:pt x="54" y="204"/>
                </a:lnTo>
                <a:lnTo>
                  <a:pt x="52" y="203"/>
                </a:lnTo>
                <a:lnTo>
                  <a:pt x="52" y="201"/>
                </a:lnTo>
                <a:lnTo>
                  <a:pt x="52" y="199"/>
                </a:lnTo>
                <a:lnTo>
                  <a:pt x="51" y="199"/>
                </a:lnTo>
                <a:lnTo>
                  <a:pt x="49" y="198"/>
                </a:lnTo>
                <a:lnTo>
                  <a:pt x="47" y="199"/>
                </a:lnTo>
                <a:lnTo>
                  <a:pt x="46" y="198"/>
                </a:lnTo>
                <a:lnTo>
                  <a:pt x="44" y="198"/>
                </a:lnTo>
                <a:lnTo>
                  <a:pt x="42" y="196"/>
                </a:lnTo>
                <a:lnTo>
                  <a:pt x="39" y="194"/>
                </a:lnTo>
                <a:lnTo>
                  <a:pt x="39" y="193"/>
                </a:lnTo>
                <a:lnTo>
                  <a:pt x="39" y="191"/>
                </a:lnTo>
                <a:lnTo>
                  <a:pt x="40" y="191"/>
                </a:lnTo>
                <a:lnTo>
                  <a:pt x="40" y="189"/>
                </a:lnTo>
                <a:lnTo>
                  <a:pt x="40" y="187"/>
                </a:lnTo>
                <a:lnTo>
                  <a:pt x="40" y="186"/>
                </a:lnTo>
                <a:lnTo>
                  <a:pt x="42" y="186"/>
                </a:lnTo>
                <a:lnTo>
                  <a:pt x="44" y="186"/>
                </a:lnTo>
                <a:lnTo>
                  <a:pt x="46" y="184"/>
                </a:lnTo>
                <a:lnTo>
                  <a:pt x="47" y="186"/>
                </a:lnTo>
                <a:lnTo>
                  <a:pt x="47" y="187"/>
                </a:lnTo>
                <a:lnTo>
                  <a:pt x="51" y="186"/>
                </a:lnTo>
                <a:lnTo>
                  <a:pt x="52" y="186"/>
                </a:lnTo>
                <a:lnTo>
                  <a:pt x="54" y="186"/>
                </a:lnTo>
                <a:lnTo>
                  <a:pt x="52" y="184"/>
                </a:lnTo>
                <a:lnTo>
                  <a:pt x="52" y="182"/>
                </a:lnTo>
                <a:lnTo>
                  <a:pt x="54" y="179"/>
                </a:lnTo>
                <a:lnTo>
                  <a:pt x="52" y="179"/>
                </a:lnTo>
                <a:lnTo>
                  <a:pt x="52" y="176"/>
                </a:lnTo>
                <a:lnTo>
                  <a:pt x="51" y="176"/>
                </a:lnTo>
                <a:lnTo>
                  <a:pt x="49" y="174"/>
                </a:lnTo>
                <a:lnTo>
                  <a:pt x="47" y="172"/>
                </a:lnTo>
                <a:lnTo>
                  <a:pt x="47" y="170"/>
                </a:lnTo>
                <a:lnTo>
                  <a:pt x="46" y="172"/>
                </a:lnTo>
                <a:lnTo>
                  <a:pt x="44" y="169"/>
                </a:lnTo>
                <a:lnTo>
                  <a:pt x="42" y="167"/>
                </a:lnTo>
                <a:lnTo>
                  <a:pt x="40" y="165"/>
                </a:lnTo>
                <a:lnTo>
                  <a:pt x="39" y="162"/>
                </a:lnTo>
                <a:lnTo>
                  <a:pt x="37" y="162"/>
                </a:lnTo>
                <a:lnTo>
                  <a:pt x="35" y="159"/>
                </a:lnTo>
                <a:lnTo>
                  <a:pt x="35" y="157"/>
                </a:lnTo>
                <a:lnTo>
                  <a:pt x="37" y="159"/>
                </a:lnTo>
                <a:lnTo>
                  <a:pt x="39" y="159"/>
                </a:lnTo>
                <a:lnTo>
                  <a:pt x="42" y="159"/>
                </a:lnTo>
                <a:lnTo>
                  <a:pt x="44" y="160"/>
                </a:lnTo>
                <a:lnTo>
                  <a:pt x="46" y="160"/>
                </a:lnTo>
                <a:lnTo>
                  <a:pt x="47" y="160"/>
                </a:lnTo>
                <a:lnTo>
                  <a:pt x="49" y="160"/>
                </a:lnTo>
                <a:lnTo>
                  <a:pt x="51" y="160"/>
                </a:lnTo>
                <a:lnTo>
                  <a:pt x="52" y="157"/>
                </a:lnTo>
                <a:lnTo>
                  <a:pt x="54" y="155"/>
                </a:lnTo>
                <a:lnTo>
                  <a:pt x="54" y="152"/>
                </a:lnTo>
                <a:lnTo>
                  <a:pt x="52" y="150"/>
                </a:lnTo>
                <a:lnTo>
                  <a:pt x="52" y="153"/>
                </a:lnTo>
                <a:lnTo>
                  <a:pt x="51" y="152"/>
                </a:lnTo>
                <a:lnTo>
                  <a:pt x="49" y="150"/>
                </a:lnTo>
                <a:lnTo>
                  <a:pt x="47" y="148"/>
                </a:lnTo>
                <a:lnTo>
                  <a:pt x="46" y="148"/>
                </a:lnTo>
                <a:lnTo>
                  <a:pt x="47" y="147"/>
                </a:lnTo>
                <a:lnTo>
                  <a:pt x="46" y="148"/>
                </a:lnTo>
                <a:lnTo>
                  <a:pt x="44" y="147"/>
                </a:lnTo>
                <a:lnTo>
                  <a:pt x="42" y="145"/>
                </a:lnTo>
                <a:lnTo>
                  <a:pt x="40" y="145"/>
                </a:lnTo>
                <a:lnTo>
                  <a:pt x="40" y="143"/>
                </a:lnTo>
                <a:lnTo>
                  <a:pt x="39" y="142"/>
                </a:lnTo>
                <a:lnTo>
                  <a:pt x="37" y="138"/>
                </a:lnTo>
                <a:lnTo>
                  <a:pt x="35" y="138"/>
                </a:lnTo>
                <a:lnTo>
                  <a:pt x="34" y="140"/>
                </a:lnTo>
                <a:lnTo>
                  <a:pt x="32" y="138"/>
                </a:lnTo>
                <a:lnTo>
                  <a:pt x="30" y="138"/>
                </a:lnTo>
                <a:lnTo>
                  <a:pt x="29" y="136"/>
                </a:lnTo>
                <a:lnTo>
                  <a:pt x="27" y="136"/>
                </a:lnTo>
                <a:lnTo>
                  <a:pt x="27" y="135"/>
                </a:lnTo>
                <a:lnTo>
                  <a:pt x="27" y="133"/>
                </a:lnTo>
                <a:lnTo>
                  <a:pt x="25" y="133"/>
                </a:lnTo>
                <a:lnTo>
                  <a:pt x="25" y="131"/>
                </a:lnTo>
                <a:lnTo>
                  <a:pt x="27" y="130"/>
                </a:lnTo>
                <a:lnTo>
                  <a:pt x="27" y="126"/>
                </a:lnTo>
                <a:lnTo>
                  <a:pt x="25" y="124"/>
                </a:lnTo>
                <a:lnTo>
                  <a:pt x="25" y="123"/>
                </a:lnTo>
                <a:lnTo>
                  <a:pt x="29" y="121"/>
                </a:lnTo>
                <a:lnTo>
                  <a:pt x="29" y="119"/>
                </a:lnTo>
                <a:lnTo>
                  <a:pt x="29" y="118"/>
                </a:lnTo>
                <a:lnTo>
                  <a:pt x="30" y="116"/>
                </a:lnTo>
                <a:lnTo>
                  <a:pt x="30" y="114"/>
                </a:lnTo>
                <a:lnTo>
                  <a:pt x="30" y="113"/>
                </a:lnTo>
                <a:lnTo>
                  <a:pt x="32" y="111"/>
                </a:lnTo>
                <a:lnTo>
                  <a:pt x="32" y="109"/>
                </a:lnTo>
                <a:lnTo>
                  <a:pt x="34" y="109"/>
                </a:lnTo>
                <a:lnTo>
                  <a:pt x="32" y="107"/>
                </a:lnTo>
                <a:lnTo>
                  <a:pt x="34" y="106"/>
                </a:lnTo>
                <a:lnTo>
                  <a:pt x="34" y="102"/>
                </a:lnTo>
                <a:lnTo>
                  <a:pt x="34" y="99"/>
                </a:lnTo>
                <a:lnTo>
                  <a:pt x="34" y="97"/>
                </a:lnTo>
                <a:lnTo>
                  <a:pt x="35" y="97"/>
                </a:lnTo>
                <a:lnTo>
                  <a:pt x="34" y="96"/>
                </a:lnTo>
                <a:lnTo>
                  <a:pt x="32" y="94"/>
                </a:lnTo>
                <a:lnTo>
                  <a:pt x="29" y="94"/>
                </a:lnTo>
                <a:lnTo>
                  <a:pt x="27" y="96"/>
                </a:lnTo>
                <a:lnTo>
                  <a:pt x="25" y="94"/>
                </a:lnTo>
                <a:lnTo>
                  <a:pt x="22" y="96"/>
                </a:lnTo>
                <a:lnTo>
                  <a:pt x="22" y="97"/>
                </a:lnTo>
                <a:lnTo>
                  <a:pt x="20" y="97"/>
                </a:lnTo>
                <a:lnTo>
                  <a:pt x="20" y="99"/>
                </a:lnTo>
                <a:lnTo>
                  <a:pt x="17" y="99"/>
                </a:lnTo>
                <a:lnTo>
                  <a:pt x="17" y="97"/>
                </a:lnTo>
                <a:lnTo>
                  <a:pt x="15" y="97"/>
                </a:lnTo>
                <a:lnTo>
                  <a:pt x="15" y="96"/>
                </a:lnTo>
                <a:lnTo>
                  <a:pt x="17" y="96"/>
                </a:lnTo>
                <a:lnTo>
                  <a:pt x="20" y="96"/>
                </a:lnTo>
                <a:lnTo>
                  <a:pt x="20" y="94"/>
                </a:lnTo>
                <a:lnTo>
                  <a:pt x="22" y="92"/>
                </a:lnTo>
                <a:lnTo>
                  <a:pt x="23" y="92"/>
                </a:lnTo>
                <a:lnTo>
                  <a:pt x="22" y="90"/>
                </a:lnTo>
                <a:lnTo>
                  <a:pt x="20" y="90"/>
                </a:lnTo>
                <a:lnTo>
                  <a:pt x="18" y="90"/>
                </a:lnTo>
                <a:lnTo>
                  <a:pt x="20" y="89"/>
                </a:lnTo>
                <a:lnTo>
                  <a:pt x="20" y="85"/>
                </a:lnTo>
                <a:lnTo>
                  <a:pt x="18" y="85"/>
                </a:lnTo>
                <a:lnTo>
                  <a:pt x="20" y="84"/>
                </a:lnTo>
                <a:lnTo>
                  <a:pt x="18" y="82"/>
                </a:lnTo>
                <a:lnTo>
                  <a:pt x="18" y="79"/>
                </a:lnTo>
                <a:lnTo>
                  <a:pt x="20" y="80"/>
                </a:lnTo>
                <a:lnTo>
                  <a:pt x="22" y="79"/>
                </a:lnTo>
                <a:lnTo>
                  <a:pt x="23" y="77"/>
                </a:lnTo>
                <a:lnTo>
                  <a:pt x="23" y="75"/>
                </a:lnTo>
                <a:lnTo>
                  <a:pt x="22" y="75"/>
                </a:lnTo>
                <a:lnTo>
                  <a:pt x="25" y="75"/>
                </a:lnTo>
                <a:lnTo>
                  <a:pt x="27" y="75"/>
                </a:lnTo>
                <a:lnTo>
                  <a:pt x="27" y="73"/>
                </a:lnTo>
                <a:lnTo>
                  <a:pt x="29" y="73"/>
                </a:lnTo>
                <a:lnTo>
                  <a:pt x="30" y="75"/>
                </a:lnTo>
                <a:lnTo>
                  <a:pt x="32" y="75"/>
                </a:lnTo>
                <a:lnTo>
                  <a:pt x="34" y="75"/>
                </a:lnTo>
                <a:lnTo>
                  <a:pt x="35" y="73"/>
                </a:lnTo>
                <a:lnTo>
                  <a:pt x="34" y="70"/>
                </a:lnTo>
                <a:lnTo>
                  <a:pt x="32" y="72"/>
                </a:lnTo>
                <a:lnTo>
                  <a:pt x="30" y="72"/>
                </a:lnTo>
                <a:lnTo>
                  <a:pt x="27" y="72"/>
                </a:lnTo>
                <a:lnTo>
                  <a:pt x="25" y="72"/>
                </a:lnTo>
                <a:lnTo>
                  <a:pt x="25" y="68"/>
                </a:lnTo>
                <a:lnTo>
                  <a:pt x="23" y="70"/>
                </a:lnTo>
                <a:lnTo>
                  <a:pt x="22" y="70"/>
                </a:lnTo>
                <a:lnTo>
                  <a:pt x="18" y="68"/>
                </a:lnTo>
                <a:lnTo>
                  <a:pt x="17" y="68"/>
                </a:lnTo>
                <a:lnTo>
                  <a:pt x="17" y="65"/>
                </a:lnTo>
                <a:lnTo>
                  <a:pt x="15" y="65"/>
                </a:lnTo>
                <a:lnTo>
                  <a:pt x="13" y="65"/>
                </a:lnTo>
                <a:lnTo>
                  <a:pt x="10" y="63"/>
                </a:lnTo>
                <a:lnTo>
                  <a:pt x="10" y="62"/>
                </a:lnTo>
                <a:lnTo>
                  <a:pt x="13" y="60"/>
                </a:lnTo>
                <a:lnTo>
                  <a:pt x="12" y="60"/>
                </a:lnTo>
                <a:lnTo>
                  <a:pt x="10" y="58"/>
                </a:lnTo>
                <a:lnTo>
                  <a:pt x="10" y="56"/>
                </a:lnTo>
                <a:lnTo>
                  <a:pt x="10" y="55"/>
                </a:lnTo>
                <a:lnTo>
                  <a:pt x="12" y="55"/>
                </a:lnTo>
                <a:lnTo>
                  <a:pt x="15" y="55"/>
                </a:lnTo>
                <a:lnTo>
                  <a:pt x="15" y="53"/>
                </a:lnTo>
                <a:lnTo>
                  <a:pt x="12" y="51"/>
                </a:lnTo>
                <a:lnTo>
                  <a:pt x="10" y="51"/>
                </a:lnTo>
                <a:lnTo>
                  <a:pt x="6" y="53"/>
                </a:lnTo>
                <a:lnTo>
                  <a:pt x="6" y="51"/>
                </a:lnTo>
                <a:lnTo>
                  <a:pt x="5" y="50"/>
                </a:lnTo>
                <a:lnTo>
                  <a:pt x="5" y="48"/>
                </a:lnTo>
                <a:lnTo>
                  <a:pt x="6" y="48"/>
                </a:lnTo>
                <a:lnTo>
                  <a:pt x="6" y="46"/>
                </a:lnTo>
                <a:lnTo>
                  <a:pt x="5" y="48"/>
                </a:lnTo>
                <a:lnTo>
                  <a:pt x="6" y="46"/>
                </a:lnTo>
                <a:lnTo>
                  <a:pt x="6" y="45"/>
                </a:lnTo>
                <a:lnTo>
                  <a:pt x="8" y="45"/>
                </a:lnTo>
                <a:lnTo>
                  <a:pt x="6" y="43"/>
                </a:lnTo>
                <a:lnTo>
                  <a:pt x="5" y="41"/>
                </a:lnTo>
                <a:lnTo>
                  <a:pt x="8" y="41"/>
                </a:lnTo>
                <a:lnTo>
                  <a:pt x="8" y="39"/>
                </a:lnTo>
                <a:lnTo>
                  <a:pt x="5" y="41"/>
                </a:lnTo>
                <a:lnTo>
                  <a:pt x="5" y="39"/>
                </a:lnTo>
                <a:lnTo>
                  <a:pt x="6" y="39"/>
                </a:lnTo>
                <a:lnTo>
                  <a:pt x="8" y="38"/>
                </a:lnTo>
                <a:lnTo>
                  <a:pt x="6" y="36"/>
                </a:lnTo>
                <a:lnTo>
                  <a:pt x="5" y="38"/>
                </a:lnTo>
                <a:lnTo>
                  <a:pt x="1" y="38"/>
                </a:lnTo>
                <a:lnTo>
                  <a:pt x="1" y="36"/>
                </a:lnTo>
                <a:lnTo>
                  <a:pt x="5" y="36"/>
                </a:lnTo>
                <a:lnTo>
                  <a:pt x="3" y="33"/>
                </a:lnTo>
                <a:lnTo>
                  <a:pt x="1" y="34"/>
                </a:lnTo>
                <a:lnTo>
                  <a:pt x="0" y="34"/>
                </a:lnTo>
                <a:lnTo>
                  <a:pt x="1" y="33"/>
                </a:lnTo>
                <a:lnTo>
                  <a:pt x="0" y="31"/>
                </a:lnTo>
                <a:lnTo>
                  <a:pt x="3" y="29"/>
                </a:lnTo>
                <a:lnTo>
                  <a:pt x="1" y="28"/>
                </a:lnTo>
                <a:lnTo>
                  <a:pt x="3" y="26"/>
                </a:lnTo>
                <a:lnTo>
                  <a:pt x="1" y="26"/>
                </a:lnTo>
                <a:lnTo>
                  <a:pt x="1" y="24"/>
                </a:lnTo>
                <a:lnTo>
                  <a:pt x="5" y="26"/>
                </a:lnTo>
                <a:lnTo>
                  <a:pt x="6" y="24"/>
                </a:lnTo>
                <a:lnTo>
                  <a:pt x="6" y="26"/>
                </a:lnTo>
                <a:lnTo>
                  <a:pt x="6" y="22"/>
                </a:lnTo>
                <a:lnTo>
                  <a:pt x="8" y="22"/>
                </a:lnTo>
                <a:lnTo>
                  <a:pt x="10" y="22"/>
                </a:lnTo>
                <a:lnTo>
                  <a:pt x="10" y="19"/>
                </a:lnTo>
                <a:lnTo>
                  <a:pt x="10" y="17"/>
                </a:lnTo>
                <a:lnTo>
                  <a:pt x="12" y="16"/>
                </a:lnTo>
                <a:lnTo>
                  <a:pt x="13" y="19"/>
                </a:lnTo>
                <a:lnTo>
                  <a:pt x="17" y="19"/>
                </a:lnTo>
                <a:lnTo>
                  <a:pt x="15" y="19"/>
                </a:lnTo>
                <a:lnTo>
                  <a:pt x="18" y="19"/>
                </a:lnTo>
                <a:lnTo>
                  <a:pt x="20" y="19"/>
                </a:lnTo>
                <a:lnTo>
                  <a:pt x="20" y="17"/>
                </a:lnTo>
                <a:lnTo>
                  <a:pt x="22" y="16"/>
                </a:lnTo>
                <a:lnTo>
                  <a:pt x="23" y="14"/>
                </a:lnTo>
                <a:lnTo>
                  <a:pt x="23" y="16"/>
                </a:lnTo>
                <a:lnTo>
                  <a:pt x="25" y="14"/>
                </a:lnTo>
                <a:lnTo>
                  <a:pt x="27" y="12"/>
                </a:lnTo>
                <a:lnTo>
                  <a:pt x="29" y="11"/>
                </a:lnTo>
                <a:lnTo>
                  <a:pt x="30" y="9"/>
                </a:lnTo>
                <a:lnTo>
                  <a:pt x="29" y="7"/>
                </a:lnTo>
                <a:lnTo>
                  <a:pt x="30" y="5"/>
                </a:lnTo>
                <a:lnTo>
                  <a:pt x="32" y="5"/>
                </a:lnTo>
                <a:lnTo>
                  <a:pt x="32" y="4"/>
                </a:lnTo>
                <a:lnTo>
                  <a:pt x="34" y="4"/>
                </a:lnTo>
                <a:lnTo>
                  <a:pt x="35" y="4"/>
                </a:lnTo>
                <a:lnTo>
                  <a:pt x="37" y="2"/>
                </a:lnTo>
                <a:lnTo>
                  <a:pt x="39" y="2"/>
                </a:lnTo>
                <a:lnTo>
                  <a:pt x="40" y="4"/>
                </a:lnTo>
                <a:lnTo>
                  <a:pt x="42" y="5"/>
                </a:lnTo>
                <a:lnTo>
                  <a:pt x="44" y="5"/>
                </a:lnTo>
                <a:lnTo>
                  <a:pt x="46" y="4"/>
                </a:lnTo>
                <a:lnTo>
                  <a:pt x="47" y="4"/>
                </a:lnTo>
                <a:lnTo>
                  <a:pt x="49" y="2"/>
                </a:lnTo>
                <a:lnTo>
                  <a:pt x="52" y="2"/>
                </a:lnTo>
                <a:lnTo>
                  <a:pt x="54" y="0"/>
                </a:lnTo>
                <a:lnTo>
                  <a:pt x="56" y="4"/>
                </a:lnTo>
                <a:lnTo>
                  <a:pt x="56" y="2"/>
                </a:lnTo>
                <a:lnTo>
                  <a:pt x="57" y="0"/>
                </a:lnTo>
                <a:lnTo>
                  <a:pt x="59" y="2"/>
                </a:lnTo>
                <a:lnTo>
                  <a:pt x="63" y="0"/>
                </a:lnTo>
                <a:lnTo>
                  <a:pt x="63" y="2"/>
                </a:lnTo>
                <a:lnTo>
                  <a:pt x="64" y="4"/>
                </a:lnTo>
                <a:lnTo>
                  <a:pt x="66" y="2"/>
                </a:lnTo>
                <a:lnTo>
                  <a:pt x="66" y="4"/>
                </a:lnTo>
                <a:lnTo>
                  <a:pt x="66" y="2"/>
                </a:lnTo>
                <a:close/>
                <a:moveTo>
                  <a:pt x="47" y="187"/>
                </a:moveTo>
                <a:lnTo>
                  <a:pt x="49" y="187"/>
                </a:lnTo>
                <a:lnTo>
                  <a:pt x="49" y="189"/>
                </a:lnTo>
                <a:lnTo>
                  <a:pt x="47" y="189"/>
                </a:lnTo>
                <a:lnTo>
                  <a:pt x="47" y="187"/>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72" name="Freeform 48">
            <a:extLst>
              <a:ext uri="{FF2B5EF4-FFF2-40B4-BE49-F238E27FC236}">
                <a16:creationId xmlns:a16="http://schemas.microsoft.com/office/drawing/2014/main" id="{6BF8871A-2307-4142-BC70-2A1E63B34DC4}"/>
              </a:ext>
            </a:extLst>
          </p:cNvPr>
          <p:cNvSpPr>
            <a:spLocks noEditPoints="1"/>
          </p:cNvSpPr>
          <p:nvPr/>
        </p:nvSpPr>
        <p:spPr bwMode="gray">
          <a:xfrm>
            <a:off x="3787603" y="4290827"/>
            <a:ext cx="547720" cy="519435"/>
          </a:xfrm>
          <a:custGeom>
            <a:avLst/>
            <a:gdLst>
              <a:gd name="T0" fmla="*/ 174 w 201"/>
              <a:gd name="T1" fmla="*/ 14 h 182"/>
              <a:gd name="T2" fmla="*/ 181 w 201"/>
              <a:gd name="T3" fmla="*/ 20 h 182"/>
              <a:gd name="T4" fmla="*/ 177 w 201"/>
              <a:gd name="T5" fmla="*/ 32 h 182"/>
              <a:gd name="T6" fmla="*/ 174 w 201"/>
              <a:gd name="T7" fmla="*/ 44 h 182"/>
              <a:gd name="T8" fmla="*/ 176 w 201"/>
              <a:gd name="T9" fmla="*/ 54 h 182"/>
              <a:gd name="T10" fmla="*/ 187 w 201"/>
              <a:gd name="T11" fmla="*/ 61 h 182"/>
              <a:gd name="T12" fmla="*/ 194 w 201"/>
              <a:gd name="T13" fmla="*/ 66 h 182"/>
              <a:gd name="T14" fmla="*/ 199 w 201"/>
              <a:gd name="T15" fmla="*/ 75 h 182"/>
              <a:gd name="T16" fmla="*/ 186 w 201"/>
              <a:gd name="T17" fmla="*/ 77 h 182"/>
              <a:gd name="T18" fmla="*/ 189 w 201"/>
              <a:gd name="T19" fmla="*/ 85 h 182"/>
              <a:gd name="T20" fmla="*/ 199 w 201"/>
              <a:gd name="T21" fmla="*/ 94 h 182"/>
              <a:gd name="T22" fmla="*/ 198 w 201"/>
              <a:gd name="T23" fmla="*/ 104 h 182"/>
              <a:gd name="T24" fmla="*/ 187 w 201"/>
              <a:gd name="T25" fmla="*/ 105 h 182"/>
              <a:gd name="T26" fmla="*/ 181 w 201"/>
              <a:gd name="T27" fmla="*/ 111 h 182"/>
              <a:gd name="T28" fmla="*/ 170 w 201"/>
              <a:gd name="T29" fmla="*/ 114 h 182"/>
              <a:gd name="T30" fmla="*/ 179 w 201"/>
              <a:gd name="T31" fmla="*/ 122 h 182"/>
              <a:gd name="T32" fmla="*/ 174 w 201"/>
              <a:gd name="T33" fmla="*/ 126 h 182"/>
              <a:gd name="T34" fmla="*/ 164 w 201"/>
              <a:gd name="T35" fmla="*/ 129 h 182"/>
              <a:gd name="T36" fmla="*/ 160 w 201"/>
              <a:gd name="T37" fmla="*/ 145 h 182"/>
              <a:gd name="T38" fmla="*/ 155 w 201"/>
              <a:gd name="T39" fmla="*/ 151 h 182"/>
              <a:gd name="T40" fmla="*/ 153 w 201"/>
              <a:gd name="T41" fmla="*/ 163 h 182"/>
              <a:gd name="T42" fmla="*/ 160 w 201"/>
              <a:gd name="T43" fmla="*/ 175 h 182"/>
              <a:gd name="T44" fmla="*/ 150 w 201"/>
              <a:gd name="T45" fmla="*/ 179 h 182"/>
              <a:gd name="T46" fmla="*/ 138 w 201"/>
              <a:gd name="T47" fmla="*/ 175 h 182"/>
              <a:gd name="T48" fmla="*/ 125 w 201"/>
              <a:gd name="T49" fmla="*/ 168 h 182"/>
              <a:gd name="T50" fmla="*/ 113 w 201"/>
              <a:gd name="T51" fmla="*/ 162 h 182"/>
              <a:gd name="T52" fmla="*/ 108 w 201"/>
              <a:gd name="T53" fmla="*/ 160 h 182"/>
              <a:gd name="T54" fmla="*/ 109 w 201"/>
              <a:gd name="T55" fmla="*/ 151 h 182"/>
              <a:gd name="T56" fmla="*/ 99 w 201"/>
              <a:gd name="T57" fmla="*/ 145 h 182"/>
              <a:gd name="T58" fmla="*/ 92 w 201"/>
              <a:gd name="T59" fmla="*/ 138 h 182"/>
              <a:gd name="T60" fmla="*/ 87 w 201"/>
              <a:gd name="T61" fmla="*/ 124 h 182"/>
              <a:gd name="T62" fmla="*/ 74 w 201"/>
              <a:gd name="T63" fmla="*/ 119 h 182"/>
              <a:gd name="T64" fmla="*/ 62 w 201"/>
              <a:gd name="T65" fmla="*/ 107 h 182"/>
              <a:gd name="T66" fmla="*/ 51 w 201"/>
              <a:gd name="T67" fmla="*/ 99 h 182"/>
              <a:gd name="T68" fmla="*/ 41 w 201"/>
              <a:gd name="T69" fmla="*/ 90 h 182"/>
              <a:gd name="T70" fmla="*/ 31 w 201"/>
              <a:gd name="T71" fmla="*/ 80 h 182"/>
              <a:gd name="T72" fmla="*/ 28 w 201"/>
              <a:gd name="T73" fmla="*/ 68 h 182"/>
              <a:gd name="T74" fmla="*/ 24 w 201"/>
              <a:gd name="T75" fmla="*/ 60 h 182"/>
              <a:gd name="T76" fmla="*/ 17 w 201"/>
              <a:gd name="T77" fmla="*/ 49 h 182"/>
              <a:gd name="T78" fmla="*/ 6 w 201"/>
              <a:gd name="T79" fmla="*/ 44 h 182"/>
              <a:gd name="T80" fmla="*/ 2 w 201"/>
              <a:gd name="T81" fmla="*/ 32 h 182"/>
              <a:gd name="T82" fmla="*/ 2 w 201"/>
              <a:gd name="T83" fmla="*/ 19 h 182"/>
              <a:gd name="T84" fmla="*/ 7 w 201"/>
              <a:gd name="T85" fmla="*/ 7 h 182"/>
              <a:gd name="T86" fmla="*/ 16 w 201"/>
              <a:gd name="T87" fmla="*/ 12 h 182"/>
              <a:gd name="T88" fmla="*/ 26 w 201"/>
              <a:gd name="T89" fmla="*/ 20 h 182"/>
              <a:gd name="T90" fmla="*/ 34 w 201"/>
              <a:gd name="T91" fmla="*/ 12 h 182"/>
              <a:gd name="T92" fmla="*/ 41 w 201"/>
              <a:gd name="T93" fmla="*/ 5 h 182"/>
              <a:gd name="T94" fmla="*/ 53 w 201"/>
              <a:gd name="T95" fmla="*/ 5 h 182"/>
              <a:gd name="T96" fmla="*/ 57 w 201"/>
              <a:gd name="T97" fmla="*/ 2 h 182"/>
              <a:gd name="T98" fmla="*/ 62 w 201"/>
              <a:gd name="T99" fmla="*/ 2 h 182"/>
              <a:gd name="T100" fmla="*/ 70 w 201"/>
              <a:gd name="T101" fmla="*/ 7 h 182"/>
              <a:gd name="T102" fmla="*/ 79 w 201"/>
              <a:gd name="T103" fmla="*/ 7 h 182"/>
              <a:gd name="T104" fmla="*/ 89 w 201"/>
              <a:gd name="T105" fmla="*/ 7 h 182"/>
              <a:gd name="T106" fmla="*/ 101 w 201"/>
              <a:gd name="T107" fmla="*/ 8 h 182"/>
              <a:gd name="T108" fmla="*/ 109 w 201"/>
              <a:gd name="T109" fmla="*/ 5 h 182"/>
              <a:gd name="T110" fmla="*/ 119 w 201"/>
              <a:gd name="T111" fmla="*/ 7 h 182"/>
              <a:gd name="T112" fmla="*/ 131 w 201"/>
              <a:gd name="T113" fmla="*/ 3 h 182"/>
              <a:gd name="T114" fmla="*/ 140 w 201"/>
              <a:gd name="T115" fmla="*/ 5 h 182"/>
              <a:gd name="T116" fmla="*/ 147 w 201"/>
              <a:gd name="T117" fmla="*/ 3 h 182"/>
              <a:gd name="T118" fmla="*/ 153 w 201"/>
              <a:gd name="T119" fmla="*/ 14 h 182"/>
              <a:gd name="T120" fmla="*/ 162 w 201"/>
              <a:gd name="T121" fmla="*/ 19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1" h="182">
                <a:moveTo>
                  <a:pt x="164" y="17"/>
                </a:moveTo>
                <a:lnTo>
                  <a:pt x="167" y="17"/>
                </a:lnTo>
                <a:lnTo>
                  <a:pt x="167" y="15"/>
                </a:lnTo>
                <a:lnTo>
                  <a:pt x="169" y="15"/>
                </a:lnTo>
                <a:lnTo>
                  <a:pt x="169" y="14"/>
                </a:lnTo>
                <a:lnTo>
                  <a:pt x="172" y="12"/>
                </a:lnTo>
                <a:lnTo>
                  <a:pt x="174" y="14"/>
                </a:lnTo>
                <a:lnTo>
                  <a:pt x="176" y="12"/>
                </a:lnTo>
                <a:lnTo>
                  <a:pt x="179" y="12"/>
                </a:lnTo>
                <a:lnTo>
                  <a:pt x="181" y="14"/>
                </a:lnTo>
                <a:lnTo>
                  <a:pt x="182" y="15"/>
                </a:lnTo>
                <a:lnTo>
                  <a:pt x="181" y="15"/>
                </a:lnTo>
                <a:lnTo>
                  <a:pt x="181" y="17"/>
                </a:lnTo>
                <a:lnTo>
                  <a:pt x="181" y="20"/>
                </a:lnTo>
                <a:lnTo>
                  <a:pt x="181" y="24"/>
                </a:lnTo>
                <a:lnTo>
                  <a:pt x="179" y="25"/>
                </a:lnTo>
                <a:lnTo>
                  <a:pt x="181" y="27"/>
                </a:lnTo>
                <a:lnTo>
                  <a:pt x="179" y="27"/>
                </a:lnTo>
                <a:lnTo>
                  <a:pt x="179" y="29"/>
                </a:lnTo>
                <a:lnTo>
                  <a:pt x="177" y="31"/>
                </a:lnTo>
                <a:lnTo>
                  <a:pt x="177" y="32"/>
                </a:lnTo>
                <a:lnTo>
                  <a:pt x="177" y="34"/>
                </a:lnTo>
                <a:lnTo>
                  <a:pt x="176" y="36"/>
                </a:lnTo>
                <a:lnTo>
                  <a:pt x="176" y="37"/>
                </a:lnTo>
                <a:lnTo>
                  <a:pt x="176" y="39"/>
                </a:lnTo>
                <a:lnTo>
                  <a:pt x="172" y="41"/>
                </a:lnTo>
                <a:lnTo>
                  <a:pt x="172" y="42"/>
                </a:lnTo>
                <a:lnTo>
                  <a:pt x="174" y="44"/>
                </a:lnTo>
                <a:lnTo>
                  <a:pt x="174" y="48"/>
                </a:lnTo>
                <a:lnTo>
                  <a:pt x="172" y="49"/>
                </a:lnTo>
                <a:lnTo>
                  <a:pt x="172" y="51"/>
                </a:lnTo>
                <a:lnTo>
                  <a:pt x="174" y="51"/>
                </a:lnTo>
                <a:lnTo>
                  <a:pt x="174" y="53"/>
                </a:lnTo>
                <a:lnTo>
                  <a:pt x="174" y="54"/>
                </a:lnTo>
                <a:lnTo>
                  <a:pt x="176" y="54"/>
                </a:lnTo>
                <a:lnTo>
                  <a:pt x="177" y="56"/>
                </a:lnTo>
                <a:lnTo>
                  <a:pt x="179" y="56"/>
                </a:lnTo>
                <a:lnTo>
                  <a:pt x="181" y="58"/>
                </a:lnTo>
                <a:lnTo>
                  <a:pt x="182" y="56"/>
                </a:lnTo>
                <a:lnTo>
                  <a:pt x="184" y="56"/>
                </a:lnTo>
                <a:lnTo>
                  <a:pt x="186" y="60"/>
                </a:lnTo>
                <a:lnTo>
                  <a:pt x="187" y="61"/>
                </a:lnTo>
                <a:lnTo>
                  <a:pt x="187" y="63"/>
                </a:lnTo>
                <a:lnTo>
                  <a:pt x="189" y="63"/>
                </a:lnTo>
                <a:lnTo>
                  <a:pt x="191" y="65"/>
                </a:lnTo>
                <a:lnTo>
                  <a:pt x="193" y="66"/>
                </a:lnTo>
                <a:lnTo>
                  <a:pt x="194" y="65"/>
                </a:lnTo>
                <a:lnTo>
                  <a:pt x="193" y="66"/>
                </a:lnTo>
                <a:lnTo>
                  <a:pt x="194" y="66"/>
                </a:lnTo>
                <a:lnTo>
                  <a:pt x="196" y="68"/>
                </a:lnTo>
                <a:lnTo>
                  <a:pt x="198" y="70"/>
                </a:lnTo>
                <a:lnTo>
                  <a:pt x="199" y="71"/>
                </a:lnTo>
                <a:lnTo>
                  <a:pt x="199" y="68"/>
                </a:lnTo>
                <a:lnTo>
                  <a:pt x="201" y="70"/>
                </a:lnTo>
                <a:lnTo>
                  <a:pt x="201" y="73"/>
                </a:lnTo>
                <a:lnTo>
                  <a:pt x="199" y="75"/>
                </a:lnTo>
                <a:lnTo>
                  <a:pt x="198" y="78"/>
                </a:lnTo>
                <a:lnTo>
                  <a:pt x="196" y="78"/>
                </a:lnTo>
                <a:lnTo>
                  <a:pt x="194" y="78"/>
                </a:lnTo>
                <a:lnTo>
                  <a:pt x="193" y="78"/>
                </a:lnTo>
                <a:lnTo>
                  <a:pt x="191" y="78"/>
                </a:lnTo>
                <a:lnTo>
                  <a:pt x="189" y="77"/>
                </a:lnTo>
                <a:lnTo>
                  <a:pt x="186" y="77"/>
                </a:lnTo>
                <a:lnTo>
                  <a:pt x="184" y="77"/>
                </a:lnTo>
                <a:lnTo>
                  <a:pt x="182" y="75"/>
                </a:lnTo>
                <a:lnTo>
                  <a:pt x="182" y="77"/>
                </a:lnTo>
                <a:lnTo>
                  <a:pt x="184" y="80"/>
                </a:lnTo>
                <a:lnTo>
                  <a:pt x="186" y="80"/>
                </a:lnTo>
                <a:lnTo>
                  <a:pt x="187" y="83"/>
                </a:lnTo>
                <a:lnTo>
                  <a:pt x="189" y="85"/>
                </a:lnTo>
                <a:lnTo>
                  <a:pt x="191" y="87"/>
                </a:lnTo>
                <a:lnTo>
                  <a:pt x="193" y="90"/>
                </a:lnTo>
                <a:lnTo>
                  <a:pt x="194" y="88"/>
                </a:lnTo>
                <a:lnTo>
                  <a:pt x="194" y="90"/>
                </a:lnTo>
                <a:lnTo>
                  <a:pt x="196" y="92"/>
                </a:lnTo>
                <a:lnTo>
                  <a:pt x="198" y="94"/>
                </a:lnTo>
                <a:lnTo>
                  <a:pt x="199" y="94"/>
                </a:lnTo>
                <a:lnTo>
                  <a:pt x="199" y="97"/>
                </a:lnTo>
                <a:lnTo>
                  <a:pt x="201" y="97"/>
                </a:lnTo>
                <a:lnTo>
                  <a:pt x="199" y="100"/>
                </a:lnTo>
                <a:lnTo>
                  <a:pt x="199" y="102"/>
                </a:lnTo>
                <a:lnTo>
                  <a:pt x="201" y="104"/>
                </a:lnTo>
                <a:lnTo>
                  <a:pt x="199" y="104"/>
                </a:lnTo>
                <a:lnTo>
                  <a:pt x="198" y="104"/>
                </a:lnTo>
                <a:lnTo>
                  <a:pt x="194" y="105"/>
                </a:lnTo>
                <a:lnTo>
                  <a:pt x="194" y="104"/>
                </a:lnTo>
                <a:lnTo>
                  <a:pt x="193" y="102"/>
                </a:lnTo>
                <a:lnTo>
                  <a:pt x="191" y="104"/>
                </a:lnTo>
                <a:lnTo>
                  <a:pt x="189" y="104"/>
                </a:lnTo>
                <a:lnTo>
                  <a:pt x="187" y="104"/>
                </a:lnTo>
                <a:lnTo>
                  <a:pt x="187" y="105"/>
                </a:lnTo>
                <a:lnTo>
                  <a:pt x="187" y="107"/>
                </a:lnTo>
                <a:lnTo>
                  <a:pt x="187" y="109"/>
                </a:lnTo>
                <a:lnTo>
                  <a:pt x="186" y="109"/>
                </a:lnTo>
                <a:lnTo>
                  <a:pt x="186" y="111"/>
                </a:lnTo>
                <a:lnTo>
                  <a:pt x="184" y="109"/>
                </a:lnTo>
                <a:lnTo>
                  <a:pt x="182" y="111"/>
                </a:lnTo>
                <a:lnTo>
                  <a:pt x="181" y="111"/>
                </a:lnTo>
                <a:lnTo>
                  <a:pt x="179" y="112"/>
                </a:lnTo>
                <a:lnTo>
                  <a:pt x="177" y="112"/>
                </a:lnTo>
                <a:lnTo>
                  <a:pt x="177" y="111"/>
                </a:lnTo>
                <a:lnTo>
                  <a:pt x="174" y="109"/>
                </a:lnTo>
                <a:lnTo>
                  <a:pt x="174" y="111"/>
                </a:lnTo>
                <a:lnTo>
                  <a:pt x="172" y="112"/>
                </a:lnTo>
                <a:lnTo>
                  <a:pt x="170" y="114"/>
                </a:lnTo>
                <a:lnTo>
                  <a:pt x="172" y="112"/>
                </a:lnTo>
                <a:lnTo>
                  <a:pt x="174" y="114"/>
                </a:lnTo>
                <a:lnTo>
                  <a:pt x="174" y="116"/>
                </a:lnTo>
                <a:lnTo>
                  <a:pt x="176" y="117"/>
                </a:lnTo>
                <a:lnTo>
                  <a:pt x="177" y="117"/>
                </a:lnTo>
                <a:lnTo>
                  <a:pt x="177" y="121"/>
                </a:lnTo>
                <a:lnTo>
                  <a:pt x="179" y="122"/>
                </a:lnTo>
                <a:lnTo>
                  <a:pt x="181" y="124"/>
                </a:lnTo>
                <a:lnTo>
                  <a:pt x="181" y="126"/>
                </a:lnTo>
                <a:lnTo>
                  <a:pt x="179" y="126"/>
                </a:lnTo>
                <a:lnTo>
                  <a:pt x="177" y="129"/>
                </a:lnTo>
                <a:lnTo>
                  <a:pt x="174" y="128"/>
                </a:lnTo>
                <a:lnTo>
                  <a:pt x="174" y="124"/>
                </a:lnTo>
                <a:lnTo>
                  <a:pt x="174" y="126"/>
                </a:lnTo>
                <a:lnTo>
                  <a:pt x="172" y="122"/>
                </a:lnTo>
                <a:lnTo>
                  <a:pt x="170" y="124"/>
                </a:lnTo>
                <a:lnTo>
                  <a:pt x="169" y="124"/>
                </a:lnTo>
                <a:lnTo>
                  <a:pt x="169" y="126"/>
                </a:lnTo>
                <a:lnTo>
                  <a:pt x="167" y="128"/>
                </a:lnTo>
                <a:lnTo>
                  <a:pt x="165" y="128"/>
                </a:lnTo>
                <a:lnTo>
                  <a:pt x="164" y="129"/>
                </a:lnTo>
                <a:lnTo>
                  <a:pt x="162" y="133"/>
                </a:lnTo>
                <a:lnTo>
                  <a:pt x="162" y="134"/>
                </a:lnTo>
                <a:lnTo>
                  <a:pt x="160" y="136"/>
                </a:lnTo>
                <a:lnTo>
                  <a:pt x="160" y="138"/>
                </a:lnTo>
                <a:lnTo>
                  <a:pt x="160" y="139"/>
                </a:lnTo>
                <a:lnTo>
                  <a:pt x="160" y="141"/>
                </a:lnTo>
                <a:lnTo>
                  <a:pt x="160" y="145"/>
                </a:lnTo>
                <a:lnTo>
                  <a:pt x="162" y="146"/>
                </a:lnTo>
                <a:lnTo>
                  <a:pt x="160" y="148"/>
                </a:lnTo>
                <a:lnTo>
                  <a:pt x="159" y="148"/>
                </a:lnTo>
                <a:lnTo>
                  <a:pt x="157" y="148"/>
                </a:lnTo>
                <a:lnTo>
                  <a:pt x="155" y="148"/>
                </a:lnTo>
                <a:lnTo>
                  <a:pt x="155" y="150"/>
                </a:lnTo>
                <a:lnTo>
                  <a:pt x="155" y="151"/>
                </a:lnTo>
                <a:lnTo>
                  <a:pt x="153" y="153"/>
                </a:lnTo>
                <a:lnTo>
                  <a:pt x="153" y="155"/>
                </a:lnTo>
                <a:lnTo>
                  <a:pt x="153" y="158"/>
                </a:lnTo>
                <a:lnTo>
                  <a:pt x="155" y="158"/>
                </a:lnTo>
                <a:lnTo>
                  <a:pt x="153" y="160"/>
                </a:lnTo>
                <a:lnTo>
                  <a:pt x="153" y="162"/>
                </a:lnTo>
                <a:lnTo>
                  <a:pt x="153" y="163"/>
                </a:lnTo>
                <a:lnTo>
                  <a:pt x="153" y="165"/>
                </a:lnTo>
                <a:lnTo>
                  <a:pt x="153" y="168"/>
                </a:lnTo>
                <a:lnTo>
                  <a:pt x="155" y="168"/>
                </a:lnTo>
                <a:lnTo>
                  <a:pt x="155" y="170"/>
                </a:lnTo>
                <a:lnTo>
                  <a:pt x="159" y="170"/>
                </a:lnTo>
                <a:lnTo>
                  <a:pt x="159" y="172"/>
                </a:lnTo>
                <a:lnTo>
                  <a:pt x="160" y="175"/>
                </a:lnTo>
                <a:lnTo>
                  <a:pt x="159" y="177"/>
                </a:lnTo>
                <a:lnTo>
                  <a:pt x="159" y="180"/>
                </a:lnTo>
                <a:lnTo>
                  <a:pt x="157" y="180"/>
                </a:lnTo>
                <a:lnTo>
                  <a:pt x="155" y="182"/>
                </a:lnTo>
                <a:lnTo>
                  <a:pt x="153" y="182"/>
                </a:lnTo>
                <a:lnTo>
                  <a:pt x="152" y="180"/>
                </a:lnTo>
                <a:lnTo>
                  <a:pt x="150" y="179"/>
                </a:lnTo>
                <a:lnTo>
                  <a:pt x="148" y="179"/>
                </a:lnTo>
                <a:lnTo>
                  <a:pt x="147" y="180"/>
                </a:lnTo>
                <a:lnTo>
                  <a:pt x="143" y="180"/>
                </a:lnTo>
                <a:lnTo>
                  <a:pt x="142" y="179"/>
                </a:lnTo>
                <a:lnTo>
                  <a:pt x="142" y="177"/>
                </a:lnTo>
                <a:lnTo>
                  <a:pt x="140" y="177"/>
                </a:lnTo>
                <a:lnTo>
                  <a:pt x="138" y="175"/>
                </a:lnTo>
                <a:lnTo>
                  <a:pt x="136" y="175"/>
                </a:lnTo>
                <a:lnTo>
                  <a:pt x="135" y="173"/>
                </a:lnTo>
                <a:lnTo>
                  <a:pt x="133" y="172"/>
                </a:lnTo>
                <a:lnTo>
                  <a:pt x="130" y="172"/>
                </a:lnTo>
                <a:lnTo>
                  <a:pt x="130" y="170"/>
                </a:lnTo>
                <a:lnTo>
                  <a:pt x="126" y="168"/>
                </a:lnTo>
                <a:lnTo>
                  <a:pt x="125" y="168"/>
                </a:lnTo>
                <a:lnTo>
                  <a:pt x="125" y="167"/>
                </a:lnTo>
                <a:lnTo>
                  <a:pt x="123" y="165"/>
                </a:lnTo>
                <a:lnTo>
                  <a:pt x="121" y="162"/>
                </a:lnTo>
                <a:lnTo>
                  <a:pt x="119" y="162"/>
                </a:lnTo>
                <a:lnTo>
                  <a:pt x="118" y="163"/>
                </a:lnTo>
                <a:lnTo>
                  <a:pt x="116" y="162"/>
                </a:lnTo>
                <a:lnTo>
                  <a:pt x="113" y="162"/>
                </a:lnTo>
                <a:lnTo>
                  <a:pt x="111" y="163"/>
                </a:lnTo>
                <a:lnTo>
                  <a:pt x="109" y="163"/>
                </a:lnTo>
                <a:lnTo>
                  <a:pt x="108" y="162"/>
                </a:lnTo>
                <a:lnTo>
                  <a:pt x="106" y="162"/>
                </a:lnTo>
                <a:lnTo>
                  <a:pt x="108" y="162"/>
                </a:lnTo>
                <a:lnTo>
                  <a:pt x="109" y="162"/>
                </a:lnTo>
                <a:lnTo>
                  <a:pt x="108" y="160"/>
                </a:lnTo>
                <a:lnTo>
                  <a:pt x="109" y="160"/>
                </a:lnTo>
                <a:lnTo>
                  <a:pt x="111" y="158"/>
                </a:lnTo>
                <a:lnTo>
                  <a:pt x="114" y="158"/>
                </a:lnTo>
                <a:lnTo>
                  <a:pt x="113" y="156"/>
                </a:lnTo>
                <a:lnTo>
                  <a:pt x="111" y="155"/>
                </a:lnTo>
                <a:lnTo>
                  <a:pt x="111" y="153"/>
                </a:lnTo>
                <a:lnTo>
                  <a:pt x="109" y="151"/>
                </a:lnTo>
                <a:lnTo>
                  <a:pt x="109" y="150"/>
                </a:lnTo>
                <a:lnTo>
                  <a:pt x="108" y="150"/>
                </a:lnTo>
                <a:lnTo>
                  <a:pt x="106" y="148"/>
                </a:lnTo>
                <a:lnTo>
                  <a:pt x="104" y="148"/>
                </a:lnTo>
                <a:lnTo>
                  <a:pt x="102" y="146"/>
                </a:lnTo>
                <a:lnTo>
                  <a:pt x="101" y="146"/>
                </a:lnTo>
                <a:lnTo>
                  <a:pt x="99" y="145"/>
                </a:lnTo>
                <a:lnTo>
                  <a:pt x="97" y="145"/>
                </a:lnTo>
                <a:lnTo>
                  <a:pt x="97" y="143"/>
                </a:lnTo>
                <a:lnTo>
                  <a:pt x="97" y="141"/>
                </a:lnTo>
                <a:lnTo>
                  <a:pt x="96" y="139"/>
                </a:lnTo>
                <a:lnTo>
                  <a:pt x="94" y="139"/>
                </a:lnTo>
                <a:lnTo>
                  <a:pt x="92" y="139"/>
                </a:lnTo>
                <a:lnTo>
                  <a:pt x="92" y="138"/>
                </a:lnTo>
                <a:lnTo>
                  <a:pt x="91" y="136"/>
                </a:lnTo>
                <a:lnTo>
                  <a:pt x="89" y="134"/>
                </a:lnTo>
                <a:lnTo>
                  <a:pt x="89" y="133"/>
                </a:lnTo>
                <a:lnTo>
                  <a:pt x="87" y="131"/>
                </a:lnTo>
                <a:lnTo>
                  <a:pt x="87" y="129"/>
                </a:lnTo>
                <a:lnTo>
                  <a:pt x="89" y="128"/>
                </a:lnTo>
                <a:lnTo>
                  <a:pt x="87" y="124"/>
                </a:lnTo>
                <a:lnTo>
                  <a:pt x="85" y="124"/>
                </a:lnTo>
                <a:lnTo>
                  <a:pt x="82" y="124"/>
                </a:lnTo>
                <a:lnTo>
                  <a:pt x="80" y="124"/>
                </a:lnTo>
                <a:lnTo>
                  <a:pt x="79" y="122"/>
                </a:lnTo>
                <a:lnTo>
                  <a:pt x="79" y="121"/>
                </a:lnTo>
                <a:lnTo>
                  <a:pt x="77" y="121"/>
                </a:lnTo>
                <a:lnTo>
                  <a:pt x="74" y="119"/>
                </a:lnTo>
                <a:lnTo>
                  <a:pt x="72" y="119"/>
                </a:lnTo>
                <a:lnTo>
                  <a:pt x="72" y="116"/>
                </a:lnTo>
                <a:lnTo>
                  <a:pt x="68" y="114"/>
                </a:lnTo>
                <a:lnTo>
                  <a:pt x="67" y="112"/>
                </a:lnTo>
                <a:lnTo>
                  <a:pt x="65" y="111"/>
                </a:lnTo>
                <a:lnTo>
                  <a:pt x="63" y="109"/>
                </a:lnTo>
                <a:lnTo>
                  <a:pt x="62" y="107"/>
                </a:lnTo>
                <a:lnTo>
                  <a:pt x="58" y="107"/>
                </a:lnTo>
                <a:lnTo>
                  <a:pt x="58" y="104"/>
                </a:lnTo>
                <a:lnTo>
                  <a:pt x="57" y="104"/>
                </a:lnTo>
                <a:lnTo>
                  <a:pt x="57" y="100"/>
                </a:lnTo>
                <a:lnTo>
                  <a:pt x="55" y="100"/>
                </a:lnTo>
                <a:lnTo>
                  <a:pt x="53" y="99"/>
                </a:lnTo>
                <a:lnTo>
                  <a:pt x="51" y="99"/>
                </a:lnTo>
                <a:lnTo>
                  <a:pt x="50" y="95"/>
                </a:lnTo>
                <a:lnTo>
                  <a:pt x="48" y="94"/>
                </a:lnTo>
                <a:lnTo>
                  <a:pt x="46" y="94"/>
                </a:lnTo>
                <a:lnTo>
                  <a:pt x="45" y="92"/>
                </a:lnTo>
                <a:lnTo>
                  <a:pt x="45" y="90"/>
                </a:lnTo>
                <a:lnTo>
                  <a:pt x="43" y="90"/>
                </a:lnTo>
                <a:lnTo>
                  <a:pt x="41" y="90"/>
                </a:lnTo>
                <a:lnTo>
                  <a:pt x="41" y="87"/>
                </a:lnTo>
                <a:lnTo>
                  <a:pt x="40" y="87"/>
                </a:lnTo>
                <a:lnTo>
                  <a:pt x="38" y="87"/>
                </a:lnTo>
                <a:lnTo>
                  <a:pt x="36" y="83"/>
                </a:lnTo>
                <a:lnTo>
                  <a:pt x="34" y="83"/>
                </a:lnTo>
                <a:lnTo>
                  <a:pt x="33" y="82"/>
                </a:lnTo>
                <a:lnTo>
                  <a:pt x="31" y="80"/>
                </a:lnTo>
                <a:lnTo>
                  <a:pt x="28" y="78"/>
                </a:lnTo>
                <a:lnTo>
                  <a:pt x="29" y="77"/>
                </a:lnTo>
                <a:lnTo>
                  <a:pt x="28" y="75"/>
                </a:lnTo>
                <a:lnTo>
                  <a:pt x="28" y="73"/>
                </a:lnTo>
                <a:lnTo>
                  <a:pt x="28" y="71"/>
                </a:lnTo>
                <a:lnTo>
                  <a:pt x="28" y="70"/>
                </a:lnTo>
                <a:lnTo>
                  <a:pt x="28" y="68"/>
                </a:lnTo>
                <a:lnTo>
                  <a:pt x="26" y="66"/>
                </a:lnTo>
                <a:lnTo>
                  <a:pt x="24" y="66"/>
                </a:lnTo>
                <a:lnTo>
                  <a:pt x="23" y="65"/>
                </a:lnTo>
                <a:lnTo>
                  <a:pt x="26" y="65"/>
                </a:lnTo>
                <a:lnTo>
                  <a:pt x="24" y="63"/>
                </a:lnTo>
                <a:lnTo>
                  <a:pt x="23" y="61"/>
                </a:lnTo>
                <a:lnTo>
                  <a:pt x="24" y="60"/>
                </a:lnTo>
                <a:lnTo>
                  <a:pt x="23" y="58"/>
                </a:lnTo>
                <a:lnTo>
                  <a:pt x="21" y="56"/>
                </a:lnTo>
                <a:lnTo>
                  <a:pt x="19" y="56"/>
                </a:lnTo>
                <a:lnTo>
                  <a:pt x="17" y="54"/>
                </a:lnTo>
                <a:lnTo>
                  <a:pt x="16" y="53"/>
                </a:lnTo>
                <a:lnTo>
                  <a:pt x="19" y="51"/>
                </a:lnTo>
                <a:lnTo>
                  <a:pt x="17" y="49"/>
                </a:lnTo>
                <a:lnTo>
                  <a:pt x="17" y="48"/>
                </a:lnTo>
                <a:lnTo>
                  <a:pt x="14" y="46"/>
                </a:lnTo>
                <a:lnTo>
                  <a:pt x="12" y="44"/>
                </a:lnTo>
                <a:lnTo>
                  <a:pt x="11" y="42"/>
                </a:lnTo>
                <a:lnTo>
                  <a:pt x="9" y="41"/>
                </a:lnTo>
                <a:lnTo>
                  <a:pt x="7" y="44"/>
                </a:lnTo>
                <a:lnTo>
                  <a:pt x="6" y="44"/>
                </a:lnTo>
                <a:lnTo>
                  <a:pt x="4" y="42"/>
                </a:lnTo>
                <a:lnTo>
                  <a:pt x="2" y="39"/>
                </a:lnTo>
                <a:lnTo>
                  <a:pt x="0" y="37"/>
                </a:lnTo>
                <a:lnTo>
                  <a:pt x="2" y="36"/>
                </a:lnTo>
                <a:lnTo>
                  <a:pt x="4" y="34"/>
                </a:lnTo>
                <a:lnTo>
                  <a:pt x="2" y="34"/>
                </a:lnTo>
                <a:lnTo>
                  <a:pt x="2" y="32"/>
                </a:lnTo>
                <a:lnTo>
                  <a:pt x="0" y="29"/>
                </a:lnTo>
                <a:lnTo>
                  <a:pt x="0" y="27"/>
                </a:lnTo>
                <a:lnTo>
                  <a:pt x="2" y="25"/>
                </a:lnTo>
                <a:lnTo>
                  <a:pt x="2" y="24"/>
                </a:lnTo>
                <a:lnTo>
                  <a:pt x="2" y="22"/>
                </a:lnTo>
                <a:lnTo>
                  <a:pt x="0" y="20"/>
                </a:lnTo>
                <a:lnTo>
                  <a:pt x="2" y="19"/>
                </a:lnTo>
                <a:lnTo>
                  <a:pt x="2" y="15"/>
                </a:lnTo>
                <a:lnTo>
                  <a:pt x="0" y="12"/>
                </a:lnTo>
                <a:lnTo>
                  <a:pt x="2" y="10"/>
                </a:lnTo>
                <a:lnTo>
                  <a:pt x="4" y="10"/>
                </a:lnTo>
                <a:lnTo>
                  <a:pt x="4" y="8"/>
                </a:lnTo>
                <a:lnTo>
                  <a:pt x="7" y="8"/>
                </a:lnTo>
                <a:lnTo>
                  <a:pt x="7" y="7"/>
                </a:lnTo>
                <a:lnTo>
                  <a:pt x="9" y="8"/>
                </a:lnTo>
                <a:lnTo>
                  <a:pt x="11" y="7"/>
                </a:lnTo>
                <a:lnTo>
                  <a:pt x="12" y="8"/>
                </a:lnTo>
                <a:lnTo>
                  <a:pt x="14" y="8"/>
                </a:lnTo>
                <a:lnTo>
                  <a:pt x="12" y="10"/>
                </a:lnTo>
                <a:lnTo>
                  <a:pt x="14" y="10"/>
                </a:lnTo>
                <a:lnTo>
                  <a:pt x="16" y="12"/>
                </a:lnTo>
                <a:lnTo>
                  <a:pt x="17" y="14"/>
                </a:lnTo>
                <a:lnTo>
                  <a:pt x="17" y="15"/>
                </a:lnTo>
                <a:lnTo>
                  <a:pt x="19" y="17"/>
                </a:lnTo>
                <a:lnTo>
                  <a:pt x="21" y="17"/>
                </a:lnTo>
                <a:lnTo>
                  <a:pt x="23" y="20"/>
                </a:lnTo>
                <a:lnTo>
                  <a:pt x="24" y="20"/>
                </a:lnTo>
                <a:lnTo>
                  <a:pt x="26" y="20"/>
                </a:lnTo>
                <a:lnTo>
                  <a:pt x="28" y="22"/>
                </a:lnTo>
                <a:lnTo>
                  <a:pt x="31" y="22"/>
                </a:lnTo>
                <a:lnTo>
                  <a:pt x="31" y="20"/>
                </a:lnTo>
                <a:lnTo>
                  <a:pt x="33" y="19"/>
                </a:lnTo>
                <a:lnTo>
                  <a:pt x="33" y="15"/>
                </a:lnTo>
                <a:lnTo>
                  <a:pt x="33" y="14"/>
                </a:lnTo>
                <a:lnTo>
                  <a:pt x="34" y="12"/>
                </a:lnTo>
                <a:lnTo>
                  <a:pt x="36" y="12"/>
                </a:lnTo>
                <a:lnTo>
                  <a:pt x="36" y="10"/>
                </a:lnTo>
                <a:lnTo>
                  <a:pt x="36" y="8"/>
                </a:lnTo>
                <a:lnTo>
                  <a:pt x="36" y="7"/>
                </a:lnTo>
                <a:lnTo>
                  <a:pt x="38" y="5"/>
                </a:lnTo>
                <a:lnTo>
                  <a:pt x="40" y="5"/>
                </a:lnTo>
                <a:lnTo>
                  <a:pt x="41" y="5"/>
                </a:lnTo>
                <a:lnTo>
                  <a:pt x="43" y="5"/>
                </a:lnTo>
                <a:lnTo>
                  <a:pt x="45" y="7"/>
                </a:lnTo>
                <a:lnTo>
                  <a:pt x="46" y="7"/>
                </a:lnTo>
                <a:lnTo>
                  <a:pt x="48" y="5"/>
                </a:lnTo>
                <a:lnTo>
                  <a:pt x="50" y="7"/>
                </a:lnTo>
                <a:lnTo>
                  <a:pt x="53" y="7"/>
                </a:lnTo>
                <a:lnTo>
                  <a:pt x="53" y="5"/>
                </a:lnTo>
                <a:lnTo>
                  <a:pt x="53" y="3"/>
                </a:lnTo>
                <a:lnTo>
                  <a:pt x="55" y="5"/>
                </a:lnTo>
                <a:lnTo>
                  <a:pt x="55" y="3"/>
                </a:lnTo>
                <a:lnTo>
                  <a:pt x="55" y="2"/>
                </a:lnTo>
                <a:lnTo>
                  <a:pt x="57" y="2"/>
                </a:lnTo>
                <a:lnTo>
                  <a:pt x="55" y="2"/>
                </a:lnTo>
                <a:lnTo>
                  <a:pt x="57" y="2"/>
                </a:lnTo>
                <a:lnTo>
                  <a:pt x="58" y="0"/>
                </a:lnTo>
                <a:lnTo>
                  <a:pt x="58" y="2"/>
                </a:lnTo>
                <a:lnTo>
                  <a:pt x="58" y="3"/>
                </a:lnTo>
                <a:lnTo>
                  <a:pt x="60" y="3"/>
                </a:lnTo>
                <a:lnTo>
                  <a:pt x="60" y="2"/>
                </a:lnTo>
                <a:lnTo>
                  <a:pt x="62" y="3"/>
                </a:lnTo>
                <a:lnTo>
                  <a:pt x="62" y="2"/>
                </a:lnTo>
                <a:lnTo>
                  <a:pt x="62" y="3"/>
                </a:lnTo>
                <a:lnTo>
                  <a:pt x="63" y="3"/>
                </a:lnTo>
                <a:lnTo>
                  <a:pt x="63" y="5"/>
                </a:lnTo>
                <a:lnTo>
                  <a:pt x="65" y="5"/>
                </a:lnTo>
                <a:lnTo>
                  <a:pt x="67" y="5"/>
                </a:lnTo>
                <a:lnTo>
                  <a:pt x="68" y="7"/>
                </a:lnTo>
                <a:lnTo>
                  <a:pt x="70" y="7"/>
                </a:lnTo>
                <a:lnTo>
                  <a:pt x="72" y="7"/>
                </a:lnTo>
                <a:lnTo>
                  <a:pt x="74" y="7"/>
                </a:lnTo>
                <a:lnTo>
                  <a:pt x="75" y="5"/>
                </a:lnTo>
                <a:lnTo>
                  <a:pt x="75" y="3"/>
                </a:lnTo>
                <a:lnTo>
                  <a:pt x="75" y="5"/>
                </a:lnTo>
                <a:lnTo>
                  <a:pt x="79" y="5"/>
                </a:lnTo>
                <a:lnTo>
                  <a:pt x="79" y="7"/>
                </a:lnTo>
                <a:lnTo>
                  <a:pt x="82" y="7"/>
                </a:lnTo>
                <a:lnTo>
                  <a:pt x="84" y="5"/>
                </a:lnTo>
                <a:lnTo>
                  <a:pt x="84" y="7"/>
                </a:lnTo>
                <a:lnTo>
                  <a:pt x="87" y="7"/>
                </a:lnTo>
                <a:lnTo>
                  <a:pt x="85" y="8"/>
                </a:lnTo>
                <a:lnTo>
                  <a:pt x="89" y="8"/>
                </a:lnTo>
                <a:lnTo>
                  <a:pt x="89" y="7"/>
                </a:lnTo>
                <a:lnTo>
                  <a:pt x="89" y="8"/>
                </a:lnTo>
                <a:lnTo>
                  <a:pt x="92" y="8"/>
                </a:lnTo>
                <a:lnTo>
                  <a:pt x="94" y="7"/>
                </a:lnTo>
                <a:lnTo>
                  <a:pt x="96" y="7"/>
                </a:lnTo>
                <a:lnTo>
                  <a:pt x="97" y="7"/>
                </a:lnTo>
                <a:lnTo>
                  <a:pt x="99" y="8"/>
                </a:lnTo>
                <a:lnTo>
                  <a:pt x="101" y="8"/>
                </a:lnTo>
                <a:lnTo>
                  <a:pt x="102" y="10"/>
                </a:lnTo>
                <a:lnTo>
                  <a:pt x="104" y="12"/>
                </a:lnTo>
                <a:lnTo>
                  <a:pt x="106" y="10"/>
                </a:lnTo>
                <a:lnTo>
                  <a:pt x="108" y="10"/>
                </a:lnTo>
                <a:lnTo>
                  <a:pt x="109" y="8"/>
                </a:lnTo>
                <a:lnTo>
                  <a:pt x="108" y="7"/>
                </a:lnTo>
                <a:lnTo>
                  <a:pt x="109" y="5"/>
                </a:lnTo>
                <a:lnTo>
                  <a:pt x="111" y="3"/>
                </a:lnTo>
                <a:lnTo>
                  <a:pt x="113" y="5"/>
                </a:lnTo>
                <a:lnTo>
                  <a:pt x="114" y="3"/>
                </a:lnTo>
                <a:lnTo>
                  <a:pt x="116" y="5"/>
                </a:lnTo>
                <a:lnTo>
                  <a:pt x="114" y="5"/>
                </a:lnTo>
                <a:lnTo>
                  <a:pt x="118" y="7"/>
                </a:lnTo>
                <a:lnTo>
                  <a:pt x="119" y="7"/>
                </a:lnTo>
                <a:lnTo>
                  <a:pt x="121" y="7"/>
                </a:lnTo>
                <a:lnTo>
                  <a:pt x="123" y="5"/>
                </a:lnTo>
                <a:lnTo>
                  <a:pt x="121" y="3"/>
                </a:lnTo>
                <a:lnTo>
                  <a:pt x="125" y="2"/>
                </a:lnTo>
                <a:lnTo>
                  <a:pt x="126" y="3"/>
                </a:lnTo>
                <a:lnTo>
                  <a:pt x="128" y="5"/>
                </a:lnTo>
                <a:lnTo>
                  <a:pt x="131" y="3"/>
                </a:lnTo>
                <a:lnTo>
                  <a:pt x="133" y="3"/>
                </a:lnTo>
                <a:lnTo>
                  <a:pt x="133" y="5"/>
                </a:lnTo>
                <a:lnTo>
                  <a:pt x="135" y="7"/>
                </a:lnTo>
                <a:lnTo>
                  <a:pt x="138" y="7"/>
                </a:lnTo>
                <a:lnTo>
                  <a:pt x="140" y="5"/>
                </a:lnTo>
                <a:lnTo>
                  <a:pt x="138" y="3"/>
                </a:lnTo>
                <a:lnTo>
                  <a:pt x="140" y="5"/>
                </a:lnTo>
                <a:lnTo>
                  <a:pt x="140" y="3"/>
                </a:lnTo>
                <a:lnTo>
                  <a:pt x="142" y="5"/>
                </a:lnTo>
                <a:lnTo>
                  <a:pt x="143" y="3"/>
                </a:lnTo>
                <a:lnTo>
                  <a:pt x="142" y="5"/>
                </a:lnTo>
                <a:lnTo>
                  <a:pt x="145" y="5"/>
                </a:lnTo>
                <a:lnTo>
                  <a:pt x="145" y="3"/>
                </a:lnTo>
                <a:lnTo>
                  <a:pt x="147" y="3"/>
                </a:lnTo>
                <a:lnTo>
                  <a:pt x="145" y="5"/>
                </a:lnTo>
                <a:lnTo>
                  <a:pt x="148" y="7"/>
                </a:lnTo>
                <a:lnTo>
                  <a:pt x="148" y="8"/>
                </a:lnTo>
                <a:lnTo>
                  <a:pt x="148" y="10"/>
                </a:lnTo>
                <a:lnTo>
                  <a:pt x="150" y="8"/>
                </a:lnTo>
                <a:lnTo>
                  <a:pt x="152" y="10"/>
                </a:lnTo>
                <a:lnTo>
                  <a:pt x="153" y="14"/>
                </a:lnTo>
                <a:lnTo>
                  <a:pt x="150" y="14"/>
                </a:lnTo>
                <a:lnTo>
                  <a:pt x="152" y="15"/>
                </a:lnTo>
                <a:lnTo>
                  <a:pt x="153" y="17"/>
                </a:lnTo>
                <a:lnTo>
                  <a:pt x="155" y="19"/>
                </a:lnTo>
                <a:lnTo>
                  <a:pt x="159" y="19"/>
                </a:lnTo>
                <a:lnTo>
                  <a:pt x="160" y="19"/>
                </a:lnTo>
                <a:lnTo>
                  <a:pt x="162" y="19"/>
                </a:lnTo>
                <a:lnTo>
                  <a:pt x="164" y="17"/>
                </a:lnTo>
                <a:close/>
                <a:moveTo>
                  <a:pt x="194" y="105"/>
                </a:moveTo>
                <a:lnTo>
                  <a:pt x="196" y="105"/>
                </a:lnTo>
                <a:lnTo>
                  <a:pt x="196" y="107"/>
                </a:lnTo>
                <a:lnTo>
                  <a:pt x="194" y="107"/>
                </a:lnTo>
                <a:lnTo>
                  <a:pt x="194" y="105"/>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73" name="Freeform 49">
            <a:extLst>
              <a:ext uri="{FF2B5EF4-FFF2-40B4-BE49-F238E27FC236}">
                <a16:creationId xmlns:a16="http://schemas.microsoft.com/office/drawing/2014/main" id="{D7A352D1-B3F8-46B2-A993-C26541B7E246}"/>
              </a:ext>
            </a:extLst>
          </p:cNvPr>
          <p:cNvSpPr>
            <a:spLocks/>
          </p:cNvSpPr>
          <p:nvPr/>
        </p:nvSpPr>
        <p:spPr bwMode="gray">
          <a:xfrm>
            <a:off x="3343431" y="4590500"/>
            <a:ext cx="13624" cy="19979"/>
          </a:xfrm>
          <a:custGeom>
            <a:avLst/>
            <a:gdLst>
              <a:gd name="T0" fmla="*/ 5 w 5"/>
              <a:gd name="T1" fmla="*/ 0 h 7"/>
              <a:gd name="T2" fmla="*/ 5 w 5"/>
              <a:gd name="T3" fmla="*/ 2 h 7"/>
              <a:gd name="T4" fmla="*/ 5 w 5"/>
              <a:gd name="T5" fmla="*/ 4 h 7"/>
              <a:gd name="T6" fmla="*/ 5 w 5"/>
              <a:gd name="T7" fmla="*/ 6 h 7"/>
              <a:gd name="T8" fmla="*/ 4 w 5"/>
              <a:gd name="T9" fmla="*/ 7 h 7"/>
              <a:gd name="T10" fmla="*/ 2 w 5"/>
              <a:gd name="T11" fmla="*/ 6 h 7"/>
              <a:gd name="T12" fmla="*/ 0 w 5"/>
              <a:gd name="T13" fmla="*/ 6 h 7"/>
              <a:gd name="T14" fmla="*/ 0 w 5"/>
              <a:gd name="T15" fmla="*/ 4 h 7"/>
              <a:gd name="T16" fmla="*/ 0 w 5"/>
              <a:gd name="T17" fmla="*/ 2 h 7"/>
              <a:gd name="T18" fmla="*/ 2 w 5"/>
              <a:gd name="T19" fmla="*/ 2 h 7"/>
              <a:gd name="T20" fmla="*/ 4 w 5"/>
              <a:gd name="T21" fmla="*/ 0 h 7"/>
              <a:gd name="T22" fmla="*/ 5 w 5"/>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7">
                <a:moveTo>
                  <a:pt x="5" y="0"/>
                </a:moveTo>
                <a:lnTo>
                  <a:pt x="5" y="2"/>
                </a:lnTo>
                <a:lnTo>
                  <a:pt x="5" y="4"/>
                </a:lnTo>
                <a:lnTo>
                  <a:pt x="5" y="6"/>
                </a:lnTo>
                <a:lnTo>
                  <a:pt x="4" y="7"/>
                </a:lnTo>
                <a:lnTo>
                  <a:pt x="2" y="6"/>
                </a:lnTo>
                <a:lnTo>
                  <a:pt x="0" y="6"/>
                </a:lnTo>
                <a:lnTo>
                  <a:pt x="0" y="4"/>
                </a:lnTo>
                <a:lnTo>
                  <a:pt x="0" y="2"/>
                </a:lnTo>
                <a:lnTo>
                  <a:pt x="2" y="2"/>
                </a:lnTo>
                <a:lnTo>
                  <a:pt x="4" y="0"/>
                </a:lnTo>
                <a:lnTo>
                  <a:pt x="5" y="0"/>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74" name="Freeform 52">
            <a:extLst>
              <a:ext uri="{FF2B5EF4-FFF2-40B4-BE49-F238E27FC236}">
                <a16:creationId xmlns:a16="http://schemas.microsoft.com/office/drawing/2014/main" id="{C82EF616-5C19-48D2-97DF-5AE6B54C8BF4}"/>
              </a:ext>
            </a:extLst>
          </p:cNvPr>
          <p:cNvSpPr>
            <a:spLocks/>
          </p:cNvSpPr>
          <p:nvPr/>
        </p:nvSpPr>
        <p:spPr bwMode="gray">
          <a:xfrm>
            <a:off x="2940133" y="3936926"/>
            <a:ext cx="24524" cy="42811"/>
          </a:xfrm>
          <a:custGeom>
            <a:avLst/>
            <a:gdLst>
              <a:gd name="T0" fmla="*/ 7 w 9"/>
              <a:gd name="T1" fmla="*/ 15 h 15"/>
              <a:gd name="T2" fmla="*/ 4 w 9"/>
              <a:gd name="T3" fmla="*/ 15 h 15"/>
              <a:gd name="T4" fmla="*/ 0 w 9"/>
              <a:gd name="T5" fmla="*/ 15 h 15"/>
              <a:gd name="T6" fmla="*/ 2 w 9"/>
              <a:gd name="T7" fmla="*/ 13 h 15"/>
              <a:gd name="T8" fmla="*/ 2 w 9"/>
              <a:gd name="T9" fmla="*/ 12 h 15"/>
              <a:gd name="T10" fmla="*/ 2 w 9"/>
              <a:gd name="T11" fmla="*/ 10 h 15"/>
              <a:gd name="T12" fmla="*/ 2 w 9"/>
              <a:gd name="T13" fmla="*/ 7 h 15"/>
              <a:gd name="T14" fmla="*/ 0 w 9"/>
              <a:gd name="T15" fmla="*/ 7 h 15"/>
              <a:gd name="T16" fmla="*/ 2 w 9"/>
              <a:gd name="T17" fmla="*/ 3 h 15"/>
              <a:gd name="T18" fmla="*/ 2 w 9"/>
              <a:gd name="T19" fmla="*/ 1 h 15"/>
              <a:gd name="T20" fmla="*/ 4 w 9"/>
              <a:gd name="T21" fmla="*/ 0 h 15"/>
              <a:gd name="T22" fmla="*/ 5 w 9"/>
              <a:gd name="T23" fmla="*/ 1 h 15"/>
              <a:gd name="T24" fmla="*/ 4 w 9"/>
              <a:gd name="T25" fmla="*/ 3 h 15"/>
              <a:gd name="T26" fmla="*/ 5 w 9"/>
              <a:gd name="T27" fmla="*/ 5 h 15"/>
              <a:gd name="T28" fmla="*/ 5 w 9"/>
              <a:gd name="T29" fmla="*/ 7 h 15"/>
              <a:gd name="T30" fmla="*/ 7 w 9"/>
              <a:gd name="T31" fmla="*/ 8 h 15"/>
              <a:gd name="T32" fmla="*/ 9 w 9"/>
              <a:gd name="T33" fmla="*/ 10 h 15"/>
              <a:gd name="T34" fmla="*/ 7 w 9"/>
              <a:gd name="T35" fmla="*/ 12 h 15"/>
              <a:gd name="T36" fmla="*/ 9 w 9"/>
              <a:gd name="T37" fmla="*/ 13 h 15"/>
              <a:gd name="T38" fmla="*/ 7 w 9"/>
              <a:gd name="T39" fmla="*/ 13 h 15"/>
              <a:gd name="T40" fmla="*/ 7 w 9"/>
              <a:gd name="T41"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 h="15">
                <a:moveTo>
                  <a:pt x="7" y="15"/>
                </a:moveTo>
                <a:lnTo>
                  <a:pt x="4" y="15"/>
                </a:lnTo>
                <a:lnTo>
                  <a:pt x="0" y="15"/>
                </a:lnTo>
                <a:lnTo>
                  <a:pt x="2" y="13"/>
                </a:lnTo>
                <a:lnTo>
                  <a:pt x="2" y="12"/>
                </a:lnTo>
                <a:lnTo>
                  <a:pt x="2" y="10"/>
                </a:lnTo>
                <a:lnTo>
                  <a:pt x="2" y="7"/>
                </a:lnTo>
                <a:lnTo>
                  <a:pt x="0" y="7"/>
                </a:lnTo>
                <a:lnTo>
                  <a:pt x="2" y="3"/>
                </a:lnTo>
                <a:lnTo>
                  <a:pt x="2" y="1"/>
                </a:lnTo>
                <a:lnTo>
                  <a:pt x="4" y="0"/>
                </a:lnTo>
                <a:lnTo>
                  <a:pt x="5" y="1"/>
                </a:lnTo>
                <a:lnTo>
                  <a:pt x="4" y="3"/>
                </a:lnTo>
                <a:lnTo>
                  <a:pt x="5" y="5"/>
                </a:lnTo>
                <a:lnTo>
                  <a:pt x="5" y="7"/>
                </a:lnTo>
                <a:lnTo>
                  <a:pt x="7" y="8"/>
                </a:lnTo>
                <a:lnTo>
                  <a:pt x="9" y="10"/>
                </a:lnTo>
                <a:lnTo>
                  <a:pt x="7" y="12"/>
                </a:lnTo>
                <a:lnTo>
                  <a:pt x="9" y="13"/>
                </a:lnTo>
                <a:lnTo>
                  <a:pt x="7" y="13"/>
                </a:lnTo>
                <a:lnTo>
                  <a:pt x="7" y="15"/>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75" name="Freeform 53">
            <a:extLst>
              <a:ext uri="{FF2B5EF4-FFF2-40B4-BE49-F238E27FC236}">
                <a16:creationId xmlns:a16="http://schemas.microsoft.com/office/drawing/2014/main" id="{35C6E6DE-9650-4E5A-92BF-0A991456FE46}"/>
              </a:ext>
            </a:extLst>
          </p:cNvPr>
          <p:cNvSpPr>
            <a:spLocks/>
          </p:cNvSpPr>
          <p:nvPr/>
        </p:nvSpPr>
        <p:spPr bwMode="gray">
          <a:xfrm>
            <a:off x="2487788" y="3340430"/>
            <a:ext cx="95373" cy="145556"/>
          </a:xfrm>
          <a:custGeom>
            <a:avLst/>
            <a:gdLst>
              <a:gd name="T0" fmla="*/ 18 w 35"/>
              <a:gd name="T1" fmla="*/ 6 h 51"/>
              <a:gd name="T2" fmla="*/ 18 w 35"/>
              <a:gd name="T3" fmla="*/ 8 h 51"/>
              <a:gd name="T4" fmla="*/ 18 w 35"/>
              <a:gd name="T5" fmla="*/ 11 h 51"/>
              <a:gd name="T6" fmla="*/ 20 w 35"/>
              <a:gd name="T7" fmla="*/ 15 h 51"/>
              <a:gd name="T8" fmla="*/ 20 w 35"/>
              <a:gd name="T9" fmla="*/ 15 h 51"/>
              <a:gd name="T10" fmla="*/ 22 w 35"/>
              <a:gd name="T11" fmla="*/ 17 h 51"/>
              <a:gd name="T12" fmla="*/ 22 w 35"/>
              <a:gd name="T13" fmla="*/ 20 h 51"/>
              <a:gd name="T14" fmla="*/ 25 w 35"/>
              <a:gd name="T15" fmla="*/ 22 h 51"/>
              <a:gd name="T16" fmla="*/ 25 w 35"/>
              <a:gd name="T17" fmla="*/ 25 h 51"/>
              <a:gd name="T18" fmla="*/ 29 w 35"/>
              <a:gd name="T19" fmla="*/ 27 h 51"/>
              <a:gd name="T20" fmla="*/ 32 w 35"/>
              <a:gd name="T21" fmla="*/ 27 h 51"/>
              <a:gd name="T22" fmla="*/ 35 w 35"/>
              <a:gd name="T23" fmla="*/ 27 h 51"/>
              <a:gd name="T24" fmla="*/ 34 w 35"/>
              <a:gd name="T25" fmla="*/ 30 h 51"/>
              <a:gd name="T26" fmla="*/ 34 w 35"/>
              <a:gd name="T27" fmla="*/ 34 h 51"/>
              <a:gd name="T28" fmla="*/ 30 w 35"/>
              <a:gd name="T29" fmla="*/ 37 h 51"/>
              <a:gd name="T30" fmla="*/ 29 w 35"/>
              <a:gd name="T31" fmla="*/ 40 h 51"/>
              <a:gd name="T32" fmla="*/ 27 w 35"/>
              <a:gd name="T33" fmla="*/ 44 h 51"/>
              <a:gd name="T34" fmla="*/ 27 w 35"/>
              <a:gd name="T35" fmla="*/ 49 h 51"/>
              <a:gd name="T36" fmla="*/ 24 w 35"/>
              <a:gd name="T37" fmla="*/ 51 h 51"/>
              <a:gd name="T38" fmla="*/ 20 w 35"/>
              <a:gd name="T39" fmla="*/ 47 h 51"/>
              <a:gd name="T40" fmla="*/ 17 w 35"/>
              <a:gd name="T41" fmla="*/ 49 h 51"/>
              <a:gd name="T42" fmla="*/ 15 w 35"/>
              <a:gd name="T43" fmla="*/ 51 h 51"/>
              <a:gd name="T44" fmla="*/ 12 w 35"/>
              <a:gd name="T45" fmla="*/ 51 h 51"/>
              <a:gd name="T46" fmla="*/ 8 w 35"/>
              <a:gd name="T47" fmla="*/ 49 h 51"/>
              <a:gd name="T48" fmla="*/ 5 w 35"/>
              <a:gd name="T49" fmla="*/ 47 h 51"/>
              <a:gd name="T50" fmla="*/ 3 w 35"/>
              <a:gd name="T51" fmla="*/ 45 h 51"/>
              <a:gd name="T52" fmla="*/ 1 w 35"/>
              <a:gd name="T53" fmla="*/ 44 h 51"/>
              <a:gd name="T54" fmla="*/ 3 w 35"/>
              <a:gd name="T55" fmla="*/ 40 h 51"/>
              <a:gd name="T56" fmla="*/ 7 w 35"/>
              <a:gd name="T57" fmla="*/ 37 h 51"/>
              <a:gd name="T58" fmla="*/ 5 w 35"/>
              <a:gd name="T59" fmla="*/ 35 h 51"/>
              <a:gd name="T60" fmla="*/ 5 w 35"/>
              <a:gd name="T61" fmla="*/ 32 h 51"/>
              <a:gd name="T62" fmla="*/ 3 w 35"/>
              <a:gd name="T63" fmla="*/ 30 h 51"/>
              <a:gd name="T64" fmla="*/ 0 w 35"/>
              <a:gd name="T65" fmla="*/ 27 h 51"/>
              <a:gd name="T66" fmla="*/ 0 w 35"/>
              <a:gd name="T67" fmla="*/ 22 h 51"/>
              <a:gd name="T68" fmla="*/ 0 w 35"/>
              <a:gd name="T69" fmla="*/ 18 h 51"/>
              <a:gd name="T70" fmla="*/ 1 w 35"/>
              <a:gd name="T71" fmla="*/ 17 h 51"/>
              <a:gd name="T72" fmla="*/ 5 w 35"/>
              <a:gd name="T73" fmla="*/ 13 h 51"/>
              <a:gd name="T74" fmla="*/ 7 w 35"/>
              <a:gd name="T75" fmla="*/ 10 h 51"/>
              <a:gd name="T76" fmla="*/ 7 w 35"/>
              <a:gd name="T77" fmla="*/ 6 h 51"/>
              <a:gd name="T78" fmla="*/ 10 w 35"/>
              <a:gd name="T79" fmla="*/ 3 h 51"/>
              <a:gd name="T80" fmla="*/ 13 w 35"/>
              <a:gd name="T81" fmla="*/ 0 h 51"/>
              <a:gd name="T82" fmla="*/ 15 w 35"/>
              <a:gd name="T83" fmla="*/ 3 h 51"/>
              <a:gd name="T84" fmla="*/ 18 w 35"/>
              <a:gd name="T85" fmla="*/ 3 h 51"/>
              <a:gd name="T86" fmla="*/ 18 w 35"/>
              <a:gd name="T87" fmla="*/ 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 h="51">
                <a:moveTo>
                  <a:pt x="18" y="5"/>
                </a:moveTo>
                <a:lnTo>
                  <a:pt x="18" y="6"/>
                </a:lnTo>
                <a:lnTo>
                  <a:pt x="17" y="8"/>
                </a:lnTo>
                <a:lnTo>
                  <a:pt x="18" y="8"/>
                </a:lnTo>
                <a:lnTo>
                  <a:pt x="17" y="8"/>
                </a:lnTo>
                <a:lnTo>
                  <a:pt x="18" y="11"/>
                </a:lnTo>
                <a:lnTo>
                  <a:pt x="18" y="13"/>
                </a:lnTo>
                <a:lnTo>
                  <a:pt x="20" y="15"/>
                </a:lnTo>
                <a:lnTo>
                  <a:pt x="20" y="17"/>
                </a:lnTo>
                <a:lnTo>
                  <a:pt x="20" y="15"/>
                </a:lnTo>
                <a:lnTo>
                  <a:pt x="20" y="17"/>
                </a:lnTo>
                <a:lnTo>
                  <a:pt x="22" y="17"/>
                </a:lnTo>
                <a:lnTo>
                  <a:pt x="22" y="18"/>
                </a:lnTo>
                <a:lnTo>
                  <a:pt x="22" y="20"/>
                </a:lnTo>
                <a:lnTo>
                  <a:pt x="24" y="22"/>
                </a:lnTo>
                <a:lnTo>
                  <a:pt x="25" y="22"/>
                </a:lnTo>
                <a:lnTo>
                  <a:pt x="25" y="23"/>
                </a:lnTo>
                <a:lnTo>
                  <a:pt x="25" y="25"/>
                </a:lnTo>
                <a:lnTo>
                  <a:pt x="27" y="23"/>
                </a:lnTo>
                <a:lnTo>
                  <a:pt x="29" y="27"/>
                </a:lnTo>
                <a:lnTo>
                  <a:pt x="30" y="27"/>
                </a:lnTo>
                <a:lnTo>
                  <a:pt x="32" y="27"/>
                </a:lnTo>
                <a:lnTo>
                  <a:pt x="34" y="28"/>
                </a:lnTo>
                <a:lnTo>
                  <a:pt x="35" y="27"/>
                </a:lnTo>
                <a:lnTo>
                  <a:pt x="34" y="28"/>
                </a:lnTo>
                <a:lnTo>
                  <a:pt x="34" y="30"/>
                </a:lnTo>
                <a:lnTo>
                  <a:pt x="34" y="32"/>
                </a:lnTo>
                <a:lnTo>
                  <a:pt x="34" y="34"/>
                </a:lnTo>
                <a:lnTo>
                  <a:pt x="32" y="35"/>
                </a:lnTo>
                <a:lnTo>
                  <a:pt x="30" y="37"/>
                </a:lnTo>
                <a:lnTo>
                  <a:pt x="30" y="39"/>
                </a:lnTo>
                <a:lnTo>
                  <a:pt x="29" y="40"/>
                </a:lnTo>
                <a:lnTo>
                  <a:pt x="27" y="42"/>
                </a:lnTo>
                <a:lnTo>
                  <a:pt x="27" y="44"/>
                </a:lnTo>
                <a:lnTo>
                  <a:pt x="27" y="47"/>
                </a:lnTo>
                <a:lnTo>
                  <a:pt x="27" y="49"/>
                </a:lnTo>
                <a:lnTo>
                  <a:pt x="27" y="51"/>
                </a:lnTo>
                <a:lnTo>
                  <a:pt x="24" y="51"/>
                </a:lnTo>
                <a:lnTo>
                  <a:pt x="24" y="49"/>
                </a:lnTo>
                <a:lnTo>
                  <a:pt x="20" y="47"/>
                </a:lnTo>
                <a:lnTo>
                  <a:pt x="18" y="47"/>
                </a:lnTo>
                <a:lnTo>
                  <a:pt x="17" y="49"/>
                </a:lnTo>
                <a:lnTo>
                  <a:pt x="15" y="49"/>
                </a:lnTo>
                <a:lnTo>
                  <a:pt x="15" y="51"/>
                </a:lnTo>
                <a:lnTo>
                  <a:pt x="13" y="51"/>
                </a:lnTo>
                <a:lnTo>
                  <a:pt x="12" y="51"/>
                </a:lnTo>
                <a:lnTo>
                  <a:pt x="8" y="51"/>
                </a:lnTo>
                <a:lnTo>
                  <a:pt x="8" y="49"/>
                </a:lnTo>
                <a:lnTo>
                  <a:pt x="7" y="47"/>
                </a:lnTo>
                <a:lnTo>
                  <a:pt x="5" y="47"/>
                </a:lnTo>
                <a:lnTo>
                  <a:pt x="3" y="47"/>
                </a:lnTo>
                <a:lnTo>
                  <a:pt x="3" y="45"/>
                </a:lnTo>
                <a:lnTo>
                  <a:pt x="3" y="44"/>
                </a:lnTo>
                <a:lnTo>
                  <a:pt x="1" y="44"/>
                </a:lnTo>
                <a:lnTo>
                  <a:pt x="5" y="42"/>
                </a:lnTo>
                <a:lnTo>
                  <a:pt x="3" y="40"/>
                </a:lnTo>
                <a:lnTo>
                  <a:pt x="5" y="39"/>
                </a:lnTo>
                <a:lnTo>
                  <a:pt x="7" y="37"/>
                </a:lnTo>
                <a:lnTo>
                  <a:pt x="7" y="35"/>
                </a:lnTo>
                <a:lnTo>
                  <a:pt x="5" y="35"/>
                </a:lnTo>
                <a:lnTo>
                  <a:pt x="7" y="34"/>
                </a:lnTo>
                <a:lnTo>
                  <a:pt x="5" y="32"/>
                </a:lnTo>
                <a:lnTo>
                  <a:pt x="3" y="32"/>
                </a:lnTo>
                <a:lnTo>
                  <a:pt x="3" y="30"/>
                </a:lnTo>
                <a:lnTo>
                  <a:pt x="1" y="27"/>
                </a:lnTo>
                <a:lnTo>
                  <a:pt x="0" y="27"/>
                </a:lnTo>
                <a:lnTo>
                  <a:pt x="0" y="23"/>
                </a:lnTo>
                <a:lnTo>
                  <a:pt x="0" y="22"/>
                </a:lnTo>
                <a:lnTo>
                  <a:pt x="1" y="20"/>
                </a:lnTo>
                <a:lnTo>
                  <a:pt x="0" y="18"/>
                </a:lnTo>
                <a:lnTo>
                  <a:pt x="1" y="18"/>
                </a:lnTo>
                <a:lnTo>
                  <a:pt x="1" y="17"/>
                </a:lnTo>
                <a:lnTo>
                  <a:pt x="1" y="15"/>
                </a:lnTo>
                <a:lnTo>
                  <a:pt x="5" y="13"/>
                </a:lnTo>
                <a:lnTo>
                  <a:pt x="3" y="11"/>
                </a:lnTo>
                <a:lnTo>
                  <a:pt x="7" y="10"/>
                </a:lnTo>
                <a:lnTo>
                  <a:pt x="5" y="8"/>
                </a:lnTo>
                <a:lnTo>
                  <a:pt x="7" y="6"/>
                </a:lnTo>
                <a:lnTo>
                  <a:pt x="8" y="5"/>
                </a:lnTo>
                <a:lnTo>
                  <a:pt x="10" y="3"/>
                </a:lnTo>
                <a:lnTo>
                  <a:pt x="12" y="1"/>
                </a:lnTo>
                <a:lnTo>
                  <a:pt x="13" y="0"/>
                </a:lnTo>
                <a:lnTo>
                  <a:pt x="13" y="1"/>
                </a:lnTo>
                <a:lnTo>
                  <a:pt x="15" y="3"/>
                </a:lnTo>
                <a:lnTo>
                  <a:pt x="17" y="1"/>
                </a:lnTo>
                <a:lnTo>
                  <a:pt x="18" y="3"/>
                </a:lnTo>
                <a:lnTo>
                  <a:pt x="17" y="3"/>
                </a:lnTo>
                <a:lnTo>
                  <a:pt x="18" y="5"/>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76" name="Freeform 55">
            <a:extLst>
              <a:ext uri="{FF2B5EF4-FFF2-40B4-BE49-F238E27FC236}">
                <a16:creationId xmlns:a16="http://schemas.microsoft.com/office/drawing/2014/main" id="{627CBFC9-8544-4CD4-B1A4-E2A4F090D5A2}"/>
              </a:ext>
            </a:extLst>
          </p:cNvPr>
          <p:cNvSpPr>
            <a:spLocks/>
          </p:cNvSpPr>
          <p:nvPr/>
        </p:nvSpPr>
        <p:spPr bwMode="gray">
          <a:xfrm>
            <a:off x="3264408" y="3163479"/>
            <a:ext cx="839293" cy="502312"/>
          </a:xfrm>
          <a:custGeom>
            <a:avLst/>
            <a:gdLst>
              <a:gd name="T0" fmla="*/ 128 w 308"/>
              <a:gd name="T1" fmla="*/ 5 h 176"/>
              <a:gd name="T2" fmla="*/ 133 w 308"/>
              <a:gd name="T3" fmla="*/ 2 h 176"/>
              <a:gd name="T4" fmla="*/ 143 w 308"/>
              <a:gd name="T5" fmla="*/ 12 h 176"/>
              <a:gd name="T6" fmla="*/ 155 w 308"/>
              <a:gd name="T7" fmla="*/ 16 h 176"/>
              <a:gd name="T8" fmla="*/ 167 w 308"/>
              <a:gd name="T9" fmla="*/ 22 h 176"/>
              <a:gd name="T10" fmla="*/ 175 w 308"/>
              <a:gd name="T11" fmla="*/ 26 h 176"/>
              <a:gd name="T12" fmla="*/ 187 w 308"/>
              <a:gd name="T13" fmla="*/ 22 h 176"/>
              <a:gd name="T14" fmla="*/ 186 w 308"/>
              <a:gd name="T15" fmla="*/ 34 h 176"/>
              <a:gd name="T16" fmla="*/ 189 w 308"/>
              <a:gd name="T17" fmla="*/ 41 h 176"/>
              <a:gd name="T18" fmla="*/ 201 w 308"/>
              <a:gd name="T19" fmla="*/ 55 h 176"/>
              <a:gd name="T20" fmla="*/ 215 w 308"/>
              <a:gd name="T21" fmla="*/ 50 h 176"/>
              <a:gd name="T22" fmla="*/ 216 w 308"/>
              <a:gd name="T23" fmla="*/ 41 h 176"/>
              <a:gd name="T24" fmla="*/ 220 w 308"/>
              <a:gd name="T25" fmla="*/ 36 h 176"/>
              <a:gd name="T26" fmla="*/ 235 w 308"/>
              <a:gd name="T27" fmla="*/ 41 h 176"/>
              <a:gd name="T28" fmla="*/ 247 w 308"/>
              <a:gd name="T29" fmla="*/ 43 h 176"/>
              <a:gd name="T30" fmla="*/ 252 w 308"/>
              <a:gd name="T31" fmla="*/ 48 h 176"/>
              <a:gd name="T32" fmla="*/ 254 w 308"/>
              <a:gd name="T33" fmla="*/ 56 h 176"/>
              <a:gd name="T34" fmla="*/ 267 w 308"/>
              <a:gd name="T35" fmla="*/ 56 h 176"/>
              <a:gd name="T36" fmla="*/ 277 w 308"/>
              <a:gd name="T37" fmla="*/ 62 h 176"/>
              <a:gd name="T38" fmla="*/ 291 w 308"/>
              <a:gd name="T39" fmla="*/ 63 h 176"/>
              <a:gd name="T40" fmla="*/ 296 w 308"/>
              <a:gd name="T41" fmla="*/ 75 h 176"/>
              <a:gd name="T42" fmla="*/ 306 w 308"/>
              <a:gd name="T43" fmla="*/ 85 h 176"/>
              <a:gd name="T44" fmla="*/ 296 w 308"/>
              <a:gd name="T45" fmla="*/ 90 h 176"/>
              <a:gd name="T46" fmla="*/ 286 w 308"/>
              <a:gd name="T47" fmla="*/ 106 h 176"/>
              <a:gd name="T48" fmla="*/ 277 w 308"/>
              <a:gd name="T49" fmla="*/ 119 h 176"/>
              <a:gd name="T50" fmla="*/ 269 w 308"/>
              <a:gd name="T51" fmla="*/ 131 h 176"/>
              <a:gd name="T52" fmla="*/ 255 w 308"/>
              <a:gd name="T53" fmla="*/ 143 h 176"/>
              <a:gd name="T54" fmla="*/ 243 w 308"/>
              <a:gd name="T55" fmla="*/ 143 h 176"/>
              <a:gd name="T56" fmla="*/ 232 w 308"/>
              <a:gd name="T57" fmla="*/ 150 h 176"/>
              <a:gd name="T58" fmla="*/ 223 w 308"/>
              <a:gd name="T59" fmla="*/ 155 h 176"/>
              <a:gd name="T60" fmla="*/ 209 w 308"/>
              <a:gd name="T61" fmla="*/ 150 h 176"/>
              <a:gd name="T62" fmla="*/ 196 w 308"/>
              <a:gd name="T63" fmla="*/ 155 h 176"/>
              <a:gd name="T64" fmla="*/ 177 w 308"/>
              <a:gd name="T65" fmla="*/ 150 h 176"/>
              <a:gd name="T66" fmla="*/ 164 w 308"/>
              <a:gd name="T67" fmla="*/ 147 h 176"/>
              <a:gd name="T68" fmla="*/ 148 w 308"/>
              <a:gd name="T69" fmla="*/ 145 h 176"/>
              <a:gd name="T70" fmla="*/ 136 w 308"/>
              <a:gd name="T71" fmla="*/ 140 h 176"/>
              <a:gd name="T72" fmla="*/ 135 w 308"/>
              <a:gd name="T73" fmla="*/ 157 h 176"/>
              <a:gd name="T74" fmla="*/ 128 w 308"/>
              <a:gd name="T75" fmla="*/ 162 h 176"/>
              <a:gd name="T76" fmla="*/ 119 w 308"/>
              <a:gd name="T77" fmla="*/ 169 h 176"/>
              <a:gd name="T78" fmla="*/ 107 w 308"/>
              <a:gd name="T79" fmla="*/ 174 h 176"/>
              <a:gd name="T80" fmla="*/ 94 w 308"/>
              <a:gd name="T81" fmla="*/ 167 h 176"/>
              <a:gd name="T82" fmla="*/ 82 w 308"/>
              <a:gd name="T83" fmla="*/ 157 h 176"/>
              <a:gd name="T84" fmla="*/ 68 w 308"/>
              <a:gd name="T85" fmla="*/ 148 h 176"/>
              <a:gd name="T86" fmla="*/ 55 w 308"/>
              <a:gd name="T87" fmla="*/ 138 h 176"/>
              <a:gd name="T88" fmla="*/ 41 w 308"/>
              <a:gd name="T89" fmla="*/ 123 h 176"/>
              <a:gd name="T90" fmla="*/ 26 w 308"/>
              <a:gd name="T91" fmla="*/ 114 h 176"/>
              <a:gd name="T92" fmla="*/ 19 w 308"/>
              <a:gd name="T93" fmla="*/ 99 h 176"/>
              <a:gd name="T94" fmla="*/ 21 w 308"/>
              <a:gd name="T95" fmla="*/ 87 h 176"/>
              <a:gd name="T96" fmla="*/ 12 w 308"/>
              <a:gd name="T97" fmla="*/ 77 h 176"/>
              <a:gd name="T98" fmla="*/ 5 w 308"/>
              <a:gd name="T99" fmla="*/ 65 h 176"/>
              <a:gd name="T100" fmla="*/ 5 w 308"/>
              <a:gd name="T101" fmla="*/ 56 h 176"/>
              <a:gd name="T102" fmla="*/ 11 w 308"/>
              <a:gd name="T103" fmla="*/ 62 h 176"/>
              <a:gd name="T104" fmla="*/ 21 w 308"/>
              <a:gd name="T105" fmla="*/ 50 h 176"/>
              <a:gd name="T106" fmla="*/ 36 w 308"/>
              <a:gd name="T107" fmla="*/ 46 h 176"/>
              <a:gd name="T108" fmla="*/ 48 w 308"/>
              <a:gd name="T109" fmla="*/ 41 h 176"/>
              <a:gd name="T110" fmla="*/ 58 w 308"/>
              <a:gd name="T111" fmla="*/ 33 h 176"/>
              <a:gd name="T112" fmla="*/ 70 w 308"/>
              <a:gd name="T113" fmla="*/ 26 h 176"/>
              <a:gd name="T114" fmla="*/ 80 w 308"/>
              <a:gd name="T115" fmla="*/ 19 h 176"/>
              <a:gd name="T116" fmla="*/ 99 w 308"/>
              <a:gd name="T117" fmla="*/ 11 h 176"/>
              <a:gd name="T118" fmla="*/ 96 w 308"/>
              <a:gd name="T119" fmla="*/ 2 h 176"/>
              <a:gd name="T120" fmla="*/ 104 w 308"/>
              <a:gd name="T121" fmla="*/ 2 h 176"/>
              <a:gd name="T122" fmla="*/ 111 w 308"/>
              <a:gd name="T123" fmla="*/ 11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 h="176">
                <a:moveTo>
                  <a:pt x="119" y="12"/>
                </a:moveTo>
                <a:lnTo>
                  <a:pt x="121" y="11"/>
                </a:lnTo>
                <a:lnTo>
                  <a:pt x="123" y="12"/>
                </a:lnTo>
                <a:lnTo>
                  <a:pt x="123" y="11"/>
                </a:lnTo>
                <a:lnTo>
                  <a:pt x="124" y="12"/>
                </a:lnTo>
                <a:lnTo>
                  <a:pt x="128" y="11"/>
                </a:lnTo>
                <a:lnTo>
                  <a:pt x="128" y="9"/>
                </a:lnTo>
                <a:lnTo>
                  <a:pt x="126" y="7"/>
                </a:lnTo>
                <a:lnTo>
                  <a:pt x="128" y="5"/>
                </a:lnTo>
                <a:lnTo>
                  <a:pt x="128" y="4"/>
                </a:lnTo>
                <a:lnTo>
                  <a:pt x="126" y="4"/>
                </a:lnTo>
                <a:lnTo>
                  <a:pt x="124" y="4"/>
                </a:lnTo>
                <a:lnTo>
                  <a:pt x="126" y="2"/>
                </a:lnTo>
                <a:lnTo>
                  <a:pt x="128" y="0"/>
                </a:lnTo>
                <a:lnTo>
                  <a:pt x="130" y="0"/>
                </a:lnTo>
                <a:lnTo>
                  <a:pt x="131" y="0"/>
                </a:lnTo>
                <a:lnTo>
                  <a:pt x="131" y="2"/>
                </a:lnTo>
                <a:lnTo>
                  <a:pt x="133" y="2"/>
                </a:lnTo>
                <a:lnTo>
                  <a:pt x="135" y="0"/>
                </a:lnTo>
                <a:lnTo>
                  <a:pt x="135" y="2"/>
                </a:lnTo>
                <a:lnTo>
                  <a:pt x="136" y="2"/>
                </a:lnTo>
                <a:lnTo>
                  <a:pt x="138" y="2"/>
                </a:lnTo>
                <a:lnTo>
                  <a:pt x="140" y="4"/>
                </a:lnTo>
                <a:lnTo>
                  <a:pt x="138" y="5"/>
                </a:lnTo>
                <a:lnTo>
                  <a:pt x="140" y="9"/>
                </a:lnTo>
                <a:lnTo>
                  <a:pt x="141" y="11"/>
                </a:lnTo>
                <a:lnTo>
                  <a:pt x="143" y="12"/>
                </a:lnTo>
                <a:lnTo>
                  <a:pt x="143" y="14"/>
                </a:lnTo>
                <a:lnTo>
                  <a:pt x="143" y="16"/>
                </a:lnTo>
                <a:lnTo>
                  <a:pt x="145" y="16"/>
                </a:lnTo>
                <a:lnTo>
                  <a:pt x="147" y="14"/>
                </a:lnTo>
                <a:lnTo>
                  <a:pt x="148" y="16"/>
                </a:lnTo>
                <a:lnTo>
                  <a:pt x="150" y="16"/>
                </a:lnTo>
                <a:lnTo>
                  <a:pt x="152" y="16"/>
                </a:lnTo>
                <a:lnTo>
                  <a:pt x="153" y="16"/>
                </a:lnTo>
                <a:lnTo>
                  <a:pt x="155" y="16"/>
                </a:lnTo>
                <a:lnTo>
                  <a:pt x="157" y="17"/>
                </a:lnTo>
                <a:lnTo>
                  <a:pt x="158" y="17"/>
                </a:lnTo>
                <a:lnTo>
                  <a:pt x="160" y="17"/>
                </a:lnTo>
                <a:lnTo>
                  <a:pt x="162" y="17"/>
                </a:lnTo>
                <a:lnTo>
                  <a:pt x="164" y="16"/>
                </a:lnTo>
                <a:lnTo>
                  <a:pt x="164" y="19"/>
                </a:lnTo>
                <a:lnTo>
                  <a:pt x="165" y="19"/>
                </a:lnTo>
                <a:lnTo>
                  <a:pt x="165" y="22"/>
                </a:lnTo>
                <a:lnTo>
                  <a:pt x="167" y="22"/>
                </a:lnTo>
                <a:lnTo>
                  <a:pt x="169" y="21"/>
                </a:lnTo>
                <a:lnTo>
                  <a:pt x="170" y="21"/>
                </a:lnTo>
                <a:lnTo>
                  <a:pt x="172" y="21"/>
                </a:lnTo>
                <a:lnTo>
                  <a:pt x="172" y="24"/>
                </a:lnTo>
                <a:lnTo>
                  <a:pt x="174" y="24"/>
                </a:lnTo>
                <a:lnTo>
                  <a:pt x="172" y="24"/>
                </a:lnTo>
                <a:lnTo>
                  <a:pt x="172" y="26"/>
                </a:lnTo>
                <a:lnTo>
                  <a:pt x="174" y="26"/>
                </a:lnTo>
                <a:lnTo>
                  <a:pt x="175" y="26"/>
                </a:lnTo>
                <a:lnTo>
                  <a:pt x="175" y="24"/>
                </a:lnTo>
                <a:lnTo>
                  <a:pt x="177" y="22"/>
                </a:lnTo>
                <a:lnTo>
                  <a:pt x="181" y="22"/>
                </a:lnTo>
                <a:lnTo>
                  <a:pt x="181" y="24"/>
                </a:lnTo>
                <a:lnTo>
                  <a:pt x="182" y="24"/>
                </a:lnTo>
                <a:lnTo>
                  <a:pt x="182" y="21"/>
                </a:lnTo>
                <a:lnTo>
                  <a:pt x="184" y="21"/>
                </a:lnTo>
                <a:lnTo>
                  <a:pt x="187" y="21"/>
                </a:lnTo>
                <a:lnTo>
                  <a:pt x="187" y="22"/>
                </a:lnTo>
                <a:lnTo>
                  <a:pt x="189" y="22"/>
                </a:lnTo>
                <a:lnTo>
                  <a:pt x="191" y="24"/>
                </a:lnTo>
                <a:lnTo>
                  <a:pt x="192" y="26"/>
                </a:lnTo>
                <a:lnTo>
                  <a:pt x="191" y="28"/>
                </a:lnTo>
                <a:lnTo>
                  <a:pt x="191" y="31"/>
                </a:lnTo>
                <a:lnTo>
                  <a:pt x="189" y="31"/>
                </a:lnTo>
                <a:lnTo>
                  <a:pt x="189" y="33"/>
                </a:lnTo>
                <a:lnTo>
                  <a:pt x="187" y="33"/>
                </a:lnTo>
                <a:lnTo>
                  <a:pt x="186" y="34"/>
                </a:lnTo>
                <a:lnTo>
                  <a:pt x="184" y="34"/>
                </a:lnTo>
                <a:lnTo>
                  <a:pt x="184" y="36"/>
                </a:lnTo>
                <a:lnTo>
                  <a:pt x="182" y="36"/>
                </a:lnTo>
                <a:lnTo>
                  <a:pt x="182" y="38"/>
                </a:lnTo>
                <a:lnTo>
                  <a:pt x="184" y="39"/>
                </a:lnTo>
                <a:lnTo>
                  <a:pt x="186" y="39"/>
                </a:lnTo>
                <a:lnTo>
                  <a:pt x="186" y="41"/>
                </a:lnTo>
                <a:lnTo>
                  <a:pt x="187" y="41"/>
                </a:lnTo>
                <a:lnTo>
                  <a:pt x="189" y="41"/>
                </a:lnTo>
                <a:lnTo>
                  <a:pt x="191" y="43"/>
                </a:lnTo>
                <a:lnTo>
                  <a:pt x="191" y="45"/>
                </a:lnTo>
                <a:lnTo>
                  <a:pt x="194" y="45"/>
                </a:lnTo>
                <a:lnTo>
                  <a:pt x="196" y="46"/>
                </a:lnTo>
                <a:lnTo>
                  <a:pt x="196" y="48"/>
                </a:lnTo>
                <a:lnTo>
                  <a:pt x="198" y="48"/>
                </a:lnTo>
                <a:lnTo>
                  <a:pt x="199" y="50"/>
                </a:lnTo>
                <a:lnTo>
                  <a:pt x="199" y="51"/>
                </a:lnTo>
                <a:lnTo>
                  <a:pt x="201" y="55"/>
                </a:lnTo>
                <a:lnTo>
                  <a:pt x="203" y="56"/>
                </a:lnTo>
                <a:lnTo>
                  <a:pt x="204" y="58"/>
                </a:lnTo>
                <a:lnTo>
                  <a:pt x="208" y="58"/>
                </a:lnTo>
                <a:lnTo>
                  <a:pt x="208" y="56"/>
                </a:lnTo>
                <a:lnTo>
                  <a:pt x="209" y="55"/>
                </a:lnTo>
                <a:lnTo>
                  <a:pt x="211" y="53"/>
                </a:lnTo>
                <a:lnTo>
                  <a:pt x="213" y="51"/>
                </a:lnTo>
                <a:lnTo>
                  <a:pt x="215" y="51"/>
                </a:lnTo>
                <a:lnTo>
                  <a:pt x="215" y="50"/>
                </a:lnTo>
                <a:lnTo>
                  <a:pt x="218" y="50"/>
                </a:lnTo>
                <a:lnTo>
                  <a:pt x="218" y="48"/>
                </a:lnTo>
                <a:lnTo>
                  <a:pt x="220" y="50"/>
                </a:lnTo>
                <a:lnTo>
                  <a:pt x="221" y="48"/>
                </a:lnTo>
                <a:lnTo>
                  <a:pt x="220" y="46"/>
                </a:lnTo>
                <a:lnTo>
                  <a:pt x="220" y="45"/>
                </a:lnTo>
                <a:lnTo>
                  <a:pt x="220" y="43"/>
                </a:lnTo>
                <a:lnTo>
                  <a:pt x="216" y="43"/>
                </a:lnTo>
                <a:lnTo>
                  <a:pt x="216" y="41"/>
                </a:lnTo>
                <a:lnTo>
                  <a:pt x="215" y="39"/>
                </a:lnTo>
                <a:lnTo>
                  <a:pt x="215" y="38"/>
                </a:lnTo>
                <a:lnTo>
                  <a:pt x="211" y="36"/>
                </a:lnTo>
                <a:lnTo>
                  <a:pt x="213" y="34"/>
                </a:lnTo>
                <a:lnTo>
                  <a:pt x="215" y="34"/>
                </a:lnTo>
                <a:lnTo>
                  <a:pt x="216" y="34"/>
                </a:lnTo>
                <a:lnTo>
                  <a:pt x="216" y="36"/>
                </a:lnTo>
                <a:lnTo>
                  <a:pt x="218" y="34"/>
                </a:lnTo>
                <a:lnTo>
                  <a:pt x="220" y="36"/>
                </a:lnTo>
                <a:lnTo>
                  <a:pt x="223" y="36"/>
                </a:lnTo>
                <a:lnTo>
                  <a:pt x="225" y="38"/>
                </a:lnTo>
                <a:lnTo>
                  <a:pt x="226" y="36"/>
                </a:lnTo>
                <a:lnTo>
                  <a:pt x="228" y="38"/>
                </a:lnTo>
                <a:lnTo>
                  <a:pt x="230" y="39"/>
                </a:lnTo>
                <a:lnTo>
                  <a:pt x="232" y="41"/>
                </a:lnTo>
                <a:lnTo>
                  <a:pt x="235" y="39"/>
                </a:lnTo>
                <a:lnTo>
                  <a:pt x="233" y="41"/>
                </a:lnTo>
                <a:lnTo>
                  <a:pt x="235" y="41"/>
                </a:lnTo>
                <a:lnTo>
                  <a:pt x="233" y="43"/>
                </a:lnTo>
                <a:lnTo>
                  <a:pt x="235" y="45"/>
                </a:lnTo>
                <a:lnTo>
                  <a:pt x="237" y="43"/>
                </a:lnTo>
                <a:lnTo>
                  <a:pt x="238" y="43"/>
                </a:lnTo>
                <a:lnTo>
                  <a:pt x="238" y="45"/>
                </a:lnTo>
                <a:lnTo>
                  <a:pt x="242" y="43"/>
                </a:lnTo>
                <a:lnTo>
                  <a:pt x="243" y="43"/>
                </a:lnTo>
                <a:lnTo>
                  <a:pt x="245" y="43"/>
                </a:lnTo>
                <a:lnTo>
                  <a:pt x="247" y="43"/>
                </a:lnTo>
                <a:lnTo>
                  <a:pt x="249" y="43"/>
                </a:lnTo>
                <a:lnTo>
                  <a:pt x="249" y="41"/>
                </a:lnTo>
                <a:lnTo>
                  <a:pt x="249" y="38"/>
                </a:lnTo>
                <a:lnTo>
                  <a:pt x="250" y="39"/>
                </a:lnTo>
                <a:lnTo>
                  <a:pt x="252" y="39"/>
                </a:lnTo>
                <a:lnTo>
                  <a:pt x="252" y="43"/>
                </a:lnTo>
                <a:lnTo>
                  <a:pt x="254" y="45"/>
                </a:lnTo>
                <a:lnTo>
                  <a:pt x="254" y="46"/>
                </a:lnTo>
                <a:lnTo>
                  <a:pt x="252" y="48"/>
                </a:lnTo>
                <a:lnTo>
                  <a:pt x="250" y="48"/>
                </a:lnTo>
                <a:lnTo>
                  <a:pt x="249" y="50"/>
                </a:lnTo>
                <a:lnTo>
                  <a:pt x="247" y="50"/>
                </a:lnTo>
                <a:lnTo>
                  <a:pt x="247" y="51"/>
                </a:lnTo>
                <a:lnTo>
                  <a:pt x="249" y="53"/>
                </a:lnTo>
                <a:lnTo>
                  <a:pt x="250" y="55"/>
                </a:lnTo>
                <a:lnTo>
                  <a:pt x="252" y="53"/>
                </a:lnTo>
                <a:lnTo>
                  <a:pt x="254" y="55"/>
                </a:lnTo>
                <a:lnTo>
                  <a:pt x="254" y="56"/>
                </a:lnTo>
                <a:lnTo>
                  <a:pt x="255" y="60"/>
                </a:lnTo>
                <a:lnTo>
                  <a:pt x="257" y="60"/>
                </a:lnTo>
                <a:lnTo>
                  <a:pt x="257" y="62"/>
                </a:lnTo>
                <a:lnTo>
                  <a:pt x="260" y="62"/>
                </a:lnTo>
                <a:lnTo>
                  <a:pt x="262" y="62"/>
                </a:lnTo>
                <a:lnTo>
                  <a:pt x="264" y="60"/>
                </a:lnTo>
                <a:lnTo>
                  <a:pt x="266" y="58"/>
                </a:lnTo>
                <a:lnTo>
                  <a:pt x="267" y="60"/>
                </a:lnTo>
                <a:lnTo>
                  <a:pt x="267" y="56"/>
                </a:lnTo>
                <a:lnTo>
                  <a:pt x="266" y="56"/>
                </a:lnTo>
                <a:lnTo>
                  <a:pt x="267" y="55"/>
                </a:lnTo>
                <a:lnTo>
                  <a:pt x="269" y="56"/>
                </a:lnTo>
                <a:lnTo>
                  <a:pt x="269" y="58"/>
                </a:lnTo>
                <a:lnTo>
                  <a:pt x="271" y="60"/>
                </a:lnTo>
                <a:lnTo>
                  <a:pt x="272" y="60"/>
                </a:lnTo>
                <a:lnTo>
                  <a:pt x="274" y="58"/>
                </a:lnTo>
                <a:lnTo>
                  <a:pt x="276" y="60"/>
                </a:lnTo>
                <a:lnTo>
                  <a:pt x="277" y="62"/>
                </a:lnTo>
                <a:lnTo>
                  <a:pt x="279" y="63"/>
                </a:lnTo>
                <a:lnTo>
                  <a:pt x="281" y="63"/>
                </a:lnTo>
                <a:lnTo>
                  <a:pt x="283" y="63"/>
                </a:lnTo>
                <a:lnTo>
                  <a:pt x="281" y="62"/>
                </a:lnTo>
                <a:lnTo>
                  <a:pt x="283" y="62"/>
                </a:lnTo>
                <a:lnTo>
                  <a:pt x="286" y="62"/>
                </a:lnTo>
                <a:lnTo>
                  <a:pt x="286" y="63"/>
                </a:lnTo>
                <a:lnTo>
                  <a:pt x="288" y="63"/>
                </a:lnTo>
                <a:lnTo>
                  <a:pt x="291" y="63"/>
                </a:lnTo>
                <a:lnTo>
                  <a:pt x="291" y="62"/>
                </a:lnTo>
                <a:lnTo>
                  <a:pt x="291" y="65"/>
                </a:lnTo>
                <a:lnTo>
                  <a:pt x="294" y="67"/>
                </a:lnTo>
                <a:lnTo>
                  <a:pt x="293" y="68"/>
                </a:lnTo>
                <a:lnTo>
                  <a:pt x="294" y="70"/>
                </a:lnTo>
                <a:lnTo>
                  <a:pt x="294" y="72"/>
                </a:lnTo>
                <a:lnTo>
                  <a:pt x="294" y="73"/>
                </a:lnTo>
                <a:lnTo>
                  <a:pt x="296" y="73"/>
                </a:lnTo>
                <a:lnTo>
                  <a:pt x="296" y="75"/>
                </a:lnTo>
                <a:lnTo>
                  <a:pt x="298" y="77"/>
                </a:lnTo>
                <a:lnTo>
                  <a:pt x="300" y="77"/>
                </a:lnTo>
                <a:lnTo>
                  <a:pt x="301" y="79"/>
                </a:lnTo>
                <a:lnTo>
                  <a:pt x="303" y="77"/>
                </a:lnTo>
                <a:lnTo>
                  <a:pt x="305" y="79"/>
                </a:lnTo>
                <a:lnTo>
                  <a:pt x="305" y="80"/>
                </a:lnTo>
                <a:lnTo>
                  <a:pt x="306" y="82"/>
                </a:lnTo>
                <a:lnTo>
                  <a:pt x="306" y="84"/>
                </a:lnTo>
                <a:lnTo>
                  <a:pt x="306" y="85"/>
                </a:lnTo>
                <a:lnTo>
                  <a:pt x="308" y="87"/>
                </a:lnTo>
                <a:lnTo>
                  <a:pt x="306" y="89"/>
                </a:lnTo>
                <a:lnTo>
                  <a:pt x="308" y="89"/>
                </a:lnTo>
                <a:lnTo>
                  <a:pt x="306" y="89"/>
                </a:lnTo>
                <a:lnTo>
                  <a:pt x="303" y="90"/>
                </a:lnTo>
                <a:lnTo>
                  <a:pt x="301" y="90"/>
                </a:lnTo>
                <a:lnTo>
                  <a:pt x="300" y="90"/>
                </a:lnTo>
                <a:lnTo>
                  <a:pt x="298" y="92"/>
                </a:lnTo>
                <a:lnTo>
                  <a:pt x="296" y="90"/>
                </a:lnTo>
                <a:lnTo>
                  <a:pt x="294" y="92"/>
                </a:lnTo>
                <a:lnTo>
                  <a:pt x="294" y="94"/>
                </a:lnTo>
                <a:lnTo>
                  <a:pt x="293" y="96"/>
                </a:lnTo>
                <a:lnTo>
                  <a:pt x="293" y="97"/>
                </a:lnTo>
                <a:lnTo>
                  <a:pt x="291" y="99"/>
                </a:lnTo>
                <a:lnTo>
                  <a:pt x="288" y="99"/>
                </a:lnTo>
                <a:lnTo>
                  <a:pt x="289" y="102"/>
                </a:lnTo>
                <a:lnTo>
                  <a:pt x="288" y="104"/>
                </a:lnTo>
                <a:lnTo>
                  <a:pt x="286" y="106"/>
                </a:lnTo>
                <a:lnTo>
                  <a:pt x="284" y="106"/>
                </a:lnTo>
                <a:lnTo>
                  <a:pt x="283" y="107"/>
                </a:lnTo>
                <a:lnTo>
                  <a:pt x="281" y="107"/>
                </a:lnTo>
                <a:lnTo>
                  <a:pt x="279" y="109"/>
                </a:lnTo>
                <a:lnTo>
                  <a:pt x="277" y="111"/>
                </a:lnTo>
                <a:lnTo>
                  <a:pt x="279" y="114"/>
                </a:lnTo>
                <a:lnTo>
                  <a:pt x="277" y="116"/>
                </a:lnTo>
                <a:lnTo>
                  <a:pt x="277" y="118"/>
                </a:lnTo>
                <a:lnTo>
                  <a:pt x="277" y="119"/>
                </a:lnTo>
                <a:lnTo>
                  <a:pt x="277" y="121"/>
                </a:lnTo>
                <a:lnTo>
                  <a:pt x="277" y="123"/>
                </a:lnTo>
                <a:lnTo>
                  <a:pt x="277" y="124"/>
                </a:lnTo>
                <a:lnTo>
                  <a:pt x="276" y="126"/>
                </a:lnTo>
                <a:lnTo>
                  <a:pt x="274" y="128"/>
                </a:lnTo>
                <a:lnTo>
                  <a:pt x="272" y="128"/>
                </a:lnTo>
                <a:lnTo>
                  <a:pt x="269" y="128"/>
                </a:lnTo>
                <a:lnTo>
                  <a:pt x="269" y="130"/>
                </a:lnTo>
                <a:lnTo>
                  <a:pt x="269" y="131"/>
                </a:lnTo>
                <a:lnTo>
                  <a:pt x="269" y="133"/>
                </a:lnTo>
                <a:lnTo>
                  <a:pt x="269" y="135"/>
                </a:lnTo>
                <a:lnTo>
                  <a:pt x="267" y="135"/>
                </a:lnTo>
                <a:lnTo>
                  <a:pt x="264" y="136"/>
                </a:lnTo>
                <a:lnTo>
                  <a:pt x="262" y="138"/>
                </a:lnTo>
                <a:lnTo>
                  <a:pt x="260" y="140"/>
                </a:lnTo>
                <a:lnTo>
                  <a:pt x="259" y="142"/>
                </a:lnTo>
                <a:lnTo>
                  <a:pt x="257" y="142"/>
                </a:lnTo>
                <a:lnTo>
                  <a:pt x="255" y="143"/>
                </a:lnTo>
                <a:lnTo>
                  <a:pt x="254" y="143"/>
                </a:lnTo>
                <a:lnTo>
                  <a:pt x="254" y="145"/>
                </a:lnTo>
                <a:lnTo>
                  <a:pt x="252" y="143"/>
                </a:lnTo>
                <a:lnTo>
                  <a:pt x="252" y="145"/>
                </a:lnTo>
                <a:lnTo>
                  <a:pt x="250" y="143"/>
                </a:lnTo>
                <a:lnTo>
                  <a:pt x="249" y="145"/>
                </a:lnTo>
                <a:lnTo>
                  <a:pt x="247" y="145"/>
                </a:lnTo>
                <a:lnTo>
                  <a:pt x="245" y="145"/>
                </a:lnTo>
                <a:lnTo>
                  <a:pt x="243" y="143"/>
                </a:lnTo>
                <a:lnTo>
                  <a:pt x="242" y="143"/>
                </a:lnTo>
                <a:lnTo>
                  <a:pt x="240" y="143"/>
                </a:lnTo>
                <a:lnTo>
                  <a:pt x="238" y="142"/>
                </a:lnTo>
                <a:lnTo>
                  <a:pt x="237" y="142"/>
                </a:lnTo>
                <a:lnTo>
                  <a:pt x="235" y="145"/>
                </a:lnTo>
                <a:lnTo>
                  <a:pt x="233" y="145"/>
                </a:lnTo>
                <a:lnTo>
                  <a:pt x="233" y="147"/>
                </a:lnTo>
                <a:lnTo>
                  <a:pt x="233" y="148"/>
                </a:lnTo>
                <a:lnTo>
                  <a:pt x="232" y="150"/>
                </a:lnTo>
                <a:lnTo>
                  <a:pt x="230" y="153"/>
                </a:lnTo>
                <a:lnTo>
                  <a:pt x="230" y="155"/>
                </a:lnTo>
                <a:lnTo>
                  <a:pt x="228" y="157"/>
                </a:lnTo>
                <a:lnTo>
                  <a:pt x="228" y="159"/>
                </a:lnTo>
                <a:lnTo>
                  <a:pt x="228" y="162"/>
                </a:lnTo>
                <a:lnTo>
                  <a:pt x="226" y="160"/>
                </a:lnTo>
                <a:lnTo>
                  <a:pt x="226" y="157"/>
                </a:lnTo>
                <a:lnTo>
                  <a:pt x="225" y="153"/>
                </a:lnTo>
                <a:lnTo>
                  <a:pt x="223" y="155"/>
                </a:lnTo>
                <a:lnTo>
                  <a:pt x="221" y="155"/>
                </a:lnTo>
                <a:lnTo>
                  <a:pt x="220" y="155"/>
                </a:lnTo>
                <a:lnTo>
                  <a:pt x="218" y="155"/>
                </a:lnTo>
                <a:lnTo>
                  <a:pt x="216" y="153"/>
                </a:lnTo>
                <a:lnTo>
                  <a:pt x="215" y="155"/>
                </a:lnTo>
                <a:lnTo>
                  <a:pt x="215" y="152"/>
                </a:lnTo>
                <a:lnTo>
                  <a:pt x="213" y="150"/>
                </a:lnTo>
                <a:lnTo>
                  <a:pt x="211" y="152"/>
                </a:lnTo>
                <a:lnTo>
                  <a:pt x="209" y="150"/>
                </a:lnTo>
                <a:lnTo>
                  <a:pt x="208" y="148"/>
                </a:lnTo>
                <a:lnTo>
                  <a:pt x="208" y="150"/>
                </a:lnTo>
                <a:lnTo>
                  <a:pt x="204" y="150"/>
                </a:lnTo>
                <a:lnTo>
                  <a:pt x="203" y="152"/>
                </a:lnTo>
                <a:lnTo>
                  <a:pt x="203" y="153"/>
                </a:lnTo>
                <a:lnTo>
                  <a:pt x="203" y="155"/>
                </a:lnTo>
                <a:lnTo>
                  <a:pt x="201" y="155"/>
                </a:lnTo>
                <a:lnTo>
                  <a:pt x="199" y="155"/>
                </a:lnTo>
                <a:lnTo>
                  <a:pt x="196" y="155"/>
                </a:lnTo>
                <a:lnTo>
                  <a:pt x="194" y="155"/>
                </a:lnTo>
                <a:lnTo>
                  <a:pt x="192" y="155"/>
                </a:lnTo>
                <a:lnTo>
                  <a:pt x="191" y="155"/>
                </a:lnTo>
                <a:lnTo>
                  <a:pt x="187" y="155"/>
                </a:lnTo>
                <a:lnTo>
                  <a:pt x="186" y="155"/>
                </a:lnTo>
                <a:lnTo>
                  <a:pt x="182" y="153"/>
                </a:lnTo>
                <a:lnTo>
                  <a:pt x="181" y="152"/>
                </a:lnTo>
                <a:lnTo>
                  <a:pt x="181" y="150"/>
                </a:lnTo>
                <a:lnTo>
                  <a:pt x="177" y="150"/>
                </a:lnTo>
                <a:lnTo>
                  <a:pt x="179" y="150"/>
                </a:lnTo>
                <a:lnTo>
                  <a:pt x="175" y="148"/>
                </a:lnTo>
                <a:lnTo>
                  <a:pt x="175" y="147"/>
                </a:lnTo>
                <a:lnTo>
                  <a:pt x="172" y="148"/>
                </a:lnTo>
                <a:lnTo>
                  <a:pt x="172" y="150"/>
                </a:lnTo>
                <a:lnTo>
                  <a:pt x="169" y="150"/>
                </a:lnTo>
                <a:lnTo>
                  <a:pt x="167" y="148"/>
                </a:lnTo>
                <a:lnTo>
                  <a:pt x="165" y="147"/>
                </a:lnTo>
                <a:lnTo>
                  <a:pt x="164" y="147"/>
                </a:lnTo>
                <a:lnTo>
                  <a:pt x="162" y="147"/>
                </a:lnTo>
                <a:lnTo>
                  <a:pt x="160" y="147"/>
                </a:lnTo>
                <a:lnTo>
                  <a:pt x="160" y="145"/>
                </a:lnTo>
                <a:lnTo>
                  <a:pt x="158" y="143"/>
                </a:lnTo>
                <a:lnTo>
                  <a:pt x="155" y="143"/>
                </a:lnTo>
                <a:lnTo>
                  <a:pt x="153" y="142"/>
                </a:lnTo>
                <a:lnTo>
                  <a:pt x="150" y="142"/>
                </a:lnTo>
                <a:lnTo>
                  <a:pt x="148" y="142"/>
                </a:lnTo>
                <a:lnTo>
                  <a:pt x="148" y="145"/>
                </a:lnTo>
                <a:lnTo>
                  <a:pt x="147" y="143"/>
                </a:lnTo>
                <a:lnTo>
                  <a:pt x="145" y="145"/>
                </a:lnTo>
                <a:lnTo>
                  <a:pt x="143" y="145"/>
                </a:lnTo>
                <a:lnTo>
                  <a:pt x="145" y="143"/>
                </a:lnTo>
                <a:lnTo>
                  <a:pt x="143" y="142"/>
                </a:lnTo>
                <a:lnTo>
                  <a:pt x="141" y="142"/>
                </a:lnTo>
                <a:lnTo>
                  <a:pt x="140" y="142"/>
                </a:lnTo>
                <a:lnTo>
                  <a:pt x="140" y="140"/>
                </a:lnTo>
                <a:lnTo>
                  <a:pt x="136" y="140"/>
                </a:lnTo>
                <a:lnTo>
                  <a:pt x="136" y="142"/>
                </a:lnTo>
                <a:lnTo>
                  <a:pt x="135" y="143"/>
                </a:lnTo>
                <a:lnTo>
                  <a:pt x="135" y="147"/>
                </a:lnTo>
                <a:lnTo>
                  <a:pt x="136" y="148"/>
                </a:lnTo>
                <a:lnTo>
                  <a:pt x="135" y="150"/>
                </a:lnTo>
                <a:lnTo>
                  <a:pt x="136" y="153"/>
                </a:lnTo>
                <a:lnTo>
                  <a:pt x="135" y="153"/>
                </a:lnTo>
                <a:lnTo>
                  <a:pt x="136" y="153"/>
                </a:lnTo>
                <a:lnTo>
                  <a:pt x="135" y="157"/>
                </a:lnTo>
                <a:lnTo>
                  <a:pt x="136" y="159"/>
                </a:lnTo>
                <a:lnTo>
                  <a:pt x="135" y="159"/>
                </a:lnTo>
                <a:lnTo>
                  <a:pt x="133" y="159"/>
                </a:lnTo>
                <a:lnTo>
                  <a:pt x="131" y="159"/>
                </a:lnTo>
                <a:lnTo>
                  <a:pt x="131" y="157"/>
                </a:lnTo>
                <a:lnTo>
                  <a:pt x="130" y="157"/>
                </a:lnTo>
                <a:lnTo>
                  <a:pt x="128" y="159"/>
                </a:lnTo>
                <a:lnTo>
                  <a:pt x="128" y="160"/>
                </a:lnTo>
                <a:lnTo>
                  <a:pt x="128" y="162"/>
                </a:lnTo>
                <a:lnTo>
                  <a:pt x="126" y="164"/>
                </a:lnTo>
                <a:lnTo>
                  <a:pt x="124" y="164"/>
                </a:lnTo>
                <a:lnTo>
                  <a:pt x="124" y="167"/>
                </a:lnTo>
                <a:lnTo>
                  <a:pt x="124" y="170"/>
                </a:lnTo>
                <a:lnTo>
                  <a:pt x="124" y="172"/>
                </a:lnTo>
                <a:lnTo>
                  <a:pt x="123" y="172"/>
                </a:lnTo>
                <a:lnTo>
                  <a:pt x="123" y="170"/>
                </a:lnTo>
                <a:lnTo>
                  <a:pt x="121" y="170"/>
                </a:lnTo>
                <a:lnTo>
                  <a:pt x="119" y="169"/>
                </a:lnTo>
                <a:lnTo>
                  <a:pt x="118" y="170"/>
                </a:lnTo>
                <a:lnTo>
                  <a:pt x="114" y="170"/>
                </a:lnTo>
                <a:lnTo>
                  <a:pt x="113" y="169"/>
                </a:lnTo>
                <a:lnTo>
                  <a:pt x="113" y="170"/>
                </a:lnTo>
                <a:lnTo>
                  <a:pt x="113" y="172"/>
                </a:lnTo>
                <a:lnTo>
                  <a:pt x="109" y="172"/>
                </a:lnTo>
                <a:lnTo>
                  <a:pt x="109" y="174"/>
                </a:lnTo>
                <a:lnTo>
                  <a:pt x="107" y="176"/>
                </a:lnTo>
                <a:lnTo>
                  <a:pt x="107" y="174"/>
                </a:lnTo>
                <a:lnTo>
                  <a:pt x="104" y="174"/>
                </a:lnTo>
                <a:lnTo>
                  <a:pt x="102" y="174"/>
                </a:lnTo>
                <a:lnTo>
                  <a:pt x="101" y="172"/>
                </a:lnTo>
                <a:lnTo>
                  <a:pt x="97" y="172"/>
                </a:lnTo>
                <a:lnTo>
                  <a:pt x="96" y="172"/>
                </a:lnTo>
                <a:lnTo>
                  <a:pt x="94" y="170"/>
                </a:lnTo>
                <a:lnTo>
                  <a:pt x="92" y="170"/>
                </a:lnTo>
                <a:lnTo>
                  <a:pt x="94" y="169"/>
                </a:lnTo>
                <a:lnTo>
                  <a:pt x="94" y="167"/>
                </a:lnTo>
                <a:lnTo>
                  <a:pt x="92" y="165"/>
                </a:lnTo>
                <a:lnTo>
                  <a:pt x="89" y="165"/>
                </a:lnTo>
                <a:lnTo>
                  <a:pt x="89" y="164"/>
                </a:lnTo>
                <a:lnTo>
                  <a:pt x="87" y="162"/>
                </a:lnTo>
                <a:lnTo>
                  <a:pt x="85" y="162"/>
                </a:lnTo>
                <a:lnTo>
                  <a:pt x="84" y="160"/>
                </a:lnTo>
                <a:lnTo>
                  <a:pt x="82" y="160"/>
                </a:lnTo>
                <a:lnTo>
                  <a:pt x="82" y="159"/>
                </a:lnTo>
                <a:lnTo>
                  <a:pt x="82" y="157"/>
                </a:lnTo>
                <a:lnTo>
                  <a:pt x="80" y="157"/>
                </a:lnTo>
                <a:lnTo>
                  <a:pt x="79" y="155"/>
                </a:lnTo>
                <a:lnTo>
                  <a:pt x="79" y="153"/>
                </a:lnTo>
                <a:lnTo>
                  <a:pt x="75" y="153"/>
                </a:lnTo>
                <a:lnTo>
                  <a:pt x="73" y="150"/>
                </a:lnTo>
                <a:lnTo>
                  <a:pt x="73" y="148"/>
                </a:lnTo>
                <a:lnTo>
                  <a:pt x="73" y="150"/>
                </a:lnTo>
                <a:lnTo>
                  <a:pt x="72" y="148"/>
                </a:lnTo>
                <a:lnTo>
                  <a:pt x="68" y="148"/>
                </a:lnTo>
                <a:lnTo>
                  <a:pt x="67" y="150"/>
                </a:lnTo>
                <a:lnTo>
                  <a:pt x="63" y="148"/>
                </a:lnTo>
                <a:lnTo>
                  <a:pt x="63" y="147"/>
                </a:lnTo>
                <a:lnTo>
                  <a:pt x="62" y="143"/>
                </a:lnTo>
                <a:lnTo>
                  <a:pt x="63" y="143"/>
                </a:lnTo>
                <a:lnTo>
                  <a:pt x="62" y="142"/>
                </a:lnTo>
                <a:lnTo>
                  <a:pt x="60" y="140"/>
                </a:lnTo>
                <a:lnTo>
                  <a:pt x="56" y="138"/>
                </a:lnTo>
                <a:lnTo>
                  <a:pt x="55" y="138"/>
                </a:lnTo>
                <a:lnTo>
                  <a:pt x="53" y="136"/>
                </a:lnTo>
                <a:lnTo>
                  <a:pt x="51" y="135"/>
                </a:lnTo>
                <a:lnTo>
                  <a:pt x="50" y="133"/>
                </a:lnTo>
                <a:lnTo>
                  <a:pt x="50" y="131"/>
                </a:lnTo>
                <a:lnTo>
                  <a:pt x="48" y="130"/>
                </a:lnTo>
                <a:lnTo>
                  <a:pt x="45" y="128"/>
                </a:lnTo>
                <a:lnTo>
                  <a:pt x="45" y="126"/>
                </a:lnTo>
                <a:lnTo>
                  <a:pt x="43" y="123"/>
                </a:lnTo>
                <a:lnTo>
                  <a:pt x="41" y="123"/>
                </a:lnTo>
                <a:lnTo>
                  <a:pt x="38" y="123"/>
                </a:lnTo>
                <a:lnTo>
                  <a:pt x="38" y="124"/>
                </a:lnTo>
                <a:lnTo>
                  <a:pt x="36" y="123"/>
                </a:lnTo>
                <a:lnTo>
                  <a:pt x="34" y="123"/>
                </a:lnTo>
                <a:lnTo>
                  <a:pt x="33" y="121"/>
                </a:lnTo>
                <a:lnTo>
                  <a:pt x="33" y="119"/>
                </a:lnTo>
                <a:lnTo>
                  <a:pt x="29" y="118"/>
                </a:lnTo>
                <a:lnTo>
                  <a:pt x="28" y="118"/>
                </a:lnTo>
                <a:lnTo>
                  <a:pt x="26" y="114"/>
                </a:lnTo>
                <a:lnTo>
                  <a:pt x="28" y="114"/>
                </a:lnTo>
                <a:lnTo>
                  <a:pt x="28" y="111"/>
                </a:lnTo>
                <a:lnTo>
                  <a:pt x="24" y="109"/>
                </a:lnTo>
                <a:lnTo>
                  <a:pt x="24" y="106"/>
                </a:lnTo>
                <a:lnTo>
                  <a:pt x="22" y="104"/>
                </a:lnTo>
                <a:lnTo>
                  <a:pt x="21" y="104"/>
                </a:lnTo>
                <a:lnTo>
                  <a:pt x="21" y="102"/>
                </a:lnTo>
                <a:lnTo>
                  <a:pt x="21" y="99"/>
                </a:lnTo>
                <a:lnTo>
                  <a:pt x="19" y="99"/>
                </a:lnTo>
                <a:lnTo>
                  <a:pt x="17" y="99"/>
                </a:lnTo>
                <a:lnTo>
                  <a:pt x="16" y="96"/>
                </a:lnTo>
                <a:lnTo>
                  <a:pt x="16" y="94"/>
                </a:lnTo>
                <a:lnTo>
                  <a:pt x="17" y="92"/>
                </a:lnTo>
                <a:lnTo>
                  <a:pt x="19" y="92"/>
                </a:lnTo>
                <a:lnTo>
                  <a:pt x="17" y="90"/>
                </a:lnTo>
                <a:lnTo>
                  <a:pt x="19" y="89"/>
                </a:lnTo>
                <a:lnTo>
                  <a:pt x="19" y="87"/>
                </a:lnTo>
                <a:lnTo>
                  <a:pt x="21" y="87"/>
                </a:lnTo>
                <a:lnTo>
                  <a:pt x="21" y="85"/>
                </a:lnTo>
                <a:lnTo>
                  <a:pt x="21" y="84"/>
                </a:lnTo>
                <a:lnTo>
                  <a:pt x="19" y="82"/>
                </a:lnTo>
                <a:lnTo>
                  <a:pt x="17" y="82"/>
                </a:lnTo>
                <a:lnTo>
                  <a:pt x="19" y="79"/>
                </a:lnTo>
                <a:lnTo>
                  <a:pt x="17" y="79"/>
                </a:lnTo>
                <a:lnTo>
                  <a:pt x="16" y="79"/>
                </a:lnTo>
                <a:lnTo>
                  <a:pt x="16" y="77"/>
                </a:lnTo>
                <a:lnTo>
                  <a:pt x="12" y="77"/>
                </a:lnTo>
                <a:lnTo>
                  <a:pt x="12" y="75"/>
                </a:lnTo>
                <a:lnTo>
                  <a:pt x="11" y="75"/>
                </a:lnTo>
                <a:lnTo>
                  <a:pt x="11" y="73"/>
                </a:lnTo>
                <a:lnTo>
                  <a:pt x="9" y="73"/>
                </a:lnTo>
                <a:lnTo>
                  <a:pt x="7" y="72"/>
                </a:lnTo>
                <a:lnTo>
                  <a:pt x="5" y="70"/>
                </a:lnTo>
                <a:lnTo>
                  <a:pt x="5" y="68"/>
                </a:lnTo>
                <a:lnTo>
                  <a:pt x="5" y="67"/>
                </a:lnTo>
                <a:lnTo>
                  <a:pt x="5" y="65"/>
                </a:lnTo>
                <a:lnTo>
                  <a:pt x="4" y="63"/>
                </a:lnTo>
                <a:lnTo>
                  <a:pt x="2" y="62"/>
                </a:lnTo>
                <a:lnTo>
                  <a:pt x="0" y="62"/>
                </a:lnTo>
                <a:lnTo>
                  <a:pt x="2" y="58"/>
                </a:lnTo>
                <a:lnTo>
                  <a:pt x="2" y="56"/>
                </a:lnTo>
                <a:lnTo>
                  <a:pt x="0" y="56"/>
                </a:lnTo>
                <a:lnTo>
                  <a:pt x="2" y="56"/>
                </a:lnTo>
                <a:lnTo>
                  <a:pt x="4" y="56"/>
                </a:lnTo>
                <a:lnTo>
                  <a:pt x="5" y="56"/>
                </a:lnTo>
                <a:lnTo>
                  <a:pt x="5" y="60"/>
                </a:lnTo>
                <a:lnTo>
                  <a:pt x="7" y="60"/>
                </a:lnTo>
                <a:lnTo>
                  <a:pt x="7" y="62"/>
                </a:lnTo>
                <a:lnTo>
                  <a:pt x="9" y="63"/>
                </a:lnTo>
                <a:lnTo>
                  <a:pt x="9" y="65"/>
                </a:lnTo>
                <a:lnTo>
                  <a:pt x="11" y="67"/>
                </a:lnTo>
                <a:lnTo>
                  <a:pt x="11" y="65"/>
                </a:lnTo>
                <a:lnTo>
                  <a:pt x="11" y="63"/>
                </a:lnTo>
                <a:lnTo>
                  <a:pt x="11" y="62"/>
                </a:lnTo>
                <a:lnTo>
                  <a:pt x="12" y="62"/>
                </a:lnTo>
                <a:lnTo>
                  <a:pt x="12" y="58"/>
                </a:lnTo>
                <a:lnTo>
                  <a:pt x="14" y="58"/>
                </a:lnTo>
                <a:lnTo>
                  <a:pt x="14" y="55"/>
                </a:lnTo>
                <a:lnTo>
                  <a:pt x="16" y="55"/>
                </a:lnTo>
                <a:lnTo>
                  <a:pt x="17" y="53"/>
                </a:lnTo>
                <a:lnTo>
                  <a:pt x="17" y="51"/>
                </a:lnTo>
                <a:lnTo>
                  <a:pt x="19" y="50"/>
                </a:lnTo>
                <a:lnTo>
                  <a:pt x="21" y="50"/>
                </a:lnTo>
                <a:lnTo>
                  <a:pt x="22" y="50"/>
                </a:lnTo>
                <a:lnTo>
                  <a:pt x="22" y="48"/>
                </a:lnTo>
                <a:lnTo>
                  <a:pt x="26" y="48"/>
                </a:lnTo>
                <a:lnTo>
                  <a:pt x="28" y="50"/>
                </a:lnTo>
                <a:lnTo>
                  <a:pt x="29" y="48"/>
                </a:lnTo>
                <a:lnTo>
                  <a:pt x="31" y="46"/>
                </a:lnTo>
                <a:lnTo>
                  <a:pt x="33" y="45"/>
                </a:lnTo>
                <a:lnTo>
                  <a:pt x="33" y="46"/>
                </a:lnTo>
                <a:lnTo>
                  <a:pt x="36" y="46"/>
                </a:lnTo>
                <a:lnTo>
                  <a:pt x="36" y="48"/>
                </a:lnTo>
                <a:lnTo>
                  <a:pt x="38" y="48"/>
                </a:lnTo>
                <a:lnTo>
                  <a:pt x="39" y="48"/>
                </a:lnTo>
                <a:lnTo>
                  <a:pt x="41" y="46"/>
                </a:lnTo>
                <a:lnTo>
                  <a:pt x="41" y="45"/>
                </a:lnTo>
                <a:lnTo>
                  <a:pt x="41" y="41"/>
                </a:lnTo>
                <a:lnTo>
                  <a:pt x="45" y="41"/>
                </a:lnTo>
                <a:lnTo>
                  <a:pt x="46" y="41"/>
                </a:lnTo>
                <a:lnTo>
                  <a:pt x="48" y="41"/>
                </a:lnTo>
                <a:lnTo>
                  <a:pt x="50" y="38"/>
                </a:lnTo>
                <a:lnTo>
                  <a:pt x="51" y="34"/>
                </a:lnTo>
                <a:lnTo>
                  <a:pt x="53" y="34"/>
                </a:lnTo>
                <a:lnTo>
                  <a:pt x="53" y="36"/>
                </a:lnTo>
                <a:lnTo>
                  <a:pt x="55" y="36"/>
                </a:lnTo>
                <a:lnTo>
                  <a:pt x="55" y="34"/>
                </a:lnTo>
                <a:lnTo>
                  <a:pt x="56" y="33"/>
                </a:lnTo>
                <a:lnTo>
                  <a:pt x="56" y="31"/>
                </a:lnTo>
                <a:lnTo>
                  <a:pt x="58" y="33"/>
                </a:lnTo>
                <a:lnTo>
                  <a:pt x="60" y="34"/>
                </a:lnTo>
                <a:lnTo>
                  <a:pt x="62" y="31"/>
                </a:lnTo>
                <a:lnTo>
                  <a:pt x="63" y="31"/>
                </a:lnTo>
                <a:lnTo>
                  <a:pt x="62" y="29"/>
                </a:lnTo>
                <a:lnTo>
                  <a:pt x="63" y="28"/>
                </a:lnTo>
                <a:lnTo>
                  <a:pt x="63" y="26"/>
                </a:lnTo>
                <a:lnTo>
                  <a:pt x="67" y="26"/>
                </a:lnTo>
                <a:lnTo>
                  <a:pt x="68" y="24"/>
                </a:lnTo>
                <a:lnTo>
                  <a:pt x="70" y="26"/>
                </a:lnTo>
                <a:lnTo>
                  <a:pt x="72" y="24"/>
                </a:lnTo>
                <a:lnTo>
                  <a:pt x="73" y="24"/>
                </a:lnTo>
                <a:lnTo>
                  <a:pt x="75" y="24"/>
                </a:lnTo>
                <a:lnTo>
                  <a:pt x="77" y="24"/>
                </a:lnTo>
                <a:lnTo>
                  <a:pt x="77" y="22"/>
                </a:lnTo>
                <a:lnTo>
                  <a:pt x="79" y="22"/>
                </a:lnTo>
                <a:lnTo>
                  <a:pt x="79" y="21"/>
                </a:lnTo>
                <a:lnTo>
                  <a:pt x="79" y="19"/>
                </a:lnTo>
                <a:lnTo>
                  <a:pt x="80" y="19"/>
                </a:lnTo>
                <a:lnTo>
                  <a:pt x="82" y="17"/>
                </a:lnTo>
                <a:lnTo>
                  <a:pt x="85" y="19"/>
                </a:lnTo>
                <a:lnTo>
                  <a:pt x="87" y="17"/>
                </a:lnTo>
                <a:lnTo>
                  <a:pt x="89" y="16"/>
                </a:lnTo>
                <a:lnTo>
                  <a:pt x="90" y="16"/>
                </a:lnTo>
                <a:lnTo>
                  <a:pt x="92" y="14"/>
                </a:lnTo>
                <a:lnTo>
                  <a:pt x="94" y="12"/>
                </a:lnTo>
                <a:lnTo>
                  <a:pt x="96" y="12"/>
                </a:lnTo>
                <a:lnTo>
                  <a:pt x="99" y="11"/>
                </a:lnTo>
                <a:lnTo>
                  <a:pt x="101" y="11"/>
                </a:lnTo>
                <a:lnTo>
                  <a:pt x="101" y="9"/>
                </a:lnTo>
                <a:lnTo>
                  <a:pt x="99" y="7"/>
                </a:lnTo>
                <a:lnTo>
                  <a:pt x="99" y="9"/>
                </a:lnTo>
                <a:lnTo>
                  <a:pt x="96" y="7"/>
                </a:lnTo>
                <a:lnTo>
                  <a:pt x="97" y="5"/>
                </a:lnTo>
                <a:lnTo>
                  <a:pt x="96" y="5"/>
                </a:lnTo>
                <a:lnTo>
                  <a:pt x="94" y="5"/>
                </a:lnTo>
                <a:lnTo>
                  <a:pt x="96" y="2"/>
                </a:lnTo>
                <a:lnTo>
                  <a:pt x="94" y="2"/>
                </a:lnTo>
                <a:lnTo>
                  <a:pt x="96" y="0"/>
                </a:lnTo>
                <a:lnTo>
                  <a:pt x="97" y="2"/>
                </a:lnTo>
                <a:lnTo>
                  <a:pt x="99" y="2"/>
                </a:lnTo>
                <a:lnTo>
                  <a:pt x="101" y="2"/>
                </a:lnTo>
                <a:lnTo>
                  <a:pt x="102" y="2"/>
                </a:lnTo>
                <a:lnTo>
                  <a:pt x="104" y="2"/>
                </a:lnTo>
                <a:lnTo>
                  <a:pt x="104" y="0"/>
                </a:lnTo>
                <a:lnTo>
                  <a:pt x="104" y="2"/>
                </a:lnTo>
                <a:lnTo>
                  <a:pt x="106" y="4"/>
                </a:lnTo>
                <a:lnTo>
                  <a:pt x="107" y="2"/>
                </a:lnTo>
                <a:lnTo>
                  <a:pt x="109" y="5"/>
                </a:lnTo>
                <a:lnTo>
                  <a:pt x="109" y="7"/>
                </a:lnTo>
                <a:lnTo>
                  <a:pt x="107" y="9"/>
                </a:lnTo>
                <a:lnTo>
                  <a:pt x="109" y="9"/>
                </a:lnTo>
                <a:lnTo>
                  <a:pt x="111" y="7"/>
                </a:lnTo>
                <a:lnTo>
                  <a:pt x="111" y="9"/>
                </a:lnTo>
                <a:lnTo>
                  <a:pt x="111" y="11"/>
                </a:lnTo>
                <a:lnTo>
                  <a:pt x="111" y="14"/>
                </a:lnTo>
                <a:lnTo>
                  <a:pt x="113" y="14"/>
                </a:lnTo>
                <a:lnTo>
                  <a:pt x="114" y="14"/>
                </a:lnTo>
                <a:lnTo>
                  <a:pt x="114" y="16"/>
                </a:lnTo>
                <a:lnTo>
                  <a:pt x="118" y="16"/>
                </a:lnTo>
                <a:lnTo>
                  <a:pt x="119" y="14"/>
                </a:lnTo>
                <a:lnTo>
                  <a:pt x="119" y="12"/>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77" name="Freeform 57">
            <a:extLst>
              <a:ext uri="{FF2B5EF4-FFF2-40B4-BE49-F238E27FC236}">
                <a16:creationId xmlns:a16="http://schemas.microsoft.com/office/drawing/2014/main" id="{174A47A1-DE1F-4CF0-985A-EE230A788E19}"/>
              </a:ext>
            </a:extLst>
          </p:cNvPr>
          <p:cNvSpPr>
            <a:spLocks/>
          </p:cNvSpPr>
          <p:nvPr/>
        </p:nvSpPr>
        <p:spPr bwMode="gray">
          <a:xfrm>
            <a:off x="3455157" y="3979736"/>
            <a:ext cx="425097" cy="311091"/>
          </a:xfrm>
          <a:custGeom>
            <a:avLst/>
            <a:gdLst>
              <a:gd name="T0" fmla="*/ 148 w 156"/>
              <a:gd name="T1" fmla="*/ 24 h 109"/>
              <a:gd name="T2" fmla="*/ 139 w 156"/>
              <a:gd name="T3" fmla="*/ 24 h 109"/>
              <a:gd name="T4" fmla="*/ 141 w 156"/>
              <a:gd name="T5" fmla="*/ 34 h 109"/>
              <a:gd name="T6" fmla="*/ 129 w 156"/>
              <a:gd name="T7" fmla="*/ 34 h 109"/>
              <a:gd name="T8" fmla="*/ 124 w 156"/>
              <a:gd name="T9" fmla="*/ 43 h 109"/>
              <a:gd name="T10" fmla="*/ 117 w 156"/>
              <a:gd name="T11" fmla="*/ 48 h 109"/>
              <a:gd name="T12" fmla="*/ 111 w 156"/>
              <a:gd name="T13" fmla="*/ 53 h 109"/>
              <a:gd name="T14" fmla="*/ 116 w 156"/>
              <a:gd name="T15" fmla="*/ 60 h 109"/>
              <a:gd name="T16" fmla="*/ 116 w 156"/>
              <a:gd name="T17" fmla="*/ 72 h 109"/>
              <a:gd name="T18" fmla="*/ 109 w 156"/>
              <a:gd name="T19" fmla="*/ 73 h 109"/>
              <a:gd name="T20" fmla="*/ 105 w 156"/>
              <a:gd name="T21" fmla="*/ 78 h 109"/>
              <a:gd name="T22" fmla="*/ 95 w 156"/>
              <a:gd name="T23" fmla="*/ 85 h 109"/>
              <a:gd name="T24" fmla="*/ 99 w 156"/>
              <a:gd name="T25" fmla="*/ 87 h 109"/>
              <a:gd name="T26" fmla="*/ 97 w 156"/>
              <a:gd name="T27" fmla="*/ 90 h 109"/>
              <a:gd name="T28" fmla="*/ 102 w 156"/>
              <a:gd name="T29" fmla="*/ 100 h 109"/>
              <a:gd name="T30" fmla="*/ 94 w 156"/>
              <a:gd name="T31" fmla="*/ 104 h 109"/>
              <a:gd name="T32" fmla="*/ 83 w 156"/>
              <a:gd name="T33" fmla="*/ 100 h 109"/>
              <a:gd name="T34" fmla="*/ 75 w 156"/>
              <a:gd name="T35" fmla="*/ 104 h 109"/>
              <a:gd name="T36" fmla="*/ 66 w 156"/>
              <a:gd name="T37" fmla="*/ 95 h 109"/>
              <a:gd name="T38" fmla="*/ 60 w 156"/>
              <a:gd name="T39" fmla="*/ 94 h 109"/>
              <a:gd name="T40" fmla="*/ 54 w 156"/>
              <a:gd name="T41" fmla="*/ 102 h 109"/>
              <a:gd name="T42" fmla="*/ 44 w 156"/>
              <a:gd name="T43" fmla="*/ 104 h 109"/>
              <a:gd name="T44" fmla="*/ 36 w 156"/>
              <a:gd name="T45" fmla="*/ 104 h 109"/>
              <a:gd name="T46" fmla="*/ 32 w 156"/>
              <a:gd name="T47" fmla="*/ 107 h 109"/>
              <a:gd name="T48" fmla="*/ 22 w 156"/>
              <a:gd name="T49" fmla="*/ 107 h 109"/>
              <a:gd name="T50" fmla="*/ 14 w 156"/>
              <a:gd name="T51" fmla="*/ 104 h 109"/>
              <a:gd name="T52" fmla="*/ 20 w 156"/>
              <a:gd name="T53" fmla="*/ 102 h 109"/>
              <a:gd name="T54" fmla="*/ 26 w 156"/>
              <a:gd name="T55" fmla="*/ 99 h 109"/>
              <a:gd name="T56" fmla="*/ 24 w 156"/>
              <a:gd name="T57" fmla="*/ 89 h 109"/>
              <a:gd name="T58" fmla="*/ 17 w 156"/>
              <a:gd name="T59" fmla="*/ 83 h 109"/>
              <a:gd name="T60" fmla="*/ 15 w 156"/>
              <a:gd name="T61" fmla="*/ 75 h 109"/>
              <a:gd name="T62" fmla="*/ 7 w 156"/>
              <a:gd name="T63" fmla="*/ 70 h 109"/>
              <a:gd name="T64" fmla="*/ 12 w 156"/>
              <a:gd name="T65" fmla="*/ 61 h 109"/>
              <a:gd name="T66" fmla="*/ 9 w 156"/>
              <a:gd name="T67" fmla="*/ 55 h 109"/>
              <a:gd name="T68" fmla="*/ 2 w 156"/>
              <a:gd name="T69" fmla="*/ 53 h 109"/>
              <a:gd name="T70" fmla="*/ 5 w 156"/>
              <a:gd name="T71" fmla="*/ 44 h 109"/>
              <a:gd name="T72" fmla="*/ 15 w 156"/>
              <a:gd name="T73" fmla="*/ 39 h 109"/>
              <a:gd name="T74" fmla="*/ 26 w 156"/>
              <a:gd name="T75" fmla="*/ 32 h 109"/>
              <a:gd name="T76" fmla="*/ 36 w 156"/>
              <a:gd name="T77" fmla="*/ 36 h 109"/>
              <a:gd name="T78" fmla="*/ 48 w 156"/>
              <a:gd name="T79" fmla="*/ 38 h 109"/>
              <a:gd name="T80" fmla="*/ 56 w 156"/>
              <a:gd name="T81" fmla="*/ 39 h 109"/>
              <a:gd name="T82" fmla="*/ 65 w 156"/>
              <a:gd name="T83" fmla="*/ 34 h 109"/>
              <a:gd name="T84" fmla="*/ 70 w 156"/>
              <a:gd name="T85" fmla="*/ 26 h 109"/>
              <a:gd name="T86" fmla="*/ 78 w 156"/>
              <a:gd name="T87" fmla="*/ 22 h 109"/>
              <a:gd name="T88" fmla="*/ 85 w 156"/>
              <a:gd name="T89" fmla="*/ 19 h 109"/>
              <a:gd name="T90" fmla="*/ 97 w 156"/>
              <a:gd name="T91" fmla="*/ 19 h 109"/>
              <a:gd name="T92" fmla="*/ 105 w 156"/>
              <a:gd name="T93" fmla="*/ 15 h 109"/>
              <a:gd name="T94" fmla="*/ 116 w 156"/>
              <a:gd name="T95" fmla="*/ 12 h 109"/>
              <a:gd name="T96" fmla="*/ 128 w 156"/>
              <a:gd name="T97" fmla="*/ 15 h 109"/>
              <a:gd name="T98" fmla="*/ 124 w 156"/>
              <a:gd name="T99" fmla="*/ 5 h 109"/>
              <a:gd name="T100" fmla="*/ 133 w 156"/>
              <a:gd name="T101" fmla="*/ 2 h 109"/>
              <a:gd name="T102" fmla="*/ 139 w 156"/>
              <a:gd name="T103" fmla="*/ 5 h 109"/>
              <a:gd name="T104" fmla="*/ 143 w 156"/>
              <a:gd name="T105" fmla="*/ 12 h 109"/>
              <a:gd name="T106" fmla="*/ 148 w 156"/>
              <a:gd name="T107" fmla="*/ 17 h 109"/>
              <a:gd name="T108" fmla="*/ 155 w 156"/>
              <a:gd name="T109" fmla="*/ 2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6" h="109">
                <a:moveTo>
                  <a:pt x="156" y="27"/>
                </a:moveTo>
                <a:lnTo>
                  <a:pt x="155" y="27"/>
                </a:lnTo>
                <a:lnTo>
                  <a:pt x="153" y="26"/>
                </a:lnTo>
                <a:lnTo>
                  <a:pt x="151" y="27"/>
                </a:lnTo>
                <a:lnTo>
                  <a:pt x="151" y="26"/>
                </a:lnTo>
                <a:lnTo>
                  <a:pt x="148" y="24"/>
                </a:lnTo>
                <a:lnTo>
                  <a:pt x="146" y="24"/>
                </a:lnTo>
                <a:lnTo>
                  <a:pt x="145" y="22"/>
                </a:lnTo>
                <a:lnTo>
                  <a:pt x="143" y="22"/>
                </a:lnTo>
                <a:lnTo>
                  <a:pt x="143" y="24"/>
                </a:lnTo>
                <a:lnTo>
                  <a:pt x="141" y="26"/>
                </a:lnTo>
                <a:lnTo>
                  <a:pt x="139" y="24"/>
                </a:lnTo>
                <a:lnTo>
                  <a:pt x="138" y="26"/>
                </a:lnTo>
                <a:lnTo>
                  <a:pt x="139" y="29"/>
                </a:lnTo>
                <a:lnTo>
                  <a:pt x="139" y="31"/>
                </a:lnTo>
                <a:lnTo>
                  <a:pt x="139" y="32"/>
                </a:lnTo>
                <a:lnTo>
                  <a:pt x="141" y="32"/>
                </a:lnTo>
                <a:lnTo>
                  <a:pt x="141" y="34"/>
                </a:lnTo>
                <a:lnTo>
                  <a:pt x="139" y="34"/>
                </a:lnTo>
                <a:lnTo>
                  <a:pt x="138" y="34"/>
                </a:lnTo>
                <a:lnTo>
                  <a:pt x="136" y="34"/>
                </a:lnTo>
                <a:lnTo>
                  <a:pt x="134" y="32"/>
                </a:lnTo>
                <a:lnTo>
                  <a:pt x="131" y="34"/>
                </a:lnTo>
                <a:lnTo>
                  <a:pt x="129" y="34"/>
                </a:lnTo>
                <a:lnTo>
                  <a:pt x="129" y="36"/>
                </a:lnTo>
                <a:lnTo>
                  <a:pt x="131" y="38"/>
                </a:lnTo>
                <a:lnTo>
                  <a:pt x="129" y="38"/>
                </a:lnTo>
                <a:lnTo>
                  <a:pt x="128" y="41"/>
                </a:lnTo>
                <a:lnTo>
                  <a:pt x="126" y="41"/>
                </a:lnTo>
                <a:lnTo>
                  <a:pt x="124" y="43"/>
                </a:lnTo>
                <a:lnTo>
                  <a:pt x="122" y="43"/>
                </a:lnTo>
                <a:lnTo>
                  <a:pt x="121" y="44"/>
                </a:lnTo>
                <a:lnTo>
                  <a:pt x="119" y="44"/>
                </a:lnTo>
                <a:lnTo>
                  <a:pt x="117" y="44"/>
                </a:lnTo>
                <a:lnTo>
                  <a:pt x="119" y="46"/>
                </a:lnTo>
                <a:lnTo>
                  <a:pt x="117" y="48"/>
                </a:lnTo>
                <a:lnTo>
                  <a:pt x="116" y="48"/>
                </a:lnTo>
                <a:lnTo>
                  <a:pt x="112" y="48"/>
                </a:lnTo>
                <a:lnTo>
                  <a:pt x="111" y="48"/>
                </a:lnTo>
                <a:lnTo>
                  <a:pt x="111" y="49"/>
                </a:lnTo>
                <a:lnTo>
                  <a:pt x="109" y="51"/>
                </a:lnTo>
                <a:lnTo>
                  <a:pt x="111" y="53"/>
                </a:lnTo>
                <a:lnTo>
                  <a:pt x="109" y="53"/>
                </a:lnTo>
                <a:lnTo>
                  <a:pt x="111" y="55"/>
                </a:lnTo>
                <a:lnTo>
                  <a:pt x="111" y="58"/>
                </a:lnTo>
                <a:lnTo>
                  <a:pt x="112" y="58"/>
                </a:lnTo>
                <a:lnTo>
                  <a:pt x="114" y="58"/>
                </a:lnTo>
                <a:lnTo>
                  <a:pt x="116" y="60"/>
                </a:lnTo>
                <a:lnTo>
                  <a:pt x="116" y="61"/>
                </a:lnTo>
                <a:lnTo>
                  <a:pt x="116" y="63"/>
                </a:lnTo>
                <a:lnTo>
                  <a:pt x="116" y="66"/>
                </a:lnTo>
                <a:lnTo>
                  <a:pt x="116" y="68"/>
                </a:lnTo>
                <a:lnTo>
                  <a:pt x="114" y="70"/>
                </a:lnTo>
                <a:lnTo>
                  <a:pt x="116" y="72"/>
                </a:lnTo>
                <a:lnTo>
                  <a:pt x="114" y="73"/>
                </a:lnTo>
                <a:lnTo>
                  <a:pt x="116" y="73"/>
                </a:lnTo>
                <a:lnTo>
                  <a:pt x="114" y="75"/>
                </a:lnTo>
                <a:lnTo>
                  <a:pt x="112" y="77"/>
                </a:lnTo>
                <a:lnTo>
                  <a:pt x="112" y="75"/>
                </a:lnTo>
                <a:lnTo>
                  <a:pt x="109" y="73"/>
                </a:lnTo>
                <a:lnTo>
                  <a:pt x="109" y="75"/>
                </a:lnTo>
                <a:lnTo>
                  <a:pt x="107" y="75"/>
                </a:lnTo>
                <a:lnTo>
                  <a:pt x="107" y="77"/>
                </a:lnTo>
                <a:lnTo>
                  <a:pt x="105" y="77"/>
                </a:lnTo>
                <a:lnTo>
                  <a:pt x="104" y="77"/>
                </a:lnTo>
                <a:lnTo>
                  <a:pt x="105" y="78"/>
                </a:lnTo>
                <a:lnTo>
                  <a:pt x="102" y="78"/>
                </a:lnTo>
                <a:lnTo>
                  <a:pt x="100" y="80"/>
                </a:lnTo>
                <a:lnTo>
                  <a:pt x="99" y="80"/>
                </a:lnTo>
                <a:lnTo>
                  <a:pt x="97" y="82"/>
                </a:lnTo>
                <a:lnTo>
                  <a:pt x="95" y="83"/>
                </a:lnTo>
                <a:lnTo>
                  <a:pt x="95" y="85"/>
                </a:lnTo>
                <a:lnTo>
                  <a:pt x="97" y="87"/>
                </a:lnTo>
                <a:lnTo>
                  <a:pt x="97" y="85"/>
                </a:lnTo>
                <a:lnTo>
                  <a:pt x="99" y="87"/>
                </a:lnTo>
                <a:lnTo>
                  <a:pt x="99" y="85"/>
                </a:lnTo>
                <a:lnTo>
                  <a:pt x="100" y="85"/>
                </a:lnTo>
                <a:lnTo>
                  <a:pt x="99" y="87"/>
                </a:lnTo>
                <a:lnTo>
                  <a:pt x="100" y="87"/>
                </a:lnTo>
                <a:lnTo>
                  <a:pt x="102" y="89"/>
                </a:lnTo>
                <a:lnTo>
                  <a:pt x="102" y="90"/>
                </a:lnTo>
                <a:lnTo>
                  <a:pt x="99" y="90"/>
                </a:lnTo>
                <a:lnTo>
                  <a:pt x="100" y="90"/>
                </a:lnTo>
                <a:lnTo>
                  <a:pt x="97" y="90"/>
                </a:lnTo>
                <a:lnTo>
                  <a:pt x="97" y="92"/>
                </a:lnTo>
                <a:lnTo>
                  <a:pt x="97" y="94"/>
                </a:lnTo>
                <a:lnTo>
                  <a:pt x="97" y="97"/>
                </a:lnTo>
                <a:lnTo>
                  <a:pt x="99" y="97"/>
                </a:lnTo>
                <a:lnTo>
                  <a:pt x="99" y="99"/>
                </a:lnTo>
                <a:lnTo>
                  <a:pt x="102" y="100"/>
                </a:lnTo>
                <a:lnTo>
                  <a:pt x="100" y="102"/>
                </a:lnTo>
                <a:lnTo>
                  <a:pt x="100" y="104"/>
                </a:lnTo>
                <a:lnTo>
                  <a:pt x="97" y="102"/>
                </a:lnTo>
                <a:lnTo>
                  <a:pt x="95" y="104"/>
                </a:lnTo>
                <a:lnTo>
                  <a:pt x="95" y="106"/>
                </a:lnTo>
                <a:lnTo>
                  <a:pt x="94" y="104"/>
                </a:lnTo>
                <a:lnTo>
                  <a:pt x="92" y="106"/>
                </a:lnTo>
                <a:lnTo>
                  <a:pt x="90" y="104"/>
                </a:lnTo>
                <a:lnTo>
                  <a:pt x="87" y="102"/>
                </a:lnTo>
                <a:lnTo>
                  <a:pt x="85" y="100"/>
                </a:lnTo>
                <a:lnTo>
                  <a:pt x="85" y="102"/>
                </a:lnTo>
                <a:lnTo>
                  <a:pt x="83" y="100"/>
                </a:lnTo>
                <a:lnTo>
                  <a:pt x="82" y="100"/>
                </a:lnTo>
                <a:lnTo>
                  <a:pt x="80" y="99"/>
                </a:lnTo>
                <a:lnTo>
                  <a:pt x="78" y="100"/>
                </a:lnTo>
                <a:lnTo>
                  <a:pt x="78" y="102"/>
                </a:lnTo>
                <a:lnTo>
                  <a:pt x="77" y="104"/>
                </a:lnTo>
                <a:lnTo>
                  <a:pt x="75" y="104"/>
                </a:lnTo>
                <a:lnTo>
                  <a:pt x="73" y="102"/>
                </a:lnTo>
                <a:lnTo>
                  <a:pt x="71" y="100"/>
                </a:lnTo>
                <a:lnTo>
                  <a:pt x="70" y="99"/>
                </a:lnTo>
                <a:lnTo>
                  <a:pt x="68" y="100"/>
                </a:lnTo>
                <a:lnTo>
                  <a:pt x="68" y="97"/>
                </a:lnTo>
                <a:lnTo>
                  <a:pt x="66" y="95"/>
                </a:lnTo>
                <a:lnTo>
                  <a:pt x="65" y="94"/>
                </a:lnTo>
                <a:lnTo>
                  <a:pt x="63" y="94"/>
                </a:lnTo>
                <a:lnTo>
                  <a:pt x="63" y="90"/>
                </a:lnTo>
                <a:lnTo>
                  <a:pt x="61" y="90"/>
                </a:lnTo>
                <a:lnTo>
                  <a:pt x="61" y="92"/>
                </a:lnTo>
                <a:lnTo>
                  <a:pt x="60" y="94"/>
                </a:lnTo>
                <a:lnTo>
                  <a:pt x="58" y="95"/>
                </a:lnTo>
                <a:lnTo>
                  <a:pt x="58" y="97"/>
                </a:lnTo>
                <a:lnTo>
                  <a:pt x="58" y="99"/>
                </a:lnTo>
                <a:lnTo>
                  <a:pt x="58" y="100"/>
                </a:lnTo>
                <a:lnTo>
                  <a:pt x="56" y="102"/>
                </a:lnTo>
                <a:lnTo>
                  <a:pt x="54" y="102"/>
                </a:lnTo>
                <a:lnTo>
                  <a:pt x="53" y="104"/>
                </a:lnTo>
                <a:lnTo>
                  <a:pt x="51" y="104"/>
                </a:lnTo>
                <a:lnTo>
                  <a:pt x="49" y="106"/>
                </a:lnTo>
                <a:lnTo>
                  <a:pt x="48" y="104"/>
                </a:lnTo>
                <a:lnTo>
                  <a:pt x="46" y="102"/>
                </a:lnTo>
                <a:lnTo>
                  <a:pt x="44" y="104"/>
                </a:lnTo>
                <a:lnTo>
                  <a:pt x="44" y="106"/>
                </a:lnTo>
                <a:lnTo>
                  <a:pt x="43" y="106"/>
                </a:lnTo>
                <a:lnTo>
                  <a:pt x="41" y="106"/>
                </a:lnTo>
                <a:lnTo>
                  <a:pt x="39" y="106"/>
                </a:lnTo>
                <a:lnTo>
                  <a:pt x="37" y="106"/>
                </a:lnTo>
                <a:lnTo>
                  <a:pt x="36" y="104"/>
                </a:lnTo>
                <a:lnTo>
                  <a:pt x="34" y="102"/>
                </a:lnTo>
                <a:lnTo>
                  <a:pt x="34" y="104"/>
                </a:lnTo>
                <a:lnTo>
                  <a:pt x="32" y="104"/>
                </a:lnTo>
                <a:lnTo>
                  <a:pt x="34" y="106"/>
                </a:lnTo>
                <a:lnTo>
                  <a:pt x="34" y="107"/>
                </a:lnTo>
                <a:lnTo>
                  <a:pt x="32" y="107"/>
                </a:lnTo>
                <a:lnTo>
                  <a:pt x="31" y="107"/>
                </a:lnTo>
                <a:lnTo>
                  <a:pt x="29" y="109"/>
                </a:lnTo>
                <a:lnTo>
                  <a:pt x="27" y="109"/>
                </a:lnTo>
                <a:lnTo>
                  <a:pt x="26" y="109"/>
                </a:lnTo>
                <a:lnTo>
                  <a:pt x="24" y="107"/>
                </a:lnTo>
                <a:lnTo>
                  <a:pt x="22" y="107"/>
                </a:lnTo>
                <a:lnTo>
                  <a:pt x="20" y="107"/>
                </a:lnTo>
                <a:lnTo>
                  <a:pt x="19" y="109"/>
                </a:lnTo>
                <a:lnTo>
                  <a:pt x="17" y="109"/>
                </a:lnTo>
                <a:lnTo>
                  <a:pt x="15" y="107"/>
                </a:lnTo>
                <a:lnTo>
                  <a:pt x="14" y="107"/>
                </a:lnTo>
                <a:lnTo>
                  <a:pt x="14" y="104"/>
                </a:lnTo>
                <a:lnTo>
                  <a:pt x="12" y="102"/>
                </a:lnTo>
                <a:lnTo>
                  <a:pt x="14" y="104"/>
                </a:lnTo>
                <a:lnTo>
                  <a:pt x="15" y="102"/>
                </a:lnTo>
                <a:lnTo>
                  <a:pt x="17" y="102"/>
                </a:lnTo>
                <a:lnTo>
                  <a:pt x="19" y="102"/>
                </a:lnTo>
                <a:lnTo>
                  <a:pt x="20" y="102"/>
                </a:lnTo>
                <a:lnTo>
                  <a:pt x="20" y="100"/>
                </a:lnTo>
                <a:lnTo>
                  <a:pt x="19" y="99"/>
                </a:lnTo>
                <a:lnTo>
                  <a:pt x="20" y="99"/>
                </a:lnTo>
                <a:lnTo>
                  <a:pt x="20" y="97"/>
                </a:lnTo>
                <a:lnTo>
                  <a:pt x="24" y="99"/>
                </a:lnTo>
                <a:lnTo>
                  <a:pt x="26" y="99"/>
                </a:lnTo>
                <a:lnTo>
                  <a:pt x="27" y="97"/>
                </a:lnTo>
                <a:lnTo>
                  <a:pt x="29" y="95"/>
                </a:lnTo>
                <a:lnTo>
                  <a:pt x="27" y="94"/>
                </a:lnTo>
                <a:lnTo>
                  <a:pt x="26" y="92"/>
                </a:lnTo>
                <a:lnTo>
                  <a:pt x="26" y="90"/>
                </a:lnTo>
                <a:lnTo>
                  <a:pt x="24" y="89"/>
                </a:lnTo>
                <a:lnTo>
                  <a:pt x="22" y="87"/>
                </a:lnTo>
                <a:lnTo>
                  <a:pt x="20" y="87"/>
                </a:lnTo>
                <a:lnTo>
                  <a:pt x="19" y="85"/>
                </a:lnTo>
                <a:lnTo>
                  <a:pt x="17" y="83"/>
                </a:lnTo>
                <a:lnTo>
                  <a:pt x="17" y="85"/>
                </a:lnTo>
                <a:lnTo>
                  <a:pt x="17" y="83"/>
                </a:lnTo>
                <a:lnTo>
                  <a:pt x="14" y="83"/>
                </a:lnTo>
                <a:lnTo>
                  <a:pt x="14" y="82"/>
                </a:lnTo>
                <a:lnTo>
                  <a:pt x="12" y="80"/>
                </a:lnTo>
                <a:lnTo>
                  <a:pt x="12" y="77"/>
                </a:lnTo>
                <a:lnTo>
                  <a:pt x="14" y="77"/>
                </a:lnTo>
                <a:lnTo>
                  <a:pt x="15" y="75"/>
                </a:lnTo>
                <a:lnTo>
                  <a:pt x="14" y="73"/>
                </a:lnTo>
                <a:lnTo>
                  <a:pt x="15" y="72"/>
                </a:lnTo>
                <a:lnTo>
                  <a:pt x="12" y="70"/>
                </a:lnTo>
                <a:lnTo>
                  <a:pt x="10" y="73"/>
                </a:lnTo>
                <a:lnTo>
                  <a:pt x="9" y="72"/>
                </a:lnTo>
                <a:lnTo>
                  <a:pt x="7" y="70"/>
                </a:lnTo>
                <a:lnTo>
                  <a:pt x="9" y="68"/>
                </a:lnTo>
                <a:lnTo>
                  <a:pt x="7" y="66"/>
                </a:lnTo>
                <a:lnTo>
                  <a:pt x="10" y="65"/>
                </a:lnTo>
                <a:lnTo>
                  <a:pt x="10" y="63"/>
                </a:lnTo>
                <a:lnTo>
                  <a:pt x="12" y="63"/>
                </a:lnTo>
                <a:lnTo>
                  <a:pt x="12" y="61"/>
                </a:lnTo>
                <a:lnTo>
                  <a:pt x="14" y="60"/>
                </a:lnTo>
                <a:lnTo>
                  <a:pt x="15" y="58"/>
                </a:lnTo>
                <a:lnTo>
                  <a:pt x="14" y="56"/>
                </a:lnTo>
                <a:lnTo>
                  <a:pt x="12" y="56"/>
                </a:lnTo>
                <a:lnTo>
                  <a:pt x="10" y="56"/>
                </a:lnTo>
                <a:lnTo>
                  <a:pt x="9" y="55"/>
                </a:lnTo>
                <a:lnTo>
                  <a:pt x="7" y="55"/>
                </a:lnTo>
                <a:lnTo>
                  <a:pt x="3" y="55"/>
                </a:lnTo>
                <a:lnTo>
                  <a:pt x="3" y="56"/>
                </a:lnTo>
                <a:lnTo>
                  <a:pt x="2" y="55"/>
                </a:lnTo>
                <a:lnTo>
                  <a:pt x="3" y="55"/>
                </a:lnTo>
                <a:lnTo>
                  <a:pt x="2" y="53"/>
                </a:lnTo>
                <a:lnTo>
                  <a:pt x="2" y="51"/>
                </a:lnTo>
                <a:lnTo>
                  <a:pt x="0" y="49"/>
                </a:lnTo>
                <a:lnTo>
                  <a:pt x="2" y="49"/>
                </a:lnTo>
                <a:lnTo>
                  <a:pt x="3" y="48"/>
                </a:lnTo>
                <a:lnTo>
                  <a:pt x="3" y="44"/>
                </a:lnTo>
                <a:lnTo>
                  <a:pt x="5" y="44"/>
                </a:lnTo>
                <a:lnTo>
                  <a:pt x="7" y="44"/>
                </a:lnTo>
                <a:lnTo>
                  <a:pt x="7" y="43"/>
                </a:lnTo>
                <a:lnTo>
                  <a:pt x="10" y="43"/>
                </a:lnTo>
                <a:lnTo>
                  <a:pt x="10" y="39"/>
                </a:lnTo>
                <a:lnTo>
                  <a:pt x="14" y="38"/>
                </a:lnTo>
                <a:lnTo>
                  <a:pt x="15" y="39"/>
                </a:lnTo>
                <a:lnTo>
                  <a:pt x="15" y="36"/>
                </a:lnTo>
                <a:lnTo>
                  <a:pt x="15" y="32"/>
                </a:lnTo>
                <a:lnTo>
                  <a:pt x="19" y="32"/>
                </a:lnTo>
                <a:lnTo>
                  <a:pt x="20" y="34"/>
                </a:lnTo>
                <a:lnTo>
                  <a:pt x="22" y="32"/>
                </a:lnTo>
                <a:lnTo>
                  <a:pt x="26" y="32"/>
                </a:lnTo>
                <a:lnTo>
                  <a:pt x="27" y="32"/>
                </a:lnTo>
                <a:lnTo>
                  <a:pt x="29" y="34"/>
                </a:lnTo>
                <a:lnTo>
                  <a:pt x="31" y="36"/>
                </a:lnTo>
                <a:lnTo>
                  <a:pt x="32" y="34"/>
                </a:lnTo>
                <a:lnTo>
                  <a:pt x="34" y="34"/>
                </a:lnTo>
                <a:lnTo>
                  <a:pt x="36" y="36"/>
                </a:lnTo>
                <a:lnTo>
                  <a:pt x="37" y="38"/>
                </a:lnTo>
                <a:lnTo>
                  <a:pt x="39" y="38"/>
                </a:lnTo>
                <a:lnTo>
                  <a:pt x="43" y="38"/>
                </a:lnTo>
                <a:lnTo>
                  <a:pt x="44" y="38"/>
                </a:lnTo>
                <a:lnTo>
                  <a:pt x="46" y="38"/>
                </a:lnTo>
                <a:lnTo>
                  <a:pt x="48" y="38"/>
                </a:lnTo>
                <a:lnTo>
                  <a:pt x="49" y="38"/>
                </a:lnTo>
                <a:lnTo>
                  <a:pt x="51" y="36"/>
                </a:lnTo>
                <a:lnTo>
                  <a:pt x="51" y="38"/>
                </a:lnTo>
                <a:lnTo>
                  <a:pt x="53" y="39"/>
                </a:lnTo>
                <a:lnTo>
                  <a:pt x="56" y="38"/>
                </a:lnTo>
                <a:lnTo>
                  <a:pt x="56" y="39"/>
                </a:lnTo>
                <a:lnTo>
                  <a:pt x="58" y="41"/>
                </a:lnTo>
                <a:lnTo>
                  <a:pt x="58" y="38"/>
                </a:lnTo>
                <a:lnTo>
                  <a:pt x="60" y="36"/>
                </a:lnTo>
                <a:lnTo>
                  <a:pt x="63" y="36"/>
                </a:lnTo>
                <a:lnTo>
                  <a:pt x="63" y="34"/>
                </a:lnTo>
                <a:lnTo>
                  <a:pt x="65" y="34"/>
                </a:lnTo>
                <a:lnTo>
                  <a:pt x="65" y="32"/>
                </a:lnTo>
                <a:lnTo>
                  <a:pt x="66" y="31"/>
                </a:lnTo>
                <a:lnTo>
                  <a:pt x="68" y="31"/>
                </a:lnTo>
                <a:lnTo>
                  <a:pt x="70" y="31"/>
                </a:lnTo>
                <a:lnTo>
                  <a:pt x="70" y="27"/>
                </a:lnTo>
                <a:lnTo>
                  <a:pt x="70" y="26"/>
                </a:lnTo>
                <a:lnTo>
                  <a:pt x="71" y="24"/>
                </a:lnTo>
                <a:lnTo>
                  <a:pt x="73" y="24"/>
                </a:lnTo>
                <a:lnTo>
                  <a:pt x="73" y="22"/>
                </a:lnTo>
                <a:lnTo>
                  <a:pt x="75" y="22"/>
                </a:lnTo>
                <a:lnTo>
                  <a:pt x="77" y="24"/>
                </a:lnTo>
                <a:lnTo>
                  <a:pt x="78" y="22"/>
                </a:lnTo>
                <a:lnTo>
                  <a:pt x="78" y="21"/>
                </a:lnTo>
                <a:lnTo>
                  <a:pt x="80" y="21"/>
                </a:lnTo>
                <a:lnTo>
                  <a:pt x="82" y="21"/>
                </a:lnTo>
                <a:lnTo>
                  <a:pt x="83" y="19"/>
                </a:lnTo>
                <a:lnTo>
                  <a:pt x="83" y="21"/>
                </a:lnTo>
                <a:lnTo>
                  <a:pt x="85" y="19"/>
                </a:lnTo>
                <a:lnTo>
                  <a:pt x="87" y="19"/>
                </a:lnTo>
                <a:lnTo>
                  <a:pt x="88" y="21"/>
                </a:lnTo>
                <a:lnTo>
                  <a:pt x="92" y="19"/>
                </a:lnTo>
                <a:lnTo>
                  <a:pt x="94" y="19"/>
                </a:lnTo>
                <a:lnTo>
                  <a:pt x="95" y="19"/>
                </a:lnTo>
                <a:lnTo>
                  <a:pt x="97" y="19"/>
                </a:lnTo>
                <a:lnTo>
                  <a:pt x="100" y="19"/>
                </a:lnTo>
                <a:lnTo>
                  <a:pt x="100" y="21"/>
                </a:lnTo>
                <a:lnTo>
                  <a:pt x="102" y="21"/>
                </a:lnTo>
                <a:lnTo>
                  <a:pt x="104" y="19"/>
                </a:lnTo>
                <a:lnTo>
                  <a:pt x="104" y="17"/>
                </a:lnTo>
                <a:lnTo>
                  <a:pt x="105" y="15"/>
                </a:lnTo>
                <a:lnTo>
                  <a:pt x="107" y="15"/>
                </a:lnTo>
                <a:lnTo>
                  <a:pt x="109" y="14"/>
                </a:lnTo>
                <a:lnTo>
                  <a:pt x="111" y="14"/>
                </a:lnTo>
                <a:lnTo>
                  <a:pt x="112" y="14"/>
                </a:lnTo>
                <a:lnTo>
                  <a:pt x="114" y="14"/>
                </a:lnTo>
                <a:lnTo>
                  <a:pt x="116" y="12"/>
                </a:lnTo>
                <a:lnTo>
                  <a:pt x="117" y="12"/>
                </a:lnTo>
                <a:lnTo>
                  <a:pt x="119" y="12"/>
                </a:lnTo>
                <a:lnTo>
                  <a:pt x="121" y="12"/>
                </a:lnTo>
                <a:lnTo>
                  <a:pt x="122" y="14"/>
                </a:lnTo>
                <a:lnTo>
                  <a:pt x="126" y="14"/>
                </a:lnTo>
                <a:lnTo>
                  <a:pt x="128" y="15"/>
                </a:lnTo>
                <a:lnTo>
                  <a:pt x="128" y="14"/>
                </a:lnTo>
                <a:lnTo>
                  <a:pt x="126" y="12"/>
                </a:lnTo>
                <a:lnTo>
                  <a:pt x="124" y="10"/>
                </a:lnTo>
                <a:lnTo>
                  <a:pt x="124" y="9"/>
                </a:lnTo>
                <a:lnTo>
                  <a:pt x="124" y="7"/>
                </a:lnTo>
                <a:lnTo>
                  <a:pt x="124" y="5"/>
                </a:lnTo>
                <a:lnTo>
                  <a:pt x="124" y="3"/>
                </a:lnTo>
                <a:lnTo>
                  <a:pt x="126" y="3"/>
                </a:lnTo>
                <a:lnTo>
                  <a:pt x="128" y="3"/>
                </a:lnTo>
                <a:lnTo>
                  <a:pt x="129" y="2"/>
                </a:lnTo>
                <a:lnTo>
                  <a:pt x="129" y="0"/>
                </a:lnTo>
                <a:lnTo>
                  <a:pt x="133" y="2"/>
                </a:lnTo>
                <a:lnTo>
                  <a:pt x="136" y="0"/>
                </a:lnTo>
                <a:lnTo>
                  <a:pt x="138" y="0"/>
                </a:lnTo>
                <a:lnTo>
                  <a:pt x="139" y="0"/>
                </a:lnTo>
                <a:lnTo>
                  <a:pt x="141" y="2"/>
                </a:lnTo>
                <a:lnTo>
                  <a:pt x="141" y="3"/>
                </a:lnTo>
                <a:lnTo>
                  <a:pt x="139" y="5"/>
                </a:lnTo>
                <a:lnTo>
                  <a:pt x="139" y="7"/>
                </a:lnTo>
                <a:lnTo>
                  <a:pt x="141" y="7"/>
                </a:lnTo>
                <a:lnTo>
                  <a:pt x="139" y="9"/>
                </a:lnTo>
                <a:lnTo>
                  <a:pt x="141" y="9"/>
                </a:lnTo>
                <a:lnTo>
                  <a:pt x="143" y="10"/>
                </a:lnTo>
                <a:lnTo>
                  <a:pt x="143" y="12"/>
                </a:lnTo>
                <a:lnTo>
                  <a:pt x="146" y="12"/>
                </a:lnTo>
                <a:lnTo>
                  <a:pt x="146" y="14"/>
                </a:lnTo>
                <a:lnTo>
                  <a:pt x="145" y="14"/>
                </a:lnTo>
                <a:lnTo>
                  <a:pt x="145" y="15"/>
                </a:lnTo>
                <a:lnTo>
                  <a:pt x="146" y="17"/>
                </a:lnTo>
                <a:lnTo>
                  <a:pt x="148" y="17"/>
                </a:lnTo>
                <a:lnTo>
                  <a:pt x="150" y="19"/>
                </a:lnTo>
                <a:lnTo>
                  <a:pt x="150" y="21"/>
                </a:lnTo>
                <a:lnTo>
                  <a:pt x="151" y="21"/>
                </a:lnTo>
                <a:lnTo>
                  <a:pt x="151" y="22"/>
                </a:lnTo>
                <a:lnTo>
                  <a:pt x="151" y="24"/>
                </a:lnTo>
                <a:lnTo>
                  <a:pt x="155" y="26"/>
                </a:lnTo>
                <a:lnTo>
                  <a:pt x="156" y="27"/>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78" name="Freeform 60">
            <a:extLst>
              <a:ext uri="{FF2B5EF4-FFF2-40B4-BE49-F238E27FC236}">
                <a16:creationId xmlns:a16="http://schemas.microsoft.com/office/drawing/2014/main" id="{F08EECD7-4A5C-45E4-8CEB-4B747DA4C14E}"/>
              </a:ext>
            </a:extLst>
          </p:cNvPr>
          <p:cNvSpPr>
            <a:spLocks/>
          </p:cNvSpPr>
          <p:nvPr/>
        </p:nvSpPr>
        <p:spPr bwMode="gray">
          <a:xfrm>
            <a:off x="5103768" y="3406075"/>
            <a:ext cx="534097" cy="567955"/>
          </a:xfrm>
          <a:custGeom>
            <a:avLst/>
            <a:gdLst>
              <a:gd name="T0" fmla="*/ 112 w 196"/>
              <a:gd name="T1" fmla="*/ 191 h 199"/>
              <a:gd name="T2" fmla="*/ 112 w 196"/>
              <a:gd name="T3" fmla="*/ 179 h 199"/>
              <a:gd name="T4" fmla="*/ 107 w 196"/>
              <a:gd name="T5" fmla="*/ 167 h 199"/>
              <a:gd name="T6" fmla="*/ 106 w 196"/>
              <a:gd name="T7" fmla="*/ 153 h 199"/>
              <a:gd name="T8" fmla="*/ 106 w 196"/>
              <a:gd name="T9" fmla="*/ 145 h 199"/>
              <a:gd name="T10" fmla="*/ 106 w 196"/>
              <a:gd name="T11" fmla="*/ 135 h 199"/>
              <a:gd name="T12" fmla="*/ 102 w 196"/>
              <a:gd name="T13" fmla="*/ 123 h 199"/>
              <a:gd name="T14" fmla="*/ 95 w 196"/>
              <a:gd name="T15" fmla="*/ 111 h 199"/>
              <a:gd name="T16" fmla="*/ 90 w 196"/>
              <a:gd name="T17" fmla="*/ 104 h 199"/>
              <a:gd name="T18" fmla="*/ 87 w 196"/>
              <a:gd name="T19" fmla="*/ 96 h 199"/>
              <a:gd name="T20" fmla="*/ 75 w 196"/>
              <a:gd name="T21" fmla="*/ 91 h 199"/>
              <a:gd name="T22" fmla="*/ 68 w 196"/>
              <a:gd name="T23" fmla="*/ 84 h 199"/>
              <a:gd name="T24" fmla="*/ 61 w 196"/>
              <a:gd name="T25" fmla="*/ 79 h 199"/>
              <a:gd name="T26" fmla="*/ 55 w 196"/>
              <a:gd name="T27" fmla="*/ 72 h 199"/>
              <a:gd name="T28" fmla="*/ 44 w 196"/>
              <a:gd name="T29" fmla="*/ 65 h 199"/>
              <a:gd name="T30" fmla="*/ 39 w 196"/>
              <a:gd name="T31" fmla="*/ 55 h 199"/>
              <a:gd name="T32" fmla="*/ 33 w 196"/>
              <a:gd name="T33" fmla="*/ 48 h 199"/>
              <a:gd name="T34" fmla="*/ 26 w 196"/>
              <a:gd name="T35" fmla="*/ 39 h 199"/>
              <a:gd name="T36" fmla="*/ 21 w 196"/>
              <a:gd name="T37" fmla="*/ 31 h 199"/>
              <a:gd name="T38" fmla="*/ 16 w 196"/>
              <a:gd name="T39" fmla="*/ 29 h 199"/>
              <a:gd name="T40" fmla="*/ 5 w 196"/>
              <a:gd name="T41" fmla="*/ 28 h 199"/>
              <a:gd name="T42" fmla="*/ 0 w 196"/>
              <a:gd name="T43" fmla="*/ 26 h 199"/>
              <a:gd name="T44" fmla="*/ 5 w 196"/>
              <a:gd name="T45" fmla="*/ 19 h 199"/>
              <a:gd name="T46" fmla="*/ 12 w 196"/>
              <a:gd name="T47" fmla="*/ 17 h 199"/>
              <a:gd name="T48" fmla="*/ 19 w 196"/>
              <a:gd name="T49" fmla="*/ 12 h 199"/>
              <a:gd name="T50" fmla="*/ 33 w 196"/>
              <a:gd name="T51" fmla="*/ 9 h 199"/>
              <a:gd name="T52" fmla="*/ 41 w 196"/>
              <a:gd name="T53" fmla="*/ 4 h 199"/>
              <a:gd name="T54" fmla="*/ 56 w 196"/>
              <a:gd name="T55" fmla="*/ 7 h 199"/>
              <a:gd name="T56" fmla="*/ 68 w 196"/>
              <a:gd name="T57" fmla="*/ 11 h 199"/>
              <a:gd name="T58" fmla="*/ 78 w 196"/>
              <a:gd name="T59" fmla="*/ 9 h 199"/>
              <a:gd name="T60" fmla="*/ 85 w 196"/>
              <a:gd name="T61" fmla="*/ 16 h 199"/>
              <a:gd name="T62" fmla="*/ 87 w 196"/>
              <a:gd name="T63" fmla="*/ 14 h 199"/>
              <a:gd name="T64" fmla="*/ 101 w 196"/>
              <a:gd name="T65" fmla="*/ 11 h 199"/>
              <a:gd name="T66" fmla="*/ 114 w 196"/>
              <a:gd name="T67" fmla="*/ 21 h 199"/>
              <a:gd name="T68" fmla="*/ 124 w 196"/>
              <a:gd name="T69" fmla="*/ 22 h 199"/>
              <a:gd name="T70" fmla="*/ 128 w 196"/>
              <a:gd name="T71" fmla="*/ 31 h 199"/>
              <a:gd name="T72" fmla="*/ 126 w 196"/>
              <a:gd name="T73" fmla="*/ 46 h 199"/>
              <a:gd name="T74" fmla="*/ 133 w 196"/>
              <a:gd name="T75" fmla="*/ 53 h 199"/>
              <a:gd name="T76" fmla="*/ 141 w 196"/>
              <a:gd name="T77" fmla="*/ 55 h 199"/>
              <a:gd name="T78" fmla="*/ 150 w 196"/>
              <a:gd name="T79" fmla="*/ 53 h 199"/>
              <a:gd name="T80" fmla="*/ 153 w 196"/>
              <a:gd name="T81" fmla="*/ 65 h 199"/>
              <a:gd name="T82" fmla="*/ 155 w 196"/>
              <a:gd name="T83" fmla="*/ 72 h 199"/>
              <a:gd name="T84" fmla="*/ 160 w 196"/>
              <a:gd name="T85" fmla="*/ 82 h 199"/>
              <a:gd name="T86" fmla="*/ 172 w 196"/>
              <a:gd name="T87" fmla="*/ 84 h 199"/>
              <a:gd name="T88" fmla="*/ 180 w 196"/>
              <a:gd name="T89" fmla="*/ 89 h 199"/>
              <a:gd name="T90" fmla="*/ 180 w 196"/>
              <a:gd name="T91" fmla="*/ 104 h 199"/>
              <a:gd name="T92" fmla="*/ 189 w 196"/>
              <a:gd name="T93" fmla="*/ 109 h 199"/>
              <a:gd name="T94" fmla="*/ 194 w 196"/>
              <a:gd name="T95" fmla="*/ 111 h 199"/>
              <a:gd name="T96" fmla="*/ 184 w 196"/>
              <a:gd name="T97" fmla="*/ 116 h 199"/>
              <a:gd name="T98" fmla="*/ 174 w 196"/>
              <a:gd name="T99" fmla="*/ 113 h 199"/>
              <a:gd name="T100" fmla="*/ 169 w 196"/>
              <a:gd name="T101" fmla="*/ 119 h 199"/>
              <a:gd name="T102" fmla="*/ 158 w 196"/>
              <a:gd name="T103" fmla="*/ 118 h 199"/>
              <a:gd name="T104" fmla="*/ 157 w 196"/>
              <a:gd name="T105" fmla="*/ 121 h 199"/>
              <a:gd name="T106" fmla="*/ 152 w 196"/>
              <a:gd name="T107" fmla="*/ 116 h 199"/>
              <a:gd name="T108" fmla="*/ 143 w 196"/>
              <a:gd name="T109" fmla="*/ 118 h 199"/>
              <a:gd name="T110" fmla="*/ 141 w 196"/>
              <a:gd name="T111" fmla="*/ 128 h 199"/>
              <a:gd name="T112" fmla="*/ 148 w 196"/>
              <a:gd name="T113" fmla="*/ 142 h 199"/>
              <a:gd name="T114" fmla="*/ 145 w 196"/>
              <a:gd name="T115" fmla="*/ 155 h 199"/>
              <a:gd name="T116" fmla="*/ 138 w 196"/>
              <a:gd name="T117" fmla="*/ 169 h 199"/>
              <a:gd name="T118" fmla="*/ 133 w 196"/>
              <a:gd name="T119" fmla="*/ 177 h 199"/>
              <a:gd name="T120" fmla="*/ 133 w 196"/>
              <a:gd name="T121" fmla="*/ 189 h 199"/>
              <a:gd name="T122" fmla="*/ 123 w 196"/>
              <a:gd name="T123" fmla="*/ 194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6" h="199">
                <a:moveTo>
                  <a:pt x="121" y="199"/>
                </a:moveTo>
                <a:lnTo>
                  <a:pt x="119" y="199"/>
                </a:lnTo>
                <a:lnTo>
                  <a:pt x="118" y="198"/>
                </a:lnTo>
                <a:lnTo>
                  <a:pt x="118" y="196"/>
                </a:lnTo>
                <a:lnTo>
                  <a:pt x="116" y="194"/>
                </a:lnTo>
                <a:lnTo>
                  <a:pt x="116" y="193"/>
                </a:lnTo>
                <a:lnTo>
                  <a:pt x="114" y="194"/>
                </a:lnTo>
                <a:lnTo>
                  <a:pt x="112" y="191"/>
                </a:lnTo>
                <a:lnTo>
                  <a:pt x="114" y="189"/>
                </a:lnTo>
                <a:lnTo>
                  <a:pt x="116" y="189"/>
                </a:lnTo>
                <a:lnTo>
                  <a:pt x="116" y="187"/>
                </a:lnTo>
                <a:lnTo>
                  <a:pt x="116" y="186"/>
                </a:lnTo>
                <a:lnTo>
                  <a:pt x="114" y="184"/>
                </a:lnTo>
                <a:lnTo>
                  <a:pt x="114" y="182"/>
                </a:lnTo>
                <a:lnTo>
                  <a:pt x="112" y="181"/>
                </a:lnTo>
                <a:lnTo>
                  <a:pt x="112" y="179"/>
                </a:lnTo>
                <a:lnTo>
                  <a:pt x="111" y="179"/>
                </a:lnTo>
                <a:lnTo>
                  <a:pt x="111" y="177"/>
                </a:lnTo>
                <a:lnTo>
                  <a:pt x="109" y="174"/>
                </a:lnTo>
                <a:lnTo>
                  <a:pt x="111" y="172"/>
                </a:lnTo>
                <a:lnTo>
                  <a:pt x="109" y="172"/>
                </a:lnTo>
                <a:lnTo>
                  <a:pt x="109" y="170"/>
                </a:lnTo>
                <a:lnTo>
                  <a:pt x="109" y="169"/>
                </a:lnTo>
                <a:lnTo>
                  <a:pt x="107" y="167"/>
                </a:lnTo>
                <a:lnTo>
                  <a:pt x="107" y="165"/>
                </a:lnTo>
                <a:lnTo>
                  <a:pt x="106" y="164"/>
                </a:lnTo>
                <a:lnTo>
                  <a:pt x="106" y="160"/>
                </a:lnTo>
                <a:lnTo>
                  <a:pt x="104" y="159"/>
                </a:lnTo>
                <a:lnTo>
                  <a:pt x="106" y="159"/>
                </a:lnTo>
                <a:lnTo>
                  <a:pt x="106" y="157"/>
                </a:lnTo>
                <a:lnTo>
                  <a:pt x="106" y="155"/>
                </a:lnTo>
                <a:lnTo>
                  <a:pt x="106" y="153"/>
                </a:lnTo>
                <a:lnTo>
                  <a:pt x="104" y="152"/>
                </a:lnTo>
                <a:lnTo>
                  <a:pt x="106" y="152"/>
                </a:lnTo>
                <a:lnTo>
                  <a:pt x="104" y="152"/>
                </a:lnTo>
                <a:lnTo>
                  <a:pt x="104" y="150"/>
                </a:lnTo>
                <a:lnTo>
                  <a:pt x="102" y="148"/>
                </a:lnTo>
                <a:lnTo>
                  <a:pt x="104" y="147"/>
                </a:lnTo>
                <a:lnTo>
                  <a:pt x="104" y="145"/>
                </a:lnTo>
                <a:lnTo>
                  <a:pt x="106" y="145"/>
                </a:lnTo>
                <a:lnTo>
                  <a:pt x="104" y="143"/>
                </a:lnTo>
                <a:lnTo>
                  <a:pt x="106" y="145"/>
                </a:lnTo>
                <a:lnTo>
                  <a:pt x="106" y="142"/>
                </a:lnTo>
                <a:lnTo>
                  <a:pt x="104" y="140"/>
                </a:lnTo>
                <a:lnTo>
                  <a:pt x="106" y="138"/>
                </a:lnTo>
                <a:lnTo>
                  <a:pt x="104" y="138"/>
                </a:lnTo>
                <a:lnTo>
                  <a:pt x="106" y="136"/>
                </a:lnTo>
                <a:lnTo>
                  <a:pt x="106" y="135"/>
                </a:lnTo>
                <a:lnTo>
                  <a:pt x="106" y="133"/>
                </a:lnTo>
                <a:lnTo>
                  <a:pt x="106" y="131"/>
                </a:lnTo>
                <a:lnTo>
                  <a:pt x="104" y="130"/>
                </a:lnTo>
                <a:lnTo>
                  <a:pt x="102" y="130"/>
                </a:lnTo>
                <a:lnTo>
                  <a:pt x="104" y="128"/>
                </a:lnTo>
                <a:lnTo>
                  <a:pt x="102" y="126"/>
                </a:lnTo>
                <a:lnTo>
                  <a:pt x="104" y="126"/>
                </a:lnTo>
                <a:lnTo>
                  <a:pt x="102" y="123"/>
                </a:lnTo>
                <a:lnTo>
                  <a:pt x="102" y="121"/>
                </a:lnTo>
                <a:lnTo>
                  <a:pt x="102" y="119"/>
                </a:lnTo>
                <a:lnTo>
                  <a:pt x="101" y="116"/>
                </a:lnTo>
                <a:lnTo>
                  <a:pt x="99" y="116"/>
                </a:lnTo>
                <a:lnTo>
                  <a:pt x="99" y="114"/>
                </a:lnTo>
                <a:lnTo>
                  <a:pt x="97" y="114"/>
                </a:lnTo>
                <a:lnTo>
                  <a:pt x="97" y="113"/>
                </a:lnTo>
                <a:lnTo>
                  <a:pt x="95" y="111"/>
                </a:lnTo>
                <a:lnTo>
                  <a:pt x="97" y="111"/>
                </a:lnTo>
                <a:lnTo>
                  <a:pt x="94" y="109"/>
                </a:lnTo>
                <a:lnTo>
                  <a:pt x="94" y="108"/>
                </a:lnTo>
                <a:lnTo>
                  <a:pt x="92" y="109"/>
                </a:lnTo>
                <a:lnTo>
                  <a:pt x="92" y="108"/>
                </a:lnTo>
                <a:lnTo>
                  <a:pt x="92" y="106"/>
                </a:lnTo>
                <a:lnTo>
                  <a:pt x="92" y="104"/>
                </a:lnTo>
                <a:lnTo>
                  <a:pt x="90" y="104"/>
                </a:lnTo>
                <a:lnTo>
                  <a:pt x="90" y="102"/>
                </a:lnTo>
                <a:lnTo>
                  <a:pt x="89" y="101"/>
                </a:lnTo>
                <a:lnTo>
                  <a:pt x="90" y="101"/>
                </a:lnTo>
                <a:lnTo>
                  <a:pt x="89" y="99"/>
                </a:lnTo>
                <a:lnTo>
                  <a:pt x="89" y="97"/>
                </a:lnTo>
                <a:lnTo>
                  <a:pt x="87" y="97"/>
                </a:lnTo>
                <a:lnTo>
                  <a:pt x="85" y="97"/>
                </a:lnTo>
                <a:lnTo>
                  <a:pt x="87" y="96"/>
                </a:lnTo>
                <a:lnTo>
                  <a:pt x="84" y="96"/>
                </a:lnTo>
                <a:lnTo>
                  <a:pt x="80" y="96"/>
                </a:lnTo>
                <a:lnTo>
                  <a:pt x="82" y="94"/>
                </a:lnTo>
                <a:lnTo>
                  <a:pt x="80" y="94"/>
                </a:lnTo>
                <a:lnTo>
                  <a:pt x="78" y="94"/>
                </a:lnTo>
                <a:lnTo>
                  <a:pt x="77" y="92"/>
                </a:lnTo>
                <a:lnTo>
                  <a:pt x="75" y="92"/>
                </a:lnTo>
                <a:lnTo>
                  <a:pt x="75" y="91"/>
                </a:lnTo>
                <a:lnTo>
                  <a:pt x="72" y="91"/>
                </a:lnTo>
                <a:lnTo>
                  <a:pt x="73" y="91"/>
                </a:lnTo>
                <a:lnTo>
                  <a:pt x="72" y="91"/>
                </a:lnTo>
                <a:lnTo>
                  <a:pt x="73" y="89"/>
                </a:lnTo>
                <a:lnTo>
                  <a:pt x="72" y="85"/>
                </a:lnTo>
                <a:lnTo>
                  <a:pt x="70" y="87"/>
                </a:lnTo>
                <a:lnTo>
                  <a:pt x="70" y="85"/>
                </a:lnTo>
                <a:lnTo>
                  <a:pt x="68" y="84"/>
                </a:lnTo>
                <a:lnTo>
                  <a:pt x="67" y="80"/>
                </a:lnTo>
                <a:lnTo>
                  <a:pt x="65" y="80"/>
                </a:lnTo>
                <a:lnTo>
                  <a:pt x="65" y="82"/>
                </a:lnTo>
                <a:lnTo>
                  <a:pt x="65" y="80"/>
                </a:lnTo>
                <a:lnTo>
                  <a:pt x="63" y="82"/>
                </a:lnTo>
                <a:lnTo>
                  <a:pt x="61" y="80"/>
                </a:lnTo>
                <a:lnTo>
                  <a:pt x="60" y="80"/>
                </a:lnTo>
                <a:lnTo>
                  <a:pt x="61" y="79"/>
                </a:lnTo>
                <a:lnTo>
                  <a:pt x="60" y="79"/>
                </a:lnTo>
                <a:lnTo>
                  <a:pt x="60" y="77"/>
                </a:lnTo>
                <a:lnTo>
                  <a:pt x="58" y="77"/>
                </a:lnTo>
                <a:lnTo>
                  <a:pt x="58" y="75"/>
                </a:lnTo>
                <a:lnTo>
                  <a:pt x="56" y="74"/>
                </a:lnTo>
                <a:lnTo>
                  <a:pt x="56" y="72"/>
                </a:lnTo>
                <a:lnTo>
                  <a:pt x="55" y="70"/>
                </a:lnTo>
                <a:lnTo>
                  <a:pt x="55" y="72"/>
                </a:lnTo>
                <a:lnTo>
                  <a:pt x="53" y="70"/>
                </a:lnTo>
                <a:lnTo>
                  <a:pt x="51" y="70"/>
                </a:lnTo>
                <a:lnTo>
                  <a:pt x="51" y="68"/>
                </a:lnTo>
                <a:lnTo>
                  <a:pt x="50" y="68"/>
                </a:lnTo>
                <a:lnTo>
                  <a:pt x="50" y="67"/>
                </a:lnTo>
                <a:lnTo>
                  <a:pt x="48" y="67"/>
                </a:lnTo>
                <a:lnTo>
                  <a:pt x="48" y="65"/>
                </a:lnTo>
                <a:lnTo>
                  <a:pt x="44" y="65"/>
                </a:lnTo>
                <a:lnTo>
                  <a:pt x="44" y="63"/>
                </a:lnTo>
                <a:lnTo>
                  <a:pt x="43" y="63"/>
                </a:lnTo>
                <a:lnTo>
                  <a:pt x="41" y="62"/>
                </a:lnTo>
                <a:lnTo>
                  <a:pt x="39" y="58"/>
                </a:lnTo>
                <a:lnTo>
                  <a:pt x="38" y="58"/>
                </a:lnTo>
                <a:lnTo>
                  <a:pt x="38" y="57"/>
                </a:lnTo>
                <a:lnTo>
                  <a:pt x="39" y="57"/>
                </a:lnTo>
                <a:lnTo>
                  <a:pt x="39" y="55"/>
                </a:lnTo>
                <a:lnTo>
                  <a:pt x="38" y="55"/>
                </a:lnTo>
                <a:lnTo>
                  <a:pt x="38" y="53"/>
                </a:lnTo>
                <a:lnTo>
                  <a:pt x="36" y="51"/>
                </a:lnTo>
                <a:lnTo>
                  <a:pt x="34" y="51"/>
                </a:lnTo>
                <a:lnTo>
                  <a:pt x="36" y="50"/>
                </a:lnTo>
                <a:lnTo>
                  <a:pt x="34" y="50"/>
                </a:lnTo>
                <a:lnTo>
                  <a:pt x="34" y="48"/>
                </a:lnTo>
                <a:lnTo>
                  <a:pt x="33" y="48"/>
                </a:lnTo>
                <a:lnTo>
                  <a:pt x="33" y="46"/>
                </a:lnTo>
                <a:lnTo>
                  <a:pt x="29" y="45"/>
                </a:lnTo>
                <a:lnTo>
                  <a:pt x="31" y="43"/>
                </a:lnTo>
                <a:lnTo>
                  <a:pt x="29" y="41"/>
                </a:lnTo>
                <a:lnTo>
                  <a:pt x="29" y="39"/>
                </a:lnTo>
                <a:lnTo>
                  <a:pt x="27" y="39"/>
                </a:lnTo>
                <a:lnTo>
                  <a:pt x="27" y="38"/>
                </a:lnTo>
                <a:lnTo>
                  <a:pt x="26" y="39"/>
                </a:lnTo>
                <a:lnTo>
                  <a:pt x="26" y="38"/>
                </a:lnTo>
                <a:lnTo>
                  <a:pt x="24" y="38"/>
                </a:lnTo>
                <a:lnTo>
                  <a:pt x="24" y="36"/>
                </a:lnTo>
                <a:lnTo>
                  <a:pt x="22" y="36"/>
                </a:lnTo>
                <a:lnTo>
                  <a:pt x="21" y="34"/>
                </a:lnTo>
                <a:lnTo>
                  <a:pt x="21" y="31"/>
                </a:lnTo>
                <a:lnTo>
                  <a:pt x="21" y="33"/>
                </a:lnTo>
                <a:lnTo>
                  <a:pt x="21" y="31"/>
                </a:lnTo>
                <a:lnTo>
                  <a:pt x="19" y="33"/>
                </a:lnTo>
                <a:lnTo>
                  <a:pt x="17" y="33"/>
                </a:lnTo>
                <a:lnTo>
                  <a:pt x="17" y="31"/>
                </a:lnTo>
                <a:lnTo>
                  <a:pt x="19" y="31"/>
                </a:lnTo>
                <a:lnTo>
                  <a:pt x="16" y="31"/>
                </a:lnTo>
                <a:lnTo>
                  <a:pt x="16" y="28"/>
                </a:lnTo>
                <a:lnTo>
                  <a:pt x="14" y="28"/>
                </a:lnTo>
                <a:lnTo>
                  <a:pt x="16" y="29"/>
                </a:lnTo>
                <a:lnTo>
                  <a:pt x="14" y="29"/>
                </a:lnTo>
                <a:lnTo>
                  <a:pt x="14" y="28"/>
                </a:lnTo>
                <a:lnTo>
                  <a:pt x="12" y="29"/>
                </a:lnTo>
                <a:lnTo>
                  <a:pt x="10" y="26"/>
                </a:lnTo>
                <a:lnTo>
                  <a:pt x="10" y="28"/>
                </a:lnTo>
                <a:lnTo>
                  <a:pt x="9" y="26"/>
                </a:lnTo>
                <a:lnTo>
                  <a:pt x="7" y="28"/>
                </a:lnTo>
                <a:lnTo>
                  <a:pt x="5" y="28"/>
                </a:lnTo>
                <a:lnTo>
                  <a:pt x="5" y="26"/>
                </a:lnTo>
                <a:lnTo>
                  <a:pt x="5" y="28"/>
                </a:lnTo>
                <a:lnTo>
                  <a:pt x="4" y="26"/>
                </a:lnTo>
                <a:lnTo>
                  <a:pt x="2" y="28"/>
                </a:lnTo>
                <a:lnTo>
                  <a:pt x="2" y="26"/>
                </a:lnTo>
                <a:lnTo>
                  <a:pt x="2" y="28"/>
                </a:lnTo>
                <a:lnTo>
                  <a:pt x="0" y="28"/>
                </a:lnTo>
                <a:lnTo>
                  <a:pt x="0" y="26"/>
                </a:lnTo>
                <a:lnTo>
                  <a:pt x="0" y="24"/>
                </a:lnTo>
                <a:lnTo>
                  <a:pt x="2" y="22"/>
                </a:lnTo>
                <a:lnTo>
                  <a:pt x="2" y="21"/>
                </a:lnTo>
                <a:lnTo>
                  <a:pt x="5" y="22"/>
                </a:lnTo>
                <a:lnTo>
                  <a:pt x="7" y="24"/>
                </a:lnTo>
                <a:lnTo>
                  <a:pt x="9" y="22"/>
                </a:lnTo>
                <a:lnTo>
                  <a:pt x="7" y="19"/>
                </a:lnTo>
                <a:lnTo>
                  <a:pt x="5" y="19"/>
                </a:lnTo>
                <a:lnTo>
                  <a:pt x="4" y="17"/>
                </a:lnTo>
                <a:lnTo>
                  <a:pt x="2" y="16"/>
                </a:lnTo>
                <a:lnTo>
                  <a:pt x="4" y="16"/>
                </a:lnTo>
                <a:lnTo>
                  <a:pt x="5" y="14"/>
                </a:lnTo>
                <a:lnTo>
                  <a:pt x="7" y="14"/>
                </a:lnTo>
                <a:lnTo>
                  <a:pt x="9" y="14"/>
                </a:lnTo>
                <a:lnTo>
                  <a:pt x="10" y="16"/>
                </a:lnTo>
                <a:lnTo>
                  <a:pt x="12" y="17"/>
                </a:lnTo>
                <a:lnTo>
                  <a:pt x="16" y="17"/>
                </a:lnTo>
                <a:lnTo>
                  <a:pt x="16" y="16"/>
                </a:lnTo>
                <a:lnTo>
                  <a:pt x="17" y="16"/>
                </a:lnTo>
                <a:lnTo>
                  <a:pt x="17" y="12"/>
                </a:lnTo>
                <a:lnTo>
                  <a:pt x="16" y="12"/>
                </a:lnTo>
                <a:lnTo>
                  <a:pt x="17" y="12"/>
                </a:lnTo>
                <a:lnTo>
                  <a:pt x="17" y="11"/>
                </a:lnTo>
                <a:lnTo>
                  <a:pt x="19" y="12"/>
                </a:lnTo>
                <a:lnTo>
                  <a:pt x="22" y="14"/>
                </a:lnTo>
                <a:lnTo>
                  <a:pt x="24" y="12"/>
                </a:lnTo>
                <a:lnTo>
                  <a:pt x="26" y="12"/>
                </a:lnTo>
                <a:lnTo>
                  <a:pt x="29" y="12"/>
                </a:lnTo>
                <a:lnTo>
                  <a:pt x="27" y="11"/>
                </a:lnTo>
                <a:lnTo>
                  <a:pt x="29" y="7"/>
                </a:lnTo>
                <a:lnTo>
                  <a:pt x="31" y="7"/>
                </a:lnTo>
                <a:lnTo>
                  <a:pt x="33" y="9"/>
                </a:lnTo>
                <a:lnTo>
                  <a:pt x="34" y="9"/>
                </a:lnTo>
                <a:lnTo>
                  <a:pt x="36" y="9"/>
                </a:lnTo>
                <a:lnTo>
                  <a:pt x="36" y="5"/>
                </a:lnTo>
                <a:lnTo>
                  <a:pt x="38" y="4"/>
                </a:lnTo>
                <a:lnTo>
                  <a:pt x="39" y="2"/>
                </a:lnTo>
                <a:lnTo>
                  <a:pt x="39" y="0"/>
                </a:lnTo>
                <a:lnTo>
                  <a:pt x="41" y="0"/>
                </a:lnTo>
                <a:lnTo>
                  <a:pt x="41" y="4"/>
                </a:lnTo>
                <a:lnTo>
                  <a:pt x="43" y="4"/>
                </a:lnTo>
                <a:lnTo>
                  <a:pt x="44" y="4"/>
                </a:lnTo>
                <a:lnTo>
                  <a:pt x="48" y="2"/>
                </a:lnTo>
                <a:lnTo>
                  <a:pt x="51" y="2"/>
                </a:lnTo>
                <a:lnTo>
                  <a:pt x="51" y="4"/>
                </a:lnTo>
                <a:lnTo>
                  <a:pt x="55" y="4"/>
                </a:lnTo>
                <a:lnTo>
                  <a:pt x="56" y="5"/>
                </a:lnTo>
                <a:lnTo>
                  <a:pt x="56" y="7"/>
                </a:lnTo>
                <a:lnTo>
                  <a:pt x="60" y="7"/>
                </a:lnTo>
                <a:lnTo>
                  <a:pt x="60" y="9"/>
                </a:lnTo>
                <a:lnTo>
                  <a:pt x="61" y="7"/>
                </a:lnTo>
                <a:lnTo>
                  <a:pt x="63" y="7"/>
                </a:lnTo>
                <a:lnTo>
                  <a:pt x="65" y="7"/>
                </a:lnTo>
                <a:lnTo>
                  <a:pt x="67" y="9"/>
                </a:lnTo>
                <a:lnTo>
                  <a:pt x="67" y="12"/>
                </a:lnTo>
                <a:lnTo>
                  <a:pt x="68" y="11"/>
                </a:lnTo>
                <a:lnTo>
                  <a:pt x="70" y="11"/>
                </a:lnTo>
                <a:lnTo>
                  <a:pt x="72" y="11"/>
                </a:lnTo>
                <a:lnTo>
                  <a:pt x="72" y="12"/>
                </a:lnTo>
                <a:lnTo>
                  <a:pt x="73" y="14"/>
                </a:lnTo>
                <a:lnTo>
                  <a:pt x="73" y="12"/>
                </a:lnTo>
                <a:lnTo>
                  <a:pt x="77" y="11"/>
                </a:lnTo>
                <a:lnTo>
                  <a:pt x="78" y="11"/>
                </a:lnTo>
                <a:lnTo>
                  <a:pt x="78" y="9"/>
                </a:lnTo>
                <a:lnTo>
                  <a:pt x="80" y="12"/>
                </a:lnTo>
                <a:lnTo>
                  <a:pt x="80" y="14"/>
                </a:lnTo>
                <a:lnTo>
                  <a:pt x="78" y="16"/>
                </a:lnTo>
                <a:lnTo>
                  <a:pt x="78" y="17"/>
                </a:lnTo>
                <a:lnTo>
                  <a:pt x="80" y="16"/>
                </a:lnTo>
                <a:lnTo>
                  <a:pt x="82" y="14"/>
                </a:lnTo>
                <a:lnTo>
                  <a:pt x="84" y="12"/>
                </a:lnTo>
                <a:lnTo>
                  <a:pt x="85" y="16"/>
                </a:lnTo>
                <a:lnTo>
                  <a:pt x="84" y="17"/>
                </a:lnTo>
                <a:lnTo>
                  <a:pt x="85" y="17"/>
                </a:lnTo>
                <a:lnTo>
                  <a:pt x="87" y="19"/>
                </a:lnTo>
                <a:lnTo>
                  <a:pt x="89" y="19"/>
                </a:lnTo>
                <a:lnTo>
                  <a:pt x="89" y="17"/>
                </a:lnTo>
                <a:lnTo>
                  <a:pt x="87" y="16"/>
                </a:lnTo>
                <a:lnTo>
                  <a:pt x="89" y="14"/>
                </a:lnTo>
                <a:lnTo>
                  <a:pt x="87" y="14"/>
                </a:lnTo>
                <a:lnTo>
                  <a:pt x="89" y="14"/>
                </a:lnTo>
                <a:lnTo>
                  <a:pt x="89" y="11"/>
                </a:lnTo>
                <a:lnTo>
                  <a:pt x="90" y="11"/>
                </a:lnTo>
                <a:lnTo>
                  <a:pt x="94" y="12"/>
                </a:lnTo>
                <a:lnTo>
                  <a:pt x="95" y="12"/>
                </a:lnTo>
                <a:lnTo>
                  <a:pt x="99" y="12"/>
                </a:lnTo>
                <a:lnTo>
                  <a:pt x="101" y="12"/>
                </a:lnTo>
                <a:lnTo>
                  <a:pt x="101" y="11"/>
                </a:lnTo>
                <a:lnTo>
                  <a:pt x="102" y="11"/>
                </a:lnTo>
                <a:lnTo>
                  <a:pt x="104" y="12"/>
                </a:lnTo>
                <a:lnTo>
                  <a:pt x="104" y="16"/>
                </a:lnTo>
                <a:lnTo>
                  <a:pt x="104" y="17"/>
                </a:lnTo>
                <a:lnTo>
                  <a:pt x="107" y="19"/>
                </a:lnTo>
                <a:lnTo>
                  <a:pt x="109" y="21"/>
                </a:lnTo>
                <a:lnTo>
                  <a:pt x="111" y="21"/>
                </a:lnTo>
                <a:lnTo>
                  <a:pt x="114" y="21"/>
                </a:lnTo>
                <a:lnTo>
                  <a:pt x="116" y="21"/>
                </a:lnTo>
                <a:lnTo>
                  <a:pt x="118" y="21"/>
                </a:lnTo>
                <a:lnTo>
                  <a:pt x="118" y="19"/>
                </a:lnTo>
                <a:lnTo>
                  <a:pt x="119" y="17"/>
                </a:lnTo>
                <a:lnTo>
                  <a:pt x="121" y="17"/>
                </a:lnTo>
                <a:lnTo>
                  <a:pt x="123" y="19"/>
                </a:lnTo>
                <a:lnTo>
                  <a:pt x="123" y="21"/>
                </a:lnTo>
                <a:lnTo>
                  <a:pt x="124" y="22"/>
                </a:lnTo>
                <a:lnTo>
                  <a:pt x="128" y="22"/>
                </a:lnTo>
                <a:lnTo>
                  <a:pt x="126" y="22"/>
                </a:lnTo>
                <a:lnTo>
                  <a:pt x="126" y="24"/>
                </a:lnTo>
                <a:lnTo>
                  <a:pt x="124" y="28"/>
                </a:lnTo>
                <a:lnTo>
                  <a:pt x="126" y="29"/>
                </a:lnTo>
                <a:lnTo>
                  <a:pt x="128" y="28"/>
                </a:lnTo>
                <a:lnTo>
                  <a:pt x="128" y="29"/>
                </a:lnTo>
                <a:lnTo>
                  <a:pt x="128" y="31"/>
                </a:lnTo>
                <a:lnTo>
                  <a:pt x="126" y="34"/>
                </a:lnTo>
                <a:lnTo>
                  <a:pt x="129" y="36"/>
                </a:lnTo>
                <a:lnTo>
                  <a:pt x="128" y="39"/>
                </a:lnTo>
                <a:lnTo>
                  <a:pt x="129" y="39"/>
                </a:lnTo>
                <a:lnTo>
                  <a:pt x="129" y="41"/>
                </a:lnTo>
                <a:lnTo>
                  <a:pt x="128" y="43"/>
                </a:lnTo>
                <a:lnTo>
                  <a:pt x="128" y="45"/>
                </a:lnTo>
                <a:lnTo>
                  <a:pt x="126" y="46"/>
                </a:lnTo>
                <a:lnTo>
                  <a:pt x="128" y="48"/>
                </a:lnTo>
                <a:lnTo>
                  <a:pt x="128" y="50"/>
                </a:lnTo>
                <a:lnTo>
                  <a:pt x="129" y="48"/>
                </a:lnTo>
                <a:lnTo>
                  <a:pt x="131" y="51"/>
                </a:lnTo>
                <a:lnTo>
                  <a:pt x="129" y="53"/>
                </a:lnTo>
                <a:lnTo>
                  <a:pt x="131" y="51"/>
                </a:lnTo>
                <a:lnTo>
                  <a:pt x="131" y="55"/>
                </a:lnTo>
                <a:lnTo>
                  <a:pt x="133" y="53"/>
                </a:lnTo>
                <a:lnTo>
                  <a:pt x="133" y="51"/>
                </a:lnTo>
                <a:lnTo>
                  <a:pt x="135" y="55"/>
                </a:lnTo>
                <a:lnTo>
                  <a:pt x="136" y="53"/>
                </a:lnTo>
                <a:lnTo>
                  <a:pt x="138" y="51"/>
                </a:lnTo>
                <a:lnTo>
                  <a:pt x="138" y="53"/>
                </a:lnTo>
                <a:lnTo>
                  <a:pt x="138" y="55"/>
                </a:lnTo>
                <a:lnTo>
                  <a:pt x="140" y="57"/>
                </a:lnTo>
                <a:lnTo>
                  <a:pt x="141" y="55"/>
                </a:lnTo>
                <a:lnTo>
                  <a:pt x="141" y="58"/>
                </a:lnTo>
                <a:lnTo>
                  <a:pt x="143" y="60"/>
                </a:lnTo>
                <a:lnTo>
                  <a:pt x="145" y="60"/>
                </a:lnTo>
                <a:lnTo>
                  <a:pt x="148" y="58"/>
                </a:lnTo>
                <a:lnTo>
                  <a:pt x="148" y="57"/>
                </a:lnTo>
                <a:lnTo>
                  <a:pt x="146" y="55"/>
                </a:lnTo>
                <a:lnTo>
                  <a:pt x="148" y="55"/>
                </a:lnTo>
                <a:lnTo>
                  <a:pt x="150" y="53"/>
                </a:lnTo>
                <a:lnTo>
                  <a:pt x="152" y="55"/>
                </a:lnTo>
                <a:lnTo>
                  <a:pt x="152" y="57"/>
                </a:lnTo>
                <a:lnTo>
                  <a:pt x="152" y="58"/>
                </a:lnTo>
                <a:lnTo>
                  <a:pt x="153" y="58"/>
                </a:lnTo>
                <a:lnTo>
                  <a:pt x="153" y="62"/>
                </a:lnTo>
                <a:lnTo>
                  <a:pt x="152" y="62"/>
                </a:lnTo>
                <a:lnTo>
                  <a:pt x="152" y="63"/>
                </a:lnTo>
                <a:lnTo>
                  <a:pt x="153" y="65"/>
                </a:lnTo>
                <a:lnTo>
                  <a:pt x="153" y="67"/>
                </a:lnTo>
                <a:lnTo>
                  <a:pt x="155" y="68"/>
                </a:lnTo>
                <a:lnTo>
                  <a:pt x="153" y="70"/>
                </a:lnTo>
                <a:lnTo>
                  <a:pt x="152" y="70"/>
                </a:lnTo>
                <a:lnTo>
                  <a:pt x="152" y="72"/>
                </a:lnTo>
                <a:lnTo>
                  <a:pt x="153" y="74"/>
                </a:lnTo>
                <a:lnTo>
                  <a:pt x="155" y="74"/>
                </a:lnTo>
                <a:lnTo>
                  <a:pt x="155" y="72"/>
                </a:lnTo>
                <a:lnTo>
                  <a:pt x="157" y="72"/>
                </a:lnTo>
                <a:lnTo>
                  <a:pt x="158" y="72"/>
                </a:lnTo>
                <a:lnTo>
                  <a:pt x="158" y="75"/>
                </a:lnTo>
                <a:lnTo>
                  <a:pt x="158" y="79"/>
                </a:lnTo>
                <a:lnTo>
                  <a:pt x="158" y="80"/>
                </a:lnTo>
                <a:lnTo>
                  <a:pt x="157" y="82"/>
                </a:lnTo>
                <a:lnTo>
                  <a:pt x="158" y="82"/>
                </a:lnTo>
                <a:lnTo>
                  <a:pt x="160" y="82"/>
                </a:lnTo>
                <a:lnTo>
                  <a:pt x="162" y="80"/>
                </a:lnTo>
                <a:lnTo>
                  <a:pt x="162" y="82"/>
                </a:lnTo>
                <a:lnTo>
                  <a:pt x="165" y="82"/>
                </a:lnTo>
                <a:lnTo>
                  <a:pt x="167" y="82"/>
                </a:lnTo>
                <a:lnTo>
                  <a:pt x="167" y="84"/>
                </a:lnTo>
                <a:lnTo>
                  <a:pt x="169" y="85"/>
                </a:lnTo>
                <a:lnTo>
                  <a:pt x="170" y="84"/>
                </a:lnTo>
                <a:lnTo>
                  <a:pt x="172" y="84"/>
                </a:lnTo>
                <a:lnTo>
                  <a:pt x="174" y="82"/>
                </a:lnTo>
                <a:lnTo>
                  <a:pt x="174" y="85"/>
                </a:lnTo>
                <a:lnTo>
                  <a:pt x="175" y="85"/>
                </a:lnTo>
                <a:lnTo>
                  <a:pt x="177" y="84"/>
                </a:lnTo>
                <a:lnTo>
                  <a:pt x="179" y="85"/>
                </a:lnTo>
                <a:lnTo>
                  <a:pt x="177" y="87"/>
                </a:lnTo>
                <a:lnTo>
                  <a:pt x="179" y="89"/>
                </a:lnTo>
                <a:lnTo>
                  <a:pt x="180" y="89"/>
                </a:lnTo>
                <a:lnTo>
                  <a:pt x="180" y="92"/>
                </a:lnTo>
                <a:lnTo>
                  <a:pt x="182" y="94"/>
                </a:lnTo>
                <a:lnTo>
                  <a:pt x="180" y="97"/>
                </a:lnTo>
                <a:lnTo>
                  <a:pt x="182" y="99"/>
                </a:lnTo>
                <a:lnTo>
                  <a:pt x="184" y="101"/>
                </a:lnTo>
                <a:lnTo>
                  <a:pt x="182" y="102"/>
                </a:lnTo>
                <a:lnTo>
                  <a:pt x="182" y="104"/>
                </a:lnTo>
                <a:lnTo>
                  <a:pt x="180" y="104"/>
                </a:lnTo>
                <a:lnTo>
                  <a:pt x="180" y="106"/>
                </a:lnTo>
                <a:lnTo>
                  <a:pt x="182" y="108"/>
                </a:lnTo>
                <a:lnTo>
                  <a:pt x="184" y="108"/>
                </a:lnTo>
                <a:lnTo>
                  <a:pt x="184" y="106"/>
                </a:lnTo>
                <a:lnTo>
                  <a:pt x="186" y="108"/>
                </a:lnTo>
                <a:lnTo>
                  <a:pt x="186" y="106"/>
                </a:lnTo>
                <a:lnTo>
                  <a:pt x="187" y="109"/>
                </a:lnTo>
                <a:lnTo>
                  <a:pt x="189" y="109"/>
                </a:lnTo>
                <a:lnTo>
                  <a:pt x="187" y="109"/>
                </a:lnTo>
                <a:lnTo>
                  <a:pt x="189" y="109"/>
                </a:lnTo>
                <a:lnTo>
                  <a:pt x="189" y="111"/>
                </a:lnTo>
                <a:lnTo>
                  <a:pt x="191" y="109"/>
                </a:lnTo>
                <a:lnTo>
                  <a:pt x="191" y="111"/>
                </a:lnTo>
                <a:lnTo>
                  <a:pt x="192" y="111"/>
                </a:lnTo>
                <a:lnTo>
                  <a:pt x="192" y="109"/>
                </a:lnTo>
                <a:lnTo>
                  <a:pt x="194" y="111"/>
                </a:lnTo>
                <a:lnTo>
                  <a:pt x="196" y="109"/>
                </a:lnTo>
                <a:lnTo>
                  <a:pt x="196" y="111"/>
                </a:lnTo>
                <a:lnTo>
                  <a:pt x="194" y="113"/>
                </a:lnTo>
                <a:lnTo>
                  <a:pt x="192" y="113"/>
                </a:lnTo>
                <a:lnTo>
                  <a:pt x="191" y="114"/>
                </a:lnTo>
                <a:lnTo>
                  <a:pt x="189" y="114"/>
                </a:lnTo>
                <a:lnTo>
                  <a:pt x="186" y="114"/>
                </a:lnTo>
                <a:lnTo>
                  <a:pt x="184" y="116"/>
                </a:lnTo>
                <a:lnTo>
                  <a:pt x="184" y="118"/>
                </a:lnTo>
                <a:lnTo>
                  <a:pt x="182" y="118"/>
                </a:lnTo>
                <a:lnTo>
                  <a:pt x="180" y="118"/>
                </a:lnTo>
                <a:lnTo>
                  <a:pt x="180" y="116"/>
                </a:lnTo>
                <a:lnTo>
                  <a:pt x="179" y="114"/>
                </a:lnTo>
                <a:lnTo>
                  <a:pt x="177" y="113"/>
                </a:lnTo>
                <a:lnTo>
                  <a:pt x="175" y="113"/>
                </a:lnTo>
                <a:lnTo>
                  <a:pt x="174" y="113"/>
                </a:lnTo>
                <a:lnTo>
                  <a:pt x="175" y="114"/>
                </a:lnTo>
                <a:lnTo>
                  <a:pt x="174" y="116"/>
                </a:lnTo>
                <a:lnTo>
                  <a:pt x="172" y="114"/>
                </a:lnTo>
                <a:lnTo>
                  <a:pt x="172" y="116"/>
                </a:lnTo>
                <a:lnTo>
                  <a:pt x="174" y="119"/>
                </a:lnTo>
                <a:lnTo>
                  <a:pt x="172" y="121"/>
                </a:lnTo>
                <a:lnTo>
                  <a:pt x="170" y="121"/>
                </a:lnTo>
                <a:lnTo>
                  <a:pt x="169" y="119"/>
                </a:lnTo>
                <a:lnTo>
                  <a:pt x="167" y="118"/>
                </a:lnTo>
                <a:lnTo>
                  <a:pt x="165" y="118"/>
                </a:lnTo>
                <a:lnTo>
                  <a:pt x="163" y="118"/>
                </a:lnTo>
                <a:lnTo>
                  <a:pt x="163" y="116"/>
                </a:lnTo>
                <a:lnTo>
                  <a:pt x="162" y="114"/>
                </a:lnTo>
                <a:lnTo>
                  <a:pt x="160" y="114"/>
                </a:lnTo>
                <a:lnTo>
                  <a:pt x="160" y="116"/>
                </a:lnTo>
                <a:lnTo>
                  <a:pt x="158" y="118"/>
                </a:lnTo>
                <a:lnTo>
                  <a:pt x="160" y="119"/>
                </a:lnTo>
                <a:lnTo>
                  <a:pt x="158" y="118"/>
                </a:lnTo>
                <a:lnTo>
                  <a:pt x="158" y="116"/>
                </a:lnTo>
                <a:lnTo>
                  <a:pt x="157" y="114"/>
                </a:lnTo>
                <a:lnTo>
                  <a:pt x="157" y="118"/>
                </a:lnTo>
                <a:lnTo>
                  <a:pt x="155" y="118"/>
                </a:lnTo>
                <a:lnTo>
                  <a:pt x="155" y="119"/>
                </a:lnTo>
                <a:lnTo>
                  <a:pt x="157" y="121"/>
                </a:lnTo>
                <a:lnTo>
                  <a:pt x="153" y="123"/>
                </a:lnTo>
                <a:lnTo>
                  <a:pt x="153" y="125"/>
                </a:lnTo>
                <a:lnTo>
                  <a:pt x="152" y="125"/>
                </a:lnTo>
                <a:lnTo>
                  <a:pt x="153" y="121"/>
                </a:lnTo>
                <a:lnTo>
                  <a:pt x="152" y="121"/>
                </a:lnTo>
                <a:lnTo>
                  <a:pt x="152" y="119"/>
                </a:lnTo>
                <a:lnTo>
                  <a:pt x="152" y="118"/>
                </a:lnTo>
                <a:lnTo>
                  <a:pt x="152" y="116"/>
                </a:lnTo>
                <a:lnTo>
                  <a:pt x="150" y="114"/>
                </a:lnTo>
                <a:lnTo>
                  <a:pt x="150" y="113"/>
                </a:lnTo>
                <a:lnTo>
                  <a:pt x="148" y="114"/>
                </a:lnTo>
                <a:lnTo>
                  <a:pt x="146" y="114"/>
                </a:lnTo>
                <a:lnTo>
                  <a:pt x="148" y="116"/>
                </a:lnTo>
                <a:lnTo>
                  <a:pt x="146" y="116"/>
                </a:lnTo>
                <a:lnTo>
                  <a:pt x="145" y="118"/>
                </a:lnTo>
                <a:lnTo>
                  <a:pt x="143" y="118"/>
                </a:lnTo>
                <a:lnTo>
                  <a:pt x="141" y="119"/>
                </a:lnTo>
                <a:lnTo>
                  <a:pt x="140" y="121"/>
                </a:lnTo>
                <a:lnTo>
                  <a:pt x="141" y="121"/>
                </a:lnTo>
                <a:lnTo>
                  <a:pt x="140" y="123"/>
                </a:lnTo>
                <a:lnTo>
                  <a:pt x="138" y="123"/>
                </a:lnTo>
                <a:lnTo>
                  <a:pt x="138" y="125"/>
                </a:lnTo>
                <a:lnTo>
                  <a:pt x="140" y="126"/>
                </a:lnTo>
                <a:lnTo>
                  <a:pt x="141" y="128"/>
                </a:lnTo>
                <a:lnTo>
                  <a:pt x="143" y="131"/>
                </a:lnTo>
                <a:lnTo>
                  <a:pt x="143" y="133"/>
                </a:lnTo>
                <a:lnTo>
                  <a:pt x="141" y="135"/>
                </a:lnTo>
                <a:lnTo>
                  <a:pt x="141" y="136"/>
                </a:lnTo>
                <a:lnTo>
                  <a:pt x="145" y="138"/>
                </a:lnTo>
                <a:lnTo>
                  <a:pt x="148" y="138"/>
                </a:lnTo>
                <a:lnTo>
                  <a:pt x="148" y="140"/>
                </a:lnTo>
                <a:lnTo>
                  <a:pt x="148" y="142"/>
                </a:lnTo>
                <a:lnTo>
                  <a:pt x="146" y="145"/>
                </a:lnTo>
                <a:lnTo>
                  <a:pt x="145" y="148"/>
                </a:lnTo>
                <a:lnTo>
                  <a:pt x="146" y="148"/>
                </a:lnTo>
                <a:lnTo>
                  <a:pt x="148" y="150"/>
                </a:lnTo>
                <a:lnTo>
                  <a:pt x="148" y="153"/>
                </a:lnTo>
                <a:lnTo>
                  <a:pt x="146" y="153"/>
                </a:lnTo>
                <a:lnTo>
                  <a:pt x="146" y="155"/>
                </a:lnTo>
                <a:lnTo>
                  <a:pt x="145" y="155"/>
                </a:lnTo>
                <a:lnTo>
                  <a:pt x="141" y="157"/>
                </a:lnTo>
                <a:lnTo>
                  <a:pt x="140" y="157"/>
                </a:lnTo>
                <a:lnTo>
                  <a:pt x="140" y="159"/>
                </a:lnTo>
                <a:lnTo>
                  <a:pt x="138" y="159"/>
                </a:lnTo>
                <a:lnTo>
                  <a:pt x="138" y="162"/>
                </a:lnTo>
                <a:lnTo>
                  <a:pt x="140" y="164"/>
                </a:lnTo>
                <a:lnTo>
                  <a:pt x="141" y="167"/>
                </a:lnTo>
                <a:lnTo>
                  <a:pt x="138" y="169"/>
                </a:lnTo>
                <a:lnTo>
                  <a:pt x="138" y="170"/>
                </a:lnTo>
                <a:lnTo>
                  <a:pt x="140" y="172"/>
                </a:lnTo>
                <a:lnTo>
                  <a:pt x="138" y="172"/>
                </a:lnTo>
                <a:lnTo>
                  <a:pt x="136" y="174"/>
                </a:lnTo>
                <a:lnTo>
                  <a:pt x="135" y="174"/>
                </a:lnTo>
                <a:lnTo>
                  <a:pt x="133" y="174"/>
                </a:lnTo>
                <a:lnTo>
                  <a:pt x="135" y="177"/>
                </a:lnTo>
                <a:lnTo>
                  <a:pt x="133" y="177"/>
                </a:lnTo>
                <a:lnTo>
                  <a:pt x="131" y="177"/>
                </a:lnTo>
                <a:lnTo>
                  <a:pt x="131" y="181"/>
                </a:lnTo>
                <a:lnTo>
                  <a:pt x="129" y="182"/>
                </a:lnTo>
                <a:lnTo>
                  <a:pt x="131" y="182"/>
                </a:lnTo>
                <a:lnTo>
                  <a:pt x="133" y="182"/>
                </a:lnTo>
                <a:lnTo>
                  <a:pt x="133" y="184"/>
                </a:lnTo>
                <a:lnTo>
                  <a:pt x="135" y="187"/>
                </a:lnTo>
                <a:lnTo>
                  <a:pt x="133" y="189"/>
                </a:lnTo>
                <a:lnTo>
                  <a:pt x="135" y="191"/>
                </a:lnTo>
                <a:lnTo>
                  <a:pt x="135" y="194"/>
                </a:lnTo>
                <a:lnTo>
                  <a:pt x="131" y="196"/>
                </a:lnTo>
                <a:lnTo>
                  <a:pt x="129" y="196"/>
                </a:lnTo>
                <a:lnTo>
                  <a:pt x="129" y="194"/>
                </a:lnTo>
                <a:lnTo>
                  <a:pt x="126" y="193"/>
                </a:lnTo>
                <a:lnTo>
                  <a:pt x="124" y="193"/>
                </a:lnTo>
                <a:lnTo>
                  <a:pt x="123" y="194"/>
                </a:lnTo>
                <a:lnTo>
                  <a:pt x="123" y="196"/>
                </a:lnTo>
                <a:lnTo>
                  <a:pt x="121" y="198"/>
                </a:lnTo>
                <a:lnTo>
                  <a:pt x="121" y="199"/>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79" name="Freeform 61">
            <a:extLst>
              <a:ext uri="{FF2B5EF4-FFF2-40B4-BE49-F238E27FC236}">
                <a16:creationId xmlns:a16="http://schemas.microsoft.com/office/drawing/2014/main" id="{BB5CCB24-92D9-4C80-B99A-2F02D9EE5AE2}"/>
              </a:ext>
            </a:extLst>
          </p:cNvPr>
          <p:cNvSpPr>
            <a:spLocks/>
          </p:cNvSpPr>
          <p:nvPr/>
        </p:nvSpPr>
        <p:spPr bwMode="gray">
          <a:xfrm>
            <a:off x="4515171" y="1901993"/>
            <a:ext cx="1038215" cy="1030310"/>
          </a:xfrm>
          <a:custGeom>
            <a:avLst/>
            <a:gdLst>
              <a:gd name="T0" fmla="*/ 345 w 381"/>
              <a:gd name="T1" fmla="*/ 243 h 361"/>
              <a:gd name="T2" fmla="*/ 334 w 381"/>
              <a:gd name="T3" fmla="*/ 253 h 361"/>
              <a:gd name="T4" fmla="*/ 328 w 381"/>
              <a:gd name="T5" fmla="*/ 274 h 361"/>
              <a:gd name="T6" fmla="*/ 334 w 381"/>
              <a:gd name="T7" fmla="*/ 294 h 361"/>
              <a:gd name="T8" fmla="*/ 323 w 381"/>
              <a:gd name="T9" fmla="*/ 301 h 361"/>
              <a:gd name="T10" fmla="*/ 301 w 381"/>
              <a:gd name="T11" fmla="*/ 301 h 361"/>
              <a:gd name="T12" fmla="*/ 288 w 381"/>
              <a:gd name="T13" fmla="*/ 310 h 361"/>
              <a:gd name="T14" fmla="*/ 267 w 381"/>
              <a:gd name="T15" fmla="*/ 296 h 361"/>
              <a:gd name="T16" fmla="*/ 252 w 381"/>
              <a:gd name="T17" fmla="*/ 315 h 361"/>
              <a:gd name="T18" fmla="*/ 230 w 381"/>
              <a:gd name="T19" fmla="*/ 306 h 361"/>
              <a:gd name="T20" fmla="*/ 213 w 381"/>
              <a:gd name="T21" fmla="*/ 320 h 361"/>
              <a:gd name="T22" fmla="*/ 199 w 381"/>
              <a:gd name="T23" fmla="*/ 318 h 361"/>
              <a:gd name="T24" fmla="*/ 174 w 381"/>
              <a:gd name="T25" fmla="*/ 315 h 361"/>
              <a:gd name="T26" fmla="*/ 143 w 381"/>
              <a:gd name="T27" fmla="*/ 311 h 361"/>
              <a:gd name="T28" fmla="*/ 118 w 381"/>
              <a:gd name="T29" fmla="*/ 315 h 361"/>
              <a:gd name="T30" fmla="*/ 85 w 381"/>
              <a:gd name="T31" fmla="*/ 322 h 361"/>
              <a:gd name="T32" fmla="*/ 62 w 381"/>
              <a:gd name="T33" fmla="*/ 335 h 361"/>
              <a:gd name="T34" fmla="*/ 43 w 381"/>
              <a:gd name="T35" fmla="*/ 350 h 361"/>
              <a:gd name="T36" fmla="*/ 33 w 381"/>
              <a:gd name="T37" fmla="*/ 354 h 361"/>
              <a:gd name="T38" fmla="*/ 33 w 381"/>
              <a:gd name="T39" fmla="*/ 328 h 361"/>
              <a:gd name="T40" fmla="*/ 14 w 381"/>
              <a:gd name="T41" fmla="*/ 313 h 361"/>
              <a:gd name="T42" fmla="*/ 16 w 381"/>
              <a:gd name="T43" fmla="*/ 291 h 361"/>
              <a:gd name="T44" fmla="*/ 33 w 381"/>
              <a:gd name="T45" fmla="*/ 271 h 361"/>
              <a:gd name="T46" fmla="*/ 24 w 381"/>
              <a:gd name="T47" fmla="*/ 243 h 361"/>
              <a:gd name="T48" fmla="*/ 7 w 381"/>
              <a:gd name="T49" fmla="*/ 213 h 361"/>
              <a:gd name="T50" fmla="*/ 9 w 381"/>
              <a:gd name="T51" fmla="*/ 192 h 361"/>
              <a:gd name="T52" fmla="*/ 28 w 381"/>
              <a:gd name="T53" fmla="*/ 189 h 361"/>
              <a:gd name="T54" fmla="*/ 48 w 381"/>
              <a:gd name="T55" fmla="*/ 182 h 361"/>
              <a:gd name="T56" fmla="*/ 56 w 381"/>
              <a:gd name="T57" fmla="*/ 168 h 361"/>
              <a:gd name="T58" fmla="*/ 77 w 381"/>
              <a:gd name="T59" fmla="*/ 155 h 361"/>
              <a:gd name="T60" fmla="*/ 85 w 381"/>
              <a:gd name="T61" fmla="*/ 157 h 361"/>
              <a:gd name="T62" fmla="*/ 79 w 381"/>
              <a:gd name="T63" fmla="*/ 141 h 361"/>
              <a:gd name="T64" fmla="*/ 80 w 381"/>
              <a:gd name="T65" fmla="*/ 109 h 361"/>
              <a:gd name="T66" fmla="*/ 94 w 381"/>
              <a:gd name="T67" fmla="*/ 90 h 361"/>
              <a:gd name="T68" fmla="*/ 113 w 381"/>
              <a:gd name="T69" fmla="*/ 75 h 361"/>
              <a:gd name="T70" fmla="*/ 97 w 381"/>
              <a:gd name="T71" fmla="*/ 61 h 361"/>
              <a:gd name="T72" fmla="*/ 109 w 381"/>
              <a:gd name="T73" fmla="*/ 36 h 361"/>
              <a:gd name="T74" fmla="*/ 133 w 381"/>
              <a:gd name="T75" fmla="*/ 31 h 361"/>
              <a:gd name="T76" fmla="*/ 145 w 381"/>
              <a:gd name="T77" fmla="*/ 3 h 361"/>
              <a:gd name="T78" fmla="*/ 164 w 381"/>
              <a:gd name="T79" fmla="*/ 2 h 361"/>
              <a:gd name="T80" fmla="*/ 191 w 381"/>
              <a:gd name="T81" fmla="*/ 3 h 361"/>
              <a:gd name="T82" fmla="*/ 206 w 381"/>
              <a:gd name="T83" fmla="*/ 19 h 361"/>
              <a:gd name="T84" fmla="*/ 223 w 381"/>
              <a:gd name="T85" fmla="*/ 3 h 361"/>
              <a:gd name="T86" fmla="*/ 245 w 381"/>
              <a:gd name="T87" fmla="*/ 5 h 361"/>
              <a:gd name="T88" fmla="*/ 262 w 381"/>
              <a:gd name="T89" fmla="*/ 9 h 361"/>
              <a:gd name="T90" fmla="*/ 269 w 381"/>
              <a:gd name="T91" fmla="*/ 34 h 361"/>
              <a:gd name="T92" fmla="*/ 276 w 381"/>
              <a:gd name="T93" fmla="*/ 53 h 361"/>
              <a:gd name="T94" fmla="*/ 284 w 381"/>
              <a:gd name="T95" fmla="*/ 71 h 361"/>
              <a:gd name="T96" fmla="*/ 298 w 381"/>
              <a:gd name="T97" fmla="*/ 85 h 361"/>
              <a:gd name="T98" fmla="*/ 313 w 381"/>
              <a:gd name="T99" fmla="*/ 99 h 361"/>
              <a:gd name="T100" fmla="*/ 334 w 381"/>
              <a:gd name="T101" fmla="*/ 109 h 361"/>
              <a:gd name="T102" fmla="*/ 345 w 381"/>
              <a:gd name="T103" fmla="*/ 117 h 361"/>
              <a:gd name="T104" fmla="*/ 361 w 381"/>
              <a:gd name="T105" fmla="*/ 124 h 361"/>
              <a:gd name="T106" fmla="*/ 376 w 381"/>
              <a:gd name="T107" fmla="*/ 133 h 361"/>
              <a:gd name="T108" fmla="*/ 371 w 381"/>
              <a:gd name="T109" fmla="*/ 145 h 361"/>
              <a:gd name="T110" fmla="*/ 354 w 381"/>
              <a:gd name="T111" fmla="*/ 167 h 361"/>
              <a:gd name="T112" fmla="*/ 332 w 381"/>
              <a:gd name="T113" fmla="*/ 165 h 361"/>
              <a:gd name="T114" fmla="*/ 335 w 381"/>
              <a:gd name="T115" fmla="*/ 184 h 361"/>
              <a:gd name="T116" fmla="*/ 351 w 381"/>
              <a:gd name="T117" fmla="*/ 204 h 361"/>
              <a:gd name="T118" fmla="*/ 356 w 381"/>
              <a:gd name="T119" fmla="*/ 22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1" h="361">
                <a:moveTo>
                  <a:pt x="368" y="233"/>
                </a:moveTo>
                <a:lnTo>
                  <a:pt x="366" y="235"/>
                </a:lnTo>
                <a:lnTo>
                  <a:pt x="362" y="235"/>
                </a:lnTo>
                <a:lnTo>
                  <a:pt x="361" y="236"/>
                </a:lnTo>
                <a:lnTo>
                  <a:pt x="359" y="236"/>
                </a:lnTo>
                <a:lnTo>
                  <a:pt x="357" y="236"/>
                </a:lnTo>
                <a:lnTo>
                  <a:pt x="356" y="236"/>
                </a:lnTo>
                <a:lnTo>
                  <a:pt x="354" y="236"/>
                </a:lnTo>
                <a:lnTo>
                  <a:pt x="352" y="236"/>
                </a:lnTo>
                <a:lnTo>
                  <a:pt x="351" y="238"/>
                </a:lnTo>
                <a:lnTo>
                  <a:pt x="352" y="238"/>
                </a:lnTo>
                <a:lnTo>
                  <a:pt x="349" y="240"/>
                </a:lnTo>
                <a:lnTo>
                  <a:pt x="351" y="242"/>
                </a:lnTo>
                <a:lnTo>
                  <a:pt x="349" y="243"/>
                </a:lnTo>
                <a:lnTo>
                  <a:pt x="347" y="245"/>
                </a:lnTo>
                <a:lnTo>
                  <a:pt x="345" y="243"/>
                </a:lnTo>
                <a:lnTo>
                  <a:pt x="344" y="243"/>
                </a:lnTo>
                <a:lnTo>
                  <a:pt x="342" y="242"/>
                </a:lnTo>
                <a:lnTo>
                  <a:pt x="340" y="243"/>
                </a:lnTo>
                <a:lnTo>
                  <a:pt x="339" y="243"/>
                </a:lnTo>
                <a:lnTo>
                  <a:pt x="339" y="245"/>
                </a:lnTo>
                <a:lnTo>
                  <a:pt x="337" y="247"/>
                </a:lnTo>
                <a:lnTo>
                  <a:pt x="334" y="245"/>
                </a:lnTo>
                <a:lnTo>
                  <a:pt x="334" y="247"/>
                </a:lnTo>
                <a:lnTo>
                  <a:pt x="335" y="248"/>
                </a:lnTo>
                <a:lnTo>
                  <a:pt x="334" y="248"/>
                </a:lnTo>
                <a:lnTo>
                  <a:pt x="335" y="250"/>
                </a:lnTo>
                <a:lnTo>
                  <a:pt x="334" y="250"/>
                </a:lnTo>
                <a:lnTo>
                  <a:pt x="335" y="252"/>
                </a:lnTo>
                <a:lnTo>
                  <a:pt x="334" y="252"/>
                </a:lnTo>
                <a:lnTo>
                  <a:pt x="335" y="253"/>
                </a:lnTo>
                <a:lnTo>
                  <a:pt x="334" y="253"/>
                </a:lnTo>
                <a:lnTo>
                  <a:pt x="334" y="255"/>
                </a:lnTo>
                <a:lnTo>
                  <a:pt x="332" y="255"/>
                </a:lnTo>
                <a:lnTo>
                  <a:pt x="334" y="257"/>
                </a:lnTo>
                <a:lnTo>
                  <a:pt x="332" y="257"/>
                </a:lnTo>
                <a:lnTo>
                  <a:pt x="332" y="259"/>
                </a:lnTo>
                <a:lnTo>
                  <a:pt x="332" y="260"/>
                </a:lnTo>
                <a:lnTo>
                  <a:pt x="330" y="260"/>
                </a:lnTo>
                <a:lnTo>
                  <a:pt x="330" y="262"/>
                </a:lnTo>
                <a:lnTo>
                  <a:pt x="328" y="264"/>
                </a:lnTo>
                <a:lnTo>
                  <a:pt x="328" y="265"/>
                </a:lnTo>
                <a:lnTo>
                  <a:pt x="327" y="267"/>
                </a:lnTo>
                <a:lnTo>
                  <a:pt x="328" y="269"/>
                </a:lnTo>
                <a:lnTo>
                  <a:pt x="328" y="271"/>
                </a:lnTo>
                <a:lnTo>
                  <a:pt x="327" y="271"/>
                </a:lnTo>
                <a:lnTo>
                  <a:pt x="328" y="272"/>
                </a:lnTo>
                <a:lnTo>
                  <a:pt x="328" y="274"/>
                </a:lnTo>
                <a:lnTo>
                  <a:pt x="327" y="276"/>
                </a:lnTo>
                <a:lnTo>
                  <a:pt x="327" y="279"/>
                </a:lnTo>
                <a:lnTo>
                  <a:pt x="325" y="279"/>
                </a:lnTo>
                <a:lnTo>
                  <a:pt x="325" y="282"/>
                </a:lnTo>
                <a:lnTo>
                  <a:pt x="328" y="282"/>
                </a:lnTo>
                <a:lnTo>
                  <a:pt x="325" y="284"/>
                </a:lnTo>
                <a:lnTo>
                  <a:pt x="328" y="284"/>
                </a:lnTo>
                <a:lnTo>
                  <a:pt x="327" y="286"/>
                </a:lnTo>
                <a:lnTo>
                  <a:pt x="328" y="288"/>
                </a:lnTo>
                <a:lnTo>
                  <a:pt x="330" y="286"/>
                </a:lnTo>
                <a:lnTo>
                  <a:pt x="330" y="289"/>
                </a:lnTo>
                <a:lnTo>
                  <a:pt x="332" y="291"/>
                </a:lnTo>
                <a:lnTo>
                  <a:pt x="334" y="291"/>
                </a:lnTo>
                <a:lnTo>
                  <a:pt x="332" y="293"/>
                </a:lnTo>
                <a:lnTo>
                  <a:pt x="332" y="294"/>
                </a:lnTo>
                <a:lnTo>
                  <a:pt x="334" y="294"/>
                </a:lnTo>
                <a:lnTo>
                  <a:pt x="337" y="296"/>
                </a:lnTo>
                <a:lnTo>
                  <a:pt x="335" y="298"/>
                </a:lnTo>
                <a:lnTo>
                  <a:pt x="337" y="299"/>
                </a:lnTo>
                <a:lnTo>
                  <a:pt x="335" y="303"/>
                </a:lnTo>
                <a:lnTo>
                  <a:pt x="337" y="303"/>
                </a:lnTo>
                <a:lnTo>
                  <a:pt x="337" y="305"/>
                </a:lnTo>
                <a:lnTo>
                  <a:pt x="335" y="305"/>
                </a:lnTo>
                <a:lnTo>
                  <a:pt x="334" y="306"/>
                </a:lnTo>
                <a:lnTo>
                  <a:pt x="332" y="306"/>
                </a:lnTo>
                <a:lnTo>
                  <a:pt x="334" y="308"/>
                </a:lnTo>
                <a:lnTo>
                  <a:pt x="332" y="308"/>
                </a:lnTo>
                <a:lnTo>
                  <a:pt x="330" y="306"/>
                </a:lnTo>
                <a:lnTo>
                  <a:pt x="330" y="305"/>
                </a:lnTo>
                <a:lnTo>
                  <a:pt x="327" y="305"/>
                </a:lnTo>
                <a:lnTo>
                  <a:pt x="323" y="303"/>
                </a:lnTo>
                <a:lnTo>
                  <a:pt x="323" y="301"/>
                </a:lnTo>
                <a:lnTo>
                  <a:pt x="322" y="298"/>
                </a:lnTo>
                <a:lnTo>
                  <a:pt x="320" y="296"/>
                </a:lnTo>
                <a:lnTo>
                  <a:pt x="317" y="294"/>
                </a:lnTo>
                <a:lnTo>
                  <a:pt x="315" y="294"/>
                </a:lnTo>
                <a:lnTo>
                  <a:pt x="313" y="294"/>
                </a:lnTo>
                <a:lnTo>
                  <a:pt x="313" y="296"/>
                </a:lnTo>
                <a:lnTo>
                  <a:pt x="311" y="294"/>
                </a:lnTo>
                <a:lnTo>
                  <a:pt x="311" y="296"/>
                </a:lnTo>
                <a:lnTo>
                  <a:pt x="310" y="296"/>
                </a:lnTo>
                <a:lnTo>
                  <a:pt x="306" y="296"/>
                </a:lnTo>
                <a:lnTo>
                  <a:pt x="306" y="298"/>
                </a:lnTo>
                <a:lnTo>
                  <a:pt x="305" y="299"/>
                </a:lnTo>
                <a:lnTo>
                  <a:pt x="303" y="298"/>
                </a:lnTo>
                <a:lnTo>
                  <a:pt x="301" y="299"/>
                </a:lnTo>
                <a:lnTo>
                  <a:pt x="303" y="301"/>
                </a:lnTo>
                <a:lnTo>
                  <a:pt x="301" y="301"/>
                </a:lnTo>
                <a:lnTo>
                  <a:pt x="300" y="303"/>
                </a:lnTo>
                <a:lnTo>
                  <a:pt x="300" y="301"/>
                </a:lnTo>
                <a:lnTo>
                  <a:pt x="298" y="303"/>
                </a:lnTo>
                <a:lnTo>
                  <a:pt x="300" y="303"/>
                </a:lnTo>
                <a:lnTo>
                  <a:pt x="296" y="303"/>
                </a:lnTo>
                <a:lnTo>
                  <a:pt x="294" y="301"/>
                </a:lnTo>
                <a:lnTo>
                  <a:pt x="296" y="299"/>
                </a:lnTo>
                <a:lnTo>
                  <a:pt x="294" y="298"/>
                </a:lnTo>
                <a:lnTo>
                  <a:pt x="293" y="301"/>
                </a:lnTo>
                <a:lnTo>
                  <a:pt x="289" y="301"/>
                </a:lnTo>
                <a:lnTo>
                  <a:pt x="291" y="303"/>
                </a:lnTo>
                <a:lnTo>
                  <a:pt x="289" y="305"/>
                </a:lnTo>
                <a:lnTo>
                  <a:pt x="288" y="303"/>
                </a:lnTo>
                <a:lnTo>
                  <a:pt x="288" y="306"/>
                </a:lnTo>
                <a:lnTo>
                  <a:pt x="288" y="308"/>
                </a:lnTo>
                <a:lnTo>
                  <a:pt x="288" y="310"/>
                </a:lnTo>
                <a:lnTo>
                  <a:pt x="284" y="310"/>
                </a:lnTo>
                <a:lnTo>
                  <a:pt x="283" y="311"/>
                </a:lnTo>
                <a:lnTo>
                  <a:pt x="281" y="313"/>
                </a:lnTo>
                <a:lnTo>
                  <a:pt x="281" y="311"/>
                </a:lnTo>
                <a:lnTo>
                  <a:pt x="279" y="310"/>
                </a:lnTo>
                <a:lnTo>
                  <a:pt x="277" y="308"/>
                </a:lnTo>
                <a:lnTo>
                  <a:pt x="276" y="308"/>
                </a:lnTo>
                <a:lnTo>
                  <a:pt x="274" y="306"/>
                </a:lnTo>
                <a:lnTo>
                  <a:pt x="274" y="303"/>
                </a:lnTo>
                <a:lnTo>
                  <a:pt x="274" y="301"/>
                </a:lnTo>
                <a:lnTo>
                  <a:pt x="272" y="301"/>
                </a:lnTo>
                <a:lnTo>
                  <a:pt x="271" y="299"/>
                </a:lnTo>
                <a:lnTo>
                  <a:pt x="271" y="298"/>
                </a:lnTo>
                <a:lnTo>
                  <a:pt x="269" y="298"/>
                </a:lnTo>
                <a:lnTo>
                  <a:pt x="269" y="296"/>
                </a:lnTo>
                <a:lnTo>
                  <a:pt x="267" y="296"/>
                </a:lnTo>
                <a:lnTo>
                  <a:pt x="266" y="299"/>
                </a:lnTo>
                <a:lnTo>
                  <a:pt x="264" y="301"/>
                </a:lnTo>
                <a:lnTo>
                  <a:pt x="264" y="303"/>
                </a:lnTo>
                <a:lnTo>
                  <a:pt x="262" y="303"/>
                </a:lnTo>
                <a:lnTo>
                  <a:pt x="259" y="303"/>
                </a:lnTo>
                <a:lnTo>
                  <a:pt x="259" y="305"/>
                </a:lnTo>
                <a:lnTo>
                  <a:pt x="257" y="306"/>
                </a:lnTo>
                <a:lnTo>
                  <a:pt x="255" y="306"/>
                </a:lnTo>
                <a:lnTo>
                  <a:pt x="255" y="308"/>
                </a:lnTo>
                <a:lnTo>
                  <a:pt x="255" y="310"/>
                </a:lnTo>
                <a:lnTo>
                  <a:pt x="255" y="311"/>
                </a:lnTo>
                <a:lnTo>
                  <a:pt x="255" y="313"/>
                </a:lnTo>
                <a:lnTo>
                  <a:pt x="255" y="316"/>
                </a:lnTo>
                <a:lnTo>
                  <a:pt x="254" y="313"/>
                </a:lnTo>
                <a:lnTo>
                  <a:pt x="252" y="316"/>
                </a:lnTo>
                <a:lnTo>
                  <a:pt x="252" y="315"/>
                </a:lnTo>
                <a:lnTo>
                  <a:pt x="250" y="313"/>
                </a:lnTo>
                <a:lnTo>
                  <a:pt x="250" y="311"/>
                </a:lnTo>
                <a:lnTo>
                  <a:pt x="249" y="310"/>
                </a:lnTo>
                <a:lnTo>
                  <a:pt x="249" y="308"/>
                </a:lnTo>
                <a:lnTo>
                  <a:pt x="245" y="308"/>
                </a:lnTo>
                <a:lnTo>
                  <a:pt x="243" y="308"/>
                </a:lnTo>
                <a:lnTo>
                  <a:pt x="240" y="308"/>
                </a:lnTo>
                <a:lnTo>
                  <a:pt x="240" y="310"/>
                </a:lnTo>
                <a:lnTo>
                  <a:pt x="238" y="311"/>
                </a:lnTo>
                <a:lnTo>
                  <a:pt x="237" y="313"/>
                </a:lnTo>
                <a:lnTo>
                  <a:pt x="235" y="310"/>
                </a:lnTo>
                <a:lnTo>
                  <a:pt x="233" y="310"/>
                </a:lnTo>
                <a:lnTo>
                  <a:pt x="232" y="308"/>
                </a:lnTo>
                <a:lnTo>
                  <a:pt x="232" y="305"/>
                </a:lnTo>
                <a:lnTo>
                  <a:pt x="230" y="305"/>
                </a:lnTo>
                <a:lnTo>
                  <a:pt x="230" y="306"/>
                </a:lnTo>
                <a:lnTo>
                  <a:pt x="228" y="306"/>
                </a:lnTo>
                <a:lnTo>
                  <a:pt x="226" y="308"/>
                </a:lnTo>
                <a:lnTo>
                  <a:pt x="226" y="311"/>
                </a:lnTo>
                <a:lnTo>
                  <a:pt x="226" y="313"/>
                </a:lnTo>
                <a:lnTo>
                  <a:pt x="223" y="315"/>
                </a:lnTo>
                <a:lnTo>
                  <a:pt x="221" y="315"/>
                </a:lnTo>
                <a:lnTo>
                  <a:pt x="220" y="316"/>
                </a:lnTo>
                <a:lnTo>
                  <a:pt x="220" y="313"/>
                </a:lnTo>
                <a:lnTo>
                  <a:pt x="218" y="315"/>
                </a:lnTo>
                <a:lnTo>
                  <a:pt x="216" y="313"/>
                </a:lnTo>
                <a:lnTo>
                  <a:pt x="215" y="311"/>
                </a:lnTo>
                <a:lnTo>
                  <a:pt x="213" y="313"/>
                </a:lnTo>
                <a:lnTo>
                  <a:pt x="215" y="313"/>
                </a:lnTo>
                <a:lnTo>
                  <a:pt x="215" y="316"/>
                </a:lnTo>
                <a:lnTo>
                  <a:pt x="215" y="318"/>
                </a:lnTo>
                <a:lnTo>
                  <a:pt x="213" y="320"/>
                </a:lnTo>
                <a:lnTo>
                  <a:pt x="213" y="322"/>
                </a:lnTo>
                <a:lnTo>
                  <a:pt x="213" y="323"/>
                </a:lnTo>
                <a:lnTo>
                  <a:pt x="211" y="323"/>
                </a:lnTo>
                <a:lnTo>
                  <a:pt x="209" y="323"/>
                </a:lnTo>
                <a:lnTo>
                  <a:pt x="208" y="322"/>
                </a:lnTo>
                <a:lnTo>
                  <a:pt x="208" y="320"/>
                </a:lnTo>
                <a:lnTo>
                  <a:pt x="209" y="318"/>
                </a:lnTo>
                <a:lnTo>
                  <a:pt x="209" y="315"/>
                </a:lnTo>
                <a:lnTo>
                  <a:pt x="208" y="316"/>
                </a:lnTo>
                <a:lnTo>
                  <a:pt x="206" y="315"/>
                </a:lnTo>
                <a:lnTo>
                  <a:pt x="204" y="316"/>
                </a:lnTo>
                <a:lnTo>
                  <a:pt x="203" y="315"/>
                </a:lnTo>
                <a:lnTo>
                  <a:pt x="201" y="315"/>
                </a:lnTo>
                <a:lnTo>
                  <a:pt x="201" y="316"/>
                </a:lnTo>
                <a:lnTo>
                  <a:pt x="199" y="315"/>
                </a:lnTo>
                <a:lnTo>
                  <a:pt x="199" y="318"/>
                </a:lnTo>
                <a:lnTo>
                  <a:pt x="201" y="316"/>
                </a:lnTo>
                <a:lnTo>
                  <a:pt x="199" y="318"/>
                </a:lnTo>
                <a:lnTo>
                  <a:pt x="198" y="316"/>
                </a:lnTo>
                <a:lnTo>
                  <a:pt x="196" y="318"/>
                </a:lnTo>
                <a:lnTo>
                  <a:pt x="194" y="318"/>
                </a:lnTo>
                <a:lnTo>
                  <a:pt x="192" y="320"/>
                </a:lnTo>
                <a:lnTo>
                  <a:pt x="189" y="320"/>
                </a:lnTo>
                <a:lnTo>
                  <a:pt x="189" y="316"/>
                </a:lnTo>
                <a:lnTo>
                  <a:pt x="187" y="316"/>
                </a:lnTo>
                <a:lnTo>
                  <a:pt x="186" y="316"/>
                </a:lnTo>
                <a:lnTo>
                  <a:pt x="186" y="315"/>
                </a:lnTo>
                <a:lnTo>
                  <a:pt x="184" y="310"/>
                </a:lnTo>
                <a:lnTo>
                  <a:pt x="177" y="311"/>
                </a:lnTo>
                <a:lnTo>
                  <a:pt x="175" y="311"/>
                </a:lnTo>
                <a:lnTo>
                  <a:pt x="175" y="313"/>
                </a:lnTo>
                <a:lnTo>
                  <a:pt x="174" y="315"/>
                </a:lnTo>
                <a:lnTo>
                  <a:pt x="172" y="315"/>
                </a:lnTo>
                <a:lnTo>
                  <a:pt x="170" y="315"/>
                </a:lnTo>
                <a:lnTo>
                  <a:pt x="169" y="313"/>
                </a:lnTo>
                <a:lnTo>
                  <a:pt x="167" y="315"/>
                </a:lnTo>
                <a:lnTo>
                  <a:pt x="165" y="313"/>
                </a:lnTo>
                <a:lnTo>
                  <a:pt x="165" y="311"/>
                </a:lnTo>
                <a:lnTo>
                  <a:pt x="162" y="311"/>
                </a:lnTo>
                <a:lnTo>
                  <a:pt x="160" y="311"/>
                </a:lnTo>
                <a:lnTo>
                  <a:pt x="158" y="311"/>
                </a:lnTo>
                <a:lnTo>
                  <a:pt x="157" y="315"/>
                </a:lnTo>
                <a:lnTo>
                  <a:pt x="153" y="315"/>
                </a:lnTo>
                <a:lnTo>
                  <a:pt x="150" y="313"/>
                </a:lnTo>
                <a:lnTo>
                  <a:pt x="148" y="310"/>
                </a:lnTo>
                <a:lnTo>
                  <a:pt x="148" y="311"/>
                </a:lnTo>
                <a:lnTo>
                  <a:pt x="145" y="313"/>
                </a:lnTo>
                <a:lnTo>
                  <a:pt x="143" y="311"/>
                </a:lnTo>
                <a:lnTo>
                  <a:pt x="141" y="313"/>
                </a:lnTo>
                <a:lnTo>
                  <a:pt x="140" y="313"/>
                </a:lnTo>
                <a:lnTo>
                  <a:pt x="138" y="313"/>
                </a:lnTo>
                <a:lnTo>
                  <a:pt x="136" y="311"/>
                </a:lnTo>
                <a:lnTo>
                  <a:pt x="133" y="311"/>
                </a:lnTo>
                <a:lnTo>
                  <a:pt x="131" y="310"/>
                </a:lnTo>
                <a:lnTo>
                  <a:pt x="130" y="311"/>
                </a:lnTo>
                <a:lnTo>
                  <a:pt x="128" y="311"/>
                </a:lnTo>
                <a:lnTo>
                  <a:pt x="126" y="311"/>
                </a:lnTo>
                <a:lnTo>
                  <a:pt x="124" y="313"/>
                </a:lnTo>
                <a:lnTo>
                  <a:pt x="124" y="311"/>
                </a:lnTo>
                <a:lnTo>
                  <a:pt x="121" y="311"/>
                </a:lnTo>
                <a:lnTo>
                  <a:pt x="123" y="313"/>
                </a:lnTo>
                <a:lnTo>
                  <a:pt x="121" y="313"/>
                </a:lnTo>
                <a:lnTo>
                  <a:pt x="119" y="315"/>
                </a:lnTo>
                <a:lnTo>
                  <a:pt x="118" y="315"/>
                </a:lnTo>
                <a:lnTo>
                  <a:pt x="114" y="315"/>
                </a:lnTo>
                <a:lnTo>
                  <a:pt x="111" y="315"/>
                </a:lnTo>
                <a:lnTo>
                  <a:pt x="111" y="316"/>
                </a:lnTo>
                <a:lnTo>
                  <a:pt x="109" y="315"/>
                </a:lnTo>
                <a:lnTo>
                  <a:pt x="109" y="316"/>
                </a:lnTo>
                <a:lnTo>
                  <a:pt x="106" y="316"/>
                </a:lnTo>
                <a:lnTo>
                  <a:pt x="104" y="316"/>
                </a:lnTo>
                <a:lnTo>
                  <a:pt x="102" y="316"/>
                </a:lnTo>
                <a:lnTo>
                  <a:pt x="99" y="315"/>
                </a:lnTo>
                <a:lnTo>
                  <a:pt x="97" y="315"/>
                </a:lnTo>
                <a:lnTo>
                  <a:pt x="96" y="316"/>
                </a:lnTo>
                <a:lnTo>
                  <a:pt x="92" y="318"/>
                </a:lnTo>
                <a:lnTo>
                  <a:pt x="90" y="320"/>
                </a:lnTo>
                <a:lnTo>
                  <a:pt x="89" y="320"/>
                </a:lnTo>
                <a:lnTo>
                  <a:pt x="89" y="322"/>
                </a:lnTo>
                <a:lnTo>
                  <a:pt x="85" y="322"/>
                </a:lnTo>
                <a:lnTo>
                  <a:pt x="84" y="323"/>
                </a:lnTo>
                <a:lnTo>
                  <a:pt x="82" y="323"/>
                </a:lnTo>
                <a:lnTo>
                  <a:pt x="80" y="323"/>
                </a:lnTo>
                <a:lnTo>
                  <a:pt x="80" y="325"/>
                </a:lnTo>
                <a:lnTo>
                  <a:pt x="77" y="325"/>
                </a:lnTo>
                <a:lnTo>
                  <a:pt x="75" y="325"/>
                </a:lnTo>
                <a:lnTo>
                  <a:pt x="73" y="325"/>
                </a:lnTo>
                <a:lnTo>
                  <a:pt x="72" y="327"/>
                </a:lnTo>
                <a:lnTo>
                  <a:pt x="70" y="327"/>
                </a:lnTo>
                <a:lnTo>
                  <a:pt x="68" y="327"/>
                </a:lnTo>
                <a:lnTo>
                  <a:pt x="65" y="328"/>
                </a:lnTo>
                <a:lnTo>
                  <a:pt x="63" y="328"/>
                </a:lnTo>
                <a:lnTo>
                  <a:pt x="62" y="330"/>
                </a:lnTo>
                <a:lnTo>
                  <a:pt x="63" y="332"/>
                </a:lnTo>
                <a:lnTo>
                  <a:pt x="62" y="333"/>
                </a:lnTo>
                <a:lnTo>
                  <a:pt x="62" y="335"/>
                </a:lnTo>
                <a:lnTo>
                  <a:pt x="62" y="337"/>
                </a:lnTo>
                <a:lnTo>
                  <a:pt x="63" y="339"/>
                </a:lnTo>
                <a:lnTo>
                  <a:pt x="62" y="340"/>
                </a:lnTo>
                <a:lnTo>
                  <a:pt x="60" y="342"/>
                </a:lnTo>
                <a:lnTo>
                  <a:pt x="58" y="344"/>
                </a:lnTo>
                <a:lnTo>
                  <a:pt x="56" y="345"/>
                </a:lnTo>
                <a:lnTo>
                  <a:pt x="55" y="347"/>
                </a:lnTo>
                <a:lnTo>
                  <a:pt x="55" y="349"/>
                </a:lnTo>
                <a:lnTo>
                  <a:pt x="53" y="350"/>
                </a:lnTo>
                <a:lnTo>
                  <a:pt x="51" y="352"/>
                </a:lnTo>
                <a:lnTo>
                  <a:pt x="50" y="352"/>
                </a:lnTo>
                <a:lnTo>
                  <a:pt x="46" y="352"/>
                </a:lnTo>
                <a:lnTo>
                  <a:pt x="48" y="349"/>
                </a:lnTo>
                <a:lnTo>
                  <a:pt x="45" y="349"/>
                </a:lnTo>
                <a:lnTo>
                  <a:pt x="43" y="349"/>
                </a:lnTo>
                <a:lnTo>
                  <a:pt x="43" y="350"/>
                </a:lnTo>
                <a:lnTo>
                  <a:pt x="41" y="349"/>
                </a:lnTo>
                <a:lnTo>
                  <a:pt x="39" y="349"/>
                </a:lnTo>
                <a:lnTo>
                  <a:pt x="38" y="350"/>
                </a:lnTo>
                <a:lnTo>
                  <a:pt x="36" y="350"/>
                </a:lnTo>
                <a:lnTo>
                  <a:pt x="34" y="352"/>
                </a:lnTo>
                <a:lnTo>
                  <a:pt x="36" y="354"/>
                </a:lnTo>
                <a:lnTo>
                  <a:pt x="38" y="356"/>
                </a:lnTo>
                <a:lnTo>
                  <a:pt x="36" y="357"/>
                </a:lnTo>
                <a:lnTo>
                  <a:pt x="38" y="359"/>
                </a:lnTo>
                <a:lnTo>
                  <a:pt x="39" y="361"/>
                </a:lnTo>
                <a:lnTo>
                  <a:pt x="36" y="361"/>
                </a:lnTo>
                <a:lnTo>
                  <a:pt x="36" y="359"/>
                </a:lnTo>
                <a:lnTo>
                  <a:pt x="34" y="359"/>
                </a:lnTo>
                <a:lnTo>
                  <a:pt x="34" y="357"/>
                </a:lnTo>
                <a:lnTo>
                  <a:pt x="33" y="356"/>
                </a:lnTo>
                <a:lnTo>
                  <a:pt x="33" y="354"/>
                </a:lnTo>
                <a:lnTo>
                  <a:pt x="31" y="352"/>
                </a:lnTo>
                <a:lnTo>
                  <a:pt x="31" y="350"/>
                </a:lnTo>
                <a:lnTo>
                  <a:pt x="31" y="347"/>
                </a:lnTo>
                <a:lnTo>
                  <a:pt x="29" y="345"/>
                </a:lnTo>
                <a:lnTo>
                  <a:pt x="31" y="344"/>
                </a:lnTo>
                <a:lnTo>
                  <a:pt x="33" y="342"/>
                </a:lnTo>
                <a:lnTo>
                  <a:pt x="34" y="340"/>
                </a:lnTo>
                <a:lnTo>
                  <a:pt x="33" y="339"/>
                </a:lnTo>
                <a:lnTo>
                  <a:pt x="31" y="337"/>
                </a:lnTo>
                <a:lnTo>
                  <a:pt x="31" y="335"/>
                </a:lnTo>
                <a:lnTo>
                  <a:pt x="33" y="335"/>
                </a:lnTo>
                <a:lnTo>
                  <a:pt x="33" y="333"/>
                </a:lnTo>
                <a:lnTo>
                  <a:pt x="31" y="332"/>
                </a:lnTo>
                <a:lnTo>
                  <a:pt x="33" y="330"/>
                </a:lnTo>
                <a:lnTo>
                  <a:pt x="31" y="330"/>
                </a:lnTo>
                <a:lnTo>
                  <a:pt x="33" y="328"/>
                </a:lnTo>
                <a:lnTo>
                  <a:pt x="33" y="327"/>
                </a:lnTo>
                <a:lnTo>
                  <a:pt x="31" y="325"/>
                </a:lnTo>
                <a:lnTo>
                  <a:pt x="31" y="322"/>
                </a:lnTo>
                <a:lnTo>
                  <a:pt x="28" y="320"/>
                </a:lnTo>
                <a:lnTo>
                  <a:pt x="29" y="320"/>
                </a:lnTo>
                <a:lnTo>
                  <a:pt x="28" y="318"/>
                </a:lnTo>
                <a:lnTo>
                  <a:pt x="26" y="320"/>
                </a:lnTo>
                <a:lnTo>
                  <a:pt x="26" y="318"/>
                </a:lnTo>
                <a:lnTo>
                  <a:pt x="24" y="316"/>
                </a:lnTo>
                <a:lnTo>
                  <a:pt x="22" y="316"/>
                </a:lnTo>
                <a:lnTo>
                  <a:pt x="22" y="315"/>
                </a:lnTo>
                <a:lnTo>
                  <a:pt x="21" y="315"/>
                </a:lnTo>
                <a:lnTo>
                  <a:pt x="19" y="316"/>
                </a:lnTo>
                <a:lnTo>
                  <a:pt x="17" y="315"/>
                </a:lnTo>
                <a:lnTo>
                  <a:pt x="14" y="315"/>
                </a:lnTo>
                <a:lnTo>
                  <a:pt x="14" y="313"/>
                </a:lnTo>
                <a:lnTo>
                  <a:pt x="12" y="315"/>
                </a:lnTo>
                <a:lnTo>
                  <a:pt x="9" y="315"/>
                </a:lnTo>
                <a:lnTo>
                  <a:pt x="9" y="313"/>
                </a:lnTo>
                <a:lnTo>
                  <a:pt x="9" y="311"/>
                </a:lnTo>
                <a:lnTo>
                  <a:pt x="7" y="311"/>
                </a:lnTo>
                <a:lnTo>
                  <a:pt x="9" y="310"/>
                </a:lnTo>
                <a:lnTo>
                  <a:pt x="9" y="308"/>
                </a:lnTo>
                <a:lnTo>
                  <a:pt x="9" y="305"/>
                </a:lnTo>
                <a:lnTo>
                  <a:pt x="11" y="303"/>
                </a:lnTo>
                <a:lnTo>
                  <a:pt x="11" y="301"/>
                </a:lnTo>
                <a:lnTo>
                  <a:pt x="12" y="299"/>
                </a:lnTo>
                <a:lnTo>
                  <a:pt x="12" y="298"/>
                </a:lnTo>
                <a:lnTo>
                  <a:pt x="12" y="296"/>
                </a:lnTo>
                <a:lnTo>
                  <a:pt x="14" y="294"/>
                </a:lnTo>
                <a:lnTo>
                  <a:pt x="14" y="293"/>
                </a:lnTo>
                <a:lnTo>
                  <a:pt x="16" y="291"/>
                </a:lnTo>
                <a:lnTo>
                  <a:pt x="16" y="289"/>
                </a:lnTo>
                <a:lnTo>
                  <a:pt x="17" y="289"/>
                </a:lnTo>
                <a:lnTo>
                  <a:pt x="19" y="288"/>
                </a:lnTo>
                <a:lnTo>
                  <a:pt x="21" y="286"/>
                </a:lnTo>
                <a:lnTo>
                  <a:pt x="22" y="284"/>
                </a:lnTo>
                <a:lnTo>
                  <a:pt x="26" y="284"/>
                </a:lnTo>
                <a:lnTo>
                  <a:pt x="28" y="284"/>
                </a:lnTo>
                <a:lnTo>
                  <a:pt x="28" y="282"/>
                </a:lnTo>
                <a:lnTo>
                  <a:pt x="29" y="282"/>
                </a:lnTo>
                <a:lnTo>
                  <a:pt x="29" y="281"/>
                </a:lnTo>
                <a:lnTo>
                  <a:pt x="31" y="279"/>
                </a:lnTo>
                <a:lnTo>
                  <a:pt x="33" y="277"/>
                </a:lnTo>
                <a:lnTo>
                  <a:pt x="34" y="276"/>
                </a:lnTo>
                <a:lnTo>
                  <a:pt x="34" y="274"/>
                </a:lnTo>
                <a:lnTo>
                  <a:pt x="33" y="272"/>
                </a:lnTo>
                <a:lnTo>
                  <a:pt x="33" y="271"/>
                </a:lnTo>
                <a:lnTo>
                  <a:pt x="33" y="269"/>
                </a:lnTo>
                <a:lnTo>
                  <a:pt x="31" y="267"/>
                </a:lnTo>
                <a:lnTo>
                  <a:pt x="31" y="265"/>
                </a:lnTo>
                <a:lnTo>
                  <a:pt x="31" y="262"/>
                </a:lnTo>
                <a:lnTo>
                  <a:pt x="29" y="260"/>
                </a:lnTo>
                <a:lnTo>
                  <a:pt x="31" y="259"/>
                </a:lnTo>
                <a:lnTo>
                  <a:pt x="29" y="257"/>
                </a:lnTo>
                <a:lnTo>
                  <a:pt x="29" y="253"/>
                </a:lnTo>
                <a:lnTo>
                  <a:pt x="28" y="253"/>
                </a:lnTo>
                <a:lnTo>
                  <a:pt x="29" y="253"/>
                </a:lnTo>
                <a:lnTo>
                  <a:pt x="28" y="252"/>
                </a:lnTo>
                <a:lnTo>
                  <a:pt x="26" y="250"/>
                </a:lnTo>
                <a:lnTo>
                  <a:pt x="26" y="247"/>
                </a:lnTo>
                <a:lnTo>
                  <a:pt x="28" y="245"/>
                </a:lnTo>
                <a:lnTo>
                  <a:pt x="26" y="243"/>
                </a:lnTo>
                <a:lnTo>
                  <a:pt x="24" y="243"/>
                </a:lnTo>
                <a:lnTo>
                  <a:pt x="24" y="240"/>
                </a:lnTo>
                <a:lnTo>
                  <a:pt x="22" y="240"/>
                </a:lnTo>
                <a:lnTo>
                  <a:pt x="21" y="238"/>
                </a:lnTo>
                <a:lnTo>
                  <a:pt x="21" y="236"/>
                </a:lnTo>
                <a:lnTo>
                  <a:pt x="19" y="235"/>
                </a:lnTo>
                <a:lnTo>
                  <a:pt x="17" y="231"/>
                </a:lnTo>
                <a:lnTo>
                  <a:pt x="17" y="230"/>
                </a:lnTo>
                <a:lnTo>
                  <a:pt x="16" y="228"/>
                </a:lnTo>
                <a:lnTo>
                  <a:pt x="14" y="228"/>
                </a:lnTo>
                <a:lnTo>
                  <a:pt x="14" y="225"/>
                </a:lnTo>
                <a:lnTo>
                  <a:pt x="12" y="223"/>
                </a:lnTo>
                <a:lnTo>
                  <a:pt x="12" y="221"/>
                </a:lnTo>
                <a:lnTo>
                  <a:pt x="11" y="219"/>
                </a:lnTo>
                <a:lnTo>
                  <a:pt x="9" y="218"/>
                </a:lnTo>
                <a:lnTo>
                  <a:pt x="9" y="216"/>
                </a:lnTo>
                <a:lnTo>
                  <a:pt x="7" y="213"/>
                </a:lnTo>
                <a:lnTo>
                  <a:pt x="7" y="211"/>
                </a:lnTo>
                <a:lnTo>
                  <a:pt x="5" y="209"/>
                </a:lnTo>
                <a:lnTo>
                  <a:pt x="5" y="208"/>
                </a:lnTo>
                <a:lnTo>
                  <a:pt x="4" y="206"/>
                </a:lnTo>
                <a:lnTo>
                  <a:pt x="4" y="204"/>
                </a:lnTo>
                <a:lnTo>
                  <a:pt x="4" y="202"/>
                </a:lnTo>
                <a:lnTo>
                  <a:pt x="4" y="201"/>
                </a:lnTo>
                <a:lnTo>
                  <a:pt x="2" y="201"/>
                </a:lnTo>
                <a:lnTo>
                  <a:pt x="4" y="201"/>
                </a:lnTo>
                <a:lnTo>
                  <a:pt x="2" y="199"/>
                </a:lnTo>
                <a:lnTo>
                  <a:pt x="0" y="196"/>
                </a:lnTo>
                <a:lnTo>
                  <a:pt x="0" y="192"/>
                </a:lnTo>
                <a:lnTo>
                  <a:pt x="2" y="194"/>
                </a:lnTo>
                <a:lnTo>
                  <a:pt x="4" y="194"/>
                </a:lnTo>
                <a:lnTo>
                  <a:pt x="5" y="194"/>
                </a:lnTo>
                <a:lnTo>
                  <a:pt x="9" y="192"/>
                </a:lnTo>
                <a:lnTo>
                  <a:pt x="11" y="194"/>
                </a:lnTo>
                <a:lnTo>
                  <a:pt x="12" y="196"/>
                </a:lnTo>
                <a:lnTo>
                  <a:pt x="12" y="194"/>
                </a:lnTo>
                <a:lnTo>
                  <a:pt x="12" y="192"/>
                </a:lnTo>
                <a:lnTo>
                  <a:pt x="14" y="191"/>
                </a:lnTo>
                <a:lnTo>
                  <a:pt x="16" y="191"/>
                </a:lnTo>
                <a:lnTo>
                  <a:pt x="16" y="189"/>
                </a:lnTo>
                <a:lnTo>
                  <a:pt x="17" y="189"/>
                </a:lnTo>
                <a:lnTo>
                  <a:pt x="19" y="192"/>
                </a:lnTo>
                <a:lnTo>
                  <a:pt x="19" y="191"/>
                </a:lnTo>
                <a:lnTo>
                  <a:pt x="21" y="191"/>
                </a:lnTo>
                <a:lnTo>
                  <a:pt x="22" y="191"/>
                </a:lnTo>
                <a:lnTo>
                  <a:pt x="24" y="189"/>
                </a:lnTo>
                <a:lnTo>
                  <a:pt x="26" y="189"/>
                </a:lnTo>
                <a:lnTo>
                  <a:pt x="28" y="187"/>
                </a:lnTo>
                <a:lnTo>
                  <a:pt x="28" y="189"/>
                </a:lnTo>
                <a:lnTo>
                  <a:pt x="29" y="187"/>
                </a:lnTo>
                <a:lnTo>
                  <a:pt x="33" y="189"/>
                </a:lnTo>
                <a:lnTo>
                  <a:pt x="33" y="191"/>
                </a:lnTo>
                <a:lnTo>
                  <a:pt x="34" y="189"/>
                </a:lnTo>
                <a:lnTo>
                  <a:pt x="36" y="191"/>
                </a:lnTo>
                <a:lnTo>
                  <a:pt x="38" y="189"/>
                </a:lnTo>
                <a:lnTo>
                  <a:pt x="38" y="191"/>
                </a:lnTo>
                <a:lnTo>
                  <a:pt x="38" y="189"/>
                </a:lnTo>
                <a:lnTo>
                  <a:pt x="39" y="189"/>
                </a:lnTo>
                <a:lnTo>
                  <a:pt x="39" y="185"/>
                </a:lnTo>
                <a:lnTo>
                  <a:pt x="41" y="185"/>
                </a:lnTo>
                <a:lnTo>
                  <a:pt x="43" y="182"/>
                </a:lnTo>
                <a:lnTo>
                  <a:pt x="45" y="180"/>
                </a:lnTo>
                <a:lnTo>
                  <a:pt x="46" y="179"/>
                </a:lnTo>
                <a:lnTo>
                  <a:pt x="48" y="180"/>
                </a:lnTo>
                <a:lnTo>
                  <a:pt x="48" y="182"/>
                </a:lnTo>
                <a:lnTo>
                  <a:pt x="48" y="184"/>
                </a:lnTo>
                <a:lnTo>
                  <a:pt x="50" y="182"/>
                </a:lnTo>
                <a:lnTo>
                  <a:pt x="50" y="180"/>
                </a:lnTo>
                <a:lnTo>
                  <a:pt x="51" y="180"/>
                </a:lnTo>
                <a:lnTo>
                  <a:pt x="53" y="179"/>
                </a:lnTo>
                <a:lnTo>
                  <a:pt x="51" y="177"/>
                </a:lnTo>
                <a:lnTo>
                  <a:pt x="53" y="177"/>
                </a:lnTo>
                <a:lnTo>
                  <a:pt x="51" y="177"/>
                </a:lnTo>
                <a:lnTo>
                  <a:pt x="51" y="175"/>
                </a:lnTo>
                <a:lnTo>
                  <a:pt x="50" y="174"/>
                </a:lnTo>
                <a:lnTo>
                  <a:pt x="48" y="172"/>
                </a:lnTo>
                <a:lnTo>
                  <a:pt x="51" y="170"/>
                </a:lnTo>
                <a:lnTo>
                  <a:pt x="50" y="170"/>
                </a:lnTo>
                <a:lnTo>
                  <a:pt x="51" y="168"/>
                </a:lnTo>
                <a:lnTo>
                  <a:pt x="55" y="167"/>
                </a:lnTo>
                <a:lnTo>
                  <a:pt x="56" y="168"/>
                </a:lnTo>
                <a:lnTo>
                  <a:pt x="58" y="168"/>
                </a:lnTo>
                <a:lnTo>
                  <a:pt x="60" y="168"/>
                </a:lnTo>
                <a:lnTo>
                  <a:pt x="60" y="167"/>
                </a:lnTo>
                <a:lnTo>
                  <a:pt x="62" y="167"/>
                </a:lnTo>
                <a:lnTo>
                  <a:pt x="62" y="165"/>
                </a:lnTo>
                <a:lnTo>
                  <a:pt x="63" y="163"/>
                </a:lnTo>
                <a:lnTo>
                  <a:pt x="63" y="162"/>
                </a:lnTo>
                <a:lnTo>
                  <a:pt x="63" y="160"/>
                </a:lnTo>
                <a:lnTo>
                  <a:pt x="65" y="158"/>
                </a:lnTo>
                <a:lnTo>
                  <a:pt x="67" y="157"/>
                </a:lnTo>
                <a:lnTo>
                  <a:pt x="67" y="158"/>
                </a:lnTo>
                <a:lnTo>
                  <a:pt x="70" y="157"/>
                </a:lnTo>
                <a:lnTo>
                  <a:pt x="72" y="155"/>
                </a:lnTo>
                <a:lnTo>
                  <a:pt x="73" y="155"/>
                </a:lnTo>
                <a:lnTo>
                  <a:pt x="75" y="153"/>
                </a:lnTo>
                <a:lnTo>
                  <a:pt x="77" y="155"/>
                </a:lnTo>
                <a:lnTo>
                  <a:pt x="79" y="155"/>
                </a:lnTo>
                <a:lnTo>
                  <a:pt x="77" y="155"/>
                </a:lnTo>
                <a:lnTo>
                  <a:pt x="80" y="157"/>
                </a:lnTo>
                <a:lnTo>
                  <a:pt x="77" y="158"/>
                </a:lnTo>
                <a:lnTo>
                  <a:pt x="79" y="158"/>
                </a:lnTo>
                <a:lnTo>
                  <a:pt x="77" y="162"/>
                </a:lnTo>
                <a:lnTo>
                  <a:pt x="79" y="163"/>
                </a:lnTo>
                <a:lnTo>
                  <a:pt x="82" y="163"/>
                </a:lnTo>
                <a:lnTo>
                  <a:pt x="84" y="163"/>
                </a:lnTo>
                <a:lnTo>
                  <a:pt x="85" y="163"/>
                </a:lnTo>
                <a:lnTo>
                  <a:pt x="85" y="160"/>
                </a:lnTo>
                <a:lnTo>
                  <a:pt x="87" y="162"/>
                </a:lnTo>
                <a:lnTo>
                  <a:pt x="87" y="160"/>
                </a:lnTo>
                <a:lnTo>
                  <a:pt x="89" y="160"/>
                </a:lnTo>
                <a:lnTo>
                  <a:pt x="87" y="158"/>
                </a:lnTo>
                <a:lnTo>
                  <a:pt x="85" y="157"/>
                </a:lnTo>
                <a:lnTo>
                  <a:pt x="87" y="155"/>
                </a:lnTo>
                <a:lnTo>
                  <a:pt x="85" y="155"/>
                </a:lnTo>
                <a:lnTo>
                  <a:pt x="85" y="153"/>
                </a:lnTo>
                <a:lnTo>
                  <a:pt x="84" y="153"/>
                </a:lnTo>
                <a:lnTo>
                  <a:pt x="84" y="151"/>
                </a:lnTo>
                <a:lnTo>
                  <a:pt x="82" y="150"/>
                </a:lnTo>
                <a:lnTo>
                  <a:pt x="80" y="151"/>
                </a:lnTo>
                <a:lnTo>
                  <a:pt x="79" y="151"/>
                </a:lnTo>
                <a:lnTo>
                  <a:pt x="77" y="151"/>
                </a:lnTo>
                <a:lnTo>
                  <a:pt x="75" y="151"/>
                </a:lnTo>
                <a:lnTo>
                  <a:pt x="77" y="148"/>
                </a:lnTo>
                <a:lnTo>
                  <a:pt x="77" y="145"/>
                </a:lnTo>
                <a:lnTo>
                  <a:pt x="77" y="146"/>
                </a:lnTo>
                <a:lnTo>
                  <a:pt x="79" y="143"/>
                </a:lnTo>
                <a:lnTo>
                  <a:pt x="77" y="141"/>
                </a:lnTo>
                <a:lnTo>
                  <a:pt x="79" y="141"/>
                </a:lnTo>
                <a:lnTo>
                  <a:pt x="79" y="138"/>
                </a:lnTo>
                <a:lnTo>
                  <a:pt x="79" y="136"/>
                </a:lnTo>
                <a:lnTo>
                  <a:pt x="80" y="133"/>
                </a:lnTo>
                <a:lnTo>
                  <a:pt x="82" y="133"/>
                </a:lnTo>
                <a:lnTo>
                  <a:pt x="80" y="129"/>
                </a:lnTo>
                <a:lnTo>
                  <a:pt x="80" y="128"/>
                </a:lnTo>
                <a:lnTo>
                  <a:pt x="79" y="126"/>
                </a:lnTo>
                <a:lnTo>
                  <a:pt x="79" y="124"/>
                </a:lnTo>
                <a:lnTo>
                  <a:pt x="79" y="121"/>
                </a:lnTo>
                <a:lnTo>
                  <a:pt x="77" y="119"/>
                </a:lnTo>
                <a:lnTo>
                  <a:pt x="77" y="117"/>
                </a:lnTo>
                <a:lnTo>
                  <a:pt x="77" y="116"/>
                </a:lnTo>
                <a:lnTo>
                  <a:pt x="79" y="116"/>
                </a:lnTo>
                <a:lnTo>
                  <a:pt x="77" y="112"/>
                </a:lnTo>
                <a:lnTo>
                  <a:pt x="79" y="112"/>
                </a:lnTo>
                <a:lnTo>
                  <a:pt x="80" y="109"/>
                </a:lnTo>
                <a:lnTo>
                  <a:pt x="80" y="107"/>
                </a:lnTo>
                <a:lnTo>
                  <a:pt x="82" y="106"/>
                </a:lnTo>
                <a:lnTo>
                  <a:pt x="84" y="104"/>
                </a:lnTo>
                <a:lnTo>
                  <a:pt x="85" y="104"/>
                </a:lnTo>
                <a:lnTo>
                  <a:pt x="87" y="104"/>
                </a:lnTo>
                <a:lnTo>
                  <a:pt x="87" y="102"/>
                </a:lnTo>
                <a:lnTo>
                  <a:pt x="89" y="102"/>
                </a:lnTo>
                <a:lnTo>
                  <a:pt x="89" y="100"/>
                </a:lnTo>
                <a:lnTo>
                  <a:pt x="92" y="100"/>
                </a:lnTo>
                <a:lnTo>
                  <a:pt x="92" y="99"/>
                </a:lnTo>
                <a:lnTo>
                  <a:pt x="92" y="97"/>
                </a:lnTo>
                <a:lnTo>
                  <a:pt x="92" y="94"/>
                </a:lnTo>
                <a:lnTo>
                  <a:pt x="94" y="94"/>
                </a:lnTo>
                <a:lnTo>
                  <a:pt x="90" y="92"/>
                </a:lnTo>
                <a:lnTo>
                  <a:pt x="92" y="90"/>
                </a:lnTo>
                <a:lnTo>
                  <a:pt x="94" y="90"/>
                </a:lnTo>
                <a:lnTo>
                  <a:pt x="96" y="88"/>
                </a:lnTo>
                <a:lnTo>
                  <a:pt x="97" y="88"/>
                </a:lnTo>
                <a:lnTo>
                  <a:pt x="101" y="88"/>
                </a:lnTo>
                <a:lnTo>
                  <a:pt x="101" y="87"/>
                </a:lnTo>
                <a:lnTo>
                  <a:pt x="102" y="85"/>
                </a:lnTo>
                <a:lnTo>
                  <a:pt x="102" y="87"/>
                </a:lnTo>
                <a:lnTo>
                  <a:pt x="104" y="85"/>
                </a:lnTo>
                <a:lnTo>
                  <a:pt x="106" y="85"/>
                </a:lnTo>
                <a:lnTo>
                  <a:pt x="107" y="83"/>
                </a:lnTo>
                <a:lnTo>
                  <a:pt x="109" y="83"/>
                </a:lnTo>
                <a:lnTo>
                  <a:pt x="107" y="82"/>
                </a:lnTo>
                <a:lnTo>
                  <a:pt x="109" y="80"/>
                </a:lnTo>
                <a:lnTo>
                  <a:pt x="109" y="78"/>
                </a:lnTo>
                <a:lnTo>
                  <a:pt x="111" y="77"/>
                </a:lnTo>
                <a:lnTo>
                  <a:pt x="111" y="75"/>
                </a:lnTo>
                <a:lnTo>
                  <a:pt x="113" y="75"/>
                </a:lnTo>
                <a:lnTo>
                  <a:pt x="111" y="73"/>
                </a:lnTo>
                <a:lnTo>
                  <a:pt x="109" y="71"/>
                </a:lnTo>
                <a:lnTo>
                  <a:pt x="107" y="73"/>
                </a:lnTo>
                <a:lnTo>
                  <a:pt x="104" y="73"/>
                </a:lnTo>
                <a:lnTo>
                  <a:pt x="102" y="73"/>
                </a:lnTo>
                <a:lnTo>
                  <a:pt x="101" y="75"/>
                </a:lnTo>
                <a:lnTo>
                  <a:pt x="101" y="73"/>
                </a:lnTo>
                <a:lnTo>
                  <a:pt x="97" y="73"/>
                </a:lnTo>
                <a:lnTo>
                  <a:pt x="96" y="73"/>
                </a:lnTo>
                <a:lnTo>
                  <a:pt x="97" y="71"/>
                </a:lnTo>
                <a:lnTo>
                  <a:pt x="99" y="70"/>
                </a:lnTo>
                <a:lnTo>
                  <a:pt x="99" y="68"/>
                </a:lnTo>
                <a:lnTo>
                  <a:pt x="99" y="66"/>
                </a:lnTo>
                <a:lnTo>
                  <a:pt x="99" y="65"/>
                </a:lnTo>
                <a:lnTo>
                  <a:pt x="97" y="63"/>
                </a:lnTo>
                <a:lnTo>
                  <a:pt x="97" y="61"/>
                </a:lnTo>
                <a:lnTo>
                  <a:pt x="99" y="60"/>
                </a:lnTo>
                <a:lnTo>
                  <a:pt x="99" y="58"/>
                </a:lnTo>
                <a:lnTo>
                  <a:pt x="99" y="56"/>
                </a:lnTo>
                <a:lnTo>
                  <a:pt x="99" y="53"/>
                </a:lnTo>
                <a:lnTo>
                  <a:pt x="99" y="51"/>
                </a:lnTo>
                <a:lnTo>
                  <a:pt x="97" y="49"/>
                </a:lnTo>
                <a:lnTo>
                  <a:pt x="99" y="48"/>
                </a:lnTo>
                <a:lnTo>
                  <a:pt x="101" y="46"/>
                </a:lnTo>
                <a:lnTo>
                  <a:pt x="104" y="48"/>
                </a:lnTo>
                <a:lnTo>
                  <a:pt x="104" y="46"/>
                </a:lnTo>
                <a:lnTo>
                  <a:pt x="106" y="44"/>
                </a:lnTo>
                <a:lnTo>
                  <a:pt x="106" y="43"/>
                </a:lnTo>
                <a:lnTo>
                  <a:pt x="107" y="43"/>
                </a:lnTo>
                <a:lnTo>
                  <a:pt x="107" y="39"/>
                </a:lnTo>
                <a:lnTo>
                  <a:pt x="109" y="37"/>
                </a:lnTo>
                <a:lnTo>
                  <a:pt x="109" y="36"/>
                </a:lnTo>
                <a:lnTo>
                  <a:pt x="111" y="36"/>
                </a:lnTo>
                <a:lnTo>
                  <a:pt x="113" y="34"/>
                </a:lnTo>
                <a:lnTo>
                  <a:pt x="114" y="32"/>
                </a:lnTo>
                <a:lnTo>
                  <a:pt x="116" y="32"/>
                </a:lnTo>
                <a:lnTo>
                  <a:pt x="118" y="34"/>
                </a:lnTo>
                <a:lnTo>
                  <a:pt x="119" y="36"/>
                </a:lnTo>
                <a:lnTo>
                  <a:pt x="121" y="36"/>
                </a:lnTo>
                <a:lnTo>
                  <a:pt x="123" y="34"/>
                </a:lnTo>
                <a:lnTo>
                  <a:pt x="124" y="32"/>
                </a:lnTo>
                <a:lnTo>
                  <a:pt x="126" y="34"/>
                </a:lnTo>
                <a:lnTo>
                  <a:pt x="128" y="34"/>
                </a:lnTo>
                <a:lnTo>
                  <a:pt x="130" y="34"/>
                </a:lnTo>
                <a:lnTo>
                  <a:pt x="131" y="34"/>
                </a:lnTo>
                <a:lnTo>
                  <a:pt x="133" y="34"/>
                </a:lnTo>
                <a:lnTo>
                  <a:pt x="133" y="32"/>
                </a:lnTo>
                <a:lnTo>
                  <a:pt x="133" y="31"/>
                </a:lnTo>
                <a:lnTo>
                  <a:pt x="133" y="29"/>
                </a:lnTo>
                <a:lnTo>
                  <a:pt x="133" y="26"/>
                </a:lnTo>
                <a:lnTo>
                  <a:pt x="133" y="22"/>
                </a:lnTo>
                <a:lnTo>
                  <a:pt x="135" y="20"/>
                </a:lnTo>
                <a:lnTo>
                  <a:pt x="135" y="19"/>
                </a:lnTo>
                <a:lnTo>
                  <a:pt x="136" y="19"/>
                </a:lnTo>
                <a:lnTo>
                  <a:pt x="138" y="17"/>
                </a:lnTo>
                <a:lnTo>
                  <a:pt x="136" y="15"/>
                </a:lnTo>
                <a:lnTo>
                  <a:pt x="138" y="14"/>
                </a:lnTo>
                <a:lnTo>
                  <a:pt x="136" y="14"/>
                </a:lnTo>
                <a:lnTo>
                  <a:pt x="140" y="12"/>
                </a:lnTo>
                <a:lnTo>
                  <a:pt x="141" y="10"/>
                </a:lnTo>
                <a:lnTo>
                  <a:pt x="141" y="9"/>
                </a:lnTo>
                <a:lnTo>
                  <a:pt x="141" y="7"/>
                </a:lnTo>
                <a:lnTo>
                  <a:pt x="145" y="7"/>
                </a:lnTo>
                <a:lnTo>
                  <a:pt x="145" y="3"/>
                </a:lnTo>
                <a:lnTo>
                  <a:pt x="147" y="5"/>
                </a:lnTo>
                <a:lnTo>
                  <a:pt x="147" y="2"/>
                </a:lnTo>
                <a:lnTo>
                  <a:pt x="148" y="2"/>
                </a:lnTo>
                <a:lnTo>
                  <a:pt x="148" y="3"/>
                </a:lnTo>
                <a:lnTo>
                  <a:pt x="150" y="3"/>
                </a:lnTo>
                <a:lnTo>
                  <a:pt x="152" y="5"/>
                </a:lnTo>
                <a:lnTo>
                  <a:pt x="152" y="7"/>
                </a:lnTo>
                <a:lnTo>
                  <a:pt x="153" y="5"/>
                </a:lnTo>
                <a:lnTo>
                  <a:pt x="155" y="7"/>
                </a:lnTo>
                <a:lnTo>
                  <a:pt x="158" y="7"/>
                </a:lnTo>
                <a:lnTo>
                  <a:pt x="158" y="5"/>
                </a:lnTo>
                <a:lnTo>
                  <a:pt x="157" y="3"/>
                </a:lnTo>
                <a:lnTo>
                  <a:pt x="158" y="5"/>
                </a:lnTo>
                <a:lnTo>
                  <a:pt x="160" y="3"/>
                </a:lnTo>
                <a:lnTo>
                  <a:pt x="162" y="2"/>
                </a:lnTo>
                <a:lnTo>
                  <a:pt x="164" y="2"/>
                </a:lnTo>
                <a:lnTo>
                  <a:pt x="167" y="2"/>
                </a:lnTo>
                <a:lnTo>
                  <a:pt x="169" y="0"/>
                </a:lnTo>
                <a:lnTo>
                  <a:pt x="167" y="3"/>
                </a:lnTo>
                <a:lnTo>
                  <a:pt x="169" y="5"/>
                </a:lnTo>
                <a:lnTo>
                  <a:pt x="170" y="5"/>
                </a:lnTo>
                <a:lnTo>
                  <a:pt x="172" y="9"/>
                </a:lnTo>
                <a:lnTo>
                  <a:pt x="174" y="10"/>
                </a:lnTo>
                <a:lnTo>
                  <a:pt x="175" y="9"/>
                </a:lnTo>
                <a:lnTo>
                  <a:pt x="177" y="9"/>
                </a:lnTo>
                <a:lnTo>
                  <a:pt x="177" y="7"/>
                </a:lnTo>
                <a:lnTo>
                  <a:pt x="181" y="5"/>
                </a:lnTo>
                <a:lnTo>
                  <a:pt x="182" y="3"/>
                </a:lnTo>
                <a:lnTo>
                  <a:pt x="186" y="2"/>
                </a:lnTo>
                <a:lnTo>
                  <a:pt x="187" y="2"/>
                </a:lnTo>
                <a:lnTo>
                  <a:pt x="191" y="2"/>
                </a:lnTo>
                <a:lnTo>
                  <a:pt x="191" y="3"/>
                </a:lnTo>
                <a:lnTo>
                  <a:pt x="192" y="2"/>
                </a:lnTo>
                <a:lnTo>
                  <a:pt x="194" y="2"/>
                </a:lnTo>
                <a:lnTo>
                  <a:pt x="196" y="3"/>
                </a:lnTo>
                <a:lnTo>
                  <a:pt x="199" y="2"/>
                </a:lnTo>
                <a:lnTo>
                  <a:pt x="201" y="3"/>
                </a:lnTo>
                <a:lnTo>
                  <a:pt x="199" y="3"/>
                </a:lnTo>
                <a:lnTo>
                  <a:pt x="203" y="5"/>
                </a:lnTo>
                <a:lnTo>
                  <a:pt x="201" y="7"/>
                </a:lnTo>
                <a:lnTo>
                  <a:pt x="199" y="7"/>
                </a:lnTo>
                <a:lnTo>
                  <a:pt x="201" y="9"/>
                </a:lnTo>
                <a:lnTo>
                  <a:pt x="201" y="12"/>
                </a:lnTo>
                <a:lnTo>
                  <a:pt x="199" y="14"/>
                </a:lnTo>
                <a:lnTo>
                  <a:pt x="201" y="17"/>
                </a:lnTo>
                <a:lnTo>
                  <a:pt x="203" y="17"/>
                </a:lnTo>
                <a:lnTo>
                  <a:pt x="204" y="19"/>
                </a:lnTo>
                <a:lnTo>
                  <a:pt x="206" y="19"/>
                </a:lnTo>
                <a:lnTo>
                  <a:pt x="208" y="19"/>
                </a:lnTo>
                <a:lnTo>
                  <a:pt x="209" y="17"/>
                </a:lnTo>
                <a:lnTo>
                  <a:pt x="209" y="15"/>
                </a:lnTo>
                <a:lnTo>
                  <a:pt x="209" y="14"/>
                </a:lnTo>
                <a:lnTo>
                  <a:pt x="211" y="14"/>
                </a:lnTo>
                <a:lnTo>
                  <a:pt x="211" y="12"/>
                </a:lnTo>
                <a:lnTo>
                  <a:pt x="213" y="10"/>
                </a:lnTo>
                <a:lnTo>
                  <a:pt x="215" y="10"/>
                </a:lnTo>
                <a:lnTo>
                  <a:pt x="216" y="12"/>
                </a:lnTo>
                <a:lnTo>
                  <a:pt x="216" y="10"/>
                </a:lnTo>
                <a:lnTo>
                  <a:pt x="218" y="9"/>
                </a:lnTo>
                <a:lnTo>
                  <a:pt x="218" y="7"/>
                </a:lnTo>
                <a:lnTo>
                  <a:pt x="218" y="5"/>
                </a:lnTo>
                <a:lnTo>
                  <a:pt x="220" y="5"/>
                </a:lnTo>
                <a:lnTo>
                  <a:pt x="221" y="5"/>
                </a:lnTo>
                <a:lnTo>
                  <a:pt x="223" y="3"/>
                </a:lnTo>
                <a:lnTo>
                  <a:pt x="225" y="3"/>
                </a:lnTo>
                <a:lnTo>
                  <a:pt x="226" y="3"/>
                </a:lnTo>
                <a:lnTo>
                  <a:pt x="228" y="3"/>
                </a:lnTo>
                <a:lnTo>
                  <a:pt x="230" y="2"/>
                </a:lnTo>
                <a:lnTo>
                  <a:pt x="228" y="0"/>
                </a:lnTo>
                <a:lnTo>
                  <a:pt x="230" y="2"/>
                </a:lnTo>
                <a:lnTo>
                  <a:pt x="232" y="0"/>
                </a:lnTo>
                <a:lnTo>
                  <a:pt x="233" y="0"/>
                </a:lnTo>
                <a:lnTo>
                  <a:pt x="235" y="2"/>
                </a:lnTo>
                <a:lnTo>
                  <a:pt x="237" y="2"/>
                </a:lnTo>
                <a:lnTo>
                  <a:pt x="238" y="3"/>
                </a:lnTo>
                <a:lnTo>
                  <a:pt x="238" y="2"/>
                </a:lnTo>
                <a:lnTo>
                  <a:pt x="242" y="2"/>
                </a:lnTo>
                <a:lnTo>
                  <a:pt x="243" y="2"/>
                </a:lnTo>
                <a:lnTo>
                  <a:pt x="243" y="3"/>
                </a:lnTo>
                <a:lnTo>
                  <a:pt x="245" y="5"/>
                </a:lnTo>
                <a:lnTo>
                  <a:pt x="247" y="5"/>
                </a:lnTo>
                <a:lnTo>
                  <a:pt x="249" y="5"/>
                </a:lnTo>
                <a:lnTo>
                  <a:pt x="250" y="7"/>
                </a:lnTo>
                <a:lnTo>
                  <a:pt x="250" y="9"/>
                </a:lnTo>
                <a:lnTo>
                  <a:pt x="252" y="9"/>
                </a:lnTo>
                <a:lnTo>
                  <a:pt x="252" y="12"/>
                </a:lnTo>
                <a:lnTo>
                  <a:pt x="254" y="9"/>
                </a:lnTo>
                <a:lnTo>
                  <a:pt x="255" y="10"/>
                </a:lnTo>
                <a:lnTo>
                  <a:pt x="257" y="12"/>
                </a:lnTo>
                <a:lnTo>
                  <a:pt x="257" y="14"/>
                </a:lnTo>
                <a:lnTo>
                  <a:pt x="259" y="12"/>
                </a:lnTo>
                <a:lnTo>
                  <a:pt x="260" y="10"/>
                </a:lnTo>
                <a:lnTo>
                  <a:pt x="259" y="10"/>
                </a:lnTo>
                <a:lnTo>
                  <a:pt x="260" y="9"/>
                </a:lnTo>
                <a:lnTo>
                  <a:pt x="262" y="10"/>
                </a:lnTo>
                <a:lnTo>
                  <a:pt x="262" y="9"/>
                </a:lnTo>
                <a:lnTo>
                  <a:pt x="264" y="10"/>
                </a:lnTo>
                <a:lnTo>
                  <a:pt x="264" y="12"/>
                </a:lnTo>
                <a:lnTo>
                  <a:pt x="266" y="14"/>
                </a:lnTo>
                <a:lnTo>
                  <a:pt x="264" y="15"/>
                </a:lnTo>
                <a:lnTo>
                  <a:pt x="267" y="17"/>
                </a:lnTo>
                <a:lnTo>
                  <a:pt x="266" y="19"/>
                </a:lnTo>
                <a:lnTo>
                  <a:pt x="264" y="19"/>
                </a:lnTo>
                <a:lnTo>
                  <a:pt x="266" y="20"/>
                </a:lnTo>
                <a:lnTo>
                  <a:pt x="266" y="22"/>
                </a:lnTo>
                <a:lnTo>
                  <a:pt x="267" y="24"/>
                </a:lnTo>
                <a:lnTo>
                  <a:pt x="267" y="26"/>
                </a:lnTo>
                <a:lnTo>
                  <a:pt x="266" y="29"/>
                </a:lnTo>
                <a:lnTo>
                  <a:pt x="264" y="31"/>
                </a:lnTo>
                <a:lnTo>
                  <a:pt x="266" y="32"/>
                </a:lnTo>
                <a:lnTo>
                  <a:pt x="267" y="32"/>
                </a:lnTo>
                <a:lnTo>
                  <a:pt x="269" y="34"/>
                </a:lnTo>
                <a:lnTo>
                  <a:pt x="269" y="36"/>
                </a:lnTo>
                <a:lnTo>
                  <a:pt x="271" y="37"/>
                </a:lnTo>
                <a:lnTo>
                  <a:pt x="272" y="37"/>
                </a:lnTo>
                <a:lnTo>
                  <a:pt x="272" y="39"/>
                </a:lnTo>
                <a:lnTo>
                  <a:pt x="274" y="39"/>
                </a:lnTo>
                <a:lnTo>
                  <a:pt x="274" y="41"/>
                </a:lnTo>
                <a:lnTo>
                  <a:pt x="276" y="41"/>
                </a:lnTo>
                <a:lnTo>
                  <a:pt x="276" y="43"/>
                </a:lnTo>
                <a:lnTo>
                  <a:pt x="276" y="44"/>
                </a:lnTo>
                <a:lnTo>
                  <a:pt x="277" y="46"/>
                </a:lnTo>
                <a:lnTo>
                  <a:pt x="277" y="48"/>
                </a:lnTo>
                <a:lnTo>
                  <a:pt x="277" y="49"/>
                </a:lnTo>
                <a:lnTo>
                  <a:pt x="274" y="48"/>
                </a:lnTo>
                <a:lnTo>
                  <a:pt x="274" y="49"/>
                </a:lnTo>
                <a:lnTo>
                  <a:pt x="277" y="51"/>
                </a:lnTo>
                <a:lnTo>
                  <a:pt x="276" y="53"/>
                </a:lnTo>
                <a:lnTo>
                  <a:pt x="276" y="54"/>
                </a:lnTo>
                <a:lnTo>
                  <a:pt x="272" y="56"/>
                </a:lnTo>
                <a:lnTo>
                  <a:pt x="274" y="58"/>
                </a:lnTo>
                <a:lnTo>
                  <a:pt x="272" y="60"/>
                </a:lnTo>
                <a:lnTo>
                  <a:pt x="274" y="60"/>
                </a:lnTo>
                <a:lnTo>
                  <a:pt x="272" y="61"/>
                </a:lnTo>
                <a:lnTo>
                  <a:pt x="272" y="65"/>
                </a:lnTo>
                <a:lnTo>
                  <a:pt x="272" y="66"/>
                </a:lnTo>
                <a:lnTo>
                  <a:pt x="274" y="66"/>
                </a:lnTo>
                <a:lnTo>
                  <a:pt x="276" y="66"/>
                </a:lnTo>
                <a:lnTo>
                  <a:pt x="277" y="68"/>
                </a:lnTo>
                <a:lnTo>
                  <a:pt x="281" y="68"/>
                </a:lnTo>
                <a:lnTo>
                  <a:pt x="283" y="70"/>
                </a:lnTo>
                <a:lnTo>
                  <a:pt x="284" y="68"/>
                </a:lnTo>
                <a:lnTo>
                  <a:pt x="284" y="70"/>
                </a:lnTo>
                <a:lnTo>
                  <a:pt x="284" y="71"/>
                </a:lnTo>
                <a:lnTo>
                  <a:pt x="286" y="71"/>
                </a:lnTo>
                <a:lnTo>
                  <a:pt x="288" y="71"/>
                </a:lnTo>
                <a:lnTo>
                  <a:pt x="289" y="71"/>
                </a:lnTo>
                <a:lnTo>
                  <a:pt x="291" y="70"/>
                </a:lnTo>
                <a:lnTo>
                  <a:pt x="293" y="71"/>
                </a:lnTo>
                <a:lnTo>
                  <a:pt x="293" y="73"/>
                </a:lnTo>
                <a:lnTo>
                  <a:pt x="293" y="75"/>
                </a:lnTo>
                <a:lnTo>
                  <a:pt x="291" y="78"/>
                </a:lnTo>
                <a:lnTo>
                  <a:pt x="293" y="78"/>
                </a:lnTo>
                <a:lnTo>
                  <a:pt x="291" y="80"/>
                </a:lnTo>
                <a:lnTo>
                  <a:pt x="291" y="82"/>
                </a:lnTo>
                <a:lnTo>
                  <a:pt x="293" y="83"/>
                </a:lnTo>
                <a:lnTo>
                  <a:pt x="294" y="83"/>
                </a:lnTo>
                <a:lnTo>
                  <a:pt x="296" y="83"/>
                </a:lnTo>
                <a:lnTo>
                  <a:pt x="298" y="83"/>
                </a:lnTo>
                <a:lnTo>
                  <a:pt x="298" y="85"/>
                </a:lnTo>
                <a:lnTo>
                  <a:pt x="301" y="87"/>
                </a:lnTo>
                <a:lnTo>
                  <a:pt x="300" y="88"/>
                </a:lnTo>
                <a:lnTo>
                  <a:pt x="303" y="88"/>
                </a:lnTo>
                <a:lnTo>
                  <a:pt x="305" y="90"/>
                </a:lnTo>
                <a:lnTo>
                  <a:pt x="303" y="92"/>
                </a:lnTo>
                <a:lnTo>
                  <a:pt x="305" y="92"/>
                </a:lnTo>
                <a:lnTo>
                  <a:pt x="305" y="94"/>
                </a:lnTo>
                <a:lnTo>
                  <a:pt x="305" y="95"/>
                </a:lnTo>
                <a:lnTo>
                  <a:pt x="305" y="97"/>
                </a:lnTo>
                <a:lnTo>
                  <a:pt x="308" y="97"/>
                </a:lnTo>
                <a:lnTo>
                  <a:pt x="308" y="95"/>
                </a:lnTo>
                <a:lnTo>
                  <a:pt x="308" y="97"/>
                </a:lnTo>
                <a:lnTo>
                  <a:pt x="310" y="97"/>
                </a:lnTo>
                <a:lnTo>
                  <a:pt x="308" y="99"/>
                </a:lnTo>
                <a:lnTo>
                  <a:pt x="311" y="99"/>
                </a:lnTo>
                <a:lnTo>
                  <a:pt x="313" y="99"/>
                </a:lnTo>
                <a:lnTo>
                  <a:pt x="315" y="100"/>
                </a:lnTo>
                <a:lnTo>
                  <a:pt x="317" y="100"/>
                </a:lnTo>
                <a:lnTo>
                  <a:pt x="320" y="100"/>
                </a:lnTo>
                <a:lnTo>
                  <a:pt x="323" y="102"/>
                </a:lnTo>
                <a:lnTo>
                  <a:pt x="323" y="100"/>
                </a:lnTo>
                <a:lnTo>
                  <a:pt x="325" y="102"/>
                </a:lnTo>
                <a:lnTo>
                  <a:pt x="327" y="100"/>
                </a:lnTo>
                <a:lnTo>
                  <a:pt x="327" y="102"/>
                </a:lnTo>
                <a:lnTo>
                  <a:pt x="328" y="100"/>
                </a:lnTo>
                <a:lnTo>
                  <a:pt x="328" y="102"/>
                </a:lnTo>
                <a:lnTo>
                  <a:pt x="332" y="100"/>
                </a:lnTo>
                <a:lnTo>
                  <a:pt x="332" y="102"/>
                </a:lnTo>
                <a:lnTo>
                  <a:pt x="332" y="104"/>
                </a:lnTo>
                <a:lnTo>
                  <a:pt x="332" y="107"/>
                </a:lnTo>
                <a:lnTo>
                  <a:pt x="334" y="107"/>
                </a:lnTo>
                <a:lnTo>
                  <a:pt x="334" y="109"/>
                </a:lnTo>
                <a:lnTo>
                  <a:pt x="332" y="109"/>
                </a:lnTo>
                <a:lnTo>
                  <a:pt x="334" y="112"/>
                </a:lnTo>
                <a:lnTo>
                  <a:pt x="332" y="114"/>
                </a:lnTo>
                <a:lnTo>
                  <a:pt x="334" y="114"/>
                </a:lnTo>
                <a:lnTo>
                  <a:pt x="332" y="116"/>
                </a:lnTo>
                <a:lnTo>
                  <a:pt x="334" y="116"/>
                </a:lnTo>
                <a:lnTo>
                  <a:pt x="332" y="117"/>
                </a:lnTo>
                <a:lnTo>
                  <a:pt x="332" y="119"/>
                </a:lnTo>
                <a:lnTo>
                  <a:pt x="332" y="121"/>
                </a:lnTo>
                <a:lnTo>
                  <a:pt x="334" y="121"/>
                </a:lnTo>
                <a:lnTo>
                  <a:pt x="337" y="121"/>
                </a:lnTo>
                <a:lnTo>
                  <a:pt x="339" y="121"/>
                </a:lnTo>
                <a:lnTo>
                  <a:pt x="340" y="121"/>
                </a:lnTo>
                <a:lnTo>
                  <a:pt x="340" y="117"/>
                </a:lnTo>
                <a:lnTo>
                  <a:pt x="344" y="117"/>
                </a:lnTo>
                <a:lnTo>
                  <a:pt x="345" y="117"/>
                </a:lnTo>
                <a:lnTo>
                  <a:pt x="345" y="116"/>
                </a:lnTo>
                <a:lnTo>
                  <a:pt x="349" y="117"/>
                </a:lnTo>
                <a:lnTo>
                  <a:pt x="349" y="116"/>
                </a:lnTo>
                <a:lnTo>
                  <a:pt x="351" y="117"/>
                </a:lnTo>
                <a:lnTo>
                  <a:pt x="354" y="116"/>
                </a:lnTo>
                <a:lnTo>
                  <a:pt x="354" y="117"/>
                </a:lnTo>
                <a:lnTo>
                  <a:pt x="356" y="117"/>
                </a:lnTo>
                <a:lnTo>
                  <a:pt x="357" y="119"/>
                </a:lnTo>
                <a:lnTo>
                  <a:pt x="359" y="117"/>
                </a:lnTo>
                <a:lnTo>
                  <a:pt x="361" y="117"/>
                </a:lnTo>
                <a:lnTo>
                  <a:pt x="362" y="117"/>
                </a:lnTo>
                <a:lnTo>
                  <a:pt x="364" y="119"/>
                </a:lnTo>
                <a:lnTo>
                  <a:pt x="362" y="121"/>
                </a:lnTo>
                <a:lnTo>
                  <a:pt x="361" y="121"/>
                </a:lnTo>
                <a:lnTo>
                  <a:pt x="361" y="123"/>
                </a:lnTo>
                <a:lnTo>
                  <a:pt x="361" y="124"/>
                </a:lnTo>
                <a:lnTo>
                  <a:pt x="362" y="124"/>
                </a:lnTo>
                <a:lnTo>
                  <a:pt x="361" y="123"/>
                </a:lnTo>
                <a:lnTo>
                  <a:pt x="362" y="124"/>
                </a:lnTo>
                <a:lnTo>
                  <a:pt x="362" y="126"/>
                </a:lnTo>
                <a:lnTo>
                  <a:pt x="364" y="128"/>
                </a:lnTo>
                <a:lnTo>
                  <a:pt x="366" y="128"/>
                </a:lnTo>
                <a:lnTo>
                  <a:pt x="366" y="129"/>
                </a:lnTo>
                <a:lnTo>
                  <a:pt x="368" y="129"/>
                </a:lnTo>
                <a:lnTo>
                  <a:pt x="369" y="129"/>
                </a:lnTo>
                <a:lnTo>
                  <a:pt x="369" y="131"/>
                </a:lnTo>
                <a:lnTo>
                  <a:pt x="371" y="129"/>
                </a:lnTo>
                <a:lnTo>
                  <a:pt x="373" y="133"/>
                </a:lnTo>
                <a:lnTo>
                  <a:pt x="373" y="129"/>
                </a:lnTo>
                <a:lnTo>
                  <a:pt x="376" y="131"/>
                </a:lnTo>
                <a:lnTo>
                  <a:pt x="374" y="133"/>
                </a:lnTo>
                <a:lnTo>
                  <a:pt x="376" y="133"/>
                </a:lnTo>
                <a:lnTo>
                  <a:pt x="378" y="131"/>
                </a:lnTo>
                <a:lnTo>
                  <a:pt x="379" y="131"/>
                </a:lnTo>
                <a:lnTo>
                  <a:pt x="378" y="133"/>
                </a:lnTo>
                <a:lnTo>
                  <a:pt x="379" y="134"/>
                </a:lnTo>
                <a:lnTo>
                  <a:pt x="381" y="136"/>
                </a:lnTo>
                <a:lnTo>
                  <a:pt x="379" y="136"/>
                </a:lnTo>
                <a:lnTo>
                  <a:pt x="379" y="138"/>
                </a:lnTo>
                <a:lnTo>
                  <a:pt x="381" y="140"/>
                </a:lnTo>
                <a:lnTo>
                  <a:pt x="378" y="140"/>
                </a:lnTo>
                <a:lnTo>
                  <a:pt x="378" y="143"/>
                </a:lnTo>
                <a:lnTo>
                  <a:pt x="376" y="141"/>
                </a:lnTo>
                <a:lnTo>
                  <a:pt x="376" y="143"/>
                </a:lnTo>
                <a:lnTo>
                  <a:pt x="376" y="145"/>
                </a:lnTo>
                <a:lnTo>
                  <a:pt x="374" y="145"/>
                </a:lnTo>
                <a:lnTo>
                  <a:pt x="373" y="145"/>
                </a:lnTo>
                <a:lnTo>
                  <a:pt x="371" y="145"/>
                </a:lnTo>
                <a:lnTo>
                  <a:pt x="373" y="146"/>
                </a:lnTo>
                <a:lnTo>
                  <a:pt x="373" y="148"/>
                </a:lnTo>
                <a:lnTo>
                  <a:pt x="371" y="151"/>
                </a:lnTo>
                <a:lnTo>
                  <a:pt x="371" y="153"/>
                </a:lnTo>
                <a:lnTo>
                  <a:pt x="369" y="155"/>
                </a:lnTo>
                <a:lnTo>
                  <a:pt x="369" y="158"/>
                </a:lnTo>
                <a:lnTo>
                  <a:pt x="368" y="160"/>
                </a:lnTo>
                <a:lnTo>
                  <a:pt x="366" y="160"/>
                </a:lnTo>
                <a:lnTo>
                  <a:pt x="366" y="162"/>
                </a:lnTo>
                <a:lnTo>
                  <a:pt x="364" y="162"/>
                </a:lnTo>
                <a:lnTo>
                  <a:pt x="364" y="163"/>
                </a:lnTo>
                <a:lnTo>
                  <a:pt x="361" y="165"/>
                </a:lnTo>
                <a:lnTo>
                  <a:pt x="359" y="165"/>
                </a:lnTo>
                <a:lnTo>
                  <a:pt x="357" y="165"/>
                </a:lnTo>
                <a:lnTo>
                  <a:pt x="356" y="167"/>
                </a:lnTo>
                <a:lnTo>
                  <a:pt x="354" y="167"/>
                </a:lnTo>
                <a:lnTo>
                  <a:pt x="352" y="167"/>
                </a:lnTo>
                <a:lnTo>
                  <a:pt x="352" y="165"/>
                </a:lnTo>
                <a:lnTo>
                  <a:pt x="351" y="165"/>
                </a:lnTo>
                <a:lnTo>
                  <a:pt x="349" y="167"/>
                </a:lnTo>
                <a:lnTo>
                  <a:pt x="347" y="165"/>
                </a:lnTo>
                <a:lnTo>
                  <a:pt x="345" y="162"/>
                </a:lnTo>
                <a:lnTo>
                  <a:pt x="344" y="162"/>
                </a:lnTo>
                <a:lnTo>
                  <a:pt x="342" y="162"/>
                </a:lnTo>
                <a:lnTo>
                  <a:pt x="340" y="162"/>
                </a:lnTo>
                <a:lnTo>
                  <a:pt x="339" y="162"/>
                </a:lnTo>
                <a:lnTo>
                  <a:pt x="339" y="163"/>
                </a:lnTo>
                <a:lnTo>
                  <a:pt x="337" y="163"/>
                </a:lnTo>
                <a:lnTo>
                  <a:pt x="335" y="165"/>
                </a:lnTo>
                <a:lnTo>
                  <a:pt x="334" y="163"/>
                </a:lnTo>
                <a:lnTo>
                  <a:pt x="334" y="165"/>
                </a:lnTo>
                <a:lnTo>
                  <a:pt x="332" y="165"/>
                </a:lnTo>
                <a:lnTo>
                  <a:pt x="330" y="165"/>
                </a:lnTo>
                <a:lnTo>
                  <a:pt x="332" y="167"/>
                </a:lnTo>
                <a:lnTo>
                  <a:pt x="330" y="168"/>
                </a:lnTo>
                <a:lnTo>
                  <a:pt x="330" y="170"/>
                </a:lnTo>
                <a:lnTo>
                  <a:pt x="332" y="172"/>
                </a:lnTo>
                <a:lnTo>
                  <a:pt x="332" y="174"/>
                </a:lnTo>
                <a:lnTo>
                  <a:pt x="330" y="174"/>
                </a:lnTo>
                <a:lnTo>
                  <a:pt x="330" y="175"/>
                </a:lnTo>
                <a:lnTo>
                  <a:pt x="330" y="177"/>
                </a:lnTo>
                <a:lnTo>
                  <a:pt x="328" y="179"/>
                </a:lnTo>
                <a:lnTo>
                  <a:pt x="327" y="179"/>
                </a:lnTo>
                <a:lnTo>
                  <a:pt x="330" y="180"/>
                </a:lnTo>
                <a:lnTo>
                  <a:pt x="332" y="180"/>
                </a:lnTo>
                <a:lnTo>
                  <a:pt x="334" y="180"/>
                </a:lnTo>
                <a:lnTo>
                  <a:pt x="334" y="182"/>
                </a:lnTo>
                <a:lnTo>
                  <a:pt x="335" y="184"/>
                </a:lnTo>
                <a:lnTo>
                  <a:pt x="335" y="185"/>
                </a:lnTo>
                <a:lnTo>
                  <a:pt x="337" y="185"/>
                </a:lnTo>
                <a:lnTo>
                  <a:pt x="339" y="187"/>
                </a:lnTo>
                <a:lnTo>
                  <a:pt x="340" y="187"/>
                </a:lnTo>
                <a:lnTo>
                  <a:pt x="342" y="187"/>
                </a:lnTo>
                <a:lnTo>
                  <a:pt x="342" y="189"/>
                </a:lnTo>
                <a:lnTo>
                  <a:pt x="345" y="191"/>
                </a:lnTo>
                <a:lnTo>
                  <a:pt x="347" y="192"/>
                </a:lnTo>
                <a:lnTo>
                  <a:pt x="347" y="194"/>
                </a:lnTo>
                <a:lnTo>
                  <a:pt x="347" y="196"/>
                </a:lnTo>
                <a:lnTo>
                  <a:pt x="347" y="197"/>
                </a:lnTo>
                <a:lnTo>
                  <a:pt x="344" y="199"/>
                </a:lnTo>
                <a:lnTo>
                  <a:pt x="347" y="201"/>
                </a:lnTo>
                <a:lnTo>
                  <a:pt x="349" y="201"/>
                </a:lnTo>
                <a:lnTo>
                  <a:pt x="349" y="204"/>
                </a:lnTo>
                <a:lnTo>
                  <a:pt x="351" y="204"/>
                </a:lnTo>
                <a:lnTo>
                  <a:pt x="352" y="206"/>
                </a:lnTo>
                <a:lnTo>
                  <a:pt x="354" y="206"/>
                </a:lnTo>
                <a:lnTo>
                  <a:pt x="354" y="208"/>
                </a:lnTo>
                <a:lnTo>
                  <a:pt x="352" y="206"/>
                </a:lnTo>
                <a:lnTo>
                  <a:pt x="352" y="209"/>
                </a:lnTo>
                <a:lnTo>
                  <a:pt x="351" y="209"/>
                </a:lnTo>
                <a:lnTo>
                  <a:pt x="352" y="211"/>
                </a:lnTo>
                <a:lnTo>
                  <a:pt x="352" y="209"/>
                </a:lnTo>
                <a:lnTo>
                  <a:pt x="354" y="211"/>
                </a:lnTo>
                <a:lnTo>
                  <a:pt x="352" y="213"/>
                </a:lnTo>
                <a:lnTo>
                  <a:pt x="354" y="213"/>
                </a:lnTo>
                <a:lnTo>
                  <a:pt x="354" y="216"/>
                </a:lnTo>
                <a:lnTo>
                  <a:pt x="356" y="216"/>
                </a:lnTo>
                <a:lnTo>
                  <a:pt x="356" y="218"/>
                </a:lnTo>
                <a:lnTo>
                  <a:pt x="357" y="221"/>
                </a:lnTo>
                <a:lnTo>
                  <a:pt x="356" y="221"/>
                </a:lnTo>
                <a:lnTo>
                  <a:pt x="356" y="223"/>
                </a:lnTo>
                <a:lnTo>
                  <a:pt x="357" y="225"/>
                </a:lnTo>
                <a:lnTo>
                  <a:pt x="357" y="223"/>
                </a:lnTo>
                <a:lnTo>
                  <a:pt x="359" y="225"/>
                </a:lnTo>
                <a:lnTo>
                  <a:pt x="362" y="225"/>
                </a:lnTo>
                <a:lnTo>
                  <a:pt x="361" y="225"/>
                </a:lnTo>
                <a:lnTo>
                  <a:pt x="362" y="228"/>
                </a:lnTo>
                <a:lnTo>
                  <a:pt x="362" y="230"/>
                </a:lnTo>
                <a:lnTo>
                  <a:pt x="364" y="230"/>
                </a:lnTo>
                <a:lnTo>
                  <a:pt x="366" y="228"/>
                </a:lnTo>
                <a:lnTo>
                  <a:pt x="368" y="230"/>
                </a:lnTo>
                <a:lnTo>
                  <a:pt x="368" y="231"/>
                </a:lnTo>
                <a:lnTo>
                  <a:pt x="369" y="233"/>
                </a:lnTo>
                <a:lnTo>
                  <a:pt x="368" y="233"/>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80" name="Freeform 62">
            <a:extLst>
              <a:ext uri="{FF2B5EF4-FFF2-40B4-BE49-F238E27FC236}">
                <a16:creationId xmlns:a16="http://schemas.microsoft.com/office/drawing/2014/main" id="{8C3B6655-95CD-4FF2-BD08-72A63429C4E8}"/>
              </a:ext>
            </a:extLst>
          </p:cNvPr>
          <p:cNvSpPr>
            <a:spLocks/>
          </p:cNvSpPr>
          <p:nvPr/>
        </p:nvSpPr>
        <p:spPr bwMode="gray">
          <a:xfrm>
            <a:off x="4158200" y="1605172"/>
            <a:ext cx="760267" cy="482335"/>
          </a:xfrm>
          <a:custGeom>
            <a:avLst/>
            <a:gdLst>
              <a:gd name="T0" fmla="*/ 235 w 279"/>
              <a:gd name="T1" fmla="*/ 27 h 169"/>
              <a:gd name="T2" fmla="*/ 249 w 279"/>
              <a:gd name="T3" fmla="*/ 36 h 169"/>
              <a:gd name="T4" fmla="*/ 247 w 279"/>
              <a:gd name="T5" fmla="*/ 51 h 169"/>
              <a:gd name="T6" fmla="*/ 249 w 279"/>
              <a:gd name="T7" fmla="*/ 65 h 169"/>
              <a:gd name="T8" fmla="*/ 261 w 279"/>
              <a:gd name="T9" fmla="*/ 63 h 169"/>
              <a:gd name="T10" fmla="*/ 266 w 279"/>
              <a:gd name="T11" fmla="*/ 75 h 169"/>
              <a:gd name="T12" fmla="*/ 274 w 279"/>
              <a:gd name="T13" fmla="*/ 85 h 169"/>
              <a:gd name="T14" fmla="*/ 279 w 279"/>
              <a:gd name="T15" fmla="*/ 101 h 169"/>
              <a:gd name="T16" fmla="*/ 272 w 279"/>
              <a:gd name="T17" fmla="*/ 111 h 169"/>
              <a:gd name="T18" fmla="*/ 267 w 279"/>
              <a:gd name="T19" fmla="*/ 123 h 169"/>
              <a:gd name="T20" fmla="*/ 264 w 279"/>
              <a:gd name="T21" fmla="*/ 138 h 169"/>
              <a:gd name="T22" fmla="*/ 250 w 279"/>
              <a:gd name="T23" fmla="*/ 140 h 169"/>
              <a:gd name="T24" fmla="*/ 238 w 279"/>
              <a:gd name="T25" fmla="*/ 143 h 169"/>
              <a:gd name="T26" fmla="*/ 228 w 279"/>
              <a:gd name="T27" fmla="*/ 153 h 169"/>
              <a:gd name="T28" fmla="*/ 211 w 279"/>
              <a:gd name="T29" fmla="*/ 148 h 169"/>
              <a:gd name="T30" fmla="*/ 199 w 279"/>
              <a:gd name="T31" fmla="*/ 138 h 169"/>
              <a:gd name="T32" fmla="*/ 186 w 279"/>
              <a:gd name="T33" fmla="*/ 133 h 169"/>
              <a:gd name="T34" fmla="*/ 174 w 279"/>
              <a:gd name="T35" fmla="*/ 131 h 169"/>
              <a:gd name="T36" fmla="*/ 160 w 279"/>
              <a:gd name="T37" fmla="*/ 126 h 169"/>
              <a:gd name="T38" fmla="*/ 150 w 279"/>
              <a:gd name="T39" fmla="*/ 118 h 169"/>
              <a:gd name="T40" fmla="*/ 142 w 279"/>
              <a:gd name="T41" fmla="*/ 130 h 169"/>
              <a:gd name="T42" fmla="*/ 128 w 279"/>
              <a:gd name="T43" fmla="*/ 131 h 169"/>
              <a:gd name="T44" fmla="*/ 118 w 279"/>
              <a:gd name="T45" fmla="*/ 130 h 169"/>
              <a:gd name="T46" fmla="*/ 106 w 279"/>
              <a:gd name="T47" fmla="*/ 131 h 169"/>
              <a:gd name="T48" fmla="*/ 89 w 279"/>
              <a:gd name="T49" fmla="*/ 133 h 169"/>
              <a:gd name="T50" fmla="*/ 80 w 279"/>
              <a:gd name="T51" fmla="*/ 135 h 169"/>
              <a:gd name="T52" fmla="*/ 68 w 279"/>
              <a:gd name="T53" fmla="*/ 138 h 169"/>
              <a:gd name="T54" fmla="*/ 55 w 279"/>
              <a:gd name="T55" fmla="*/ 138 h 169"/>
              <a:gd name="T56" fmla="*/ 41 w 279"/>
              <a:gd name="T57" fmla="*/ 141 h 169"/>
              <a:gd name="T58" fmla="*/ 28 w 279"/>
              <a:gd name="T59" fmla="*/ 147 h 169"/>
              <a:gd name="T60" fmla="*/ 17 w 279"/>
              <a:gd name="T61" fmla="*/ 157 h 169"/>
              <a:gd name="T62" fmla="*/ 9 w 279"/>
              <a:gd name="T63" fmla="*/ 169 h 169"/>
              <a:gd name="T64" fmla="*/ 4 w 279"/>
              <a:gd name="T65" fmla="*/ 153 h 169"/>
              <a:gd name="T66" fmla="*/ 0 w 279"/>
              <a:gd name="T67" fmla="*/ 138 h 169"/>
              <a:gd name="T68" fmla="*/ 2 w 279"/>
              <a:gd name="T69" fmla="*/ 128 h 169"/>
              <a:gd name="T70" fmla="*/ 4 w 279"/>
              <a:gd name="T71" fmla="*/ 111 h 169"/>
              <a:gd name="T72" fmla="*/ 12 w 279"/>
              <a:gd name="T73" fmla="*/ 96 h 169"/>
              <a:gd name="T74" fmla="*/ 11 w 279"/>
              <a:gd name="T75" fmla="*/ 77 h 169"/>
              <a:gd name="T76" fmla="*/ 16 w 279"/>
              <a:gd name="T77" fmla="*/ 62 h 169"/>
              <a:gd name="T78" fmla="*/ 31 w 279"/>
              <a:gd name="T79" fmla="*/ 53 h 169"/>
              <a:gd name="T80" fmla="*/ 48 w 279"/>
              <a:gd name="T81" fmla="*/ 41 h 169"/>
              <a:gd name="T82" fmla="*/ 55 w 279"/>
              <a:gd name="T83" fmla="*/ 56 h 169"/>
              <a:gd name="T84" fmla="*/ 72 w 279"/>
              <a:gd name="T85" fmla="*/ 65 h 169"/>
              <a:gd name="T86" fmla="*/ 79 w 279"/>
              <a:gd name="T87" fmla="*/ 80 h 169"/>
              <a:gd name="T88" fmla="*/ 91 w 279"/>
              <a:gd name="T89" fmla="*/ 87 h 169"/>
              <a:gd name="T90" fmla="*/ 106 w 279"/>
              <a:gd name="T91" fmla="*/ 85 h 169"/>
              <a:gd name="T92" fmla="*/ 118 w 279"/>
              <a:gd name="T93" fmla="*/ 72 h 169"/>
              <a:gd name="T94" fmla="*/ 119 w 279"/>
              <a:gd name="T95" fmla="*/ 55 h 169"/>
              <a:gd name="T96" fmla="*/ 114 w 279"/>
              <a:gd name="T97" fmla="*/ 38 h 169"/>
              <a:gd name="T98" fmla="*/ 111 w 279"/>
              <a:gd name="T99" fmla="*/ 21 h 169"/>
              <a:gd name="T100" fmla="*/ 121 w 279"/>
              <a:gd name="T101" fmla="*/ 14 h 169"/>
              <a:gd name="T102" fmla="*/ 133 w 279"/>
              <a:gd name="T103" fmla="*/ 5 h 169"/>
              <a:gd name="T104" fmla="*/ 140 w 279"/>
              <a:gd name="T105" fmla="*/ 5 h 169"/>
              <a:gd name="T106" fmla="*/ 147 w 279"/>
              <a:gd name="T107" fmla="*/ 2 h 169"/>
              <a:gd name="T108" fmla="*/ 153 w 279"/>
              <a:gd name="T109" fmla="*/ 5 h 169"/>
              <a:gd name="T110" fmla="*/ 167 w 279"/>
              <a:gd name="T111" fmla="*/ 12 h 169"/>
              <a:gd name="T112" fmla="*/ 177 w 279"/>
              <a:gd name="T113" fmla="*/ 16 h 169"/>
              <a:gd name="T114" fmla="*/ 191 w 279"/>
              <a:gd name="T115" fmla="*/ 26 h 169"/>
              <a:gd name="T116" fmla="*/ 199 w 279"/>
              <a:gd name="T117" fmla="*/ 29 h 169"/>
              <a:gd name="T118" fmla="*/ 206 w 279"/>
              <a:gd name="T119" fmla="*/ 21 h 169"/>
              <a:gd name="T120" fmla="*/ 221 w 279"/>
              <a:gd name="T121" fmla="*/ 2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 h="169">
                <a:moveTo>
                  <a:pt x="227" y="21"/>
                </a:moveTo>
                <a:lnTo>
                  <a:pt x="228" y="21"/>
                </a:lnTo>
                <a:lnTo>
                  <a:pt x="230" y="19"/>
                </a:lnTo>
                <a:lnTo>
                  <a:pt x="233" y="17"/>
                </a:lnTo>
                <a:lnTo>
                  <a:pt x="233" y="21"/>
                </a:lnTo>
                <a:lnTo>
                  <a:pt x="233" y="24"/>
                </a:lnTo>
                <a:lnTo>
                  <a:pt x="233" y="26"/>
                </a:lnTo>
                <a:lnTo>
                  <a:pt x="235" y="27"/>
                </a:lnTo>
                <a:lnTo>
                  <a:pt x="237" y="26"/>
                </a:lnTo>
                <a:lnTo>
                  <a:pt x="240" y="27"/>
                </a:lnTo>
                <a:lnTo>
                  <a:pt x="244" y="29"/>
                </a:lnTo>
                <a:lnTo>
                  <a:pt x="245" y="31"/>
                </a:lnTo>
                <a:lnTo>
                  <a:pt x="247" y="31"/>
                </a:lnTo>
                <a:lnTo>
                  <a:pt x="249" y="31"/>
                </a:lnTo>
                <a:lnTo>
                  <a:pt x="249" y="34"/>
                </a:lnTo>
                <a:lnTo>
                  <a:pt x="249" y="36"/>
                </a:lnTo>
                <a:lnTo>
                  <a:pt x="249" y="39"/>
                </a:lnTo>
                <a:lnTo>
                  <a:pt x="249" y="43"/>
                </a:lnTo>
                <a:lnTo>
                  <a:pt x="247" y="44"/>
                </a:lnTo>
                <a:lnTo>
                  <a:pt x="247" y="46"/>
                </a:lnTo>
                <a:lnTo>
                  <a:pt x="249" y="46"/>
                </a:lnTo>
                <a:lnTo>
                  <a:pt x="247" y="48"/>
                </a:lnTo>
                <a:lnTo>
                  <a:pt x="249" y="50"/>
                </a:lnTo>
                <a:lnTo>
                  <a:pt x="247" y="51"/>
                </a:lnTo>
                <a:lnTo>
                  <a:pt x="249" y="53"/>
                </a:lnTo>
                <a:lnTo>
                  <a:pt x="250" y="53"/>
                </a:lnTo>
                <a:lnTo>
                  <a:pt x="250" y="56"/>
                </a:lnTo>
                <a:lnTo>
                  <a:pt x="250" y="58"/>
                </a:lnTo>
                <a:lnTo>
                  <a:pt x="249" y="60"/>
                </a:lnTo>
                <a:lnTo>
                  <a:pt x="249" y="62"/>
                </a:lnTo>
                <a:lnTo>
                  <a:pt x="249" y="63"/>
                </a:lnTo>
                <a:lnTo>
                  <a:pt x="249" y="65"/>
                </a:lnTo>
                <a:lnTo>
                  <a:pt x="250" y="65"/>
                </a:lnTo>
                <a:lnTo>
                  <a:pt x="250" y="63"/>
                </a:lnTo>
                <a:lnTo>
                  <a:pt x="254" y="62"/>
                </a:lnTo>
                <a:lnTo>
                  <a:pt x="255" y="60"/>
                </a:lnTo>
                <a:lnTo>
                  <a:pt x="255" y="62"/>
                </a:lnTo>
                <a:lnTo>
                  <a:pt x="257" y="63"/>
                </a:lnTo>
                <a:lnTo>
                  <a:pt x="261" y="62"/>
                </a:lnTo>
                <a:lnTo>
                  <a:pt x="261" y="63"/>
                </a:lnTo>
                <a:lnTo>
                  <a:pt x="261" y="65"/>
                </a:lnTo>
                <a:lnTo>
                  <a:pt x="261" y="67"/>
                </a:lnTo>
                <a:lnTo>
                  <a:pt x="259" y="68"/>
                </a:lnTo>
                <a:lnTo>
                  <a:pt x="261" y="70"/>
                </a:lnTo>
                <a:lnTo>
                  <a:pt x="262" y="70"/>
                </a:lnTo>
                <a:lnTo>
                  <a:pt x="262" y="72"/>
                </a:lnTo>
                <a:lnTo>
                  <a:pt x="264" y="73"/>
                </a:lnTo>
                <a:lnTo>
                  <a:pt x="266" y="75"/>
                </a:lnTo>
                <a:lnTo>
                  <a:pt x="267" y="77"/>
                </a:lnTo>
                <a:lnTo>
                  <a:pt x="267" y="79"/>
                </a:lnTo>
                <a:lnTo>
                  <a:pt x="271" y="79"/>
                </a:lnTo>
                <a:lnTo>
                  <a:pt x="271" y="80"/>
                </a:lnTo>
                <a:lnTo>
                  <a:pt x="271" y="82"/>
                </a:lnTo>
                <a:lnTo>
                  <a:pt x="272" y="82"/>
                </a:lnTo>
                <a:lnTo>
                  <a:pt x="272" y="84"/>
                </a:lnTo>
                <a:lnTo>
                  <a:pt x="274" y="85"/>
                </a:lnTo>
                <a:lnTo>
                  <a:pt x="276" y="87"/>
                </a:lnTo>
                <a:lnTo>
                  <a:pt x="276" y="89"/>
                </a:lnTo>
                <a:lnTo>
                  <a:pt x="276" y="90"/>
                </a:lnTo>
                <a:lnTo>
                  <a:pt x="278" y="92"/>
                </a:lnTo>
                <a:lnTo>
                  <a:pt x="278" y="94"/>
                </a:lnTo>
                <a:lnTo>
                  <a:pt x="279" y="97"/>
                </a:lnTo>
                <a:lnTo>
                  <a:pt x="279" y="99"/>
                </a:lnTo>
                <a:lnTo>
                  <a:pt x="279" y="101"/>
                </a:lnTo>
                <a:lnTo>
                  <a:pt x="279" y="102"/>
                </a:lnTo>
                <a:lnTo>
                  <a:pt x="279" y="104"/>
                </a:lnTo>
                <a:lnTo>
                  <a:pt x="279" y="106"/>
                </a:lnTo>
                <a:lnTo>
                  <a:pt x="278" y="106"/>
                </a:lnTo>
                <a:lnTo>
                  <a:pt x="278" y="109"/>
                </a:lnTo>
                <a:lnTo>
                  <a:pt x="276" y="107"/>
                </a:lnTo>
                <a:lnTo>
                  <a:pt x="276" y="111"/>
                </a:lnTo>
                <a:lnTo>
                  <a:pt x="272" y="111"/>
                </a:lnTo>
                <a:lnTo>
                  <a:pt x="272" y="113"/>
                </a:lnTo>
                <a:lnTo>
                  <a:pt x="272" y="114"/>
                </a:lnTo>
                <a:lnTo>
                  <a:pt x="271" y="116"/>
                </a:lnTo>
                <a:lnTo>
                  <a:pt x="267" y="118"/>
                </a:lnTo>
                <a:lnTo>
                  <a:pt x="269" y="118"/>
                </a:lnTo>
                <a:lnTo>
                  <a:pt x="267" y="119"/>
                </a:lnTo>
                <a:lnTo>
                  <a:pt x="269" y="121"/>
                </a:lnTo>
                <a:lnTo>
                  <a:pt x="267" y="123"/>
                </a:lnTo>
                <a:lnTo>
                  <a:pt x="266" y="123"/>
                </a:lnTo>
                <a:lnTo>
                  <a:pt x="266" y="124"/>
                </a:lnTo>
                <a:lnTo>
                  <a:pt x="264" y="126"/>
                </a:lnTo>
                <a:lnTo>
                  <a:pt x="264" y="130"/>
                </a:lnTo>
                <a:lnTo>
                  <a:pt x="264" y="133"/>
                </a:lnTo>
                <a:lnTo>
                  <a:pt x="264" y="135"/>
                </a:lnTo>
                <a:lnTo>
                  <a:pt x="264" y="136"/>
                </a:lnTo>
                <a:lnTo>
                  <a:pt x="264" y="138"/>
                </a:lnTo>
                <a:lnTo>
                  <a:pt x="262" y="138"/>
                </a:lnTo>
                <a:lnTo>
                  <a:pt x="261" y="138"/>
                </a:lnTo>
                <a:lnTo>
                  <a:pt x="259" y="138"/>
                </a:lnTo>
                <a:lnTo>
                  <a:pt x="257" y="138"/>
                </a:lnTo>
                <a:lnTo>
                  <a:pt x="255" y="136"/>
                </a:lnTo>
                <a:lnTo>
                  <a:pt x="254" y="138"/>
                </a:lnTo>
                <a:lnTo>
                  <a:pt x="252" y="140"/>
                </a:lnTo>
                <a:lnTo>
                  <a:pt x="250" y="140"/>
                </a:lnTo>
                <a:lnTo>
                  <a:pt x="249" y="138"/>
                </a:lnTo>
                <a:lnTo>
                  <a:pt x="247" y="136"/>
                </a:lnTo>
                <a:lnTo>
                  <a:pt x="245" y="136"/>
                </a:lnTo>
                <a:lnTo>
                  <a:pt x="244" y="138"/>
                </a:lnTo>
                <a:lnTo>
                  <a:pt x="242" y="140"/>
                </a:lnTo>
                <a:lnTo>
                  <a:pt x="240" y="140"/>
                </a:lnTo>
                <a:lnTo>
                  <a:pt x="240" y="141"/>
                </a:lnTo>
                <a:lnTo>
                  <a:pt x="238" y="143"/>
                </a:lnTo>
                <a:lnTo>
                  <a:pt x="238" y="147"/>
                </a:lnTo>
                <a:lnTo>
                  <a:pt x="237" y="147"/>
                </a:lnTo>
                <a:lnTo>
                  <a:pt x="237" y="148"/>
                </a:lnTo>
                <a:lnTo>
                  <a:pt x="235" y="150"/>
                </a:lnTo>
                <a:lnTo>
                  <a:pt x="235" y="152"/>
                </a:lnTo>
                <a:lnTo>
                  <a:pt x="232" y="150"/>
                </a:lnTo>
                <a:lnTo>
                  <a:pt x="230" y="152"/>
                </a:lnTo>
                <a:lnTo>
                  <a:pt x="228" y="153"/>
                </a:lnTo>
                <a:lnTo>
                  <a:pt x="225" y="153"/>
                </a:lnTo>
                <a:lnTo>
                  <a:pt x="223" y="153"/>
                </a:lnTo>
                <a:lnTo>
                  <a:pt x="221" y="153"/>
                </a:lnTo>
                <a:lnTo>
                  <a:pt x="218" y="153"/>
                </a:lnTo>
                <a:lnTo>
                  <a:pt x="216" y="152"/>
                </a:lnTo>
                <a:lnTo>
                  <a:pt x="215" y="152"/>
                </a:lnTo>
                <a:lnTo>
                  <a:pt x="213" y="150"/>
                </a:lnTo>
                <a:lnTo>
                  <a:pt x="211" y="148"/>
                </a:lnTo>
                <a:lnTo>
                  <a:pt x="211" y="147"/>
                </a:lnTo>
                <a:lnTo>
                  <a:pt x="208" y="145"/>
                </a:lnTo>
                <a:lnTo>
                  <a:pt x="206" y="143"/>
                </a:lnTo>
                <a:lnTo>
                  <a:pt x="204" y="143"/>
                </a:lnTo>
                <a:lnTo>
                  <a:pt x="203" y="141"/>
                </a:lnTo>
                <a:lnTo>
                  <a:pt x="203" y="140"/>
                </a:lnTo>
                <a:lnTo>
                  <a:pt x="199" y="140"/>
                </a:lnTo>
                <a:lnTo>
                  <a:pt x="199" y="138"/>
                </a:lnTo>
                <a:lnTo>
                  <a:pt x="198" y="138"/>
                </a:lnTo>
                <a:lnTo>
                  <a:pt x="196" y="138"/>
                </a:lnTo>
                <a:lnTo>
                  <a:pt x="194" y="138"/>
                </a:lnTo>
                <a:lnTo>
                  <a:pt x="194" y="136"/>
                </a:lnTo>
                <a:lnTo>
                  <a:pt x="193" y="135"/>
                </a:lnTo>
                <a:lnTo>
                  <a:pt x="189" y="135"/>
                </a:lnTo>
                <a:lnTo>
                  <a:pt x="189" y="133"/>
                </a:lnTo>
                <a:lnTo>
                  <a:pt x="186" y="133"/>
                </a:lnTo>
                <a:lnTo>
                  <a:pt x="186" y="131"/>
                </a:lnTo>
                <a:lnTo>
                  <a:pt x="184" y="130"/>
                </a:lnTo>
                <a:lnTo>
                  <a:pt x="182" y="131"/>
                </a:lnTo>
                <a:lnTo>
                  <a:pt x="181" y="131"/>
                </a:lnTo>
                <a:lnTo>
                  <a:pt x="179" y="130"/>
                </a:lnTo>
                <a:lnTo>
                  <a:pt x="179" y="131"/>
                </a:lnTo>
                <a:lnTo>
                  <a:pt x="176" y="131"/>
                </a:lnTo>
                <a:lnTo>
                  <a:pt x="174" y="131"/>
                </a:lnTo>
                <a:lnTo>
                  <a:pt x="172" y="131"/>
                </a:lnTo>
                <a:lnTo>
                  <a:pt x="170" y="133"/>
                </a:lnTo>
                <a:lnTo>
                  <a:pt x="170" y="131"/>
                </a:lnTo>
                <a:lnTo>
                  <a:pt x="167" y="130"/>
                </a:lnTo>
                <a:lnTo>
                  <a:pt x="165" y="131"/>
                </a:lnTo>
                <a:lnTo>
                  <a:pt x="162" y="131"/>
                </a:lnTo>
                <a:lnTo>
                  <a:pt x="160" y="128"/>
                </a:lnTo>
                <a:lnTo>
                  <a:pt x="160" y="126"/>
                </a:lnTo>
                <a:lnTo>
                  <a:pt x="159" y="126"/>
                </a:lnTo>
                <a:lnTo>
                  <a:pt x="155" y="124"/>
                </a:lnTo>
                <a:lnTo>
                  <a:pt x="155" y="121"/>
                </a:lnTo>
                <a:lnTo>
                  <a:pt x="153" y="119"/>
                </a:lnTo>
                <a:lnTo>
                  <a:pt x="152" y="118"/>
                </a:lnTo>
                <a:lnTo>
                  <a:pt x="152" y="116"/>
                </a:lnTo>
                <a:lnTo>
                  <a:pt x="150" y="116"/>
                </a:lnTo>
                <a:lnTo>
                  <a:pt x="150" y="118"/>
                </a:lnTo>
                <a:lnTo>
                  <a:pt x="148" y="118"/>
                </a:lnTo>
                <a:lnTo>
                  <a:pt x="147" y="119"/>
                </a:lnTo>
                <a:lnTo>
                  <a:pt x="145" y="119"/>
                </a:lnTo>
                <a:lnTo>
                  <a:pt x="145" y="121"/>
                </a:lnTo>
                <a:lnTo>
                  <a:pt x="142" y="123"/>
                </a:lnTo>
                <a:lnTo>
                  <a:pt x="142" y="124"/>
                </a:lnTo>
                <a:lnTo>
                  <a:pt x="140" y="126"/>
                </a:lnTo>
                <a:lnTo>
                  <a:pt x="142" y="130"/>
                </a:lnTo>
                <a:lnTo>
                  <a:pt x="140" y="130"/>
                </a:lnTo>
                <a:lnTo>
                  <a:pt x="136" y="131"/>
                </a:lnTo>
                <a:lnTo>
                  <a:pt x="135" y="131"/>
                </a:lnTo>
                <a:lnTo>
                  <a:pt x="133" y="131"/>
                </a:lnTo>
                <a:lnTo>
                  <a:pt x="131" y="130"/>
                </a:lnTo>
                <a:lnTo>
                  <a:pt x="130" y="130"/>
                </a:lnTo>
                <a:lnTo>
                  <a:pt x="130" y="131"/>
                </a:lnTo>
                <a:lnTo>
                  <a:pt x="128" y="131"/>
                </a:lnTo>
                <a:lnTo>
                  <a:pt x="128" y="133"/>
                </a:lnTo>
                <a:lnTo>
                  <a:pt x="126" y="135"/>
                </a:lnTo>
                <a:lnTo>
                  <a:pt x="125" y="135"/>
                </a:lnTo>
                <a:lnTo>
                  <a:pt x="123" y="133"/>
                </a:lnTo>
                <a:lnTo>
                  <a:pt x="121" y="133"/>
                </a:lnTo>
                <a:lnTo>
                  <a:pt x="121" y="131"/>
                </a:lnTo>
                <a:lnTo>
                  <a:pt x="119" y="130"/>
                </a:lnTo>
                <a:lnTo>
                  <a:pt x="118" y="130"/>
                </a:lnTo>
                <a:lnTo>
                  <a:pt x="116" y="131"/>
                </a:lnTo>
                <a:lnTo>
                  <a:pt x="114" y="130"/>
                </a:lnTo>
                <a:lnTo>
                  <a:pt x="113" y="131"/>
                </a:lnTo>
                <a:lnTo>
                  <a:pt x="111" y="131"/>
                </a:lnTo>
                <a:lnTo>
                  <a:pt x="109" y="133"/>
                </a:lnTo>
                <a:lnTo>
                  <a:pt x="109" y="130"/>
                </a:lnTo>
                <a:lnTo>
                  <a:pt x="108" y="130"/>
                </a:lnTo>
                <a:lnTo>
                  <a:pt x="106" y="131"/>
                </a:lnTo>
                <a:lnTo>
                  <a:pt x="104" y="131"/>
                </a:lnTo>
                <a:lnTo>
                  <a:pt x="101" y="133"/>
                </a:lnTo>
                <a:lnTo>
                  <a:pt x="99" y="133"/>
                </a:lnTo>
                <a:lnTo>
                  <a:pt x="97" y="133"/>
                </a:lnTo>
                <a:lnTo>
                  <a:pt x="94" y="131"/>
                </a:lnTo>
                <a:lnTo>
                  <a:pt x="92" y="131"/>
                </a:lnTo>
                <a:lnTo>
                  <a:pt x="91" y="133"/>
                </a:lnTo>
                <a:lnTo>
                  <a:pt x="89" y="133"/>
                </a:lnTo>
                <a:lnTo>
                  <a:pt x="87" y="133"/>
                </a:lnTo>
                <a:lnTo>
                  <a:pt x="87" y="135"/>
                </a:lnTo>
                <a:lnTo>
                  <a:pt x="87" y="136"/>
                </a:lnTo>
                <a:lnTo>
                  <a:pt x="85" y="136"/>
                </a:lnTo>
                <a:lnTo>
                  <a:pt x="85" y="138"/>
                </a:lnTo>
                <a:lnTo>
                  <a:pt x="84" y="138"/>
                </a:lnTo>
                <a:lnTo>
                  <a:pt x="82" y="138"/>
                </a:lnTo>
                <a:lnTo>
                  <a:pt x="80" y="135"/>
                </a:lnTo>
                <a:lnTo>
                  <a:pt x="80" y="133"/>
                </a:lnTo>
                <a:lnTo>
                  <a:pt x="79" y="131"/>
                </a:lnTo>
                <a:lnTo>
                  <a:pt x="77" y="133"/>
                </a:lnTo>
                <a:lnTo>
                  <a:pt x="77" y="135"/>
                </a:lnTo>
                <a:lnTo>
                  <a:pt x="75" y="135"/>
                </a:lnTo>
                <a:lnTo>
                  <a:pt x="74" y="136"/>
                </a:lnTo>
                <a:lnTo>
                  <a:pt x="70" y="136"/>
                </a:lnTo>
                <a:lnTo>
                  <a:pt x="68" y="138"/>
                </a:lnTo>
                <a:lnTo>
                  <a:pt x="67" y="138"/>
                </a:lnTo>
                <a:lnTo>
                  <a:pt x="65" y="136"/>
                </a:lnTo>
                <a:lnTo>
                  <a:pt x="63" y="136"/>
                </a:lnTo>
                <a:lnTo>
                  <a:pt x="62" y="136"/>
                </a:lnTo>
                <a:lnTo>
                  <a:pt x="60" y="136"/>
                </a:lnTo>
                <a:lnTo>
                  <a:pt x="58" y="136"/>
                </a:lnTo>
                <a:lnTo>
                  <a:pt x="55" y="136"/>
                </a:lnTo>
                <a:lnTo>
                  <a:pt x="55" y="138"/>
                </a:lnTo>
                <a:lnTo>
                  <a:pt x="53" y="136"/>
                </a:lnTo>
                <a:lnTo>
                  <a:pt x="51" y="138"/>
                </a:lnTo>
                <a:lnTo>
                  <a:pt x="50" y="136"/>
                </a:lnTo>
                <a:lnTo>
                  <a:pt x="48" y="136"/>
                </a:lnTo>
                <a:lnTo>
                  <a:pt x="46" y="136"/>
                </a:lnTo>
                <a:lnTo>
                  <a:pt x="43" y="138"/>
                </a:lnTo>
                <a:lnTo>
                  <a:pt x="41" y="138"/>
                </a:lnTo>
                <a:lnTo>
                  <a:pt x="41" y="141"/>
                </a:lnTo>
                <a:lnTo>
                  <a:pt x="40" y="141"/>
                </a:lnTo>
                <a:lnTo>
                  <a:pt x="38" y="141"/>
                </a:lnTo>
                <a:lnTo>
                  <a:pt x="38" y="143"/>
                </a:lnTo>
                <a:lnTo>
                  <a:pt x="36" y="143"/>
                </a:lnTo>
                <a:lnTo>
                  <a:pt x="34" y="145"/>
                </a:lnTo>
                <a:lnTo>
                  <a:pt x="33" y="147"/>
                </a:lnTo>
                <a:lnTo>
                  <a:pt x="29" y="148"/>
                </a:lnTo>
                <a:lnTo>
                  <a:pt x="28" y="147"/>
                </a:lnTo>
                <a:lnTo>
                  <a:pt x="26" y="148"/>
                </a:lnTo>
                <a:lnTo>
                  <a:pt x="24" y="150"/>
                </a:lnTo>
                <a:lnTo>
                  <a:pt x="23" y="150"/>
                </a:lnTo>
                <a:lnTo>
                  <a:pt x="23" y="152"/>
                </a:lnTo>
                <a:lnTo>
                  <a:pt x="23" y="153"/>
                </a:lnTo>
                <a:lnTo>
                  <a:pt x="21" y="153"/>
                </a:lnTo>
                <a:lnTo>
                  <a:pt x="19" y="155"/>
                </a:lnTo>
                <a:lnTo>
                  <a:pt x="17" y="157"/>
                </a:lnTo>
                <a:lnTo>
                  <a:pt x="16" y="158"/>
                </a:lnTo>
                <a:lnTo>
                  <a:pt x="16" y="160"/>
                </a:lnTo>
                <a:lnTo>
                  <a:pt x="14" y="160"/>
                </a:lnTo>
                <a:lnTo>
                  <a:pt x="16" y="164"/>
                </a:lnTo>
                <a:lnTo>
                  <a:pt x="14" y="164"/>
                </a:lnTo>
                <a:lnTo>
                  <a:pt x="14" y="167"/>
                </a:lnTo>
                <a:lnTo>
                  <a:pt x="12" y="167"/>
                </a:lnTo>
                <a:lnTo>
                  <a:pt x="9" y="169"/>
                </a:lnTo>
                <a:lnTo>
                  <a:pt x="9" y="167"/>
                </a:lnTo>
                <a:lnTo>
                  <a:pt x="7" y="164"/>
                </a:lnTo>
                <a:lnTo>
                  <a:pt x="7" y="162"/>
                </a:lnTo>
                <a:lnTo>
                  <a:pt x="6" y="160"/>
                </a:lnTo>
                <a:lnTo>
                  <a:pt x="4" y="158"/>
                </a:lnTo>
                <a:lnTo>
                  <a:pt x="4" y="157"/>
                </a:lnTo>
                <a:lnTo>
                  <a:pt x="4" y="155"/>
                </a:lnTo>
                <a:lnTo>
                  <a:pt x="4" y="153"/>
                </a:lnTo>
                <a:lnTo>
                  <a:pt x="4" y="152"/>
                </a:lnTo>
                <a:lnTo>
                  <a:pt x="2" y="150"/>
                </a:lnTo>
                <a:lnTo>
                  <a:pt x="2" y="148"/>
                </a:lnTo>
                <a:lnTo>
                  <a:pt x="2" y="147"/>
                </a:lnTo>
                <a:lnTo>
                  <a:pt x="2" y="143"/>
                </a:lnTo>
                <a:lnTo>
                  <a:pt x="2" y="141"/>
                </a:lnTo>
                <a:lnTo>
                  <a:pt x="2" y="140"/>
                </a:lnTo>
                <a:lnTo>
                  <a:pt x="0" y="138"/>
                </a:lnTo>
                <a:lnTo>
                  <a:pt x="2" y="136"/>
                </a:lnTo>
                <a:lnTo>
                  <a:pt x="0" y="136"/>
                </a:lnTo>
                <a:lnTo>
                  <a:pt x="2" y="136"/>
                </a:lnTo>
                <a:lnTo>
                  <a:pt x="2" y="135"/>
                </a:lnTo>
                <a:lnTo>
                  <a:pt x="2" y="133"/>
                </a:lnTo>
                <a:lnTo>
                  <a:pt x="2" y="131"/>
                </a:lnTo>
                <a:lnTo>
                  <a:pt x="2" y="130"/>
                </a:lnTo>
                <a:lnTo>
                  <a:pt x="2" y="128"/>
                </a:lnTo>
                <a:lnTo>
                  <a:pt x="2" y="126"/>
                </a:lnTo>
                <a:lnTo>
                  <a:pt x="2" y="124"/>
                </a:lnTo>
                <a:lnTo>
                  <a:pt x="2" y="123"/>
                </a:lnTo>
                <a:lnTo>
                  <a:pt x="0" y="119"/>
                </a:lnTo>
                <a:lnTo>
                  <a:pt x="0" y="116"/>
                </a:lnTo>
                <a:lnTo>
                  <a:pt x="0" y="114"/>
                </a:lnTo>
                <a:lnTo>
                  <a:pt x="2" y="113"/>
                </a:lnTo>
                <a:lnTo>
                  <a:pt x="4" y="111"/>
                </a:lnTo>
                <a:lnTo>
                  <a:pt x="6" y="111"/>
                </a:lnTo>
                <a:lnTo>
                  <a:pt x="7" y="107"/>
                </a:lnTo>
                <a:lnTo>
                  <a:pt x="7" y="106"/>
                </a:lnTo>
                <a:lnTo>
                  <a:pt x="9" y="106"/>
                </a:lnTo>
                <a:lnTo>
                  <a:pt x="11" y="102"/>
                </a:lnTo>
                <a:lnTo>
                  <a:pt x="11" y="99"/>
                </a:lnTo>
                <a:lnTo>
                  <a:pt x="12" y="99"/>
                </a:lnTo>
                <a:lnTo>
                  <a:pt x="12" y="96"/>
                </a:lnTo>
                <a:lnTo>
                  <a:pt x="11" y="94"/>
                </a:lnTo>
                <a:lnTo>
                  <a:pt x="11" y="92"/>
                </a:lnTo>
                <a:lnTo>
                  <a:pt x="11" y="90"/>
                </a:lnTo>
                <a:lnTo>
                  <a:pt x="11" y="87"/>
                </a:lnTo>
                <a:lnTo>
                  <a:pt x="9" y="84"/>
                </a:lnTo>
                <a:lnTo>
                  <a:pt x="9" y="82"/>
                </a:lnTo>
                <a:lnTo>
                  <a:pt x="11" y="79"/>
                </a:lnTo>
                <a:lnTo>
                  <a:pt x="11" y="77"/>
                </a:lnTo>
                <a:lnTo>
                  <a:pt x="12" y="77"/>
                </a:lnTo>
                <a:lnTo>
                  <a:pt x="12" y="73"/>
                </a:lnTo>
                <a:lnTo>
                  <a:pt x="14" y="70"/>
                </a:lnTo>
                <a:lnTo>
                  <a:pt x="14" y="68"/>
                </a:lnTo>
                <a:lnTo>
                  <a:pt x="16" y="67"/>
                </a:lnTo>
                <a:lnTo>
                  <a:pt x="16" y="65"/>
                </a:lnTo>
                <a:lnTo>
                  <a:pt x="16" y="63"/>
                </a:lnTo>
                <a:lnTo>
                  <a:pt x="16" y="62"/>
                </a:lnTo>
                <a:lnTo>
                  <a:pt x="17" y="62"/>
                </a:lnTo>
                <a:lnTo>
                  <a:pt x="17" y="60"/>
                </a:lnTo>
                <a:lnTo>
                  <a:pt x="21" y="58"/>
                </a:lnTo>
                <a:lnTo>
                  <a:pt x="23" y="58"/>
                </a:lnTo>
                <a:lnTo>
                  <a:pt x="26" y="56"/>
                </a:lnTo>
                <a:lnTo>
                  <a:pt x="28" y="55"/>
                </a:lnTo>
                <a:lnTo>
                  <a:pt x="29" y="55"/>
                </a:lnTo>
                <a:lnTo>
                  <a:pt x="31" y="53"/>
                </a:lnTo>
                <a:lnTo>
                  <a:pt x="33" y="53"/>
                </a:lnTo>
                <a:lnTo>
                  <a:pt x="34" y="51"/>
                </a:lnTo>
                <a:lnTo>
                  <a:pt x="36" y="50"/>
                </a:lnTo>
                <a:lnTo>
                  <a:pt x="38" y="48"/>
                </a:lnTo>
                <a:lnTo>
                  <a:pt x="41" y="46"/>
                </a:lnTo>
                <a:lnTo>
                  <a:pt x="45" y="43"/>
                </a:lnTo>
                <a:lnTo>
                  <a:pt x="46" y="43"/>
                </a:lnTo>
                <a:lnTo>
                  <a:pt x="48" y="41"/>
                </a:lnTo>
                <a:lnTo>
                  <a:pt x="48" y="44"/>
                </a:lnTo>
                <a:lnTo>
                  <a:pt x="48" y="46"/>
                </a:lnTo>
                <a:lnTo>
                  <a:pt x="48" y="50"/>
                </a:lnTo>
                <a:lnTo>
                  <a:pt x="50" y="51"/>
                </a:lnTo>
                <a:lnTo>
                  <a:pt x="50" y="53"/>
                </a:lnTo>
                <a:lnTo>
                  <a:pt x="51" y="53"/>
                </a:lnTo>
                <a:lnTo>
                  <a:pt x="53" y="55"/>
                </a:lnTo>
                <a:lnTo>
                  <a:pt x="55" y="56"/>
                </a:lnTo>
                <a:lnTo>
                  <a:pt x="58" y="58"/>
                </a:lnTo>
                <a:lnTo>
                  <a:pt x="60" y="58"/>
                </a:lnTo>
                <a:lnTo>
                  <a:pt x="62" y="60"/>
                </a:lnTo>
                <a:lnTo>
                  <a:pt x="63" y="62"/>
                </a:lnTo>
                <a:lnTo>
                  <a:pt x="65" y="63"/>
                </a:lnTo>
                <a:lnTo>
                  <a:pt x="67" y="63"/>
                </a:lnTo>
                <a:lnTo>
                  <a:pt x="68" y="65"/>
                </a:lnTo>
                <a:lnTo>
                  <a:pt x="72" y="65"/>
                </a:lnTo>
                <a:lnTo>
                  <a:pt x="74" y="68"/>
                </a:lnTo>
                <a:lnTo>
                  <a:pt x="74" y="70"/>
                </a:lnTo>
                <a:lnTo>
                  <a:pt x="75" y="72"/>
                </a:lnTo>
                <a:lnTo>
                  <a:pt x="75" y="73"/>
                </a:lnTo>
                <a:lnTo>
                  <a:pt x="77" y="75"/>
                </a:lnTo>
                <a:lnTo>
                  <a:pt x="77" y="77"/>
                </a:lnTo>
                <a:lnTo>
                  <a:pt x="79" y="79"/>
                </a:lnTo>
                <a:lnTo>
                  <a:pt x="79" y="80"/>
                </a:lnTo>
                <a:lnTo>
                  <a:pt x="80" y="82"/>
                </a:lnTo>
                <a:lnTo>
                  <a:pt x="80" y="84"/>
                </a:lnTo>
                <a:lnTo>
                  <a:pt x="82" y="85"/>
                </a:lnTo>
                <a:lnTo>
                  <a:pt x="85" y="85"/>
                </a:lnTo>
                <a:lnTo>
                  <a:pt x="87" y="85"/>
                </a:lnTo>
                <a:lnTo>
                  <a:pt x="89" y="85"/>
                </a:lnTo>
                <a:lnTo>
                  <a:pt x="91" y="85"/>
                </a:lnTo>
                <a:lnTo>
                  <a:pt x="91" y="87"/>
                </a:lnTo>
                <a:lnTo>
                  <a:pt x="92" y="89"/>
                </a:lnTo>
                <a:lnTo>
                  <a:pt x="94" y="89"/>
                </a:lnTo>
                <a:lnTo>
                  <a:pt x="97" y="89"/>
                </a:lnTo>
                <a:lnTo>
                  <a:pt x="99" y="89"/>
                </a:lnTo>
                <a:lnTo>
                  <a:pt x="101" y="89"/>
                </a:lnTo>
                <a:lnTo>
                  <a:pt x="102" y="87"/>
                </a:lnTo>
                <a:lnTo>
                  <a:pt x="104" y="85"/>
                </a:lnTo>
                <a:lnTo>
                  <a:pt x="106" y="85"/>
                </a:lnTo>
                <a:lnTo>
                  <a:pt x="108" y="84"/>
                </a:lnTo>
                <a:lnTo>
                  <a:pt x="109" y="82"/>
                </a:lnTo>
                <a:lnTo>
                  <a:pt x="109" y="80"/>
                </a:lnTo>
                <a:lnTo>
                  <a:pt x="111" y="79"/>
                </a:lnTo>
                <a:lnTo>
                  <a:pt x="113" y="77"/>
                </a:lnTo>
                <a:lnTo>
                  <a:pt x="114" y="75"/>
                </a:lnTo>
                <a:lnTo>
                  <a:pt x="116" y="73"/>
                </a:lnTo>
                <a:lnTo>
                  <a:pt x="118" y="72"/>
                </a:lnTo>
                <a:lnTo>
                  <a:pt x="118" y="70"/>
                </a:lnTo>
                <a:lnTo>
                  <a:pt x="119" y="68"/>
                </a:lnTo>
                <a:lnTo>
                  <a:pt x="121" y="65"/>
                </a:lnTo>
                <a:lnTo>
                  <a:pt x="121" y="62"/>
                </a:lnTo>
                <a:lnTo>
                  <a:pt x="119" y="60"/>
                </a:lnTo>
                <a:lnTo>
                  <a:pt x="119" y="58"/>
                </a:lnTo>
                <a:lnTo>
                  <a:pt x="119" y="56"/>
                </a:lnTo>
                <a:lnTo>
                  <a:pt x="119" y="55"/>
                </a:lnTo>
                <a:lnTo>
                  <a:pt x="118" y="53"/>
                </a:lnTo>
                <a:lnTo>
                  <a:pt x="118" y="50"/>
                </a:lnTo>
                <a:lnTo>
                  <a:pt x="118" y="48"/>
                </a:lnTo>
                <a:lnTo>
                  <a:pt x="116" y="46"/>
                </a:lnTo>
                <a:lnTo>
                  <a:pt x="116" y="44"/>
                </a:lnTo>
                <a:lnTo>
                  <a:pt x="114" y="41"/>
                </a:lnTo>
                <a:lnTo>
                  <a:pt x="116" y="39"/>
                </a:lnTo>
                <a:lnTo>
                  <a:pt x="114" y="38"/>
                </a:lnTo>
                <a:lnTo>
                  <a:pt x="114" y="34"/>
                </a:lnTo>
                <a:lnTo>
                  <a:pt x="113" y="34"/>
                </a:lnTo>
                <a:lnTo>
                  <a:pt x="113" y="31"/>
                </a:lnTo>
                <a:lnTo>
                  <a:pt x="113" y="29"/>
                </a:lnTo>
                <a:lnTo>
                  <a:pt x="111" y="27"/>
                </a:lnTo>
                <a:lnTo>
                  <a:pt x="111" y="26"/>
                </a:lnTo>
                <a:lnTo>
                  <a:pt x="111" y="22"/>
                </a:lnTo>
                <a:lnTo>
                  <a:pt x="111" y="21"/>
                </a:lnTo>
                <a:lnTo>
                  <a:pt x="113" y="22"/>
                </a:lnTo>
                <a:lnTo>
                  <a:pt x="114" y="21"/>
                </a:lnTo>
                <a:lnTo>
                  <a:pt x="114" y="17"/>
                </a:lnTo>
                <a:lnTo>
                  <a:pt x="116" y="16"/>
                </a:lnTo>
                <a:lnTo>
                  <a:pt x="118" y="14"/>
                </a:lnTo>
                <a:lnTo>
                  <a:pt x="119" y="16"/>
                </a:lnTo>
                <a:lnTo>
                  <a:pt x="119" y="14"/>
                </a:lnTo>
                <a:lnTo>
                  <a:pt x="121" y="14"/>
                </a:lnTo>
                <a:lnTo>
                  <a:pt x="123" y="12"/>
                </a:lnTo>
                <a:lnTo>
                  <a:pt x="123" y="10"/>
                </a:lnTo>
                <a:lnTo>
                  <a:pt x="126" y="10"/>
                </a:lnTo>
                <a:lnTo>
                  <a:pt x="128" y="10"/>
                </a:lnTo>
                <a:lnTo>
                  <a:pt x="130" y="7"/>
                </a:lnTo>
                <a:lnTo>
                  <a:pt x="131" y="7"/>
                </a:lnTo>
                <a:lnTo>
                  <a:pt x="133" y="7"/>
                </a:lnTo>
                <a:lnTo>
                  <a:pt x="133" y="5"/>
                </a:lnTo>
                <a:lnTo>
                  <a:pt x="135" y="2"/>
                </a:lnTo>
                <a:lnTo>
                  <a:pt x="136" y="2"/>
                </a:lnTo>
                <a:lnTo>
                  <a:pt x="138" y="2"/>
                </a:lnTo>
                <a:lnTo>
                  <a:pt x="138" y="0"/>
                </a:lnTo>
                <a:lnTo>
                  <a:pt x="140" y="2"/>
                </a:lnTo>
                <a:lnTo>
                  <a:pt x="140" y="4"/>
                </a:lnTo>
                <a:lnTo>
                  <a:pt x="142" y="5"/>
                </a:lnTo>
                <a:lnTo>
                  <a:pt x="140" y="5"/>
                </a:lnTo>
                <a:lnTo>
                  <a:pt x="142" y="7"/>
                </a:lnTo>
                <a:lnTo>
                  <a:pt x="143" y="5"/>
                </a:lnTo>
                <a:lnTo>
                  <a:pt x="143" y="4"/>
                </a:lnTo>
                <a:lnTo>
                  <a:pt x="142" y="2"/>
                </a:lnTo>
                <a:lnTo>
                  <a:pt x="142" y="0"/>
                </a:lnTo>
                <a:lnTo>
                  <a:pt x="143" y="2"/>
                </a:lnTo>
                <a:lnTo>
                  <a:pt x="145" y="4"/>
                </a:lnTo>
                <a:lnTo>
                  <a:pt x="147" y="2"/>
                </a:lnTo>
                <a:lnTo>
                  <a:pt x="148" y="4"/>
                </a:lnTo>
                <a:lnTo>
                  <a:pt x="150" y="4"/>
                </a:lnTo>
                <a:lnTo>
                  <a:pt x="148" y="5"/>
                </a:lnTo>
                <a:lnTo>
                  <a:pt x="150" y="5"/>
                </a:lnTo>
                <a:lnTo>
                  <a:pt x="152" y="5"/>
                </a:lnTo>
                <a:lnTo>
                  <a:pt x="153" y="5"/>
                </a:lnTo>
                <a:lnTo>
                  <a:pt x="153" y="7"/>
                </a:lnTo>
                <a:lnTo>
                  <a:pt x="153" y="5"/>
                </a:lnTo>
                <a:lnTo>
                  <a:pt x="155" y="7"/>
                </a:lnTo>
                <a:lnTo>
                  <a:pt x="157" y="7"/>
                </a:lnTo>
                <a:lnTo>
                  <a:pt x="159" y="9"/>
                </a:lnTo>
                <a:lnTo>
                  <a:pt x="160" y="7"/>
                </a:lnTo>
                <a:lnTo>
                  <a:pt x="162" y="9"/>
                </a:lnTo>
                <a:lnTo>
                  <a:pt x="164" y="10"/>
                </a:lnTo>
                <a:lnTo>
                  <a:pt x="167" y="10"/>
                </a:lnTo>
                <a:lnTo>
                  <a:pt x="167" y="12"/>
                </a:lnTo>
                <a:lnTo>
                  <a:pt x="170" y="10"/>
                </a:lnTo>
                <a:lnTo>
                  <a:pt x="174" y="10"/>
                </a:lnTo>
                <a:lnTo>
                  <a:pt x="174" y="12"/>
                </a:lnTo>
                <a:lnTo>
                  <a:pt x="174" y="14"/>
                </a:lnTo>
                <a:lnTo>
                  <a:pt x="172" y="14"/>
                </a:lnTo>
                <a:lnTo>
                  <a:pt x="174" y="16"/>
                </a:lnTo>
                <a:lnTo>
                  <a:pt x="176" y="16"/>
                </a:lnTo>
                <a:lnTo>
                  <a:pt x="177" y="16"/>
                </a:lnTo>
                <a:lnTo>
                  <a:pt x="177" y="17"/>
                </a:lnTo>
                <a:lnTo>
                  <a:pt x="181" y="17"/>
                </a:lnTo>
                <a:lnTo>
                  <a:pt x="181" y="21"/>
                </a:lnTo>
                <a:lnTo>
                  <a:pt x="182" y="21"/>
                </a:lnTo>
                <a:lnTo>
                  <a:pt x="184" y="24"/>
                </a:lnTo>
                <a:lnTo>
                  <a:pt x="186" y="26"/>
                </a:lnTo>
                <a:lnTo>
                  <a:pt x="187" y="26"/>
                </a:lnTo>
                <a:lnTo>
                  <a:pt x="191" y="26"/>
                </a:lnTo>
                <a:lnTo>
                  <a:pt x="193" y="26"/>
                </a:lnTo>
                <a:lnTo>
                  <a:pt x="194" y="27"/>
                </a:lnTo>
                <a:lnTo>
                  <a:pt x="194" y="29"/>
                </a:lnTo>
                <a:lnTo>
                  <a:pt x="196" y="29"/>
                </a:lnTo>
                <a:lnTo>
                  <a:pt x="198" y="29"/>
                </a:lnTo>
                <a:lnTo>
                  <a:pt x="198" y="26"/>
                </a:lnTo>
                <a:lnTo>
                  <a:pt x="198" y="27"/>
                </a:lnTo>
                <a:lnTo>
                  <a:pt x="199" y="29"/>
                </a:lnTo>
                <a:lnTo>
                  <a:pt x="199" y="27"/>
                </a:lnTo>
                <a:lnTo>
                  <a:pt x="201" y="24"/>
                </a:lnTo>
                <a:lnTo>
                  <a:pt x="199" y="24"/>
                </a:lnTo>
                <a:lnTo>
                  <a:pt x="203" y="24"/>
                </a:lnTo>
                <a:lnTo>
                  <a:pt x="203" y="22"/>
                </a:lnTo>
                <a:lnTo>
                  <a:pt x="204" y="24"/>
                </a:lnTo>
                <a:lnTo>
                  <a:pt x="204" y="22"/>
                </a:lnTo>
                <a:lnTo>
                  <a:pt x="206" y="21"/>
                </a:lnTo>
                <a:lnTo>
                  <a:pt x="206" y="19"/>
                </a:lnTo>
                <a:lnTo>
                  <a:pt x="208" y="17"/>
                </a:lnTo>
                <a:lnTo>
                  <a:pt x="210" y="19"/>
                </a:lnTo>
                <a:lnTo>
                  <a:pt x="213" y="19"/>
                </a:lnTo>
                <a:lnTo>
                  <a:pt x="216" y="21"/>
                </a:lnTo>
                <a:lnTo>
                  <a:pt x="218" y="21"/>
                </a:lnTo>
                <a:lnTo>
                  <a:pt x="220" y="21"/>
                </a:lnTo>
                <a:lnTo>
                  <a:pt x="221" y="21"/>
                </a:lnTo>
                <a:lnTo>
                  <a:pt x="223" y="21"/>
                </a:lnTo>
                <a:lnTo>
                  <a:pt x="227" y="21"/>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81" name="Freeform 19">
            <a:extLst>
              <a:ext uri="{FF2B5EF4-FFF2-40B4-BE49-F238E27FC236}">
                <a16:creationId xmlns:a16="http://schemas.microsoft.com/office/drawing/2014/main" id="{937941BA-0FDF-40C4-9CEE-4758D6C44C34}"/>
              </a:ext>
            </a:extLst>
          </p:cNvPr>
          <p:cNvSpPr>
            <a:spLocks/>
          </p:cNvSpPr>
          <p:nvPr/>
        </p:nvSpPr>
        <p:spPr bwMode="gray">
          <a:xfrm>
            <a:off x="4719545" y="4270849"/>
            <a:ext cx="861093" cy="684970"/>
          </a:xfrm>
          <a:custGeom>
            <a:avLst/>
            <a:gdLst>
              <a:gd name="T0" fmla="*/ 315 w 316"/>
              <a:gd name="T1" fmla="*/ 29 h 240"/>
              <a:gd name="T2" fmla="*/ 303 w 316"/>
              <a:gd name="T3" fmla="*/ 36 h 240"/>
              <a:gd name="T4" fmla="*/ 291 w 316"/>
              <a:gd name="T5" fmla="*/ 53 h 240"/>
              <a:gd name="T6" fmla="*/ 289 w 316"/>
              <a:gd name="T7" fmla="*/ 70 h 240"/>
              <a:gd name="T8" fmla="*/ 296 w 316"/>
              <a:gd name="T9" fmla="*/ 90 h 240"/>
              <a:gd name="T10" fmla="*/ 284 w 316"/>
              <a:gd name="T11" fmla="*/ 97 h 240"/>
              <a:gd name="T12" fmla="*/ 277 w 316"/>
              <a:gd name="T13" fmla="*/ 111 h 240"/>
              <a:gd name="T14" fmla="*/ 287 w 316"/>
              <a:gd name="T15" fmla="*/ 111 h 240"/>
              <a:gd name="T16" fmla="*/ 296 w 316"/>
              <a:gd name="T17" fmla="*/ 118 h 240"/>
              <a:gd name="T18" fmla="*/ 308 w 316"/>
              <a:gd name="T19" fmla="*/ 131 h 240"/>
              <a:gd name="T20" fmla="*/ 308 w 316"/>
              <a:gd name="T21" fmla="*/ 140 h 240"/>
              <a:gd name="T22" fmla="*/ 299 w 316"/>
              <a:gd name="T23" fmla="*/ 141 h 240"/>
              <a:gd name="T24" fmla="*/ 286 w 316"/>
              <a:gd name="T25" fmla="*/ 146 h 240"/>
              <a:gd name="T26" fmla="*/ 267 w 316"/>
              <a:gd name="T27" fmla="*/ 143 h 240"/>
              <a:gd name="T28" fmla="*/ 253 w 316"/>
              <a:gd name="T29" fmla="*/ 153 h 240"/>
              <a:gd name="T30" fmla="*/ 242 w 316"/>
              <a:gd name="T31" fmla="*/ 163 h 240"/>
              <a:gd name="T32" fmla="*/ 233 w 316"/>
              <a:gd name="T33" fmla="*/ 177 h 240"/>
              <a:gd name="T34" fmla="*/ 218 w 316"/>
              <a:gd name="T35" fmla="*/ 182 h 240"/>
              <a:gd name="T36" fmla="*/ 226 w 316"/>
              <a:gd name="T37" fmla="*/ 196 h 240"/>
              <a:gd name="T38" fmla="*/ 218 w 316"/>
              <a:gd name="T39" fmla="*/ 209 h 240"/>
              <a:gd name="T40" fmla="*/ 201 w 316"/>
              <a:gd name="T41" fmla="*/ 214 h 240"/>
              <a:gd name="T42" fmla="*/ 179 w 316"/>
              <a:gd name="T43" fmla="*/ 220 h 240"/>
              <a:gd name="T44" fmla="*/ 158 w 316"/>
              <a:gd name="T45" fmla="*/ 220 h 240"/>
              <a:gd name="T46" fmla="*/ 143 w 316"/>
              <a:gd name="T47" fmla="*/ 213 h 240"/>
              <a:gd name="T48" fmla="*/ 128 w 316"/>
              <a:gd name="T49" fmla="*/ 211 h 240"/>
              <a:gd name="T50" fmla="*/ 116 w 316"/>
              <a:gd name="T51" fmla="*/ 220 h 240"/>
              <a:gd name="T52" fmla="*/ 102 w 316"/>
              <a:gd name="T53" fmla="*/ 228 h 240"/>
              <a:gd name="T54" fmla="*/ 83 w 316"/>
              <a:gd name="T55" fmla="*/ 232 h 240"/>
              <a:gd name="T56" fmla="*/ 70 w 316"/>
              <a:gd name="T57" fmla="*/ 240 h 240"/>
              <a:gd name="T58" fmla="*/ 60 w 316"/>
              <a:gd name="T59" fmla="*/ 230 h 240"/>
              <a:gd name="T60" fmla="*/ 60 w 316"/>
              <a:gd name="T61" fmla="*/ 211 h 240"/>
              <a:gd name="T62" fmla="*/ 48 w 316"/>
              <a:gd name="T63" fmla="*/ 194 h 240"/>
              <a:gd name="T64" fmla="*/ 32 w 316"/>
              <a:gd name="T65" fmla="*/ 189 h 240"/>
              <a:gd name="T66" fmla="*/ 17 w 316"/>
              <a:gd name="T67" fmla="*/ 177 h 240"/>
              <a:gd name="T68" fmla="*/ 26 w 316"/>
              <a:gd name="T69" fmla="*/ 163 h 240"/>
              <a:gd name="T70" fmla="*/ 21 w 316"/>
              <a:gd name="T71" fmla="*/ 146 h 240"/>
              <a:gd name="T72" fmla="*/ 26 w 316"/>
              <a:gd name="T73" fmla="*/ 135 h 240"/>
              <a:gd name="T74" fmla="*/ 34 w 316"/>
              <a:gd name="T75" fmla="*/ 123 h 240"/>
              <a:gd name="T76" fmla="*/ 39 w 316"/>
              <a:gd name="T77" fmla="*/ 109 h 240"/>
              <a:gd name="T78" fmla="*/ 24 w 316"/>
              <a:gd name="T79" fmla="*/ 99 h 240"/>
              <a:gd name="T80" fmla="*/ 9 w 316"/>
              <a:gd name="T81" fmla="*/ 89 h 240"/>
              <a:gd name="T82" fmla="*/ 0 w 316"/>
              <a:gd name="T83" fmla="*/ 73 h 240"/>
              <a:gd name="T84" fmla="*/ 5 w 316"/>
              <a:gd name="T85" fmla="*/ 55 h 240"/>
              <a:gd name="T86" fmla="*/ 17 w 316"/>
              <a:gd name="T87" fmla="*/ 44 h 240"/>
              <a:gd name="T88" fmla="*/ 26 w 316"/>
              <a:gd name="T89" fmla="*/ 55 h 240"/>
              <a:gd name="T90" fmla="*/ 34 w 316"/>
              <a:gd name="T91" fmla="*/ 67 h 240"/>
              <a:gd name="T92" fmla="*/ 55 w 316"/>
              <a:gd name="T93" fmla="*/ 61 h 240"/>
              <a:gd name="T94" fmla="*/ 80 w 316"/>
              <a:gd name="T95" fmla="*/ 63 h 240"/>
              <a:gd name="T96" fmla="*/ 100 w 316"/>
              <a:gd name="T97" fmla="*/ 61 h 240"/>
              <a:gd name="T98" fmla="*/ 121 w 316"/>
              <a:gd name="T99" fmla="*/ 58 h 240"/>
              <a:gd name="T100" fmla="*/ 141 w 316"/>
              <a:gd name="T101" fmla="*/ 53 h 240"/>
              <a:gd name="T102" fmla="*/ 162 w 316"/>
              <a:gd name="T103" fmla="*/ 53 h 240"/>
              <a:gd name="T104" fmla="*/ 177 w 316"/>
              <a:gd name="T105" fmla="*/ 36 h 240"/>
              <a:gd name="T106" fmla="*/ 189 w 316"/>
              <a:gd name="T107" fmla="*/ 22 h 240"/>
              <a:gd name="T108" fmla="*/ 204 w 316"/>
              <a:gd name="T109" fmla="*/ 14 h 240"/>
              <a:gd name="T110" fmla="*/ 221 w 316"/>
              <a:gd name="T111" fmla="*/ 4 h 240"/>
              <a:gd name="T112" fmla="*/ 243 w 316"/>
              <a:gd name="T113" fmla="*/ 4 h 240"/>
              <a:gd name="T114" fmla="*/ 260 w 316"/>
              <a:gd name="T115" fmla="*/ 2 h 240"/>
              <a:gd name="T116" fmla="*/ 276 w 316"/>
              <a:gd name="T117" fmla="*/ 2 h 240"/>
              <a:gd name="T118" fmla="*/ 294 w 316"/>
              <a:gd name="T119" fmla="*/ 14 h 240"/>
              <a:gd name="T120" fmla="*/ 311 w 316"/>
              <a:gd name="T121" fmla="*/ 1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6" h="240">
                <a:moveTo>
                  <a:pt x="311" y="10"/>
                </a:moveTo>
                <a:lnTo>
                  <a:pt x="311" y="12"/>
                </a:lnTo>
                <a:lnTo>
                  <a:pt x="311" y="14"/>
                </a:lnTo>
                <a:lnTo>
                  <a:pt x="311" y="15"/>
                </a:lnTo>
                <a:lnTo>
                  <a:pt x="313" y="17"/>
                </a:lnTo>
                <a:lnTo>
                  <a:pt x="313" y="19"/>
                </a:lnTo>
                <a:lnTo>
                  <a:pt x="313" y="21"/>
                </a:lnTo>
                <a:lnTo>
                  <a:pt x="316" y="24"/>
                </a:lnTo>
                <a:lnTo>
                  <a:pt x="316" y="27"/>
                </a:lnTo>
                <a:lnTo>
                  <a:pt x="315" y="29"/>
                </a:lnTo>
                <a:lnTo>
                  <a:pt x="315" y="31"/>
                </a:lnTo>
                <a:lnTo>
                  <a:pt x="315" y="32"/>
                </a:lnTo>
                <a:lnTo>
                  <a:pt x="313" y="34"/>
                </a:lnTo>
                <a:lnTo>
                  <a:pt x="311" y="36"/>
                </a:lnTo>
                <a:lnTo>
                  <a:pt x="311" y="38"/>
                </a:lnTo>
                <a:lnTo>
                  <a:pt x="311" y="36"/>
                </a:lnTo>
                <a:lnTo>
                  <a:pt x="310" y="36"/>
                </a:lnTo>
                <a:lnTo>
                  <a:pt x="308" y="36"/>
                </a:lnTo>
                <a:lnTo>
                  <a:pt x="306" y="36"/>
                </a:lnTo>
                <a:lnTo>
                  <a:pt x="303" y="36"/>
                </a:lnTo>
                <a:lnTo>
                  <a:pt x="301" y="38"/>
                </a:lnTo>
                <a:lnTo>
                  <a:pt x="298" y="38"/>
                </a:lnTo>
                <a:lnTo>
                  <a:pt x="296" y="38"/>
                </a:lnTo>
                <a:lnTo>
                  <a:pt x="294" y="41"/>
                </a:lnTo>
                <a:lnTo>
                  <a:pt x="293" y="41"/>
                </a:lnTo>
                <a:lnTo>
                  <a:pt x="293" y="44"/>
                </a:lnTo>
                <a:lnTo>
                  <a:pt x="293" y="48"/>
                </a:lnTo>
                <a:lnTo>
                  <a:pt x="293" y="51"/>
                </a:lnTo>
                <a:lnTo>
                  <a:pt x="293" y="53"/>
                </a:lnTo>
                <a:lnTo>
                  <a:pt x="291" y="53"/>
                </a:lnTo>
                <a:lnTo>
                  <a:pt x="287" y="55"/>
                </a:lnTo>
                <a:lnTo>
                  <a:pt x="287" y="56"/>
                </a:lnTo>
                <a:lnTo>
                  <a:pt x="286" y="56"/>
                </a:lnTo>
                <a:lnTo>
                  <a:pt x="287" y="58"/>
                </a:lnTo>
                <a:lnTo>
                  <a:pt x="289" y="58"/>
                </a:lnTo>
                <a:lnTo>
                  <a:pt x="289" y="60"/>
                </a:lnTo>
                <a:lnTo>
                  <a:pt x="289" y="61"/>
                </a:lnTo>
                <a:lnTo>
                  <a:pt x="289" y="65"/>
                </a:lnTo>
                <a:lnTo>
                  <a:pt x="289" y="67"/>
                </a:lnTo>
                <a:lnTo>
                  <a:pt x="289" y="70"/>
                </a:lnTo>
                <a:lnTo>
                  <a:pt x="291" y="72"/>
                </a:lnTo>
                <a:lnTo>
                  <a:pt x="291" y="73"/>
                </a:lnTo>
                <a:lnTo>
                  <a:pt x="291" y="75"/>
                </a:lnTo>
                <a:lnTo>
                  <a:pt x="293" y="78"/>
                </a:lnTo>
                <a:lnTo>
                  <a:pt x="293" y="80"/>
                </a:lnTo>
                <a:lnTo>
                  <a:pt x="293" y="82"/>
                </a:lnTo>
                <a:lnTo>
                  <a:pt x="294" y="85"/>
                </a:lnTo>
                <a:lnTo>
                  <a:pt x="294" y="87"/>
                </a:lnTo>
                <a:lnTo>
                  <a:pt x="294" y="89"/>
                </a:lnTo>
                <a:lnTo>
                  <a:pt x="296" y="90"/>
                </a:lnTo>
                <a:lnTo>
                  <a:pt x="294" y="90"/>
                </a:lnTo>
                <a:lnTo>
                  <a:pt x="293" y="90"/>
                </a:lnTo>
                <a:lnTo>
                  <a:pt x="291" y="90"/>
                </a:lnTo>
                <a:lnTo>
                  <a:pt x="287" y="90"/>
                </a:lnTo>
                <a:lnTo>
                  <a:pt x="286" y="92"/>
                </a:lnTo>
                <a:lnTo>
                  <a:pt x="286" y="94"/>
                </a:lnTo>
                <a:lnTo>
                  <a:pt x="287" y="95"/>
                </a:lnTo>
                <a:lnTo>
                  <a:pt x="286" y="95"/>
                </a:lnTo>
                <a:lnTo>
                  <a:pt x="286" y="97"/>
                </a:lnTo>
                <a:lnTo>
                  <a:pt x="284" y="97"/>
                </a:lnTo>
                <a:lnTo>
                  <a:pt x="284" y="99"/>
                </a:lnTo>
                <a:lnTo>
                  <a:pt x="284" y="101"/>
                </a:lnTo>
                <a:lnTo>
                  <a:pt x="284" y="102"/>
                </a:lnTo>
                <a:lnTo>
                  <a:pt x="286" y="102"/>
                </a:lnTo>
                <a:lnTo>
                  <a:pt x="284" y="102"/>
                </a:lnTo>
                <a:lnTo>
                  <a:pt x="282" y="104"/>
                </a:lnTo>
                <a:lnTo>
                  <a:pt x="281" y="104"/>
                </a:lnTo>
                <a:lnTo>
                  <a:pt x="279" y="106"/>
                </a:lnTo>
                <a:lnTo>
                  <a:pt x="277" y="107"/>
                </a:lnTo>
                <a:lnTo>
                  <a:pt x="277" y="111"/>
                </a:lnTo>
                <a:lnTo>
                  <a:pt x="276" y="112"/>
                </a:lnTo>
                <a:lnTo>
                  <a:pt x="277" y="112"/>
                </a:lnTo>
                <a:lnTo>
                  <a:pt x="277" y="114"/>
                </a:lnTo>
                <a:lnTo>
                  <a:pt x="279" y="114"/>
                </a:lnTo>
                <a:lnTo>
                  <a:pt x="279" y="112"/>
                </a:lnTo>
                <a:lnTo>
                  <a:pt x="281" y="114"/>
                </a:lnTo>
                <a:lnTo>
                  <a:pt x="281" y="111"/>
                </a:lnTo>
                <a:lnTo>
                  <a:pt x="284" y="111"/>
                </a:lnTo>
                <a:lnTo>
                  <a:pt x="286" y="111"/>
                </a:lnTo>
                <a:lnTo>
                  <a:pt x="287" y="111"/>
                </a:lnTo>
                <a:lnTo>
                  <a:pt x="287" y="112"/>
                </a:lnTo>
                <a:lnTo>
                  <a:pt x="289" y="111"/>
                </a:lnTo>
                <a:lnTo>
                  <a:pt x="291" y="112"/>
                </a:lnTo>
                <a:lnTo>
                  <a:pt x="293" y="112"/>
                </a:lnTo>
                <a:lnTo>
                  <a:pt x="291" y="114"/>
                </a:lnTo>
                <a:lnTo>
                  <a:pt x="293" y="114"/>
                </a:lnTo>
                <a:lnTo>
                  <a:pt x="293" y="116"/>
                </a:lnTo>
                <a:lnTo>
                  <a:pt x="294" y="118"/>
                </a:lnTo>
                <a:lnTo>
                  <a:pt x="296" y="116"/>
                </a:lnTo>
                <a:lnTo>
                  <a:pt x="296" y="118"/>
                </a:lnTo>
                <a:lnTo>
                  <a:pt x="298" y="118"/>
                </a:lnTo>
                <a:lnTo>
                  <a:pt x="296" y="121"/>
                </a:lnTo>
                <a:lnTo>
                  <a:pt x="296" y="123"/>
                </a:lnTo>
                <a:lnTo>
                  <a:pt x="298" y="123"/>
                </a:lnTo>
                <a:lnTo>
                  <a:pt x="298" y="124"/>
                </a:lnTo>
                <a:lnTo>
                  <a:pt x="301" y="126"/>
                </a:lnTo>
                <a:lnTo>
                  <a:pt x="303" y="128"/>
                </a:lnTo>
                <a:lnTo>
                  <a:pt x="304" y="128"/>
                </a:lnTo>
                <a:lnTo>
                  <a:pt x="306" y="129"/>
                </a:lnTo>
                <a:lnTo>
                  <a:pt x="308" y="131"/>
                </a:lnTo>
                <a:lnTo>
                  <a:pt x="310" y="133"/>
                </a:lnTo>
                <a:lnTo>
                  <a:pt x="311" y="133"/>
                </a:lnTo>
                <a:lnTo>
                  <a:pt x="313" y="135"/>
                </a:lnTo>
                <a:lnTo>
                  <a:pt x="313" y="136"/>
                </a:lnTo>
                <a:lnTo>
                  <a:pt x="315" y="136"/>
                </a:lnTo>
                <a:lnTo>
                  <a:pt x="315" y="138"/>
                </a:lnTo>
                <a:lnTo>
                  <a:pt x="311" y="138"/>
                </a:lnTo>
                <a:lnTo>
                  <a:pt x="311" y="140"/>
                </a:lnTo>
                <a:lnTo>
                  <a:pt x="310" y="138"/>
                </a:lnTo>
                <a:lnTo>
                  <a:pt x="308" y="140"/>
                </a:lnTo>
                <a:lnTo>
                  <a:pt x="308" y="138"/>
                </a:lnTo>
                <a:lnTo>
                  <a:pt x="306" y="138"/>
                </a:lnTo>
                <a:lnTo>
                  <a:pt x="306" y="140"/>
                </a:lnTo>
                <a:lnTo>
                  <a:pt x="304" y="138"/>
                </a:lnTo>
                <a:lnTo>
                  <a:pt x="303" y="140"/>
                </a:lnTo>
                <a:lnTo>
                  <a:pt x="304" y="143"/>
                </a:lnTo>
                <a:lnTo>
                  <a:pt x="303" y="143"/>
                </a:lnTo>
                <a:lnTo>
                  <a:pt x="303" y="141"/>
                </a:lnTo>
                <a:lnTo>
                  <a:pt x="299" y="143"/>
                </a:lnTo>
                <a:lnTo>
                  <a:pt x="299" y="141"/>
                </a:lnTo>
                <a:lnTo>
                  <a:pt x="298" y="143"/>
                </a:lnTo>
                <a:lnTo>
                  <a:pt x="296" y="145"/>
                </a:lnTo>
                <a:lnTo>
                  <a:pt x="294" y="145"/>
                </a:lnTo>
                <a:lnTo>
                  <a:pt x="294" y="146"/>
                </a:lnTo>
                <a:lnTo>
                  <a:pt x="293" y="146"/>
                </a:lnTo>
                <a:lnTo>
                  <a:pt x="293" y="150"/>
                </a:lnTo>
                <a:lnTo>
                  <a:pt x="291" y="148"/>
                </a:lnTo>
                <a:lnTo>
                  <a:pt x="289" y="146"/>
                </a:lnTo>
                <a:lnTo>
                  <a:pt x="287" y="146"/>
                </a:lnTo>
                <a:lnTo>
                  <a:pt x="286" y="146"/>
                </a:lnTo>
                <a:lnTo>
                  <a:pt x="284" y="145"/>
                </a:lnTo>
                <a:lnTo>
                  <a:pt x="282" y="145"/>
                </a:lnTo>
                <a:lnTo>
                  <a:pt x="281" y="141"/>
                </a:lnTo>
                <a:lnTo>
                  <a:pt x="277" y="141"/>
                </a:lnTo>
                <a:lnTo>
                  <a:pt x="277" y="140"/>
                </a:lnTo>
                <a:lnTo>
                  <a:pt x="276" y="140"/>
                </a:lnTo>
                <a:lnTo>
                  <a:pt x="274" y="140"/>
                </a:lnTo>
                <a:lnTo>
                  <a:pt x="270" y="140"/>
                </a:lnTo>
                <a:lnTo>
                  <a:pt x="270" y="143"/>
                </a:lnTo>
                <a:lnTo>
                  <a:pt x="267" y="143"/>
                </a:lnTo>
                <a:lnTo>
                  <a:pt x="265" y="141"/>
                </a:lnTo>
                <a:lnTo>
                  <a:pt x="264" y="143"/>
                </a:lnTo>
                <a:lnTo>
                  <a:pt x="262" y="143"/>
                </a:lnTo>
                <a:lnTo>
                  <a:pt x="262" y="145"/>
                </a:lnTo>
                <a:lnTo>
                  <a:pt x="260" y="146"/>
                </a:lnTo>
                <a:lnTo>
                  <a:pt x="260" y="150"/>
                </a:lnTo>
                <a:lnTo>
                  <a:pt x="259" y="150"/>
                </a:lnTo>
                <a:lnTo>
                  <a:pt x="257" y="152"/>
                </a:lnTo>
                <a:lnTo>
                  <a:pt x="255" y="152"/>
                </a:lnTo>
                <a:lnTo>
                  <a:pt x="253" y="153"/>
                </a:lnTo>
                <a:lnTo>
                  <a:pt x="250" y="153"/>
                </a:lnTo>
                <a:lnTo>
                  <a:pt x="250" y="155"/>
                </a:lnTo>
                <a:lnTo>
                  <a:pt x="247" y="155"/>
                </a:lnTo>
                <a:lnTo>
                  <a:pt x="245" y="157"/>
                </a:lnTo>
                <a:lnTo>
                  <a:pt x="242" y="155"/>
                </a:lnTo>
                <a:lnTo>
                  <a:pt x="242" y="157"/>
                </a:lnTo>
                <a:lnTo>
                  <a:pt x="242" y="158"/>
                </a:lnTo>
                <a:lnTo>
                  <a:pt x="240" y="160"/>
                </a:lnTo>
                <a:lnTo>
                  <a:pt x="242" y="162"/>
                </a:lnTo>
                <a:lnTo>
                  <a:pt x="242" y="163"/>
                </a:lnTo>
                <a:lnTo>
                  <a:pt x="242" y="165"/>
                </a:lnTo>
                <a:lnTo>
                  <a:pt x="240" y="167"/>
                </a:lnTo>
                <a:lnTo>
                  <a:pt x="238" y="169"/>
                </a:lnTo>
                <a:lnTo>
                  <a:pt x="236" y="169"/>
                </a:lnTo>
                <a:lnTo>
                  <a:pt x="235" y="169"/>
                </a:lnTo>
                <a:lnTo>
                  <a:pt x="233" y="169"/>
                </a:lnTo>
                <a:lnTo>
                  <a:pt x="231" y="170"/>
                </a:lnTo>
                <a:lnTo>
                  <a:pt x="231" y="172"/>
                </a:lnTo>
                <a:lnTo>
                  <a:pt x="231" y="175"/>
                </a:lnTo>
                <a:lnTo>
                  <a:pt x="233" y="177"/>
                </a:lnTo>
                <a:lnTo>
                  <a:pt x="231" y="177"/>
                </a:lnTo>
                <a:lnTo>
                  <a:pt x="230" y="179"/>
                </a:lnTo>
                <a:lnTo>
                  <a:pt x="228" y="177"/>
                </a:lnTo>
                <a:lnTo>
                  <a:pt x="226" y="177"/>
                </a:lnTo>
                <a:lnTo>
                  <a:pt x="225" y="177"/>
                </a:lnTo>
                <a:lnTo>
                  <a:pt x="223" y="177"/>
                </a:lnTo>
                <a:lnTo>
                  <a:pt x="221" y="179"/>
                </a:lnTo>
                <a:lnTo>
                  <a:pt x="221" y="180"/>
                </a:lnTo>
                <a:lnTo>
                  <a:pt x="219" y="180"/>
                </a:lnTo>
                <a:lnTo>
                  <a:pt x="218" y="182"/>
                </a:lnTo>
                <a:lnTo>
                  <a:pt x="219" y="184"/>
                </a:lnTo>
                <a:lnTo>
                  <a:pt x="219" y="186"/>
                </a:lnTo>
                <a:lnTo>
                  <a:pt x="221" y="186"/>
                </a:lnTo>
                <a:lnTo>
                  <a:pt x="223" y="186"/>
                </a:lnTo>
                <a:lnTo>
                  <a:pt x="225" y="187"/>
                </a:lnTo>
                <a:lnTo>
                  <a:pt x="225" y="191"/>
                </a:lnTo>
                <a:lnTo>
                  <a:pt x="226" y="191"/>
                </a:lnTo>
                <a:lnTo>
                  <a:pt x="228" y="192"/>
                </a:lnTo>
                <a:lnTo>
                  <a:pt x="226" y="194"/>
                </a:lnTo>
                <a:lnTo>
                  <a:pt x="226" y="196"/>
                </a:lnTo>
                <a:lnTo>
                  <a:pt x="228" y="197"/>
                </a:lnTo>
                <a:lnTo>
                  <a:pt x="230" y="197"/>
                </a:lnTo>
                <a:lnTo>
                  <a:pt x="228" y="199"/>
                </a:lnTo>
                <a:lnTo>
                  <a:pt x="228" y="203"/>
                </a:lnTo>
                <a:lnTo>
                  <a:pt x="226" y="204"/>
                </a:lnTo>
                <a:lnTo>
                  <a:pt x="225" y="206"/>
                </a:lnTo>
                <a:lnTo>
                  <a:pt x="223" y="206"/>
                </a:lnTo>
                <a:lnTo>
                  <a:pt x="221" y="208"/>
                </a:lnTo>
                <a:lnTo>
                  <a:pt x="219" y="209"/>
                </a:lnTo>
                <a:lnTo>
                  <a:pt x="218" y="209"/>
                </a:lnTo>
                <a:lnTo>
                  <a:pt x="214" y="211"/>
                </a:lnTo>
                <a:lnTo>
                  <a:pt x="214" y="209"/>
                </a:lnTo>
                <a:lnTo>
                  <a:pt x="211" y="209"/>
                </a:lnTo>
                <a:lnTo>
                  <a:pt x="209" y="211"/>
                </a:lnTo>
                <a:lnTo>
                  <a:pt x="208" y="211"/>
                </a:lnTo>
                <a:lnTo>
                  <a:pt x="206" y="213"/>
                </a:lnTo>
                <a:lnTo>
                  <a:pt x="206" y="214"/>
                </a:lnTo>
                <a:lnTo>
                  <a:pt x="204" y="213"/>
                </a:lnTo>
                <a:lnTo>
                  <a:pt x="202" y="213"/>
                </a:lnTo>
                <a:lnTo>
                  <a:pt x="201" y="214"/>
                </a:lnTo>
                <a:lnTo>
                  <a:pt x="197" y="214"/>
                </a:lnTo>
                <a:lnTo>
                  <a:pt x="197" y="218"/>
                </a:lnTo>
                <a:lnTo>
                  <a:pt x="194" y="216"/>
                </a:lnTo>
                <a:lnTo>
                  <a:pt x="192" y="220"/>
                </a:lnTo>
                <a:lnTo>
                  <a:pt x="189" y="220"/>
                </a:lnTo>
                <a:lnTo>
                  <a:pt x="187" y="221"/>
                </a:lnTo>
                <a:lnTo>
                  <a:pt x="185" y="223"/>
                </a:lnTo>
                <a:lnTo>
                  <a:pt x="182" y="223"/>
                </a:lnTo>
                <a:lnTo>
                  <a:pt x="180" y="220"/>
                </a:lnTo>
                <a:lnTo>
                  <a:pt x="179" y="220"/>
                </a:lnTo>
                <a:lnTo>
                  <a:pt x="175" y="218"/>
                </a:lnTo>
                <a:lnTo>
                  <a:pt x="172" y="218"/>
                </a:lnTo>
                <a:lnTo>
                  <a:pt x="170" y="216"/>
                </a:lnTo>
                <a:lnTo>
                  <a:pt x="167" y="216"/>
                </a:lnTo>
                <a:lnTo>
                  <a:pt x="165" y="216"/>
                </a:lnTo>
                <a:lnTo>
                  <a:pt x="163" y="214"/>
                </a:lnTo>
                <a:lnTo>
                  <a:pt x="160" y="216"/>
                </a:lnTo>
                <a:lnTo>
                  <a:pt x="158" y="216"/>
                </a:lnTo>
                <a:lnTo>
                  <a:pt x="158" y="218"/>
                </a:lnTo>
                <a:lnTo>
                  <a:pt x="158" y="220"/>
                </a:lnTo>
                <a:lnTo>
                  <a:pt x="158" y="221"/>
                </a:lnTo>
                <a:lnTo>
                  <a:pt x="155" y="220"/>
                </a:lnTo>
                <a:lnTo>
                  <a:pt x="155" y="218"/>
                </a:lnTo>
                <a:lnTo>
                  <a:pt x="153" y="216"/>
                </a:lnTo>
                <a:lnTo>
                  <a:pt x="150" y="216"/>
                </a:lnTo>
                <a:lnTo>
                  <a:pt x="150" y="218"/>
                </a:lnTo>
                <a:lnTo>
                  <a:pt x="150" y="216"/>
                </a:lnTo>
                <a:lnTo>
                  <a:pt x="146" y="218"/>
                </a:lnTo>
                <a:lnTo>
                  <a:pt x="145" y="214"/>
                </a:lnTo>
                <a:lnTo>
                  <a:pt x="143" y="213"/>
                </a:lnTo>
                <a:lnTo>
                  <a:pt x="141" y="209"/>
                </a:lnTo>
                <a:lnTo>
                  <a:pt x="140" y="208"/>
                </a:lnTo>
                <a:lnTo>
                  <a:pt x="138" y="209"/>
                </a:lnTo>
                <a:lnTo>
                  <a:pt x="138" y="213"/>
                </a:lnTo>
                <a:lnTo>
                  <a:pt x="134" y="211"/>
                </a:lnTo>
                <a:lnTo>
                  <a:pt x="133" y="213"/>
                </a:lnTo>
                <a:lnTo>
                  <a:pt x="131" y="213"/>
                </a:lnTo>
                <a:lnTo>
                  <a:pt x="129" y="214"/>
                </a:lnTo>
                <a:lnTo>
                  <a:pt x="129" y="213"/>
                </a:lnTo>
                <a:lnTo>
                  <a:pt x="128" y="211"/>
                </a:lnTo>
                <a:lnTo>
                  <a:pt x="126" y="211"/>
                </a:lnTo>
                <a:lnTo>
                  <a:pt x="124" y="213"/>
                </a:lnTo>
                <a:lnTo>
                  <a:pt x="123" y="214"/>
                </a:lnTo>
                <a:lnTo>
                  <a:pt x="121" y="214"/>
                </a:lnTo>
                <a:lnTo>
                  <a:pt x="117" y="214"/>
                </a:lnTo>
                <a:lnTo>
                  <a:pt x="116" y="216"/>
                </a:lnTo>
                <a:lnTo>
                  <a:pt x="117" y="218"/>
                </a:lnTo>
                <a:lnTo>
                  <a:pt x="117" y="220"/>
                </a:lnTo>
                <a:lnTo>
                  <a:pt x="117" y="221"/>
                </a:lnTo>
                <a:lnTo>
                  <a:pt x="116" y="220"/>
                </a:lnTo>
                <a:lnTo>
                  <a:pt x="114" y="223"/>
                </a:lnTo>
                <a:lnTo>
                  <a:pt x="112" y="223"/>
                </a:lnTo>
                <a:lnTo>
                  <a:pt x="111" y="223"/>
                </a:lnTo>
                <a:lnTo>
                  <a:pt x="109" y="220"/>
                </a:lnTo>
                <a:lnTo>
                  <a:pt x="109" y="223"/>
                </a:lnTo>
                <a:lnTo>
                  <a:pt x="107" y="223"/>
                </a:lnTo>
                <a:lnTo>
                  <a:pt x="106" y="225"/>
                </a:lnTo>
                <a:lnTo>
                  <a:pt x="104" y="225"/>
                </a:lnTo>
                <a:lnTo>
                  <a:pt x="104" y="226"/>
                </a:lnTo>
                <a:lnTo>
                  <a:pt x="102" y="228"/>
                </a:lnTo>
                <a:lnTo>
                  <a:pt x="100" y="228"/>
                </a:lnTo>
                <a:lnTo>
                  <a:pt x="97" y="228"/>
                </a:lnTo>
                <a:lnTo>
                  <a:pt x="97" y="230"/>
                </a:lnTo>
                <a:lnTo>
                  <a:pt x="94" y="232"/>
                </a:lnTo>
                <a:lnTo>
                  <a:pt x="94" y="230"/>
                </a:lnTo>
                <a:lnTo>
                  <a:pt x="92" y="232"/>
                </a:lnTo>
                <a:lnTo>
                  <a:pt x="90" y="230"/>
                </a:lnTo>
                <a:lnTo>
                  <a:pt x="89" y="230"/>
                </a:lnTo>
                <a:lnTo>
                  <a:pt x="85" y="230"/>
                </a:lnTo>
                <a:lnTo>
                  <a:pt x="83" y="232"/>
                </a:lnTo>
                <a:lnTo>
                  <a:pt x="82" y="233"/>
                </a:lnTo>
                <a:lnTo>
                  <a:pt x="82" y="235"/>
                </a:lnTo>
                <a:lnTo>
                  <a:pt x="80" y="232"/>
                </a:lnTo>
                <a:lnTo>
                  <a:pt x="78" y="232"/>
                </a:lnTo>
                <a:lnTo>
                  <a:pt x="77" y="233"/>
                </a:lnTo>
                <a:lnTo>
                  <a:pt x="75" y="235"/>
                </a:lnTo>
                <a:lnTo>
                  <a:pt x="75" y="237"/>
                </a:lnTo>
                <a:lnTo>
                  <a:pt x="73" y="238"/>
                </a:lnTo>
                <a:lnTo>
                  <a:pt x="72" y="238"/>
                </a:lnTo>
                <a:lnTo>
                  <a:pt x="70" y="240"/>
                </a:lnTo>
                <a:lnTo>
                  <a:pt x="68" y="240"/>
                </a:lnTo>
                <a:lnTo>
                  <a:pt x="66" y="240"/>
                </a:lnTo>
                <a:lnTo>
                  <a:pt x="65" y="240"/>
                </a:lnTo>
                <a:lnTo>
                  <a:pt x="63" y="240"/>
                </a:lnTo>
                <a:lnTo>
                  <a:pt x="60" y="240"/>
                </a:lnTo>
                <a:lnTo>
                  <a:pt x="61" y="238"/>
                </a:lnTo>
                <a:lnTo>
                  <a:pt x="61" y="237"/>
                </a:lnTo>
                <a:lnTo>
                  <a:pt x="60" y="235"/>
                </a:lnTo>
                <a:lnTo>
                  <a:pt x="61" y="232"/>
                </a:lnTo>
                <a:lnTo>
                  <a:pt x="60" y="230"/>
                </a:lnTo>
                <a:lnTo>
                  <a:pt x="60" y="228"/>
                </a:lnTo>
                <a:lnTo>
                  <a:pt x="58" y="226"/>
                </a:lnTo>
                <a:lnTo>
                  <a:pt x="60" y="225"/>
                </a:lnTo>
                <a:lnTo>
                  <a:pt x="58" y="223"/>
                </a:lnTo>
                <a:lnTo>
                  <a:pt x="56" y="220"/>
                </a:lnTo>
                <a:lnTo>
                  <a:pt x="58" y="218"/>
                </a:lnTo>
                <a:lnTo>
                  <a:pt x="60" y="216"/>
                </a:lnTo>
                <a:lnTo>
                  <a:pt x="60" y="214"/>
                </a:lnTo>
                <a:lnTo>
                  <a:pt x="60" y="213"/>
                </a:lnTo>
                <a:lnTo>
                  <a:pt x="60" y="211"/>
                </a:lnTo>
                <a:lnTo>
                  <a:pt x="58" y="209"/>
                </a:lnTo>
                <a:lnTo>
                  <a:pt x="56" y="209"/>
                </a:lnTo>
                <a:lnTo>
                  <a:pt x="56" y="208"/>
                </a:lnTo>
                <a:lnTo>
                  <a:pt x="55" y="206"/>
                </a:lnTo>
                <a:lnTo>
                  <a:pt x="53" y="204"/>
                </a:lnTo>
                <a:lnTo>
                  <a:pt x="51" y="203"/>
                </a:lnTo>
                <a:lnTo>
                  <a:pt x="51" y="201"/>
                </a:lnTo>
                <a:lnTo>
                  <a:pt x="49" y="199"/>
                </a:lnTo>
                <a:lnTo>
                  <a:pt x="49" y="196"/>
                </a:lnTo>
                <a:lnTo>
                  <a:pt x="48" y="194"/>
                </a:lnTo>
                <a:lnTo>
                  <a:pt x="48" y="192"/>
                </a:lnTo>
                <a:lnTo>
                  <a:pt x="46" y="194"/>
                </a:lnTo>
                <a:lnTo>
                  <a:pt x="44" y="192"/>
                </a:lnTo>
                <a:lnTo>
                  <a:pt x="41" y="192"/>
                </a:lnTo>
                <a:lnTo>
                  <a:pt x="39" y="191"/>
                </a:lnTo>
                <a:lnTo>
                  <a:pt x="38" y="192"/>
                </a:lnTo>
                <a:lnTo>
                  <a:pt x="36" y="191"/>
                </a:lnTo>
                <a:lnTo>
                  <a:pt x="34" y="191"/>
                </a:lnTo>
                <a:lnTo>
                  <a:pt x="32" y="191"/>
                </a:lnTo>
                <a:lnTo>
                  <a:pt x="32" y="189"/>
                </a:lnTo>
                <a:lnTo>
                  <a:pt x="31" y="189"/>
                </a:lnTo>
                <a:lnTo>
                  <a:pt x="29" y="187"/>
                </a:lnTo>
                <a:lnTo>
                  <a:pt x="27" y="187"/>
                </a:lnTo>
                <a:lnTo>
                  <a:pt x="27" y="184"/>
                </a:lnTo>
                <a:lnTo>
                  <a:pt x="26" y="184"/>
                </a:lnTo>
                <a:lnTo>
                  <a:pt x="24" y="182"/>
                </a:lnTo>
                <a:lnTo>
                  <a:pt x="22" y="180"/>
                </a:lnTo>
                <a:lnTo>
                  <a:pt x="21" y="179"/>
                </a:lnTo>
                <a:lnTo>
                  <a:pt x="19" y="177"/>
                </a:lnTo>
                <a:lnTo>
                  <a:pt x="17" y="177"/>
                </a:lnTo>
                <a:lnTo>
                  <a:pt x="19" y="177"/>
                </a:lnTo>
                <a:lnTo>
                  <a:pt x="21" y="175"/>
                </a:lnTo>
                <a:lnTo>
                  <a:pt x="22" y="175"/>
                </a:lnTo>
                <a:lnTo>
                  <a:pt x="22" y="172"/>
                </a:lnTo>
                <a:lnTo>
                  <a:pt x="24" y="172"/>
                </a:lnTo>
                <a:lnTo>
                  <a:pt x="22" y="170"/>
                </a:lnTo>
                <a:lnTo>
                  <a:pt x="26" y="170"/>
                </a:lnTo>
                <a:lnTo>
                  <a:pt x="26" y="169"/>
                </a:lnTo>
                <a:lnTo>
                  <a:pt x="26" y="165"/>
                </a:lnTo>
                <a:lnTo>
                  <a:pt x="26" y="163"/>
                </a:lnTo>
                <a:lnTo>
                  <a:pt x="26" y="162"/>
                </a:lnTo>
                <a:lnTo>
                  <a:pt x="22" y="160"/>
                </a:lnTo>
                <a:lnTo>
                  <a:pt x="21" y="158"/>
                </a:lnTo>
                <a:lnTo>
                  <a:pt x="19" y="158"/>
                </a:lnTo>
                <a:lnTo>
                  <a:pt x="19" y="157"/>
                </a:lnTo>
                <a:lnTo>
                  <a:pt x="19" y="153"/>
                </a:lnTo>
                <a:lnTo>
                  <a:pt x="19" y="152"/>
                </a:lnTo>
                <a:lnTo>
                  <a:pt x="19" y="150"/>
                </a:lnTo>
                <a:lnTo>
                  <a:pt x="21" y="148"/>
                </a:lnTo>
                <a:lnTo>
                  <a:pt x="21" y="146"/>
                </a:lnTo>
                <a:lnTo>
                  <a:pt x="19" y="145"/>
                </a:lnTo>
                <a:lnTo>
                  <a:pt x="17" y="143"/>
                </a:lnTo>
                <a:lnTo>
                  <a:pt x="15" y="141"/>
                </a:lnTo>
                <a:lnTo>
                  <a:pt x="17" y="140"/>
                </a:lnTo>
                <a:lnTo>
                  <a:pt x="19" y="138"/>
                </a:lnTo>
                <a:lnTo>
                  <a:pt x="21" y="136"/>
                </a:lnTo>
                <a:lnTo>
                  <a:pt x="22" y="136"/>
                </a:lnTo>
                <a:lnTo>
                  <a:pt x="22" y="135"/>
                </a:lnTo>
                <a:lnTo>
                  <a:pt x="24" y="135"/>
                </a:lnTo>
                <a:lnTo>
                  <a:pt x="26" y="135"/>
                </a:lnTo>
                <a:lnTo>
                  <a:pt x="27" y="136"/>
                </a:lnTo>
                <a:lnTo>
                  <a:pt x="29" y="135"/>
                </a:lnTo>
                <a:lnTo>
                  <a:pt x="31" y="135"/>
                </a:lnTo>
                <a:lnTo>
                  <a:pt x="31" y="131"/>
                </a:lnTo>
                <a:lnTo>
                  <a:pt x="32" y="131"/>
                </a:lnTo>
                <a:lnTo>
                  <a:pt x="31" y="129"/>
                </a:lnTo>
                <a:lnTo>
                  <a:pt x="31" y="126"/>
                </a:lnTo>
                <a:lnTo>
                  <a:pt x="34" y="126"/>
                </a:lnTo>
                <a:lnTo>
                  <a:pt x="34" y="124"/>
                </a:lnTo>
                <a:lnTo>
                  <a:pt x="34" y="123"/>
                </a:lnTo>
                <a:lnTo>
                  <a:pt x="36" y="123"/>
                </a:lnTo>
                <a:lnTo>
                  <a:pt x="36" y="121"/>
                </a:lnTo>
                <a:lnTo>
                  <a:pt x="38" y="119"/>
                </a:lnTo>
                <a:lnTo>
                  <a:pt x="39" y="118"/>
                </a:lnTo>
                <a:lnTo>
                  <a:pt x="39" y="116"/>
                </a:lnTo>
                <a:lnTo>
                  <a:pt x="41" y="114"/>
                </a:lnTo>
                <a:lnTo>
                  <a:pt x="41" y="112"/>
                </a:lnTo>
                <a:lnTo>
                  <a:pt x="39" y="112"/>
                </a:lnTo>
                <a:lnTo>
                  <a:pt x="41" y="111"/>
                </a:lnTo>
                <a:lnTo>
                  <a:pt x="39" y="109"/>
                </a:lnTo>
                <a:lnTo>
                  <a:pt x="36" y="109"/>
                </a:lnTo>
                <a:lnTo>
                  <a:pt x="34" y="109"/>
                </a:lnTo>
                <a:lnTo>
                  <a:pt x="32" y="107"/>
                </a:lnTo>
                <a:lnTo>
                  <a:pt x="32" y="106"/>
                </a:lnTo>
                <a:lnTo>
                  <a:pt x="31" y="106"/>
                </a:lnTo>
                <a:lnTo>
                  <a:pt x="31" y="104"/>
                </a:lnTo>
                <a:lnTo>
                  <a:pt x="29" y="102"/>
                </a:lnTo>
                <a:lnTo>
                  <a:pt x="27" y="101"/>
                </a:lnTo>
                <a:lnTo>
                  <a:pt x="26" y="99"/>
                </a:lnTo>
                <a:lnTo>
                  <a:pt x="24" y="99"/>
                </a:lnTo>
                <a:lnTo>
                  <a:pt x="21" y="99"/>
                </a:lnTo>
                <a:lnTo>
                  <a:pt x="19" y="97"/>
                </a:lnTo>
                <a:lnTo>
                  <a:pt x="17" y="97"/>
                </a:lnTo>
                <a:lnTo>
                  <a:pt x="15" y="97"/>
                </a:lnTo>
                <a:lnTo>
                  <a:pt x="15" y="95"/>
                </a:lnTo>
                <a:lnTo>
                  <a:pt x="12" y="95"/>
                </a:lnTo>
                <a:lnTo>
                  <a:pt x="12" y="94"/>
                </a:lnTo>
                <a:lnTo>
                  <a:pt x="10" y="92"/>
                </a:lnTo>
                <a:lnTo>
                  <a:pt x="10" y="90"/>
                </a:lnTo>
                <a:lnTo>
                  <a:pt x="9" y="89"/>
                </a:lnTo>
                <a:lnTo>
                  <a:pt x="9" y="87"/>
                </a:lnTo>
                <a:lnTo>
                  <a:pt x="9" y="85"/>
                </a:lnTo>
                <a:lnTo>
                  <a:pt x="9" y="84"/>
                </a:lnTo>
                <a:lnTo>
                  <a:pt x="7" y="82"/>
                </a:lnTo>
                <a:lnTo>
                  <a:pt x="5" y="82"/>
                </a:lnTo>
                <a:lnTo>
                  <a:pt x="4" y="80"/>
                </a:lnTo>
                <a:lnTo>
                  <a:pt x="2" y="78"/>
                </a:lnTo>
                <a:lnTo>
                  <a:pt x="2" y="77"/>
                </a:lnTo>
                <a:lnTo>
                  <a:pt x="2" y="75"/>
                </a:lnTo>
                <a:lnTo>
                  <a:pt x="0" y="73"/>
                </a:lnTo>
                <a:lnTo>
                  <a:pt x="0" y="70"/>
                </a:lnTo>
                <a:lnTo>
                  <a:pt x="0" y="68"/>
                </a:lnTo>
                <a:lnTo>
                  <a:pt x="0" y="65"/>
                </a:lnTo>
                <a:lnTo>
                  <a:pt x="0" y="63"/>
                </a:lnTo>
                <a:lnTo>
                  <a:pt x="0" y="61"/>
                </a:lnTo>
                <a:lnTo>
                  <a:pt x="0" y="60"/>
                </a:lnTo>
                <a:lnTo>
                  <a:pt x="0" y="58"/>
                </a:lnTo>
                <a:lnTo>
                  <a:pt x="2" y="58"/>
                </a:lnTo>
                <a:lnTo>
                  <a:pt x="5" y="56"/>
                </a:lnTo>
                <a:lnTo>
                  <a:pt x="5" y="55"/>
                </a:lnTo>
                <a:lnTo>
                  <a:pt x="9" y="55"/>
                </a:lnTo>
                <a:lnTo>
                  <a:pt x="10" y="53"/>
                </a:lnTo>
                <a:lnTo>
                  <a:pt x="9" y="49"/>
                </a:lnTo>
                <a:lnTo>
                  <a:pt x="9" y="46"/>
                </a:lnTo>
                <a:lnTo>
                  <a:pt x="9" y="44"/>
                </a:lnTo>
                <a:lnTo>
                  <a:pt x="9" y="43"/>
                </a:lnTo>
                <a:lnTo>
                  <a:pt x="10" y="41"/>
                </a:lnTo>
                <a:lnTo>
                  <a:pt x="12" y="43"/>
                </a:lnTo>
                <a:lnTo>
                  <a:pt x="14" y="43"/>
                </a:lnTo>
                <a:lnTo>
                  <a:pt x="17" y="44"/>
                </a:lnTo>
                <a:lnTo>
                  <a:pt x="19" y="44"/>
                </a:lnTo>
                <a:lnTo>
                  <a:pt x="21" y="44"/>
                </a:lnTo>
                <a:lnTo>
                  <a:pt x="22" y="46"/>
                </a:lnTo>
                <a:lnTo>
                  <a:pt x="24" y="48"/>
                </a:lnTo>
                <a:lnTo>
                  <a:pt x="26" y="48"/>
                </a:lnTo>
                <a:lnTo>
                  <a:pt x="27" y="48"/>
                </a:lnTo>
                <a:lnTo>
                  <a:pt x="29" y="48"/>
                </a:lnTo>
                <a:lnTo>
                  <a:pt x="31" y="49"/>
                </a:lnTo>
                <a:lnTo>
                  <a:pt x="29" y="53"/>
                </a:lnTo>
                <a:lnTo>
                  <a:pt x="26" y="55"/>
                </a:lnTo>
                <a:lnTo>
                  <a:pt x="24" y="56"/>
                </a:lnTo>
                <a:lnTo>
                  <a:pt x="24" y="58"/>
                </a:lnTo>
                <a:lnTo>
                  <a:pt x="24" y="60"/>
                </a:lnTo>
                <a:lnTo>
                  <a:pt x="22" y="63"/>
                </a:lnTo>
                <a:lnTo>
                  <a:pt x="24" y="65"/>
                </a:lnTo>
                <a:lnTo>
                  <a:pt x="26" y="67"/>
                </a:lnTo>
                <a:lnTo>
                  <a:pt x="27" y="67"/>
                </a:lnTo>
                <a:lnTo>
                  <a:pt x="29" y="67"/>
                </a:lnTo>
                <a:lnTo>
                  <a:pt x="31" y="67"/>
                </a:lnTo>
                <a:lnTo>
                  <a:pt x="34" y="67"/>
                </a:lnTo>
                <a:lnTo>
                  <a:pt x="34" y="68"/>
                </a:lnTo>
                <a:lnTo>
                  <a:pt x="36" y="67"/>
                </a:lnTo>
                <a:lnTo>
                  <a:pt x="39" y="67"/>
                </a:lnTo>
                <a:lnTo>
                  <a:pt x="41" y="65"/>
                </a:lnTo>
                <a:lnTo>
                  <a:pt x="43" y="63"/>
                </a:lnTo>
                <a:lnTo>
                  <a:pt x="44" y="61"/>
                </a:lnTo>
                <a:lnTo>
                  <a:pt x="48" y="61"/>
                </a:lnTo>
                <a:lnTo>
                  <a:pt x="49" y="61"/>
                </a:lnTo>
                <a:lnTo>
                  <a:pt x="53" y="60"/>
                </a:lnTo>
                <a:lnTo>
                  <a:pt x="55" y="61"/>
                </a:lnTo>
                <a:lnTo>
                  <a:pt x="56" y="61"/>
                </a:lnTo>
                <a:lnTo>
                  <a:pt x="60" y="61"/>
                </a:lnTo>
                <a:lnTo>
                  <a:pt x="61" y="63"/>
                </a:lnTo>
                <a:lnTo>
                  <a:pt x="63" y="63"/>
                </a:lnTo>
                <a:lnTo>
                  <a:pt x="66" y="61"/>
                </a:lnTo>
                <a:lnTo>
                  <a:pt x="70" y="61"/>
                </a:lnTo>
                <a:lnTo>
                  <a:pt x="73" y="61"/>
                </a:lnTo>
                <a:lnTo>
                  <a:pt x="77" y="63"/>
                </a:lnTo>
                <a:lnTo>
                  <a:pt x="78" y="63"/>
                </a:lnTo>
                <a:lnTo>
                  <a:pt x="80" y="63"/>
                </a:lnTo>
                <a:lnTo>
                  <a:pt x="82" y="63"/>
                </a:lnTo>
                <a:lnTo>
                  <a:pt x="83" y="63"/>
                </a:lnTo>
                <a:lnTo>
                  <a:pt x="87" y="63"/>
                </a:lnTo>
                <a:lnTo>
                  <a:pt x="89" y="65"/>
                </a:lnTo>
                <a:lnTo>
                  <a:pt x="90" y="65"/>
                </a:lnTo>
                <a:lnTo>
                  <a:pt x="92" y="65"/>
                </a:lnTo>
                <a:lnTo>
                  <a:pt x="95" y="63"/>
                </a:lnTo>
                <a:lnTo>
                  <a:pt x="97" y="63"/>
                </a:lnTo>
                <a:lnTo>
                  <a:pt x="99" y="61"/>
                </a:lnTo>
                <a:lnTo>
                  <a:pt x="100" y="61"/>
                </a:lnTo>
                <a:lnTo>
                  <a:pt x="102" y="60"/>
                </a:lnTo>
                <a:lnTo>
                  <a:pt x="104" y="58"/>
                </a:lnTo>
                <a:lnTo>
                  <a:pt x="106" y="58"/>
                </a:lnTo>
                <a:lnTo>
                  <a:pt x="107" y="56"/>
                </a:lnTo>
                <a:lnTo>
                  <a:pt x="109" y="56"/>
                </a:lnTo>
                <a:lnTo>
                  <a:pt x="112" y="56"/>
                </a:lnTo>
                <a:lnTo>
                  <a:pt x="114" y="56"/>
                </a:lnTo>
                <a:lnTo>
                  <a:pt x="117" y="58"/>
                </a:lnTo>
                <a:lnTo>
                  <a:pt x="119" y="58"/>
                </a:lnTo>
                <a:lnTo>
                  <a:pt x="121" y="58"/>
                </a:lnTo>
                <a:lnTo>
                  <a:pt x="123" y="56"/>
                </a:lnTo>
                <a:lnTo>
                  <a:pt x="124" y="56"/>
                </a:lnTo>
                <a:lnTo>
                  <a:pt x="128" y="56"/>
                </a:lnTo>
                <a:lnTo>
                  <a:pt x="129" y="55"/>
                </a:lnTo>
                <a:lnTo>
                  <a:pt x="131" y="53"/>
                </a:lnTo>
                <a:lnTo>
                  <a:pt x="134" y="53"/>
                </a:lnTo>
                <a:lnTo>
                  <a:pt x="134" y="55"/>
                </a:lnTo>
                <a:lnTo>
                  <a:pt x="136" y="55"/>
                </a:lnTo>
                <a:lnTo>
                  <a:pt x="140" y="55"/>
                </a:lnTo>
                <a:lnTo>
                  <a:pt x="141" y="53"/>
                </a:lnTo>
                <a:lnTo>
                  <a:pt x="143" y="53"/>
                </a:lnTo>
                <a:lnTo>
                  <a:pt x="145" y="53"/>
                </a:lnTo>
                <a:lnTo>
                  <a:pt x="146" y="53"/>
                </a:lnTo>
                <a:lnTo>
                  <a:pt x="148" y="55"/>
                </a:lnTo>
                <a:lnTo>
                  <a:pt x="151" y="56"/>
                </a:lnTo>
                <a:lnTo>
                  <a:pt x="155" y="56"/>
                </a:lnTo>
                <a:lnTo>
                  <a:pt x="157" y="55"/>
                </a:lnTo>
                <a:lnTo>
                  <a:pt x="158" y="55"/>
                </a:lnTo>
                <a:lnTo>
                  <a:pt x="160" y="53"/>
                </a:lnTo>
                <a:lnTo>
                  <a:pt x="162" y="53"/>
                </a:lnTo>
                <a:lnTo>
                  <a:pt x="165" y="51"/>
                </a:lnTo>
                <a:lnTo>
                  <a:pt x="167" y="49"/>
                </a:lnTo>
                <a:lnTo>
                  <a:pt x="167" y="48"/>
                </a:lnTo>
                <a:lnTo>
                  <a:pt x="170" y="48"/>
                </a:lnTo>
                <a:lnTo>
                  <a:pt x="172" y="46"/>
                </a:lnTo>
                <a:lnTo>
                  <a:pt x="174" y="43"/>
                </a:lnTo>
                <a:lnTo>
                  <a:pt x="175" y="41"/>
                </a:lnTo>
                <a:lnTo>
                  <a:pt x="177" y="39"/>
                </a:lnTo>
                <a:lnTo>
                  <a:pt x="177" y="38"/>
                </a:lnTo>
                <a:lnTo>
                  <a:pt x="177" y="36"/>
                </a:lnTo>
                <a:lnTo>
                  <a:pt x="179" y="34"/>
                </a:lnTo>
                <a:lnTo>
                  <a:pt x="180" y="32"/>
                </a:lnTo>
                <a:lnTo>
                  <a:pt x="180" y="31"/>
                </a:lnTo>
                <a:lnTo>
                  <a:pt x="182" y="29"/>
                </a:lnTo>
                <a:lnTo>
                  <a:pt x="184" y="27"/>
                </a:lnTo>
                <a:lnTo>
                  <a:pt x="184" y="26"/>
                </a:lnTo>
                <a:lnTo>
                  <a:pt x="184" y="24"/>
                </a:lnTo>
                <a:lnTo>
                  <a:pt x="185" y="24"/>
                </a:lnTo>
                <a:lnTo>
                  <a:pt x="187" y="22"/>
                </a:lnTo>
                <a:lnTo>
                  <a:pt x="189" y="22"/>
                </a:lnTo>
                <a:lnTo>
                  <a:pt x="191" y="21"/>
                </a:lnTo>
                <a:lnTo>
                  <a:pt x="192" y="19"/>
                </a:lnTo>
                <a:lnTo>
                  <a:pt x="194" y="17"/>
                </a:lnTo>
                <a:lnTo>
                  <a:pt x="194" y="19"/>
                </a:lnTo>
                <a:lnTo>
                  <a:pt x="194" y="17"/>
                </a:lnTo>
                <a:lnTo>
                  <a:pt x="197" y="15"/>
                </a:lnTo>
                <a:lnTo>
                  <a:pt x="199" y="15"/>
                </a:lnTo>
                <a:lnTo>
                  <a:pt x="201" y="15"/>
                </a:lnTo>
                <a:lnTo>
                  <a:pt x="202" y="14"/>
                </a:lnTo>
                <a:lnTo>
                  <a:pt x="204" y="14"/>
                </a:lnTo>
                <a:lnTo>
                  <a:pt x="206" y="14"/>
                </a:lnTo>
                <a:lnTo>
                  <a:pt x="208" y="14"/>
                </a:lnTo>
                <a:lnTo>
                  <a:pt x="208" y="12"/>
                </a:lnTo>
                <a:lnTo>
                  <a:pt x="211" y="12"/>
                </a:lnTo>
                <a:lnTo>
                  <a:pt x="213" y="10"/>
                </a:lnTo>
                <a:lnTo>
                  <a:pt x="216" y="9"/>
                </a:lnTo>
                <a:lnTo>
                  <a:pt x="218" y="7"/>
                </a:lnTo>
                <a:lnTo>
                  <a:pt x="219" y="5"/>
                </a:lnTo>
                <a:lnTo>
                  <a:pt x="221" y="5"/>
                </a:lnTo>
                <a:lnTo>
                  <a:pt x="221" y="4"/>
                </a:lnTo>
                <a:lnTo>
                  <a:pt x="225" y="4"/>
                </a:lnTo>
                <a:lnTo>
                  <a:pt x="226" y="2"/>
                </a:lnTo>
                <a:lnTo>
                  <a:pt x="228" y="2"/>
                </a:lnTo>
                <a:lnTo>
                  <a:pt x="230" y="2"/>
                </a:lnTo>
                <a:lnTo>
                  <a:pt x="233" y="0"/>
                </a:lnTo>
                <a:lnTo>
                  <a:pt x="235" y="2"/>
                </a:lnTo>
                <a:lnTo>
                  <a:pt x="236" y="2"/>
                </a:lnTo>
                <a:lnTo>
                  <a:pt x="240" y="0"/>
                </a:lnTo>
                <a:lnTo>
                  <a:pt x="242" y="4"/>
                </a:lnTo>
                <a:lnTo>
                  <a:pt x="243" y="4"/>
                </a:lnTo>
                <a:lnTo>
                  <a:pt x="245" y="4"/>
                </a:lnTo>
                <a:lnTo>
                  <a:pt x="247" y="5"/>
                </a:lnTo>
                <a:lnTo>
                  <a:pt x="248" y="5"/>
                </a:lnTo>
                <a:lnTo>
                  <a:pt x="250" y="5"/>
                </a:lnTo>
                <a:lnTo>
                  <a:pt x="252" y="5"/>
                </a:lnTo>
                <a:lnTo>
                  <a:pt x="252" y="4"/>
                </a:lnTo>
                <a:lnTo>
                  <a:pt x="255" y="4"/>
                </a:lnTo>
                <a:lnTo>
                  <a:pt x="259" y="4"/>
                </a:lnTo>
                <a:lnTo>
                  <a:pt x="259" y="0"/>
                </a:lnTo>
                <a:lnTo>
                  <a:pt x="260" y="2"/>
                </a:lnTo>
                <a:lnTo>
                  <a:pt x="262" y="2"/>
                </a:lnTo>
                <a:lnTo>
                  <a:pt x="262" y="4"/>
                </a:lnTo>
                <a:lnTo>
                  <a:pt x="264" y="4"/>
                </a:lnTo>
                <a:lnTo>
                  <a:pt x="264" y="5"/>
                </a:lnTo>
                <a:lnTo>
                  <a:pt x="265" y="5"/>
                </a:lnTo>
                <a:lnTo>
                  <a:pt x="267" y="5"/>
                </a:lnTo>
                <a:lnTo>
                  <a:pt x="270" y="4"/>
                </a:lnTo>
                <a:lnTo>
                  <a:pt x="272" y="2"/>
                </a:lnTo>
                <a:lnTo>
                  <a:pt x="274" y="0"/>
                </a:lnTo>
                <a:lnTo>
                  <a:pt x="276" y="2"/>
                </a:lnTo>
                <a:lnTo>
                  <a:pt x="276" y="4"/>
                </a:lnTo>
                <a:lnTo>
                  <a:pt x="277" y="4"/>
                </a:lnTo>
                <a:lnTo>
                  <a:pt x="279" y="7"/>
                </a:lnTo>
                <a:lnTo>
                  <a:pt x="279" y="9"/>
                </a:lnTo>
                <a:lnTo>
                  <a:pt x="281" y="10"/>
                </a:lnTo>
                <a:lnTo>
                  <a:pt x="284" y="10"/>
                </a:lnTo>
                <a:lnTo>
                  <a:pt x="287" y="12"/>
                </a:lnTo>
                <a:lnTo>
                  <a:pt x="289" y="12"/>
                </a:lnTo>
                <a:lnTo>
                  <a:pt x="291" y="12"/>
                </a:lnTo>
                <a:lnTo>
                  <a:pt x="294" y="14"/>
                </a:lnTo>
                <a:lnTo>
                  <a:pt x="294" y="12"/>
                </a:lnTo>
                <a:lnTo>
                  <a:pt x="298" y="12"/>
                </a:lnTo>
                <a:lnTo>
                  <a:pt x="299" y="12"/>
                </a:lnTo>
                <a:lnTo>
                  <a:pt x="301" y="12"/>
                </a:lnTo>
                <a:lnTo>
                  <a:pt x="303" y="12"/>
                </a:lnTo>
                <a:lnTo>
                  <a:pt x="304" y="12"/>
                </a:lnTo>
                <a:lnTo>
                  <a:pt x="306" y="12"/>
                </a:lnTo>
                <a:lnTo>
                  <a:pt x="308" y="10"/>
                </a:lnTo>
                <a:lnTo>
                  <a:pt x="310" y="10"/>
                </a:lnTo>
                <a:lnTo>
                  <a:pt x="311" y="10"/>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82" name="Freeform 25">
            <a:extLst>
              <a:ext uri="{FF2B5EF4-FFF2-40B4-BE49-F238E27FC236}">
                <a16:creationId xmlns:a16="http://schemas.microsoft.com/office/drawing/2014/main" id="{544E4BD7-F728-4F3E-A415-0B1D61F3F6C6}"/>
              </a:ext>
            </a:extLst>
          </p:cNvPr>
          <p:cNvSpPr>
            <a:spLocks noEditPoints="1"/>
          </p:cNvSpPr>
          <p:nvPr/>
        </p:nvSpPr>
        <p:spPr bwMode="gray">
          <a:xfrm>
            <a:off x="4335323" y="4767451"/>
            <a:ext cx="302471" cy="596496"/>
          </a:xfrm>
          <a:custGeom>
            <a:avLst/>
            <a:gdLst>
              <a:gd name="T0" fmla="*/ 44 w 111"/>
              <a:gd name="T1" fmla="*/ 10 h 209"/>
              <a:gd name="T2" fmla="*/ 49 w 111"/>
              <a:gd name="T3" fmla="*/ 18 h 209"/>
              <a:gd name="T4" fmla="*/ 58 w 111"/>
              <a:gd name="T5" fmla="*/ 20 h 209"/>
              <a:gd name="T6" fmla="*/ 66 w 111"/>
              <a:gd name="T7" fmla="*/ 27 h 209"/>
              <a:gd name="T8" fmla="*/ 71 w 111"/>
              <a:gd name="T9" fmla="*/ 39 h 209"/>
              <a:gd name="T10" fmla="*/ 70 w 111"/>
              <a:gd name="T11" fmla="*/ 49 h 209"/>
              <a:gd name="T12" fmla="*/ 70 w 111"/>
              <a:gd name="T13" fmla="*/ 59 h 209"/>
              <a:gd name="T14" fmla="*/ 68 w 111"/>
              <a:gd name="T15" fmla="*/ 73 h 209"/>
              <a:gd name="T16" fmla="*/ 75 w 111"/>
              <a:gd name="T17" fmla="*/ 81 h 209"/>
              <a:gd name="T18" fmla="*/ 75 w 111"/>
              <a:gd name="T19" fmla="*/ 93 h 209"/>
              <a:gd name="T20" fmla="*/ 80 w 111"/>
              <a:gd name="T21" fmla="*/ 103 h 209"/>
              <a:gd name="T22" fmla="*/ 94 w 111"/>
              <a:gd name="T23" fmla="*/ 115 h 209"/>
              <a:gd name="T24" fmla="*/ 102 w 111"/>
              <a:gd name="T25" fmla="*/ 115 h 209"/>
              <a:gd name="T26" fmla="*/ 104 w 111"/>
              <a:gd name="T27" fmla="*/ 124 h 209"/>
              <a:gd name="T28" fmla="*/ 111 w 111"/>
              <a:gd name="T29" fmla="*/ 134 h 209"/>
              <a:gd name="T30" fmla="*/ 105 w 111"/>
              <a:gd name="T31" fmla="*/ 144 h 209"/>
              <a:gd name="T32" fmla="*/ 97 w 111"/>
              <a:gd name="T33" fmla="*/ 149 h 209"/>
              <a:gd name="T34" fmla="*/ 95 w 111"/>
              <a:gd name="T35" fmla="*/ 160 h 209"/>
              <a:gd name="T36" fmla="*/ 95 w 111"/>
              <a:gd name="T37" fmla="*/ 170 h 209"/>
              <a:gd name="T38" fmla="*/ 88 w 111"/>
              <a:gd name="T39" fmla="*/ 177 h 209"/>
              <a:gd name="T40" fmla="*/ 80 w 111"/>
              <a:gd name="T41" fmla="*/ 182 h 209"/>
              <a:gd name="T42" fmla="*/ 78 w 111"/>
              <a:gd name="T43" fmla="*/ 188 h 209"/>
              <a:gd name="T44" fmla="*/ 82 w 111"/>
              <a:gd name="T45" fmla="*/ 199 h 209"/>
              <a:gd name="T46" fmla="*/ 80 w 111"/>
              <a:gd name="T47" fmla="*/ 202 h 209"/>
              <a:gd name="T48" fmla="*/ 73 w 111"/>
              <a:gd name="T49" fmla="*/ 209 h 209"/>
              <a:gd name="T50" fmla="*/ 61 w 111"/>
              <a:gd name="T51" fmla="*/ 207 h 209"/>
              <a:gd name="T52" fmla="*/ 61 w 111"/>
              <a:gd name="T53" fmla="*/ 199 h 209"/>
              <a:gd name="T54" fmla="*/ 61 w 111"/>
              <a:gd name="T55" fmla="*/ 202 h 209"/>
              <a:gd name="T56" fmla="*/ 56 w 111"/>
              <a:gd name="T57" fmla="*/ 194 h 209"/>
              <a:gd name="T58" fmla="*/ 49 w 111"/>
              <a:gd name="T59" fmla="*/ 183 h 209"/>
              <a:gd name="T60" fmla="*/ 44 w 111"/>
              <a:gd name="T61" fmla="*/ 182 h 209"/>
              <a:gd name="T62" fmla="*/ 34 w 111"/>
              <a:gd name="T63" fmla="*/ 177 h 209"/>
              <a:gd name="T64" fmla="*/ 22 w 111"/>
              <a:gd name="T65" fmla="*/ 170 h 209"/>
              <a:gd name="T66" fmla="*/ 19 w 111"/>
              <a:gd name="T67" fmla="*/ 160 h 209"/>
              <a:gd name="T68" fmla="*/ 27 w 111"/>
              <a:gd name="T69" fmla="*/ 166 h 209"/>
              <a:gd name="T70" fmla="*/ 24 w 111"/>
              <a:gd name="T71" fmla="*/ 154 h 209"/>
              <a:gd name="T72" fmla="*/ 19 w 111"/>
              <a:gd name="T73" fmla="*/ 149 h 209"/>
              <a:gd name="T74" fmla="*/ 19 w 111"/>
              <a:gd name="T75" fmla="*/ 136 h 209"/>
              <a:gd name="T76" fmla="*/ 19 w 111"/>
              <a:gd name="T77" fmla="*/ 126 h 209"/>
              <a:gd name="T78" fmla="*/ 20 w 111"/>
              <a:gd name="T79" fmla="*/ 114 h 209"/>
              <a:gd name="T80" fmla="*/ 20 w 111"/>
              <a:gd name="T81" fmla="*/ 103 h 209"/>
              <a:gd name="T82" fmla="*/ 15 w 111"/>
              <a:gd name="T83" fmla="*/ 97 h 209"/>
              <a:gd name="T84" fmla="*/ 19 w 111"/>
              <a:gd name="T85" fmla="*/ 86 h 209"/>
              <a:gd name="T86" fmla="*/ 19 w 111"/>
              <a:gd name="T87" fmla="*/ 78 h 209"/>
              <a:gd name="T88" fmla="*/ 20 w 111"/>
              <a:gd name="T89" fmla="*/ 71 h 209"/>
              <a:gd name="T90" fmla="*/ 19 w 111"/>
              <a:gd name="T91" fmla="*/ 61 h 209"/>
              <a:gd name="T92" fmla="*/ 9 w 111"/>
              <a:gd name="T93" fmla="*/ 59 h 209"/>
              <a:gd name="T94" fmla="*/ 7 w 111"/>
              <a:gd name="T95" fmla="*/ 51 h 209"/>
              <a:gd name="T96" fmla="*/ 5 w 111"/>
              <a:gd name="T97" fmla="*/ 40 h 209"/>
              <a:gd name="T98" fmla="*/ 7 w 111"/>
              <a:gd name="T99" fmla="*/ 25 h 209"/>
              <a:gd name="T100" fmla="*/ 10 w 111"/>
              <a:gd name="T101" fmla="*/ 15 h 209"/>
              <a:gd name="T102" fmla="*/ 15 w 111"/>
              <a:gd name="T103" fmla="*/ 5 h 209"/>
              <a:gd name="T104" fmla="*/ 22 w 111"/>
              <a:gd name="T105" fmla="*/ 5 h 209"/>
              <a:gd name="T106" fmla="*/ 27 w 111"/>
              <a:gd name="T107" fmla="*/ 12 h 209"/>
              <a:gd name="T108" fmla="*/ 36 w 111"/>
              <a:gd name="T109" fmla="*/ 6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1" h="209">
                <a:moveTo>
                  <a:pt x="37" y="5"/>
                </a:moveTo>
                <a:lnTo>
                  <a:pt x="39" y="6"/>
                </a:lnTo>
                <a:lnTo>
                  <a:pt x="41" y="6"/>
                </a:lnTo>
                <a:lnTo>
                  <a:pt x="43" y="6"/>
                </a:lnTo>
                <a:lnTo>
                  <a:pt x="43" y="8"/>
                </a:lnTo>
                <a:lnTo>
                  <a:pt x="44" y="10"/>
                </a:lnTo>
                <a:lnTo>
                  <a:pt x="46" y="10"/>
                </a:lnTo>
                <a:lnTo>
                  <a:pt x="46" y="12"/>
                </a:lnTo>
                <a:lnTo>
                  <a:pt x="48" y="12"/>
                </a:lnTo>
                <a:lnTo>
                  <a:pt x="46" y="15"/>
                </a:lnTo>
                <a:lnTo>
                  <a:pt x="49" y="17"/>
                </a:lnTo>
                <a:lnTo>
                  <a:pt x="49" y="18"/>
                </a:lnTo>
                <a:lnTo>
                  <a:pt x="49" y="20"/>
                </a:lnTo>
                <a:lnTo>
                  <a:pt x="51" y="20"/>
                </a:lnTo>
                <a:lnTo>
                  <a:pt x="53" y="20"/>
                </a:lnTo>
                <a:lnTo>
                  <a:pt x="54" y="18"/>
                </a:lnTo>
                <a:lnTo>
                  <a:pt x="54" y="20"/>
                </a:lnTo>
                <a:lnTo>
                  <a:pt x="58" y="20"/>
                </a:lnTo>
                <a:lnTo>
                  <a:pt x="58" y="22"/>
                </a:lnTo>
                <a:lnTo>
                  <a:pt x="61" y="22"/>
                </a:lnTo>
                <a:lnTo>
                  <a:pt x="63" y="23"/>
                </a:lnTo>
                <a:lnTo>
                  <a:pt x="63" y="25"/>
                </a:lnTo>
                <a:lnTo>
                  <a:pt x="65" y="25"/>
                </a:lnTo>
                <a:lnTo>
                  <a:pt x="66" y="27"/>
                </a:lnTo>
                <a:lnTo>
                  <a:pt x="66" y="29"/>
                </a:lnTo>
                <a:lnTo>
                  <a:pt x="68" y="32"/>
                </a:lnTo>
                <a:lnTo>
                  <a:pt x="68" y="34"/>
                </a:lnTo>
                <a:lnTo>
                  <a:pt x="68" y="35"/>
                </a:lnTo>
                <a:lnTo>
                  <a:pt x="70" y="37"/>
                </a:lnTo>
                <a:lnTo>
                  <a:pt x="71" y="39"/>
                </a:lnTo>
                <a:lnTo>
                  <a:pt x="71" y="40"/>
                </a:lnTo>
                <a:lnTo>
                  <a:pt x="73" y="42"/>
                </a:lnTo>
                <a:lnTo>
                  <a:pt x="73" y="44"/>
                </a:lnTo>
                <a:lnTo>
                  <a:pt x="70" y="46"/>
                </a:lnTo>
                <a:lnTo>
                  <a:pt x="71" y="49"/>
                </a:lnTo>
                <a:lnTo>
                  <a:pt x="70" y="49"/>
                </a:lnTo>
                <a:lnTo>
                  <a:pt x="71" y="51"/>
                </a:lnTo>
                <a:lnTo>
                  <a:pt x="71" y="52"/>
                </a:lnTo>
                <a:lnTo>
                  <a:pt x="71" y="54"/>
                </a:lnTo>
                <a:lnTo>
                  <a:pt x="70" y="56"/>
                </a:lnTo>
                <a:lnTo>
                  <a:pt x="70" y="58"/>
                </a:lnTo>
                <a:lnTo>
                  <a:pt x="70" y="59"/>
                </a:lnTo>
                <a:lnTo>
                  <a:pt x="70" y="63"/>
                </a:lnTo>
                <a:lnTo>
                  <a:pt x="70" y="64"/>
                </a:lnTo>
                <a:lnTo>
                  <a:pt x="71" y="68"/>
                </a:lnTo>
                <a:lnTo>
                  <a:pt x="73" y="69"/>
                </a:lnTo>
                <a:lnTo>
                  <a:pt x="71" y="71"/>
                </a:lnTo>
                <a:lnTo>
                  <a:pt x="68" y="73"/>
                </a:lnTo>
                <a:lnTo>
                  <a:pt x="70" y="73"/>
                </a:lnTo>
                <a:lnTo>
                  <a:pt x="68" y="75"/>
                </a:lnTo>
                <a:lnTo>
                  <a:pt x="71" y="76"/>
                </a:lnTo>
                <a:lnTo>
                  <a:pt x="71" y="80"/>
                </a:lnTo>
                <a:lnTo>
                  <a:pt x="73" y="80"/>
                </a:lnTo>
                <a:lnTo>
                  <a:pt x="75" y="81"/>
                </a:lnTo>
                <a:lnTo>
                  <a:pt x="75" y="85"/>
                </a:lnTo>
                <a:lnTo>
                  <a:pt x="73" y="86"/>
                </a:lnTo>
                <a:lnTo>
                  <a:pt x="71" y="88"/>
                </a:lnTo>
                <a:lnTo>
                  <a:pt x="73" y="88"/>
                </a:lnTo>
                <a:lnTo>
                  <a:pt x="73" y="92"/>
                </a:lnTo>
                <a:lnTo>
                  <a:pt x="75" y="93"/>
                </a:lnTo>
                <a:lnTo>
                  <a:pt x="75" y="95"/>
                </a:lnTo>
                <a:lnTo>
                  <a:pt x="77" y="97"/>
                </a:lnTo>
                <a:lnTo>
                  <a:pt x="78" y="98"/>
                </a:lnTo>
                <a:lnTo>
                  <a:pt x="80" y="100"/>
                </a:lnTo>
                <a:lnTo>
                  <a:pt x="80" y="102"/>
                </a:lnTo>
                <a:lnTo>
                  <a:pt x="80" y="103"/>
                </a:lnTo>
                <a:lnTo>
                  <a:pt x="82" y="103"/>
                </a:lnTo>
                <a:lnTo>
                  <a:pt x="85" y="103"/>
                </a:lnTo>
                <a:lnTo>
                  <a:pt x="87" y="110"/>
                </a:lnTo>
                <a:lnTo>
                  <a:pt x="88" y="114"/>
                </a:lnTo>
                <a:lnTo>
                  <a:pt x="90" y="115"/>
                </a:lnTo>
                <a:lnTo>
                  <a:pt x="94" y="115"/>
                </a:lnTo>
                <a:lnTo>
                  <a:pt x="95" y="115"/>
                </a:lnTo>
                <a:lnTo>
                  <a:pt x="95" y="112"/>
                </a:lnTo>
                <a:lnTo>
                  <a:pt x="97" y="114"/>
                </a:lnTo>
                <a:lnTo>
                  <a:pt x="99" y="114"/>
                </a:lnTo>
                <a:lnTo>
                  <a:pt x="100" y="114"/>
                </a:lnTo>
                <a:lnTo>
                  <a:pt x="102" y="115"/>
                </a:lnTo>
                <a:lnTo>
                  <a:pt x="104" y="117"/>
                </a:lnTo>
                <a:lnTo>
                  <a:pt x="104" y="119"/>
                </a:lnTo>
                <a:lnTo>
                  <a:pt x="104" y="120"/>
                </a:lnTo>
                <a:lnTo>
                  <a:pt x="104" y="122"/>
                </a:lnTo>
                <a:lnTo>
                  <a:pt x="102" y="124"/>
                </a:lnTo>
                <a:lnTo>
                  <a:pt x="104" y="124"/>
                </a:lnTo>
                <a:lnTo>
                  <a:pt x="105" y="126"/>
                </a:lnTo>
                <a:lnTo>
                  <a:pt x="107" y="127"/>
                </a:lnTo>
                <a:lnTo>
                  <a:pt x="109" y="129"/>
                </a:lnTo>
                <a:lnTo>
                  <a:pt x="109" y="131"/>
                </a:lnTo>
                <a:lnTo>
                  <a:pt x="109" y="132"/>
                </a:lnTo>
                <a:lnTo>
                  <a:pt x="111" y="134"/>
                </a:lnTo>
                <a:lnTo>
                  <a:pt x="109" y="134"/>
                </a:lnTo>
                <a:lnTo>
                  <a:pt x="111" y="137"/>
                </a:lnTo>
                <a:lnTo>
                  <a:pt x="107" y="139"/>
                </a:lnTo>
                <a:lnTo>
                  <a:pt x="105" y="141"/>
                </a:lnTo>
                <a:lnTo>
                  <a:pt x="107" y="143"/>
                </a:lnTo>
                <a:lnTo>
                  <a:pt x="105" y="144"/>
                </a:lnTo>
                <a:lnTo>
                  <a:pt x="105" y="146"/>
                </a:lnTo>
                <a:lnTo>
                  <a:pt x="104" y="144"/>
                </a:lnTo>
                <a:lnTo>
                  <a:pt x="102" y="146"/>
                </a:lnTo>
                <a:lnTo>
                  <a:pt x="100" y="144"/>
                </a:lnTo>
                <a:lnTo>
                  <a:pt x="99" y="148"/>
                </a:lnTo>
                <a:lnTo>
                  <a:pt x="97" y="149"/>
                </a:lnTo>
                <a:lnTo>
                  <a:pt x="99" y="149"/>
                </a:lnTo>
                <a:lnTo>
                  <a:pt x="97" y="151"/>
                </a:lnTo>
                <a:lnTo>
                  <a:pt x="99" y="154"/>
                </a:lnTo>
                <a:lnTo>
                  <a:pt x="97" y="156"/>
                </a:lnTo>
                <a:lnTo>
                  <a:pt x="95" y="158"/>
                </a:lnTo>
                <a:lnTo>
                  <a:pt x="95" y="160"/>
                </a:lnTo>
                <a:lnTo>
                  <a:pt x="95" y="161"/>
                </a:lnTo>
                <a:lnTo>
                  <a:pt x="97" y="165"/>
                </a:lnTo>
                <a:lnTo>
                  <a:pt x="95" y="166"/>
                </a:lnTo>
                <a:lnTo>
                  <a:pt x="94" y="166"/>
                </a:lnTo>
                <a:lnTo>
                  <a:pt x="94" y="168"/>
                </a:lnTo>
                <a:lnTo>
                  <a:pt x="95" y="170"/>
                </a:lnTo>
                <a:lnTo>
                  <a:pt x="95" y="171"/>
                </a:lnTo>
                <a:lnTo>
                  <a:pt x="95" y="173"/>
                </a:lnTo>
                <a:lnTo>
                  <a:pt x="92" y="175"/>
                </a:lnTo>
                <a:lnTo>
                  <a:pt x="92" y="177"/>
                </a:lnTo>
                <a:lnTo>
                  <a:pt x="90" y="177"/>
                </a:lnTo>
                <a:lnTo>
                  <a:pt x="88" y="177"/>
                </a:lnTo>
                <a:lnTo>
                  <a:pt x="87" y="175"/>
                </a:lnTo>
                <a:lnTo>
                  <a:pt x="85" y="177"/>
                </a:lnTo>
                <a:lnTo>
                  <a:pt x="83" y="177"/>
                </a:lnTo>
                <a:lnTo>
                  <a:pt x="82" y="178"/>
                </a:lnTo>
                <a:lnTo>
                  <a:pt x="82" y="180"/>
                </a:lnTo>
                <a:lnTo>
                  <a:pt x="80" y="182"/>
                </a:lnTo>
                <a:lnTo>
                  <a:pt x="82" y="183"/>
                </a:lnTo>
                <a:lnTo>
                  <a:pt x="80" y="183"/>
                </a:lnTo>
                <a:lnTo>
                  <a:pt x="77" y="183"/>
                </a:lnTo>
                <a:lnTo>
                  <a:pt x="77" y="185"/>
                </a:lnTo>
                <a:lnTo>
                  <a:pt x="78" y="187"/>
                </a:lnTo>
                <a:lnTo>
                  <a:pt x="78" y="188"/>
                </a:lnTo>
                <a:lnTo>
                  <a:pt x="80" y="188"/>
                </a:lnTo>
                <a:lnTo>
                  <a:pt x="82" y="190"/>
                </a:lnTo>
                <a:lnTo>
                  <a:pt x="82" y="192"/>
                </a:lnTo>
                <a:lnTo>
                  <a:pt x="83" y="194"/>
                </a:lnTo>
                <a:lnTo>
                  <a:pt x="83" y="195"/>
                </a:lnTo>
                <a:lnTo>
                  <a:pt x="82" y="199"/>
                </a:lnTo>
                <a:lnTo>
                  <a:pt x="80" y="197"/>
                </a:lnTo>
                <a:lnTo>
                  <a:pt x="78" y="197"/>
                </a:lnTo>
                <a:lnTo>
                  <a:pt x="77" y="197"/>
                </a:lnTo>
                <a:lnTo>
                  <a:pt x="78" y="199"/>
                </a:lnTo>
                <a:lnTo>
                  <a:pt x="78" y="200"/>
                </a:lnTo>
                <a:lnTo>
                  <a:pt x="80" y="202"/>
                </a:lnTo>
                <a:lnTo>
                  <a:pt x="78" y="204"/>
                </a:lnTo>
                <a:lnTo>
                  <a:pt x="77" y="205"/>
                </a:lnTo>
                <a:lnTo>
                  <a:pt x="77" y="207"/>
                </a:lnTo>
                <a:lnTo>
                  <a:pt x="75" y="205"/>
                </a:lnTo>
                <a:lnTo>
                  <a:pt x="75" y="209"/>
                </a:lnTo>
                <a:lnTo>
                  <a:pt x="73" y="209"/>
                </a:lnTo>
                <a:lnTo>
                  <a:pt x="71" y="209"/>
                </a:lnTo>
                <a:lnTo>
                  <a:pt x="70" y="209"/>
                </a:lnTo>
                <a:lnTo>
                  <a:pt x="68" y="207"/>
                </a:lnTo>
                <a:lnTo>
                  <a:pt x="65" y="207"/>
                </a:lnTo>
                <a:lnTo>
                  <a:pt x="63" y="207"/>
                </a:lnTo>
                <a:lnTo>
                  <a:pt x="61" y="207"/>
                </a:lnTo>
                <a:lnTo>
                  <a:pt x="61" y="204"/>
                </a:lnTo>
                <a:lnTo>
                  <a:pt x="63" y="204"/>
                </a:lnTo>
                <a:lnTo>
                  <a:pt x="65" y="202"/>
                </a:lnTo>
                <a:lnTo>
                  <a:pt x="65" y="200"/>
                </a:lnTo>
                <a:lnTo>
                  <a:pt x="65" y="199"/>
                </a:lnTo>
                <a:lnTo>
                  <a:pt x="61" y="199"/>
                </a:lnTo>
                <a:lnTo>
                  <a:pt x="63" y="202"/>
                </a:lnTo>
                <a:lnTo>
                  <a:pt x="61" y="202"/>
                </a:lnTo>
                <a:lnTo>
                  <a:pt x="63" y="202"/>
                </a:lnTo>
                <a:lnTo>
                  <a:pt x="63" y="204"/>
                </a:lnTo>
                <a:lnTo>
                  <a:pt x="61" y="204"/>
                </a:lnTo>
                <a:lnTo>
                  <a:pt x="61" y="202"/>
                </a:lnTo>
                <a:lnTo>
                  <a:pt x="61" y="204"/>
                </a:lnTo>
                <a:lnTo>
                  <a:pt x="61" y="200"/>
                </a:lnTo>
                <a:lnTo>
                  <a:pt x="61" y="199"/>
                </a:lnTo>
                <a:lnTo>
                  <a:pt x="61" y="195"/>
                </a:lnTo>
                <a:lnTo>
                  <a:pt x="58" y="194"/>
                </a:lnTo>
                <a:lnTo>
                  <a:pt x="56" y="194"/>
                </a:lnTo>
                <a:lnTo>
                  <a:pt x="56" y="190"/>
                </a:lnTo>
                <a:lnTo>
                  <a:pt x="54" y="188"/>
                </a:lnTo>
                <a:lnTo>
                  <a:pt x="54" y="187"/>
                </a:lnTo>
                <a:lnTo>
                  <a:pt x="53" y="187"/>
                </a:lnTo>
                <a:lnTo>
                  <a:pt x="51" y="183"/>
                </a:lnTo>
                <a:lnTo>
                  <a:pt x="49" y="183"/>
                </a:lnTo>
                <a:lnTo>
                  <a:pt x="48" y="183"/>
                </a:lnTo>
                <a:lnTo>
                  <a:pt x="48" y="182"/>
                </a:lnTo>
                <a:lnTo>
                  <a:pt x="46" y="182"/>
                </a:lnTo>
                <a:lnTo>
                  <a:pt x="46" y="183"/>
                </a:lnTo>
                <a:lnTo>
                  <a:pt x="46" y="182"/>
                </a:lnTo>
                <a:lnTo>
                  <a:pt x="44" y="182"/>
                </a:lnTo>
                <a:lnTo>
                  <a:pt x="44" y="180"/>
                </a:lnTo>
                <a:lnTo>
                  <a:pt x="43" y="180"/>
                </a:lnTo>
                <a:lnTo>
                  <a:pt x="39" y="180"/>
                </a:lnTo>
                <a:lnTo>
                  <a:pt x="39" y="178"/>
                </a:lnTo>
                <a:lnTo>
                  <a:pt x="36" y="177"/>
                </a:lnTo>
                <a:lnTo>
                  <a:pt x="34" y="177"/>
                </a:lnTo>
                <a:lnTo>
                  <a:pt x="31" y="175"/>
                </a:lnTo>
                <a:lnTo>
                  <a:pt x="29" y="175"/>
                </a:lnTo>
                <a:lnTo>
                  <a:pt x="27" y="173"/>
                </a:lnTo>
                <a:lnTo>
                  <a:pt x="26" y="171"/>
                </a:lnTo>
                <a:lnTo>
                  <a:pt x="24" y="170"/>
                </a:lnTo>
                <a:lnTo>
                  <a:pt x="22" y="170"/>
                </a:lnTo>
                <a:lnTo>
                  <a:pt x="22" y="168"/>
                </a:lnTo>
                <a:lnTo>
                  <a:pt x="22" y="165"/>
                </a:lnTo>
                <a:lnTo>
                  <a:pt x="20" y="163"/>
                </a:lnTo>
                <a:lnTo>
                  <a:pt x="19" y="161"/>
                </a:lnTo>
                <a:lnTo>
                  <a:pt x="17" y="161"/>
                </a:lnTo>
                <a:lnTo>
                  <a:pt x="19" y="160"/>
                </a:lnTo>
                <a:lnTo>
                  <a:pt x="20" y="160"/>
                </a:lnTo>
                <a:lnTo>
                  <a:pt x="22" y="161"/>
                </a:lnTo>
                <a:lnTo>
                  <a:pt x="24" y="163"/>
                </a:lnTo>
                <a:lnTo>
                  <a:pt x="24" y="166"/>
                </a:lnTo>
                <a:lnTo>
                  <a:pt x="26" y="166"/>
                </a:lnTo>
                <a:lnTo>
                  <a:pt x="27" y="166"/>
                </a:lnTo>
                <a:lnTo>
                  <a:pt x="29" y="165"/>
                </a:lnTo>
                <a:lnTo>
                  <a:pt x="27" y="161"/>
                </a:lnTo>
                <a:lnTo>
                  <a:pt x="27" y="160"/>
                </a:lnTo>
                <a:lnTo>
                  <a:pt x="27" y="158"/>
                </a:lnTo>
                <a:lnTo>
                  <a:pt x="26" y="156"/>
                </a:lnTo>
                <a:lnTo>
                  <a:pt x="24" y="154"/>
                </a:lnTo>
                <a:lnTo>
                  <a:pt x="24" y="156"/>
                </a:lnTo>
                <a:lnTo>
                  <a:pt x="24" y="154"/>
                </a:lnTo>
                <a:lnTo>
                  <a:pt x="22" y="154"/>
                </a:lnTo>
                <a:lnTo>
                  <a:pt x="20" y="153"/>
                </a:lnTo>
                <a:lnTo>
                  <a:pt x="20" y="151"/>
                </a:lnTo>
                <a:lnTo>
                  <a:pt x="19" y="149"/>
                </a:lnTo>
                <a:lnTo>
                  <a:pt x="19" y="148"/>
                </a:lnTo>
                <a:lnTo>
                  <a:pt x="17" y="144"/>
                </a:lnTo>
                <a:lnTo>
                  <a:pt x="15" y="144"/>
                </a:lnTo>
                <a:lnTo>
                  <a:pt x="17" y="141"/>
                </a:lnTo>
                <a:lnTo>
                  <a:pt x="19" y="139"/>
                </a:lnTo>
                <a:lnTo>
                  <a:pt x="19" y="136"/>
                </a:lnTo>
                <a:lnTo>
                  <a:pt x="19" y="134"/>
                </a:lnTo>
                <a:lnTo>
                  <a:pt x="17" y="132"/>
                </a:lnTo>
                <a:lnTo>
                  <a:pt x="19" y="131"/>
                </a:lnTo>
                <a:lnTo>
                  <a:pt x="19" y="129"/>
                </a:lnTo>
                <a:lnTo>
                  <a:pt x="19" y="127"/>
                </a:lnTo>
                <a:lnTo>
                  <a:pt x="19" y="126"/>
                </a:lnTo>
                <a:lnTo>
                  <a:pt x="20" y="124"/>
                </a:lnTo>
                <a:lnTo>
                  <a:pt x="22" y="122"/>
                </a:lnTo>
                <a:lnTo>
                  <a:pt x="22" y="120"/>
                </a:lnTo>
                <a:lnTo>
                  <a:pt x="20" y="119"/>
                </a:lnTo>
                <a:lnTo>
                  <a:pt x="19" y="115"/>
                </a:lnTo>
                <a:lnTo>
                  <a:pt x="20" y="114"/>
                </a:lnTo>
                <a:lnTo>
                  <a:pt x="20" y="112"/>
                </a:lnTo>
                <a:lnTo>
                  <a:pt x="19" y="110"/>
                </a:lnTo>
                <a:lnTo>
                  <a:pt x="19" y="109"/>
                </a:lnTo>
                <a:lnTo>
                  <a:pt x="20" y="107"/>
                </a:lnTo>
                <a:lnTo>
                  <a:pt x="20" y="105"/>
                </a:lnTo>
                <a:lnTo>
                  <a:pt x="20" y="103"/>
                </a:lnTo>
                <a:lnTo>
                  <a:pt x="22" y="100"/>
                </a:lnTo>
                <a:lnTo>
                  <a:pt x="20" y="98"/>
                </a:lnTo>
                <a:lnTo>
                  <a:pt x="19" y="97"/>
                </a:lnTo>
                <a:lnTo>
                  <a:pt x="17" y="97"/>
                </a:lnTo>
                <a:lnTo>
                  <a:pt x="17" y="98"/>
                </a:lnTo>
                <a:lnTo>
                  <a:pt x="15" y="97"/>
                </a:lnTo>
                <a:lnTo>
                  <a:pt x="15" y="93"/>
                </a:lnTo>
                <a:lnTo>
                  <a:pt x="15" y="92"/>
                </a:lnTo>
                <a:lnTo>
                  <a:pt x="14" y="90"/>
                </a:lnTo>
                <a:lnTo>
                  <a:pt x="15" y="90"/>
                </a:lnTo>
                <a:lnTo>
                  <a:pt x="17" y="88"/>
                </a:lnTo>
                <a:lnTo>
                  <a:pt x="19" y="86"/>
                </a:lnTo>
                <a:lnTo>
                  <a:pt x="19" y="83"/>
                </a:lnTo>
                <a:lnTo>
                  <a:pt x="19" y="81"/>
                </a:lnTo>
                <a:lnTo>
                  <a:pt x="15" y="80"/>
                </a:lnTo>
                <a:lnTo>
                  <a:pt x="14" y="78"/>
                </a:lnTo>
                <a:lnTo>
                  <a:pt x="17" y="78"/>
                </a:lnTo>
                <a:lnTo>
                  <a:pt x="19" y="78"/>
                </a:lnTo>
                <a:lnTo>
                  <a:pt x="20" y="78"/>
                </a:lnTo>
                <a:lnTo>
                  <a:pt x="20" y="76"/>
                </a:lnTo>
                <a:lnTo>
                  <a:pt x="22" y="75"/>
                </a:lnTo>
                <a:lnTo>
                  <a:pt x="22" y="73"/>
                </a:lnTo>
                <a:lnTo>
                  <a:pt x="20" y="75"/>
                </a:lnTo>
                <a:lnTo>
                  <a:pt x="20" y="71"/>
                </a:lnTo>
                <a:lnTo>
                  <a:pt x="20" y="69"/>
                </a:lnTo>
                <a:lnTo>
                  <a:pt x="20" y="68"/>
                </a:lnTo>
                <a:lnTo>
                  <a:pt x="20" y="64"/>
                </a:lnTo>
                <a:lnTo>
                  <a:pt x="20" y="63"/>
                </a:lnTo>
                <a:lnTo>
                  <a:pt x="20" y="61"/>
                </a:lnTo>
                <a:lnTo>
                  <a:pt x="19" y="61"/>
                </a:lnTo>
                <a:lnTo>
                  <a:pt x="17" y="59"/>
                </a:lnTo>
                <a:lnTo>
                  <a:pt x="15" y="59"/>
                </a:lnTo>
                <a:lnTo>
                  <a:pt x="14" y="59"/>
                </a:lnTo>
                <a:lnTo>
                  <a:pt x="12" y="58"/>
                </a:lnTo>
                <a:lnTo>
                  <a:pt x="10" y="58"/>
                </a:lnTo>
                <a:lnTo>
                  <a:pt x="9" y="59"/>
                </a:lnTo>
                <a:lnTo>
                  <a:pt x="9" y="58"/>
                </a:lnTo>
                <a:lnTo>
                  <a:pt x="7" y="56"/>
                </a:lnTo>
                <a:lnTo>
                  <a:pt x="7" y="54"/>
                </a:lnTo>
                <a:lnTo>
                  <a:pt x="7" y="52"/>
                </a:lnTo>
                <a:lnTo>
                  <a:pt x="9" y="51"/>
                </a:lnTo>
                <a:lnTo>
                  <a:pt x="7" y="51"/>
                </a:lnTo>
                <a:lnTo>
                  <a:pt x="7" y="49"/>
                </a:lnTo>
                <a:lnTo>
                  <a:pt x="7" y="47"/>
                </a:lnTo>
                <a:lnTo>
                  <a:pt x="7" y="44"/>
                </a:lnTo>
                <a:lnTo>
                  <a:pt x="7" y="42"/>
                </a:lnTo>
                <a:lnTo>
                  <a:pt x="7" y="40"/>
                </a:lnTo>
                <a:lnTo>
                  <a:pt x="5" y="40"/>
                </a:lnTo>
                <a:lnTo>
                  <a:pt x="5" y="39"/>
                </a:lnTo>
                <a:lnTo>
                  <a:pt x="0" y="37"/>
                </a:lnTo>
                <a:lnTo>
                  <a:pt x="3" y="32"/>
                </a:lnTo>
                <a:lnTo>
                  <a:pt x="3" y="30"/>
                </a:lnTo>
                <a:lnTo>
                  <a:pt x="5" y="29"/>
                </a:lnTo>
                <a:lnTo>
                  <a:pt x="7" y="25"/>
                </a:lnTo>
                <a:lnTo>
                  <a:pt x="5" y="23"/>
                </a:lnTo>
                <a:lnTo>
                  <a:pt x="7" y="22"/>
                </a:lnTo>
                <a:lnTo>
                  <a:pt x="9" y="20"/>
                </a:lnTo>
                <a:lnTo>
                  <a:pt x="9" y="17"/>
                </a:lnTo>
                <a:lnTo>
                  <a:pt x="10" y="17"/>
                </a:lnTo>
                <a:lnTo>
                  <a:pt x="10" y="15"/>
                </a:lnTo>
                <a:lnTo>
                  <a:pt x="12" y="13"/>
                </a:lnTo>
                <a:lnTo>
                  <a:pt x="12" y="12"/>
                </a:lnTo>
                <a:lnTo>
                  <a:pt x="14" y="10"/>
                </a:lnTo>
                <a:lnTo>
                  <a:pt x="15" y="8"/>
                </a:lnTo>
                <a:lnTo>
                  <a:pt x="14" y="6"/>
                </a:lnTo>
                <a:lnTo>
                  <a:pt x="15" y="5"/>
                </a:lnTo>
                <a:lnTo>
                  <a:pt x="15" y="3"/>
                </a:lnTo>
                <a:lnTo>
                  <a:pt x="17" y="3"/>
                </a:lnTo>
                <a:lnTo>
                  <a:pt x="19" y="0"/>
                </a:lnTo>
                <a:lnTo>
                  <a:pt x="20" y="1"/>
                </a:lnTo>
                <a:lnTo>
                  <a:pt x="20" y="3"/>
                </a:lnTo>
                <a:lnTo>
                  <a:pt x="22" y="5"/>
                </a:lnTo>
                <a:lnTo>
                  <a:pt x="20" y="5"/>
                </a:lnTo>
                <a:lnTo>
                  <a:pt x="20" y="8"/>
                </a:lnTo>
                <a:lnTo>
                  <a:pt x="22" y="10"/>
                </a:lnTo>
                <a:lnTo>
                  <a:pt x="24" y="12"/>
                </a:lnTo>
                <a:lnTo>
                  <a:pt x="26" y="13"/>
                </a:lnTo>
                <a:lnTo>
                  <a:pt x="27" y="12"/>
                </a:lnTo>
                <a:lnTo>
                  <a:pt x="29" y="10"/>
                </a:lnTo>
                <a:lnTo>
                  <a:pt x="29" y="12"/>
                </a:lnTo>
                <a:lnTo>
                  <a:pt x="31" y="10"/>
                </a:lnTo>
                <a:lnTo>
                  <a:pt x="32" y="8"/>
                </a:lnTo>
                <a:lnTo>
                  <a:pt x="34" y="8"/>
                </a:lnTo>
                <a:lnTo>
                  <a:pt x="36" y="6"/>
                </a:lnTo>
                <a:lnTo>
                  <a:pt x="37" y="5"/>
                </a:lnTo>
                <a:close/>
                <a:moveTo>
                  <a:pt x="15" y="154"/>
                </a:moveTo>
                <a:lnTo>
                  <a:pt x="17" y="158"/>
                </a:lnTo>
                <a:lnTo>
                  <a:pt x="15" y="158"/>
                </a:lnTo>
                <a:lnTo>
                  <a:pt x="15" y="154"/>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83" name="Freeform 27">
            <a:extLst>
              <a:ext uri="{FF2B5EF4-FFF2-40B4-BE49-F238E27FC236}">
                <a16:creationId xmlns:a16="http://schemas.microsoft.com/office/drawing/2014/main" id="{5D51E7AA-F2D6-428C-8FBA-3E4E9D10C275}"/>
              </a:ext>
            </a:extLst>
          </p:cNvPr>
          <p:cNvSpPr>
            <a:spLocks noEditPoints="1"/>
          </p:cNvSpPr>
          <p:nvPr/>
        </p:nvSpPr>
        <p:spPr bwMode="gray">
          <a:xfrm>
            <a:off x="3479679" y="4042524"/>
            <a:ext cx="803868" cy="801987"/>
          </a:xfrm>
          <a:custGeom>
            <a:avLst/>
            <a:gdLst>
              <a:gd name="T0" fmla="*/ 178 w 295"/>
              <a:gd name="T1" fmla="*/ 27 h 281"/>
              <a:gd name="T2" fmla="*/ 202 w 295"/>
              <a:gd name="T3" fmla="*/ 41 h 281"/>
              <a:gd name="T4" fmla="*/ 244 w 295"/>
              <a:gd name="T5" fmla="*/ 43 h 281"/>
              <a:gd name="T6" fmla="*/ 266 w 295"/>
              <a:gd name="T7" fmla="*/ 44 h 281"/>
              <a:gd name="T8" fmla="*/ 273 w 295"/>
              <a:gd name="T9" fmla="*/ 70 h 281"/>
              <a:gd name="T10" fmla="*/ 278 w 295"/>
              <a:gd name="T11" fmla="*/ 90 h 281"/>
              <a:gd name="T12" fmla="*/ 260 w 295"/>
              <a:gd name="T13" fmla="*/ 90 h 281"/>
              <a:gd name="T14" fmla="*/ 221 w 295"/>
              <a:gd name="T15" fmla="*/ 94 h 281"/>
              <a:gd name="T16" fmla="*/ 180 w 295"/>
              <a:gd name="T17" fmla="*/ 92 h 281"/>
              <a:gd name="T18" fmla="*/ 149 w 295"/>
              <a:gd name="T19" fmla="*/ 94 h 281"/>
              <a:gd name="T20" fmla="*/ 115 w 295"/>
              <a:gd name="T21" fmla="*/ 97 h 281"/>
              <a:gd name="T22" fmla="*/ 134 w 295"/>
              <a:gd name="T23" fmla="*/ 143 h 281"/>
              <a:gd name="T24" fmla="*/ 163 w 295"/>
              <a:gd name="T25" fmla="*/ 182 h 281"/>
              <a:gd name="T26" fmla="*/ 205 w 295"/>
              <a:gd name="T27" fmla="*/ 225 h 281"/>
              <a:gd name="T28" fmla="*/ 212 w 295"/>
              <a:gd name="T29" fmla="*/ 242 h 281"/>
              <a:gd name="T30" fmla="*/ 171 w 295"/>
              <a:gd name="T31" fmla="*/ 218 h 281"/>
              <a:gd name="T32" fmla="*/ 137 w 295"/>
              <a:gd name="T33" fmla="*/ 218 h 281"/>
              <a:gd name="T34" fmla="*/ 127 w 295"/>
              <a:gd name="T35" fmla="*/ 201 h 281"/>
              <a:gd name="T36" fmla="*/ 88 w 295"/>
              <a:gd name="T37" fmla="*/ 172 h 281"/>
              <a:gd name="T38" fmla="*/ 110 w 295"/>
              <a:gd name="T39" fmla="*/ 170 h 281"/>
              <a:gd name="T40" fmla="*/ 74 w 295"/>
              <a:gd name="T41" fmla="*/ 138 h 281"/>
              <a:gd name="T42" fmla="*/ 54 w 295"/>
              <a:gd name="T43" fmla="*/ 97 h 281"/>
              <a:gd name="T44" fmla="*/ 35 w 295"/>
              <a:gd name="T45" fmla="*/ 119 h 281"/>
              <a:gd name="T46" fmla="*/ 20 w 295"/>
              <a:gd name="T47" fmla="*/ 129 h 281"/>
              <a:gd name="T48" fmla="*/ 6 w 295"/>
              <a:gd name="T49" fmla="*/ 109 h 281"/>
              <a:gd name="T50" fmla="*/ 20 w 295"/>
              <a:gd name="T51" fmla="*/ 87 h 281"/>
              <a:gd name="T52" fmla="*/ 54 w 295"/>
              <a:gd name="T53" fmla="*/ 68 h 281"/>
              <a:gd name="T54" fmla="*/ 90 w 295"/>
              <a:gd name="T55" fmla="*/ 75 h 281"/>
              <a:gd name="T56" fmla="*/ 103 w 295"/>
              <a:gd name="T57" fmla="*/ 53 h 281"/>
              <a:gd name="T58" fmla="*/ 115 w 295"/>
              <a:gd name="T59" fmla="*/ 21 h 281"/>
              <a:gd name="T60" fmla="*/ 147 w 295"/>
              <a:gd name="T61" fmla="*/ 5 h 281"/>
              <a:gd name="T62" fmla="*/ 272 w 295"/>
              <a:gd name="T63" fmla="*/ 277 h 281"/>
              <a:gd name="T64" fmla="*/ 241 w 295"/>
              <a:gd name="T65" fmla="*/ 262 h 281"/>
              <a:gd name="T66" fmla="*/ 205 w 295"/>
              <a:gd name="T67" fmla="*/ 249 h 281"/>
              <a:gd name="T68" fmla="*/ 219 w 295"/>
              <a:gd name="T69" fmla="*/ 250 h 281"/>
              <a:gd name="T70" fmla="*/ 68 w 295"/>
              <a:gd name="T71" fmla="*/ 116 h 281"/>
              <a:gd name="T72" fmla="*/ 54 w 295"/>
              <a:gd name="T73" fmla="*/ 99 h 281"/>
              <a:gd name="T74" fmla="*/ 47 w 295"/>
              <a:gd name="T75" fmla="*/ 135 h 281"/>
              <a:gd name="T76" fmla="*/ 173 w 295"/>
              <a:gd name="T77" fmla="*/ 223 h 281"/>
              <a:gd name="T78" fmla="*/ 166 w 295"/>
              <a:gd name="T79" fmla="*/ 232 h 281"/>
              <a:gd name="T80" fmla="*/ 166 w 295"/>
              <a:gd name="T81" fmla="*/ 238 h 281"/>
              <a:gd name="T82" fmla="*/ 76 w 295"/>
              <a:gd name="T83" fmla="*/ 143 h 281"/>
              <a:gd name="T84" fmla="*/ 90 w 295"/>
              <a:gd name="T85" fmla="*/ 158 h 281"/>
              <a:gd name="T86" fmla="*/ 176 w 295"/>
              <a:gd name="T87" fmla="*/ 249 h 281"/>
              <a:gd name="T88" fmla="*/ 171 w 295"/>
              <a:gd name="T89" fmla="*/ 252 h 281"/>
              <a:gd name="T90" fmla="*/ 90 w 295"/>
              <a:gd name="T91" fmla="*/ 192 h 281"/>
              <a:gd name="T92" fmla="*/ 222 w 295"/>
              <a:gd name="T93" fmla="*/ 262 h 281"/>
              <a:gd name="T94" fmla="*/ 144 w 295"/>
              <a:gd name="T95" fmla="*/ 250 h 281"/>
              <a:gd name="T96" fmla="*/ 45 w 295"/>
              <a:gd name="T97" fmla="*/ 136 h 281"/>
              <a:gd name="T98" fmla="*/ 102 w 295"/>
              <a:gd name="T99" fmla="*/ 187 h 281"/>
              <a:gd name="T100" fmla="*/ 88 w 295"/>
              <a:gd name="T101" fmla="*/ 175 h 281"/>
              <a:gd name="T102" fmla="*/ 98 w 295"/>
              <a:gd name="T103" fmla="*/ 196 h 281"/>
              <a:gd name="T104" fmla="*/ 69 w 295"/>
              <a:gd name="T105" fmla="*/ 158 h 281"/>
              <a:gd name="T106" fmla="*/ 115 w 295"/>
              <a:gd name="T107" fmla="*/ 196 h 281"/>
              <a:gd name="T108" fmla="*/ 236 w 295"/>
              <a:gd name="T109" fmla="*/ 259 h 281"/>
              <a:gd name="T110" fmla="*/ 98 w 295"/>
              <a:gd name="T111" fmla="*/ 191 h 281"/>
              <a:gd name="T112" fmla="*/ 68 w 295"/>
              <a:gd name="T113" fmla="*/ 167 h 281"/>
              <a:gd name="T114" fmla="*/ 127 w 295"/>
              <a:gd name="T115" fmla="*/ 204 h 281"/>
              <a:gd name="T116" fmla="*/ 56 w 295"/>
              <a:gd name="T117" fmla="*/ 155 h 281"/>
              <a:gd name="T118" fmla="*/ 78 w 295"/>
              <a:gd name="T119" fmla="*/ 174 h 281"/>
              <a:gd name="T120" fmla="*/ 85 w 295"/>
              <a:gd name="T121" fmla="*/ 181 h 281"/>
              <a:gd name="T122" fmla="*/ 124 w 295"/>
              <a:gd name="T123" fmla="*/ 199 h 281"/>
              <a:gd name="T124" fmla="*/ 45 w 295"/>
              <a:gd name="T125" fmla="*/ 147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5" h="281">
                <a:moveTo>
                  <a:pt x="147" y="5"/>
                </a:moveTo>
                <a:lnTo>
                  <a:pt x="149" y="5"/>
                </a:lnTo>
                <a:lnTo>
                  <a:pt x="151" y="5"/>
                </a:lnTo>
                <a:lnTo>
                  <a:pt x="151" y="7"/>
                </a:lnTo>
                <a:lnTo>
                  <a:pt x="153" y="9"/>
                </a:lnTo>
                <a:lnTo>
                  <a:pt x="153" y="10"/>
                </a:lnTo>
                <a:lnTo>
                  <a:pt x="153" y="9"/>
                </a:lnTo>
                <a:lnTo>
                  <a:pt x="154" y="10"/>
                </a:lnTo>
                <a:lnTo>
                  <a:pt x="156" y="9"/>
                </a:lnTo>
                <a:lnTo>
                  <a:pt x="158" y="10"/>
                </a:lnTo>
                <a:lnTo>
                  <a:pt x="159" y="10"/>
                </a:lnTo>
                <a:lnTo>
                  <a:pt x="161" y="12"/>
                </a:lnTo>
                <a:lnTo>
                  <a:pt x="161" y="14"/>
                </a:lnTo>
                <a:lnTo>
                  <a:pt x="161" y="16"/>
                </a:lnTo>
                <a:lnTo>
                  <a:pt x="161" y="17"/>
                </a:lnTo>
                <a:lnTo>
                  <a:pt x="163" y="17"/>
                </a:lnTo>
                <a:lnTo>
                  <a:pt x="164" y="19"/>
                </a:lnTo>
                <a:lnTo>
                  <a:pt x="166" y="19"/>
                </a:lnTo>
                <a:lnTo>
                  <a:pt x="166" y="21"/>
                </a:lnTo>
                <a:lnTo>
                  <a:pt x="168" y="21"/>
                </a:lnTo>
                <a:lnTo>
                  <a:pt x="170" y="21"/>
                </a:lnTo>
                <a:lnTo>
                  <a:pt x="171" y="21"/>
                </a:lnTo>
                <a:lnTo>
                  <a:pt x="171" y="22"/>
                </a:lnTo>
                <a:lnTo>
                  <a:pt x="173" y="22"/>
                </a:lnTo>
                <a:lnTo>
                  <a:pt x="175" y="24"/>
                </a:lnTo>
                <a:lnTo>
                  <a:pt x="176" y="22"/>
                </a:lnTo>
                <a:lnTo>
                  <a:pt x="176" y="26"/>
                </a:lnTo>
                <a:lnTo>
                  <a:pt x="176" y="27"/>
                </a:lnTo>
                <a:lnTo>
                  <a:pt x="178" y="27"/>
                </a:lnTo>
                <a:lnTo>
                  <a:pt x="180" y="27"/>
                </a:lnTo>
                <a:lnTo>
                  <a:pt x="178" y="29"/>
                </a:lnTo>
                <a:lnTo>
                  <a:pt x="180" y="29"/>
                </a:lnTo>
                <a:lnTo>
                  <a:pt x="181" y="29"/>
                </a:lnTo>
                <a:lnTo>
                  <a:pt x="180" y="31"/>
                </a:lnTo>
                <a:lnTo>
                  <a:pt x="181" y="31"/>
                </a:lnTo>
                <a:lnTo>
                  <a:pt x="181" y="33"/>
                </a:lnTo>
                <a:lnTo>
                  <a:pt x="183" y="33"/>
                </a:lnTo>
                <a:lnTo>
                  <a:pt x="181" y="34"/>
                </a:lnTo>
                <a:lnTo>
                  <a:pt x="183" y="34"/>
                </a:lnTo>
                <a:lnTo>
                  <a:pt x="183" y="36"/>
                </a:lnTo>
                <a:lnTo>
                  <a:pt x="185" y="34"/>
                </a:lnTo>
                <a:lnTo>
                  <a:pt x="185" y="36"/>
                </a:lnTo>
                <a:lnTo>
                  <a:pt x="185" y="34"/>
                </a:lnTo>
                <a:lnTo>
                  <a:pt x="187" y="36"/>
                </a:lnTo>
                <a:lnTo>
                  <a:pt x="187" y="34"/>
                </a:lnTo>
                <a:lnTo>
                  <a:pt x="187" y="36"/>
                </a:lnTo>
                <a:lnTo>
                  <a:pt x="188" y="36"/>
                </a:lnTo>
                <a:lnTo>
                  <a:pt x="187" y="38"/>
                </a:lnTo>
                <a:lnTo>
                  <a:pt x="188" y="38"/>
                </a:lnTo>
                <a:lnTo>
                  <a:pt x="188" y="39"/>
                </a:lnTo>
                <a:lnTo>
                  <a:pt x="190" y="38"/>
                </a:lnTo>
                <a:lnTo>
                  <a:pt x="190" y="39"/>
                </a:lnTo>
                <a:lnTo>
                  <a:pt x="190" y="38"/>
                </a:lnTo>
                <a:lnTo>
                  <a:pt x="192" y="38"/>
                </a:lnTo>
                <a:lnTo>
                  <a:pt x="195" y="38"/>
                </a:lnTo>
                <a:lnTo>
                  <a:pt x="197" y="38"/>
                </a:lnTo>
                <a:lnTo>
                  <a:pt x="200" y="39"/>
                </a:lnTo>
                <a:lnTo>
                  <a:pt x="202" y="41"/>
                </a:lnTo>
                <a:lnTo>
                  <a:pt x="202" y="43"/>
                </a:lnTo>
                <a:lnTo>
                  <a:pt x="202" y="44"/>
                </a:lnTo>
                <a:lnTo>
                  <a:pt x="204" y="43"/>
                </a:lnTo>
                <a:lnTo>
                  <a:pt x="205" y="44"/>
                </a:lnTo>
                <a:lnTo>
                  <a:pt x="207" y="44"/>
                </a:lnTo>
                <a:lnTo>
                  <a:pt x="210" y="46"/>
                </a:lnTo>
                <a:lnTo>
                  <a:pt x="210" y="44"/>
                </a:lnTo>
                <a:lnTo>
                  <a:pt x="210" y="46"/>
                </a:lnTo>
                <a:lnTo>
                  <a:pt x="212" y="48"/>
                </a:lnTo>
                <a:lnTo>
                  <a:pt x="214" y="46"/>
                </a:lnTo>
                <a:lnTo>
                  <a:pt x="215" y="46"/>
                </a:lnTo>
                <a:lnTo>
                  <a:pt x="219" y="46"/>
                </a:lnTo>
                <a:lnTo>
                  <a:pt x="219" y="44"/>
                </a:lnTo>
                <a:lnTo>
                  <a:pt x="221" y="46"/>
                </a:lnTo>
                <a:lnTo>
                  <a:pt x="224" y="46"/>
                </a:lnTo>
                <a:lnTo>
                  <a:pt x="226" y="44"/>
                </a:lnTo>
                <a:lnTo>
                  <a:pt x="227" y="46"/>
                </a:lnTo>
                <a:lnTo>
                  <a:pt x="229" y="44"/>
                </a:lnTo>
                <a:lnTo>
                  <a:pt x="231" y="44"/>
                </a:lnTo>
                <a:lnTo>
                  <a:pt x="232" y="46"/>
                </a:lnTo>
                <a:lnTo>
                  <a:pt x="234" y="46"/>
                </a:lnTo>
                <a:lnTo>
                  <a:pt x="236" y="46"/>
                </a:lnTo>
                <a:lnTo>
                  <a:pt x="238" y="44"/>
                </a:lnTo>
                <a:lnTo>
                  <a:pt x="239" y="46"/>
                </a:lnTo>
                <a:lnTo>
                  <a:pt x="241" y="46"/>
                </a:lnTo>
                <a:lnTo>
                  <a:pt x="241" y="44"/>
                </a:lnTo>
                <a:lnTo>
                  <a:pt x="243" y="44"/>
                </a:lnTo>
                <a:lnTo>
                  <a:pt x="243" y="43"/>
                </a:lnTo>
                <a:lnTo>
                  <a:pt x="244" y="43"/>
                </a:lnTo>
                <a:lnTo>
                  <a:pt x="248" y="41"/>
                </a:lnTo>
                <a:lnTo>
                  <a:pt x="249" y="38"/>
                </a:lnTo>
                <a:lnTo>
                  <a:pt x="249" y="36"/>
                </a:lnTo>
                <a:lnTo>
                  <a:pt x="251" y="36"/>
                </a:lnTo>
                <a:lnTo>
                  <a:pt x="249" y="34"/>
                </a:lnTo>
                <a:lnTo>
                  <a:pt x="251" y="34"/>
                </a:lnTo>
                <a:lnTo>
                  <a:pt x="251" y="33"/>
                </a:lnTo>
                <a:lnTo>
                  <a:pt x="253" y="33"/>
                </a:lnTo>
                <a:lnTo>
                  <a:pt x="255" y="33"/>
                </a:lnTo>
                <a:lnTo>
                  <a:pt x="258" y="34"/>
                </a:lnTo>
                <a:lnTo>
                  <a:pt x="258" y="33"/>
                </a:lnTo>
                <a:lnTo>
                  <a:pt x="261" y="33"/>
                </a:lnTo>
                <a:lnTo>
                  <a:pt x="260" y="31"/>
                </a:lnTo>
                <a:lnTo>
                  <a:pt x="261" y="31"/>
                </a:lnTo>
                <a:lnTo>
                  <a:pt x="263" y="31"/>
                </a:lnTo>
                <a:lnTo>
                  <a:pt x="261" y="33"/>
                </a:lnTo>
                <a:lnTo>
                  <a:pt x="263" y="34"/>
                </a:lnTo>
                <a:lnTo>
                  <a:pt x="260" y="36"/>
                </a:lnTo>
                <a:lnTo>
                  <a:pt x="261" y="38"/>
                </a:lnTo>
                <a:lnTo>
                  <a:pt x="260" y="39"/>
                </a:lnTo>
                <a:lnTo>
                  <a:pt x="261" y="39"/>
                </a:lnTo>
                <a:lnTo>
                  <a:pt x="263" y="38"/>
                </a:lnTo>
                <a:lnTo>
                  <a:pt x="265" y="41"/>
                </a:lnTo>
                <a:lnTo>
                  <a:pt x="261" y="41"/>
                </a:lnTo>
                <a:lnTo>
                  <a:pt x="261" y="43"/>
                </a:lnTo>
                <a:lnTo>
                  <a:pt x="265" y="43"/>
                </a:lnTo>
                <a:lnTo>
                  <a:pt x="266" y="41"/>
                </a:lnTo>
                <a:lnTo>
                  <a:pt x="268" y="43"/>
                </a:lnTo>
                <a:lnTo>
                  <a:pt x="266" y="44"/>
                </a:lnTo>
                <a:lnTo>
                  <a:pt x="265" y="44"/>
                </a:lnTo>
                <a:lnTo>
                  <a:pt x="265" y="46"/>
                </a:lnTo>
                <a:lnTo>
                  <a:pt x="268" y="44"/>
                </a:lnTo>
                <a:lnTo>
                  <a:pt x="268" y="46"/>
                </a:lnTo>
                <a:lnTo>
                  <a:pt x="265" y="46"/>
                </a:lnTo>
                <a:lnTo>
                  <a:pt x="266" y="48"/>
                </a:lnTo>
                <a:lnTo>
                  <a:pt x="268" y="50"/>
                </a:lnTo>
                <a:lnTo>
                  <a:pt x="266" y="50"/>
                </a:lnTo>
                <a:lnTo>
                  <a:pt x="266" y="51"/>
                </a:lnTo>
                <a:lnTo>
                  <a:pt x="265" y="53"/>
                </a:lnTo>
                <a:lnTo>
                  <a:pt x="266" y="51"/>
                </a:lnTo>
                <a:lnTo>
                  <a:pt x="266" y="53"/>
                </a:lnTo>
                <a:lnTo>
                  <a:pt x="265" y="53"/>
                </a:lnTo>
                <a:lnTo>
                  <a:pt x="265" y="55"/>
                </a:lnTo>
                <a:lnTo>
                  <a:pt x="266" y="56"/>
                </a:lnTo>
                <a:lnTo>
                  <a:pt x="266" y="58"/>
                </a:lnTo>
                <a:lnTo>
                  <a:pt x="270" y="56"/>
                </a:lnTo>
                <a:lnTo>
                  <a:pt x="272" y="56"/>
                </a:lnTo>
                <a:lnTo>
                  <a:pt x="275" y="58"/>
                </a:lnTo>
                <a:lnTo>
                  <a:pt x="275" y="60"/>
                </a:lnTo>
                <a:lnTo>
                  <a:pt x="272" y="60"/>
                </a:lnTo>
                <a:lnTo>
                  <a:pt x="270" y="60"/>
                </a:lnTo>
                <a:lnTo>
                  <a:pt x="270" y="61"/>
                </a:lnTo>
                <a:lnTo>
                  <a:pt x="270" y="63"/>
                </a:lnTo>
                <a:lnTo>
                  <a:pt x="272" y="65"/>
                </a:lnTo>
                <a:lnTo>
                  <a:pt x="273" y="65"/>
                </a:lnTo>
                <a:lnTo>
                  <a:pt x="270" y="67"/>
                </a:lnTo>
                <a:lnTo>
                  <a:pt x="270" y="68"/>
                </a:lnTo>
                <a:lnTo>
                  <a:pt x="273" y="70"/>
                </a:lnTo>
                <a:lnTo>
                  <a:pt x="275" y="70"/>
                </a:lnTo>
                <a:lnTo>
                  <a:pt x="277" y="70"/>
                </a:lnTo>
                <a:lnTo>
                  <a:pt x="277" y="73"/>
                </a:lnTo>
                <a:lnTo>
                  <a:pt x="278" y="73"/>
                </a:lnTo>
                <a:lnTo>
                  <a:pt x="282" y="75"/>
                </a:lnTo>
                <a:lnTo>
                  <a:pt x="283" y="75"/>
                </a:lnTo>
                <a:lnTo>
                  <a:pt x="285" y="73"/>
                </a:lnTo>
                <a:lnTo>
                  <a:pt x="285" y="77"/>
                </a:lnTo>
                <a:lnTo>
                  <a:pt x="287" y="77"/>
                </a:lnTo>
                <a:lnTo>
                  <a:pt x="290" y="77"/>
                </a:lnTo>
                <a:lnTo>
                  <a:pt x="292" y="77"/>
                </a:lnTo>
                <a:lnTo>
                  <a:pt x="294" y="75"/>
                </a:lnTo>
                <a:lnTo>
                  <a:pt x="295" y="78"/>
                </a:lnTo>
                <a:lnTo>
                  <a:pt x="294" y="80"/>
                </a:lnTo>
                <a:lnTo>
                  <a:pt x="292" y="80"/>
                </a:lnTo>
                <a:lnTo>
                  <a:pt x="290" y="80"/>
                </a:lnTo>
                <a:lnTo>
                  <a:pt x="289" y="78"/>
                </a:lnTo>
                <a:lnTo>
                  <a:pt x="287" y="78"/>
                </a:lnTo>
                <a:lnTo>
                  <a:pt x="287" y="80"/>
                </a:lnTo>
                <a:lnTo>
                  <a:pt x="285" y="80"/>
                </a:lnTo>
                <a:lnTo>
                  <a:pt x="282" y="80"/>
                </a:lnTo>
                <a:lnTo>
                  <a:pt x="283" y="80"/>
                </a:lnTo>
                <a:lnTo>
                  <a:pt x="283" y="82"/>
                </a:lnTo>
                <a:lnTo>
                  <a:pt x="282" y="84"/>
                </a:lnTo>
                <a:lnTo>
                  <a:pt x="280" y="85"/>
                </a:lnTo>
                <a:lnTo>
                  <a:pt x="278" y="84"/>
                </a:lnTo>
                <a:lnTo>
                  <a:pt x="278" y="87"/>
                </a:lnTo>
                <a:lnTo>
                  <a:pt x="280" y="89"/>
                </a:lnTo>
                <a:lnTo>
                  <a:pt x="278" y="90"/>
                </a:lnTo>
                <a:lnTo>
                  <a:pt x="280" y="90"/>
                </a:lnTo>
                <a:lnTo>
                  <a:pt x="280" y="94"/>
                </a:lnTo>
                <a:lnTo>
                  <a:pt x="278" y="95"/>
                </a:lnTo>
                <a:lnTo>
                  <a:pt x="280" y="95"/>
                </a:lnTo>
                <a:lnTo>
                  <a:pt x="282" y="95"/>
                </a:lnTo>
                <a:lnTo>
                  <a:pt x="283" y="97"/>
                </a:lnTo>
                <a:lnTo>
                  <a:pt x="282" y="97"/>
                </a:lnTo>
                <a:lnTo>
                  <a:pt x="280" y="99"/>
                </a:lnTo>
                <a:lnTo>
                  <a:pt x="280" y="101"/>
                </a:lnTo>
                <a:lnTo>
                  <a:pt x="277" y="101"/>
                </a:lnTo>
                <a:lnTo>
                  <a:pt x="275" y="101"/>
                </a:lnTo>
                <a:lnTo>
                  <a:pt x="275" y="102"/>
                </a:lnTo>
                <a:lnTo>
                  <a:pt x="277" y="102"/>
                </a:lnTo>
                <a:lnTo>
                  <a:pt x="277" y="104"/>
                </a:lnTo>
                <a:lnTo>
                  <a:pt x="275" y="106"/>
                </a:lnTo>
                <a:lnTo>
                  <a:pt x="273" y="106"/>
                </a:lnTo>
                <a:lnTo>
                  <a:pt x="272" y="106"/>
                </a:lnTo>
                <a:lnTo>
                  <a:pt x="268" y="106"/>
                </a:lnTo>
                <a:lnTo>
                  <a:pt x="266" y="104"/>
                </a:lnTo>
                <a:lnTo>
                  <a:pt x="265" y="102"/>
                </a:lnTo>
                <a:lnTo>
                  <a:pt x="263" y="101"/>
                </a:lnTo>
                <a:lnTo>
                  <a:pt x="266" y="101"/>
                </a:lnTo>
                <a:lnTo>
                  <a:pt x="265" y="97"/>
                </a:lnTo>
                <a:lnTo>
                  <a:pt x="263" y="95"/>
                </a:lnTo>
                <a:lnTo>
                  <a:pt x="261" y="97"/>
                </a:lnTo>
                <a:lnTo>
                  <a:pt x="261" y="95"/>
                </a:lnTo>
                <a:lnTo>
                  <a:pt x="261" y="94"/>
                </a:lnTo>
                <a:lnTo>
                  <a:pt x="258" y="92"/>
                </a:lnTo>
                <a:lnTo>
                  <a:pt x="260" y="90"/>
                </a:lnTo>
                <a:lnTo>
                  <a:pt x="258" y="90"/>
                </a:lnTo>
                <a:lnTo>
                  <a:pt x="258" y="92"/>
                </a:lnTo>
                <a:lnTo>
                  <a:pt x="255" y="92"/>
                </a:lnTo>
                <a:lnTo>
                  <a:pt x="256" y="90"/>
                </a:lnTo>
                <a:lnTo>
                  <a:pt x="255" y="92"/>
                </a:lnTo>
                <a:lnTo>
                  <a:pt x="253" y="90"/>
                </a:lnTo>
                <a:lnTo>
                  <a:pt x="253" y="92"/>
                </a:lnTo>
                <a:lnTo>
                  <a:pt x="251" y="90"/>
                </a:lnTo>
                <a:lnTo>
                  <a:pt x="253" y="92"/>
                </a:lnTo>
                <a:lnTo>
                  <a:pt x="251" y="94"/>
                </a:lnTo>
                <a:lnTo>
                  <a:pt x="248" y="94"/>
                </a:lnTo>
                <a:lnTo>
                  <a:pt x="246" y="92"/>
                </a:lnTo>
                <a:lnTo>
                  <a:pt x="246" y="90"/>
                </a:lnTo>
                <a:lnTo>
                  <a:pt x="244" y="90"/>
                </a:lnTo>
                <a:lnTo>
                  <a:pt x="241" y="92"/>
                </a:lnTo>
                <a:lnTo>
                  <a:pt x="239" y="90"/>
                </a:lnTo>
                <a:lnTo>
                  <a:pt x="238" y="89"/>
                </a:lnTo>
                <a:lnTo>
                  <a:pt x="234" y="90"/>
                </a:lnTo>
                <a:lnTo>
                  <a:pt x="236" y="92"/>
                </a:lnTo>
                <a:lnTo>
                  <a:pt x="234" y="94"/>
                </a:lnTo>
                <a:lnTo>
                  <a:pt x="232" y="94"/>
                </a:lnTo>
                <a:lnTo>
                  <a:pt x="231" y="94"/>
                </a:lnTo>
                <a:lnTo>
                  <a:pt x="227" y="92"/>
                </a:lnTo>
                <a:lnTo>
                  <a:pt x="229" y="92"/>
                </a:lnTo>
                <a:lnTo>
                  <a:pt x="227" y="90"/>
                </a:lnTo>
                <a:lnTo>
                  <a:pt x="226" y="92"/>
                </a:lnTo>
                <a:lnTo>
                  <a:pt x="224" y="90"/>
                </a:lnTo>
                <a:lnTo>
                  <a:pt x="222" y="92"/>
                </a:lnTo>
                <a:lnTo>
                  <a:pt x="221" y="94"/>
                </a:lnTo>
                <a:lnTo>
                  <a:pt x="222" y="95"/>
                </a:lnTo>
                <a:lnTo>
                  <a:pt x="221" y="97"/>
                </a:lnTo>
                <a:lnTo>
                  <a:pt x="219" y="97"/>
                </a:lnTo>
                <a:lnTo>
                  <a:pt x="217" y="99"/>
                </a:lnTo>
                <a:lnTo>
                  <a:pt x="215" y="97"/>
                </a:lnTo>
                <a:lnTo>
                  <a:pt x="214" y="95"/>
                </a:lnTo>
                <a:lnTo>
                  <a:pt x="212" y="95"/>
                </a:lnTo>
                <a:lnTo>
                  <a:pt x="210" y="94"/>
                </a:lnTo>
                <a:lnTo>
                  <a:pt x="209" y="94"/>
                </a:lnTo>
                <a:lnTo>
                  <a:pt x="207" y="94"/>
                </a:lnTo>
                <a:lnTo>
                  <a:pt x="205" y="95"/>
                </a:lnTo>
                <a:lnTo>
                  <a:pt x="202" y="95"/>
                </a:lnTo>
                <a:lnTo>
                  <a:pt x="202" y="94"/>
                </a:lnTo>
                <a:lnTo>
                  <a:pt x="202" y="95"/>
                </a:lnTo>
                <a:lnTo>
                  <a:pt x="198" y="95"/>
                </a:lnTo>
                <a:lnTo>
                  <a:pt x="200" y="94"/>
                </a:lnTo>
                <a:lnTo>
                  <a:pt x="197" y="94"/>
                </a:lnTo>
                <a:lnTo>
                  <a:pt x="197" y="92"/>
                </a:lnTo>
                <a:lnTo>
                  <a:pt x="195" y="94"/>
                </a:lnTo>
                <a:lnTo>
                  <a:pt x="192" y="94"/>
                </a:lnTo>
                <a:lnTo>
                  <a:pt x="192" y="92"/>
                </a:lnTo>
                <a:lnTo>
                  <a:pt x="188" y="92"/>
                </a:lnTo>
                <a:lnTo>
                  <a:pt x="188" y="90"/>
                </a:lnTo>
                <a:lnTo>
                  <a:pt x="188" y="92"/>
                </a:lnTo>
                <a:lnTo>
                  <a:pt x="187" y="94"/>
                </a:lnTo>
                <a:lnTo>
                  <a:pt x="185" y="94"/>
                </a:lnTo>
                <a:lnTo>
                  <a:pt x="183" y="94"/>
                </a:lnTo>
                <a:lnTo>
                  <a:pt x="181" y="94"/>
                </a:lnTo>
                <a:lnTo>
                  <a:pt x="180" y="92"/>
                </a:lnTo>
                <a:lnTo>
                  <a:pt x="178" y="92"/>
                </a:lnTo>
                <a:lnTo>
                  <a:pt x="176" y="92"/>
                </a:lnTo>
                <a:lnTo>
                  <a:pt x="176" y="90"/>
                </a:lnTo>
                <a:lnTo>
                  <a:pt x="175" y="90"/>
                </a:lnTo>
                <a:lnTo>
                  <a:pt x="175" y="89"/>
                </a:lnTo>
                <a:lnTo>
                  <a:pt x="175" y="90"/>
                </a:lnTo>
                <a:lnTo>
                  <a:pt x="173" y="89"/>
                </a:lnTo>
                <a:lnTo>
                  <a:pt x="173" y="90"/>
                </a:lnTo>
                <a:lnTo>
                  <a:pt x="171" y="90"/>
                </a:lnTo>
                <a:lnTo>
                  <a:pt x="171" y="89"/>
                </a:lnTo>
                <a:lnTo>
                  <a:pt x="171" y="87"/>
                </a:lnTo>
                <a:lnTo>
                  <a:pt x="170" y="89"/>
                </a:lnTo>
                <a:lnTo>
                  <a:pt x="168" y="89"/>
                </a:lnTo>
                <a:lnTo>
                  <a:pt x="170" y="89"/>
                </a:lnTo>
                <a:lnTo>
                  <a:pt x="168" y="89"/>
                </a:lnTo>
                <a:lnTo>
                  <a:pt x="168" y="90"/>
                </a:lnTo>
                <a:lnTo>
                  <a:pt x="168" y="92"/>
                </a:lnTo>
                <a:lnTo>
                  <a:pt x="166" y="90"/>
                </a:lnTo>
                <a:lnTo>
                  <a:pt x="166" y="92"/>
                </a:lnTo>
                <a:lnTo>
                  <a:pt x="166" y="94"/>
                </a:lnTo>
                <a:lnTo>
                  <a:pt x="163" y="94"/>
                </a:lnTo>
                <a:lnTo>
                  <a:pt x="161" y="92"/>
                </a:lnTo>
                <a:lnTo>
                  <a:pt x="159" y="94"/>
                </a:lnTo>
                <a:lnTo>
                  <a:pt x="158" y="94"/>
                </a:lnTo>
                <a:lnTo>
                  <a:pt x="156" y="92"/>
                </a:lnTo>
                <a:lnTo>
                  <a:pt x="154" y="92"/>
                </a:lnTo>
                <a:lnTo>
                  <a:pt x="153" y="92"/>
                </a:lnTo>
                <a:lnTo>
                  <a:pt x="151" y="92"/>
                </a:lnTo>
                <a:lnTo>
                  <a:pt x="149" y="94"/>
                </a:lnTo>
                <a:lnTo>
                  <a:pt x="149" y="95"/>
                </a:lnTo>
                <a:lnTo>
                  <a:pt x="149" y="97"/>
                </a:lnTo>
                <a:lnTo>
                  <a:pt x="149" y="99"/>
                </a:lnTo>
                <a:lnTo>
                  <a:pt x="147" y="99"/>
                </a:lnTo>
                <a:lnTo>
                  <a:pt x="146" y="101"/>
                </a:lnTo>
                <a:lnTo>
                  <a:pt x="146" y="102"/>
                </a:lnTo>
                <a:lnTo>
                  <a:pt x="146" y="106"/>
                </a:lnTo>
                <a:lnTo>
                  <a:pt x="144" y="107"/>
                </a:lnTo>
                <a:lnTo>
                  <a:pt x="144" y="109"/>
                </a:lnTo>
                <a:lnTo>
                  <a:pt x="141" y="109"/>
                </a:lnTo>
                <a:lnTo>
                  <a:pt x="139" y="107"/>
                </a:lnTo>
                <a:lnTo>
                  <a:pt x="137" y="107"/>
                </a:lnTo>
                <a:lnTo>
                  <a:pt x="136" y="107"/>
                </a:lnTo>
                <a:lnTo>
                  <a:pt x="134" y="104"/>
                </a:lnTo>
                <a:lnTo>
                  <a:pt x="132" y="104"/>
                </a:lnTo>
                <a:lnTo>
                  <a:pt x="130" y="102"/>
                </a:lnTo>
                <a:lnTo>
                  <a:pt x="130" y="101"/>
                </a:lnTo>
                <a:lnTo>
                  <a:pt x="129" y="99"/>
                </a:lnTo>
                <a:lnTo>
                  <a:pt x="127" y="97"/>
                </a:lnTo>
                <a:lnTo>
                  <a:pt x="125" y="97"/>
                </a:lnTo>
                <a:lnTo>
                  <a:pt x="127" y="95"/>
                </a:lnTo>
                <a:lnTo>
                  <a:pt x="125" y="95"/>
                </a:lnTo>
                <a:lnTo>
                  <a:pt x="124" y="94"/>
                </a:lnTo>
                <a:lnTo>
                  <a:pt x="122" y="95"/>
                </a:lnTo>
                <a:lnTo>
                  <a:pt x="120" y="94"/>
                </a:lnTo>
                <a:lnTo>
                  <a:pt x="120" y="95"/>
                </a:lnTo>
                <a:lnTo>
                  <a:pt x="117" y="95"/>
                </a:lnTo>
                <a:lnTo>
                  <a:pt x="117" y="97"/>
                </a:lnTo>
                <a:lnTo>
                  <a:pt x="115" y="97"/>
                </a:lnTo>
                <a:lnTo>
                  <a:pt x="113" y="99"/>
                </a:lnTo>
                <a:lnTo>
                  <a:pt x="115" y="102"/>
                </a:lnTo>
                <a:lnTo>
                  <a:pt x="115" y="106"/>
                </a:lnTo>
                <a:lnTo>
                  <a:pt x="113" y="107"/>
                </a:lnTo>
                <a:lnTo>
                  <a:pt x="115" y="109"/>
                </a:lnTo>
                <a:lnTo>
                  <a:pt x="115" y="111"/>
                </a:lnTo>
                <a:lnTo>
                  <a:pt x="115" y="112"/>
                </a:lnTo>
                <a:lnTo>
                  <a:pt x="113" y="114"/>
                </a:lnTo>
                <a:lnTo>
                  <a:pt x="113" y="116"/>
                </a:lnTo>
                <a:lnTo>
                  <a:pt x="115" y="119"/>
                </a:lnTo>
                <a:lnTo>
                  <a:pt x="115" y="121"/>
                </a:lnTo>
                <a:lnTo>
                  <a:pt x="117" y="121"/>
                </a:lnTo>
                <a:lnTo>
                  <a:pt x="115" y="123"/>
                </a:lnTo>
                <a:lnTo>
                  <a:pt x="113" y="124"/>
                </a:lnTo>
                <a:lnTo>
                  <a:pt x="115" y="126"/>
                </a:lnTo>
                <a:lnTo>
                  <a:pt x="117" y="129"/>
                </a:lnTo>
                <a:lnTo>
                  <a:pt x="119" y="131"/>
                </a:lnTo>
                <a:lnTo>
                  <a:pt x="120" y="131"/>
                </a:lnTo>
                <a:lnTo>
                  <a:pt x="122" y="128"/>
                </a:lnTo>
                <a:lnTo>
                  <a:pt x="124" y="129"/>
                </a:lnTo>
                <a:lnTo>
                  <a:pt x="125" y="131"/>
                </a:lnTo>
                <a:lnTo>
                  <a:pt x="127" y="133"/>
                </a:lnTo>
                <a:lnTo>
                  <a:pt x="130" y="135"/>
                </a:lnTo>
                <a:lnTo>
                  <a:pt x="130" y="136"/>
                </a:lnTo>
                <a:lnTo>
                  <a:pt x="132" y="138"/>
                </a:lnTo>
                <a:lnTo>
                  <a:pt x="129" y="140"/>
                </a:lnTo>
                <a:lnTo>
                  <a:pt x="130" y="141"/>
                </a:lnTo>
                <a:lnTo>
                  <a:pt x="132" y="143"/>
                </a:lnTo>
                <a:lnTo>
                  <a:pt x="134" y="143"/>
                </a:lnTo>
                <a:lnTo>
                  <a:pt x="136" y="145"/>
                </a:lnTo>
                <a:lnTo>
                  <a:pt x="137" y="147"/>
                </a:lnTo>
                <a:lnTo>
                  <a:pt x="136" y="148"/>
                </a:lnTo>
                <a:lnTo>
                  <a:pt x="137" y="150"/>
                </a:lnTo>
                <a:lnTo>
                  <a:pt x="139" y="152"/>
                </a:lnTo>
                <a:lnTo>
                  <a:pt x="136" y="152"/>
                </a:lnTo>
                <a:lnTo>
                  <a:pt x="137" y="153"/>
                </a:lnTo>
                <a:lnTo>
                  <a:pt x="139" y="153"/>
                </a:lnTo>
                <a:lnTo>
                  <a:pt x="141" y="155"/>
                </a:lnTo>
                <a:lnTo>
                  <a:pt x="141" y="157"/>
                </a:lnTo>
                <a:lnTo>
                  <a:pt x="141" y="158"/>
                </a:lnTo>
                <a:lnTo>
                  <a:pt x="141" y="160"/>
                </a:lnTo>
                <a:lnTo>
                  <a:pt x="141" y="162"/>
                </a:lnTo>
                <a:lnTo>
                  <a:pt x="142" y="164"/>
                </a:lnTo>
                <a:lnTo>
                  <a:pt x="141" y="165"/>
                </a:lnTo>
                <a:lnTo>
                  <a:pt x="144" y="167"/>
                </a:lnTo>
                <a:lnTo>
                  <a:pt x="146" y="169"/>
                </a:lnTo>
                <a:lnTo>
                  <a:pt x="147" y="170"/>
                </a:lnTo>
                <a:lnTo>
                  <a:pt x="149" y="170"/>
                </a:lnTo>
                <a:lnTo>
                  <a:pt x="151" y="174"/>
                </a:lnTo>
                <a:lnTo>
                  <a:pt x="153" y="174"/>
                </a:lnTo>
                <a:lnTo>
                  <a:pt x="154" y="174"/>
                </a:lnTo>
                <a:lnTo>
                  <a:pt x="154" y="177"/>
                </a:lnTo>
                <a:lnTo>
                  <a:pt x="156" y="177"/>
                </a:lnTo>
                <a:lnTo>
                  <a:pt x="158" y="177"/>
                </a:lnTo>
                <a:lnTo>
                  <a:pt x="158" y="179"/>
                </a:lnTo>
                <a:lnTo>
                  <a:pt x="159" y="181"/>
                </a:lnTo>
                <a:lnTo>
                  <a:pt x="161" y="181"/>
                </a:lnTo>
                <a:lnTo>
                  <a:pt x="163" y="182"/>
                </a:lnTo>
                <a:lnTo>
                  <a:pt x="164" y="186"/>
                </a:lnTo>
                <a:lnTo>
                  <a:pt x="166" y="186"/>
                </a:lnTo>
                <a:lnTo>
                  <a:pt x="168" y="187"/>
                </a:lnTo>
                <a:lnTo>
                  <a:pt x="170" y="187"/>
                </a:lnTo>
                <a:lnTo>
                  <a:pt x="170" y="191"/>
                </a:lnTo>
                <a:lnTo>
                  <a:pt x="171" y="191"/>
                </a:lnTo>
                <a:lnTo>
                  <a:pt x="171" y="194"/>
                </a:lnTo>
                <a:lnTo>
                  <a:pt x="175" y="194"/>
                </a:lnTo>
                <a:lnTo>
                  <a:pt x="176" y="196"/>
                </a:lnTo>
                <a:lnTo>
                  <a:pt x="178" y="198"/>
                </a:lnTo>
                <a:lnTo>
                  <a:pt x="180" y="199"/>
                </a:lnTo>
                <a:lnTo>
                  <a:pt x="181" y="201"/>
                </a:lnTo>
                <a:lnTo>
                  <a:pt x="185" y="203"/>
                </a:lnTo>
                <a:lnTo>
                  <a:pt x="185" y="206"/>
                </a:lnTo>
                <a:lnTo>
                  <a:pt x="187" y="206"/>
                </a:lnTo>
                <a:lnTo>
                  <a:pt x="190" y="208"/>
                </a:lnTo>
                <a:lnTo>
                  <a:pt x="192" y="208"/>
                </a:lnTo>
                <a:lnTo>
                  <a:pt x="192" y="209"/>
                </a:lnTo>
                <a:lnTo>
                  <a:pt x="193" y="211"/>
                </a:lnTo>
                <a:lnTo>
                  <a:pt x="195" y="211"/>
                </a:lnTo>
                <a:lnTo>
                  <a:pt x="198" y="211"/>
                </a:lnTo>
                <a:lnTo>
                  <a:pt x="200" y="211"/>
                </a:lnTo>
                <a:lnTo>
                  <a:pt x="202" y="215"/>
                </a:lnTo>
                <a:lnTo>
                  <a:pt x="200" y="216"/>
                </a:lnTo>
                <a:lnTo>
                  <a:pt x="200" y="218"/>
                </a:lnTo>
                <a:lnTo>
                  <a:pt x="202" y="220"/>
                </a:lnTo>
                <a:lnTo>
                  <a:pt x="202" y="221"/>
                </a:lnTo>
                <a:lnTo>
                  <a:pt x="204" y="223"/>
                </a:lnTo>
                <a:lnTo>
                  <a:pt x="205" y="225"/>
                </a:lnTo>
                <a:lnTo>
                  <a:pt x="205" y="226"/>
                </a:lnTo>
                <a:lnTo>
                  <a:pt x="207" y="226"/>
                </a:lnTo>
                <a:lnTo>
                  <a:pt x="209" y="226"/>
                </a:lnTo>
                <a:lnTo>
                  <a:pt x="210" y="228"/>
                </a:lnTo>
                <a:lnTo>
                  <a:pt x="210" y="230"/>
                </a:lnTo>
                <a:lnTo>
                  <a:pt x="210" y="232"/>
                </a:lnTo>
                <a:lnTo>
                  <a:pt x="212" y="232"/>
                </a:lnTo>
                <a:lnTo>
                  <a:pt x="214" y="233"/>
                </a:lnTo>
                <a:lnTo>
                  <a:pt x="215" y="233"/>
                </a:lnTo>
                <a:lnTo>
                  <a:pt x="217" y="235"/>
                </a:lnTo>
                <a:lnTo>
                  <a:pt x="219" y="235"/>
                </a:lnTo>
                <a:lnTo>
                  <a:pt x="221" y="237"/>
                </a:lnTo>
                <a:lnTo>
                  <a:pt x="222" y="237"/>
                </a:lnTo>
                <a:lnTo>
                  <a:pt x="222" y="238"/>
                </a:lnTo>
                <a:lnTo>
                  <a:pt x="224" y="240"/>
                </a:lnTo>
                <a:lnTo>
                  <a:pt x="224" y="242"/>
                </a:lnTo>
                <a:lnTo>
                  <a:pt x="226" y="243"/>
                </a:lnTo>
                <a:lnTo>
                  <a:pt x="227" y="245"/>
                </a:lnTo>
                <a:lnTo>
                  <a:pt x="224" y="245"/>
                </a:lnTo>
                <a:lnTo>
                  <a:pt x="222" y="247"/>
                </a:lnTo>
                <a:lnTo>
                  <a:pt x="221" y="247"/>
                </a:lnTo>
                <a:lnTo>
                  <a:pt x="217" y="249"/>
                </a:lnTo>
                <a:lnTo>
                  <a:pt x="215" y="245"/>
                </a:lnTo>
                <a:lnTo>
                  <a:pt x="214" y="245"/>
                </a:lnTo>
                <a:lnTo>
                  <a:pt x="214" y="243"/>
                </a:lnTo>
                <a:lnTo>
                  <a:pt x="214" y="242"/>
                </a:lnTo>
                <a:lnTo>
                  <a:pt x="212" y="243"/>
                </a:lnTo>
                <a:lnTo>
                  <a:pt x="214" y="242"/>
                </a:lnTo>
                <a:lnTo>
                  <a:pt x="212" y="242"/>
                </a:lnTo>
                <a:lnTo>
                  <a:pt x="214" y="240"/>
                </a:lnTo>
                <a:lnTo>
                  <a:pt x="212" y="242"/>
                </a:lnTo>
                <a:lnTo>
                  <a:pt x="210" y="240"/>
                </a:lnTo>
                <a:lnTo>
                  <a:pt x="210" y="242"/>
                </a:lnTo>
                <a:lnTo>
                  <a:pt x="209" y="240"/>
                </a:lnTo>
                <a:lnTo>
                  <a:pt x="207" y="238"/>
                </a:lnTo>
                <a:lnTo>
                  <a:pt x="205" y="237"/>
                </a:lnTo>
                <a:lnTo>
                  <a:pt x="204" y="237"/>
                </a:lnTo>
                <a:lnTo>
                  <a:pt x="202" y="235"/>
                </a:lnTo>
                <a:lnTo>
                  <a:pt x="200" y="233"/>
                </a:lnTo>
                <a:lnTo>
                  <a:pt x="197" y="233"/>
                </a:lnTo>
                <a:lnTo>
                  <a:pt x="197" y="232"/>
                </a:lnTo>
                <a:lnTo>
                  <a:pt x="193" y="232"/>
                </a:lnTo>
                <a:lnTo>
                  <a:pt x="193" y="230"/>
                </a:lnTo>
                <a:lnTo>
                  <a:pt x="192" y="230"/>
                </a:lnTo>
                <a:lnTo>
                  <a:pt x="190" y="226"/>
                </a:lnTo>
                <a:lnTo>
                  <a:pt x="188" y="226"/>
                </a:lnTo>
                <a:lnTo>
                  <a:pt x="188" y="225"/>
                </a:lnTo>
                <a:lnTo>
                  <a:pt x="187" y="225"/>
                </a:lnTo>
                <a:lnTo>
                  <a:pt x="185" y="223"/>
                </a:lnTo>
                <a:lnTo>
                  <a:pt x="185" y="221"/>
                </a:lnTo>
                <a:lnTo>
                  <a:pt x="183" y="221"/>
                </a:lnTo>
                <a:lnTo>
                  <a:pt x="181" y="218"/>
                </a:lnTo>
                <a:lnTo>
                  <a:pt x="178" y="220"/>
                </a:lnTo>
                <a:lnTo>
                  <a:pt x="175" y="220"/>
                </a:lnTo>
                <a:lnTo>
                  <a:pt x="175" y="218"/>
                </a:lnTo>
                <a:lnTo>
                  <a:pt x="175" y="220"/>
                </a:lnTo>
                <a:lnTo>
                  <a:pt x="173" y="218"/>
                </a:lnTo>
                <a:lnTo>
                  <a:pt x="171" y="218"/>
                </a:lnTo>
                <a:lnTo>
                  <a:pt x="171" y="216"/>
                </a:lnTo>
                <a:lnTo>
                  <a:pt x="168" y="218"/>
                </a:lnTo>
                <a:lnTo>
                  <a:pt x="168" y="216"/>
                </a:lnTo>
                <a:lnTo>
                  <a:pt x="164" y="216"/>
                </a:lnTo>
                <a:lnTo>
                  <a:pt x="164" y="215"/>
                </a:lnTo>
                <a:lnTo>
                  <a:pt x="163" y="213"/>
                </a:lnTo>
                <a:lnTo>
                  <a:pt x="161" y="213"/>
                </a:lnTo>
                <a:lnTo>
                  <a:pt x="158" y="215"/>
                </a:lnTo>
                <a:lnTo>
                  <a:pt x="158" y="213"/>
                </a:lnTo>
                <a:lnTo>
                  <a:pt x="154" y="213"/>
                </a:lnTo>
                <a:lnTo>
                  <a:pt x="156" y="213"/>
                </a:lnTo>
                <a:lnTo>
                  <a:pt x="156" y="211"/>
                </a:lnTo>
                <a:lnTo>
                  <a:pt x="159" y="211"/>
                </a:lnTo>
                <a:lnTo>
                  <a:pt x="156" y="211"/>
                </a:lnTo>
                <a:lnTo>
                  <a:pt x="153" y="211"/>
                </a:lnTo>
                <a:lnTo>
                  <a:pt x="151" y="211"/>
                </a:lnTo>
                <a:lnTo>
                  <a:pt x="149" y="213"/>
                </a:lnTo>
                <a:lnTo>
                  <a:pt x="147" y="213"/>
                </a:lnTo>
                <a:lnTo>
                  <a:pt x="146" y="213"/>
                </a:lnTo>
                <a:lnTo>
                  <a:pt x="144" y="215"/>
                </a:lnTo>
                <a:lnTo>
                  <a:pt x="141" y="215"/>
                </a:lnTo>
                <a:lnTo>
                  <a:pt x="144" y="215"/>
                </a:lnTo>
                <a:lnTo>
                  <a:pt x="144" y="216"/>
                </a:lnTo>
                <a:lnTo>
                  <a:pt x="142" y="216"/>
                </a:lnTo>
                <a:lnTo>
                  <a:pt x="141" y="216"/>
                </a:lnTo>
                <a:lnTo>
                  <a:pt x="142" y="216"/>
                </a:lnTo>
                <a:lnTo>
                  <a:pt x="141" y="218"/>
                </a:lnTo>
                <a:lnTo>
                  <a:pt x="139" y="216"/>
                </a:lnTo>
                <a:lnTo>
                  <a:pt x="137" y="218"/>
                </a:lnTo>
                <a:lnTo>
                  <a:pt x="137" y="216"/>
                </a:lnTo>
                <a:lnTo>
                  <a:pt x="136" y="216"/>
                </a:lnTo>
                <a:lnTo>
                  <a:pt x="134" y="216"/>
                </a:lnTo>
                <a:lnTo>
                  <a:pt x="132" y="216"/>
                </a:lnTo>
                <a:lnTo>
                  <a:pt x="134" y="215"/>
                </a:lnTo>
                <a:lnTo>
                  <a:pt x="132" y="215"/>
                </a:lnTo>
                <a:lnTo>
                  <a:pt x="134" y="215"/>
                </a:lnTo>
                <a:lnTo>
                  <a:pt x="134" y="213"/>
                </a:lnTo>
                <a:lnTo>
                  <a:pt x="132" y="215"/>
                </a:lnTo>
                <a:lnTo>
                  <a:pt x="132" y="213"/>
                </a:lnTo>
                <a:lnTo>
                  <a:pt x="130" y="213"/>
                </a:lnTo>
                <a:lnTo>
                  <a:pt x="132" y="211"/>
                </a:lnTo>
                <a:lnTo>
                  <a:pt x="130" y="211"/>
                </a:lnTo>
                <a:lnTo>
                  <a:pt x="130" y="209"/>
                </a:lnTo>
                <a:lnTo>
                  <a:pt x="130" y="208"/>
                </a:lnTo>
                <a:lnTo>
                  <a:pt x="130" y="206"/>
                </a:lnTo>
                <a:lnTo>
                  <a:pt x="134" y="206"/>
                </a:lnTo>
                <a:lnTo>
                  <a:pt x="130" y="206"/>
                </a:lnTo>
                <a:lnTo>
                  <a:pt x="129" y="206"/>
                </a:lnTo>
                <a:lnTo>
                  <a:pt x="130" y="206"/>
                </a:lnTo>
                <a:lnTo>
                  <a:pt x="132" y="206"/>
                </a:lnTo>
                <a:lnTo>
                  <a:pt x="130" y="204"/>
                </a:lnTo>
                <a:lnTo>
                  <a:pt x="132" y="204"/>
                </a:lnTo>
                <a:lnTo>
                  <a:pt x="132" y="203"/>
                </a:lnTo>
                <a:lnTo>
                  <a:pt x="130" y="203"/>
                </a:lnTo>
                <a:lnTo>
                  <a:pt x="130" y="204"/>
                </a:lnTo>
                <a:lnTo>
                  <a:pt x="129" y="203"/>
                </a:lnTo>
                <a:lnTo>
                  <a:pt x="127" y="203"/>
                </a:lnTo>
                <a:lnTo>
                  <a:pt x="127" y="201"/>
                </a:lnTo>
                <a:lnTo>
                  <a:pt x="125" y="201"/>
                </a:lnTo>
                <a:lnTo>
                  <a:pt x="122" y="199"/>
                </a:lnTo>
                <a:lnTo>
                  <a:pt x="120" y="199"/>
                </a:lnTo>
                <a:lnTo>
                  <a:pt x="120" y="198"/>
                </a:lnTo>
                <a:lnTo>
                  <a:pt x="119" y="199"/>
                </a:lnTo>
                <a:lnTo>
                  <a:pt x="117" y="196"/>
                </a:lnTo>
                <a:lnTo>
                  <a:pt x="115" y="196"/>
                </a:lnTo>
                <a:lnTo>
                  <a:pt x="113" y="196"/>
                </a:lnTo>
                <a:lnTo>
                  <a:pt x="115" y="194"/>
                </a:lnTo>
                <a:lnTo>
                  <a:pt x="117" y="196"/>
                </a:lnTo>
                <a:lnTo>
                  <a:pt x="117" y="194"/>
                </a:lnTo>
                <a:lnTo>
                  <a:pt x="113" y="192"/>
                </a:lnTo>
                <a:lnTo>
                  <a:pt x="112" y="192"/>
                </a:lnTo>
                <a:lnTo>
                  <a:pt x="110" y="192"/>
                </a:lnTo>
                <a:lnTo>
                  <a:pt x="108" y="189"/>
                </a:lnTo>
                <a:lnTo>
                  <a:pt x="107" y="189"/>
                </a:lnTo>
                <a:lnTo>
                  <a:pt x="105" y="189"/>
                </a:lnTo>
                <a:lnTo>
                  <a:pt x="103" y="186"/>
                </a:lnTo>
                <a:lnTo>
                  <a:pt x="102" y="186"/>
                </a:lnTo>
                <a:lnTo>
                  <a:pt x="102" y="184"/>
                </a:lnTo>
                <a:lnTo>
                  <a:pt x="100" y="184"/>
                </a:lnTo>
                <a:lnTo>
                  <a:pt x="98" y="181"/>
                </a:lnTo>
                <a:lnTo>
                  <a:pt x="96" y="181"/>
                </a:lnTo>
                <a:lnTo>
                  <a:pt x="96" y="179"/>
                </a:lnTo>
                <a:lnTo>
                  <a:pt x="95" y="177"/>
                </a:lnTo>
                <a:lnTo>
                  <a:pt x="93" y="175"/>
                </a:lnTo>
                <a:lnTo>
                  <a:pt x="91" y="174"/>
                </a:lnTo>
                <a:lnTo>
                  <a:pt x="90" y="172"/>
                </a:lnTo>
                <a:lnTo>
                  <a:pt x="88" y="172"/>
                </a:lnTo>
                <a:lnTo>
                  <a:pt x="88" y="170"/>
                </a:lnTo>
                <a:lnTo>
                  <a:pt x="90" y="169"/>
                </a:lnTo>
                <a:lnTo>
                  <a:pt x="86" y="167"/>
                </a:lnTo>
                <a:lnTo>
                  <a:pt x="86" y="165"/>
                </a:lnTo>
                <a:lnTo>
                  <a:pt x="88" y="164"/>
                </a:lnTo>
                <a:lnTo>
                  <a:pt x="90" y="167"/>
                </a:lnTo>
                <a:lnTo>
                  <a:pt x="91" y="165"/>
                </a:lnTo>
                <a:lnTo>
                  <a:pt x="90" y="164"/>
                </a:lnTo>
                <a:lnTo>
                  <a:pt x="91" y="164"/>
                </a:lnTo>
                <a:lnTo>
                  <a:pt x="90" y="164"/>
                </a:lnTo>
                <a:lnTo>
                  <a:pt x="91" y="164"/>
                </a:lnTo>
                <a:lnTo>
                  <a:pt x="93" y="165"/>
                </a:lnTo>
                <a:lnTo>
                  <a:pt x="95" y="167"/>
                </a:lnTo>
                <a:lnTo>
                  <a:pt x="95" y="165"/>
                </a:lnTo>
                <a:lnTo>
                  <a:pt x="95" y="164"/>
                </a:lnTo>
                <a:lnTo>
                  <a:pt x="93" y="162"/>
                </a:lnTo>
                <a:lnTo>
                  <a:pt x="93" y="160"/>
                </a:lnTo>
                <a:lnTo>
                  <a:pt x="96" y="162"/>
                </a:lnTo>
                <a:lnTo>
                  <a:pt x="96" y="164"/>
                </a:lnTo>
                <a:lnTo>
                  <a:pt x="98" y="164"/>
                </a:lnTo>
                <a:lnTo>
                  <a:pt x="100" y="165"/>
                </a:lnTo>
                <a:lnTo>
                  <a:pt x="103" y="164"/>
                </a:lnTo>
                <a:lnTo>
                  <a:pt x="103" y="165"/>
                </a:lnTo>
                <a:lnTo>
                  <a:pt x="107" y="165"/>
                </a:lnTo>
                <a:lnTo>
                  <a:pt x="107" y="167"/>
                </a:lnTo>
                <a:lnTo>
                  <a:pt x="105" y="169"/>
                </a:lnTo>
                <a:lnTo>
                  <a:pt x="107" y="170"/>
                </a:lnTo>
                <a:lnTo>
                  <a:pt x="110" y="169"/>
                </a:lnTo>
                <a:lnTo>
                  <a:pt x="110" y="170"/>
                </a:lnTo>
                <a:lnTo>
                  <a:pt x="112" y="170"/>
                </a:lnTo>
                <a:lnTo>
                  <a:pt x="112" y="174"/>
                </a:lnTo>
                <a:lnTo>
                  <a:pt x="113" y="172"/>
                </a:lnTo>
                <a:lnTo>
                  <a:pt x="112" y="170"/>
                </a:lnTo>
                <a:lnTo>
                  <a:pt x="110" y="169"/>
                </a:lnTo>
                <a:lnTo>
                  <a:pt x="108" y="167"/>
                </a:lnTo>
                <a:lnTo>
                  <a:pt x="107" y="167"/>
                </a:lnTo>
                <a:lnTo>
                  <a:pt x="107" y="165"/>
                </a:lnTo>
                <a:lnTo>
                  <a:pt x="107" y="164"/>
                </a:lnTo>
                <a:lnTo>
                  <a:pt x="105" y="164"/>
                </a:lnTo>
                <a:lnTo>
                  <a:pt x="103" y="164"/>
                </a:lnTo>
                <a:lnTo>
                  <a:pt x="102" y="162"/>
                </a:lnTo>
                <a:lnTo>
                  <a:pt x="100" y="160"/>
                </a:lnTo>
                <a:lnTo>
                  <a:pt x="96" y="160"/>
                </a:lnTo>
                <a:lnTo>
                  <a:pt x="95" y="158"/>
                </a:lnTo>
                <a:lnTo>
                  <a:pt x="93" y="158"/>
                </a:lnTo>
                <a:lnTo>
                  <a:pt x="93" y="157"/>
                </a:lnTo>
                <a:lnTo>
                  <a:pt x="90" y="153"/>
                </a:lnTo>
                <a:lnTo>
                  <a:pt x="88" y="152"/>
                </a:lnTo>
                <a:lnTo>
                  <a:pt x="86" y="152"/>
                </a:lnTo>
                <a:lnTo>
                  <a:pt x="86" y="150"/>
                </a:lnTo>
                <a:lnTo>
                  <a:pt x="85" y="148"/>
                </a:lnTo>
                <a:lnTo>
                  <a:pt x="83" y="147"/>
                </a:lnTo>
                <a:lnTo>
                  <a:pt x="79" y="145"/>
                </a:lnTo>
                <a:lnTo>
                  <a:pt x="78" y="145"/>
                </a:lnTo>
                <a:lnTo>
                  <a:pt x="76" y="141"/>
                </a:lnTo>
                <a:lnTo>
                  <a:pt x="76" y="140"/>
                </a:lnTo>
                <a:lnTo>
                  <a:pt x="74" y="140"/>
                </a:lnTo>
                <a:lnTo>
                  <a:pt x="74" y="138"/>
                </a:lnTo>
                <a:lnTo>
                  <a:pt x="73" y="136"/>
                </a:lnTo>
                <a:lnTo>
                  <a:pt x="73" y="135"/>
                </a:lnTo>
                <a:lnTo>
                  <a:pt x="73" y="133"/>
                </a:lnTo>
                <a:lnTo>
                  <a:pt x="73" y="131"/>
                </a:lnTo>
                <a:lnTo>
                  <a:pt x="71" y="129"/>
                </a:lnTo>
                <a:lnTo>
                  <a:pt x="71" y="126"/>
                </a:lnTo>
                <a:lnTo>
                  <a:pt x="73" y="124"/>
                </a:lnTo>
                <a:lnTo>
                  <a:pt x="73" y="123"/>
                </a:lnTo>
                <a:lnTo>
                  <a:pt x="73" y="121"/>
                </a:lnTo>
                <a:lnTo>
                  <a:pt x="73" y="119"/>
                </a:lnTo>
                <a:lnTo>
                  <a:pt x="73" y="118"/>
                </a:lnTo>
                <a:lnTo>
                  <a:pt x="71" y="116"/>
                </a:lnTo>
                <a:lnTo>
                  <a:pt x="71" y="114"/>
                </a:lnTo>
                <a:lnTo>
                  <a:pt x="71" y="112"/>
                </a:lnTo>
                <a:lnTo>
                  <a:pt x="71" y="111"/>
                </a:lnTo>
                <a:lnTo>
                  <a:pt x="69" y="109"/>
                </a:lnTo>
                <a:lnTo>
                  <a:pt x="68" y="107"/>
                </a:lnTo>
                <a:lnTo>
                  <a:pt x="69" y="106"/>
                </a:lnTo>
                <a:lnTo>
                  <a:pt x="68" y="107"/>
                </a:lnTo>
                <a:lnTo>
                  <a:pt x="68" y="106"/>
                </a:lnTo>
                <a:lnTo>
                  <a:pt x="68" y="107"/>
                </a:lnTo>
                <a:lnTo>
                  <a:pt x="66" y="106"/>
                </a:lnTo>
                <a:lnTo>
                  <a:pt x="62" y="106"/>
                </a:lnTo>
                <a:lnTo>
                  <a:pt x="62" y="104"/>
                </a:lnTo>
                <a:lnTo>
                  <a:pt x="61" y="102"/>
                </a:lnTo>
                <a:lnTo>
                  <a:pt x="59" y="101"/>
                </a:lnTo>
                <a:lnTo>
                  <a:pt x="56" y="101"/>
                </a:lnTo>
                <a:lnTo>
                  <a:pt x="56" y="99"/>
                </a:lnTo>
                <a:lnTo>
                  <a:pt x="54" y="97"/>
                </a:lnTo>
                <a:lnTo>
                  <a:pt x="54" y="95"/>
                </a:lnTo>
                <a:lnTo>
                  <a:pt x="52" y="94"/>
                </a:lnTo>
                <a:lnTo>
                  <a:pt x="54" y="95"/>
                </a:lnTo>
                <a:lnTo>
                  <a:pt x="52" y="95"/>
                </a:lnTo>
                <a:lnTo>
                  <a:pt x="51" y="95"/>
                </a:lnTo>
                <a:lnTo>
                  <a:pt x="49" y="94"/>
                </a:lnTo>
                <a:lnTo>
                  <a:pt x="47" y="92"/>
                </a:lnTo>
                <a:lnTo>
                  <a:pt x="47" y="94"/>
                </a:lnTo>
                <a:lnTo>
                  <a:pt x="45" y="92"/>
                </a:lnTo>
                <a:lnTo>
                  <a:pt x="44" y="92"/>
                </a:lnTo>
                <a:lnTo>
                  <a:pt x="42" y="92"/>
                </a:lnTo>
                <a:lnTo>
                  <a:pt x="40" y="92"/>
                </a:lnTo>
                <a:lnTo>
                  <a:pt x="40" y="95"/>
                </a:lnTo>
                <a:lnTo>
                  <a:pt x="39" y="97"/>
                </a:lnTo>
                <a:lnTo>
                  <a:pt x="39" y="99"/>
                </a:lnTo>
                <a:lnTo>
                  <a:pt x="39" y="102"/>
                </a:lnTo>
                <a:lnTo>
                  <a:pt x="39" y="104"/>
                </a:lnTo>
                <a:lnTo>
                  <a:pt x="37" y="107"/>
                </a:lnTo>
                <a:lnTo>
                  <a:pt x="37" y="109"/>
                </a:lnTo>
                <a:lnTo>
                  <a:pt x="35" y="107"/>
                </a:lnTo>
                <a:lnTo>
                  <a:pt x="37" y="109"/>
                </a:lnTo>
                <a:lnTo>
                  <a:pt x="35" y="111"/>
                </a:lnTo>
                <a:lnTo>
                  <a:pt x="34" y="111"/>
                </a:lnTo>
                <a:lnTo>
                  <a:pt x="35" y="114"/>
                </a:lnTo>
                <a:lnTo>
                  <a:pt x="34" y="112"/>
                </a:lnTo>
                <a:lnTo>
                  <a:pt x="35" y="114"/>
                </a:lnTo>
                <a:lnTo>
                  <a:pt x="35" y="116"/>
                </a:lnTo>
                <a:lnTo>
                  <a:pt x="35" y="118"/>
                </a:lnTo>
                <a:lnTo>
                  <a:pt x="35" y="119"/>
                </a:lnTo>
                <a:lnTo>
                  <a:pt x="32" y="119"/>
                </a:lnTo>
                <a:lnTo>
                  <a:pt x="30" y="121"/>
                </a:lnTo>
                <a:lnTo>
                  <a:pt x="30" y="119"/>
                </a:lnTo>
                <a:lnTo>
                  <a:pt x="32" y="119"/>
                </a:lnTo>
                <a:lnTo>
                  <a:pt x="30" y="116"/>
                </a:lnTo>
                <a:lnTo>
                  <a:pt x="30" y="118"/>
                </a:lnTo>
                <a:lnTo>
                  <a:pt x="28" y="114"/>
                </a:lnTo>
                <a:lnTo>
                  <a:pt x="28" y="118"/>
                </a:lnTo>
                <a:lnTo>
                  <a:pt x="30" y="119"/>
                </a:lnTo>
                <a:lnTo>
                  <a:pt x="30" y="121"/>
                </a:lnTo>
                <a:lnTo>
                  <a:pt x="28" y="121"/>
                </a:lnTo>
                <a:lnTo>
                  <a:pt x="30" y="121"/>
                </a:lnTo>
                <a:lnTo>
                  <a:pt x="28" y="123"/>
                </a:lnTo>
                <a:lnTo>
                  <a:pt x="28" y="124"/>
                </a:lnTo>
                <a:lnTo>
                  <a:pt x="27" y="124"/>
                </a:lnTo>
                <a:lnTo>
                  <a:pt x="27" y="126"/>
                </a:lnTo>
                <a:lnTo>
                  <a:pt x="27" y="128"/>
                </a:lnTo>
                <a:lnTo>
                  <a:pt x="27" y="129"/>
                </a:lnTo>
                <a:lnTo>
                  <a:pt x="28" y="131"/>
                </a:lnTo>
                <a:lnTo>
                  <a:pt x="25" y="131"/>
                </a:lnTo>
                <a:lnTo>
                  <a:pt x="23" y="131"/>
                </a:lnTo>
                <a:lnTo>
                  <a:pt x="23" y="129"/>
                </a:lnTo>
                <a:lnTo>
                  <a:pt x="22" y="129"/>
                </a:lnTo>
                <a:lnTo>
                  <a:pt x="23" y="131"/>
                </a:lnTo>
                <a:lnTo>
                  <a:pt x="23" y="133"/>
                </a:lnTo>
                <a:lnTo>
                  <a:pt x="23" y="131"/>
                </a:lnTo>
                <a:lnTo>
                  <a:pt x="22" y="131"/>
                </a:lnTo>
                <a:lnTo>
                  <a:pt x="22" y="129"/>
                </a:lnTo>
                <a:lnTo>
                  <a:pt x="20" y="129"/>
                </a:lnTo>
                <a:lnTo>
                  <a:pt x="20" y="128"/>
                </a:lnTo>
                <a:lnTo>
                  <a:pt x="20" y="129"/>
                </a:lnTo>
                <a:lnTo>
                  <a:pt x="20" y="128"/>
                </a:lnTo>
                <a:lnTo>
                  <a:pt x="17" y="128"/>
                </a:lnTo>
                <a:lnTo>
                  <a:pt x="17" y="126"/>
                </a:lnTo>
                <a:lnTo>
                  <a:pt x="20" y="128"/>
                </a:lnTo>
                <a:lnTo>
                  <a:pt x="20" y="126"/>
                </a:lnTo>
                <a:lnTo>
                  <a:pt x="18" y="126"/>
                </a:lnTo>
                <a:lnTo>
                  <a:pt x="17" y="126"/>
                </a:lnTo>
                <a:lnTo>
                  <a:pt x="18" y="124"/>
                </a:lnTo>
                <a:lnTo>
                  <a:pt x="17" y="123"/>
                </a:lnTo>
                <a:lnTo>
                  <a:pt x="17" y="121"/>
                </a:lnTo>
                <a:lnTo>
                  <a:pt x="15" y="119"/>
                </a:lnTo>
                <a:lnTo>
                  <a:pt x="13" y="119"/>
                </a:lnTo>
                <a:lnTo>
                  <a:pt x="13" y="116"/>
                </a:lnTo>
                <a:lnTo>
                  <a:pt x="11" y="116"/>
                </a:lnTo>
                <a:lnTo>
                  <a:pt x="11" y="114"/>
                </a:lnTo>
                <a:lnTo>
                  <a:pt x="10" y="114"/>
                </a:lnTo>
                <a:lnTo>
                  <a:pt x="8" y="114"/>
                </a:lnTo>
                <a:lnTo>
                  <a:pt x="8" y="111"/>
                </a:lnTo>
                <a:lnTo>
                  <a:pt x="6" y="111"/>
                </a:lnTo>
                <a:lnTo>
                  <a:pt x="8" y="111"/>
                </a:lnTo>
                <a:lnTo>
                  <a:pt x="8" y="109"/>
                </a:lnTo>
                <a:lnTo>
                  <a:pt x="11" y="109"/>
                </a:lnTo>
                <a:lnTo>
                  <a:pt x="13" y="109"/>
                </a:lnTo>
                <a:lnTo>
                  <a:pt x="11" y="107"/>
                </a:lnTo>
                <a:lnTo>
                  <a:pt x="11" y="109"/>
                </a:lnTo>
                <a:lnTo>
                  <a:pt x="8" y="109"/>
                </a:lnTo>
                <a:lnTo>
                  <a:pt x="6" y="109"/>
                </a:lnTo>
                <a:lnTo>
                  <a:pt x="6" y="107"/>
                </a:lnTo>
                <a:lnTo>
                  <a:pt x="5" y="104"/>
                </a:lnTo>
                <a:lnTo>
                  <a:pt x="6" y="104"/>
                </a:lnTo>
                <a:lnTo>
                  <a:pt x="6" y="101"/>
                </a:lnTo>
                <a:lnTo>
                  <a:pt x="5" y="99"/>
                </a:lnTo>
                <a:lnTo>
                  <a:pt x="6" y="99"/>
                </a:lnTo>
                <a:lnTo>
                  <a:pt x="5" y="97"/>
                </a:lnTo>
                <a:lnTo>
                  <a:pt x="6" y="95"/>
                </a:lnTo>
                <a:lnTo>
                  <a:pt x="5" y="95"/>
                </a:lnTo>
                <a:lnTo>
                  <a:pt x="3" y="95"/>
                </a:lnTo>
                <a:lnTo>
                  <a:pt x="3" y="94"/>
                </a:lnTo>
                <a:lnTo>
                  <a:pt x="3" y="92"/>
                </a:lnTo>
                <a:lnTo>
                  <a:pt x="3" y="90"/>
                </a:lnTo>
                <a:lnTo>
                  <a:pt x="1" y="89"/>
                </a:lnTo>
                <a:lnTo>
                  <a:pt x="1" y="87"/>
                </a:lnTo>
                <a:lnTo>
                  <a:pt x="1" y="85"/>
                </a:lnTo>
                <a:lnTo>
                  <a:pt x="0" y="84"/>
                </a:lnTo>
                <a:lnTo>
                  <a:pt x="1" y="84"/>
                </a:lnTo>
                <a:lnTo>
                  <a:pt x="3" y="84"/>
                </a:lnTo>
                <a:lnTo>
                  <a:pt x="5" y="85"/>
                </a:lnTo>
                <a:lnTo>
                  <a:pt x="6" y="85"/>
                </a:lnTo>
                <a:lnTo>
                  <a:pt x="8" y="87"/>
                </a:lnTo>
                <a:lnTo>
                  <a:pt x="10" y="87"/>
                </a:lnTo>
                <a:lnTo>
                  <a:pt x="11" y="85"/>
                </a:lnTo>
                <a:lnTo>
                  <a:pt x="13" y="85"/>
                </a:lnTo>
                <a:lnTo>
                  <a:pt x="15" y="85"/>
                </a:lnTo>
                <a:lnTo>
                  <a:pt x="17" y="87"/>
                </a:lnTo>
                <a:lnTo>
                  <a:pt x="18" y="87"/>
                </a:lnTo>
                <a:lnTo>
                  <a:pt x="20" y="87"/>
                </a:lnTo>
                <a:lnTo>
                  <a:pt x="22" y="85"/>
                </a:lnTo>
                <a:lnTo>
                  <a:pt x="23" y="85"/>
                </a:lnTo>
                <a:lnTo>
                  <a:pt x="25" y="85"/>
                </a:lnTo>
                <a:lnTo>
                  <a:pt x="25" y="84"/>
                </a:lnTo>
                <a:lnTo>
                  <a:pt x="23" y="82"/>
                </a:lnTo>
                <a:lnTo>
                  <a:pt x="25" y="82"/>
                </a:lnTo>
                <a:lnTo>
                  <a:pt x="25" y="80"/>
                </a:lnTo>
                <a:lnTo>
                  <a:pt x="27" y="82"/>
                </a:lnTo>
                <a:lnTo>
                  <a:pt x="28" y="84"/>
                </a:lnTo>
                <a:lnTo>
                  <a:pt x="30" y="84"/>
                </a:lnTo>
                <a:lnTo>
                  <a:pt x="32" y="84"/>
                </a:lnTo>
                <a:lnTo>
                  <a:pt x="34" y="84"/>
                </a:lnTo>
                <a:lnTo>
                  <a:pt x="35" y="84"/>
                </a:lnTo>
                <a:lnTo>
                  <a:pt x="35" y="82"/>
                </a:lnTo>
                <a:lnTo>
                  <a:pt x="37" y="80"/>
                </a:lnTo>
                <a:lnTo>
                  <a:pt x="39" y="82"/>
                </a:lnTo>
                <a:lnTo>
                  <a:pt x="40" y="84"/>
                </a:lnTo>
                <a:lnTo>
                  <a:pt x="42" y="82"/>
                </a:lnTo>
                <a:lnTo>
                  <a:pt x="44" y="82"/>
                </a:lnTo>
                <a:lnTo>
                  <a:pt x="45" y="80"/>
                </a:lnTo>
                <a:lnTo>
                  <a:pt x="47" y="80"/>
                </a:lnTo>
                <a:lnTo>
                  <a:pt x="49" y="78"/>
                </a:lnTo>
                <a:lnTo>
                  <a:pt x="49" y="77"/>
                </a:lnTo>
                <a:lnTo>
                  <a:pt x="49" y="75"/>
                </a:lnTo>
                <a:lnTo>
                  <a:pt x="49" y="73"/>
                </a:lnTo>
                <a:lnTo>
                  <a:pt x="51" y="72"/>
                </a:lnTo>
                <a:lnTo>
                  <a:pt x="52" y="70"/>
                </a:lnTo>
                <a:lnTo>
                  <a:pt x="52" y="68"/>
                </a:lnTo>
                <a:lnTo>
                  <a:pt x="54" y="68"/>
                </a:lnTo>
                <a:lnTo>
                  <a:pt x="54" y="72"/>
                </a:lnTo>
                <a:lnTo>
                  <a:pt x="56" y="72"/>
                </a:lnTo>
                <a:lnTo>
                  <a:pt x="57" y="73"/>
                </a:lnTo>
                <a:lnTo>
                  <a:pt x="59" y="75"/>
                </a:lnTo>
                <a:lnTo>
                  <a:pt x="59" y="78"/>
                </a:lnTo>
                <a:lnTo>
                  <a:pt x="61" y="77"/>
                </a:lnTo>
                <a:lnTo>
                  <a:pt x="62" y="78"/>
                </a:lnTo>
                <a:lnTo>
                  <a:pt x="64" y="80"/>
                </a:lnTo>
                <a:lnTo>
                  <a:pt x="66" y="82"/>
                </a:lnTo>
                <a:lnTo>
                  <a:pt x="68" y="82"/>
                </a:lnTo>
                <a:lnTo>
                  <a:pt x="69" y="80"/>
                </a:lnTo>
                <a:lnTo>
                  <a:pt x="69" y="78"/>
                </a:lnTo>
                <a:lnTo>
                  <a:pt x="71" y="77"/>
                </a:lnTo>
                <a:lnTo>
                  <a:pt x="73" y="78"/>
                </a:lnTo>
                <a:lnTo>
                  <a:pt x="74" y="78"/>
                </a:lnTo>
                <a:lnTo>
                  <a:pt x="76" y="80"/>
                </a:lnTo>
                <a:lnTo>
                  <a:pt x="76" y="78"/>
                </a:lnTo>
                <a:lnTo>
                  <a:pt x="78" y="80"/>
                </a:lnTo>
                <a:lnTo>
                  <a:pt x="81" y="82"/>
                </a:lnTo>
                <a:lnTo>
                  <a:pt x="83" y="84"/>
                </a:lnTo>
                <a:lnTo>
                  <a:pt x="85" y="82"/>
                </a:lnTo>
                <a:lnTo>
                  <a:pt x="86" y="84"/>
                </a:lnTo>
                <a:lnTo>
                  <a:pt x="86" y="82"/>
                </a:lnTo>
                <a:lnTo>
                  <a:pt x="88" y="80"/>
                </a:lnTo>
                <a:lnTo>
                  <a:pt x="91" y="82"/>
                </a:lnTo>
                <a:lnTo>
                  <a:pt x="91" y="80"/>
                </a:lnTo>
                <a:lnTo>
                  <a:pt x="93" y="78"/>
                </a:lnTo>
                <a:lnTo>
                  <a:pt x="90" y="77"/>
                </a:lnTo>
                <a:lnTo>
                  <a:pt x="90" y="75"/>
                </a:lnTo>
                <a:lnTo>
                  <a:pt x="88" y="75"/>
                </a:lnTo>
                <a:lnTo>
                  <a:pt x="88" y="72"/>
                </a:lnTo>
                <a:lnTo>
                  <a:pt x="88" y="70"/>
                </a:lnTo>
                <a:lnTo>
                  <a:pt x="88" y="68"/>
                </a:lnTo>
                <a:lnTo>
                  <a:pt x="91" y="68"/>
                </a:lnTo>
                <a:lnTo>
                  <a:pt x="90" y="68"/>
                </a:lnTo>
                <a:lnTo>
                  <a:pt x="93" y="68"/>
                </a:lnTo>
                <a:lnTo>
                  <a:pt x="93" y="67"/>
                </a:lnTo>
                <a:lnTo>
                  <a:pt x="91" y="65"/>
                </a:lnTo>
                <a:lnTo>
                  <a:pt x="90" y="65"/>
                </a:lnTo>
                <a:lnTo>
                  <a:pt x="91" y="63"/>
                </a:lnTo>
                <a:lnTo>
                  <a:pt x="90" y="63"/>
                </a:lnTo>
                <a:lnTo>
                  <a:pt x="90" y="65"/>
                </a:lnTo>
                <a:lnTo>
                  <a:pt x="88" y="63"/>
                </a:lnTo>
                <a:lnTo>
                  <a:pt x="88" y="65"/>
                </a:lnTo>
                <a:lnTo>
                  <a:pt x="86" y="63"/>
                </a:lnTo>
                <a:lnTo>
                  <a:pt x="86" y="61"/>
                </a:lnTo>
                <a:lnTo>
                  <a:pt x="88" y="60"/>
                </a:lnTo>
                <a:lnTo>
                  <a:pt x="90" y="58"/>
                </a:lnTo>
                <a:lnTo>
                  <a:pt x="91" y="58"/>
                </a:lnTo>
                <a:lnTo>
                  <a:pt x="93" y="56"/>
                </a:lnTo>
                <a:lnTo>
                  <a:pt x="96" y="56"/>
                </a:lnTo>
                <a:lnTo>
                  <a:pt x="95" y="55"/>
                </a:lnTo>
                <a:lnTo>
                  <a:pt x="96" y="55"/>
                </a:lnTo>
                <a:lnTo>
                  <a:pt x="98" y="55"/>
                </a:lnTo>
                <a:lnTo>
                  <a:pt x="98" y="53"/>
                </a:lnTo>
                <a:lnTo>
                  <a:pt x="100" y="53"/>
                </a:lnTo>
                <a:lnTo>
                  <a:pt x="100" y="51"/>
                </a:lnTo>
                <a:lnTo>
                  <a:pt x="103" y="53"/>
                </a:lnTo>
                <a:lnTo>
                  <a:pt x="103" y="55"/>
                </a:lnTo>
                <a:lnTo>
                  <a:pt x="105" y="53"/>
                </a:lnTo>
                <a:lnTo>
                  <a:pt x="107" y="51"/>
                </a:lnTo>
                <a:lnTo>
                  <a:pt x="105" y="51"/>
                </a:lnTo>
                <a:lnTo>
                  <a:pt x="107" y="50"/>
                </a:lnTo>
                <a:lnTo>
                  <a:pt x="105" y="48"/>
                </a:lnTo>
                <a:lnTo>
                  <a:pt x="107" y="46"/>
                </a:lnTo>
                <a:lnTo>
                  <a:pt x="107" y="44"/>
                </a:lnTo>
                <a:lnTo>
                  <a:pt x="107" y="41"/>
                </a:lnTo>
                <a:lnTo>
                  <a:pt x="107" y="39"/>
                </a:lnTo>
                <a:lnTo>
                  <a:pt x="107" y="38"/>
                </a:lnTo>
                <a:lnTo>
                  <a:pt x="105" y="36"/>
                </a:lnTo>
                <a:lnTo>
                  <a:pt x="103" y="36"/>
                </a:lnTo>
                <a:lnTo>
                  <a:pt x="102" y="36"/>
                </a:lnTo>
                <a:lnTo>
                  <a:pt x="102" y="33"/>
                </a:lnTo>
                <a:lnTo>
                  <a:pt x="100" y="31"/>
                </a:lnTo>
                <a:lnTo>
                  <a:pt x="102" y="31"/>
                </a:lnTo>
                <a:lnTo>
                  <a:pt x="100" y="29"/>
                </a:lnTo>
                <a:lnTo>
                  <a:pt x="102" y="27"/>
                </a:lnTo>
                <a:lnTo>
                  <a:pt x="102" y="26"/>
                </a:lnTo>
                <a:lnTo>
                  <a:pt x="103" y="26"/>
                </a:lnTo>
                <a:lnTo>
                  <a:pt x="107" y="26"/>
                </a:lnTo>
                <a:lnTo>
                  <a:pt x="108" y="26"/>
                </a:lnTo>
                <a:lnTo>
                  <a:pt x="110" y="24"/>
                </a:lnTo>
                <a:lnTo>
                  <a:pt x="108" y="22"/>
                </a:lnTo>
                <a:lnTo>
                  <a:pt x="110" y="22"/>
                </a:lnTo>
                <a:lnTo>
                  <a:pt x="112" y="22"/>
                </a:lnTo>
                <a:lnTo>
                  <a:pt x="113" y="21"/>
                </a:lnTo>
                <a:lnTo>
                  <a:pt x="115" y="21"/>
                </a:lnTo>
                <a:lnTo>
                  <a:pt x="117" y="19"/>
                </a:lnTo>
                <a:lnTo>
                  <a:pt x="119" y="19"/>
                </a:lnTo>
                <a:lnTo>
                  <a:pt x="120" y="16"/>
                </a:lnTo>
                <a:lnTo>
                  <a:pt x="122" y="16"/>
                </a:lnTo>
                <a:lnTo>
                  <a:pt x="120" y="14"/>
                </a:lnTo>
                <a:lnTo>
                  <a:pt x="120" y="12"/>
                </a:lnTo>
                <a:lnTo>
                  <a:pt x="122" y="12"/>
                </a:lnTo>
                <a:lnTo>
                  <a:pt x="125" y="10"/>
                </a:lnTo>
                <a:lnTo>
                  <a:pt x="127" y="12"/>
                </a:lnTo>
                <a:lnTo>
                  <a:pt x="129" y="12"/>
                </a:lnTo>
                <a:lnTo>
                  <a:pt x="130" y="12"/>
                </a:lnTo>
                <a:lnTo>
                  <a:pt x="132" y="12"/>
                </a:lnTo>
                <a:lnTo>
                  <a:pt x="132" y="10"/>
                </a:lnTo>
                <a:lnTo>
                  <a:pt x="130" y="10"/>
                </a:lnTo>
                <a:lnTo>
                  <a:pt x="130" y="9"/>
                </a:lnTo>
                <a:lnTo>
                  <a:pt x="130" y="7"/>
                </a:lnTo>
                <a:lnTo>
                  <a:pt x="129" y="4"/>
                </a:lnTo>
                <a:lnTo>
                  <a:pt x="130" y="2"/>
                </a:lnTo>
                <a:lnTo>
                  <a:pt x="132" y="4"/>
                </a:lnTo>
                <a:lnTo>
                  <a:pt x="134" y="2"/>
                </a:lnTo>
                <a:lnTo>
                  <a:pt x="134" y="0"/>
                </a:lnTo>
                <a:lnTo>
                  <a:pt x="136" y="0"/>
                </a:lnTo>
                <a:lnTo>
                  <a:pt x="137" y="2"/>
                </a:lnTo>
                <a:lnTo>
                  <a:pt x="139" y="2"/>
                </a:lnTo>
                <a:lnTo>
                  <a:pt x="142" y="4"/>
                </a:lnTo>
                <a:lnTo>
                  <a:pt x="142" y="5"/>
                </a:lnTo>
                <a:lnTo>
                  <a:pt x="144" y="4"/>
                </a:lnTo>
                <a:lnTo>
                  <a:pt x="146" y="5"/>
                </a:lnTo>
                <a:lnTo>
                  <a:pt x="147" y="5"/>
                </a:lnTo>
                <a:close/>
                <a:moveTo>
                  <a:pt x="224" y="250"/>
                </a:moveTo>
                <a:lnTo>
                  <a:pt x="226" y="249"/>
                </a:lnTo>
                <a:lnTo>
                  <a:pt x="229" y="249"/>
                </a:lnTo>
                <a:lnTo>
                  <a:pt x="231" y="250"/>
                </a:lnTo>
                <a:lnTo>
                  <a:pt x="232" y="249"/>
                </a:lnTo>
                <a:lnTo>
                  <a:pt x="234" y="249"/>
                </a:lnTo>
                <a:lnTo>
                  <a:pt x="236" y="252"/>
                </a:lnTo>
                <a:lnTo>
                  <a:pt x="238" y="254"/>
                </a:lnTo>
                <a:lnTo>
                  <a:pt x="238" y="255"/>
                </a:lnTo>
                <a:lnTo>
                  <a:pt x="239" y="255"/>
                </a:lnTo>
                <a:lnTo>
                  <a:pt x="243" y="257"/>
                </a:lnTo>
                <a:lnTo>
                  <a:pt x="243" y="259"/>
                </a:lnTo>
                <a:lnTo>
                  <a:pt x="246" y="259"/>
                </a:lnTo>
                <a:lnTo>
                  <a:pt x="248" y="260"/>
                </a:lnTo>
                <a:lnTo>
                  <a:pt x="249" y="262"/>
                </a:lnTo>
                <a:lnTo>
                  <a:pt x="251" y="262"/>
                </a:lnTo>
                <a:lnTo>
                  <a:pt x="253" y="264"/>
                </a:lnTo>
                <a:lnTo>
                  <a:pt x="255" y="264"/>
                </a:lnTo>
                <a:lnTo>
                  <a:pt x="255" y="266"/>
                </a:lnTo>
                <a:lnTo>
                  <a:pt x="256" y="267"/>
                </a:lnTo>
                <a:lnTo>
                  <a:pt x="260" y="267"/>
                </a:lnTo>
                <a:lnTo>
                  <a:pt x="261" y="266"/>
                </a:lnTo>
                <a:lnTo>
                  <a:pt x="263" y="266"/>
                </a:lnTo>
                <a:lnTo>
                  <a:pt x="265" y="267"/>
                </a:lnTo>
                <a:lnTo>
                  <a:pt x="266" y="269"/>
                </a:lnTo>
                <a:lnTo>
                  <a:pt x="268" y="272"/>
                </a:lnTo>
                <a:lnTo>
                  <a:pt x="268" y="274"/>
                </a:lnTo>
                <a:lnTo>
                  <a:pt x="270" y="276"/>
                </a:lnTo>
                <a:lnTo>
                  <a:pt x="272" y="277"/>
                </a:lnTo>
                <a:lnTo>
                  <a:pt x="273" y="279"/>
                </a:lnTo>
                <a:lnTo>
                  <a:pt x="272" y="279"/>
                </a:lnTo>
                <a:lnTo>
                  <a:pt x="273" y="281"/>
                </a:lnTo>
                <a:lnTo>
                  <a:pt x="272" y="279"/>
                </a:lnTo>
                <a:lnTo>
                  <a:pt x="270" y="277"/>
                </a:lnTo>
                <a:lnTo>
                  <a:pt x="268" y="277"/>
                </a:lnTo>
                <a:lnTo>
                  <a:pt x="266" y="277"/>
                </a:lnTo>
                <a:lnTo>
                  <a:pt x="268" y="277"/>
                </a:lnTo>
                <a:lnTo>
                  <a:pt x="266" y="276"/>
                </a:lnTo>
                <a:lnTo>
                  <a:pt x="265" y="276"/>
                </a:lnTo>
                <a:lnTo>
                  <a:pt x="265" y="274"/>
                </a:lnTo>
                <a:lnTo>
                  <a:pt x="261" y="274"/>
                </a:lnTo>
                <a:lnTo>
                  <a:pt x="260" y="272"/>
                </a:lnTo>
                <a:lnTo>
                  <a:pt x="256" y="271"/>
                </a:lnTo>
                <a:lnTo>
                  <a:pt x="255" y="269"/>
                </a:lnTo>
                <a:lnTo>
                  <a:pt x="256" y="267"/>
                </a:lnTo>
                <a:lnTo>
                  <a:pt x="255" y="267"/>
                </a:lnTo>
                <a:lnTo>
                  <a:pt x="253" y="267"/>
                </a:lnTo>
                <a:lnTo>
                  <a:pt x="251" y="266"/>
                </a:lnTo>
                <a:lnTo>
                  <a:pt x="249" y="266"/>
                </a:lnTo>
                <a:lnTo>
                  <a:pt x="248" y="266"/>
                </a:lnTo>
                <a:lnTo>
                  <a:pt x="246" y="264"/>
                </a:lnTo>
                <a:lnTo>
                  <a:pt x="248" y="266"/>
                </a:lnTo>
                <a:lnTo>
                  <a:pt x="248" y="264"/>
                </a:lnTo>
                <a:lnTo>
                  <a:pt x="249" y="264"/>
                </a:lnTo>
                <a:lnTo>
                  <a:pt x="248" y="264"/>
                </a:lnTo>
                <a:lnTo>
                  <a:pt x="246" y="262"/>
                </a:lnTo>
                <a:lnTo>
                  <a:pt x="244" y="262"/>
                </a:lnTo>
                <a:lnTo>
                  <a:pt x="241" y="262"/>
                </a:lnTo>
                <a:lnTo>
                  <a:pt x="241" y="260"/>
                </a:lnTo>
                <a:lnTo>
                  <a:pt x="238" y="259"/>
                </a:lnTo>
                <a:lnTo>
                  <a:pt x="236" y="259"/>
                </a:lnTo>
                <a:lnTo>
                  <a:pt x="238" y="257"/>
                </a:lnTo>
                <a:lnTo>
                  <a:pt x="236" y="257"/>
                </a:lnTo>
                <a:lnTo>
                  <a:pt x="234" y="255"/>
                </a:lnTo>
                <a:lnTo>
                  <a:pt x="232" y="255"/>
                </a:lnTo>
                <a:lnTo>
                  <a:pt x="231" y="257"/>
                </a:lnTo>
                <a:lnTo>
                  <a:pt x="229" y="255"/>
                </a:lnTo>
                <a:lnTo>
                  <a:pt x="227" y="255"/>
                </a:lnTo>
                <a:lnTo>
                  <a:pt x="227" y="254"/>
                </a:lnTo>
                <a:lnTo>
                  <a:pt x="227" y="255"/>
                </a:lnTo>
                <a:lnTo>
                  <a:pt x="229" y="257"/>
                </a:lnTo>
                <a:lnTo>
                  <a:pt x="231" y="259"/>
                </a:lnTo>
                <a:lnTo>
                  <a:pt x="229" y="257"/>
                </a:lnTo>
                <a:lnTo>
                  <a:pt x="226" y="257"/>
                </a:lnTo>
                <a:lnTo>
                  <a:pt x="226" y="255"/>
                </a:lnTo>
                <a:lnTo>
                  <a:pt x="224" y="255"/>
                </a:lnTo>
                <a:lnTo>
                  <a:pt x="221" y="255"/>
                </a:lnTo>
                <a:lnTo>
                  <a:pt x="219" y="254"/>
                </a:lnTo>
                <a:lnTo>
                  <a:pt x="217" y="254"/>
                </a:lnTo>
                <a:lnTo>
                  <a:pt x="215" y="254"/>
                </a:lnTo>
                <a:lnTo>
                  <a:pt x="214" y="254"/>
                </a:lnTo>
                <a:lnTo>
                  <a:pt x="212" y="254"/>
                </a:lnTo>
                <a:lnTo>
                  <a:pt x="214" y="252"/>
                </a:lnTo>
                <a:lnTo>
                  <a:pt x="212" y="250"/>
                </a:lnTo>
                <a:lnTo>
                  <a:pt x="209" y="250"/>
                </a:lnTo>
                <a:lnTo>
                  <a:pt x="207" y="250"/>
                </a:lnTo>
                <a:lnTo>
                  <a:pt x="205" y="249"/>
                </a:lnTo>
                <a:lnTo>
                  <a:pt x="204" y="249"/>
                </a:lnTo>
                <a:lnTo>
                  <a:pt x="200" y="247"/>
                </a:lnTo>
                <a:lnTo>
                  <a:pt x="198" y="247"/>
                </a:lnTo>
                <a:lnTo>
                  <a:pt x="197" y="247"/>
                </a:lnTo>
                <a:lnTo>
                  <a:pt x="195" y="247"/>
                </a:lnTo>
                <a:lnTo>
                  <a:pt x="193" y="247"/>
                </a:lnTo>
                <a:lnTo>
                  <a:pt x="192" y="247"/>
                </a:lnTo>
                <a:lnTo>
                  <a:pt x="190" y="245"/>
                </a:lnTo>
                <a:lnTo>
                  <a:pt x="192" y="245"/>
                </a:lnTo>
                <a:lnTo>
                  <a:pt x="190" y="243"/>
                </a:lnTo>
                <a:lnTo>
                  <a:pt x="192" y="243"/>
                </a:lnTo>
                <a:lnTo>
                  <a:pt x="193" y="245"/>
                </a:lnTo>
                <a:lnTo>
                  <a:pt x="197" y="243"/>
                </a:lnTo>
                <a:lnTo>
                  <a:pt x="198" y="243"/>
                </a:lnTo>
                <a:lnTo>
                  <a:pt x="200" y="243"/>
                </a:lnTo>
                <a:lnTo>
                  <a:pt x="202" y="243"/>
                </a:lnTo>
                <a:lnTo>
                  <a:pt x="204" y="245"/>
                </a:lnTo>
                <a:lnTo>
                  <a:pt x="204" y="243"/>
                </a:lnTo>
                <a:lnTo>
                  <a:pt x="204" y="245"/>
                </a:lnTo>
                <a:lnTo>
                  <a:pt x="205" y="245"/>
                </a:lnTo>
                <a:lnTo>
                  <a:pt x="207" y="245"/>
                </a:lnTo>
                <a:lnTo>
                  <a:pt x="209" y="245"/>
                </a:lnTo>
                <a:lnTo>
                  <a:pt x="210" y="247"/>
                </a:lnTo>
                <a:lnTo>
                  <a:pt x="212" y="247"/>
                </a:lnTo>
                <a:lnTo>
                  <a:pt x="214" y="250"/>
                </a:lnTo>
                <a:lnTo>
                  <a:pt x="215" y="250"/>
                </a:lnTo>
                <a:lnTo>
                  <a:pt x="217" y="250"/>
                </a:lnTo>
                <a:lnTo>
                  <a:pt x="217" y="249"/>
                </a:lnTo>
                <a:lnTo>
                  <a:pt x="219" y="250"/>
                </a:lnTo>
                <a:lnTo>
                  <a:pt x="221" y="250"/>
                </a:lnTo>
                <a:lnTo>
                  <a:pt x="222" y="250"/>
                </a:lnTo>
                <a:lnTo>
                  <a:pt x="224" y="252"/>
                </a:lnTo>
                <a:lnTo>
                  <a:pt x="226" y="252"/>
                </a:lnTo>
                <a:lnTo>
                  <a:pt x="224" y="252"/>
                </a:lnTo>
                <a:lnTo>
                  <a:pt x="226" y="252"/>
                </a:lnTo>
                <a:lnTo>
                  <a:pt x="227" y="254"/>
                </a:lnTo>
                <a:lnTo>
                  <a:pt x="229" y="254"/>
                </a:lnTo>
                <a:lnTo>
                  <a:pt x="226" y="252"/>
                </a:lnTo>
                <a:lnTo>
                  <a:pt x="227" y="252"/>
                </a:lnTo>
                <a:lnTo>
                  <a:pt x="226" y="252"/>
                </a:lnTo>
                <a:lnTo>
                  <a:pt x="224" y="250"/>
                </a:lnTo>
                <a:close/>
                <a:moveTo>
                  <a:pt x="54" y="99"/>
                </a:moveTo>
                <a:lnTo>
                  <a:pt x="56" y="99"/>
                </a:lnTo>
                <a:lnTo>
                  <a:pt x="54" y="99"/>
                </a:lnTo>
                <a:lnTo>
                  <a:pt x="56" y="102"/>
                </a:lnTo>
                <a:lnTo>
                  <a:pt x="57" y="102"/>
                </a:lnTo>
                <a:lnTo>
                  <a:pt x="57" y="104"/>
                </a:lnTo>
                <a:lnTo>
                  <a:pt x="56" y="104"/>
                </a:lnTo>
                <a:lnTo>
                  <a:pt x="57" y="104"/>
                </a:lnTo>
                <a:lnTo>
                  <a:pt x="59" y="104"/>
                </a:lnTo>
                <a:lnTo>
                  <a:pt x="61" y="106"/>
                </a:lnTo>
                <a:lnTo>
                  <a:pt x="59" y="107"/>
                </a:lnTo>
                <a:lnTo>
                  <a:pt x="61" y="109"/>
                </a:lnTo>
                <a:lnTo>
                  <a:pt x="61" y="111"/>
                </a:lnTo>
                <a:lnTo>
                  <a:pt x="62" y="111"/>
                </a:lnTo>
                <a:lnTo>
                  <a:pt x="64" y="112"/>
                </a:lnTo>
                <a:lnTo>
                  <a:pt x="66" y="114"/>
                </a:lnTo>
                <a:lnTo>
                  <a:pt x="68" y="116"/>
                </a:lnTo>
                <a:lnTo>
                  <a:pt x="68" y="118"/>
                </a:lnTo>
                <a:lnTo>
                  <a:pt x="64" y="118"/>
                </a:lnTo>
                <a:lnTo>
                  <a:pt x="64" y="119"/>
                </a:lnTo>
                <a:lnTo>
                  <a:pt x="62" y="119"/>
                </a:lnTo>
                <a:lnTo>
                  <a:pt x="61" y="118"/>
                </a:lnTo>
                <a:lnTo>
                  <a:pt x="59" y="118"/>
                </a:lnTo>
                <a:lnTo>
                  <a:pt x="57" y="118"/>
                </a:lnTo>
                <a:lnTo>
                  <a:pt x="57" y="116"/>
                </a:lnTo>
                <a:lnTo>
                  <a:pt x="57" y="114"/>
                </a:lnTo>
                <a:lnTo>
                  <a:pt x="57" y="112"/>
                </a:lnTo>
                <a:lnTo>
                  <a:pt x="57" y="114"/>
                </a:lnTo>
                <a:lnTo>
                  <a:pt x="56" y="114"/>
                </a:lnTo>
                <a:lnTo>
                  <a:pt x="54" y="114"/>
                </a:lnTo>
                <a:lnTo>
                  <a:pt x="52" y="114"/>
                </a:lnTo>
                <a:lnTo>
                  <a:pt x="51" y="114"/>
                </a:lnTo>
                <a:lnTo>
                  <a:pt x="51" y="112"/>
                </a:lnTo>
                <a:lnTo>
                  <a:pt x="49" y="111"/>
                </a:lnTo>
                <a:lnTo>
                  <a:pt x="49" y="109"/>
                </a:lnTo>
                <a:lnTo>
                  <a:pt x="51" y="109"/>
                </a:lnTo>
                <a:lnTo>
                  <a:pt x="51" y="107"/>
                </a:lnTo>
                <a:lnTo>
                  <a:pt x="52" y="107"/>
                </a:lnTo>
                <a:lnTo>
                  <a:pt x="52" y="106"/>
                </a:lnTo>
                <a:lnTo>
                  <a:pt x="54" y="104"/>
                </a:lnTo>
                <a:lnTo>
                  <a:pt x="52" y="102"/>
                </a:lnTo>
                <a:lnTo>
                  <a:pt x="54" y="101"/>
                </a:lnTo>
                <a:lnTo>
                  <a:pt x="52" y="101"/>
                </a:lnTo>
                <a:lnTo>
                  <a:pt x="54" y="101"/>
                </a:lnTo>
                <a:lnTo>
                  <a:pt x="52" y="99"/>
                </a:lnTo>
                <a:lnTo>
                  <a:pt x="54" y="99"/>
                </a:lnTo>
                <a:close/>
                <a:moveTo>
                  <a:pt x="42" y="104"/>
                </a:moveTo>
                <a:lnTo>
                  <a:pt x="45" y="106"/>
                </a:lnTo>
                <a:lnTo>
                  <a:pt x="44" y="109"/>
                </a:lnTo>
                <a:lnTo>
                  <a:pt x="45" y="111"/>
                </a:lnTo>
                <a:lnTo>
                  <a:pt x="45" y="112"/>
                </a:lnTo>
                <a:lnTo>
                  <a:pt x="47" y="114"/>
                </a:lnTo>
                <a:lnTo>
                  <a:pt x="49" y="118"/>
                </a:lnTo>
                <a:lnTo>
                  <a:pt x="51" y="118"/>
                </a:lnTo>
                <a:lnTo>
                  <a:pt x="51" y="119"/>
                </a:lnTo>
                <a:lnTo>
                  <a:pt x="51" y="123"/>
                </a:lnTo>
                <a:lnTo>
                  <a:pt x="49" y="124"/>
                </a:lnTo>
                <a:lnTo>
                  <a:pt x="51" y="128"/>
                </a:lnTo>
                <a:lnTo>
                  <a:pt x="51" y="131"/>
                </a:lnTo>
                <a:lnTo>
                  <a:pt x="52" y="133"/>
                </a:lnTo>
                <a:lnTo>
                  <a:pt x="51" y="135"/>
                </a:lnTo>
                <a:lnTo>
                  <a:pt x="52" y="138"/>
                </a:lnTo>
                <a:lnTo>
                  <a:pt x="54" y="140"/>
                </a:lnTo>
                <a:lnTo>
                  <a:pt x="54" y="141"/>
                </a:lnTo>
                <a:lnTo>
                  <a:pt x="56" y="141"/>
                </a:lnTo>
                <a:lnTo>
                  <a:pt x="54" y="141"/>
                </a:lnTo>
                <a:lnTo>
                  <a:pt x="54" y="143"/>
                </a:lnTo>
                <a:lnTo>
                  <a:pt x="54" y="141"/>
                </a:lnTo>
                <a:lnTo>
                  <a:pt x="54" y="143"/>
                </a:lnTo>
                <a:lnTo>
                  <a:pt x="52" y="143"/>
                </a:lnTo>
                <a:lnTo>
                  <a:pt x="51" y="140"/>
                </a:lnTo>
                <a:lnTo>
                  <a:pt x="49" y="140"/>
                </a:lnTo>
                <a:lnTo>
                  <a:pt x="49" y="138"/>
                </a:lnTo>
                <a:lnTo>
                  <a:pt x="47" y="138"/>
                </a:lnTo>
                <a:lnTo>
                  <a:pt x="47" y="135"/>
                </a:lnTo>
                <a:lnTo>
                  <a:pt x="47" y="133"/>
                </a:lnTo>
                <a:lnTo>
                  <a:pt x="45" y="131"/>
                </a:lnTo>
                <a:lnTo>
                  <a:pt x="45" y="129"/>
                </a:lnTo>
                <a:lnTo>
                  <a:pt x="44" y="129"/>
                </a:lnTo>
                <a:lnTo>
                  <a:pt x="44" y="126"/>
                </a:lnTo>
                <a:lnTo>
                  <a:pt x="44" y="124"/>
                </a:lnTo>
                <a:lnTo>
                  <a:pt x="42" y="123"/>
                </a:lnTo>
                <a:lnTo>
                  <a:pt x="42" y="121"/>
                </a:lnTo>
                <a:lnTo>
                  <a:pt x="42" y="119"/>
                </a:lnTo>
                <a:lnTo>
                  <a:pt x="44" y="123"/>
                </a:lnTo>
                <a:lnTo>
                  <a:pt x="47" y="123"/>
                </a:lnTo>
                <a:lnTo>
                  <a:pt x="47" y="119"/>
                </a:lnTo>
                <a:lnTo>
                  <a:pt x="45" y="116"/>
                </a:lnTo>
                <a:lnTo>
                  <a:pt x="44" y="116"/>
                </a:lnTo>
                <a:lnTo>
                  <a:pt x="45" y="114"/>
                </a:lnTo>
                <a:lnTo>
                  <a:pt x="44" y="112"/>
                </a:lnTo>
                <a:lnTo>
                  <a:pt x="42" y="111"/>
                </a:lnTo>
                <a:lnTo>
                  <a:pt x="40" y="109"/>
                </a:lnTo>
                <a:lnTo>
                  <a:pt x="40" y="107"/>
                </a:lnTo>
                <a:lnTo>
                  <a:pt x="40" y="106"/>
                </a:lnTo>
                <a:lnTo>
                  <a:pt x="42" y="104"/>
                </a:lnTo>
                <a:close/>
                <a:moveTo>
                  <a:pt x="158" y="221"/>
                </a:moveTo>
                <a:lnTo>
                  <a:pt x="159" y="221"/>
                </a:lnTo>
                <a:lnTo>
                  <a:pt x="163" y="221"/>
                </a:lnTo>
                <a:lnTo>
                  <a:pt x="164" y="221"/>
                </a:lnTo>
                <a:lnTo>
                  <a:pt x="166" y="221"/>
                </a:lnTo>
                <a:lnTo>
                  <a:pt x="168" y="221"/>
                </a:lnTo>
                <a:lnTo>
                  <a:pt x="171" y="221"/>
                </a:lnTo>
                <a:lnTo>
                  <a:pt x="173" y="223"/>
                </a:lnTo>
                <a:lnTo>
                  <a:pt x="175" y="221"/>
                </a:lnTo>
                <a:lnTo>
                  <a:pt x="176" y="223"/>
                </a:lnTo>
                <a:lnTo>
                  <a:pt x="178" y="223"/>
                </a:lnTo>
                <a:lnTo>
                  <a:pt x="176" y="223"/>
                </a:lnTo>
                <a:lnTo>
                  <a:pt x="178" y="225"/>
                </a:lnTo>
                <a:lnTo>
                  <a:pt x="180" y="223"/>
                </a:lnTo>
                <a:lnTo>
                  <a:pt x="180" y="225"/>
                </a:lnTo>
                <a:lnTo>
                  <a:pt x="181" y="225"/>
                </a:lnTo>
                <a:lnTo>
                  <a:pt x="181" y="226"/>
                </a:lnTo>
                <a:lnTo>
                  <a:pt x="180" y="226"/>
                </a:lnTo>
                <a:lnTo>
                  <a:pt x="180" y="228"/>
                </a:lnTo>
                <a:lnTo>
                  <a:pt x="176" y="230"/>
                </a:lnTo>
                <a:lnTo>
                  <a:pt x="175" y="228"/>
                </a:lnTo>
                <a:lnTo>
                  <a:pt x="175" y="230"/>
                </a:lnTo>
                <a:lnTo>
                  <a:pt x="173" y="230"/>
                </a:lnTo>
                <a:lnTo>
                  <a:pt x="171" y="230"/>
                </a:lnTo>
                <a:lnTo>
                  <a:pt x="170" y="230"/>
                </a:lnTo>
                <a:lnTo>
                  <a:pt x="168" y="230"/>
                </a:lnTo>
                <a:lnTo>
                  <a:pt x="166" y="230"/>
                </a:lnTo>
                <a:lnTo>
                  <a:pt x="163" y="230"/>
                </a:lnTo>
                <a:lnTo>
                  <a:pt x="159" y="226"/>
                </a:lnTo>
                <a:lnTo>
                  <a:pt x="159" y="228"/>
                </a:lnTo>
                <a:lnTo>
                  <a:pt x="159" y="226"/>
                </a:lnTo>
                <a:lnTo>
                  <a:pt x="158" y="226"/>
                </a:lnTo>
                <a:lnTo>
                  <a:pt x="159" y="226"/>
                </a:lnTo>
                <a:lnTo>
                  <a:pt x="158" y="225"/>
                </a:lnTo>
                <a:lnTo>
                  <a:pt x="159" y="225"/>
                </a:lnTo>
                <a:lnTo>
                  <a:pt x="158" y="221"/>
                </a:lnTo>
                <a:close/>
                <a:moveTo>
                  <a:pt x="166" y="232"/>
                </a:moveTo>
                <a:lnTo>
                  <a:pt x="166" y="233"/>
                </a:lnTo>
                <a:lnTo>
                  <a:pt x="168" y="233"/>
                </a:lnTo>
                <a:lnTo>
                  <a:pt x="171" y="233"/>
                </a:lnTo>
                <a:lnTo>
                  <a:pt x="173" y="235"/>
                </a:lnTo>
                <a:lnTo>
                  <a:pt x="171" y="235"/>
                </a:lnTo>
                <a:lnTo>
                  <a:pt x="175" y="237"/>
                </a:lnTo>
                <a:lnTo>
                  <a:pt x="176" y="237"/>
                </a:lnTo>
                <a:lnTo>
                  <a:pt x="180" y="237"/>
                </a:lnTo>
                <a:lnTo>
                  <a:pt x="181" y="235"/>
                </a:lnTo>
                <a:lnTo>
                  <a:pt x="183" y="237"/>
                </a:lnTo>
                <a:lnTo>
                  <a:pt x="187" y="237"/>
                </a:lnTo>
                <a:lnTo>
                  <a:pt x="190" y="237"/>
                </a:lnTo>
                <a:lnTo>
                  <a:pt x="192" y="237"/>
                </a:lnTo>
                <a:lnTo>
                  <a:pt x="193" y="237"/>
                </a:lnTo>
                <a:lnTo>
                  <a:pt x="197" y="237"/>
                </a:lnTo>
                <a:lnTo>
                  <a:pt x="198" y="237"/>
                </a:lnTo>
                <a:lnTo>
                  <a:pt x="197" y="237"/>
                </a:lnTo>
                <a:lnTo>
                  <a:pt x="195" y="238"/>
                </a:lnTo>
                <a:lnTo>
                  <a:pt x="192" y="238"/>
                </a:lnTo>
                <a:lnTo>
                  <a:pt x="188" y="238"/>
                </a:lnTo>
                <a:lnTo>
                  <a:pt x="185" y="238"/>
                </a:lnTo>
                <a:lnTo>
                  <a:pt x="181" y="238"/>
                </a:lnTo>
                <a:lnTo>
                  <a:pt x="180" y="238"/>
                </a:lnTo>
                <a:lnTo>
                  <a:pt x="178" y="238"/>
                </a:lnTo>
                <a:lnTo>
                  <a:pt x="175" y="238"/>
                </a:lnTo>
                <a:lnTo>
                  <a:pt x="173" y="240"/>
                </a:lnTo>
                <a:lnTo>
                  <a:pt x="171" y="240"/>
                </a:lnTo>
                <a:lnTo>
                  <a:pt x="168" y="238"/>
                </a:lnTo>
                <a:lnTo>
                  <a:pt x="166" y="238"/>
                </a:lnTo>
                <a:lnTo>
                  <a:pt x="164" y="238"/>
                </a:lnTo>
                <a:lnTo>
                  <a:pt x="161" y="237"/>
                </a:lnTo>
                <a:lnTo>
                  <a:pt x="159" y="238"/>
                </a:lnTo>
                <a:lnTo>
                  <a:pt x="159" y="237"/>
                </a:lnTo>
                <a:lnTo>
                  <a:pt x="156" y="237"/>
                </a:lnTo>
                <a:lnTo>
                  <a:pt x="156" y="235"/>
                </a:lnTo>
                <a:lnTo>
                  <a:pt x="158" y="237"/>
                </a:lnTo>
                <a:lnTo>
                  <a:pt x="158" y="235"/>
                </a:lnTo>
                <a:lnTo>
                  <a:pt x="159" y="235"/>
                </a:lnTo>
                <a:lnTo>
                  <a:pt x="163" y="235"/>
                </a:lnTo>
                <a:lnTo>
                  <a:pt x="164" y="235"/>
                </a:lnTo>
                <a:lnTo>
                  <a:pt x="166" y="237"/>
                </a:lnTo>
                <a:lnTo>
                  <a:pt x="168" y="235"/>
                </a:lnTo>
                <a:lnTo>
                  <a:pt x="166" y="235"/>
                </a:lnTo>
                <a:lnTo>
                  <a:pt x="166" y="233"/>
                </a:lnTo>
                <a:lnTo>
                  <a:pt x="164" y="233"/>
                </a:lnTo>
                <a:lnTo>
                  <a:pt x="163" y="233"/>
                </a:lnTo>
                <a:lnTo>
                  <a:pt x="166" y="232"/>
                </a:lnTo>
                <a:close/>
                <a:moveTo>
                  <a:pt x="66" y="136"/>
                </a:moveTo>
                <a:lnTo>
                  <a:pt x="66" y="138"/>
                </a:lnTo>
                <a:lnTo>
                  <a:pt x="69" y="140"/>
                </a:lnTo>
                <a:lnTo>
                  <a:pt x="69" y="141"/>
                </a:lnTo>
                <a:lnTo>
                  <a:pt x="71" y="141"/>
                </a:lnTo>
                <a:lnTo>
                  <a:pt x="71" y="143"/>
                </a:lnTo>
                <a:lnTo>
                  <a:pt x="73" y="145"/>
                </a:lnTo>
                <a:lnTo>
                  <a:pt x="73" y="141"/>
                </a:lnTo>
                <a:lnTo>
                  <a:pt x="74" y="141"/>
                </a:lnTo>
                <a:lnTo>
                  <a:pt x="74" y="143"/>
                </a:lnTo>
                <a:lnTo>
                  <a:pt x="76" y="143"/>
                </a:lnTo>
                <a:lnTo>
                  <a:pt x="78" y="145"/>
                </a:lnTo>
                <a:lnTo>
                  <a:pt x="78" y="147"/>
                </a:lnTo>
                <a:lnTo>
                  <a:pt x="81" y="148"/>
                </a:lnTo>
                <a:lnTo>
                  <a:pt x="83" y="150"/>
                </a:lnTo>
                <a:lnTo>
                  <a:pt x="81" y="150"/>
                </a:lnTo>
                <a:lnTo>
                  <a:pt x="79" y="150"/>
                </a:lnTo>
                <a:lnTo>
                  <a:pt x="79" y="148"/>
                </a:lnTo>
                <a:lnTo>
                  <a:pt x="78" y="148"/>
                </a:lnTo>
                <a:lnTo>
                  <a:pt x="76" y="147"/>
                </a:lnTo>
                <a:lnTo>
                  <a:pt x="74" y="147"/>
                </a:lnTo>
                <a:lnTo>
                  <a:pt x="76" y="147"/>
                </a:lnTo>
                <a:lnTo>
                  <a:pt x="76" y="148"/>
                </a:lnTo>
                <a:lnTo>
                  <a:pt x="78" y="148"/>
                </a:lnTo>
                <a:lnTo>
                  <a:pt x="79" y="150"/>
                </a:lnTo>
                <a:lnTo>
                  <a:pt x="81" y="152"/>
                </a:lnTo>
                <a:lnTo>
                  <a:pt x="81" y="153"/>
                </a:lnTo>
                <a:lnTo>
                  <a:pt x="83" y="155"/>
                </a:lnTo>
                <a:lnTo>
                  <a:pt x="81" y="153"/>
                </a:lnTo>
                <a:lnTo>
                  <a:pt x="81" y="150"/>
                </a:lnTo>
                <a:lnTo>
                  <a:pt x="85" y="153"/>
                </a:lnTo>
                <a:lnTo>
                  <a:pt x="86" y="155"/>
                </a:lnTo>
                <a:lnTo>
                  <a:pt x="88" y="155"/>
                </a:lnTo>
                <a:lnTo>
                  <a:pt x="90" y="157"/>
                </a:lnTo>
                <a:lnTo>
                  <a:pt x="93" y="158"/>
                </a:lnTo>
                <a:lnTo>
                  <a:pt x="93" y="160"/>
                </a:lnTo>
                <a:lnTo>
                  <a:pt x="91" y="160"/>
                </a:lnTo>
                <a:lnTo>
                  <a:pt x="90" y="158"/>
                </a:lnTo>
                <a:lnTo>
                  <a:pt x="88" y="158"/>
                </a:lnTo>
                <a:lnTo>
                  <a:pt x="90" y="158"/>
                </a:lnTo>
                <a:lnTo>
                  <a:pt x="91" y="162"/>
                </a:lnTo>
                <a:lnTo>
                  <a:pt x="90" y="162"/>
                </a:lnTo>
                <a:lnTo>
                  <a:pt x="91" y="162"/>
                </a:lnTo>
                <a:lnTo>
                  <a:pt x="90" y="162"/>
                </a:lnTo>
                <a:lnTo>
                  <a:pt x="86" y="160"/>
                </a:lnTo>
                <a:lnTo>
                  <a:pt x="86" y="162"/>
                </a:lnTo>
                <a:lnTo>
                  <a:pt x="90" y="164"/>
                </a:lnTo>
                <a:lnTo>
                  <a:pt x="88" y="164"/>
                </a:lnTo>
                <a:lnTo>
                  <a:pt x="86" y="162"/>
                </a:lnTo>
                <a:lnTo>
                  <a:pt x="85" y="158"/>
                </a:lnTo>
                <a:lnTo>
                  <a:pt x="86" y="157"/>
                </a:lnTo>
                <a:lnTo>
                  <a:pt x="83" y="157"/>
                </a:lnTo>
                <a:lnTo>
                  <a:pt x="81" y="157"/>
                </a:lnTo>
                <a:lnTo>
                  <a:pt x="81" y="155"/>
                </a:lnTo>
                <a:lnTo>
                  <a:pt x="78" y="153"/>
                </a:lnTo>
                <a:lnTo>
                  <a:pt x="76" y="152"/>
                </a:lnTo>
                <a:lnTo>
                  <a:pt x="74" y="150"/>
                </a:lnTo>
                <a:lnTo>
                  <a:pt x="74" y="148"/>
                </a:lnTo>
                <a:lnTo>
                  <a:pt x="73" y="147"/>
                </a:lnTo>
                <a:lnTo>
                  <a:pt x="71" y="145"/>
                </a:lnTo>
                <a:lnTo>
                  <a:pt x="71" y="143"/>
                </a:lnTo>
                <a:lnTo>
                  <a:pt x="69" y="143"/>
                </a:lnTo>
                <a:lnTo>
                  <a:pt x="68" y="141"/>
                </a:lnTo>
                <a:lnTo>
                  <a:pt x="68" y="140"/>
                </a:lnTo>
                <a:lnTo>
                  <a:pt x="66" y="138"/>
                </a:lnTo>
                <a:lnTo>
                  <a:pt x="64" y="136"/>
                </a:lnTo>
                <a:lnTo>
                  <a:pt x="66" y="136"/>
                </a:lnTo>
                <a:close/>
                <a:moveTo>
                  <a:pt x="175" y="249"/>
                </a:moveTo>
                <a:lnTo>
                  <a:pt x="176" y="249"/>
                </a:lnTo>
                <a:lnTo>
                  <a:pt x="178" y="250"/>
                </a:lnTo>
                <a:lnTo>
                  <a:pt x="180" y="250"/>
                </a:lnTo>
                <a:lnTo>
                  <a:pt x="183" y="250"/>
                </a:lnTo>
                <a:lnTo>
                  <a:pt x="185" y="249"/>
                </a:lnTo>
                <a:lnTo>
                  <a:pt x="187" y="249"/>
                </a:lnTo>
                <a:lnTo>
                  <a:pt x="190" y="249"/>
                </a:lnTo>
                <a:lnTo>
                  <a:pt x="192" y="249"/>
                </a:lnTo>
                <a:lnTo>
                  <a:pt x="192" y="247"/>
                </a:lnTo>
                <a:lnTo>
                  <a:pt x="192" y="249"/>
                </a:lnTo>
                <a:lnTo>
                  <a:pt x="195" y="249"/>
                </a:lnTo>
                <a:lnTo>
                  <a:pt x="197" y="249"/>
                </a:lnTo>
                <a:lnTo>
                  <a:pt x="198" y="250"/>
                </a:lnTo>
                <a:lnTo>
                  <a:pt x="200" y="252"/>
                </a:lnTo>
                <a:lnTo>
                  <a:pt x="197" y="252"/>
                </a:lnTo>
                <a:lnTo>
                  <a:pt x="195" y="252"/>
                </a:lnTo>
                <a:lnTo>
                  <a:pt x="193" y="252"/>
                </a:lnTo>
                <a:lnTo>
                  <a:pt x="190" y="252"/>
                </a:lnTo>
                <a:lnTo>
                  <a:pt x="188" y="252"/>
                </a:lnTo>
                <a:lnTo>
                  <a:pt x="187" y="254"/>
                </a:lnTo>
                <a:lnTo>
                  <a:pt x="187" y="252"/>
                </a:lnTo>
                <a:lnTo>
                  <a:pt x="185" y="254"/>
                </a:lnTo>
                <a:lnTo>
                  <a:pt x="183" y="255"/>
                </a:lnTo>
                <a:lnTo>
                  <a:pt x="183" y="254"/>
                </a:lnTo>
                <a:lnTo>
                  <a:pt x="181" y="254"/>
                </a:lnTo>
                <a:lnTo>
                  <a:pt x="180" y="254"/>
                </a:lnTo>
                <a:lnTo>
                  <a:pt x="178" y="254"/>
                </a:lnTo>
                <a:lnTo>
                  <a:pt x="176" y="254"/>
                </a:lnTo>
                <a:lnTo>
                  <a:pt x="173" y="254"/>
                </a:lnTo>
                <a:lnTo>
                  <a:pt x="171" y="252"/>
                </a:lnTo>
                <a:lnTo>
                  <a:pt x="173" y="252"/>
                </a:lnTo>
                <a:lnTo>
                  <a:pt x="175" y="250"/>
                </a:lnTo>
                <a:lnTo>
                  <a:pt x="173" y="250"/>
                </a:lnTo>
                <a:lnTo>
                  <a:pt x="171" y="249"/>
                </a:lnTo>
                <a:lnTo>
                  <a:pt x="171" y="250"/>
                </a:lnTo>
                <a:lnTo>
                  <a:pt x="171" y="249"/>
                </a:lnTo>
                <a:lnTo>
                  <a:pt x="175" y="249"/>
                </a:lnTo>
                <a:close/>
                <a:moveTo>
                  <a:pt x="74" y="172"/>
                </a:moveTo>
                <a:lnTo>
                  <a:pt x="74" y="174"/>
                </a:lnTo>
                <a:lnTo>
                  <a:pt x="76" y="175"/>
                </a:lnTo>
                <a:lnTo>
                  <a:pt x="78" y="177"/>
                </a:lnTo>
                <a:lnTo>
                  <a:pt x="81" y="179"/>
                </a:lnTo>
                <a:lnTo>
                  <a:pt x="83" y="181"/>
                </a:lnTo>
                <a:lnTo>
                  <a:pt x="83" y="182"/>
                </a:lnTo>
                <a:lnTo>
                  <a:pt x="85" y="184"/>
                </a:lnTo>
                <a:lnTo>
                  <a:pt x="86" y="186"/>
                </a:lnTo>
                <a:lnTo>
                  <a:pt x="88" y="186"/>
                </a:lnTo>
                <a:lnTo>
                  <a:pt x="90" y="189"/>
                </a:lnTo>
                <a:lnTo>
                  <a:pt x="90" y="187"/>
                </a:lnTo>
                <a:lnTo>
                  <a:pt x="91" y="189"/>
                </a:lnTo>
                <a:lnTo>
                  <a:pt x="93" y="191"/>
                </a:lnTo>
                <a:lnTo>
                  <a:pt x="93" y="192"/>
                </a:lnTo>
                <a:lnTo>
                  <a:pt x="91" y="191"/>
                </a:lnTo>
                <a:lnTo>
                  <a:pt x="90" y="191"/>
                </a:lnTo>
                <a:lnTo>
                  <a:pt x="90" y="189"/>
                </a:lnTo>
                <a:lnTo>
                  <a:pt x="88" y="189"/>
                </a:lnTo>
                <a:lnTo>
                  <a:pt x="90" y="191"/>
                </a:lnTo>
                <a:lnTo>
                  <a:pt x="93" y="192"/>
                </a:lnTo>
                <a:lnTo>
                  <a:pt x="90" y="192"/>
                </a:lnTo>
                <a:lnTo>
                  <a:pt x="88" y="191"/>
                </a:lnTo>
                <a:lnTo>
                  <a:pt x="86" y="189"/>
                </a:lnTo>
                <a:lnTo>
                  <a:pt x="86" y="187"/>
                </a:lnTo>
                <a:lnTo>
                  <a:pt x="85" y="186"/>
                </a:lnTo>
                <a:lnTo>
                  <a:pt x="83" y="184"/>
                </a:lnTo>
                <a:lnTo>
                  <a:pt x="81" y="182"/>
                </a:lnTo>
                <a:lnTo>
                  <a:pt x="81" y="181"/>
                </a:lnTo>
                <a:lnTo>
                  <a:pt x="79" y="179"/>
                </a:lnTo>
                <a:lnTo>
                  <a:pt x="78" y="179"/>
                </a:lnTo>
                <a:lnTo>
                  <a:pt x="76" y="177"/>
                </a:lnTo>
                <a:lnTo>
                  <a:pt x="76" y="175"/>
                </a:lnTo>
                <a:lnTo>
                  <a:pt x="74" y="175"/>
                </a:lnTo>
                <a:lnTo>
                  <a:pt x="73" y="175"/>
                </a:lnTo>
                <a:lnTo>
                  <a:pt x="73" y="174"/>
                </a:lnTo>
                <a:lnTo>
                  <a:pt x="73" y="175"/>
                </a:lnTo>
                <a:lnTo>
                  <a:pt x="74" y="175"/>
                </a:lnTo>
                <a:lnTo>
                  <a:pt x="74" y="172"/>
                </a:lnTo>
                <a:close/>
                <a:moveTo>
                  <a:pt x="210" y="259"/>
                </a:moveTo>
                <a:lnTo>
                  <a:pt x="212" y="259"/>
                </a:lnTo>
                <a:lnTo>
                  <a:pt x="210" y="259"/>
                </a:lnTo>
                <a:lnTo>
                  <a:pt x="212" y="259"/>
                </a:lnTo>
                <a:lnTo>
                  <a:pt x="214" y="259"/>
                </a:lnTo>
                <a:lnTo>
                  <a:pt x="214" y="260"/>
                </a:lnTo>
                <a:lnTo>
                  <a:pt x="215" y="259"/>
                </a:lnTo>
                <a:lnTo>
                  <a:pt x="215" y="260"/>
                </a:lnTo>
                <a:lnTo>
                  <a:pt x="217" y="260"/>
                </a:lnTo>
                <a:lnTo>
                  <a:pt x="221" y="260"/>
                </a:lnTo>
                <a:lnTo>
                  <a:pt x="222" y="260"/>
                </a:lnTo>
                <a:lnTo>
                  <a:pt x="222" y="262"/>
                </a:lnTo>
                <a:lnTo>
                  <a:pt x="226" y="262"/>
                </a:lnTo>
                <a:lnTo>
                  <a:pt x="227" y="262"/>
                </a:lnTo>
                <a:lnTo>
                  <a:pt x="229" y="262"/>
                </a:lnTo>
                <a:lnTo>
                  <a:pt x="231" y="262"/>
                </a:lnTo>
                <a:lnTo>
                  <a:pt x="231" y="264"/>
                </a:lnTo>
                <a:lnTo>
                  <a:pt x="227" y="264"/>
                </a:lnTo>
                <a:lnTo>
                  <a:pt x="226" y="262"/>
                </a:lnTo>
                <a:lnTo>
                  <a:pt x="222" y="264"/>
                </a:lnTo>
                <a:lnTo>
                  <a:pt x="221" y="262"/>
                </a:lnTo>
                <a:lnTo>
                  <a:pt x="217" y="262"/>
                </a:lnTo>
                <a:lnTo>
                  <a:pt x="215" y="262"/>
                </a:lnTo>
                <a:lnTo>
                  <a:pt x="214" y="262"/>
                </a:lnTo>
                <a:lnTo>
                  <a:pt x="212" y="260"/>
                </a:lnTo>
                <a:lnTo>
                  <a:pt x="210" y="260"/>
                </a:lnTo>
                <a:lnTo>
                  <a:pt x="210" y="262"/>
                </a:lnTo>
                <a:lnTo>
                  <a:pt x="209" y="260"/>
                </a:lnTo>
                <a:lnTo>
                  <a:pt x="207" y="260"/>
                </a:lnTo>
                <a:lnTo>
                  <a:pt x="209" y="259"/>
                </a:lnTo>
                <a:lnTo>
                  <a:pt x="209" y="260"/>
                </a:lnTo>
                <a:lnTo>
                  <a:pt x="210" y="259"/>
                </a:lnTo>
                <a:close/>
                <a:moveTo>
                  <a:pt x="147" y="245"/>
                </a:moveTo>
                <a:lnTo>
                  <a:pt x="147" y="247"/>
                </a:lnTo>
                <a:lnTo>
                  <a:pt x="149" y="245"/>
                </a:lnTo>
                <a:lnTo>
                  <a:pt x="151" y="245"/>
                </a:lnTo>
                <a:lnTo>
                  <a:pt x="151" y="247"/>
                </a:lnTo>
                <a:lnTo>
                  <a:pt x="149" y="249"/>
                </a:lnTo>
                <a:lnTo>
                  <a:pt x="147" y="249"/>
                </a:lnTo>
                <a:lnTo>
                  <a:pt x="146" y="249"/>
                </a:lnTo>
                <a:lnTo>
                  <a:pt x="144" y="250"/>
                </a:lnTo>
                <a:lnTo>
                  <a:pt x="141" y="250"/>
                </a:lnTo>
                <a:lnTo>
                  <a:pt x="142" y="249"/>
                </a:lnTo>
                <a:lnTo>
                  <a:pt x="141" y="247"/>
                </a:lnTo>
                <a:lnTo>
                  <a:pt x="142" y="245"/>
                </a:lnTo>
                <a:lnTo>
                  <a:pt x="144" y="245"/>
                </a:lnTo>
                <a:lnTo>
                  <a:pt x="147" y="245"/>
                </a:lnTo>
                <a:close/>
                <a:moveTo>
                  <a:pt x="64" y="126"/>
                </a:moveTo>
                <a:lnTo>
                  <a:pt x="66" y="126"/>
                </a:lnTo>
                <a:lnTo>
                  <a:pt x="64" y="128"/>
                </a:lnTo>
                <a:lnTo>
                  <a:pt x="66" y="129"/>
                </a:lnTo>
                <a:lnTo>
                  <a:pt x="68" y="129"/>
                </a:lnTo>
                <a:lnTo>
                  <a:pt x="68" y="131"/>
                </a:lnTo>
                <a:lnTo>
                  <a:pt x="69" y="131"/>
                </a:lnTo>
                <a:lnTo>
                  <a:pt x="71" y="135"/>
                </a:lnTo>
                <a:lnTo>
                  <a:pt x="69" y="136"/>
                </a:lnTo>
                <a:lnTo>
                  <a:pt x="68" y="133"/>
                </a:lnTo>
                <a:lnTo>
                  <a:pt x="66" y="133"/>
                </a:lnTo>
                <a:lnTo>
                  <a:pt x="64" y="131"/>
                </a:lnTo>
                <a:lnTo>
                  <a:pt x="66" y="133"/>
                </a:lnTo>
                <a:lnTo>
                  <a:pt x="62" y="133"/>
                </a:lnTo>
                <a:lnTo>
                  <a:pt x="61" y="131"/>
                </a:lnTo>
                <a:lnTo>
                  <a:pt x="61" y="129"/>
                </a:lnTo>
                <a:lnTo>
                  <a:pt x="62" y="129"/>
                </a:lnTo>
                <a:lnTo>
                  <a:pt x="62" y="128"/>
                </a:lnTo>
                <a:lnTo>
                  <a:pt x="64" y="129"/>
                </a:lnTo>
                <a:lnTo>
                  <a:pt x="62" y="128"/>
                </a:lnTo>
                <a:lnTo>
                  <a:pt x="61" y="126"/>
                </a:lnTo>
                <a:lnTo>
                  <a:pt x="64" y="126"/>
                </a:lnTo>
                <a:close/>
                <a:moveTo>
                  <a:pt x="45" y="136"/>
                </a:moveTo>
                <a:lnTo>
                  <a:pt x="47" y="136"/>
                </a:lnTo>
                <a:lnTo>
                  <a:pt x="49" y="138"/>
                </a:lnTo>
                <a:lnTo>
                  <a:pt x="49" y="140"/>
                </a:lnTo>
                <a:lnTo>
                  <a:pt x="49" y="143"/>
                </a:lnTo>
                <a:lnTo>
                  <a:pt x="49" y="145"/>
                </a:lnTo>
                <a:lnTo>
                  <a:pt x="51" y="147"/>
                </a:lnTo>
                <a:lnTo>
                  <a:pt x="52" y="150"/>
                </a:lnTo>
                <a:lnTo>
                  <a:pt x="56" y="150"/>
                </a:lnTo>
                <a:lnTo>
                  <a:pt x="56" y="152"/>
                </a:lnTo>
                <a:lnTo>
                  <a:pt x="56" y="153"/>
                </a:lnTo>
                <a:lnTo>
                  <a:pt x="54" y="150"/>
                </a:lnTo>
                <a:lnTo>
                  <a:pt x="51" y="150"/>
                </a:lnTo>
                <a:lnTo>
                  <a:pt x="52" y="148"/>
                </a:lnTo>
                <a:lnTo>
                  <a:pt x="51" y="148"/>
                </a:lnTo>
                <a:lnTo>
                  <a:pt x="52" y="148"/>
                </a:lnTo>
                <a:lnTo>
                  <a:pt x="51" y="147"/>
                </a:lnTo>
                <a:lnTo>
                  <a:pt x="49" y="147"/>
                </a:lnTo>
                <a:lnTo>
                  <a:pt x="49" y="148"/>
                </a:lnTo>
                <a:lnTo>
                  <a:pt x="47" y="147"/>
                </a:lnTo>
                <a:lnTo>
                  <a:pt x="49" y="145"/>
                </a:lnTo>
                <a:lnTo>
                  <a:pt x="47" y="143"/>
                </a:lnTo>
                <a:lnTo>
                  <a:pt x="45" y="141"/>
                </a:lnTo>
                <a:lnTo>
                  <a:pt x="45" y="138"/>
                </a:lnTo>
                <a:lnTo>
                  <a:pt x="45" y="136"/>
                </a:lnTo>
                <a:close/>
                <a:moveTo>
                  <a:pt x="95" y="182"/>
                </a:moveTo>
                <a:lnTo>
                  <a:pt x="98" y="184"/>
                </a:lnTo>
                <a:lnTo>
                  <a:pt x="100" y="186"/>
                </a:lnTo>
                <a:lnTo>
                  <a:pt x="102" y="186"/>
                </a:lnTo>
                <a:lnTo>
                  <a:pt x="102" y="187"/>
                </a:lnTo>
                <a:lnTo>
                  <a:pt x="103" y="189"/>
                </a:lnTo>
                <a:lnTo>
                  <a:pt x="105" y="191"/>
                </a:lnTo>
                <a:lnTo>
                  <a:pt x="103" y="191"/>
                </a:lnTo>
                <a:lnTo>
                  <a:pt x="102" y="189"/>
                </a:lnTo>
                <a:lnTo>
                  <a:pt x="100" y="189"/>
                </a:lnTo>
                <a:lnTo>
                  <a:pt x="100" y="187"/>
                </a:lnTo>
                <a:lnTo>
                  <a:pt x="100" y="189"/>
                </a:lnTo>
                <a:lnTo>
                  <a:pt x="98" y="187"/>
                </a:lnTo>
                <a:lnTo>
                  <a:pt x="96" y="186"/>
                </a:lnTo>
                <a:lnTo>
                  <a:pt x="95" y="184"/>
                </a:lnTo>
                <a:lnTo>
                  <a:pt x="95" y="182"/>
                </a:lnTo>
                <a:close/>
                <a:moveTo>
                  <a:pt x="146" y="221"/>
                </a:moveTo>
                <a:lnTo>
                  <a:pt x="149" y="221"/>
                </a:lnTo>
                <a:lnTo>
                  <a:pt x="151" y="221"/>
                </a:lnTo>
                <a:lnTo>
                  <a:pt x="153" y="221"/>
                </a:lnTo>
                <a:lnTo>
                  <a:pt x="153" y="223"/>
                </a:lnTo>
                <a:lnTo>
                  <a:pt x="153" y="221"/>
                </a:lnTo>
                <a:lnTo>
                  <a:pt x="154" y="223"/>
                </a:lnTo>
                <a:lnTo>
                  <a:pt x="154" y="225"/>
                </a:lnTo>
                <a:lnTo>
                  <a:pt x="156" y="226"/>
                </a:lnTo>
                <a:lnTo>
                  <a:pt x="154" y="225"/>
                </a:lnTo>
                <a:lnTo>
                  <a:pt x="153" y="225"/>
                </a:lnTo>
                <a:lnTo>
                  <a:pt x="151" y="223"/>
                </a:lnTo>
                <a:lnTo>
                  <a:pt x="151" y="225"/>
                </a:lnTo>
                <a:lnTo>
                  <a:pt x="147" y="223"/>
                </a:lnTo>
                <a:lnTo>
                  <a:pt x="146" y="223"/>
                </a:lnTo>
                <a:lnTo>
                  <a:pt x="146" y="221"/>
                </a:lnTo>
                <a:close/>
                <a:moveTo>
                  <a:pt x="85" y="174"/>
                </a:moveTo>
                <a:lnTo>
                  <a:pt x="88" y="175"/>
                </a:lnTo>
                <a:lnTo>
                  <a:pt x="88" y="177"/>
                </a:lnTo>
                <a:lnTo>
                  <a:pt x="90" y="177"/>
                </a:lnTo>
                <a:lnTo>
                  <a:pt x="91" y="179"/>
                </a:lnTo>
                <a:lnTo>
                  <a:pt x="93" y="181"/>
                </a:lnTo>
                <a:lnTo>
                  <a:pt x="95" y="182"/>
                </a:lnTo>
                <a:lnTo>
                  <a:pt x="93" y="181"/>
                </a:lnTo>
                <a:lnTo>
                  <a:pt x="91" y="181"/>
                </a:lnTo>
                <a:lnTo>
                  <a:pt x="91" y="182"/>
                </a:lnTo>
                <a:lnTo>
                  <a:pt x="90" y="181"/>
                </a:lnTo>
                <a:lnTo>
                  <a:pt x="88" y="177"/>
                </a:lnTo>
                <a:lnTo>
                  <a:pt x="86" y="177"/>
                </a:lnTo>
                <a:lnTo>
                  <a:pt x="85" y="175"/>
                </a:lnTo>
                <a:lnTo>
                  <a:pt x="85" y="174"/>
                </a:lnTo>
                <a:close/>
                <a:moveTo>
                  <a:pt x="185" y="262"/>
                </a:moveTo>
                <a:lnTo>
                  <a:pt x="185" y="264"/>
                </a:lnTo>
                <a:lnTo>
                  <a:pt x="187" y="262"/>
                </a:lnTo>
                <a:lnTo>
                  <a:pt x="188" y="264"/>
                </a:lnTo>
                <a:lnTo>
                  <a:pt x="187" y="266"/>
                </a:lnTo>
                <a:lnTo>
                  <a:pt x="185" y="267"/>
                </a:lnTo>
                <a:lnTo>
                  <a:pt x="185" y="266"/>
                </a:lnTo>
                <a:lnTo>
                  <a:pt x="183" y="267"/>
                </a:lnTo>
                <a:lnTo>
                  <a:pt x="181" y="266"/>
                </a:lnTo>
                <a:lnTo>
                  <a:pt x="183" y="262"/>
                </a:lnTo>
                <a:lnTo>
                  <a:pt x="185" y="262"/>
                </a:lnTo>
                <a:close/>
                <a:moveTo>
                  <a:pt x="95" y="192"/>
                </a:moveTo>
                <a:lnTo>
                  <a:pt x="96" y="192"/>
                </a:lnTo>
                <a:lnTo>
                  <a:pt x="95" y="194"/>
                </a:lnTo>
                <a:lnTo>
                  <a:pt x="96" y="194"/>
                </a:lnTo>
                <a:lnTo>
                  <a:pt x="98" y="196"/>
                </a:lnTo>
                <a:lnTo>
                  <a:pt x="100" y="196"/>
                </a:lnTo>
                <a:lnTo>
                  <a:pt x="100" y="198"/>
                </a:lnTo>
                <a:lnTo>
                  <a:pt x="102" y="199"/>
                </a:lnTo>
                <a:lnTo>
                  <a:pt x="103" y="199"/>
                </a:lnTo>
                <a:lnTo>
                  <a:pt x="105" y="201"/>
                </a:lnTo>
                <a:lnTo>
                  <a:pt x="107" y="201"/>
                </a:lnTo>
                <a:lnTo>
                  <a:pt x="105" y="201"/>
                </a:lnTo>
                <a:lnTo>
                  <a:pt x="102" y="199"/>
                </a:lnTo>
                <a:lnTo>
                  <a:pt x="100" y="198"/>
                </a:lnTo>
                <a:lnTo>
                  <a:pt x="98" y="198"/>
                </a:lnTo>
                <a:lnTo>
                  <a:pt x="96" y="196"/>
                </a:lnTo>
                <a:lnTo>
                  <a:pt x="95" y="194"/>
                </a:lnTo>
                <a:lnTo>
                  <a:pt x="93" y="192"/>
                </a:lnTo>
                <a:lnTo>
                  <a:pt x="95" y="192"/>
                </a:lnTo>
                <a:close/>
                <a:moveTo>
                  <a:pt x="149" y="213"/>
                </a:moveTo>
                <a:lnTo>
                  <a:pt x="151" y="213"/>
                </a:lnTo>
                <a:lnTo>
                  <a:pt x="153" y="215"/>
                </a:lnTo>
                <a:lnTo>
                  <a:pt x="156" y="215"/>
                </a:lnTo>
                <a:lnTo>
                  <a:pt x="154" y="215"/>
                </a:lnTo>
                <a:lnTo>
                  <a:pt x="153" y="216"/>
                </a:lnTo>
                <a:lnTo>
                  <a:pt x="151" y="216"/>
                </a:lnTo>
                <a:lnTo>
                  <a:pt x="149" y="215"/>
                </a:lnTo>
                <a:lnTo>
                  <a:pt x="147" y="216"/>
                </a:lnTo>
                <a:lnTo>
                  <a:pt x="146" y="215"/>
                </a:lnTo>
                <a:lnTo>
                  <a:pt x="147" y="215"/>
                </a:lnTo>
                <a:lnTo>
                  <a:pt x="149" y="213"/>
                </a:lnTo>
                <a:close/>
                <a:moveTo>
                  <a:pt x="69" y="155"/>
                </a:moveTo>
                <a:lnTo>
                  <a:pt x="69" y="157"/>
                </a:lnTo>
                <a:lnTo>
                  <a:pt x="69" y="158"/>
                </a:lnTo>
                <a:lnTo>
                  <a:pt x="71" y="160"/>
                </a:lnTo>
                <a:lnTo>
                  <a:pt x="71" y="162"/>
                </a:lnTo>
                <a:lnTo>
                  <a:pt x="69" y="162"/>
                </a:lnTo>
                <a:lnTo>
                  <a:pt x="68" y="160"/>
                </a:lnTo>
                <a:lnTo>
                  <a:pt x="68" y="158"/>
                </a:lnTo>
                <a:lnTo>
                  <a:pt x="68" y="157"/>
                </a:lnTo>
                <a:lnTo>
                  <a:pt x="69" y="155"/>
                </a:lnTo>
                <a:close/>
                <a:moveTo>
                  <a:pt x="81" y="162"/>
                </a:moveTo>
                <a:lnTo>
                  <a:pt x="83" y="162"/>
                </a:lnTo>
                <a:lnTo>
                  <a:pt x="85" y="162"/>
                </a:lnTo>
                <a:lnTo>
                  <a:pt x="86" y="164"/>
                </a:lnTo>
                <a:lnTo>
                  <a:pt x="85" y="164"/>
                </a:lnTo>
                <a:lnTo>
                  <a:pt x="83" y="164"/>
                </a:lnTo>
                <a:lnTo>
                  <a:pt x="81" y="162"/>
                </a:lnTo>
                <a:close/>
                <a:moveTo>
                  <a:pt x="71" y="167"/>
                </a:moveTo>
                <a:lnTo>
                  <a:pt x="73" y="169"/>
                </a:lnTo>
                <a:lnTo>
                  <a:pt x="74" y="169"/>
                </a:lnTo>
                <a:lnTo>
                  <a:pt x="74" y="170"/>
                </a:lnTo>
                <a:lnTo>
                  <a:pt x="74" y="169"/>
                </a:lnTo>
                <a:lnTo>
                  <a:pt x="76" y="170"/>
                </a:lnTo>
                <a:lnTo>
                  <a:pt x="74" y="170"/>
                </a:lnTo>
                <a:lnTo>
                  <a:pt x="73" y="170"/>
                </a:lnTo>
                <a:lnTo>
                  <a:pt x="71" y="169"/>
                </a:lnTo>
                <a:lnTo>
                  <a:pt x="73" y="170"/>
                </a:lnTo>
                <a:lnTo>
                  <a:pt x="71" y="169"/>
                </a:lnTo>
                <a:lnTo>
                  <a:pt x="69" y="167"/>
                </a:lnTo>
                <a:lnTo>
                  <a:pt x="71" y="167"/>
                </a:lnTo>
                <a:close/>
                <a:moveTo>
                  <a:pt x="113" y="194"/>
                </a:moveTo>
                <a:lnTo>
                  <a:pt x="115" y="196"/>
                </a:lnTo>
                <a:lnTo>
                  <a:pt x="115" y="198"/>
                </a:lnTo>
                <a:lnTo>
                  <a:pt x="117" y="199"/>
                </a:lnTo>
                <a:lnTo>
                  <a:pt x="113" y="198"/>
                </a:lnTo>
                <a:lnTo>
                  <a:pt x="113" y="196"/>
                </a:lnTo>
                <a:lnTo>
                  <a:pt x="112" y="196"/>
                </a:lnTo>
                <a:lnTo>
                  <a:pt x="112" y="194"/>
                </a:lnTo>
                <a:lnTo>
                  <a:pt x="113" y="194"/>
                </a:lnTo>
                <a:close/>
                <a:moveTo>
                  <a:pt x="42" y="138"/>
                </a:moveTo>
                <a:lnTo>
                  <a:pt x="42" y="140"/>
                </a:lnTo>
                <a:lnTo>
                  <a:pt x="40" y="140"/>
                </a:lnTo>
                <a:lnTo>
                  <a:pt x="42" y="141"/>
                </a:lnTo>
                <a:lnTo>
                  <a:pt x="40" y="141"/>
                </a:lnTo>
                <a:lnTo>
                  <a:pt x="42" y="143"/>
                </a:lnTo>
                <a:lnTo>
                  <a:pt x="42" y="145"/>
                </a:lnTo>
                <a:lnTo>
                  <a:pt x="40" y="143"/>
                </a:lnTo>
                <a:lnTo>
                  <a:pt x="40" y="141"/>
                </a:lnTo>
                <a:lnTo>
                  <a:pt x="40" y="140"/>
                </a:lnTo>
                <a:lnTo>
                  <a:pt x="42" y="138"/>
                </a:lnTo>
                <a:close/>
                <a:moveTo>
                  <a:pt x="85" y="179"/>
                </a:moveTo>
                <a:lnTo>
                  <a:pt x="86" y="179"/>
                </a:lnTo>
                <a:lnTo>
                  <a:pt x="88" y="182"/>
                </a:lnTo>
                <a:lnTo>
                  <a:pt x="90" y="182"/>
                </a:lnTo>
                <a:lnTo>
                  <a:pt x="90" y="184"/>
                </a:lnTo>
                <a:lnTo>
                  <a:pt x="88" y="182"/>
                </a:lnTo>
                <a:lnTo>
                  <a:pt x="86" y="181"/>
                </a:lnTo>
                <a:lnTo>
                  <a:pt x="85" y="181"/>
                </a:lnTo>
                <a:lnTo>
                  <a:pt x="85" y="179"/>
                </a:lnTo>
                <a:close/>
                <a:moveTo>
                  <a:pt x="234" y="259"/>
                </a:moveTo>
                <a:lnTo>
                  <a:pt x="236" y="259"/>
                </a:lnTo>
                <a:lnTo>
                  <a:pt x="236" y="260"/>
                </a:lnTo>
                <a:lnTo>
                  <a:pt x="238" y="260"/>
                </a:lnTo>
                <a:lnTo>
                  <a:pt x="239" y="260"/>
                </a:lnTo>
                <a:lnTo>
                  <a:pt x="239" y="262"/>
                </a:lnTo>
                <a:lnTo>
                  <a:pt x="238" y="262"/>
                </a:lnTo>
                <a:lnTo>
                  <a:pt x="236" y="260"/>
                </a:lnTo>
                <a:lnTo>
                  <a:pt x="234" y="259"/>
                </a:lnTo>
                <a:close/>
                <a:moveTo>
                  <a:pt x="113" y="204"/>
                </a:moveTo>
                <a:lnTo>
                  <a:pt x="117" y="206"/>
                </a:lnTo>
                <a:lnTo>
                  <a:pt x="119" y="208"/>
                </a:lnTo>
                <a:lnTo>
                  <a:pt x="120" y="208"/>
                </a:lnTo>
                <a:lnTo>
                  <a:pt x="119" y="208"/>
                </a:lnTo>
                <a:lnTo>
                  <a:pt x="117" y="208"/>
                </a:lnTo>
                <a:lnTo>
                  <a:pt x="115" y="206"/>
                </a:lnTo>
                <a:lnTo>
                  <a:pt x="113" y="206"/>
                </a:lnTo>
                <a:lnTo>
                  <a:pt x="113" y="204"/>
                </a:lnTo>
                <a:close/>
                <a:moveTo>
                  <a:pt x="78" y="170"/>
                </a:moveTo>
                <a:lnTo>
                  <a:pt x="79" y="172"/>
                </a:lnTo>
                <a:lnTo>
                  <a:pt x="79" y="174"/>
                </a:lnTo>
                <a:lnTo>
                  <a:pt x="83" y="174"/>
                </a:lnTo>
                <a:lnTo>
                  <a:pt x="83" y="175"/>
                </a:lnTo>
                <a:lnTo>
                  <a:pt x="81" y="174"/>
                </a:lnTo>
                <a:lnTo>
                  <a:pt x="79" y="174"/>
                </a:lnTo>
                <a:lnTo>
                  <a:pt x="78" y="172"/>
                </a:lnTo>
                <a:lnTo>
                  <a:pt x="78" y="170"/>
                </a:lnTo>
                <a:close/>
                <a:moveTo>
                  <a:pt x="96" y="191"/>
                </a:moveTo>
                <a:lnTo>
                  <a:pt x="96" y="192"/>
                </a:lnTo>
                <a:lnTo>
                  <a:pt x="98" y="192"/>
                </a:lnTo>
                <a:lnTo>
                  <a:pt x="98" y="191"/>
                </a:lnTo>
                <a:lnTo>
                  <a:pt x="98" y="192"/>
                </a:lnTo>
                <a:lnTo>
                  <a:pt x="100" y="192"/>
                </a:lnTo>
                <a:lnTo>
                  <a:pt x="100" y="194"/>
                </a:lnTo>
                <a:lnTo>
                  <a:pt x="102" y="196"/>
                </a:lnTo>
                <a:lnTo>
                  <a:pt x="100" y="196"/>
                </a:lnTo>
                <a:lnTo>
                  <a:pt x="98" y="194"/>
                </a:lnTo>
                <a:lnTo>
                  <a:pt x="96" y="192"/>
                </a:lnTo>
                <a:lnTo>
                  <a:pt x="95" y="192"/>
                </a:lnTo>
                <a:lnTo>
                  <a:pt x="96" y="191"/>
                </a:lnTo>
                <a:close/>
                <a:moveTo>
                  <a:pt x="64" y="157"/>
                </a:moveTo>
                <a:lnTo>
                  <a:pt x="64" y="158"/>
                </a:lnTo>
                <a:lnTo>
                  <a:pt x="66" y="160"/>
                </a:lnTo>
                <a:lnTo>
                  <a:pt x="64" y="160"/>
                </a:lnTo>
                <a:lnTo>
                  <a:pt x="64" y="158"/>
                </a:lnTo>
                <a:lnTo>
                  <a:pt x="62" y="158"/>
                </a:lnTo>
                <a:lnTo>
                  <a:pt x="64" y="157"/>
                </a:lnTo>
                <a:close/>
                <a:moveTo>
                  <a:pt x="66" y="119"/>
                </a:moveTo>
                <a:lnTo>
                  <a:pt x="68" y="121"/>
                </a:lnTo>
                <a:lnTo>
                  <a:pt x="69" y="123"/>
                </a:lnTo>
                <a:lnTo>
                  <a:pt x="66" y="121"/>
                </a:lnTo>
                <a:lnTo>
                  <a:pt x="66" y="119"/>
                </a:lnTo>
                <a:close/>
                <a:moveTo>
                  <a:pt x="142" y="218"/>
                </a:moveTo>
                <a:lnTo>
                  <a:pt x="144" y="218"/>
                </a:lnTo>
                <a:lnTo>
                  <a:pt x="144" y="220"/>
                </a:lnTo>
                <a:lnTo>
                  <a:pt x="141" y="220"/>
                </a:lnTo>
                <a:lnTo>
                  <a:pt x="142" y="218"/>
                </a:lnTo>
                <a:close/>
                <a:moveTo>
                  <a:pt x="69" y="165"/>
                </a:moveTo>
                <a:lnTo>
                  <a:pt x="69" y="167"/>
                </a:lnTo>
                <a:lnTo>
                  <a:pt x="68" y="167"/>
                </a:lnTo>
                <a:lnTo>
                  <a:pt x="69" y="167"/>
                </a:lnTo>
                <a:lnTo>
                  <a:pt x="68" y="167"/>
                </a:lnTo>
                <a:lnTo>
                  <a:pt x="68" y="165"/>
                </a:lnTo>
                <a:lnTo>
                  <a:pt x="69" y="165"/>
                </a:lnTo>
                <a:close/>
                <a:moveTo>
                  <a:pt x="59" y="162"/>
                </a:moveTo>
                <a:lnTo>
                  <a:pt x="62" y="162"/>
                </a:lnTo>
                <a:lnTo>
                  <a:pt x="64" y="164"/>
                </a:lnTo>
                <a:lnTo>
                  <a:pt x="62" y="164"/>
                </a:lnTo>
                <a:lnTo>
                  <a:pt x="59" y="162"/>
                </a:lnTo>
                <a:close/>
                <a:moveTo>
                  <a:pt x="54" y="118"/>
                </a:moveTo>
                <a:lnTo>
                  <a:pt x="54" y="119"/>
                </a:lnTo>
                <a:lnTo>
                  <a:pt x="52" y="118"/>
                </a:lnTo>
                <a:lnTo>
                  <a:pt x="51" y="118"/>
                </a:lnTo>
                <a:lnTo>
                  <a:pt x="54" y="118"/>
                </a:lnTo>
                <a:close/>
                <a:moveTo>
                  <a:pt x="74" y="153"/>
                </a:moveTo>
                <a:lnTo>
                  <a:pt x="76" y="153"/>
                </a:lnTo>
                <a:lnTo>
                  <a:pt x="76" y="155"/>
                </a:lnTo>
                <a:lnTo>
                  <a:pt x="78" y="157"/>
                </a:lnTo>
                <a:lnTo>
                  <a:pt x="76" y="155"/>
                </a:lnTo>
                <a:lnTo>
                  <a:pt x="74" y="153"/>
                </a:lnTo>
                <a:lnTo>
                  <a:pt x="73" y="153"/>
                </a:lnTo>
                <a:lnTo>
                  <a:pt x="74" y="153"/>
                </a:lnTo>
                <a:close/>
                <a:moveTo>
                  <a:pt x="173" y="242"/>
                </a:moveTo>
                <a:lnTo>
                  <a:pt x="176" y="242"/>
                </a:lnTo>
                <a:lnTo>
                  <a:pt x="175" y="242"/>
                </a:lnTo>
                <a:lnTo>
                  <a:pt x="171" y="242"/>
                </a:lnTo>
                <a:lnTo>
                  <a:pt x="173" y="242"/>
                </a:lnTo>
                <a:close/>
                <a:moveTo>
                  <a:pt x="125" y="203"/>
                </a:moveTo>
                <a:lnTo>
                  <a:pt x="127" y="204"/>
                </a:lnTo>
                <a:lnTo>
                  <a:pt x="125" y="203"/>
                </a:lnTo>
                <a:close/>
                <a:moveTo>
                  <a:pt x="117" y="201"/>
                </a:moveTo>
                <a:lnTo>
                  <a:pt x="119" y="201"/>
                </a:lnTo>
                <a:lnTo>
                  <a:pt x="120" y="204"/>
                </a:lnTo>
                <a:lnTo>
                  <a:pt x="120" y="203"/>
                </a:lnTo>
                <a:lnTo>
                  <a:pt x="120" y="204"/>
                </a:lnTo>
                <a:lnTo>
                  <a:pt x="119" y="204"/>
                </a:lnTo>
                <a:lnTo>
                  <a:pt x="117" y="201"/>
                </a:lnTo>
                <a:close/>
                <a:moveTo>
                  <a:pt x="64" y="123"/>
                </a:moveTo>
                <a:lnTo>
                  <a:pt x="66" y="123"/>
                </a:lnTo>
                <a:lnTo>
                  <a:pt x="66" y="124"/>
                </a:lnTo>
                <a:lnTo>
                  <a:pt x="64" y="124"/>
                </a:lnTo>
                <a:lnTo>
                  <a:pt x="64" y="123"/>
                </a:lnTo>
                <a:close/>
                <a:moveTo>
                  <a:pt x="15" y="123"/>
                </a:moveTo>
                <a:lnTo>
                  <a:pt x="17" y="124"/>
                </a:lnTo>
                <a:lnTo>
                  <a:pt x="15" y="124"/>
                </a:lnTo>
                <a:lnTo>
                  <a:pt x="15" y="126"/>
                </a:lnTo>
                <a:lnTo>
                  <a:pt x="15" y="124"/>
                </a:lnTo>
                <a:lnTo>
                  <a:pt x="13" y="123"/>
                </a:lnTo>
                <a:lnTo>
                  <a:pt x="15" y="123"/>
                </a:lnTo>
                <a:close/>
                <a:moveTo>
                  <a:pt x="137" y="252"/>
                </a:moveTo>
                <a:lnTo>
                  <a:pt x="139" y="252"/>
                </a:lnTo>
                <a:lnTo>
                  <a:pt x="139" y="254"/>
                </a:lnTo>
                <a:lnTo>
                  <a:pt x="137" y="254"/>
                </a:lnTo>
                <a:lnTo>
                  <a:pt x="137" y="252"/>
                </a:lnTo>
                <a:close/>
                <a:moveTo>
                  <a:pt x="56" y="153"/>
                </a:moveTo>
                <a:lnTo>
                  <a:pt x="57" y="153"/>
                </a:lnTo>
                <a:lnTo>
                  <a:pt x="57" y="155"/>
                </a:lnTo>
                <a:lnTo>
                  <a:pt x="56" y="155"/>
                </a:lnTo>
                <a:lnTo>
                  <a:pt x="56" y="153"/>
                </a:lnTo>
                <a:close/>
                <a:moveTo>
                  <a:pt x="156" y="237"/>
                </a:moveTo>
                <a:lnTo>
                  <a:pt x="156" y="238"/>
                </a:lnTo>
                <a:lnTo>
                  <a:pt x="158" y="237"/>
                </a:lnTo>
                <a:lnTo>
                  <a:pt x="158" y="238"/>
                </a:lnTo>
                <a:lnTo>
                  <a:pt x="156" y="238"/>
                </a:lnTo>
                <a:lnTo>
                  <a:pt x="154" y="238"/>
                </a:lnTo>
                <a:lnTo>
                  <a:pt x="154" y="237"/>
                </a:lnTo>
                <a:lnTo>
                  <a:pt x="156" y="237"/>
                </a:lnTo>
                <a:close/>
                <a:moveTo>
                  <a:pt x="68" y="124"/>
                </a:moveTo>
                <a:lnTo>
                  <a:pt x="69" y="124"/>
                </a:lnTo>
                <a:lnTo>
                  <a:pt x="69" y="126"/>
                </a:lnTo>
                <a:lnTo>
                  <a:pt x="68" y="128"/>
                </a:lnTo>
                <a:lnTo>
                  <a:pt x="68" y="124"/>
                </a:lnTo>
                <a:close/>
                <a:moveTo>
                  <a:pt x="66" y="133"/>
                </a:moveTo>
                <a:lnTo>
                  <a:pt x="68" y="133"/>
                </a:lnTo>
                <a:lnTo>
                  <a:pt x="69" y="135"/>
                </a:lnTo>
                <a:lnTo>
                  <a:pt x="71" y="136"/>
                </a:lnTo>
                <a:lnTo>
                  <a:pt x="69" y="136"/>
                </a:lnTo>
                <a:lnTo>
                  <a:pt x="68" y="135"/>
                </a:lnTo>
                <a:lnTo>
                  <a:pt x="66" y="133"/>
                </a:lnTo>
                <a:close/>
                <a:moveTo>
                  <a:pt x="241" y="264"/>
                </a:moveTo>
                <a:lnTo>
                  <a:pt x="243" y="264"/>
                </a:lnTo>
                <a:lnTo>
                  <a:pt x="241" y="264"/>
                </a:lnTo>
                <a:lnTo>
                  <a:pt x="239" y="264"/>
                </a:lnTo>
                <a:lnTo>
                  <a:pt x="241" y="262"/>
                </a:lnTo>
                <a:lnTo>
                  <a:pt x="241" y="264"/>
                </a:lnTo>
                <a:close/>
                <a:moveTo>
                  <a:pt x="76" y="172"/>
                </a:moveTo>
                <a:lnTo>
                  <a:pt x="78" y="174"/>
                </a:lnTo>
                <a:lnTo>
                  <a:pt x="76" y="174"/>
                </a:lnTo>
                <a:lnTo>
                  <a:pt x="74" y="172"/>
                </a:lnTo>
                <a:lnTo>
                  <a:pt x="76" y="172"/>
                </a:lnTo>
                <a:close/>
                <a:moveTo>
                  <a:pt x="124" y="250"/>
                </a:moveTo>
                <a:lnTo>
                  <a:pt x="125" y="250"/>
                </a:lnTo>
                <a:lnTo>
                  <a:pt x="124" y="250"/>
                </a:lnTo>
                <a:close/>
                <a:moveTo>
                  <a:pt x="164" y="266"/>
                </a:moveTo>
                <a:lnTo>
                  <a:pt x="168" y="264"/>
                </a:lnTo>
                <a:lnTo>
                  <a:pt x="168" y="266"/>
                </a:lnTo>
                <a:lnTo>
                  <a:pt x="164" y="267"/>
                </a:lnTo>
                <a:lnTo>
                  <a:pt x="164" y="266"/>
                </a:lnTo>
                <a:close/>
                <a:moveTo>
                  <a:pt x="44" y="150"/>
                </a:moveTo>
                <a:lnTo>
                  <a:pt x="45" y="150"/>
                </a:lnTo>
                <a:lnTo>
                  <a:pt x="45" y="152"/>
                </a:lnTo>
                <a:lnTo>
                  <a:pt x="44" y="152"/>
                </a:lnTo>
                <a:lnTo>
                  <a:pt x="44" y="150"/>
                </a:lnTo>
                <a:close/>
                <a:moveTo>
                  <a:pt x="64" y="165"/>
                </a:moveTo>
                <a:lnTo>
                  <a:pt x="66" y="165"/>
                </a:lnTo>
                <a:lnTo>
                  <a:pt x="66" y="167"/>
                </a:lnTo>
                <a:lnTo>
                  <a:pt x="64" y="167"/>
                </a:lnTo>
                <a:lnTo>
                  <a:pt x="64" y="165"/>
                </a:lnTo>
                <a:close/>
                <a:moveTo>
                  <a:pt x="83" y="172"/>
                </a:moveTo>
                <a:lnTo>
                  <a:pt x="83" y="174"/>
                </a:lnTo>
                <a:lnTo>
                  <a:pt x="83" y="172"/>
                </a:lnTo>
                <a:close/>
                <a:moveTo>
                  <a:pt x="85" y="181"/>
                </a:moveTo>
                <a:lnTo>
                  <a:pt x="86" y="181"/>
                </a:lnTo>
                <a:lnTo>
                  <a:pt x="86" y="184"/>
                </a:lnTo>
                <a:lnTo>
                  <a:pt x="85" y="184"/>
                </a:lnTo>
                <a:lnTo>
                  <a:pt x="85" y="181"/>
                </a:lnTo>
                <a:close/>
                <a:moveTo>
                  <a:pt x="139" y="220"/>
                </a:moveTo>
                <a:lnTo>
                  <a:pt x="141" y="218"/>
                </a:lnTo>
                <a:lnTo>
                  <a:pt x="141" y="220"/>
                </a:lnTo>
                <a:lnTo>
                  <a:pt x="139" y="220"/>
                </a:lnTo>
                <a:close/>
                <a:moveTo>
                  <a:pt x="115" y="203"/>
                </a:moveTo>
                <a:lnTo>
                  <a:pt x="117" y="204"/>
                </a:lnTo>
                <a:lnTo>
                  <a:pt x="117" y="203"/>
                </a:lnTo>
                <a:lnTo>
                  <a:pt x="119" y="204"/>
                </a:lnTo>
                <a:lnTo>
                  <a:pt x="117" y="204"/>
                </a:lnTo>
                <a:lnTo>
                  <a:pt x="115" y="203"/>
                </a:lnTo>
                <a:close/>
                <a:moveTo>
                  <a:pt x="120" y="203"/>
                </a:moveTo>
                <a:lnTo>
                  <a:pt x="122" y="203"/>
                </a:lnTo>
                <a:lnTo>
                  <a:pt x="122" y="204"/>
                </a:lnTo>
                <a:lnTo>
                  <a:pt x="120" y="204"/>
                </a:lnTo>
                <a:lnTo>
                  <a:pt x="120" y="203"/>
                </a:lnTo>
                <a:close/>
                <a:moveTo>
                  <a:pt x="232" y="260"/>
                </a:moveTo>
                <a:lnTo>
                  <a:pt x="234" y="260"/>
                </a:lnTo>
                <a:lnTo>
                  <a:pt x="232" y="260"/>
                </a:lnTo>
                <a:close/>
                <a:moveTo>
                  <a:pt x="181" y="264"/>
                </a:moveTo>
                <a:lnTo>
                  <a:pt x="181" y="266"/>
                </a:lnTo>
                <a:lnTo>
                  <a:pt x="181" y="264"/>
                </a:lnTo>
                <a:close/>
                <a:moveTo>
                  <a:pt x="98" y="199"/>
                </a:moveTo>
                <a:lnTo>
                  <a:pt x="102" y="199"/>
                </a:lnTo>
                <a:lnTo>
                  <a:pt x="100" y="201"/>
                </a:lnTo>
                <a:lnTo>
                  <a:pt x="98" y="199"/>
                </a:lnTo>
                <a:close/>
                <a:moveTo>
                  <a:pt x="44" y="131"/>
                </a:moveTo>
                <a:lnTo>
                  <a:pt x="44" y="133"/>
                </a:lnTo>
                <a:lnTo>
                  <a:pt x="44" y="131"/>
                </a:lnTo>
                <a:close/>
                <a:moveTo>
                  <a:pt x="124" y="199"/>
                </a:moveTo>
                <a:lnTo>
                  <a:pt x="124" y="201"/>
                </a:lnTo>
                <a:lnTo>
                  <a:pt x="124" y="199"/>
                </a:lnTo>
                <a:close/>
                <a:moveTo>
                  <a:pt x="243" y="264"/>
                </a:moveTo>
                <a:lnTo>
                  <a:pt x="244" y="264"/>
                </a:lnTo>
                <a:lnTo>
                  <a:pt x="244" y="266"/>
                </a:lnTo>
                <a:lnTo>
                  <a:pt x="243" y="266"/>
                </a:lnTo>
                <a:lnTo>
                  <a:pt x="243" y="264"/>
                </a:lnTo>
                <a:close/>
                <a:moveTo>
                  <a:pt x="91" y="187"/>
                </a:moveTo>
                <a:lnTo>
                  <a:pt x="93" y="187"/>
                </a:lnTo>
                <a:lnTo>
                  <a:pt x="93" y="189"/>
                </a:lnTo>
                <a:lnTo>
                  <a:pt x="91" y="189"/>
                </a:lnTo>
                <a:lnTo>
                  <a:pt x="91" y="187"/>
                </a:lnTo>
                <a:close/>
                <a:moveTo>
                  <a:pt x="76" y="172"/>
                </a:moveTo>
                <a:lnTo>
                  <a:pt x="78" y="172"/>
                </a:lnTo>
                <a:lnTo>
                  <a:pt x="76" y="174"/>
                </a:lnTo>
                <a:lnTo>
                  <a:pt x="76" y="172"/>
                </a:lnTo>
                <a:close/>
                <a:moveTo>
                  <a:pt x="108" y="204"/>
                </a:moveTo>
                <a:lnTo>
                  <a:pt x="110" y="204"/>
                </a:lnTo>
                <a:lnTo>
                  <a:pt x="108" y="204"/>
                </a:lnTo>
                <a:lnTo>
                  <a:pt x="107" y="203"/>
                </a:lnTo>
                <a:lnTo>
                  <a:pt x="108" y="204"/>
                </a:lnTo>
                <a:close/>
                <a:moveTo>
                  <a:pt x="96" y="187"/>
                </a:moveTo>
                <a:lnTo>
                  <a:pt x="98" y="187"/>
                </a:lnTo>
                <a:lnTo>
                  <a:pt x="98" y="189"/>
                </a:lnTo>
                <a:lnTo>
                  <a:pt x="96" y="189"/>
                </a:lnTo>
                <a:lnTo>
                  <a:pt x="96" y="187"/>
                </a:lnTo>
                <a:close/>
                <a:moveTo>
                  <a:pt x="44" y="145"/>
                </a:moveTo>
                <a:lnTo>
                  <a:pt x="45" y="145"/>
                </a:lnTo>
                <a:lnTo>
                  <a:pt x="45" y="147"/>
                </a:lnTo>
                <a:lnTo>
                  <a:pt x="44" y="147"/>
                </a:lnTo>
                <a:lnTo>
                  <a:pt x="44" y="145"/>
                </a:lnTo>
                <a:close/>
                <a:moveTo>
                  <a:pt x="73" y="158"/>
                </a:moveTo>
                <a:lnTo>
                  <a:pt x="73" y="157"/>
                </a:lnTo>
                <a:lnTo>
                  <a:pt x="73" y="158"/>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84" name="Freeform 59">
            <a:extLst>
              <a:ext uri="{FF2B5EF4-FFF2-40B4-BE49-F238E27FC236}">
                <a16:creationId xmlns:a16="http://schemas.microsoft.com/office/drawing/2014/main" id="{D33B47CB-EA2F-4B5F-92E9-C35256BA7EA4}"/>
              </a:ext>
            </a:extLst>
          </p:cNvPr>
          <p:cNvSpPr>
            <a:spLocks/>
          </p:cNvSpPr>
          <p:nvPr/>
        </p:nvSpPr>
        <p:spPr bwMode="gray">
          <a:xfrm>
            <a:off x="4368023" y="3480280"/>
            <a:ext cx="1278013" cy="984645"/>
          </a:xfrm>
          <a:custGeom>
            <a:avLst/>
            <a:gdLst>
              <a:gd name="T0" fmla="*/ 415 w 469"/>
              <a:gd name="T1" fmla="*/ 184 h 345"/>
              <a:gd name="T2" fmla="*/ 430 w 469"/>
              <a:gd name="T3" fmla="*/ 173 h 345"/>
              <a:gd name="T4" fmla="*/ 454 w 469"/>
              <a:gd name="T5" fmla="*/ 160 h 345"/>
              <a:gd name="T6" fmla="*/ 469 w 469"/>
              <a:gd name="T7" fmla="*/ 175 h 345"/>
              <a:gd name="T8" fmla="*/ 469 w 469"/>
              <a:gd name="T9" fmla="*/ 201 h 345"/>
              <a:gd name="T10" fmla="*/ 454 w 469"/>
              <a:gd name="T11" fmla="*/ 206 h 345"/>
              <a:gd name="T12" fmla="*/ 440 w 469"/>
              <a:gd name="T13" fmla="*/ 226 h 345"/>
              <a:gd name="T14" fmla="*/ 432 w 469"/>
              <a:gd name="T15" fmla="*/ 247 h 345"/>
              <a:gd name="T16" fmla="*/ 437 w 469"/>
              <a:gd name="T17" fmla="*/ 258 h 345"/>
              <a:gd name="T18" fmla="*/ 439 w 469"/>
              <a:gd name="T19" fmla="*/ 275 h 345"/>
              <a:gd name="T20" fmla="*/ 433 w 469"/>
              <a:gd name="T21" fmla="*/ 289 h 345"/>
              <a:gd name="T22" fmla="*/ 406 w 469"/>
              <a:gd name="T23" fmla="*/ 281 h 345"/>
              <a:gd name="T24" fmla="*/ 388 w 469"/>
              <a:gd name="T25" fmla="*/ 281 h 345"/>
              <a:gd name="T26" fmla="*/ 359 w 469"/>
              <a:gd name="T27" fmla="*/ 279 h 345"/>
              <a:gd name="T28" fmla="*/ 333 w 469"/>
              <a:gd name="T29" fmla="*/ 291 h 345"/>
              <a:gd name="T30" fmla="*/ 313 w 469"/>
              <a:gd name="T31" fmla="*/ 303 h 345"/>
              <a:gd name="T32" fmla="*/ 296 w 469"/>
              <a:gd name="T33" fmla="*/ 326 h 345"/>
              <a:gd name="T34" fmla="*/ 265 w 469"/>
              <a:gd name="T35" fmla="*/ 332 h 345"/>
              <a:gd name="T36" fmla="*/ 236 w 469"/>
              <a:gd name="T37" fmla="*/ 333 h 345"/>
              <a:gd name="T38" fmla="*/ 209 w 469"/>
              <a:gd name="T39" fmla="*/ 340 h 345"/>
              <a:gd name="T40" fmla="*/ 173 w 469"/>
              <a:gd name="T41" fmla="*/ 338 h 345"/>
              <a:gd name="T42" fmla="*/ 153 w 469"/>
              <a:gd name="T43" fmla="*/ 335 h 345"/>
              <a:gd name="T44" fmla="*/ 141 w 469"/>
              <a:gd name="T45" fmla="*/ 320 h 345"/>
              <a:gd name="T46" fmla="*/ 131 w 469"/>
              <a:gd name="T47" fmla="*/ 299 h 345"/>
              <a:gd name="T48" fmla="*/ 127 w 469"/>
              <a:gd name="T49" fmla="*/ 289 h 345"/>
              <a:gd name="T50" fmla="*/ 110 w 469"/>
              <a:gd name="T51" fmla="*/ 306 h 345"/>
              <a:gd name="T52" fmla="*/ 88 w 469"/>
              <a:gd name="T53" fmla="*/ 296 h 345"/>
              <a:gd name="T54" fmla="*/ 66 w 469"/>
              <a:gd name="T55" fmla="*/ 287 h 345"/>
              <a:gd name="T56" fmla="*/ 68 w 469"/>
              <a:gd name="T57" fmla="*/ 272 h 345"/>
              <a:gd name="T58" fmla="*/ 58 w 469"/>
              <a:gd name="T59" fmla="*/ 258 h 345"/>
              <a:gd name="T60" fmla="*/ 37 w 469"/>
              <a:gd name="T61" fmla="*/ 248 h 345"/>
              <a:gd name="T62" fmla="*/ 31 w 469"/>
              <a:gd name="T63" fmla="*/ 228 h 345"/>
              <a:gd name="T64" fmla="*/ 14 w 469"/>
              <a:gd name="T65" fmla="*/ 218 h 345"/>
              <a:gd name="T66" fmla="*/ 5 w 469"/>
              <a:gd name="T67" fmla="*/ 202 h 345"/>
              <a:gd name="T68" fmla="*/ 24 w 469"/>
              <a:gd name="T69" fmla="*/ 196 h 345"/>
              <a:gd name="T70" fmla="*/ 42 w 469"/>
              <a:gd name="T71" fmla="*/ 185 h 345"/>
              <a:gd name="T72" fmla="*/ 44 w 469"/>
              <a:gd name="T73" fmla="*/ 165 h 345"/>
              <a:gd name="T74" fmla="*/ 56 w 469"/>
              <a:gd name="T75" fmla="*/ 144 h 345"/>
              <a:gd name="T76" fmla="*/ 63 w 469"/>
              <a:gd name="T77" fmla="*/ 124 h 345"/>
              <a:gd name="T78" fmla="*/ 70 w 469"/>
              <a:gd name="T79" fmla="*/ 100 h 345"/>
              <a:gd name="T80" fmla="*/ 80 w 469"/>
              <a:gd name="T81" fmla="*/ 76 h 345"/>
              <a:gd name="T82" fmla="*/ 100 w 469"/>
              <a:gd name="T83" fmla="*/ 63 h 345"/>
              <a:gd name="T84" fmla="*/ 114 w 469"/>
              <a:gd name="T85" fmla="*/ 44 h 345"/>
              <a:gd name="T86" fmla="*/ 134 w 469"/>
              <a:gd name="T87" fmla="*/ 49 h 345"/>
              <a:gd name="T88" fmla="*/ 158 w 469"/>
              <a:gd name="T89" fmla="*/ 48 h 345"/>
              <a:gd name="T90" fmla="*/ 178 w 469"/>
              <a:gd name="T91" fmla="*/ 42 h 345"/>
              <a:gd name="T92" fmla="*/ 202 w 469"/>
              <a:gd name="T93" fmla="*/ 54 h 345"/>
              <a:gd name="T94" fmla="*/ 219 w 469"/>
              <a:gd name="T95" fmla="*/ 37 h 345"/>
              <a:gd name="T96" fmla="*/ 245 w 469"/>
              <a:gd name="T97" fmla="*/ 29 h 345"/>
              <a:gd name="T98" fmla="*/ 263 w 469"/>
              <a:gd name="T99" fmla="*/ 8 h 345"/>
              <a:gd name="T100" fmla="*/ 277 w 469"/>
              <a:gd name="T101" fmla="*/ 2 h 345"/>
              <a:gd name="T102" fmla="*/ 289 w 469"/>
              <a:gd name="T103" fmla="*/ 7 h 345"/>
              <a:gd name="T104" fmla="*/ 301 w 469"/>
              <a:gd name="T105" fmla="*/ 17 h 345"/>
              <a:gd name="T106" fmla="*/ 308 w 469"/>
              <a:gd name="T107" fmla="*/ 32 h 345"/>
              <a:gd name="T108" fmla="*/ 325 w 469"/>
              <a:gd name="T109" fmla="*/ 44 h 345"/>
              <a:gd name="T110" fmla="*/ 337 w 469"/>
              <a:gd name="T111" fmla="*/ 54 h 345"/>
              <a:gd name="T112" fmla="*/ 352 w 469"/>
              <a:gd name="T113" fmla="*/ 68 h 345"/>
              <a:gd name="T114" fmla="*/ 362 w 469"/>
              <a:gd name="T115" fmla="*/ 82 h 345"/>
              <a:gd name="T116" fmla="*/ 374 w 469"/>
              <a:gd name="T117" fmla="*/ 100 h 345"/>
              <a:gd name="T118" fmla="*/ 374 w 469"/>
              <a:gd name="T119" fmla="*/ 117 h 345"/>
              <a:gd name="T120" fmla="*/ 376 w 469"/>
              <a:gd name="T121" fmla="*/ 134 h 345"/>
              <a:gd name="T122" fmla="*/ 384 w 469"/>
              <a:gd name="T123" fmla="*/ 158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9" h="345">
                <a:moveTo>
                  <a:pt x="391" y="173"/>
                </a:moveTo>
                <a:lnTo>
                  <a:pt x="394" y="173"/>
                </a:lnTo>
                <a:lnTo>
                  <a:pt x="394" y="175"/>
                </a:lnTo>
                <a:lnTo>
                  <a:pt x="396" y="175"/>
                </a:lnTo>
                <a:lnTo>
                  <a:pt x="396" y="177"/>
                </a:lnTo>
                <a:lnTo>
                  <a:pt x="398" y="178"/>
                </a:lnTo>
                <a:lnTo>
                  <a:pt x="399" y="180"/>
                </a:lnTo>
                <a:lnTo>
                  <a:pt x="401" y="182"/>
                </a:lnTo>
                <a:lnTo>
                  <a:pt x="403" y="182"/>
                </a:lnTo>
                <a:lnTo>
                  <a:pt x="406" y="184"/>
                </a:lnTo>
                <a:lnTo>
                  <a:pt x="410" y="184"/>
                </a:lnTo>
                <a:lnTo>
                  <a:pt x="411" y="184"/>
                </a:lnTo>
                <a:lnTo>
                  <a:pt x="413" y="184"/>
                </a:lnTo>
                <a:lnTo>
                  <a:pt x="415" y="184"/>
                </a:lnTo>
                <a:lnTo>
                  <a:pt x="418" y="184"/>
                </a:lnTo>
                <a:lnTo>
                  <a:pt x="420" y="184"/>
                </a:lnTo>
                <a:lnTo>
                  <a:pt x="422" y="184"/>
                </a:lnTo>
                <a:lnTo>
                  <a:pt x="423" y="182"/>
                </a:lnTo>
                <a:lnTo>
                  <a:pt x="422" y="180"/>
                </a:lnTo>
                <a:lnTo>
                  <a:pt x="420" y="178"/>
                </a:lnTo>
                <a:lnTo>
                  <a:pt x="422" y="177"/>
                </a:lnTo>
                <a:lnTo>
                  <a:pt x="422" y="175"/>
                </a:lnTo>
                <a:lnTo>
                  <a:pt x="423" y="175"/>
                </a:lnTo>
                <a:lnTo>
                  <a:pt x="425" y="175"/>
                </a:lnTo>
                <a:lnTo>
                  <a:pt x="428" y="177"/>
                </a:lnTo>
                <a:lnTo>
                  <a:pt x="430" y="177"/>
                </a:lnTo>
                <a:lnTo>
                  <a:pt x="430" y="175"/>
                </a:lnTo>
                <a:lnTo>
                  <a:pt x="430" y="173"/>
                </a:lnTo>
                <a:lnTo>
                  <a:pt x="432" y="172"/>
                </a:lnTo>
                <a:lnTo>
                  <a:pt x="433" y="170"/>
                </a:lnTo>
                <a:lnTo>
                  <a:pt x="435" y="168"/>
                </a:lnTo>
                <a:lnTo>
                  <a:pt x="437" y="168"/>
                </a:lnTo>
                <a:lnTo>
                  <a:pt x="439" y="167"/>
                </a:lnTo>
                <a:lnTo>
                  <a:pt x="439" y="165"/>
                </a:lnTo>
                <a:lnTo>
                  <a:pt x="440" y="163"/>
                </a:lnTo>
                <a:lnTo>
                  <a:pt x="444" y="163"/>
                </a:lnTo>
                <a:lnTo>
                  <a:pt x="445" y="161"/>
                </a:lnTo>
                <a:lnTo>
                  <a:pt x="447" y="161"/>
                </a:lnTo>
                <a:lnTo>
                  <a:pt x="449" y="160"/>
                </a:lnTo>
                <a:lnTo>
                  <a:pt x="450" y="160"/>
                </a:lnTo>
                <a:lnTo>
                  <a:pt x="452" y="160"/>
                </a:lnTo>
                <a:lnTo>
                  <a:pt x="454" y="160"/>
                </a:lnTo>
                <a:lnTo>
                  <a:pt x="456" y="160"/>
                </a:lnTo>
                <a:lnTo>
                  <a:pt x="459" y="161"/>
                </a:lnTo>
                <a:lnTo>
                  <a:pt x="461" y="163"/>
                </a:lnTo>
                <a:lnTo>
                  <a:pt x="462" y="163"/>
                </a:lnTo>
                <a:lnTo>
                  <a:pt x="464" y="165"/>
                </a:lnTo>
                <a:lnTo>
                  <a:pt x="464" y="168"/>
                </a:lnTo>
                <a:lnTo>
                  <a:pt x="464" y="170"/>
                </a:lnTo>
                <a:lnTo>
                  <a:pt x="466" y="172"/>
                </a:lnTo>
                <a:lnTo>
                  <a:pt x="464" y="172"/>
                </a:lnTo>
                <a:lnTo>
                  <a:pt x="464" y="175"/>
                </a:lnTo>
                <a:lnTo>
                  <a:pt x="466" y="175"/>
                </a:lnTo>
                <a:lnTo>
                  <a:pt x="466" y="177"/>
                </a:lnTo>
                <a:lnTo>
                  <a:pt x="467" y="175"/>
                </a:lnTo>
                <a:lnTo>
                  <a:pt x="469" y="175"/>
                </a:lnTo>
                <a:lnTo>
                  <a:pt x="467" y="177"/>
                </a:lnTo>
                <a:lnTo>
                  <a:pt x="467" y="178"/>
                </a:lnTo>
                <a:lnTo>
                  <a:pt x="467" y="180"/>
                </a:lnTo>
                <a:lnTo>
                  <a:pt x="467" y="184"/>
                </a:lnTo>
                <a:lnTo>
                  <a:pt x="467" y="187"/>
                </a:lnTo>
                <a:lnTo>
                  <a:pt x="469" y="187"/>
                </a:lnTo>
                <a:lnTo>
                  <a:pt x="469" y="190"/>
                </a:lnTo>
                <a:lnTo>
                  <a:pt x="469" y="192"/>
                </a:lnTo>
                <a:lnTo>
                  <a:pt x="469" y="196"/>
                </a:lnTo>
                <a:lnTo>
                  <a:pt x="469" y="197"/>
                </a:lnTo>
                <a:lnTo>
                  <a:pt x="469" y="196"/>
                </a:lnTo>
                <a:lnTo>
                  <a:pt x="469" y="197"/>
                </a:lnTo>
                <a:lnTo>
                  <a:pt x="469" y="199"/>
                </a:lnTo>
                <a:lnTo>
                  <a:pt x="469" y="201"/>
                </a:lnTo>
                <a:lnTo>
                  <a:pt x="467" y="202"/>
                </a:lnTo>
                <a:lnTo>
                  <a:pt x="466" y="204"/>
                </a:lnTo>
                <a:lnTo>
                  <a:pt x="467" y="202"/>
                </a:lnTo>
                <a:lnTo>
                  <a:pt x="469" y="201"/>
                </a:lnTo>
                <a:lnTo>
                  <a:pt x="469" y="197"/>
                </a:lnTo>
                <a:lnTo>
                  <a:pt x="467" y="199"/>
                </a:lnTo>
                <a:lnTo>
                  <a:pt x="467" y="201"/>
                </a:lnTo>
                <a:lnTo>
                  <a:pt x="466" y="201"/>
                </a:lnTo>
                <a:lnTo>
                  <a:pt x="464" y="202"/>
                </a:lnTo>
                <a:lnTo>
                  <a:pt x="462" y="202"/>
                </a:lnTo>
                <a:lnTo>
                  <a:pt x="459" y="204"/>
                </a:lnTo>
                <a:lnTo>
                  <a:pt x="457" y="204"/>
                </a:lnTo>
                <a:lnTo>
                  <a:pt x="456" y="204"/>
                </a:lnTo>
                <a:lnTo>
                  <a:pt x="454" y="206"/>
                </a:lnTo>
                <a:lnTo>
                  <a:pt x="452" y="206"/>
                </a:lnTo>
                <a:lnTo>
                  <a:pt x="450" y="207"/>
                </a:lnTo>
                <a:lnTo>
                  <a:pt x="449" y="209"/>
                </a:lnTo>
                <a:lnTo>
                  <a:pt x="447" y="209"/>
                </a:lnTo>
                <a:lnTo>
                  <a:pt x="445" y="211"/>
                </a:lnTo>
                <a:lnTo>
                  <a:pt x="445" y="213"/>
                </a:lnTo>
                <a:lnTo>
                  <a:pt x="444" y="214"/>
                </a:lnTo>
                <a:lnTo>
                  <a:pt x="444" y="218"/>
                </a:lnTo>
                <a:lnTo>
                  <a:pt x="442" y="219"/>
                </a:lnTo>
                <a:lnTo>
                  <a:pt x="442" y="221"/>
                </a:lnTo>
                <a:lnTo>
                  <a:pt x="442" y="223"/>
                </a:lnTo>
                <a:lnTo>
                  <a:pt x="442" y="224"/>
                </a:lnTo>
                <a:lnTo>
                  <a:pt x="440" y="224"/>
                </a:lnTo>
                <a:lnTo>
                  <a:pt x="440" y="226"/>
                </a:lnTo>
                <a:lnTo>
                  <a:pt x="440" y="228"/>
                </a:lnTo>
                <a:lnTo>
                  <a:pt x="440" y="231"/>
                </a:lnTo>
                <a:lnTo>
                  <a:pt x="439" y="233"/>
                </a:lnTo>
                <a:lnTo>
                  <a:pt x="439" y="235"/>
                </a:lnTo>
                <a:lnTo>
                  <a:pt x="437" y="236"/>
                </a:lnTo>
                <a:lnTo>
                  <a:pt x="437" y="238"/>
                </a:lnTo>
                <a:lnTo>
                  <a:pt x="435" y="240"/>
                </a:lnTo>
                <a:lnTo>
                  <a:pt x="435" y="241"/>
                </a:lnTo>
                <a:lnTo>
                  <a:pt x="435" y="245"/>
                </a:lnTo>
                <a:lnTo>
                  <a:pt x="435" y="247"/>
                </a:lnTo>
                <a:lnTo>
                  <a:pt x="433" y="245"/>
                </a:lnTo>
                <a:lnTo>
                  <a:pt x="433" y="247"/>
                </a:lnTo>
                <a:lnTo>
                  <a:pt x="435" y="245"/>
                </a:lnTo>
                <a:lnTo>
                  <a:pt x="432" y="247"/>
                </a:lnTo>
                <a:lnTo>
                  <a:pt x="432" y="250"/>
                </a:lnTo>
                <a:lnTo>
                  <a:pt x="433" y="252"/>
                </a:lnTo>
                <a:lnTo>
                  <a:pt x="435" y="253"/>
                </a:lnTo>
                <a:lnTo>
                  <a:pt x="435" y="255"/>
                </a:lnTo>
                <a:lnTo>
                  <a:pt x="437" y="257"/>
                </a:lnTo>
                <a:lnTo>
                  <a:pt x="437" y="258"/>
                </a:lnTo>
                <a:lnTo>
                  <a:pt x="440" y="260"/>
                </a:lnTo>
                <a:lnTo>
                  <a:pt x="437" y="258"/>
                </a:lnTo>
                <a:lnTo>
                  <a:pt x="437" y="257"/>
                </a:lnTo>
                <a:lnTo>
                  <a:pt x="435" y="257"/>
                </a:lnTo>
                <a:lnTo>
                  <a:pt x="435" y="258"/>
                </a:lnTo>
                <a:lnTo>
                  <a:pt x="437" y="258"/>
                </a:lnTo>
                <a:lnTo>
                  <a:pt x="435" y="258"/>
                </a:lnTo>
                <a:lnTo>
                  <a:pt x="437" y="258"/>
                </a:lnTo>
                <a:lnTo>
                  <a:pt x="439" y="260"/>
                </a:lnTo>
                <a:lnTo>
                  <a:pt x="437" y="260"/>
                </a:lnTo>
                <a:lnTo>
                  <a:pt x="437" y="258"/>
                </a:lnTo>
                <a:lnTo>
                  <a:pt x="437" y="260"/>
                </a:lnTo>
                <a:lnTo>
                  <a:pt x="437" y="262"/>
                </a:lnTo>
                <a:lnTo>
                  <a:pt x="437" y="260"/>
                </a:lnTo>
                <a:lnTo>
                  <a:pt x="439" y="262"/>
                </a:lnTo>
                <a:lnTo>
                  <a:pt x="437" y="264"/>
                </a:lnTo>
                <a:lnTo>
                  <a:pt x="437" y="265"/>
                </a:lnTo>
                <a:lnTo>
                  <a:pt x="439" y="265"/>
                </a:lnTo>
                <a:lnTo>
                  <a:pt x="440" y="269"/>
                </a:lnTo>
                <a:lnTo>
                  <a:pt x="439" y="272"/>
                </a:lnTo>
                <a:lnTo>
                  <a:pt x="439" y="274"/>
                </a:lnTo>
                <a:lnTo>
                  <a:pt x="439" y="275"/>
                </a:lnTo>
                <a:lnTo>
                  <a:pt x="439" y="277"/>
                </a:lnTo>
                <a:lnTo>
                  <a:pt x="439" y="279"/>
                </a:lnTo>
                <a:lnTo>
                  <a:pt x="439" y="281"/>
                </a:lnTo>
                <a:lnTo>
                  <a:pt x="440" y="282"/>
                </a:lnTo>
                <a:lnTo>
                  <a:pt x="439" y="282"/>
                </a:lnTo>
                <a:lnTo>
                  <a:pt x="439" y="284"/>
                </a:lnTo>
                <a:lnTo>
                  <a:pt x="440" y="282"/>
                </a:lnTo>
                <a:lnTo>
                  <a:pt x="439" y="284"/>
                </a:lnTo>
                <a:lnTo>
                  <a:pt x="439" y="286"/>
                </a:lnTo>
                <a:lnTo>
                  <a:pt x="440" y="287"/>
                </a:lnTo>
                <a:lnTo>
                  <a:pt x="439" y="287"/>
                </a:lnTo>
                <a:lnTo>
                  <a:pt x="437" y="287"/>
                </a:lnTo>
                <a:lnTo>
                  <a:pt x="435" y="289"/>
                </a:lnTo>
                <a:lnTo>
                  <a:pt x="433" y="289"/>
                </a:lnTo>
                <a:lnTo>
                  <a:pt x="432" y="289"/>
                </a:lnTo>
                <a:lnTo>
                  <a:pt x="430" y="289"/>
                </a:lnTo>
                <a:lnTo>
                  <a:pt x="428" y="289"/>
                </a:lnTo>
                <a:lnTo>
                  <a:pt x="427" y="289"/>
                </a:lnTo>
                <a:lnTo>
                  <a:pt x="423" y="289"/>
                </a:lnTo>
                <a:lnTo>
                  <a:pt x="423" y="291"/>
                </a:lnTo>
                <a:lnTo>
                  <a:pt x="420" y="289"/>
                </a:lnTo>
                <a:lnTo>
                  <a:pt x="418" y="289"/>
                </a:lnTo>
                <a:lnTo>
                  <a:pt x="416" y="289"/>
                </a:lnTo>
                <a:lnTo>
                  <a:pt x="413" y="287"/>
                </a:lnTo>
                <a:lnTo>
                  <a:pt x="410" y="287"/>
                </a:lnTo>
                <a:lnTo>
                  <a:pt x="408" y="286"/>
                </a:lnTo>
                <a:lnTo>
                  <a:pt x="408" y="284"/>
                </a:lnTo>
                <a:lnTo>
                  <a:pt x="406" y="281"/>
                </a:lnTo>
                <a:lnTo>
                  <a:pt x="405" y="281"/>
                </a:lnTo>
                <a:lnTo>
                  <a:pt x="405" y="279"/>
                </a:lnTo>
                <a:lnTo>
                  <a:pt x="403" y="277"/>
                </a:lnTo>
                <a:lnTo>
                  <a:pt x="401" y="279"/>
                </a:lnTo>
                <a:lnTo>
                  <a:pt x="399" y="281"/>
                </a:lnTo>
                <a:lnTo>
                  <a:pt x="396" y="282"/>
                </a:lnTo>
                <a:lnTo>
                  <a:pt x="394" y="282"/>
                </a:lnTo>
                <a:lnTo>
                  <a:pt x="393" y="282"/>
                </a:lnTo>
                <a:lnTo>
                  <a:pt x="393" y="281"/>
                </a:lnTo>
                <a:lnTo>
                  <a:pt x="391" y="281"/>
                </a:lnTo>
                <a:lnTo>
                  <a:pt x="391" y="279"/>
                </a:lnTo>
                <a:lnTo>
                  <a:pt x="389" y="279"/>
                </a:lnTo>
                <a:lnTo>
                  <a:pt x="388" y="277"/>
                </a:lnTo>
                <a:lnTo>
                  <a:pt x="388" y="281"/>
                </a:lnTo>
                <a:lnTo>
                  <a:pt x="384" y="281"/>
                </a:lnTo>
                <a:lnTo>
                  <a:pt x="381" y="281"/>
                </a:lnTo>
                <a:lnTo>
                  <a:pt x="381" y="282"/>
                </a:lnTo>
                <a:lnTo>
                  <a:pt x="379" y="282"/>
                </a:lnTo>
                <a:lnTo>
                  <a:pt x="377" y="282"/>
                </a:lnTo>
                <a:lnTo>
                  <a:pt x="376" y="282"/>
                </a:lnTo>
                <a:lnTo>
                  <a:pt x="374" y="281"/>
                </a:lnTo>
                <a:lnTo>
                  <a:pt x="372" y="281"/>
                </a:lnTo>
                <a:lnTo>
                  <a:pt x="371" y="281"/>
                </a:lnTo>
                <a:lnTo>
                  <a:pt x="369" y="277"/>
                </a:lnTo>
                <a:lnTo>
                  <a:pt x="365" y="279"/>
                </a:lnTo>
                <a:lnTo>
                  <a:pt x="364" y="279"/>
                </a:lnTo>
                <a:lnTo>
                  <a:pt x="362" y="277"/>
                </a:lnTo>
                <a:lnTo>
                  <a:pt x="359" y="279"/>
                </a:lnTo>
                <a:lnTo>
                  <a:pt x="357" y="279"/>
                </a:lnTo>
                <a:lnTo>
                  <a:pt x="355" y="279"/>
                </a:lnTo>
                <a:lnTo>
                  <a:pt x="354" y="281"/>
                </a:lnTo>
                <a:lnTo>
                  <a:pt x="350" y="281"/>
                </a:lnTo>
                <a:lnTo>
                  <a:pt x="350" y="282"/>
                </a:lnTo>
                <a:lnTo>
                  <a:pt x="348" y="282"/>
                </a:lnTo>
                <a:lnTo>
                  <a:pt x="347" y="284"/>
                </a:lnTo>
                <a:lnTo>
                  <a:pt x="345" y="286"/>
                </a:lnTo>
                <a:lnTo>
                  <a:pt x="342" y="287"/>
                </a:lnTo>
                <a:lnTo>
                  <a:pt x="340" y="289"/>
                </a:lnTo>
                <a:lnTo>
                  <a:pt x="337" y="289"/>
                </a:lnTo>
                <a:lnTo>
                  <a:pt x="337" y="291"/>
                </a:lnTo>
                <a:lnTo>
                  <a:pt x="335" y="291"/>
                </a:lnTo>
                <a:lnTo>
                  <a:pt x="333" y="291"/>
                </a:lnTo>
                <a:lnTo>
                  <a:pt x="331" y="291"/>
                </a:lnTo>
                <a:lnTo>
                  <a:pt x="330" y="292"/>
                </a:lnTo>
                <a:lnTo>
                  <a:pt x="328" y="292"/>
                </a:lnTo>
                <a:lnTo>
                  <a:pt x="326" y="292"/>
                </a:lnTo>
                <a:lnTo>
                  <a:pt x="323" y="294"/>
                </a:lnTo>
                <a:lnTo>
                  <a:pt x="323" y="296"/>
                </a:lnTo>
                <a:lnTo>
                  <a:pt x="323" y="294"/>
                </a:lnTo>
                <a:lnTo>
                  <a:pt x="321" y="296"/>
                </a:lnTo>
                <a:lnTo>
                  <a:pt x="320" y="298"/>
                </a:lnTo>
                <a:lnTo>
                  <a:pt x="318" y="299"/>
                </a:lnTo>
                <a:lnTo>
                  <a:pt x="316" y="299"/>
                </a:lnTo>
                <a:lnTo>
                  <a:pt x="314" y="301"/>
                </a:lnTo>
                <a:lnTo>
                  <a:pt x="313" y="301"/>
                </a:lnTo>
                <a:lnTo>
                  <a:pt x="313" y="303"/>
                </a:lnTo>
                <a:lnTo>
                  <a:pt x="313" y="304"/>
                </a:lnTo>
                <a:lnTo>
                  <a:pt x="311" y="306"/>
                </a:lnTo>
                <a:lnTo>
                  <a:pt x="309" y="308"/>
                </a:lnTo>
                <a:lnTo>
                  <a:pt x="309" y="309"/>
                </a:lnTo>
                <a:lnTo>
                  <a:pt x="308" y="311"/>
                </a:lnTo>
                <a:lnTo>
                  <a:pt x="306" y="313"/>
                </a:lnTo>
                <a:lnTo>
                  <a:pt x="306" y="315"/>
                </a:lnTo>
                <a:lnTo>
                  <a:pt x="306" y="316"/>
                </a:lnTo>
                <a:lnTo>
                  <a:pt x="304" y="318"/>
                </a:lnTo>
                <a:lnTo>
                  <a:pt x="303" y="320"/>
                </a:lnTo>
                <a:lnTo>
                  <a:pt x="301" y="323"/>
                </a:lnTo>
                <a:lnTo>
                  <a:pt x="299" y="325"/>
                </a:lnTo>
                <a:lnTo>
                  <a:pt x="296" y="325"/>
                </a:lnTo>
                <a:lnTo>
                  <a:pt x="296" y="326"/>
                </a:lnTo>
                <a:lnTo>
                  <a:pt x="294" y="328"/>
                </a:lnTo>
                <a:lnTo>
                  <a:pt x="291" y="330"/>
                </a:lnTo>
                <a:lnTo>
                  <a:pt x="289" y="330"/>
                </a:lnTo>
                <a:lnTo>
                  <a:pt x="287" y="332"/>
                </a:lnTo>
                <a:lnTo>
                  <a:pt x="286" y="332"/>
                </a:lnTo>
                <a:lnTo>
                  <a:pt x="284" y="333"/>
                </a:lnTo>
                <a:lnTo>
                  <a:pt x="280" y="333"/>
                </a:lnTo>
                <a:lnTo>
                  <a:pt x="277" y="332"/>
                </a:lnTo>
                <a:lnTo>
                  <a:pt x="275" y="330"/>
                </a:lnTo>
                <a:lnTo>
                  <a:pt x="274" y="330"/>
                </a:lnTo>
                <a:lnTo>
                  <a:pt x="272" y="330"/>
                </a:lnTo>
                <a:lnTo>
                  <a:pt x="270" y="330"/>
                </a:lnTo>
                <a:lnTo>
                  <a:pt x="269" y="332"/>
                </a:lnTo>
                <a:lnTo>
                  <a:pt x="265" y="332"/>
                </a:lnTo>
                <a:lnTo>
                  <a:pt x="263" y="332"/>
                </a:lnTo>
                <a:lnTo>
                  <a:pt x="263" y="330"/>
                </a:lnTo>
                <a:lnTo>
                  <a:pt x="260" y="330"/>
                </a:lnTo>
                <a:lnTo>
                  <a:pt x="258" y="332"/>
                </a:lnTo>
                <a:lnTo>
                  <a:pt x="257" y="333"/>
                </a:lnTo>
                <a:lnTo>
                  <a:pt x="253" y="333"/>
                </a:lnTo>
                <a:lnTo>
                  <a:pt x="252" y="333"/>
                </a:lnTo>
                <a:lnTo>
                  <a:pt x="250" y="335"/>
                </a:lnTo>
                <a:lnTo>
                  <a:pt x="248" y="335"/>
                </a:lnTo>
                <a:lnTo>
                  <a:pt x="246" y="335"/>
                </a:lnTo>
                <a:lnTo>
                  <a:pt x="243" y="333"/>
                </a:lnTo>
                <a:lnTo>
                  <a:pt x="241" y="333"/>
                </a:lnTo>
                <a:lnTo>
                  <a:pt x="238" y="333"/>
                </a:lnTo>
                <a:lnTo>
                  <a:pt x="236" y="333"/>
                </a:lnTo>
                <a:lnTo>
                  <a:pt x="235" y="335"/>
                </a:lnTo>
                <a:lnTo>
                  <a:pt x="233" y="335"/>
                </a:lnTo>
                <a:lnTo>
                  <a:pt x="231" y="337"/>
                </a:lnTo>
                <a:lnTo>
                  <a:pt x="229" y="338"/>
                </a:lnTo>
                <a:lnTo>
                  <a:pt x="228" y="338"/>
                </a:lnTo>
                <a:lnTo>
                  <a:pt x="226" y="340"/>
                </a:lnTo>
                <a:lnTo>
                  <a:pt x="224" y="340"/>
                </a:lnTo>
                <a:lnTo>
                  <a:pt x="221" y="342"/>
                </a:lnTo>
                <a:lnTo>
                  <a:pt x="219" y="342"/>
                </a:lnTo>
                <a:lnTo>
                  <a:pt x="218" y="342"/>
                </a:lnTo>
                <a:lnTo>
                  <a:pt x="216" y="340"/>
                </a:lnTo>
                <a:lnTo>
                  <a:pt x="212" y="340"/>
                </a:lnTo>
                <a:lnTo>
                  <a:pt x="211" y="340"/>
                </a:lnTo>
                <a:lnTo>
                  <a:pt x="209" y="340"/>
                </a:lnTo>
                <a:lnTo>
                  <a:pt x="207" y="340"/>
                </a:lnTo>
                <a:lnTo>
                  <a:pt x="206" y="340"/>
                </a:lnTo>
                <a:lnTo>
                  <a:pt x="202" y="338"/>
                </a:lnTo>
                <a:lnTo>
                  <a:pt x="199" y="338"/>
                </a:lnTo>
                <a:lnTo>
                  <a:pt x="195" y="338"/>
                </a:lnTo>
                <a:lnTo>
                  <a:pt x="192" y="340"/>
                </a:lnTo>
                <a:lnTo>
                  <a:pt x="190" y="340"/>
                </a:lnTo>
                <a:lnTo>
                  <a:pt x="189" y="338"/>
                </a:lnTo>
                <a:lnTo>
                  <a:pt x="185" y="338"/>
                </a:lnTo>
                <a:lnTo>
                  <a:pt x="184" y="338"/>
                </a:lnTo>
                <a:lnTo>
                  <a:pt x="182" y="337"/>
                </a:lnTo>
                <a:lnTo>
                  <a:pt x="178" y="338"/>
                </a:lnTo>
                <a:lnTo>
                  <a:pt x="177" y="338"/>
                </a:lnTo>
                <a:lnTo>
                  <a:pt x="173" y="338"/>
                </a:lnTo>
                <a:lnTo>
                  <a:pt x="172" y="340"/>
                </a:lnTo>
                <a:lnTo>
                  <a:pt x="170" y="342"/>
                </a:lnTo>
                <a:lnTo>
                  <a:pt x="168" y="344"/>
                </a:lnTo>
                <a:lnTo>
                  <a:pt x="165" y="344"/>
                </a:lnTo>
                <a:lnTo>
                  <a:pt x="163" y="345"/>
                </a:lnTo>
                <a:lnTo>
                  <a:pt x="163" y="344"/>
                </a:lnTo>
                <a:lnTo>
                  <a:pt x="160" y="344"/>
                </a:lnTo>
                <a:lnTo>
                  <a:pt x="158" y="344"/>
                </a:lnTo>
                <a:lnTo>
                  <a:pt x="156" y="344"/>
                </a:lnTo>
                <a:lnTo>
                  <a:pt x="155" y="344"/>
                </a:lnTo>
                <a:lnTo>
                  <a:pt x="153" y="342"/>
                </a:lnTo>
                <a:lnTo>
                  <a:pt x="151" y="340"/>
                </a:lnTo>
                <a:lnTo>
                  <a:pt x="153" y="337"/>
                </a:lnTo>
                <a:lnTo>
                  <a:pt x="153" y="335"/>
                </a:lnTo>
                <a:lnTo>
                  <a:pt x="153" y="333"/>
                </a:lnTo>
                <a:lnTo>
                  <a:pt x="155" y="332"/>
                </a:lnTo>
                <a:lnTo>
                  <a:pt x="158" y="330"/>
                </a:lnTo>
                <a:lnTo>
                  <a:pt x="160" y="326"/>
                </a:lnTo>
                <a:lnTo>
                  <a:pt x="158" y="325"/>
                </a:lnTo>
                <a:lnTo>
                  <a:pt x="156" y="325"/>
                </a:lnTo>
                <a:lnTo>
                  <a:pt x="155" y="325"/>
                </a:lnTo>
                <a:lnTo>
                  <a:pt x="153" y="325"/>
                </a:lnTo>
                <a:lnTo>
                  <a:pt x="151" y="323"/>
                </a:lnTo>
                <a:lnTo>
                  <a:pt x="150" y="321"/>
                </a:lnTo>
                <a:lnTo>
                  <a:pt x="148" y="321"/>
                </a:lnTo>
                <a:lnTo>
                  <a:pt x="146" y="321"/>
                </a:lnTo>
                <a:lnTo>
                  <a:pt x="143" y="320"/>
                </a:lnTo>
                <a:lnTo>
                  <a:pt x="141" y="320"/>
                </a:lnTo>
                <a:lnTo>
                  <a:pt x="139" y="318"/>
                </a:lnTo>
                <a:lnTo>
                  <a:pt x="139" y="316"/>
                </a:lnTo>
                <a:lnTo>
                  <a:pt x="139" y="315"/>
                </a:lnTo>
                <a:lnTo>
                  <a:pt x="138" y="313"/>
                </a:lnTo>
                <a:lnTo>
                  <a:pt x="136" y="315"/>
                </a:lnTo>
                <a:lnTo>
                  <a:pt x="133" y="313"/>
                </a:lnTo>
                <a:lnTo>
                  <a:pt x="131" y="311"/>
                </a:lnTo>
                <a:lnTo>
                  <a:pt x="129" y="309"/>
                </a:lnTo>
                <a:lnTo>
                  <a:pt x="129" y="306"/>
                </a:lnTo>
                <a:lnTo>
                  <a:pt x="126" y="304"/>
                </a:lnTo>
                <a:lnTo>
                  <a:pt x="126" y="303"/>
                </a:lnTo>
                <a:lnTo>
                  <a:pt x="129" y="303"/>
                </a:lnTo>
                <a:lnTo>
                  <a:pt x="131" y="301"/>
                </a:lnTo>
                <a:lnTo>
                  <a:pt x="131" y="299"/>
                </a:lnTo>
                <a:lnTo>
                  <a:pt x="131" y="298"/>
                </a:lnTo>
                <a:lnTo>
                  <a:pt x="131" y="296"/>
                </a:lnTo>
                <a:lnTo>
                  <a:pt x="133" y="296"/>
                </a:lnTo>
                <a:lnTo>
                  <a:pt x="134" y="296"/>
                </a:lnTo>
                <a:lnTo>
                  <a:pt x="136" y="298"/>
                </a:lnTo>
                <a:lnTo>
                  <a:pt x="138" y="298"/>
                </a:lnTo>
                <a:lnTo>
                  <a:pt x="139" y="296"/>
                </a:lnTo>
                <a:lnTo>
                  <a:pt x="139" y="294"/>
                </a:lnTo>
                <a:lnTo>
                  <a:pt x="136" y="291"/>
                </a:lnTo>
                <a:lnTo>
                  <a:pt x="134" y="291"/>
                </a:lnTo>
                <a:lnTo>
                  <a:pt x="133" y="291"/>
                </a:lnTo>
                <a:lnTo>
                  <a:pt x="129" y="291"/>
                </a:lnTo>
                <a:lnTo>
                  <a:pt x="129" y="289"/>
                </a:lnTo>
                <a:lnTo>
                  <a:pt x="127" y="289"/>
                </a:lnTo>
                <a:lnTo>
                  <a:pt x="126" y="287"/>
                </a:lnTo>
                <a:lnTo>
                  <a:pt x="124" y="286"/>
                </a:lnTo>
                <a:lnTo>
                  <a:pt x="121" y="286"/>
                </a:lnTo>
                <a:lnTo>
                  <a:pt x="121" y="287"/>
                </a:lnTo>
                <a:lnTo>
                  <a:pt x="119" y="289"/>
                </a:lnTo>
                <a:lnTo>
                  <a:pt x="117" y="289"/>
                </a:lnTo>
                <a:lnTo>
                  <a:pt x="116" y="292"/>
                </a:lnTo>
                <a:lnTo>
                  <a:pt x="116" y="294"/>
                </a:lnTo>
                <a:lnTo>
                  <a:pt x="114" y="296"/>
                </a:lnTo>
                <a:lnTo>
                  <a:pt x="114" y="299"/>
                </a:lnTo>
                <a:lnTo>
                  <a:pt x="112" y="301"/>
                </a:lnTo>
                <a:lnTo>
                  <a:pt x="112" y="303"/>
                </a:lnTo>
                <a:lnTo>
                  <a:pt x="112" y="304"/>
                </a:lnTo>
                <a:lnTo>
                  <a:pt x="110" y="306"/>
                </a:lnTo>
                <a:lnTo>
                  <a:pt x="107" y="304"/>
                </a:lnTo>
                <a:lnTo>
                  <a:pt x="105" y="303"/>
                </a:lnTo>
                <a:lnTo>
                  <a:pt x="104" y="301"/>
                </a:lnTo>
                <a:lnTo>
                  <a:pt x="104" y="299"/>
                </a:lnTo>
                <a:lnTo>
                  <a:pt x="104" y="298"/>
                </a:lnTo>
                <a:lnTo>
                  <a:pt x="102" y="298"/>
                </a:lnTo>
                <a:lnTo>
                  <a:pt x="100" y="296"/>
                </a:lnTo>
                <a:lnTo>
                  <a:pt x="99" y="296"/>
                </a:lnTo>
                <a:lnTo>
                  <a:pt x="97" y="296"/>
                </a:lnTo>
                <a:lnTo>
                  <a:pt x="95" y="296"/>
                </a:lnTo>
                <a:lnTo>
                  <a:pt x="93" y="296"/>
                </a:lnTo>
                <a:lnTo>
                  <a:pt x="92" y="296"/>
                </a:lnTo>
                <a:lnTo>
                  <a:pt x="90" y="296"/>
                </a:lnTo>
                <a:lnTo>
                  <a:pt x="88" y="296"/>
                </a:lnTo>
                <a:lnTo>
                  <a:pt x="87" y="296"/>
                </a:lnTo>
                <a:lnTo>
                  <a:pt x="85" y="296"/>
                </a:lnTo>
                <a:lnTo>
                  <a:pt x="83" y="296"/>
                </a:lnTo>
                <a:lnTo>
                  <a:pt x="82" y="296"/>
                </a:lnTo>
                <a:lnTo>
                  <a:pt x="82" y="294"/>
                </a:lnTo>
                <a:lnTo>
                  <a:pt x="82" y="292"/>
                </a:lnTo>
                <a:lnTo>
                  <a:pt x="80" y="291"/>
                </a:lnTo>
                <a:lnTo>
                  <a:pt x="76" y="289"/>
                </a:lnTo>
                <a:lnTo>
                  <a:pt x="75" y="289"/>
                </a:lnTo>
                <a:lnTo>
                  <a:pt x="73" y="289"/>
                </a:lnTo>
                <a:lnTo>
                  <a:pt x="71" y="291"/>
                </a:lnTo>
                <a:lnTo>
                  <a:pt x="70" y="291"/>
                </a:lnTo>
                <a:lnTo>
                  <a:pt x="68" y="289"/>
                </a:lnTo>
                <a:lnTo>
                  <a:pt x="66" y="287"/>
                </a:lnTo>
                <a:lnTo>
                  <a:pt x="68" y="284"/>
                </a:lnTo>
                <a:lnTo>
                  <a:pt x="70" y="284"/>
                </a:lnTo>
                <a:lnTo>
                  <a:pt x="71" y="284"/>
                </a:lnTo>
                <a:lnTo>
                  <a:pt x="73" y="284"/>
                </a:lnTo>
                <a:lnTo>
                  <a:pt x="75" y="282"/>
                </a:lnTo>
                <a:lnTo>
                  <a:pt x="76" y="281"/>
                </a:lnTo>
                <a:lnTo>
                  <a:pt x="75" y="279"/>
                </a:lnTo>
                <a:lnTo>
                  <a:pt x="73" y="279"/>
                </a:lnTo>
                <a:lnTo>
                  <a:pt x="71" y="277"/>
                </a:lnTo>
                <a:lnTo>
                  <a:pt x="70" y="277"/>
                </a:lnTo>
                <a:lnTo>
                  <a:pt x="68" y="275"/>
                </a:lnTo>
                <a:lnTo>
                  <a:pt x="66" y="275"/>
                </a:lnTo>
                <a:lnTo>
                  <a:pt x="65" y="274"/>
                </a:lnTo>
                <a:lnTo>
                  <a:pt x="68" y="272"/>
                </a:lnTo>
                <a:lnTo>
                  <a:pt x="70" y="272"/>
                </a:lnTo>
                <a:lnTo>
                  <a:pt x="70" y="270"/>
                </a:lnTo>
                <a:lnTo>
                  <a:pt x="70" y="267"/>
                </a:lnTo>
                <a:lnTo>
                  <a:pt x="70" y="265"/>
                </a:lnTo>
                <a:lnTo>
                  <a:pt x="71" y="264"/>
                </a:lnTo>
                <a:lnTo>
                  <a:pt x="71" y="262"/>
                </a:lnTo>
                <a:lnTo>
                  <a:pt x="70" y="260"/>
                </a:lnTo>
                <a:lnTo>
                  <a:pt x="66" y="260"/>
                </a:lnTo>
                <a:lnTo>
                  <a:pt x="65" y="258"/>
                </a:lnTo>
                <a:lnTo>
                  <a:pt x="63" y="260"/>
                </a:lnTo>
                <a:lnTo>
                  <a:pt x="61" y="258"/>
                </a:lnTo>
                <a:lnTo>
                  <a:pt x="59" y="258"/>
                </a:lnTo>
                <a:lnTo>
                  <a:pt x="59" y="260"/>
                </a:lnTo>
                <a:lnTo>
                  <a:pt x="58" y="258"/>
                </a:lnTo>
                <a:lnTo>
                  <a:pt x="56" y="258"/>
                </a:lnTo>
                <a:lnTo>
                  <a:pt x="54" y="258"/>
                </a:lnTo>
                <a:lnTo>
                  <a:pt x="54" y="257"/>
                </a:lnTo>
                <a:lnTo>
                  <a:pt x="53" y="253"/>
                </a:lnTo>
                <a:lnTo>
                  <a:pt x="51" y="255"/>
                </a:lnTo>
                <a:lnTo>
                  <a:pt x="49" y="257"/>
                </a:lnTo>
                <a:lnTo>
                  <a:pt x="48" y="255"/>
                </a:lnTo>
                <a:lnTo>
                  <a:pt x="44" y="255"/>
                </a:lnTo>
                <a:lnTo>
                  <a:pt x="44" y="253"/>
                </a:lnTo>
                <a:lnTo>
                  <a:pt x="42" y="253"/>
                </a:lnTo>
                <a:lnTo>
                  <a:pt x="41" y="252"/>
                </a:lnTo>
                <a:lnTo>
                  <a:pt x="39" y="250"/>
                </a:lnTo>
                <a:lnTo>
                  <a:pt x="36" y="248"/>
                </a:lnTo>
                <a:lnTo>
                  <a:pt x="37" y="248"/>
                </a:lnTo>
                <a:lnTo>
                  <a:pt x="36" y="247"/>
                </a:lnTo>
                <a:lnTo>
                  <a:pt x="34" y="247"/>
                </a:lnTo>
                <a:lnTo>
                  <a:pt x="31" y="247"/>
                </a:lnTo>
                <a:lnTo>
                  <a:pt x="31" y="245"/>
                </a:lnTo>
                <a:lnTo>
                  <a:pt x="32" y="243"/>
                </a:lnTo>
                <a:lnTo>
                  <a:pt x="34" y="241"/>
                </a:lnTo>
                <a:lnTo>
                  <a:pt x="32" y="240"/>
                </a:lnTo>
                <a:lnTo>
                  <a:pt x="31" y="238"/>
                </a:lnTo>
                <a:lnTo>
                  <a:pt x="31" y="240"/>
                </a:lnTo>
                <a:lnTo>
                  <a:pt x="29" y="236"/>
                </a:lnTo>
                <a:lnTo>
                  <a:pt x="31" y="235"/>
                </a:lnTo>
                <a:lnTo>
                  <a:pt x="31" y="233"/>
                </a:lnTo>
                <a:lnTo>
                  <a:pt x="31" y="231"/>
                </a:lnTo>
                <a:lnTo>
                  <a:pt x="31" y="228"/>
                </a:lnTo>
                <a:lnTo>
                  <a:pt x="31" y="224"/>
                </a:lnTo>
                <a:lnTo>
                  <a:pt x="29" y="224"/>
                </a:lnTo>
                <a:lnTo>
                  <a:pt x="29" y="228"/>
                </a:lnTo>
                <a:lnTo>
                  <a:pt x="27" y="228"/>
                </a:lnTo>
                <a:lnTo>
                  <a:pt x="25" y="228"/>
                </a:lnTo>
                <a:lnTo>
                  <a:pt x="24" y="228"/>
                </a:lnTo>
                <a:lnTo>
                  <a:pt x="24" y="224"/>
                </a:lnTo>
                <a:lnTo>
                  <a:pt x="22" y="224"/>
                </a:lnTo>
                <a:lnTo>
                  <a:pt x="22" y="223"/>
                </a:lnTo>
                <a:lnTo>
                  <a:pt x="20" y="221"/>
                </a:lnTo>
                <a:lnTo>
                  <a:pt x="19" y="221"/>
                </a:lnTo>
                <a:lnTo>
                  <a:pt x="17" y="218"/>
                </a:lnTo>
                <a:lnTo>
                  <a:pt x="15" y="219"/>
                </a:lnTo>
                <a:lnTo>
                  <a:pt x="14" y="218"/>
                </a:lnTo>
                <a:lnTo>
                  <a:pt x="12" y="216"/>
                </a:lnTo>
                <a:lnTo>
                  <a:pt x="10" y="214"/>
                </a:lnTo>
                <a:lnTo>
                  <a:pt x="8" y="214"/>
                </a:lnTo>
                <a:lnTo>
                  <a:pt x="5" y="213"/>
                </a:lnTo>
                <a:lnTo>
                  <a:pt x="5" y="209"/>
                </a:lnTo>
                <a:lnTo>
                  <a:pt x="3" y="207"/>
                </a:lnTo>
                <a:lnTo>
                  <a:pt x="2" y="207"/>
                </a:lnTo>
                <a:lnTo>
                  <a:pt x="0" y="207"/>
                </a:lnTo>
                <a:lnTo>
                  <a:pt x="0" y="206"/>
                </a:lnTo>
                <a:lnTo>
                  <a:pt x="2" y="206"/>
                </a:lnTo>
                <a:lnTo>
                  <a:pt x="0" y="204"/>
                </a:lnTo>
                <a:lnTo>
                  <a:pt x="2" y="202"/>
                </a:lnTo>
                <a:lnTo>
                  <a:pt x="3" y="201"/>
                </a:lnTo>
                <a:lnTo>
                  <a:pt x="5" y="202"/>
                </a:lnTo>
                <a:lnTo>
                  <a:pt x="7" y="202"/>
                </a:lnTo>
                <a:lnTo>
                  <a:pt x="8" y="202"/>
                </a:lnTo>
                <a:lnTo>
                  <a:pt x="10" y="202"/>
                </a:lnTo>
                <a:lnTo>
                  <a:pt x="10" y="201"/>
                </a:lnTo>
                <a:lnTo>
                  <a:pt x="10" y="199"/>
                </a:lnTo>
                <a:lnTo>
                  <a:pt x="14" y="199"/>
                </a:lnTo>
                <a:lnTo>
                  <a:pt x="15" y="201"/>
                </a:lnTo>
                <a:lnTo>
                  <a:pt x="17" y="201"/>
                </a:lnTo>
                <a:lnTo>
                  <a:pt x="19" y="202"/>
                </a:lnTo>
                <a:lnTo>
                  <a:pt x="19" y="201"/>
                </a:lnTo>
                <a:lnTo>
                  <a:pt x="20" y="201"/>
                </a:lnTo>
                <a:lnTo>
                  <a:pt x="22" y="199"/>
                </a:lnTo>
                <a:lnTo>
                  <a:pt x="22" y="196"/>
                </a:lnTo>
                <a:lnTo>
                  <a:pt x="24" y="196"/>
                </a:lnTo>
                <a:lnTo>
                  <a:pt x="22" y="192"/>
                </a:lnTo>
                <a:lnTo>
                  <a:pt x="24" y="190"/>
                </a:lnTo>
                <a:lnTo>
                  <a:pt x="25" y="190"/>
                </a:lnTo>
                <a:lnTo>
                  <a:pt x="27" y="189"/>
                </a:lnTo>
                <a:lnTo>
                  <a:pt x="31" y="190"/>
                </a:lnTo>
                <a:lnTo>
                  <a:pt x="31" y="189"/>
                </a:lnTo>
                <a:lnTo>
                  <a:pt x="32" y="190"/>
                </a:lnTo>
                <a:lnTo>
                  <a:pt x="34" y="190"/>
                </a:lnTo>
                <a:lnTo>
                  <a:pt x="36" y="190"/>
                </a:lnTo>
                <a:lnTo>
                  <a:pt x="37" y="190"/>
                </a:lnTo>
                <a:lnTo>
                  <a:pt x="39" y="189"/>
                </a:lnTo>
                <a:lnTo>
                  <a:pt x="39" y="187"/>
                </a:lnTo>
                <a:lnTo>
                  <a:pt x="42" y="187"/>
                </a:lnTo>
                <a:lnTo>
                  <a:pt x="42" y="185"/>
                </a:lnTo>
                <a:lnTo>
                  <a:pt x="42" y="184"/>
                </a:lnTo>
                <a:lnTo>
                  <a:pt x="42" y="182"/>
                </a:lnTo>
                <a:lnTo>
                  <a:pt x="42" y="180"/>
                </a:lnTo>
                <a:lnTo>
                  <a:pt x="42" y="178"/>
                </a:lnTo>
                <a:lnTo>
                  <a:pt x="46" y="178"/>
                </a:lnTo>
                <a:lnTo>
                  <a:pt x="48" y="178"/>
                </a:lnTo>
                <a:lnTo>
                  <a:pt x="46" y="177"/>
                </a:lnTo>
                <a:lnTo>
                  <a:pt x="48" y="175"/>
                </a:lnTo>
                <a:lnTo>
                  <a:pt x="46" y="173"/>
                </a:lnTo>
                <a:lnTo>
                  <a:pt x="44" y="173"/>
                </a:lnTo>
                <a:lnTo>
                  <a:pt x="44" y="172"/>
                </a:lnTo>
                <a:lnTo>
                  <a:pt x="44" y="168"/>
                </a:lnTo>
                <a:lnTo>
                  <a:pt x="46" y="165"/>
                </a:lnTo>
                <a:lnTo>
                  <a:pt x="44" y="165"/>
                </a:lnTo>
                <a:lnTo>
                  <a:pt x="46" y="163"/>
                </a:lnTo>
                <a:lnTo>
                  <a:pt x="48" y="161"/>
                </a:lnTo>
                <a:lnTo>
                  <a:pt x="49" y="161"/>
                </a:lnTo>
                <a:lnTo>
                  <a:pt x="49" y="160"/>
                </a:lnTo>
                <a:lnTo>
                  <a:pt x="51" y="160"/>
                </a:lnTo>
                <a:lnTo>
                  <a:pt x="49" y="156"/>
                </a:lnTo>
                <a:lnTo>
                  <a:pt x="53" y="156"/>
                </a:lnTo>
                <a:lnTo>
                  <a:pt x="54" y="155"/>
                </a:lnTo>
                <a:lnTo>
                  <a:pt x="54" y="153"/>
                </a:lnTo>
                <a:lnTo>
                  <a:pt x="51" y="151"/>
                </a:lnTo>
                <a:lnTo>
                  <a:pt x="53" y="150"/>
                </a:lnTo>
                <a:lnTo>
                  <a:pt x="53" y="146"/>
                </a:lnTo>
                <a:lnTo>
                  <a:pt x="54" y="144"/>
                </a:lnTo>
                <a:lnTo>
                  <a:pt x="56" y="144"/>
                </a:lnTo>
                <a:lnTo>
                  <a:pt x="56" y="143"/>
                </a:lnTo>
                <a:lnTo>
                  <a:pt x="56" y="139"/>
                </a:lnTo>
                <a:lnTo>
                  <a:pt x="58" y="139"/>
                </a:lnTo>
                <a:lnTo>
                  <a:pt x="59" y="136"/>
                </a:lnTo>
                <a:lnTo>
                  <a:pt x="58" y="136"/>
                </a:lnTo>
                <a:lnTo>
                  <a:pt x="59" y="134"/>
                </a:lnTo>
                <a:lnTo>
                  <a:pt x="58" y="133"/>
                </a:lnTo>
                <a:lnTo>
                  <a:pt x="56" y="131"/>
                </a:lnTo>
                <a:lnTo>
                  <a:pt x="58" y="131"/>
                </a:lnTo>
                <a:lnTo>
                  <a:pt x="59" y="127"/>
                </a:lnTo>
                <a:lnTo>
                  <a:pt x="59" y="126"/>
                </a:lnTo>
                <a:lnTo>
                  <a:pt x="61" y="126"/>
                </a:lnTo>
                <a:lnTo>
                  <a:pt x="63" y="126"/>
                </a:lnTo>
                <a:lnTo>
                  <a:pt x="63" y="124"/>
                </a:lnTo>
                <a:lnTo>
                  <a:pt x="63" y="121"/>
                </a:lnTo>
                <a:lnTo>
                  <a:pt x="65" y="119"/>
                </a:lnTo>
                <a:lnTo>
                  <a:pt x="63" y="117"/>
                </a:lnTo>
                <a:lnTo>
                  <a:pt x="65" y="116"/>
                </a:lnTo>
                <a:lnTo>
                  <a:pt x="65" y="114"/>
                </a:lnTo>
                <a:lnTo>
                  <a:pt x="65" y="112"/>
                </a:lnTo>
                <a:lnTo>
                  <a:pt x="65" y="110"/>
                </a:lnTo>
                <a:lnTo>
                  <a:pt x="66" y="109"/>
                </a:lnTo>
                <a:lnTo>
                  <a:pt x="66" y="105"/>
                </a:lnTo>
                <a:lnTo>
                  <a:pt x="68" y="105"/>
                </a:lnTo>
                <a:lnTo>
                  <a:pt x="70" y="105"/>
                </a:lnTo>
                <a:lnTo>
                  <a:pt x="70" y="104"/>
                </a:lnTo>
                <a:lnTo>
                  <a:pt x="70" y="102"/>
                </a:lnTo>
                <a:lnTo>
                  <a:pt x="70" y="100"/>
                </a:lnTo>
                <a:lnTo>
                  <a:pt x="68" y="97"/>
                </a:lnTo>
                <a:lnTo>
                  <a:pt x="68" y="95"/>
                </a:lnTo>
                <a:lnTo>
                  <a:pt x="70" y="93"/>
                </a:lnTo>
                <a:lnTo>
                  <a:pt x="71" y="92"/>
                </a:lnTo>
                <a:lnTo>
                  <a:pt x="73" y="90"/>
                </a:lnTo>
                <a:lnTo>
                  <a:pt x="73" y="88"/>
                </a:lnTo>
                <a:lnTo>
                  <a:pt x="75" y="88"/>
                </a:lnTo>
                <a:lnTo>
                  <a:pt x="75" y="87"/>
                </a:lnTo>
                <a:lnTo>
                  <a:pt x="75" y="85"/>
                </a:lnTo>
                <a:lnTo>
                  <a:pt x="76" y="83"/>
                </a:lnTo>
                <a:lnTo>
                  <a:pt x="76" y="82"/>
                </a:lnTo>
                <a:lnTo>
                  <a:pt x="78" y="82"/>
                </a:lnTo>
                <a:lnTo>
                  <a:pt x="76" y="78"/>
                </a:lnTo>
                <a:lnTo>
                  <a:pt x="80" y="76"/>
                </a:lnTo>
                <a:lnTo>
                  <a:pt x="82" y="76"/>
                </a:lnTo>
                <a:lnTo>
                  <a:pt x="83" y="76"/>
                </a:lnTo>
                <a:lnTo>
                  <a:pt x="85" y="76"/>
                </a:lnTo>
                <a:lnTo>
                  <a:pt x="85" y="75"/>
                </a:lnTo>
                <a:lnTo>
                  <a:pt x="85" y="71"/>
                </a:lnTo>
                <a:lnTo>
                  <a:pt x="87" y="71"/>
                </a:lnTo>
                <a:lnTo>
                  <a:pt x="90" y="73"/>
                </a:lnTo>
                <a:lnTo>
                  <a:pt x="93" y="73"/>
                </a:lnTo>
                <a:lnTo>
                  <a:pt x="95" y="71"/>
                </a:lnTo>
                <a:lnTo>
                  <a:pt x="97" y="68"/>
                </a:lnTo>
                <a:lnTo>
                  <a:pt x="100" y="66"/>
                </a:lnTo>
                <a:lnTo>
                  <a:pt x="99" y="65"/>
                </a:lnTo>
                <a:lnTo>
                  <a:pt x="99" y="63"/>
                </a:lnTo>
                <a:lnTo>
                  <a:pt x="100" y="63"/>
                </a:lnTo>
                <a:lnTo>
                  <a:pt x="102" y="61"/>
                </a:lnTo>
                <a:lnTo>
                  <a:pt x="104" y="59"/>
                </a:lnTo>
                <a:lnTo>
                  <a:pt x="104" y="58"/>
                </a:lnTo>
                <a:lnTo>
                  <a:pt x="105" y="56"/>
                </a:lnTo>
                <a:lnTo>
                  <a:pt x="104" y="54"/>
                </a:lnTo>
                <a:lnTo>
                  <a:pt x="104" y="53"/>
                </a:lnTo>
                <a:lnTo>
                  <a:pt x="107" y="53"/>
                </a:lnTo>
                <a:lnTo>
                  <a:pt x="109" y="54"/>
                </a:lnTo>
                <a:lnTo>
                  <a:pt x="110" y="53"/>
                </a:lnTo>
                <a:lnTo>
                  <a:pt x="112" y="53"/>
                </a:lnTo>
                <a:lnTo>
                  <a:pt x="112" y="51"/>
                </a:lnTo>
                <a:lnTo>
                  <a:pt x="112" y="49"/>
                </a:lnTo>
                <a:lnTo>
                  <a:pt x="112" y="48"/>
                </a:lnTo>
                <a:lnTo>
                  <a:pt x="114" y="44"/>
                </a:lnTo>
                <a:lnTo>
                  <a:pt x="116" y="46"/>
                </a:lnTo>
                <a:lnTo>
                  <a:pt x="119" y="46"/>
                </a:lnTo>
                <a:lnTo>
                  <a:pt x="119" y="44"/>
                </a:lnTo>
                <a:lnTo>
                  <a:pt x="121" y="46"/>
                </a:lnTo>
                <a:lnTo>
                  <a:pt x="121" y="48"/>
                </a:lnTo>
                <a:lnTo>
                  <a:pt x="122" y="49"/>
                </a:lnTo>
                <a:lnTo>
                  <a:pt x="124" y="49"/>
                </a:lnTo>
                <a:lnTo>
                  <a:pt x="126" y="51"/>
                </a:lnTo>
                <a:lnTo>
                  <a:pt x="127" y="51"/>
                </a:lnTo>
                <a:lnTo>
                  <a:pt x="129" y="51"/>
                </a:lnTo>
                <a:lnTo>
                  <a:pt x="131" y="53"/>
                </a:lnTo>
                <a:lnTo>
                  <a:pt x="133" y="49"/>
                </a:lnTo>
                <a:lnTo>
                  <a:pt x="133" y="48"/>
                </a:lnTo>
                <a:lnTo>
                  <a:pt x="134" y="49"/>
                </a:lnTo>
                <a:lnTo>
                  <a:pt x="136" y="48"/>
                </a:lnTo>
                <a:lnTo>
                  <a:pt x="138" y="48"/>
                </a:lnTo>
                <a:lnTo>
                  <a:pt x="139" y="49"/>
                </a:lnTo>
                <a:lnTo>
                  <a:pt x="141" y="48"/>
                </a:lnTo>
                <a:lnTo>
                  <a:pt x="144" y="48"/>
                </a:lnTo>
                <a:lnTo>
                  <a:pt x="146" y="48"/>
                </a:lnTo>
                <a:lnTo>
                  <a:pt x="148" y="51"/>
                </a:lnTo>
                <a:lnTo>
                  <a:pt x="150" y="51"/>
                </a:lnTo>
                <a:lnTo>
                  <a:pt x="150" y="49"/>
                </a:lnTo>
                <a:lnTo>
                  <a:pt x="153" y="49"/>
                </a:lnTo>
                <a:lnTo>
                  <a:pt x="153" y="48"/>
                </a:lnTo>
                <a:lnTo>
                  <a:pt x="155" y="48"/>
                </a:lnTo>
                <a:lnTo>
                  <a:pt x="156" y="48"/>
                </a:lnTo>
                <a:lnTo>
                  <a:pt x="158" y="48"/>
                </a:lnTo>
                <a:lnTo>
                  <a:pt x="160" y="49"/>
                </a:lnTo>
                <a:lnTo>
                  <a:pt x="163" y="49"/>
                </a:lnTo>
                <a:lnTo>
                  <a:pt x="165" y="49"/>
                </a:lnTo>
                <a:lnTo>
                  <a:pt x="167" y="51"/>
                </a:lnTo>
                <a:lnTo>
                  <a:pt x="167" y="49"/>
                </a:lnTo>
                <a:lnTo>
                  <a:pt x="168" y="49"/>
                </a:lnTo>
                <a:lnTo>
                  <a:pt x="170" y="48"/>
                </a:lnTo>
                <a:lnTo>
                  <a:pt x="172" y="48"/>
                </a:lnTo>
                <a:lnTo>
                  <a:pt x="173" y="46"/>
                </a:lnTo>
                <a:lnTo>
                  <a:pt x="173" y="44"/>
                </a:lnTo>
                <a:lnTo>
                  <a:pt x="175" y="42"/>
                </a:lnTo>
                <a:lnTo>
                  <a:pt x="175" y="44"/>
                </a:lnTo>
                <a:lnTo>
                  <a:pt x="178" y="44"/>
                </a:lnTo>
                <a:lnTo>
                  <a:pt x="178" y="42"/>
                </a:lnTo>
                <a:lnTo>
                  <a:pt x="182" y="42"/>
                </a:lnTo>
                <a:lnTo>
                  <a:pt x="182" y="44"/>
                </a:lnTo>
                <a:lnTo>
                  <a:pt x="184" y="42"/>
                </a:lnTo>
                <a:lnTo>
                  <a:pt x="184" y="44"/>
                </a:lnTo>
                <a:lnTo>
                  <a:pt x="187" y="46"/>
                </a:lnTo>
                <a:lnTo>
                  <a:pt x="187" y="48"/>
                </a:lnTo>
                <a:lnTo>
                  <a:pt x="189" y="49"/>
                </a:lnTo>
                <a:lnTo>
                  <a:pt x="190" y="49"/>
                </a:lnTo>
                <a:lnTo>
                  <a:pt x="192" y="49"/>
                </a:lnTo>
                <a:lnTo>
                  <a:pt x="195" y="49"/>
                </a:lnTo>
                <a:lnTo>
                  <a:pt x="195" y="53"/>
                </a:lnTo>
                <a:lnTo>
                  <a:pt x="199" y="54"/>
                </a:lnTo>
                <a:lnTo>
                  <a:pt x="199" y="56"/>
                </a:lnTo>
                <a:lnTo>
                  <a:pt x="202" y="54"/>
                </a:lnTo>
                <a:lnTo>
                  <a:pt x="204" y="54"/>
                </a:lnTo>
                <a:lnTo>
                  <a:pt x="206" y="54"/>
                </a:lnTo>
                <a:lnTo>
                  <a:pt x="206" y="53"/>
                </a:lnTo>
                <a:lnTo>
                  <a:pt x="209" y="51"/>
                </a:lnTo>
                <a:lnTo>
                  <a:pt x="209" y="49"/>
                </a:lnTo>
                <a:lnTo>
                  <a:pt x="211" y="49"/>
                </a:lnTo>
                <a:lnTo>
                  <a:pt x="211" y="46"/>
                </a:lnTo>
                <a:lnTo>
                  <a:pt x="212" y="42"/>
                </a:lnTo>
                <a:lnTo>
                  <a:pt x="212" y="41"/>
                </a:lnTo>
                <a:lnTo>
                  <a:pt x="214" y="41"/>
                </a:lnTo>
                <a:lnTo>
                  <a:pt x="216" y="39"/>
                </a:lnTo>
                <a:lnTo>
                  <a:pt x="218" y="39"/>
                </a:lnTo>
                <a:lnTo>
                  <a:pt x="218" y="37"/>
                </a:lnTo>
                <a:lnTo>
                  <a:pt x="219" y="37"/>
                </a:lnTo>
                <a:lnTo>
                  <a:pt x="221" y="37"/>
                </a:lnTo>
                <a:lnTo>
                  <a:pt x="223" y="36"/>
                </a:lnTo>
                <a:lnTo>
                  <a:pt x="224" y="36"/>
                </a:lnTo>
                <a:lnTo>
                  <a:pt x="226" y="36"/>
                </a:lnTo>
                <a:lnTo>
                  <a:pt x="228" y="34"/>
                </a:lnTo>
                <a:lnTo>
                  <a:pt x="229" y="32"/>
                </a:lnTo>
                <a:lnTo>
                  <a:pt x="231" y="32"/>
                </a:lnTo>
                <a:lnTo>
                  <a:pt x="235" y="32"/>
                </a:lnTo>
                <a:lnTo>
                  <a:pt x="236" y="32"/>
                </a:lnTo>
                <a:lnTo>
                  <a:pt x="238" y="31"/>
                </a:lnTo>
                <a:lnTo>
                  <a:pt x="240" y="29"/>
                </a:lnTo>
                <a:lnTo>
                  <a:pt x="241" y="29"/>
                </a:lnTo>
                <a:lnTo>
                  <a:pt x="243" y="29"/>
                </a:lnTo>
                <a:lnTo>
                  <a:pt x="245" y="29"/>
                </a:lnTo>
                <a:lnTo>
                  <a:pt x="245" y="27"/>
                </a:lnTo>
                <a:lnTo>
                  <a:pt x="246" y="27"/>
                </a:lnTo>
                <a:lnTo>
                  <a:pt x="248" y="25"/>
                </a:lnTo>
                <a:lnTo>
                  <a:pt x="252" y="25"/>
                </a:lnTo>
                <a:lnTo>
                  <a:pt x="255" y="24"/>
                </a:lnTo>
                <a:lnTo>
                  <a:pt x="255" y="20"/>
                </a:lnTo>
                <a:lnTo>
                  <a:pt x="257" y="17"/>
                </a:lnTo>
                <a:lnTo>
                  <a:pt x="257" y="15"/>
                </a:lnTo>
                <a:lnTo>
                  <a:pt x="257" y="13"/>
                </a:lnTo>
                <a:lnTo>
                  <a:pt x="258" y="12"/>
                </a:lnTo>
                <a:lnTo>
                  <a:pt x="258" y="10"/>
                </a:lnTo>
                <a:lnTo>
                  <a:pt x="260" y="8"/>
                </a:lnTo>
                <a:lnTo>
                  <a:pt x="262" y="7"/>
                </a:lnTo>
                <a:lnTo>
                  <a:pt x="263" y="8"/>
                </a:lnTo>
                <a:lnTo>
                  <a:pt x="263" y="5"/>
                </a:lnTo>
                <a:lnTo>
                  <a:pt x="267" y="5"/>
                </a:lnTo>
                <a:lnTo>
                  <a:pt x="269" y="5"/>
                </a:lnTo>
                <a:lnTo>
                  <a:pt x="269" y="3"/>
                </a:lnTo>
                <a:lnTo>
                  <a:pt x="270" y="3"/>
                </a:lnTo>
                <a:lnTo>
                  <a:pt x="270" y="2"/>
                </a:lnTo>
                <a:lnTo>
                  <a:pt x="272" y="2"/>
                </a:lnTo>
                <a:lnTo>
                  <a:pt x="272" y="0"/>
                </a:lnTo>
                <a:lnTo>
                  <a:pt x="272" y="2"/>
                </a:lnTo>
                <a:lnTo>
                  <a:pt x="274" y="0"/>
                </a:lnTo>
                <a:lnTo>
                  <a:pt x="275" y="2"/>
                </a:lnTo>
                <a:lnTo>
                  <a:pt x="275" y="0"/>
                </a:lnTo>
                <a:lnTo>
                  <a:pt x="275" y="2"/>
                </a:lnTo>
                <a:lnTo>
                  <a:pt x="277" y="2"/>
                </a:lnTo>
                <a:lnTo>
                  <a:pt x="279" y="0"/>
                </a:lnTo>
                <a:lnTo>
                  <a:pt x="280" y="2"/>
                </a:lnTo>
                <a:lnTo>
                  <a:pt x="280" y="0"/>
                </a:lnTo>
                <a:lnTo>
                  <a:pt x="282" y="3"/>
                </a:lnTo>
                <a:lnTo>
                  <a:pt x="284" y="2"/>
                </a:lnTo>
                <a:lnTo>
                  <a:pt x="284" y="3"/>
                </a:lnTo>
                <a:lnTo>
                  <a:pt x="286" y="3"/>
                </a:lnTo>
                <a:lnTo>
                  <a:pt x="284" y="2"/>
                </a:lnTo>
                <a:lnTo>
                  <a:pt x="286" y="2"/>
                </a:lnTo>
                <a:lnTo>
                  <a:pt x="286" y="5"/>
                </a:lnTo>
                <a:lnTo>
                  <a:pt x="289" y="5"/>
                </a:lnTo>
                <a:lnTo>
                  <a:pt x="287" y="5"/>
                </a:lnTo>
                <a:lnTo>
                  <a:pt x="287" y="7"/>
                </a:lnTo>
                <a:lnTo>
                  <a:pt x="289" y="7"/>
                </a:lnTo>
                <a:lnTo>
                  <a:pt x="291" y="5"/>
                </a:lnTo>
                <a:lnTo>
                  <a:pt x="291" y="7"/>
                </a:lnTo>
                <a:lnTo>
                  <a:pt x="291" y="5"/>
                </a:lnTo>
                <a:lnTo>
                  <a:pt x="291" y="8"/>
                </a:lnTo>
                <a:lnTo>
                  <a:pt x="292" y="10"/>
                </a:lnTo>
                <a:lnTo>
                  <a:pt x="294" y="10"/>
                </a:lnTo>
                <a:lnTo>
                  <a:pt x="294" y="12"/>
                </a:lnTo>
                <a:lnTo>
                  <a:pt x="296" y="12"/>
                </a:lnTo>
                <a:lnTo>
                  <a:pt x="296" y="13"/>
                </a:lnTo>
                <a:lnTo>
                  <a:pt x="297" y="12"/>
                </a:lnTo>
                <a:lnTo>
                  <a:pt x="297" y="13"/>
                </a:lnTo>
                <a:lnTo>
                  <a:pt x="299" y="13"/>
                </a:lnTo>
                <a:lnTo>
                  <a:pt x="299" y="15"/>
                </a:lnTo>
                <a:lnTo>
                  <a:pt x="301" y="17"/>
                </a:lnTo>
                <a:lnTo>
                  <a:pt x="299" y="19"/>
                </a:lnTo>
                <a:lnTo>
                  <a:pt x="303" y="20"/>
                </a:lnTo>
                <a:lnTo>
                  <a:pt x="303" y="22"/>
                </a:lnTo>
                <a:lnTo>
                  <a:pt x="304" y="22"/>
                </a:lnTo>
                <a:lnTo>
                  <a:pt x="304" y="24"/>
                </a:lnTo>
                <a:lnTo>
                  <a:pt x="306" y="24"/>
                </a:lnTo>
                <a:lnTo>
                  <a:pt x="304" y="25"/>
                </a:lnTo>
                <a:lnTo>
                  <a:pt x="306" y="25"/>
                </a:lnTo>
                <a:lnTo>
                  <a:pt x="308" y="27"/>
                </a:lnTo>
                <a:lnTo>
                  <a:pt x="308" y="29"/>
                </a:lnTo>
                <a:lnTo>
                  <a:pt x="309" y="29"/>
                </a:lnTo>
                <a:lnTo>
                  <a:pt x="309" y="31"/>
                </a:lnTo>
                <a:lnTo>
                  <a:pt x="308" y="31"/>
                </a:lnTo>
                <a:lnTo>
                  <a:pt x="308" y="32"/>
                </a:lnTo>
                <a:lnTo>
                  <a:pt x="309" y="32"/>
                </a:lnTo>
                <a:lnTo>
                  <a:pt x="311" y="36"/>
                </a:lnTo>
                <a:lnTo>
                  <a:pt x="313" y="37"/>
                </a:lnTo>
                <a:lnTo>
                  <a:pt x="314" y="37"/>
                </a:lnTo>
                <a:lnTo>
                  <a:pt x="314" y="39"/>
                </a:lnTo>
                <a:lnTo>
                  <a:pt x="318" y="39"/>
                </a:lnTo>
                <a:lnTo>
                  <a:pt x="318" y="41"/>
                </a:lnTo>
                <a:lnTo>
                  <a:pt x="320" y="41"/>
                </a:lnTo>
                <a:lnTo>
                  <a:pt x="320" y="42"/>
                </a:lnTo>
                <a:lnTo>
                  <a:pt x="321" y="42"/>
                </a:lnTo>
                <a:lnTo>
                  <a:pt x="321" y="44"/>
                </a:lnTo>
                <a:lnTo>
                  <a:pt x="323" y="44"/>
                </a:lnTo>
                <a:lnTo>
                  <a:pt x="325" y="46"/>
                </a:lnTo>
                <a:lnTo>
                  <a:pt x="325" y="44"/>
                </a:lnTo>
                <a:lnTo>
                  <a:pt x="326" y="46"/>
                </a:lnTo>
                <a:lnTo>
                  <a:pt x="326" y="48"/>
                </a:lnTo>
                <a:lnTo>
                  <a:pt x="328" y="49"/>
                </a:lnTo>
                <a:lnTo>
                  <a:pt x="328" y="51"/>
                </a:lnTo>
                <a:lnTo>
                  <a:pt x="330" y="51"/>
                </a:lnTo>
                <a:lnTo>
                  <a:pt x="330" y="53"/>
                </a:lnTo>
                <a:lnTo>
                  <a:pt x="331" y="53"/>
                </a:lnTo>
                <a:lnTo>
                  <a:pt x="330" y="54"/>
                </a:lnTo>
                <a:lnTo>
                  <a:pt x="331" y="54"/>
                </a:lnTo>
                <a:lnTo>
                  <a:pt x="333" y="56"/>
                </a:lnTo>
                <a:lnTo>
                  <a:pt x="335" y="54"/>
                </a:lnTo>
                <a:lnTo>
                  <a:pt x="335" y="56"/>
                </a:lnTo>
                <a:lnTo>
                  <a:pt x="335" y="54"/>
                </a:lnTo>
                <a:lnTo>
                  <a:pt x="337" y="54"/>
                </a:lnTo>
                <a:lnTo>
                  <a:pt x="338" y="58"/>
                </a:lnTo>
                <a:lnTo>
                  <a:pt x="340" y="59"/>
                </a:lnTo>
                <a:lnTo>
                  <a:pt x="340" y="61"/>
                </a:lnTo>
                <a:lnTo>
                  <a:pt x="342" y="59"/>
                </a:lnTo>
                <a:lnTo>
                  <a:pt x="343" y="63"/>
                </a:lnTo>
                <a:lnTo>
                  <a:pt x="342" y="65"/>
                </a:lnTo>
                <a:lnTo>
                  <a:pt x="343" y="65"/>
                </a:lnTo>
                <a:lnTo>
                  <a:pt x="342" y="65"/>
                </a:lnTo>
                <a:lnTo>
                  <a:pt x="345" y="65"/>
                </a:lnTo>
                <a:lnTo>
                  <a:pt x="345" y="66"/>
                </a:lnTo>
                <a:lnTo>
                  <a:pt x="347" y="66"/>
                </a:lnTo>
                <a:lnTo>
                  <a:pt x="348" y="68"/>
                </a:lnTo>
                <a:lnTo>
                  <a:pt x="350" y="68"/>
                </a:lnTo>
                <a:lnTo>
                  <a:pt x="352" y="68"/>
                </a:lnTo>
                <a:lnTo>
                  <a:pt x="350" y="70"/>
                </a:lnTo>
                <a:lnTo>
                  <a:pt x="354" y="70"/>
                </a:lnTo>
                <a:lnTo>
                  <a:pt x="357" y="70"/>
                </a:lnTo>
                <a:lnTo>
                  <a:pt x="355" y="71"/>
                </a:lnTo>
                <a:lnTo>
                  <a:pt x="357" y="71"/>
                </a:lnTo>
                <a:lnTo>
                  <a:pt x="359" y="71"/>
                </a:lnTo>
                <a:lnTo>
                  <a:pt x="359" y="73"/>
                </a:lnTo>
                <a:lnTo>
                  <a:pt x="360" y="75"/>
                </a:lnTo>
                <a:lnTo>
                  <a:pt x="359" y="75"/>
                </a:lnTo>
                <a:lnTo>
                  <a:pt x="360" y="76"/>
                </a:lnTo>
                <a:lnTo>
                  <a:pt x="360" y="78"/>
                </a:lnTo>
                <a:lnTo>
                  <a:pt x="362" y="78"/>
                </a:lnTo>
                <a:lnTo>
                  <a:pt x="362" y="80"/>
                </a:lnTo>
                <a:lnTo>
                  <a:pt x="362" y="82"/>
                </a:lnTo>
                <a:lnTo>
                  <a:pt x="362" y="83"/>
                </a:lnTo>
                <a:lnTo>
                  <a:pt x="364" y="82"/>
                </a:lnTo>
                <a:lnTo>
                  <a:pt x="364" y="83"/>
                </a:lnTo>
                <a:lnTo>
                  <a:pt x="367" y="85"/>
                </a:lnTo>
                <a:lnTo>
                  <a:pt x="365" y="85"/>
                </a:lnTo>
                <a:lnTo>
                  <a:pt x="367" y="87"/>
                </a:lnTo>
                <a:lnTo>
                  <a:pt x="367" y="88"/>
                </a:lnTo>
                <a:lnTo>
                  <a:pt x="369" y="88"/>
                </a:lnTo>
                <a:lnTo>
                  <a:pt x="369" y="90"/>
                </a:lnTo>
                <a:lnTo>
                  <a:pt x="371" y="90"/>
                </a:lnTo>
                <a:lnTo>
                  <a:pt x="372" y="93"/>
                </a:lnTo>
                <a:lnTo>
                  <a:pt x="372" y="95"/>
                </a:lnTo>
                <a:lnTo>
                  <a:pt x="372" y="97"/>
                </a:lnTo>
                <a:lnTo>
                  <a:pt x="374" y="100"/>
                </a:lnTo>
                <a:lnTo>
                  <a:pt x="372" y="100"/>
                </a:lnTo>
                <a:lnTo>
                  <a:pt x="374" y="102"/>
                </a:lnTo>
                <a:lnTo>
                  <a:pt x="372" y="104"/>
                </a:lnTo>
                <a:lnTo>
                  <a:pt x="374" y="104"/>
                </a:lnTo>
                <a:lnTo>
                  <a:pt x="376" y="105"/>
                </a:lnTo>
                <a:lnTo>
                  <a:pt x="376" y="107"/>
                </a:lnTo>
                <a:lnTo>
                  <a:pt x="376" y="109"/>
                </a:lnTo>
                <a:lnTo>
                  <a:pt x="376" y="110"/>
                </a:lnTo>
                <a:lnTo>
                  <a:pt x="374" y="112"/>
                </a:lnTo>
                <a:lnTo>
                  <a:pt x="376" y="112"/>
                </a:lnTo>
                <a:lnTo>
                  <a:pt x="374" y="114"/>
                </a:lnTo>
                <a:lnTo>
                  <a:pt x="376" y="116"/>
                </a:lnTo>
                <a:lnTo>
                  <a:pt x="376" y="119"/>
                </a:lnTo>
                <a:lnTo>
                  <a:pt x="374" y="117"/>
                </a:lnTo>
                <a:lnTo>
                  <a:pt x="376" y="119"/>
                </a:lnTo>
                <a:lnTo>
                  <a:pt x="374" y="119"/>
                </a:lnTo>
                <a:lnTo>
                  <a:pt x="374" y="121"/>
                </a:lnTo>
                <a:lnTo>
                  <a:pt x="372" y="122"/>
                </a:lnTo>
                <a:lnTo>
                  <a:pt x="374" y="124"/>
                </a:lnTo>
                <a:lnTo>
                  <a:pt x="374" y="126"/>
                </a:lnTo>
                <a:lnTo>
                  <a:pt x="376" y="126"/>
                </a:lnTo>
                <a:lnTo>
                  <a:pt x="374" y="126"/>
                </a:lnTo>
                <a:lnTo>
                  <a:pt x="376" y="127"/>
                </a:lnTo>
                <a:lnTo>
                  <a:pt x="376" y="129"/>
                </a:lnTo>
                <a:lnTo>
                  <a:pt x="376" y="131"/>
                </a:lnTo>
                <a:lnTo>
                  <a:pt x="376" y="133"/>
                </a:lnTo>
                <a:lnTo>
                  <a:pt x="374" y="133"/>
                </a:lnTo>
                <a:lnTo>
                  <a:pt x="376" y="134"/>
                </a:lnTo>
                <a:lnTo>
                  <a:pt x="376" y="138"/>
                </a:lnTo>
                <a:lnTo>
                  <a:pt x="377" y="139"/>
                </a:lnTo>
                <a:lnTo>
                  <a:pt x="377" y="141"/>
                </a:lnTo>
                <a:lnTo>
                  <a:pt x="379" y="143"/>
                </a:lnTo>
                <a:lnTo>
                  <a:pt x="379" y="144"/>
                </a:lnTo>
                <a:lnTo>
                  <a:pt x="379" y="146"/>
                </a:lnTo>
                <a:lnTo>
                  <a:pt x="381" y="146"/>
                </a:lnTo>
                <a:lnTo>
                  <a:pt x="379" y="148"/>
                </a:lnTo>
                <a:lnTo>
                  <a:pt x="381" y="151"/>
                </a:lnTo>
                <a:lnTo>
                  <a:pt x="381" y="153"/>
                </a:lnTo>
                <a:lnTo>
                  <a:pt x="382" y="153"/>
                </a:lnTo>
                <a:lnTo>
                  <a:pt x="382" y="155"/>
                </a:lnTo>
                <a:lnTo>
                  <a:pt x="384" y="156"/>
                </a:lnTo>
                <a:lnTo>
                  <a:pt x="384" y="158"/>
                </a:lnTo>
                <a:lnTo>
                  <a:pt x="386" y="160"/>
                </a:lnTo>
                <a:lnTo>
                  <a:pt x="386" y="161"/>
                </a:lnTo>
                <a:lnTo>
                  <a:pt x="386" y="163"/>
                </a:lnTo>
                <a:lnTo>
                  <a:pt x="384" y="163"/>
                </a:lnTo>
                <a:lnTo>
                  <a:pt x="382" y="165"/>
                </a:lnTo>
                <a:lnTo>
                  <a:pt x="384" y="168"/>
                </a:lnTo>
                <a:lnTo>
                  <a:pt x="386" y="167"/>
                </a:lnTo>
                <a:lnTo>
                  <a:pt x="386" y="168"/>
                </a:lnTo>
                <a:lnTo>
                  <a:pt x="388" y="170"/>
                </a:lnTo>
                <a:lnTo>
                  <a:pt x="388" y="172"/>
                </a:lnTo>
                <a:lnTo>
                  <a:pt x="389" y="173"/>
                </a:lnTo>
                <a:lnTo>
                  <a:pt x="391" y="173"/>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85" name="Freeform 35">
            <a:extLst>
              <a:ext uri="{FF2B5EF4-FFF2-40B4-BE49-F238E27FC236}">
                <a16:creationId xmlns:a16="http://schemas.microsoft.com/office/drawing/2014/main" id="{A858083E-0803-437E-8432-48FED98C4A76}"/>
              </a:ext>
            </a:extLst>
          </p:cNvPr>
          <p:cNvSpPr>
            <a:spLocks noEditPoints="1"/>
          </p:cNvSpPr>
          <p:nvPr/>
        </p:nvSpPr>
        <p:spPr bwMode="gray">
          <a:xfrm>
            <a:off x="4539698" y="2441409"/>
            <a:ext cx="2179983" cy="1564015"/>
          </a:xfrm>
          <a:custGeom>
            <a:avLst/>
            <a:gdLst>
              <a:gd name="T0" fmla="*/ 702 w 800"/>
              <a:gd name="T1" fmla="*/ 315 h 548"/>
              <a:gd name="T2" fmla="*/ 663 w 800"/>
              <a:gd name="T3" fmla="*/ 343 h 548"/>
              <a:gd name="T4" fmla="*/ 642 w 800"/>
              <a:gd name="T5" fmla="*/ 381 h 548"/>
              <a:gd name="T6" fmla="*/ 608 w 800"/>
              <a:gd name="T7" fmla="*/ 412 h 548"/>
              <a:gd name="T8" fmla="*/ 600 w 800"/>
              <a:gd name="T9" fmla="*/ 410 h 548"/>
              <a:gd name="T10" fmla="*/ 617 w 800"/>
              <a:gd name="T11" fmla="*/ 413 h 548"/>
              <a:gd name="T12" fmla="*/ 641 w 800"/>
              <a:gd name="T13" fmla="*/ 425 h 548"/>
              <a:gd name="T14" fmla="*/ 659 w 800"/>
              <a:gd name="T15" fmla="*/ 435 h 548"/>
              <a:gd name="T16" fmla="*/ 629 w 800"/>
              <a:gd name="T17" fmla="*/ 405 h 548"/>
              <a:gd name="T18" fmla="*/ 695 w 800"/>
              <a:gd name="T19" fmla="*/ 429 h 548"/>
              <a:gd name="T20" fmla="*/ 712 w 800"/>
              <a:gd name="T21" fmla="*/ 447 h 548"/>
              <a:gd name="T22" fmla="*/ 651 w 800"/>
              <a:gd name="T23" fmla="*/ 486 h 548"/>
              <a:gd name="T24" fmla="*/ 595 w 800"/>
              <a:gd name="T25" fmla="*/ 522 h 548"/>
              <a:gd name="T26" fmla="*/ 564 w 800"/>
              <a:gd name="T27" fmla="*/ 485 h 548"/>
              <a:gd name="T28" fmla="*/ 539 w 800"/>
              <a:gd name="T29" fmla="*/ 471 h 548"/>
              <a:gd name="T30" fmla="*/ 580 w 800"/>
              <a:gd name="T31" fmla="*/ 429 h 548"/>
              <a:gd name="T32" fmla="*/ 537 w 800"/>
              <a:gd name="T33" fmla="*/ 430 h 548"/>
              <a:gd name="T34" fmla="*/ 496 w 800"/>
              <a:gd name="T35" fmla="*/ 439 h 548"/>
              <a:gd name="T36" fmla="*/ 483 w 800"/>
              <a:gd name="T37" fmla="*/ 420 h 548"/>
              <a:gd name="T38" fmla="*/ 503 w 800"/>
              <a:gd name="T39" fmla="*/ 415 h 548"/>
              <a:gd name="T40" fmla="*/ 501 w 800"/>
              <a:gd name="T41" fmla="*/ 408 h 548"/>
              <a:gd name="T42" fmla="*/ 459 w 800"/>
              <a:gd name="T43" fmla="*/ 415 h 548"/>
              <a:gd name="T44" fmla="*/ 430 w 800"/>
              <a:gd name="T45" fmla="*/ 439 h 548"/>
              <a:gd name="T46" fmla="*/ 396 w 800"/>
              <a:gd name="T47" fmla="*/ 519 h 548"/>
              <a:gd name="T48" fmla="*/ 347 w 800"/>
              <a:gd name="T49" fmla="*/ 548 h 548"/>
              <a:gd name="T50" fmla="*/ 348 w 800"/>
              <a:gd name="T51" fmla="*/ 495 h 548"/>
              <a:gd name="T52" fmla="*/ 364 w 800"/>
              <a:gd name="T53" fmla="*/ 456 h 548"/>
              <a:gd name="T54" fmla="*/ 394 w 800"/>
              <a:gd name="T55" fmla="*/ 447 h 548"/>
              <a:gd name="T56" fmla="*/ 359 w 800"/>
              <a:gd name="T57" fmla="*/ 410 h 548"/>
              <a:gd name="T58" fmla="*/ 333 w 800"/>
              <a:gd name="T59" fmla="*/ 372 h 548"/>
              <a:gd name="T60" fmla="*/ 287 w 800"/>
              <a:gd name="T61" fmla="*/ 354 h 548"/>
              <a:gd name="T62" fmla="*/ 229 w 800"/>
              <a:gd name="T63" fmla="*/ 352 h 548"/>
              <a:gd name="T64" fmla="*/ 183 w 800"/>
              <a:gd name="T65" fmla="*/ 391 h 548"/>
              <a:gd name="T66" fmla="*/ 115 w 800"/>
              <a:gd name="T67" fmla="*/ 406 h 548"/>
              <a:gd name="T68" fmla="*/ 49 w 800"/>
              <a:gd name="T69" fmla="*/ 413 h 548"/>
              <a:gd name="T70" fmla="*/ 0 w 800"/>
              <a:gd name="T71" fmla="*/ 384 h 548"/>
              <a:gd name="T72" fmla="*/ 17 w 800"/>
              <a:gd name="T73" fmla="*/ 326 h 548"/>
              <a:gd name="T74" fmla="*/ 49 w 800"/>
              <a:gd name="T75" fmla="*/ 245 h 548"/>
              <a:gd name="T76" fmla="*/ 41 w 800"/>
              <a:gd name="T77" fmla="*/ 192 h 548"/>
              <a:gd name="T78" fmla="*/ 54 w 800"/>
              <a:gd name="T79" fmla="*/ 143 h 548"/>
              <a:gd name="T80" fmla="*/ 131 w 800"/>
              <a:gd name="T81" fmla="*/ 124 h 548"/>
              <a:gd name="T82" fmla="*/ 199 w 800"/>
              <a:gd name="T83" fmla="*/ 131 h 548"/>
              <a:gd name="T84" fmla="*/ 246 w 800"/>
              <a:gd name="T85" fmla="*/ 121 h 548"/>
              <a:gd name="T86" fmla="*/ 292 w 800"/>
              <a:gd name="T87" fmla="*/ 110 h 548"/>
              <a:gd name="T88" fmla="*/ 318 w 800"/>
              <a:gd name="T89" fmla="*/ 90 h 548"/>
              <a:gd name="T90" fmla="*/ 348 w 800"/>
              <a:gd name="T91" fmla="*/ 47 h 548"/>
              <a:gd name="T92" fmla="*/ 398 w 800"/>
              <a:gd name="T93" fmla="*/ 20 h 548"/>
              <a:gd name="T94" fmla="*/ 452 w 800"/>
              <a:gd name="T95" fmla="*/ 12 h 548"/>
              <a:gd name="T96" fmla="*/ 481 w 800"/>
              <a:gd name="T97" fmla="*/ 63 h 548"/>
              <a:gd name="T98" fmla="*/ 532 w 800"/>
              <a:gd name="T99" fmla="*/ 64 h 548"/>
              <a:gd name="T100" fmla="*/ 569 w 800"/>
              <a:gd name="T101" fmla="*/ 97 h 548"/>
              <a:gd name="T102" fmla="*/ 634 w 800"/>
              <a:gd name="T103" fmla="*/ 75 h 548"/>
              <a:gd name="T104" fmla="*/ 688 w 800"/>
              <a:gd name="T105" fmla="*/ 85 h 548"/>
              <a:gd name="T106" fmla="*/ 755 w 800"/>
              <a:gd name="T107" fmla="*/ 87 h 548"/>
              <a:gd name="T108" fmla="*/ 770 w 800"/>
              <a:gd name="T109" fmla="*/ 129 h 548"/>
              <a:gd name="T110" fmla="*/ 792 w 800"/>
              <a:gd name="T111" fmla="*/ 161 h 548"/>
              <a:gd name="T112" fmla="*/ 770 w 800"/>
              <a:gd name="T113" fmla="*/ 211 h 548"/>
              <a:gd name="T114" fmla="*/ 751 w 800"/>
              <a:gd name="T115" fmla="*/ 270 h 548"/>
              <a:gd name="T116" fmla="*/ 505 w 800"/>
              <a:gd name="T117" fmla="*/ 408 h 548"/>
              <a:gd name="T118" fmla="*/ 467 w 800"/>
              <a:gd name="T119" fmla="*/ 437 h 548"/>
              <a:gd name="T120" fmla="*/ 624 w 800"/>
              <a:gd name="T121" fmla="*/ 408 h 548"/>
              <a:gd name="T122" fmla="*/ 401 w 800"/>
              <a:gd name="T123" fmla="*/ 519 h 548"/>
              <a:gd name="T124" fmla="*/ 399 w 800"/>
              <a:gd name="T125" fmla="*/ 517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0" h="548">
                <a:moveTo>
                  <a:pt x="753" y="274"/>
                </a:moveTo>
                <a:lnTo>
                  <a:pt x="751" y="275"/>
                </a:lnTo>
                <a:lnTo>
                  <a:pt x="751" y="279"/>
                </a:lnTo>
                <a:lnTo>
                  <a:pt x="750" y="281"/>
                </a:lnTo>
                <a:lnTo>
                  <a:pt x="750" y="282"/>
                </a:lnTo>
                <a:lnTo>
                  <a:pt x="750" y="281"/>
                </a:lnTo>
                <a:lnTo>
                  <a:pt x="750" y="279"/>
                </a:lnTo>
                <a:lnTo>
                  <a:pt x="748" y="277"/>
                </a:lnTo>
                <a:lnTo>
                  <a:pt x="746" y="277"/>
                </a:lnTo>
                <a:lnTo>
                  <a:pt x="744" y="279"/>
                </a:lnTo>
                <a:lnTo>
                  <a:pt x="743" y="279"/>
                </a:lnTo>
                <a:lnTo>
                  <a:pt x="743" y="281"/>
                </a:lnTo>
                <a:lnTo>
                  <a:pt x="741" y="281"/>
                </a:lnTo>
                <a:lnTo>
                  <a:pt x="738" y="281"/>
                </a:lnTo>
                <a:lnTo>
                  <a:pt x="736" y="282"/>
                </a:lnTo>
                <a:lnTo>
                  <a:pt x="734" y="284"/>
                </a:lnTo>
                <a:lnTo>
                  <a:pt x="733" y="284"/>
                </a:lnTo>
                <a:lnTo>
                  <a:pt x="731" y="286"/>
                </a:lnTo>
                <a:lnTo>
                  <a:pt x="729" y="286"/>
                </a:lnTo>
                <a:lnTo>
                  <a:pt x="727" y="286"/>
                </a:lnTo>
                <a:lnTo>
                  <a:pt x="726" y="287"/>
                </a:lnTo>
                <a:lnTo>
                  <a:pt x="724" y="286"/>
                </a:lnTo>
                <a:lnTo>
                  <a:pt x="724" y="287"/>
                </a:lnTo>
                <a:lnTo>
                  <a:pt x="722" y="289"/>
                </a:lnTo>
                <a:lnTo>
                  <a:pt x="722" y="291"/>
                </a:lnTo>
                <a:lnTo>
                  <a:pt x="721" y="292"/>
                </a:lnTo>
                <a:lnTo>
                  <a:pt x="721" y="296"/>
                </a:lnTo>
                <a:lnTo>
                  <a:pt x="721" y="299"/>
                </a:lnTo>
                <a:lnTo>
                  <a:pt x="719" y="301"/>
                </a:lnTo>
                <a:lnTo>
                  <a:pt x="719" y="303"/>
                </a:lnTo>
                <a:lnTo>
                  <a:pt x="719" y="304"/>
                </a:lnTo>
                <a:lnTo>
                  <a:pt x="719" y="306"/>
                </a:lnTo>
                <a:lnTo>
                  <a:pt x="717" y="306"/>
                </a:lnTo>
                <a:lnTo>
                  <a:pt x="719" y="304"/>
                </a:lnTo>
                <a:lnTo>
                  <a:pt x="717" y="303"/>
                </a:lnTo>
                <a:lnTo>
                  <a:pt x="716" y="303"/>
                </a:lnTo>
                <a:lnTo>
                  <a:pt x="712" y="303"/>
                </a:lnTo>
                <a:lnTo>
                  <a:pt x="712" y="304"/>
                </a:lnTo>
                <a:lnTo>
                  <a:pt x="710" y="306"/>
                </a:lnTo>
                <a:lnTo>
                  <a:pt x="709" y="308"/>
                </a:lnTo>
                <a:lnTo>
                  <a:pt x="707" y="309"/>
                </a:lnTo>
                <a:lnTo>
                  <a:pt x="705" y="311"/>
                </a:lnTo>
                <a:lnTo>
                  <a:pt x="704" y="313"/>
                </a:lnTo>
                <a:lnTo>
                  <a:pt x="702" y="315"/>
                </a:lnTo>
                <a:lnTo>
                  <a:pt x="702" y="316"/>
                </a:lnTo>
                <a:lnTo>
                  <a:pt x="702" y="320"/>
                </a:lnTo>
                <a:lnTo>
                  <a:pt x="700" y="321"/>
                </a:lnTo>
                <a:lnTo>
                  <a:pt x="702" y="325"/>
                </a:lnTo>
                <a:lnTo>
                  <a:pt x="702" y="326"/>
                </a:lnTo>
                <a:lnTo>
                  <a:pt x="700" y="328"/>
                </a:lnTo>
                <a:lnTo>
                  <a:pt x="700" y="330"/>
                </a:lnTo>
                <a:lnTo>
                  <a:pt x="700" y="332"/>
                </a:lnTo>
                <a:lnTo>
                  <a:pt x="699" y="330"/>
                </a:lnTo>
                <a:lnTo>
                  <a:pt x="700" y="332"/>
                </a:lnTo>
                <a:lnTo>
                  <a:pt x="700" y="330"/>
                </a:lnTo>
                <a:lnTo>
                  <a:pt x="700" y="328"/>
                </a:lnTo>
                <a:lnTo>
                  <a:pt x="700" y="325"/>
                </a:lnTo>
                <a:lnTo>
                  <a:pt x="699" y="325"/>
                </a:lnTo>
                <a:lnTo>
                  <a:pt x="699" y="323"/>
                </a:lnTo>
                <a:lnTo>
                  <a:pt x="695" y="323"/>
                </a:lnTo>
                <a:lnTo>
                  <a:pt x="693" y="323"/>
                </a:lnTo>
                <a:lnTo>
                  <a:pt x="690" y="323"/>
                </a:lnTo>
                <a:lnTo>
                  <a:pt x="690" y="325"/>
                </a:lnTo>
                <a:lnTo>
                  <a:pt x="688" y="326"/>
                </a:lnTo>
                <a:lnTo>
                  <a:pt x="687" y="328"/>
                </a:lnTo>
                <a:lnTo>
                  <a:pt x="685" y="328"/>
                </a:lnTo>
                <a:lnTo>
                  <a:pt x="683" y="330"/>
                </a:lnTo>
                <a:lnTo>
                  <a:pt x="682" y="332"/>
                </a:lnTo>
                <a:lnTo>
                  <a:pt x="680" y="333"/>
                </a:lnTo>
                <a:lnTo>
                  <a:pt x="680" y="335"/>
                </a:lnTo>
                <a:lnTo>
                  <a:pt x="678" y="338"/>
                </a:lnTo>
                <a:lnTo>
                  <a:pt x="678" y="342"/>
                </a:lnTo>
                <a:lnTo>
                  <a:pt x="678" y="343"/>
                </a:lnTo>
                <a:lnTo>
                  <a:pt x="678" y="342"/>
                </a:lnTo>
                <a:lnTo>
                  <a:pt x="678" y="340"/>
                </a:lnTo>
                <a:lnTo>
                  <a:pt x="678" y="338"/>
                </a:lnTo>
                <a:lnTo>
                  <a:pt x="678" y="340"/>
                </a:lnTo>
                <a:lnTo>
                  <a:pt x="676" y="340"/>
                </a:lnTo>
                <a:lnTo>
                  <a:pt x="678" y="343"/>
                </a:lnTo>
                <a:lnTo>
                  <a:pt x="676" y="340"/>
                </a:lnTo>
                <a:lnTo>
                  <a:pt x="675" y="340"/>
                </a:lnTo>
                <a:lnTo>
                  <a:pt x="673" y="338"/>
                </a:lnTo>
                <a:lnTo>
                  <a:pt x="671" y="340"/>
                </a:lnTo>
                <a:lnTo>
                  <a:pt x="670" y="342"/>
                </a:lnTo>
                <a:lnTo>
                  <a:pt x="668" y="342"/>
                </a:lnTo>
                <a:lnTo>
                  <a:pt x="666" y="342"/>
                </a:lnTo>
                <a:lnTo>
                  <a:pt x="665" y="343"/>
                </a:lnTo>
                <a:lnTo>
                  <a:pt x="663" y="343"/>
                </a:lnTo>
                <a:lnTo>
                  <a:pt x="661" y="343"/>
                </a:lnTo>
                <a:lnTo>
                  <a:pt x="659" y="347"/>
                </a:lnTo>
                <a:lnTo>
                  <a:pt x="658" y="349"/>
                </a:lnTo>
                <a:lnTo>
                  <a:pt x="654" y="352"/>
                </a:lnTo>
                <a:lnTo>
                  <a:pt x="654" y="354"/>
                </a:lnTo>
                <a:lnTo>
                  <a:pt x="653" y="355"/>
                </a:lnTo>
                <a:lnTo>
                  <a:pt x="653" y="357"/>
                </a:lnTo>
                <a:lnTo>
                  <a:pt x="651" y="360"/>
                </a:lnTo>
                <a:lnTo>
                  <a:pt x="651" y="362"/>
                </a:lnTo>
                <a:lnTo>
                  <a:pt x="649" y="364"/>
                </a:lnTo>
                <a:lnTo>
                  <a:pt x="648" y="364"/>
                </a:lnTo>
                <a:lnTo>
                  <a:pt x="646" y="366"/>
                </a:lnTo>
                <a:lnTo>
                  <a:pt x="646" y="367"/>
                </a:lnTo>
                <a:lnTo>
                  <a:pt x="644" y="369"/>
                </a:lnTo>
                <a:lnTo>
                  <a:pt x="644" y="372"/>
                </a:lnTo>
                <a:lnTo>
                  <a:pt x="642" y="374"/>
                </a:lnTo>
                <a:lnTo>
                  <a:pt x="642" y="376"/>
                </a:lnTo>
                <a:lnTo>
                  <a:pt x="642" y="377"/>
                </a:lnTo>
                <a:lnTo>
                  <a:pt x="642" y="379"/>
                </a:lnTo>
                <a:lnTo>
                  <a:pt x="642" y="381"/>
                </a:lnTo>
                <a:lnTo>
                  <a:pt x="641" y="383"/>
                </a:lnTo>
                <a:lnTo>
                  <a:pt x="641" y="384"/>
                </a:lnTo>
                <a:lnTo>
                  <a:pt x="641" y="386"/>
                </a:lnTo>
                <a:lnTo>
                  <a:pt x="641" y="389"/>
                </a:lnTo>
                <a:lnTo>
                  <a:pt x="641" y="391"/>
                </a:lnTo>
                <a:lnTo>
                  <a:pt x="639" y="393"/>
                </a:lnTo>
                <a:lnTo>
                  <a:pt x="637" y="395"/>
                </a:lnTo>
                <a:lnTo>
                  <a:pt x="636" y="395"/>
                </a:lnTo>
                <a:lnTo>
                  <a:pt x="634" y="396"/>
                </a:lnTo>
                <a:lnTo>
                  <a:pt x="634" y="398"/>
                </a:lnTo>
                <a:lnTo>
                  <a:pt x="634" y="396"/>
                </a:lnTo>
                <a:lnTo>
                  <a:pt x="632" y="396"/>
                </a:lnTo>
                <a:lnTo>
                  <a:pt x="634" y="395"/>
                </a:lnTo>
                <a:lnTo>
                  <a:pt x="634" y="393"/>
                </a:lnTo>
                <a:lnTo>
                  <a:pt x="636" y="393"/>
                </a:lnTo>
                <a:lnTo>
                  <a:pt x="634" y="393"/>
                </a:lnTo>
                <a:lnTo>
                  <a:pt x="636" y="391"/>
                </a:lnTo>
                <a:lnTo>
                  <a:pt x="637" y="391"/>
                </a:lnTo>
                <a:lnTo>
                  <a:pt x="639" y="389"/>
                </a:lnTo>
                <a:lnTo>
                  <a:pt x="641" y="388"/>
                </a:lnTo>
                <a:lnTo>
                  <a:pt x="641" y="384"/>
                </a:lnTo>
                <a:lnTo>
                  <a:pt x="641" y="383"/>
                </a:lnTo>
                <a:lnTo>
                  <a:pt x="641" y="381"/>
                </a:lnTo>
                <a:lnTo>
                  <a:pt x="642" y="381"/>
                </a:lnTo>
                <a:lnTo>
                  <a:pt x="642" y="379"/>
                </a:lnTo>
                <a:lnTo>
                  <a:pt x="641" y="377"/>
                </a:lnTo>
                <a:lnTo>
                  <a:pt x="642" y="377"/>
                </a:lnTo>
                <a:lnTo>
                  <a:pt x="642" y="374"/>
                </a:lnTo>
                <a:lnTo>
                  <a:pt x="642" y="376"/>
                </a:lnTo>
                <a:lnTo>
                  <a:pt x="641" y="374"/>
                </a:lnTo>
                <a:lnTo>
                  <a:pt x="639" y="376"/>
                </a:lnTo>
                <a:lnTo>
                  <a:pt x="639" y="374"/>
                </a:lnTo>
                <a:lnTo>
                  <a:pt x="636" y="374"/>
                </a:lnTo>
                <a:lnTo>
                  <a:pt x="636" y="376"/>
                </a:lnTo>
                <a:lnTo>
                  <a:pt x="634" y="377"/>
                </a:lnTo>
                <a:lnTo>
                  <a:pt x="632" y="379"/>
                </a:lnTo>
                <a:lnTo>
                  <a:pt x="632" y="381"/>
                </a:lnTo>
                <a:lnTo>
                  <a:pt x="632" y="384"/>
                </a:lnTo>
                <a:lnTo>
                  <a:pt x="631" y="386"/>
                </a:lnTo>
                <a:lnTo>
                  <a:pt x="627" y="388"/>
                </a:lnTo>
                <a:lnTo>
                  <a:pt x="625" y="389"/>
                </a:lnTo>
                <a:lnTo>
                  <a:pt x="624" y="393"/>
                </a:lnTo>
                <a:lnTo>
                  <a:pt x="622" y="393"/>
                </a:lnTo>
                <a:lnTo>
                  <a:pt x="624" y="396"/>
                </a:lnTo>
                <a:lnTo>
                  <a:pt x="622" y="396"/>
                </a:lnTo>
                <a:lnTo>
                  <a:pt x="620" y="396"/>
                </a:lnTo>
                <a:lnTo>
                  <a:pt x="619" y="396"/>
                </a:lnTo>
                <a:lnTo>
                  <a:pt x="617" y="396"/>
                </a:lnTo>
                <a:lnTo>
                  <a:pt x="614" y="398"/>
                </a:lnTo>
                <a:lnTo>
                  <a:pt x="615" y="400"/>
                </a:lnTo>
                <a:lnTo>
                  <a:pt x="615" y="401"/>
                </a:lnTo>
                <a:lnTo>
                  <a:pt x="617" y="403"/>
                </a:lnTo>
                <a:lnTo>
                  <a:pt x="617" y="405"/>
                </a:lnTo>
                <a:lnTo>
                  <a:pt x="617" y="408"/>
                </a:lnTo>
                <a:lnTo>
                  <a:pt x="617" y="410"/>
                </a:lnTo>
                <a:lnTo>
                  <a:pt x="615" y="412"/>
                </a:lnTo>
                <a:lnTo>
                  <a:pt x="614" y="412"/>
                </a:lnTo>
                <a:lnTo>
                  <a:pt x="612" y="413"/>
                </a:lnTo>
                <a:lnTo>
                  <a:pt x="614" y="413"/>
                </a:lnTo>
                <a:lnTo>
                  <a:pt x="612" y="415"/>
                </a:lnTo>
                <a:lnTo>
                  <a:pt x="612" y="413"/>
                </a:lnTo>
                <a:lnTo>
                  <a:pt x="612" y="412"/>
                </a:lnTo>
                <a:lnTo>
                  <a:pt x="608" y="412"/>
                </a:lnTo>
                <a:lnTo>
                  <a:pt x="610" y="412"/>
                </a:lnTo>
                <a:lnTo>
                  <a:pt x="612" y="415"/>
                </a:lnTo>
                <a:lnTo>
                  <a:pt x="610" y="415"/>
                </a:lnTo>
                <a:lnTo>
                  <a:pt x="610" y="413"/>
                </a:lnTo>
                <a:lnTo>
                  <a:pt x="608" y="412"/>
                </a:lnTo>
                <a:lnTo>
                  <a:pt x="608" y="410"/>
                </a:lnTo>
                <a:lnTo>
                  <a:pt x="607" y="406"/>
                </a:lnTo>
                <a:lnTo>
                  <a:pt x="608" y="406"/>
                </a:lnTo>
                <a:lnTo>
                  <a:pt x="607" y="406"/>
                </a:lnTo>
                <a:lnTo>
                  <a:pt x="607" y="410"/>
                </a:lnTo>
                <a:lnTo>
                  <a:pt x="605" y="406"/>
                </a:lnTo>
                <a:lnTo>
                  <a:pt x="607" y="405"/>
                </a:lnTo>
                <a:lnTo>
                  <a:pt x="608" y="403"/>
                </a:lnTo>
                <a:lnTo>
                  <a:pt x="610" y="405"/>
                </a:lnTo>
                <a:lnTo>
                  <a:pt x="610" y="403"/>
                </a:lnTo>
                <a:lnTo>
                  <a:pt x="614" y="403"/>
                </a:lnTo>
                <a:lnTo>
                  <a:pt x="612" y="405"/>
                </a:lnTo>
                <a:lnTo>
                  <a:pt x="614" y="405"/>
                </a:lnTo>
                <a:lnTo>
                  <a:pt x="614" y="403"/>
                </a:lnTo>
                <a:lnTo>
                  <a:pt x="614" y="401"/>
                </a:lnTo>
                <a:lnTo>
                  <a:pt x="614" y="400"/>
                </a:lnTo>
                <a:lnTo>
                  <a:pt x="612" y="398"/>
                </a:lnTo>
                <a:lnTo>
                  <a:pt x="612" y="400"/>
                </a:lnTo>
                <a:lnTo>
                  <a:pt x="610" y="398"/>
                </a:lnTo>
                <a:lnTo>
                  <a:pt x="608" y="400"/>
                </a:lnTo>
                <a:lnTo>
                  <a:pt x="610" y="401"/>
                </a:lnTo>
                <a:lnTo>
                  <a:pt x="610" y="403"/>
                </a:lnTo>
                <a:lnTo>
                  <a:pt x="608" y="403"/>
                </a:lnTo>
                <a:lnTo>
                  <a:pt x="607" y="403"/>
                </a:lnTo>
                <a:lnTo>
                  <a:pt x="605" y="401"/>
                </a:lnTo>
                <a:lnTo>
                  <a:pt x="602" y="400"/>
                </a:lnTo>
                <a:lnTo>
                  <a:pt x="602" y="401"/>
                </a:lnTo>
                <a:lnTo>
                  <a:pt x="600" y="400"/>
                </a:lnTo>
                <a:lnTo>
                  <a:pt x="598" y="401"/>
                </a:lnTo>
                <a:lnTo>
                  <a:pt x="600" y="403"/>
                </a:lnTo>
                <a:lnTo>
                  <a:pt x="602" y="403"/>
                </a:lnTo>
                <a:lnTo>
                  <a:pt x="602" y="405"/>
                </a:lnTo>
                <a:lnTo>
                  <a:pt x="602" y="408"/>
                </a:lnTo>
                <a:lnTo>
                  <a:pt x="600" y="406"/>
                </a:lnTo>
                <a:lnTo>
                  <a:pt x="600" y="405"/>
                </a:lnTo>
                <a:lnTo>
                  <a:pt x="597" y="403"/>
                </a:lnTo>
                <a:lnTo>
                  <a:pt x="597" y="405"/>
                </a:lnTo>
                <a:lnTo>
                  <a:pt x="597" y="406"/>
                </a:lnTo>
                <a:lnTo>
                  <a:pt x="598" y="408"/>
                </a:lnTo>
                <a:lnTo>
                  <a:pt x="597" y="405"/>
                </a:lnTo>
                <a:lnTo>
                  <a:pt x="598" y="405"/>
                </a:lnTo>
                <a:lnTo>
                  <a:pt x="598" y="406"/>
                </a:lnTo>
                <a:lnTo>
                  <a:pt x="600" y="408"/>
                </a:lnTo>
                <a:lnTo>
                  <a:pt x="600" y="410"/>
                </a:lnTo>
                <a:lnTo>
                  <a:pt x="598" y="412"/>
                </a:lnTo>
                <a:lnTo>
                  <a:pt x="598" y="410"/>
                </a:lnTo>
                <a:lnTo>
                  <a:pt x="597" y="410"/>
                </a:lnTo>
                <a:lnTo>
                  <a:pt x="597" y="412"/>
                </a:lnTo>
                <a:lnTo>
                  <a:pt x="595" y="412"/>
                </a:lnTo>
                <a:lnTo>
                  <a:pt x="595" y="408"/>
                </a:lnTo>
                <a:lnTo>
                  <a:pt x="595" y="406"/>
                </a:lnTo>
                <a:lnTo>
                  <a:pt x="595" y="408"/>
                </a:lnTo>
                <a:lnTo>
                  <a:pt x="593" y="408"/>
                </a:lnTo>
                <a:lnTo>
                  <a:pt x="593" y="405"/>
                </a:lnTo>
                <a:lnTo>
                  <a:pt x="591" y="403"/>
                </a:lnTo>
                <a:lnTo>
                  <a:pt x="591" y="406"/>
                </a:lnTo>
                <a:lnTo>
                  <a:pt x="593" y="408"/>
                </a:lnTo>
                <a:lnTo>
                  <a:pt x="595" y="408"/>
                </a:lnTo>
                <a:lnTo>
                  <a:pt x="593" y="410"/>
                </a:lnTo>
                <a:lnTo>
                  <a:pt x="593" y="408"/>
                </a:lnTo>
                <a:lnTo>
                  <a:pt x="591" y="410"/>
                </a:lnTo>
                <a:lnTo>
                  <a:pt x="588" y="410"/>
                </a:lnTo>
                <a:lnTo>
                  <a:pt x="588" y="413"/>
                </a:lnTo>
                <a:lnTo>
                  <a:pt x="591" y="412"/>
                </a:lnTo>
                <a:lnTo>
                  <a:pt x="593" y="413"/>
                </a:lnTo>
                <a:lnTo>
                  <a:pt x="595" y="413"/>
                </a:lnTo>
                <a:lnTo>
                  <a:pt x="597" y="413"/>
                </a:lnTo>
                <a:lnTo>
                  <a:pt x="598" y="413"/>
                </a:lnTo>
                <a:lnTo>
                  <a:pt x="600" y="413"/>
                </a:lnTo>
                <a:lnTo>
                  <a:pt x="602" y="412"/>
                </a:lnTo>
                <a:lnTo>
                  <a:pt x="602" y="413"/>
                </a:lnTo>
                <a:lnTo>
                  <a:pt x="602" y="415"/>
                </a:lnTo>
                <a:lnTo>
                  <a:pt x="603" y="413"/>
                </a:lnTo>
                <a:lnTo>
                  <a:pt x="602" y="413"/>
                </a:lnTo>
                <a:lnTo>
                  <a:pt x="605" y="412"/>
                </a:lnTo>
                <a:lnTo>
                  <a:pt x="607" y="413"/>
                </a:lnTo>
                <a:lnTo>
                  <a:pt x="608" y="415"/>
                </a:lnTo>
                <a:lnTo>
                  <a:pt x="610" y="415"/>
                </a:lnTo>
                <a:lnTo>
                  <a:pt x="612" y="417"/>
                </a:lnTo>
                <a:lnTo>
                  <a:pt x="612" y="415"/>
                </a:lnTo>
                <a:lnTo>
                  <a:pt x="614" y="417"/>
                </a:lnTo>
                <a:lnTo>
                  <a:pt x="614" y="418"/>
                </a:lnTo>
                <a:lnTo>
                  <a:pt x="615" y="420"/>
                </a:lnTo>
                <a:lnTo>
                  <a:pt x="615" y="418"/>
                </a:lnTo>
                <a:lnTo>
                  <a:pt x="615" y="417"/>
                </a:lnTo>
                <a:lnTo>
                  <a:pt x="619" y="417"/>
                </a:lnTo>
                <a:lnTo>
                  <a:pt x="619" y="415"/>
                </a:lnTo>
                <a:lnTo>
                  <a:pt x="617" y="413"/>
                </a:lnTo>
                <a:lnTo>
                  <a:pt x="615" y="413"/>
                </a:lnTo>
                <a:lnTo>
                  <a:pt x="615" y="412"/>
                </a:lnTo>
                <a:lnTo>
                  <a:pt x="617" y="412"/>
                </a:lnTo>
                <a:lnTo>
                  <a:pt x="620" y="413"/>
                </a:lnTo>
                <a:lnTo>
                  <a:pt x="620" y="415"/>
                </a:lnTo>
                <a:lnTo>
                  <a:pt x="620" y="417"/>
                </a:lnTo>
                <a:lnTo>
                  <a:pt x="619" y="418"/>
                </a:lnTo>
                <a:lnTo>
                  <a:pt x="619" y="420"/>
                </a:lnTo>
                <a:lnTo>
                  <a:pt x="619" y="418"/>
                </a:lnTo>
                <a:lnTo>
                  <a:pt x="619" y="420"/>
                </a:lnTo>
                <a:lnTo>
                  <a:pt x="619" y="422"/>
                </a:lnTo>
                <a:lnTo>
                  <a:pt x="617" y="423"/>
                </a:lnTo>
                <a:lnTo>
                  <a:pt x="619" y="425"/>
                </a:lnTo>
                <a:lnTo>
                  <a:pt x="619" y="423"/>
                </a:lnTo>
                <a:lnTo>
                  <a:pt x="620" y="423"/>
                </a:lnTo>
                <a:lnTo>
                  <a:pt x="622" y="422"/>
                </a:lnTo>
                <a:lnTo>
                  <a:pt x="620" y="420"/>
                </a:lnTo>
                <a:lnTo>
                  <a:pt x="622" y="420"/>
                </a:lnTo>
                <a:lnTo>
                  <a:pt x="622" y="418"/>
                </a:lnTo>
                <a:lnTo>
                  <a:pt x="624" y="417"/>
                </a:lnTo>
                <a:lnTo>
                  <a:pt x="625" y="415"/>
                </a:lnTo>
                <a:lnTo>
                  <a:pt x="627" y="413"/>
                </a:lnTo>
                <a:lnTo>
                  <a:pt x="629" y="413"/>
                </a:lnTo>
                <a:lnTo>
                  <a:pt x="629" y="415"/>
                </a:lnTo>
                <a:lnTo>
                  <a:pt x="627" y="417"/>
                </a:lnTo>
                <a:lnTo>
                  <a:pt x="625" y="415"/>
                </a:lnTo>
                <a:lnTo>
                  <a:pt x="625" y="417"/>
                </a:lnTo>
                <a:lnTo>
                  <a:pt x="624" y="418"/>
                </a:lnTo>
                <a:lnTo>
                  <a:pt x="624" y="420"/>
                </a:lnTo>
                <a:lnTo>
                  <a:pt x="624" y="422"/>
                </a:lnTo>
                <a:lnTo>
                  <a:pt x="624" y="423"/>
                </a:lnTo>
                <a:lnTo>
                  <a:pt x="625" y="422"/>
                </a:lnTo>
                <a:lnTo>
                  <a:pt x="627" y="420"/>
                </a:lnTo>
                <a:lnTo>
                  <a:pt x="629" y="418"/>
                </a:lnTo>
                <a:lnTo>
                  <a:pt x="631" y="420"/>
                </a:lnTo>
                <a:lnTo>
                  <a:pt x="629" y="423"/>
                </a:lnTo>
                <a:lnTo>
                  <a:pt x="629" y="425"/>
                </a:lnTo>
                <a:lnTo>
                  <a:pt x="631" y="425"/>
                </a:lnTo>
                <a:lnTo>
                  <a:pt x="634" y="423"/>
                </a:lnTo>
                <a:lnTo>
                  <a:pt x="636" y="422"/>
                </a:lnTo>
                <a:lnTo>
                  <a:pt x="636" y="423"/>
                </a:lnTo>
                <a:lnTo>
                  <a:pt x="636" y="425"/>
                </a:lnTo>
                <a:lnTo>
                  <a:pt x="639" y="425"/>
                </a:lnTo>
                <a:lnTo>
                  <a:pt x="641" y="425"/>
                </a:lnTo>
                <a:lnTo>
                  <a:pt x="642" y="425"/>
                </a:lnTo>
                <a:lnTo>
                  <a:pt x="642" y="427"/>
                </a:lnTo>
                <a:lnTo>
                  <a:pt x="646" y="427"/>
                </a:lnTo>
                <a:lnTo>
                  <a:pt x="646" y="429"/>
                </a:lnTo>
                <a:lnTo>
                  <a:pt x="648" y="429"/>
                </a:lnTo>
                <a:lnTo>
                  <a:pt x="649" y="430"/>
                </a:lnTo>
                <a:lnTo>
                  <a:pt x="649" y="432"/>
                </a:lnTo>
                <a:lnTo>
                  <a:pt x="649" y="430"/>
                </a:lnTo>
                <a:lnTo>
                  <a:pt x="648" y="429"/>
                </a:lnTo>
                <a:lnTo>
                  <a:pt x="648" y="430"/>
                </a:lnTo>
                <a:lnTo>
                  <a:pt x="648" y="429"/>
                </a:lnTo>
                <a:lnTo>
                  <a:pt x="649" y="430"/>
                </a:lnTo>
                <a:lnTo>
                  <a:pt x="649" y="432"/>
                </a:lnTo>
                <a:lnTo>
                  <a:pt x="651" y="432"/>
                </a:lnTo>
                <a:lnTo>
                  <a:pt x="651" y="434"/>
                </a:lnTo>
                <a:lnTo>
                  <a:pt x="653" y="435"/>
                </a:lnTo>
                <a:lnTo>
                  <a:pt x="653" y="437"/>
                </a:lnTo>
                <a:lnTo>
                  <a:pt x="651" y="439"/>
                </a:lnTo>
                <a:lnTo>
                  <a:pt x="649" y="440"/>
                </a:lnTo>
                <a:lnTo>
                  <a:pt x="651" y="442"/>
                </a:lnTo>
                <a:lnTo>
                  <a:pt x="649" y="440"/>
                </a:lnTo>
                <a:lnTo>
                  <a:pt x="651" y="440"/>
                </a:lnTo>
                <a:lnTo>
                  <a:pt x="653" y="442"/>
                </a:lnTo>
                <a:lnTo>
                  <a:pt x="654" y="444"/>
                </a:lnTo>
                <a:lnTo>
                  <a:pt x="656" y="444"/>
                </a:lnTo>
                <a:lnTo>
                  <a:pt x="658" y="446"/>
                </a:lnTo>
                <a:lnTo>
                  <a:pt x="659" y="444"/>
                </a:lnTo>
                <a:lnTo>
                  <a:pt x="661" y="444"/>
                </a:lnTo>
                <a:lnTo>
                  <a:pt x="663" y="444"/>
                </a:lnTo>
                <a:lnTo>
                  <a:pt x="665" y="444"/>
                </a:lnTo>
                <a:lnTo>
                  <a:pt x="668" y="446"/>
                </a:lnTo>
                <a:lnTo>
                  <a:pt x="670" y="446"/>
                </a:lnTo>
                <a:lnTo>
                  <a:pt x="671" y="446"/>
                </a:lnTo>
                <a:lnTo>
                  <a:pt x="675" y="444"/>
                </a:lnTo>
                <a:lnTo>
                  <a:pt x="675" y="442"/>
                </a:lnTo>
                <a:lnTo>
                  <a:pt x="671" y="442"/>
                </a:lnTo>
                <a:lnTo>
                  <a:pt x="670" y="440"/>
                </a:lnTo>
                <a:lnTo>
                  <a:pt x="668" y="440"/>
                </a:lnTo>
                <a:lnTo>
                  <a:pt x="666" y="439"/>
                </a:lnTo>
                <a:lnTo>
                  <a:pt x="666" y="440"/>
                </a:lnTo>
                <a:lnTo>
                  <a:pt x="665" y="439"/>
                </a:lnTo>
                <a:lnTo>
                  <a:pt x="663" y="437"/>
                </a:lnTo>
                <a:lnTo>
                  <a:pt x="661" y="435"/>
                </a:lnTo>
                <a:lnTo>
                  <a:pt x="659" y="435"/>
                </a:lnTo>
                <a:lnTo>
                  <a:pt x="658" y="434"/>
                </a:lnTo>
                <a:lnTo>
                  <a:pt x="654" y="432"/>
                </a:lnTo>
                <a:lnTo>
                  <a:pt x="653" y="430"/>
                </a:lnTo>
                <a:lnTo>
                  <a:pt x="651" y="430"/>
                </a:lnTo>
                <a:lnTo>
                  <a:pt x="649" y="429"/>
                </a:lnTo>
                <a:lnTo>
                  <a:pt x="648" y="427"/>
                </a:lnTo>
                <a:lnTo>
                  <a:pt x="646" y="425"/>
                </a:lnTo>
                <a:lnTo>
                  <a:pt x="644" y="425"/>
                </a:lnTo>
                <a:lnTo>
                  <a:pt x="642" y="423"/>
                </a:lnTo>
                <a:lnTo>
                  <a:pt x="641" y="422"/>
                </a:lnTo>
                <a:lnTo>
                  <a:pt x="639" y="420"/>
                </a:lnTo>
                <a:lnTo>
                  <a:pt x="637" y="418"/>
                </a:lnTo>
                <a:lnTo>
                  <a:pt x="637" y="417"/>
                </a:lnTo>
                <a:lnTo>
                  <a:pt x="634" y="415"/>
                </a:lnTo>
                <a:lnTo>
                  <a:pt x="634" y="417"/>
                </a:lnTo>
                <a:lnTo>
                  <a:pt x="632" y="418"/>
                </a:lnTo>
                <a:lnTo>
                  <a:pt x="631" y="417"/>
                </a:lnTo>
                <a:lnTo>
                  <a:pt x="631" y="415"/>
                </a:lnTo>
                <a:lnTo>
                  <a:pt x="631" y="412"/>
                </a:lnTo>
                <a:lnTo>
                  <a:pt x="629" y="408"/>
                </a:lnTo>
                <a:lnTo>
                  <a:pt x="631" y="410"/>
                </a:lnTo>
                <a:lnTo>
                  <a:pt x="629" y="408"/>
                </a:lnTo>
                <a:lnTo>
                  <a:pt x="627" y="406"/>
                </a:lnTo>
                <a:lnTo>
                  <a:pt x="625" y="405"/>
                </a:lnTo>
                <a:lnTo>
                  <a:pt x="624" y="403"/>
                </a:lnTo>
                <a:lnTo>
                  <a:pt x="624" y="405"/>
                </a:lnTo>
                <a:lnTo>
                  <a:pt x="624" y="406"/>
                </a:lnTo>
                <a:lnTo>
                  <a:pt x="622" y="405"/>
                </a:lnTo>
                <a:lnTo>
                  <a:pt x="620" y="405"/>
                </a:lnTo>
                <a:lnTo>
                  <a:pt x="620" y="403"/>
                </a:lnTo>
                <a:lnTo>
                  <a:pt x="619" y="401"/>
                </a:lnTo>
                <a:lnTo>
                  <a:pt x="620" y="401"/>
                </a:lnTo>
                <a:lnTo>
                  <a:pt x="622" y="400"/>
                </a:lnTo>
                <a:lnTo>
                  <a:pt x="624" y="401"/>
                </a:lnTo>
                <a:lnTo>
                  <a:pt x="624" y="400"/>
                </a:lnTo>
                <a:lnTo>
                  <a:pt x="622" y="398"/>
                </a:lnTo>
                <a:lnTo>
                  <a:pt x="624" y="396"/>
                </a:lnTo>
                <a:lnTo>
                  <a:pt x="622" y="398"/>
                </a:lnTo>
                <a:lnTo>
                  <a:pt x="624" y="396"/>
                </a:lnTo>
                <a:lnTo>
                  <a:pt x="624" y="398"/>
                </a:lnTo>
                <a:lnTo>
                  <a:pt x="625" y="400"/>
                </a:lnTo>
                <a:lnTo>
                  <a:pt x="627" y="401"/>
                </a:lnTo>
                <a:lnTo>
                  <a:pt x="627" y="403"/>
                </a:lnTo>
                <a:lnTo>
                  <a:pt x="629" y="405"/>
                </a:lnTo>
                <a:lnTo>
                  <a:pt x="629" y="406"/>
                </a:lnTo>
                <a:lnTo>
                  <a:pt x="631" y="408"/>
                </a:lnTo>
                <a:lnTo>
                  <a:pt x="632" y="410"/>
                </a:lnTo>
                <a:lnTo>
                  <a:pt x="634" y="412"/>
                </a:lnTo>
                <a:lnTo>
                  <a:pt x="634" y="413"/>
                </a:lnTo>
                <a:lnTo>
                  <a:pt x="636" y="415"/>
                </a:lnTo>
                <a:lnTo>
                  <a:pt x="639" y="418"/>
                </a:lnTo>
                <a:lnTo>
                  <a:pt x="641" y="420"/>
                </a:lnTo>
                <a:lnTo>
                  <a:pt x="644" y="423"/>
                </a:lnTo>
                <a:lnTo>
                  <a:pt x="646" y="423"/>
                </a:lnTo>
                <a:lnTo>
                  <a:pt x="648" y="425"/>
                </a:lnTo>
                <a:lnTo>
                  <a:pt x="649" y="427"/>
                </a:lnTo>
                <a:lnTo>
                  <a:pt x="651" y="429"/>
                </a:lnTo>
                <a:lnTo>
                  <a:pt x="653" y="429"/>
                </a:lnTo>
                <a:lnTo>
                  <a:pt x="654" y="430"/>
                </a:lnTo>
                <a:lnTo>
                  <a:pt x="656" y="432"/>
                </a:lnTo>
                <a:lnTo>
                  <a:pt x="658" y="434"/>
                </a:lnTo>
                <a:lnTo>
                  <a:pt x="659" y="434"/>
                </a:lnTo>
                <a:lnTo>
                  <a:pt x="661" y="435"/>
                </a:lnTo>
                <a:lnTo>
                  <a:pt x="663" y="435"/>
                </a:lnTo>
                <a:lnTo>
                  <a:pt x="665" y="437"/>
                </a:lnTo>
                <a:lnTo>
                  <a:pt x="665" y="439"/>
                </a:lnTo>
                <a:lnTo>
                  <a:pt x="666" y="439"/>
                </a:lnTo>
                <a:lnTo>
                  <a:pt x="668" y="440"/>
                </a:lnTo>
                <a:lnTo>
                  <a:pt x="671" y="440"/>
                </a:lnTo>
                <a:lnTo>
                  <a:pt x="675" y="442"/>
                </a:lnTo>
                <a:lnTo>
                  <a:pt x="676" y="442"/>
                </a:lnTo>
                <a:lnTo>
                  <a:pt x="678" y="440"/>
                </a:lnTo>
                <a:lnTo>
                  <a:pt x="680" y="439"/>
                </a:lnTo>
                <a:lnTo>
                  <a:pt x="683" y="437"/>
                </a:lnTo>
                <a:lnTo>
                  <a:pt x="683" y="435"/>
                </a:lnTo>
                <a:lnTo>
                  <a:pt x="685" y="435"/>
                </a:lnTo>
                <a:lnTo>
                  <a:pt x="685" y="434"/>
                </a:lnTo>
                <a:lnTo>
                  <a:pt x="685" y="432"/>
                </a:lnTo>
                <a:lnTo>
                  <a:pt x="685" y="430"/>
                </a:lnTo>
                <a:lnTo>
                  <a:pt x="687" y="427"/>
                </a:lnTo>
                <a:lnTo>
                  <a:pt x="687" y="425"/>
                </a:lnTo>
                <a:lnTo>
                  <a:pt x="687" y="423"/>
                </a:lnTo>
                <a:lnTo>
                  <a:pt x="688" y="423"/>
                </a:lnTo>
                <a:lnTo>
                  <a:pt x="688" y="425"/>
                </a:lnTo>
                <a:lnTo>
                  <a:pt x="690" y="427"/>
                </a:lnTo>
                <a:lnTo>
                  <a:pt x="692" y="427"/>
                </a:lnTo>
                <a:lnTo>
                  <a:pt x="693" y="429"/>
                </a:lnTo>
                <a:lnTo>
                  <a:pt x="695" y="429"/>
                </a:lnTo>
                <a:lnTo>
                  <a:pt x="697" y="427"/>
                </a:lnTo>
                <a:lnTo>
                  <a:pt x="699" y="425"/>
                </a:lnTo>
                <a:lnTo>
                  <a:pt x="699" y="423"/>
                </a:lnTo>
                <a:lnTo>
                  <a:pt x="699" y="422"/>
                </a:lnTo>
                <a:lnTo>
                  <a:pt x="700" y="420"/>
                </a:lnTo>
                <a:lnTo>
                  <a:pt x="702" y="418"/>
                </a:lnTo>
                <a:lnTo>
                  <a:pt x="704" y="418"/>
                </a:lnTo>
                <a:lnTo>
                  <a:pt x="705" y="417"/>
                </a:lnTo>
                <a:lnTo>
                  <a:pt x="707" y="415"/>
                </a:lnTo>
                <a:lnTo>
                  <a:pt x="709" y="415"/>
                </a:lnTo>
                <a:lnTo>
                  <a:pt x="710" y="415"/>
                </a:lnTo>
                <a:lnTo>
                  <a:pt x="712" y="415"/>
                </a:lnTo>
                <a:lnTo>
                  <a:pt x="714" y="415"/>
                </a:lnTo>
                <a:lnTo>
                  <a:pt x="717" y="413"/>
                </a:lnTo>
                <a:lnTo>
                  <a:pt x="721" y="415"/>
                </a:lnTo>
                <a:lnTo>
                  <a:pt x="722" y="413"/>
                </a:lnTo>
                <a:lnTo>
                  <a:pt x="724" y="415"/>
                </a:lnTo>
                <a:lnTo>
                  <a:pt x="726" y="415"/>
                </a:lnTo>
                <a:lnTo>
                  <a:pt x="726" y="417"/>
                </a:lnTo>
                <a:lnTo>
                  <a:pt x="726" y="418"/>
                </a:lnTo>
                <a:lnTo>
                  <a:pt x="724" y="420"/>
                </a:lnTo>
                <a:lnTo>
                  <a:pt x="722" y="420"/>
                </a:lnTo>
                <a:lnTo>
                  <a:pt x="721" y="420"/>
                </a:lnTo>
                <a:lnTo>
                  <a:pt x="719" y="422"/>
                </a:lnTo>
                <a:lnTo>
                  <a:pt x="721" y="422"/>
                </a:lnTo>
                <a:lnTo>
                  <a:pt x="721" y="423"/>
                </a:lnTo>
                <a:lnTo>
                  <a:pt x="719" y="425"/>
                </a:lnTo>
                <a:lnTo>
                  <a:pt x="719" y="427"/>
                </a:lnTo>
                <a:lnTo>
                  <a:pt x="719" y="429"/>
                </a:lnTo>
                <a:lnTo>
                  <a:pt x="719" y="427"/>
                </a:lnTo>
                <a:lnTo>
                  <a:pt x="719" y="429"/>
                </a:lnTo>
                <a:lnTo>
                  <a:pt x="719" y="432"/>
                </a:lnTo>
                <a:lnTo>
                  <a:pt x="721" y="434"/>
                </a:lnTo>
                <a:lnTo>
                  <a:pt x="722" y="435"/>
                </a:lnTo>
                <a:lnTo>
                  <a:pt x="724" y="437"/>
                </a:lnTo>
                <a:lnTo>
                  <a:pt x="724" y="439"/>
                </a:lnTo>
                <a:lnTo>
                  <a:pt x="722" y="440"/>
                </a:lnTo>
                <a:lnTo>
                  <a:pt x="722" y="442"/>
                </a:lnTo>
                <a:lnTo>
                  <a:pt x="721" y="442"/>
                </a:lnTo>
                <a:lnTo>
                  <a:pt x="719" y="442"/>
                </a:lnTo>
                <a:lnTo>
                  <a:pt x="717" y="444"/>
                </a:lnTo>
                <a:lnTo>
                  <a:pt x="716" y="446"/>
                </a:lnTo>
                <a:lnTo>
                  <a:pt x="714" y="447"/>
                </a:lnTo>
                <a:lnTo>
                  <a:pt x="712" y="447"/>
                </a:lnTo>
                <a:lnTo>
                  <a:pt x="709" y="447"/>
                </a:lnTo>
                <a:lnTo>
                  <a:pt x="707" y="449"/>
                </a:lnTo>
                <a:lnTo>
                  <a:pt x="705" y="449"/>
                </a:lnTo>
                <a:lnTo>
                  <a:pt x="704" y="452"/>
                </a:lnTo>
                <a:lnTo>
                  <a:pt x="702" y="452"/>
                </a:lnTo>
                <a:lnTo>
                  <a:pt x="700" y="454"/>
                </a:lnTo>
                <a:lnTo>
                  <a:pt x="699" y="456"/>
                </a:lnTo>
                <a:lnTo>
                  <a:pt x="697" y="452"/>
                </a:lnTo>
                <a:lnTo>
                  <a:pt x="693" y="452"/>
                </a:lnTo>
                <a:lnTo>
                  <a:pt x="692" y="451"/>
                </a:lnTo>
                <a:lnTo>
                  <a:pt x="688" y="451"/>
                </a:lnTo>
                <a:lnTo>
                  <a:pt x="685" y="451"/>
                </a:lnTo>
                <a:lnTo>
                  <a:pt x="683" y="451"/>
                </a:lnTo>
                <a:lnTo>
                  <a:pt x="682" y="452"/>
                </a:lnTo>
                <a:lnTo>
                  <a:pt x="680" y="454"/>
                </a:lnTo>
                <a:lnTo>
                  <a:pt x="678" y="454"/>
                </a:lnTo>
                <a:lnTo>
                  <a:pt x="678" y="456"/>
                </a:lnTo>
                <a:lnTo>
                  <a:pt x="676" y="457"/>
                </a:lnTo>
                <a:lnTo>
                  <a:pt x="676" y="459"/>
                </a:lnTo>
                <a:lnTo>
                  <a:pt x="676" y="461"/>
                </a:lnTo>
                <a:lnTo>
                  <a:pt x="678" y="461"/>
                </a:lnTo>
                <a:lnTo>
                  <a:pt x="678" y="463"/>
                </a:lnTo>
                <a:lnTo>
                  <a:pt x="676" y="464"/>
                </a:lnTo>
                <a:lnTo>
                  <a:pt x="678" y="466"/>
                </a:lnTo>
                <a:lnTo>
                  <a:pt x="676" y="466"/>
                </a:lnTo>
                <a:lnTo>
                  <a:pt x="675" y="466"/>
                </a:lnTo>
                <a:lnTo>
                  <a:pt x="673" y="468"/>
                </a:lnTo>
                <a:lnTo>
                  <a:pt x="671" y="468"/>
                </a:lnTo>
                <a:lnTo>
                  <a:pt x="673" y="471"/>
                </a:lnTo>
                <a:lnTo>
                  <a:pt x="670" y="473"/>
                </a:lnTo>
                <a:lnTo>
                  <a:pt x="670" y="474"/>
                </a:lnTo>
                <a:lnTo>
                  <a:pt x="670" y="476"/>
                </a:lnTo>
                <a:lnTo>
                  <a:pt x="670" y="480"/>
                </a:lnTo>
                <a:lnTo>
                  <a:pt x="668" y="481"/>
                </a:lnTo>
                <a:lnTo>
                  <a:pt x="666" y="481"/>
                </a:lnTo>
                <a:lnTo>
                  <a:pt x="665" y="480"/>
                </a:lnTo>
                <a:lnTo>
                  <a:pt x="663" y="481"/>
                </a:lnTo>
                <a:lnTo>
                  <a:pt x="661" y="481"/>
                </a:lnTo>
                <a:lnTo>
                  <a:pt x="659" y="483"/>
                </a:lnTo>
                <a:lnTo>
                  <a:pt x="658" y="483"/>
                </a:lnTo>
                <a:lnTo>
                  <a:pt x="656" y="485"/>
                </a:lnTo>
                <a:lnTo>
                  <a:pt x="654" y="485"/>
                </a:lnTo>
                <a:lnTo>
                  <a:pt x="653" y="486"/>
                </a:lnTo>
                <a:lnTo>
                  <a:pt x="651" y="486"/>
                </a:lnTo>
                <a:lnTo>
                  <a:pt x="649" y="488"/>
                </a:lnTo>
                <a:lnTo>
                  <a:pt x="649" y="490"/>
                </a:lnTo>
                <a:lnTo>
                  <a:pt x="648" y="490"/>
                </a:lnTo>
                <a:lnTo>
                  <a:pt x="646" y="491"/>
                </a:lnTo>
                <a:lnTo>
                  <a:pt x="646" y="493"/>
                </a:lnTo>
                <a:lnTo>
                  <a:pt x="644" y="493"/>
                </a:lnTo>
                <a:lnTo>
                  <a:pt x="644" y="495"/>
                </a:lnTo>
                <a:lnTo>
                  <a:pt x="642" y="497"/>
                </a:lnTo>
                <a:lnTo>
                  <a:pt x="641" y="498"/>
                </a:lnTo>
                <a:lnTo>
                  <a:pt x="639" y="502"/>
                </a:lnTo>
                <a:lnTo>
                  <a:pt x="639" y="503"/>
                </a:lnTo>
                <a:lnTo>
                  <a:pt x="639" y="505"/>
                </a:lnTo>
                <a:lnTo>
                  <a:pt x="639" y="507"/>
                </a:lnTo>
                <a:lnTo>
                  <a:pt x="639" y="508"/>
                </a:lnTo>
                <a:lnTo>
                  <a:pt x="639" y="510"/>
                </a:lnTo>
                <a:lnTo>
                  <a:pt x="637" y="510"/>
                </a:lnTo>
                <a:lnTo>
                  <a:pt x="636" y="512"/>
                </a:lnTo>
                <a:lnTo>
                  <a:pt x="636" y="515"/>
                </a:lnTo>
                <a:lnTo>
                  <a:pt x="634" y="517"/>
                </a:lnTo>
                <a:lnTo>
                  <a:pt x="632" y="517"/>
                </a:lnTo>
                <a:lnTo>
                  <a:pt x="632" y="519"/>
                </a:lnTo>
                <a:lnTo>
                  <a:pt x="632" y="520"/>
                </a:lnTo>
                <a:lnTo>
                  <a:pt x="632" y="522"/>
                </a:lnTo>
                <a:lnTo>
                  <a:pt x="629" y="524"/>
                </a:lnTo>
                <a:lnTo>
                  <a:pt x="627" y="525"/>
                </a:lnTo>
                <a:lnTo>
                  <a:pt x="625" y="527"/>
                </a:lnTo>
                <a:lnTo>
                  <a:pt x="624" y="527"/>
                </a:lnTo>
                <a:lnTo>
                  <a:pt x="622" y="527"/>
                </a:lnTo>
                <a:lnTo>
                  <a:pt x="620" y="527"/>
                </a:lnTo>
                <a:lnTo>
                  <a:pt x="617" y="529"/>
                </a:lnTo>
                <a:lnTo>
                  <a:pt x="615" y="531"/>
                </a:lnTo>
                <a:lnTo>
                  <a:pt x="614" y="531"/>
                </a:lnTo>
                <a:lnTo>
                  <a:pt x="612" y="529"/>
                </a:lnTo>
                <a:lnTo>
                  <a:pt x="608" y="531"/>
                </a:lnTo>
                <a:lnTo>
                  <a:pt x="607" y="527"/>
                </a:lnTo>
                <a:lnTo>
                  <a:pt x="605" y="525"/>
                </a:lnTo>
                <a:lnTo>
                  <a:pt x="603" y="527"/>
                </a:lnTo>
                <a:lnTo>
                  <a:pt x="600" y="527"/>
                </a:lnTo>
                <a:lnTo>
                  <a:pt x="598" y="527"/>
                </a:lnTo>
                <a:lnTo>
                  <a:pt x="597" y="525"/>
                </a:lnTo>
                <a:lnTo>
                  <a:pt x="595" y="525"/>
                </a:lnTo>
                <a:lnTo>
                  <a:pt x="593" y="524"/>
                </a:lnTo>
                <a:lnTo>
                  <a:pt x="595" y="525"/>
                </a:lnTo>
                <a:lnTo>
                  <a:pt x="595" y="522"/>
                </a:lnTo>
                <a:lnTo>
                  <a:pt x="595" y="524"/>
                </a:lnTo>
                <a:lnTo>
                  <a:pt x="595" y="522"/>
                </a:lnTo>
                <a:lnTo>
                  <a:pt x="597" y="520"/>
                </a:lnTo>
                <a:lnTo>
                  <a:pt x="597" y="522"/>
                </a:lnTo>
                <a:lnTo>
                  <a:pt x="597" y="520"/>
                </a:lnTo>
                <a:lnTo>
                  <a:pt x="598" y="520"/>
                </a:lnTo>
                <a:lnTo>
                  <a:pt x="598" y="519"/>
                </a:lnTo>
                <a:lnTo>
                  <a:pt x="600" y="520"/>
                </a:lnTo>
                <a:lnTo>
                  <a:pt x="598" y="519"/>
                </a:lnTo>
                <a:lnTo>
                  <a:pt x="602" y="519"/>
                </a:lnTo>
                <a:lnTo>
                  <a:pt x="603" y="519"/>
                </a:lnTo>
                <a:lnTo>
                  <a:pt x="602" y="519"/>
                </a:lnTo>
                <a:lnTo>
                  <a:pt x="600" y="519"/>
                </a:lnTo>
                <a:lnTo>
                  <a:pt x="598" y="519"/>
                </a:lnTo>
                <a:lnTo>
                  <a:pt x="598" y="517"/>
                </a:lnTo>
                <a:lnTo>
                  <a:pt x="598" y="515"/>
                </a:lnTo>
                <a:lnTo>
                  <a:pt x="598" y="514"/>
                </a:lnTo>
                <a:lnTo>
                  <a:pt x="597" y="512"/>
                </a:lnTo>
                <a:lnTo>
                  <a:pt x="597" y="510"/>
                </a:lnTo>
                <a:lnTo>
                  <a:pt x="595" y="507"/>
                </a:lnTo>
                <a:lnTo>
                  <a:pt x="595" y="505"/>
                </a:lnTo>
                <a:lnTo>
                  <a:pt x="597" y="503"/>
                </a:lnTo>
                <a:lnTo>
                  <a:pt x="597" y="502"/>
                </a:lnTo>
                <a:lnTo>
                  <a:pt x="597" y="498"/>
                </a:lnTo>
                <a:lnTo>
                  <a:pt x="595" y="497"/>
                </a:lnTo>
                <a:lnTo>
                  <a:pt x="595" y="495"/>
                </a:lnTo>
                <a:lnTo>
                  <a:pt x="593" y="493"/>
                </a:lnTo>
                <a:lnTo>
                  <a:pt x="593" y="491"/>
                </a:lnTo>
                <a:lnTo>
                  <a:pt x="591" y="490"/>
                </a:lnTo>
                <a:lnTo>
                  <a:pt x="590" y="488"/>
                </a:lnTo>
                <a:lnTo>
                  <a:pt x="590" y="486"/>
                </a:lnTo>
                <a:lnTo>
                  <a:pt x="586" y="485"/>
                </a:lnTo>
                <a:lnTo>
                  <a:pt x="585" y="485"/>
                </a:lnTo>
                <a:lnTo>
                  <a:pt x="583" y="483"/>
                </a:lnTo>
                <a:lnTo>
                  <a:pt x="580" y="483"/>
                </a:lnTo>
                <a:lnTo>
                  <a:pt x="578" y="485"/>
                </a:lnTo>
                <a:lnTo>
                  <a:pt x="576" y="486"/>
                </a:lnTo>
                <a:lnTo>
                  <a:pt x="574" y="488"/>
                </a:lnTo>
                <a:lnTo>
                  <a:pt x="573" y="486"/>
                </a:lnTo>
                <a:lnTo>
                  <a:pt x="569" y="486"/>
                </a:lnTo>
                <a:lnTo>
                  <a:pt x="568" y="486"/>
                </a:lnTo>
                <a:lnTo>
                  <a:pt x="568" y="485"/>
                </a:lnTo>
                <a:lnTo>
                  <a:pt x="566" y="485"/>
                </a:lnTo>
                <a:lnTo>
                  <a:pt x="564" y="485"/>
                </a:lnTo>
                <a:lnTo>
                  <a:pt x="563" y="483"/>
                </a:lnTo>
                <a:lnTo>
                  <a:pt x="561" y="481"/>
                </a:lnTo>
                <a:lnTo>
                  <a:pt x="557" y="481"/>
                </a:lnTo>
                <a:lnTo>
                  <a:pt x="559" y="481"/>
                </a:lnTo>
                <a:lnTo>
                  <a:pt x="559" y="480"/>
                </a:lnTo>
                <a:lnTo>
                  <a:pt x="561" y="478"/>
                </a:lnTo>
                <a:lnTo>
                  <a:pt x="559" y="478"/>
                </a:lnTo>
                <a:lnTo>
                  <a:pt x="559" y="476"/>
                </a:lnTo>
                <a:lnTo>
                  <a:pt x="561" y="476"/>
                </a:lnTo>
                <a:lnTo>
                  <a:pt x="563" y="474"/>
                </a:lnTo>
                <a:lnTo>
                  <a:pt x="564" y="473"/>
                </a:lnTo>
                <a:lnTo>
                  <a:pt x="564" y="471"/>
                </a:lnTo>
                <a:lnTo>
                  <a:pt x="564" y="469"/>
                </a:lnTo>
                <a:lnTo>
                  <a:pt x="563" y="471"/>
                </a:lnTo>
                <a:lnTo>
                  <a:pt x="563" y="473"/>
                </a:lnTo>
                <a:lnTo>
                  <a:pt x="561" y="474"/>
                </a:lnTo>
                <a:lnTo>
                  <a:pt x="559" y="474"/>
                </a:lnTo>
                <a:lnTo>
                  <a:pt x="559" y="476"/>
                </a:lnTo>
                <a:lnTo>
                  <a:pt x="557" y="478"/>
                </a:lnTo>
                <a:lnTo>
                  <a:pt x="557" y="480"/>
                </a:lnTo>
                <a:lnTo>
                  <a:pt x="556" y="478"/>
                </a:lnTo>
                <a:lnTo>
                  <a:pt x="554" y="480"/>
                </a:lnTo>
                <a:lnTo>
                  <a:pt x="556" y="480"/>
                </a:lnTo>
                <a:lnTo>
                  <a:pt x="557" y="480"/>
                </a:lnTo>
                <a:lnTo>
                  <a:pt x="556" y="480"/>
                </a:lnTo>
                <a:lnTo>
                  <a:pt x="554" y="480"/>
                </a:lnTo>
                <a:lnTo>
                  <a:pt x="552" y="480"/>
                </a:lnTo>
                <a:lnTo>
                  <a:pt x="551" y="480"/>
                </a:lnTo>
                <a:lnTo>
                  <a:pt x="549" y="481"/>
                </a:lnTo>
                <a:lnTo>
                  <a:pt x="547" y="481"/>
                </a:lnTo>
                <a:lnTo>
                  <a:pt x="544" y="483"/>
                </a:lnTo>
                <a:lnTo>
                  <a:pt x="542" y="485"/>
                </a:lnTo>
                <a:lnTo>
                  <a:pt x="542" y="486"/>
                </a:lnTo>
                <a:lnTo>
                  <a:pt x="539" y="486"/>
                </a:lnTo>
                <a:lnTo>
                  <a:pt x="537" y="486"/>
                </a:lnTo>
                <a:lnTo>
                  <a:pt x="534" y="486"/>
                </a:lnTo>
                <a:lnTo>
                  <a:pt x="534" y="485"/>
                </a:lnTo>
                <a:lnTo>
                  <a:pt x="532" y="485"/>
                </a:lnTo>
                <a:lnTo>
                  <a:pt x="532" y="481"/>
                </a:lnTo>
                <a:lnTo>
                  <a:pt x="534" y="480"/>
                </a:lnTo>
                <a:lnTo>
                  <a:pt x="535" y="476"/>
                </a:lnTo>
                <a:lnTo>
                  <a:pt x="537" y="474"/>
                </a:lnTo>
                <a:lnTo>
                  <a:pt x="539" y="473"/>
                </a:lnTo>
                <a:lnTo>
                  <a:pt x="539" y="471"/>
                </a:lnTo>
                <a:lnTo>
                  <a:pt x="540" y="473"/>
                </a:lnTo>
                <a:lnTo>
                  <a:pt x="540" y="471"/>
                </a:lnTo>
                <a:lnTo>
                  <a:pt x="540" y="469"/>
                </a:lnTo>
                <a:lnTo>
                  <a:pt x="544" y="468"/>
                </a:lnTo>
                <a:lnTo>
                  <a:pt x="542" y="471"/>
                </a:lnTo>
                <a:lnTo>
                  <a:pt x="546" y="469"/>
                </a:lnTo>
                <a:lnTo>
                  <a:pt x="544" y="468"/>
                </a:lnTo>
                <a:lnTo>
                  <a:pt x="546" y="468"/>
                </a:lnTo>
                <a:lnTo>
                  <a:pt x="546" y="466"/>
                </a:lnTo>
                <a:lnTo>
                  <a:pt x="544" y="466"/>
                </a:lnTo>
                <a:lnTo>
                  <a:pt x="546" y="464"/>
                </a:lnTo>
                <a:lnTo>
                  <a:pt x="547" y="461"/>
                </a:lnTo>
                <a:lnTo>
                  <a:pt x="547" y="459"/>
                </a:lnTo>
                <a:lnTo>
                  <a:pt x="549" y="459"/>
                </a:lnTo>
                <a:lnTo>
                  <a:pt x="549" y="457"/>
                </a:lnTo>
                <a:lnTo>
                  <a:pt x="551" y="456"/>
                </a:lnTo>
                <a:lnTo>
                  <a:pt x="552" y="454"/>
                </a:lnTo>
                <a:lnTo>
                  <a:pt x="554" y="452"/>
                </a:lnTo>
                <a:lnTo>
                  <a:pt x="556" y="452"/>
                </a:lnTo>
                <a:lnTo>
                  <a:pt x="556" y="451"/>
                </a:lnTo>
                <a:lnTo>
                  <a:pt x="556" y="449"/>
                </a:lnTo>
                <a:lnTo>
                  <a:pt x="556" y="447"/>
                </a:lnTo>
                <a:lnTo>
                  <a:pt x="556" y="446"/>
                </a:lnTo>
                <a:lnTo>
                  <a:pt x="556" y="447"/>
                </a:lnTo>
                <a:lnTo>
                  <a:pt x="557" y="449"/>
                </a:lnTo>
                <a:lnTo>
                  <a:pt x="559" y="449"/>
                </a:lnTo>
                <a:lnTo>
                  <a:pt x="563" y="447"/>
                </a:lnTo>
                <a:lnTo>
                  <a:pt x="563" y="446"/>
                </a:lnTo>
                <a:lnTo>
                  <a:pt x="564" y="444"/>
                </a:lnTo>
                <a:lnTo>
                  <a:pt x="566" y="442"/>
                </a:lnTo>
                <a:lnTo>
                  <a:pt x="566" y="440"/>
                </a:lnTo>
                <a:lnTo>
                  <a:pt x="566" y="439"/>
                </a:lnTo>
                <a:lnTo>
                  <a:pt x="569" y="437"/>
                </a:lnTo>
                <a:lnTo>
                  <a:pt x="569" y="439"/>
                </a:lnTo>
                <a:lnTo>
                  <a:pt x="571" y="437"/>
                </a:lnTo>
                <a:lnTo>
                  <a:pt x="573" y="437"/>
                </a:lnTo>
                <a:lnTo>
                  <a:pt x="573" y="435"/>
                </a:lnTo>
                <a:lnTo>
                  <a:pt x="574" y="434"/>
                </a:lnTo>
                <a:lnTo>
                  <a:pt x="576" y="434"/>
                </a:lnTo>
                <a:lnTo>
                  <a:pt x="578" y="435"/>
                </a:lnTo>
                <a:lnTo>
                  <a:pt x="578" y="434"/>
                </a:lnTo>
                <a:lnTo>
                  <a:pt x="576" y="430"/>
                </a:lnTo>
                <a:lnTo>
                  <a:pt x="578" y="429"/>
                </a:lnTo>
                <a:lnTo>
                  <a:pt x="580" y="429"/>
                </a:lnTo>
                <a:lnTo>
                  <a:pt x="578" y="427"/>
                </a:lnTo>
                <a:lnTo>
                  <a:pt x="576" y="427"/>
                </a:lnTo>
                <a:lnTo>
                  <a:pt x="574" y="429"/>
                </a:lnTo>
                <a:lnTo>
                  <a:pt x="573" y="429"/>
                </a:lnTo>
                <a:lnTo>
                  <a:pt x="573" y="427"/>
                </a:lnTo>
                <a:lnTo>
                  <a:pt x="571" y="425"/>
                </a:lnTo>
                <a:lnTo>
                  <a:pt x="571" y="423"/>
                </a:lnTo>
                <a:lnTo>
                  <a:pt x="571" y="422"/>
                </a:lnTo>
                <a:lnTo>
                  <a:pt x="571" y="420"/>
                </a:lnTo>
                <a:lnTo>
                  <a:pt x="569" y="418"/>
                </a:lnTo>
                <a:lnTo>
                  <a:pt x="568" y="417"/>
                </a:lnTo>
                <a:lnTo>
                  <a:pt x="566" y="415"/>
                </a:lnTo>
                <a:lnTo>
                  <a:pt x="566" y="418"/>
                </a:lnTo>
                <a:lnTo>
                  <a:pt x="564" y="420"/>
                </a:lnTo>
                <a:lnTo>
                  <a:pt x="568" y="422"/>
                </a:lnTo>
                <a:lnTo>
                  <a:pt x="566" y="422"/>
                </a:lnTo>
                <a:lnTo>
                  <a:pt x="564" y="422"/>
                </a:lnTo>
                <a:lnTo>
                  <a:pt x="564" y="423"/>
                </a:lnTo>
                <a:lnTo>
                  <a:pt x="566" y="425"/>
                </a:lnTo>
                <a:lnTo>
                  <a:pt x="564" y="425"/>
                </a:lnTo>
                <a:lnTo>
                  <a:pt x="563" y="427"/>
                </a:lnTo>
                <a:lnTo>
                  <a:pt x="559" y="425"/>
                </a:lnTo>
                <a:lnTo>
                  <a:pt x="559" y="423"/>
                </a:lnTo>
                <a:lnTo>
                  <a:pt x="556" y="422"/>
                </a:lnTo>
                <a:lnTo>
                  <a:pt x="556" y="425"/>
                </a:lnTo>
                <a:lnTo>
                  <a:pt x="554" y="425"/>
                </a:lnTo>
                <a:lnTo>
                  <a:pt x="556" y="425"/>
                </a:lnTo>
                <a:lnTo>
                  <a:pt x="556" y="423"/>
                </a:lnTo>
                <a:lnTo>
                  <a:pt x="554" y="422"/>
                </a:lnTo>
                <a:lnTo>
                  <a:pt x="551" y="423"/>
                </a:lnTo>
                <a:lnTo>
                  <a:pt x="551" y="425"/>
                </a:lnTo>
                <a:lnTo>
                  <a:pt x="549" y="423"/>
                </a:lnTo>
                <a:lnTo>
                  <a:pt x="551" y="422"/>
                </a:lnTo>
                <a:lnTo>
                  <a:pt x="549" y="420"/>
                </a:lnTo>
                <a:lnTo>
                  <a:pt x="549" y="422"/>
                </a:lnTo>
                <a:lnTo>
                  <a:pt x="547" y="423"/>
                </a:lnTo>
                <a:lnTo>
                  <a:pt x="547" y="425"/>
                </a:lnTo>
                <a:lnTo>
                  <a:pt x="544" y="425"/>
                </a:lnTo>
                <a:lnTo>
                  <a:pt x="542" y="423"/>
                </a:lnTo>
                <a:lnTo>
                  <a:pt x="540" y="425"/>
                </a:lnTo>
                <a:lnTo>
                  <a:pt x="540" y="427"/>
                </a:lnTo>
                <a:lnTo>
                  <a:pt x="542" y="427"/>
                </a:lnTo>
                <a:lnTo>
                  <a:pt x="539" y="429"/>
                </a:lnTo>
                <a:lnTo>
                  <a:pt x="537" y="430"/>
                </a:lnTo>
                <a:lnTo>
                  <a:pt x="535" y="429"/>
                </a:lnTo>
                <a:lnTo>
                  <a:pt x="532" y="430"/>
                </a:lnTo>
                <a:lnTo>
                  <a:pt x="530" y="430"/>
                </a:lnTo>
                <a:lnTo>
                  <a:pt x="529" y="432"/>
                </a:lnTo>
                <a:lnTo>
                  <a:pt x="525" y="434"/>
                </a:lnTo>
                <a:lnTo>
                  <a:pt x="523" y="434"/>
                </a:lnTo>
                <a:lnTo>
                  <a:pt x="522" y="435"/>
                </a:lnTo>
                <a:lnTo>
                  <a:pt x="520" y="437"/>
                </a:lnTo>
                <a:lnTo>
                  <a:pt x="523" y="437"/>
                </a:lnTo>
                <a:lnTo>
                  <a:pt x="525" y="437"/>
                </a:lnTo>
                <a:lnTo>
                  <a:pt x="527" y="437"/>
                </a:lnTo>
                <a:lnTo>
                  <a:pt x="529" y="437"/>
                </a:lnTo>
                <a:lnTo>
                  <a:pt x="532" y="437"/>
                </a:lnTo>
                <a:lnTo>
                  <a:pt x="534" y="435"/>
                </a:lnTo>
                <a:lnTo>
                  <a:pt x="534" y="437"/>
                </a:lnTo>
                <a:lnTo>
                  <a:pt x="537" y="435"/>
                </a:lnTo>
                <a:lnTo>
                  <a:pt x="537" y="434"/>
                </a:lnTo>
                <a:lnTo>
                  <a:pt x="539" y="434"/>
                </a:lnTo>
                <a:lnTo>
                  <a:pt x="540" y="434"/>
                </a:lnTo>
                <a:lnTo>
                  <a:pt x="544" y="434"/>
                </a:lnTo>
                <a:lnTo>
                  <a:pt x="547" y="434"/>
                </a:lnTo>
                <a:lnTo>
                  <a:pt x="544" y="434"/>
                </a:lnTo>
                <a:lnTo>
                  <a:pt x="542" y="435"/>
                </a:lnTo>
                <a:lnTo>
                  <a:pt x="540" y="435"/>
                </a:lnTo>
                <a:lnTo>
                  <a:pt x="539" y="435"/>
                </a:lnTo>
                <a:lnTo>
                  <a:pt x="537" y="435"/>
                </a:lnTo>
                <a:lnTo>
                  <a:pt x="535" y="437"/>
                </a:lnTo>
                <a:lnTo>
                  <a:pt x="534" y="437"/>
                </a:lnTo>
                <a:lnTo>
                  <a:pt x="530" y="437"/>
                </a:lnTo>
                <a:lnTo>
                  <a:pt x="529" y="437"/>
                </a:lnTo>
                <a:lnTo>
                  <a:pt x="527" y="437"/>
                </a:lnTo>
                <a:lnTo>
                  <a:pt x="523" y="437"/>
                </a:lnTo>
                <a:lnTo>
                  <a:pt x="522" y="437"/>
                </a:lnTo>
                <a:lnTo>
                  <a:pt x="520" y="437"/>
                </a:lnTo>
                <a:lnTo>
                  <a:pt x="518" y="439"/>
                </a:lnTo>
                <a:lnTo>
                  <a:pt x="517" y="439"/>
                </a:lnTo>
                <a:lnTo>
                  <a:pt x="515" y="439"/>
                </a:lnTo>
                <a:lnTo>
                  <a:pt x="512" y="439"/>
                </a:lnTo>
                <a:lnTo>
                  <a:pt x="510" y="439"/>
                </a:lnTo>
                <a:lnTo>
                  <a:pt x="506" y="439"/>
                </a:lnTo>
                <a:lnTo>
                  <a:pt x="503" y="439"/>
                </a:lnTo>
                <a:lnTo>
                  <a:pt x="501" y="439"/>
                </a:lnTo>
                <a:lnTo>
                  <a:pt x="500" y="439"/>
                </a:lnTo>
                <a:lnTo>
                  <a:pt x="496" y="439"/>
                </a:lnTo>
                <a:lnTo>
                  <a:pt x="495" y="439"/>
                </a:lnTo>
                <a:lnTo>
                  <a:pt x="498" y="439"/>
                </a:lnTo>
                <a:lnTo>
                  <a:pt x="500" y="437"/>
                </a:lnTo>
                <a:lnTo>
                  <a:pt x="500" y="439"/>
                </a:lnTo>
                <a:lnTo>
                  <a:pt x="501" y="439"/>
                </a:lnTo>
                <a:lnTo>
                  <a:pt x="503" y="439"/>
                </a:lnTo>
                <a:lnTo>
                  <a:pt x="505" y="439"/>
                </a:lnTo>
                <a:lnTo>
                  <a:pt x="503" y="435"/>
                </a:lnTo>
                <a:lnTo>
                  <a:pt x="505" y="435"/>
                </a:lnTo>
                <a:lnTo>
                  <a:pt x="503" y="434"/>
                </a:lnTo>
                <a:lnTo>
                  <a:pt x="501" y="435"/>
                </a:lnTo>
                <a:lnTo>
                  <a:pt x="500" y="434"/>
                </a:lnTo>
                <a:lnTo>
                  <a:pt x="498" y="435"/>
                </a:lnTo>
                <a:lnTo>
                  <a:pt x="496" y="434"/>
                </a:lnTo>
                <a:lnTo>
                  <a:pt x="495" y="432"/>
                </a:lnTo>
                <a:lnTo>
                  <a:pt x="493" y="432"/>
                </a:lnTo>
                <a:lnTo>
                  <a:pt x="493" y="434"/>
                </a:lnTo>
                <a:lnTo>
                  <a:pt x="491" y="434"/>
                </a:lnTo>
                <a:lnTo>
                  <a:pt x="491" y="432"/>
                </a:lnTo>
                <a:lnTo>
                  <a:pt x="489" y="434"/>
                </a:lnTo>
                <a:lnTo>
                  <a:pt x="488" y="432"/>
                </a:lnTo>
                <a:lnTo>
                  <a:pt x="486" y="432"/>
                </a:lnTo>
                <a:lnTo>
                  <a:pt x="484" y="430"/>
                </a:lnTo>
                <a:lnTo>
                  <a:pt x="484" y="432"/>
                </a:lnTo>
                <a:lnTo>
                  <a:pt x="486" y="432"/>
                </a:lnTo>
                <a:lnTo>
                  <a:pt x="484" y="434"/>
                </a:lnTo>
                <a:lnTo>
                  <a:pt x="483" y="434"/>
                </a:lnTo>
                <a:lnTo>
                  <a:pt x="483" y="435"/>
                </a:lnTo>
                <a:lnTo>
                  <a:pt x="481" y="434"/>
                </a:lnTo>
                <a:lnTo>
                  <a:pt x="481" y="435"/>
                </a:lnTo>
                <a:lnTo>
                  <a:pt x="479" y="434"/>
                </a:lnTo>
                <a:lnTo>
                  <a:pt x="479" y="432"/>
                </a:lnTo>
                <a:lnTo>
                  <a:pt x="483" y="430"/>
                </a:lnTo>
                <a:lnTo>
                  <a:pt x="484" y="430"/>
                </a:lnTo>
                <a:lnTo>
                  <a:pt x="488" y="429"/>
                </a:lnTo>
                <a:lnTo>
                  <a:pt x="489" y="427"/>
                </a:lnTo>
                <a:lnTo>
                  <a:pt x="489" y="423"/>
                </a:lnTo>
                <a:lnTo>
                  <a:pt x="491" y="423"/>
                </a:lnTo>
                <a:lnTo>
                  <a:pt x="489" y="422"/>
                </a:lnTo>
                <a:lnTo>
                  <a:pt x="488" y="420"/>
                </a:lnTo>
                <a:lnTo>
                  <a:pt x="486" y="420"/>
                </a:lnTo>
                <a:lnTo>
                  <a:pt x="486" y="422"/>
                </a:lnTo>
                <a:lnTo>
                  <a:pt x="486" y="420"/>
                </a:lnTo>
                <a:lnTo>
                  <a:pt x="483" y="420"/>
                </a:lnTo>
                <a:lnTo>
                  <a:pt x="483" y="422"/>
                </a:lnTo>
                <a:lnTo>
                  <a:pt x="481" y="422"/>
                </a:lnTo>
                <a:lnTo>
                  <a:pt x="483" y="422"/>
                </a:lnTo>
                <a:lnTo>
                  <a:pt x="484" y="420"/>
                </a:lnTo>
                <a:lnTo>
                  <a:pt x="486" y="422"/>
                </a:lnTo>
                <a:lnTo>
                  <a:pt x="483" y="422"/>
                </a:lnTo>
                <a:lnTo>
                  <a:pt x="481" y="422"/>
                </a:lnTo>
                <a:lnTo>
                  <a:pt x="479" y="422"/>
                </a:lnTo>
                <a:lnTo>
                  <a:pt x="478" y="420"/>
                </a:lnTo>
                <a:lnTo>
                  <a:pt x="478" y="422"/>
                </a:lnTo>
                <a:lnTo>
                  <a:pt x="476" y="422"/>
                </a:lnTo>
                <a:lnTo>
                  <a:pt x="474" y="422"/>
                </a:lnTo>
                <a:lnTo>
                  <a:pt x="472" y="423"/>
                </a:lnTo>
                <a:lnTo>
                  <a:pt x="474" y="425"/>
                </a:lnTo>
                <a:lnTo>
                  <a:pt x="472" y="425"/>
                </a:lnTo>
                <a:lnTo>
                  <a:pt x="471" y="423"/>
                </a:lnTo>
                <a:lnTo>
                  <a:pt x="469" y="423"/>
                </a:lnTo>
                <a:lnTo>
                  <a:pt x="467" y="422"/>
                </a:lnTo>
                <a:lnTo>
                  <a:pt x="466" y="422"/>
                </a:lnTo>
                <a:lnTo>
                  <a:pt x="464" y="420"/>
                </a:lnTo>
                <a:lnTo>
                  <a:pt x="462" y="418"/>
                </a:lnTo>
                <a:lnTo>
                  <a:pt x="464" y="420"/>
                </a:lnTo>
                <a:lnTo>
                  <a:pt x="466" y="420"/>
                </a:lnTo>
                <a:lnTo>
                  <a:pt x="467" y="420"/>
                </a:lnTo>
                <a:lnTo>
                  <a:pt x="471" y="418"/>
                </a:lnTo>
                <a:lnTo>
                  <a:pt x="472" y="418"/>
                </a:lnTo>
                <a:lnTo>
                  <a:pt x="474" y="417"/>
                </a:lnTo>
                <a:lnTo>
                  <a:pt x="476" y="418"/>
                </a:lnTo>
                <a:lnTo>
                  <a:pt x="478" y="418"/>
                </a:lnTo>
                <a:lnTo>
                  <a:pt x="479" y="418"/>
                </a:lnTo>
                <a:lnTo>
                  <a:pt x="481" y="417"/>
                </a:lnTo>
                <a:lnTo>
                  <a:pt x="483" y="417"/>
                </a:lnTo>
                <a:lnTo>
                  <a:pt x="486" y="418"/>
                </a:lnTo>
                <a:lnTo>
                  <a:pt x="488" y="417"/>
                </a:lnTo>
                <a:lnTo>
                  <a:pt x="489" y="417"/>
                </a:lnTo>
                <a:lnTo>
                  <a:pt x="489" y="415"/>
                </a:lnTo>
                <a:lnTo>
                  <a:pt x="491" y="415"/>
                </a:lnTo>
                <a:lnTo>
                  <a:pt x="495" y="415"/>
                </a:lnTo>
                <a:lnTo>
                  <a:pt x="493" y="413"/>
                </a:lnTo>
                <a:lnTo>
                  <a:pt x="496" y="415"/>
                </a:lnTo>
                <a:lnTo>
                  <a:pt x="498" y="415"/>
                </a:lnTo>
                <a:lnTo>
                  <a:pt x="500" y="415"/>
                </a:lnTo>
                <a:lnTo>
                  <a:pt x="501" y="415"/>
                </a:lnTo>
                <a:lnTo>
                  <a:pt x="503" y="415"/>
                </a:lnTo>
                <a:lnTo>
                  <a:pt x="505" y="413"/>
                </a:lnTo>
                <a:lnTo>
                  <a:pt x="506" y="412"/>
                </a:lnTo>
                <a:lnTo>
                  <a:pt x="506" y="410"/>
                </a:lnTo>
                <a:lnTo>
                  <a:pt x="508" y="410"/>
                </a:lnTo>
                <a:lnTo>
                  <a:pt x="508" y="406"/>
                </a:lnTo>
                <a:lnTo>
                  <a:pt x="510" y="406"/>
                </a:lnTo>
                <a:lnTo>
                  <a:pt x="512" y="406"/>
                </a:lnTo>
                <a:lnTo>
                  <a:pt x="512" y="405"/>
                </a:lnTo>
                <a:lnTo>
                  <a:pt x="513" y="405"/>
                </a:lnTo>
                <a:lnTo>
                  <a:pt x="512" y="405"/>
                </a:lnTo>
                <a:lnTo>
                  <a:pt x="513" y="403"/>
                </a:lnTo>
                <a:lnTo>
                  <a:pt x="513" y="401"/>
                </a:lnTo>
                <a:lnTo>
                  <a:pt x="513" y="403"/>
                </a:lnTo>
                <a:lnTo>
                  <a:pt x="512" y="403"/>
                </a:lnTo>
                <a:lnTo>
                  <a:pt x="512" y="406"/>
                </a:lnTo>
                <a:lnTo>
                  <a:pt x="510" y="406"/>
                </a:lnTo>
                <a:lnTo>
                  <a:pt x="510" y="405"/>
                </a:lnTo>
                <a:lnTo>
                  <a:pt x="512" y="405"/>
                </a:lnTo>
                <a:lnTo>
                  <a:pt x="513" y="401"/>
                </a:lnTo>
                <a:lnTo>
                  <a:pt x="513" y="400"/>
                </a:lnTo>
                <a:lnTo>
                  <a:pt x="515" y="398"/>
                </a:lnTo>
                <a:lnTo>
                  <a:pt x="517" y="398"/>
                </a:lnTo>
                <a:lnTo>
                  <a:pt x="517" y="396"/>
                </a:lnTo>
                <a:lnTo>
                  <a:pt x="513" y="398"/>
                </a:lnTo>
                <a:lnTo>
                  <a:pt x="513" y="400"/>
                </a:lnTo>
                <a:lnTo>
                  <a:pt x="512" y="400"/>
                </a:lnTo>
                <a:lnTo>
                  <a:pt x="513" y="400"/>
                </a:lnTo>
                <a:lnTo>
                  <a:pt x="513" y="396"/>
                </a:lnTo>
                <a:lnTo>
                  <a:pt x="515" y="395"/>
                </a:lnTo>
                <a:lnTo>
                  <a:pt x="513" y="396"/>
                </a:lnTo>
                <a:lnTo>
                  <a:pt x="512" y="398"/>
                </a:lnTo>
                <a:lnTo>
                  <a:pt x="512" y="400"/>
                </a:lnTo>
                <a:lnTo>
                  <a:pt x="510" y="400"/>
                </a:lnTo>
                <a:lnTo>
                  <a:pt x="508" y="401"/>
                </a:lnTo>
                <a:lnTo>
                  <a:pt x="506" y="401"/>
                </a:lnTo>
                <a:lnTo>
                  <a:pt x="505" y="403"/>
                </a:lnTo>
                <a:lnTo>
                  <a:pt x="505" y="401"/>
                </a:lnTo>
                <a:lnTo>
                  <a:pt x="505" y="403"/>
                </a:lnTo>
                <a:lnTo>
                  <a:pt x="506" y="403"/>
                </a:lnTo>
                <a:lnTo>
                  <a:pt x="506" y="405"/>
                </a:lnTo>
                <a:lnTo>
                  <a:pt x="505" y="406"/>
                </a:lnTo>
                <a:lnTo>
                  <a:pt x="503" y="406"/>
                </a:lnTo>
                <a:lnTo>
                  <a:pt x="503" y="408"/>
                </a:lnTo>
                <a:lnTo>
                  <a:pt x="501" y="408"/>
                </a:lnTo>
                <a:lnTo>
                  <a:pt x="500" y="408"/>
                </a:lnTo>
                <a:lnTo>
                  <a:pt x="498" y="408"/>
                </a:lnTo>
                <a:lnTo>
                  <a:pt x="496" y="406"/>
                </a:lnTo>
                <a:lnTo>
                  <a:pt x="495" y="408"/>
                </a:lnTo>
                <a:lnTo>
                  <a:pt x="493" y="410"/>
                </a:lnTo>
                <a:lnTo>
                  <a:pt x="491" y="412"/>
                </a:lnTo>
                <a:lnTo>
                  <a:pt x="491" y="410"/>
                </a:lnTo>
                <a:lnTo>
                  <a:pt x="489" y="408"/>
                </a:lnTo>
                <a:lnTo>
                  <a:pt x="486" y="408"/>
                </a:lnTo>
                <a:lnTo>
                  <a:pt x="484" y="408"/>
                </a:lnTo>
                <a:lnTo>
                  <a:pt x="483" y="406"/>
                </a:lnTo>
                <a:lnTo>
                  <a:pt x="481" y="405"/>
                </a:lnTo>
                <a:lnTo>
                  <a:pt x="481" y="403"/>
                </a:lnTo>
                <a:lnTo>
                  <a:pt x="479" y="401"/>
                </a:lnTo>
                <a:lnTo>
                  <a:pt x="478" y="401"/>
                </a:lnTo>
                <a:lnTo>
                  <a:pt x="478" y="400"/>
                </a:lnTo>
                <a:lnTo>
                  <a:pt x="476" y="398"/>
                </a:lnTo>
                <a:lnTo>
                  <a:pt x="478" y="396"/>
                </a:lnTo>
                <a:lnTo>
                  <a:pt x="478" y="395"/>
                </a:lnTo>
                <a:lnTo>
                  <a:pt x="479" y="391"/>
                </a:lnTo>
                <a:lnTo>
                  <a:pt x="478" y="389"/>
                </a:lnTo>
                <a:lnTo>
                  <a:pt x="478" y="391"/>
                </a:lnTo>
                <a:lnTo>
                  <a:pt x="476" y="393"/>
                </a:lnTo>
                <a:lnTo>
                  <a:pt x="474" y="395"/>
                </a:lnTo>
                <a:lnTo>
                  <a:pt x="474" y="396"/>
                </a:lnTo>
                <a:lnTo>
                  <a:pt x="474" y="398"/>
                </a:lnTo>
                <a:lnTo>
                  <a:pt x="474" y="401"/>
                </a:lnTo>
                <a:lnTo>
                  <a:pt x="478" y="403"/>
                </a:lnTo>
                <a:lnTo>
                  <a:pt x="478" y="406"/>
                </a:lnTo>
                <a:lnTo>
                  <a:pt x="478" y="408"/>
                </a:lnTo>
                <a:lnTo>
                  <a:pt x="478" y="410"/>
                </a:lnTo>
                <a:lnTo>
                  <a:pt x="476" y="412"/>
                </a:lnTo>
                <a:lnTo>
                  <a:pt x="474" y="412"/>
                </a:lnTo>
                <a:lnTo>
                  <a:pt x="472" y="412"/>
                </a:lnTo>
                <a:lnTo>
                  <a:pt x="471" y="412"/>
                </a:lnTo>
                <a:lnTo>
                  <a:pt x="469" y="412"/>
                </a:lnTo>
                <a:lnTo>
                  <a:pt x="466" y="412"/>
                </a:lnTo>
                <a:lnTo>
                  <a:pt x="464" y="413"/>
                </a:lnTo>
                <a:lnTo>
                  <a:pt x="464" y="415"/>
                </a:lnTo>
                <a:lnTo>
                  <a:pt x="464" y="417"/>
                </a:lnTo>
                <a:lnTo>
                  <a:pt x="461" y="415"/>
                </a:lnTo>
                <a:lnTo>
                  <a:pt x="459" y="415"/>
                </a:lnTo>
                <a:lnTo>
                  <a:pt x="457" y="417"/>
                </a:lnTo>
                <a:lnTo>
                  <a:pt x="459" y="415"/>
                </a:lnTo>
                <a:lnTo>
                  <a:pt x="461" y="413"/>
                </a:lnTo>
                <a:lnTo>
                  <a:pt x="459" y="412"/>
                </a:lnTo>
                <a:lnTo>
                  <a:pt x="461" y="410"/>
                </a:lnTo>
                <a:lnTo>
                  <a:pt x="461" y="406"/>
                </a:lnTo>
                <a:lnTo>
                  <a:pt x="459" y="405"/>
                </a:lnTo>
                <a:lnTo>
                  <a:pt x="457" y="405"/>
                </a:lnTo>
                <a:lnTo>
                  <a:pt x="459" y="406"/>
                </a:lnTo>
                <a:lnTo>
                  <a:pt x="459" y="408"/>
                </a:lnTo>
                <a:lnTo>
                  <a:pt x="457" y="408"/>
                </a:lnTo>
                <a:lnTo>
                  <a:pt x="455" y="408"/>
                </a:lnTo>
                <a:lnTo>
                  <a:pt x="454" y="405"/>
                </a:lnTo>
                <a:lnTo>
                  <a:pt x="454" y="408"/>
                </a:lnTo>
                <a:lnTo>
                  <a:pt x="455" y="408"/>
                </a:lnTo>
                <a:lnTo>
                  <a:pt x="457" y="408"/>
                </a:lnTo>
                <a:lnTo>
                  <a:pt x="459" y="412"/>
                </a:lnTo>
                <a:lnTo>
                  <a:pt x="457" y="413"/>
                </a:lnTo>
                <a:lnTo>
                  <a:pt x="455" y="415"/>
                </a:lnTo>
                <a:lnTo>
                  <a:pt x="457" y="417"/>
                </a:lnTo>
                <a:lnTo>
                  <a:pt x="454" y="418"/>
                </a:lnTo>
                <a:lnTo>
                  <a:pt x="454" y="420"/>
                </a:lnTo>
                <a:lnTo>
                  <a:pt x="450" y="420"/>
                </a:lnTo>
                <a:lnTo>
                  <a:pt x="449" y="420"/>
                </a:lnTo>
                <a:lnTo>
                  <a:pt x="447" y="420"/>
                </a:lnTo>
                <a:lnTo>
                  <a:pt x="445" y="420"/>
                </a:lnTo>
                <a:lnTo>
                  <a:pt x="444" y="422"/>
                </a:lnTo>
                <a:lnTo>
                  <a:pt x="442" y="422"/>
                </a:lnTo>
                <a:lnTo>
                  <a:pt x="440" y="423"/>
                </a:lnTo>
                <a:lnTo>
                  <a:pt x="438" y="423"/>
                </a:lnTo>
                <a:lnTo>
                  <a:pt x="440" y="423"/>
                </a:lnTo>
                <a:lnTo>
                  <a:pt x="438" y="423"/>
                </a:lnTo>
                <a:lnTo>
                  <a:pt x="437" y="420"/>
                </a:lnTo>
                <a:lnTo>
                  <a:pt x="438" y="423"/>
                </a:lnTo>
                <a:lnTo>
                  <a:pt x="438" y="425"/>
                </a:lnTo>
                <a:lnTo>
                  <a:pt x="437" y="425"/>
                </a:lnTo>
                <a:lnTo>
                  <a:pt x="435" y="427"/>
                </a:lnTo>
                <a:lnTo>
                  <a:pt x="433" y="427"/>
                </a:lnTo>
                <a:lnTo>
                  <a:pt x="432" y="429"/>
                </a:lnTo>
                <a:lnTo>
                  <a:pt x="432" y="430"/>
                </a:lnTo>
                <a:lnTo>
                  <a:pt x="430" y="430"/>
                </a:lnTo>
                <a:lnTo>
                  <a:pt x="428" y="432"/>
                </a:lnTo>
                <a:lnTo>
                  <a:pt x="427" y="434"/>
                </a:lnTo>
                <a:lnTo>
                  <a:pt x="428" y="435"/>
                </a:lnTo>
                <a:lnTo>
                  <a:pt x="430" y="437"/>
                </a:lnTo>
                <a:lnTo>
                  <a:pt x="430" y="439"/>
                </a:lnTo>
                <a:lnTo>
                  <a:pt x="430" y="440"/>
                </a:lnTo>
                <a:lnTo>
                  <a:pt x="432" y="442"/>
                </a:lnTo>
                <a:lnTo>
                  <a:pt x="430" y="444"/>
                </a:lnTo>
                <a:lnTo>
                  <a:pt x="428" y="446"/>
                </a:lnTo>
                <a:lnTo>
                  <a:pt x="428" y="447"/>
                </a:lnTo>
                <a:lnTo>
                  <a:pt x="427" y="446"/>
                </a:lnTo>
                <a:lnTo>
                  <a:pt x="425" y="444"/>
                </a:lnTo>
                <a:lnTo>
                  <a:pt x="427" y="446"/>
                </a:lnTo>
                <a:lnTo>
                  <a:pt x="427" y="447"/>
                </a:lnTo>
                <a:lnTo>
                  <a:pt x="428" y="447"/>
                </a:lnTo>
                <a:lnTo>
                  <a:pt x="428" y="451"/>
                </a:lnTo>
                <a:lnTo>
                  <a:pt x="428" y="454"/>
                </a:lnTo>
                <a:lnTo>
                  <a:pt x="427" y="456"/>
                </a:lnTo>
                <a:lnTo>
                  <a:pt x="427" y="457"/>
                </a:lnTo>
                <a:lnTo>
                  <a:pt x="427" y="461"/>
                </a:lnTo>
                <a:lnTo>
                  <a:pt x="425" y="463"/>
                </a:lnTo>
                <a:lnTo>
                  <a:pt x="425" y="466"/>
                </a:lnTo>
                <a:lnTo>
                  <a:pt x="423" y="468"/>
                </a:lnTo>
                <a:lnTo>
                  <a:pt x="423" y="469"/>
                </a:lnTo>
                <a:lnTo>
                  <a:pt x="421" y="471"/>
                </a:lnTo>
                <a:lnTo>
                  <a:pt x="421" y="473"/>
                </a:lnTo>
                <a:lnTo>
                  <a:pt x="420" y="474"/>
                </a:lnTo>
                <a:lnTo>
                  <a:pt x="420" y="476"/>
                </a:lnTo>
                <a:lnTo>
                  <a:pt x="418" y="478"/>
                </a:lnTo>
                <a:lnTo>
                  <a:pt x="418" y="480"/>
                </a:lnTo>
                <a:lnTo>
                  <a:pt x="418" y="481"/>
                </a:lnTo>
                <a:lnTo>
                  <a:pt x="418" y="483"/>
                </a:lnTo>
                <a:lnTo>
                  <a:pt x="416" y="485"/>
                </a:lnTo>
                <a:lnTo>
                  <a:pt x="415" y="486"/>
                </a:lnTo>
                <a:lnTo>
                  <a:pt x="413" y="488"/>
                </a:lnTo>
                <a:lnTo>
                  <a:pt x="411" y="491"/>
                </a:lnTo>
                <a:lnTo>
                  <a:pt x="410" y="495"/>
                </a:lnTo>
                <a:lnTo>
                  <a:pt x="408" y="497"/>
                </a:lnTo>
                <a:lnTo>
                  <a:pt x="406" y="498"/>
                </a:lnTo>
                <a:lnTo>
                  <a:pt x="406" y="500"/>
                </a:lnTo>
                <a:lnTo>
                  <a:pt x="404" y="502"/>
                </a:lnTo>
                <a:lnTo>
                  <a:pt x="403" y="505"/>
                </a:lnTo>
                <a:lnTo>
                  <a:pt x="399" y="508"/>
                </a:lnTo>
                <a:lnTo>
                  <a:pt x="398" y="510"/>
                </a:lnTo>
                <a:lnTo>
                  <a:pt x="398" y="512"/>
                </a:lnTo>
                <a:lnTo>
                  <a:pt x="396" y="512"/>
                </a:lnTo>
                <a:lnTo>
                  <a:pt x="396" y="515"/>
                </a:lnTo>
                <a:lnTo>
                  <a:pt x="394" y="517"/>
                </a:lnTo>
                <a:lnTo>
                  <a:pt x="396" y="519"/>
                </a:lnTo>
                <a:lnTo>
                  <a:pt x="394" y="519"/>
                </a:lnTo>
                <a:lnTo>
                  <a:pt x="396" y="519"/>
                </a:lnTo>
                <a:lnTo>
                  <a:pt x="398" y="522"/>
                </a:lnTo>
                <a:lnTo>
                  <a:pt x="399" y="519"/>
                </a:lnTo>
                <a:lnTo>
                  <a:pt x="399" y="520"/>
                </a:lnTo>
                <a:lnTo>
                  <a:pt x="399" y="519"/>
                </a:lnTo>
                <a:lnTo>
                  <a:pt x="401" y="519"/>
                </a:lnTo>
                <a:lnTo>
                  <a:pt x="399" y="520"/>
                </a:lnTo>
                <a:lnTo>
                  <a:pt x="398" y="522"/>
                </a:lnTo>
                <a:lnTo>
                  <a:pt x="396" y="524"/>
                </a:lnTo>
                <a:lnTo>
                  <a:pt x="396" y="525"/>
                </a:lnTo>
                <a:lnTo>
                  <a:pt x="393" y="524"/>
                </a:lnTo>
                <a:lnTo>
                  <a:pt x="391" y="524"/>
                </a:lnTo>
                <a:lnTo>
                  <a:pt x="389" y="524"/>
                </a:lnTo>
                <a:lnTo>
                  <a:pt x="387" y="524"/>
                </a:lnTo>
                <a:lnTo>
                  <a:pt x="386" y="524"/>
                </a:lnTo>
                <a:lnTo>
                  <a:pt x="384" y="525"/>
                </a:lnTo>
                <a:lnTo>
                  <a:pt x="382" y="525"/>
                </a:lnTo>
                <a:lnTo>
                  <a:pt x="381" y="527"/>
                </a:lnTo>
                <a:lnTo>
                  <a:pt x="377" y="527"/>
                </a:lnTo>
                <a:lnTo>
                  <a:pt x="376" y="529"/>
                </a:lnTo>
                <a:lnTo>
                  <a:pt x="376" y="531"/>
                </a:lnTo>
                <a:lnTo>
                  <a:pt x="374" y="532"/>
                </a:lnTo>
                <a:lnTo>
                  <a:pt x="372" y="532"/>
                </a:lnTo>
                <a:lnTo>
                  <a:pt x="370" y="534"/>
                </a:lnTo>
                <a:lnTo>
                  <a:pt x="369" y="536"/>
                </a:lnTo>
                <a:lnTo>
                  <a:pt x="367" y="537"/>
                </a:lnTo>
                <a:lnTo>
                  <a:pt x="367" y="539"/>
                </a:lnTo>
                <a:lnTo>
                  <a:pt x="367" y="541"/>
                </a:lnTo>
                <a:lnTo>
                  <a:pt x="365" y="541"/>
                </a:lnTo>
                <a:lnTo>
                  <a:pt x="362" y="539"/>
                </a:lnTo>
                <a:lnTo>
                  <a:pt x="360" y="539"/>
                </a:lnTo>
                <a:lnTo>
                  <a:pt x="359" y="539"/>
                </a:lnTo>
                <a:lnTo>
                  <a:pt x="359" y="541"/>
                </a:lnTo>
                <a:lnTo>
                  <a:pt x="357" y="542"/>
                </a:lnTo>
                <a:lnTo>
                  <a:pt x="359" y="544"/>
                </a:lnTo>
                <a:lnTo>
                  <a:pt x="360" y="546"/>
                </a:lnTo>
                <a:lnTo>
                  <a:pt x="359" y="548"/>
                </a:lnTo>
                <a:lnTo>
                  <a:pt x="357" y="548"/>
                </a:lnTo>
                <a:lnTo>
                  <a:pt x="355" y="548"/>
                </a:lnTo>
                <a:lnTo>
                  <a:pt x="352" y="548"/>
                </a:lnTo>
                <a:lnTo>
                  <a:pt x="350" y="548"/>
                </a:lnTo>
                <a:lnTo>
                  <a:pt x="348" y="548"/>
                </a:lnTo>
                <a:lnTo>
                  <a:pt x="347" y="548"/>
                </a:lnTo>
                <a:lnTo>
                  <a:pt x="343" y="548"/>
                </a:lnTo>
                <a:lnTo>
                  <a:pt x="340" y="546"/>
                </a:lnTo>
                <a:lnTo>
                  <a:pt x="338" y="546"/>
                </a:lnTo>
                <a:lnTo>
                  <a:pt x="336" y="544"/>
                </a:lnTo>
                <a:lnTo>
                  <a:pt x="335" y="542"/>
                </a:lnTo>
                <a:lnTo>
                  <a:pt x="333" y="541"/>
                </a:lnTo>
                <a:lnTo>
                  <a:pt x="333" y="539"/>
                </a:lnTo>
                <a:lnTo>
                  <a:pt x="331" y="539"/>
                </a:lnTo>
                <a:lnTo>
                  <a:pt x="331" y="537"/>
                </a:lnTo>
                <a:lnTo>
                  <a:pt x="328" y="537"/>
                </a:lnTo>
                <a:lnTo>
                  <a:pt x="328" y="536"/>
                </a:lnTo>
                <a:lnTo>
                  <a:pt x="330" y="534"/>
                </a:lnTo>
                <a:lnTo>
                  <a:pt x="330" y="532"/>
                </a:lnTo>
                <a:lnTo>
                  <a:pt x="331" y="531"/>
                </a:lnTo>
                <a:lnTo>
                  <a:pt x="333" y="531"/>
                </a:lnTo>
                <a:lnTo>
                  <a:pt x="336" y="532"/>
                </a:lnTo>
                <a:lnTo>
                  <a:pt x="336" y="534"/>
                </a:lnTo>
                <a:lnTo>
                  <a:pt x="338" y="534"/>
                </a:lnTo>
                <a:lnTo>
                  <a:pt x="342" y="532"/>
                </a:lnTo>
                <a:lnTo>
                  <a:pt x="342" y="529"/>
                </a:lnTo>
                <a:lnTo>
                  <a:pt x="340" y="527"/>
                </a:lnTo>
                <a:lnTo>
                  <a:pt x="342" y="525"/>
                </a:lnTo>
                <a:lnTo>
                  <a:pt x="340" y="522"/>
                </a:lnTo>
                <a:lnTo>
                  <a:pt x="340" y="520"/>
                </a:lnTo>
                <a:lnTo>
                  <a:pt x="338" y="520"/>
                </a:lnTo>
                <a:lnTo>
                  <a:pt x="336" y="520"/>
                </a:lnTo>
                <a:lnTo>
                  <a:pt x="338" y="519"/>
                </a:lnTo>
                <a:lnTo>
                  <a:pt x="338" y="515"/>
                </a:lnTo>
                <a:lnTo>
                  <a:pt x="340" y="515"/>
                </a:lnTo>
                <a:lnTo>
                  <a:pt x="342" y="515"/>
                </a:lnTo>
                <a:lnTo>
                  <a:pt x="340" y="512"/>
                </a:lnTo>
                <a:lnTo>
                  <a:pt x="342" y="512"/>
                </a:lnTo>
                <a:lnTo>
                  <a:pt x="343" y="512"/>
                </a:lnTo>
                <a:lnTo>
                  <a:pt x="345" y="510"/>
                </a:lnTo>
                <a:lnTo>
                  <a:pt x="347" y="510"/>
                </a:lnTo>
                <a:lnTo>
                  <a:pt x="345" y="508"/>
                </a:lnTo>
                <a:lnTo>
                  <a:pt x="345" y="507"/>
                </a:lnTo>
                <a:lnTo>
                  <a:pt x="348" y="505"/>
                </a:lnTo>
                <a:lnTo>
                  <a:pt x="347" y="502"/>
                </a:lnTo>
                <a:lnTo>
                  <a:pt x="345" y="500"/>
                </a:lnTo>
                <a:lnTo>
                  <a:pt x="345" y="497"/>
                </a:lnTo>
                <a:lnTo>
                  <a:pt x="347" y="497"/>
                </a:lnTo>
                <a:lnTo>
                  <a:pt x="347" y="495"/>
                </a:lnTo>
                <a:lnTo>
                  <a:pt x="348" y="495"/>
                </a:lnTo>
                <a:lnTo>
                  <a:pt x="352" y="493"/>
                </a:lnTo>
                <a:lnTo>
                  <a:pt x="353" y="493"/>
                </a:lnTo>
                <a:lnTo>
                  <a:pt x="353" y="491"/>
                </a:lnTo>
                <a:lnTo>
                  <a:pt x="355" y="491"/>
                </a:lnTo>
                <a:lnTo>
                  <a:pt x="355" y="488"/>
                </a:lnTo>
                <a:lnTo>
                  <a:pt x="353" y="486"/>
                </a:lnTo>
                <a:lnTo>
                  <a:pt x="352" y="486"/>
                </a:lnTo>
                <a:lnTo>
                  <a:pt x="353" y="483"/>
                </a:lnTo>
                <a:lnTo>
                  <a:pt x="355" y="480"/>
                </a:lnTo>
                <a:lnTo>
                  <a:pt x="355" y="478"/>
                </a:lnTo>
                <a:lnTo>
                  <a:pt x="355" y="476"/>
                </a:lnTo>
                <a:lnTo>
                  <a:pt x="352" y="476"/>
                </a:lnTo>
                <a:lnTo>
                  <a:pt x="348" y="474"/>
                </a:lnTo>
                <a:lnTo>
                  <a:pt x="348" y="473"/>
                </a:lnTo>
                <a:lnTo>
                  <a:pt x="350" y="471"/>
                </a:lnTo>
                <a:lnTo>
                  <a:pt x="350" y="469"/>
                </a:lnTo>
                <a:lnTo>
                  <a:pt x="348" y="466"/>
                </a:lnTo>
                <a:lnTo>
                  <a:pt x="347" y="464"/>
                </a:lnTo>
                <a:lnTo>
                  <a:pt x="345" y="463"/>
                </a:lnTo>
                <a:lnTo>
                  <a:pt x="345" y="461"/>
                </a:lnTo>
                <a:lnTo>
                  <a:pt x="347" y="461"/>
                </a:lnTo>
                <a:lnTo>
                  <a:pt x="348" y="459"/>
                </a:lnTo>
                <a:lnTo>
                  <a:pt x="347" y="459"/>
                </a:lnTo>
                <a:lnTo>
                  <a:pt x="348" y="457"/>
                </a:lnTo>
                <a:lnTo>
                  <a:pt x="350" y="456"/>
                </a:lnTo>
                <a:lnTo>
                  <a:pt x="352" y="456"/>
                </a:lnTo>
                <a:lnTo>
                  <a:pt x="353" y="454"/>
                </a:lnTo>
                <a:lnTo>
                  <a:pt x="355" y="454"/>
                </a:lnTo>
                <a:lnTo>
                  <a:pt x="353" y="452"/>
                </a:lnTo>
                <a:lnTo>
                  <a:pt x="355" y="452"/>
                </a:lnTo>
                <a:lnTo>
                  <a:pt x="357" y="451"/>
                </a:lnTo>
                <a:lnTo>
                  <a:pt x="357" y="452"/>
                </a:lnTo>
                <a:lnTo>
                  <a:pt x="359" y="454"/>
                </a:lnTo>
                <a:lnTo>
                  <a:pt x="359" y="456"/>
                </a:lnTo>
                <a:lnTo>
                  <a:pt x="359" y="457"/>
                </a:lnTo>
                <a:lnTo>
                  <a:pt x="359" y="459"/>
                </a:lnTo>
                <a:lnTo>
                  <a:pt x="360" y="459"/>
                </a:lnTo>
                <a:lnTo>
                  <a:pt x="359" y="463"/>
                </a:lnTo>
                <a:lnTo>
                  <a:pt x="360" y="463"/>
                </a:lnTo>
                <a:lnTo>
                  <a:pt x="360" y="461"/>
                </a:lnTo>
                <a:lnTo>
                  <a:pt x="364" y="459"/>
                </a:lnTo>
                <a:lnTo>
                  <a:pt x="362" y="457"/>
                </a:lnTo>
                <a:lnTo>
                  <a:pt x="362" y="456"/>
                </a:lnTo>
                <a:lnTo>
                  <a:pt x="364" y="456"/>
                </a:lnTo>
                <a:lnTo>
                  <a:pt x="364" y="452"/>
                </a:lnTo>
                <a:lnTo>
                  <a:pt x="365" y="454"/>
                </a:lnTo>
                <a:lnTo>
                  <a:pt x="365" y="456"/>
                </a:lnTo>
                <a:lnTo>
                  <a:pt x="367" y="457"/>
                </a:lnTo>
                <a:lnTo>
                  <a:pt x="365" y="456"/>
                </a:lnTo>
                <a:lnTo>
                  <a:pt x="367" y="454"/>
                </a:lnTo>
                <a:lnTo>
                  <a:pt x="367" y="452"/>
                </a:lnTo>
                <a:lnTo>
                  <a:pt x="369" y="452"/>
                </a:lnTo>
                <a:lnTo>
                  <a:pt x="370" y="454"/>
                </a:lnTo>
                <a:lnTo>
                  <a:pt x="370" y="456"/>
                </a:lnTo>
                <a:lnTo>
                  <a:pt x="372" y="456"/>
                </a:lnTo>
                <a:lnTo>
                  <a:pt x="374" y="456"/>
                </a:lnTo>
                <a:lnTo>
                  <a:pt x="376" y="457"/>
                </a:lnTo>
                <a:lnTo>
                  <a:pt x="377" y="459"/>
                </a:lnTo>
                <a:lnTo>
                  <a:pt x="379" y="459"/>
                </a:lnTo>
                <a:lnTo>
                  <a:pt x="381" y="457"/>
                </a:lnTo>
                <a:lnTo>
                  <a:pt x="379" y="454"/>
                </a:lnTo>
                <a:lnTo>
                  <a:pt x="379" y="452"/>
                </a:lnTo>
                <a:lnTo>
                  <a:pt x="381" y="454"/>
                </a:lnTo>
                <a:lnTo>
                  <a:pt x="382" y="452"/>
                </a:lnTo>
                <a:lnTo>
                  <a:pt x="381" y="451"/>
                </a:lnTo>
                <a:lnTo>
                  <a:pt x="382" y="451"/>
                </a:lnTo>
                <a:lnTo>
                  <a:pt x="384" y="451"/>
                </a:lnTo>
                <a:lnTo>
                  <a:pt x="386" y="452"/>
                </a:lnTo>
                <a:lnTo>
                  <a:pt x="387" y="454"/>
                </a:lnTo>
                <a:lnTo>
                  <a:pt x="387" y="456"/>
                </a:lnTo>
                <a:lnTo>
                  <a:pt x="389" y="456"/>
                </a:lnTo>
                <a:lnTo>
                  <a:pt x="391" y="456"/>
                </a:lnTo>
                <a:lnTo>
                  <a:pt x="391" y="454"/>
                </a:lnTo>
                <a:lnTo>
                  <a:pt x="393" y="452"/>
                </a:lnTo>
                <a:lnTo>
                  <a:pt x="396" y="452"/>
                </a:lnTo>
                <a:lnTo>
                  <a:pt x="398" y="452"/>
                </a:lnTo>
                <a:lnTo>
                  <a:pt x="399" y="451"/>
                </a:lnTo>
                <a:lnTo>
                  <a:pt x="401" y="451"/>
                </a:lnTo>
                <a:lnTo>
                  <a:pt x="403" y="449"/>
                </a:lnTo>
                <a:lnTo>
                  <a:pt x="403" y="447"/>
                </a:lnTo>
                <a:lnTo>
                  <a:pt x="401" y="449"/>
                </a:lnTo>
                <a:lnTo>
                  <a:pt x="399" y="447"/>
                </a:lnTo>
                <a:lnTo>
                  <a:pt x="399" y="449"/>
                </a:lnTo>
                <a:lnTo>
                  <a:pt x="398" y="449"/>
                </a:lnTo>
                <a:lnTo>
                  <a:pt x="398" y="447"/>
                </a:lnTo>
                <a:lnTo>
                  <a:pt x="396" y="449"/>
                </a:lnTo>
                <a:lnTo>
                  <a:pt x="396" y="447"/>
                </a:lnTo>
                <a:lnTo>
                  <a:pt x="394" y="447"/>
                </a:lnTo>
                <a:lnTo>
                  <a:pt x="396" y="447"/>
                </a:lnTo>
                <a:lnTo>
                  <a:pt x="394" y="447"/>
                </a:lnTo>
                <a:lnTo>
                  <a:pt x="393" y="444"/>
                </a:lnTo>
                <a:lnTo>
                  <a:pt x="393" y="446"/>
                </a:lnTo>
                <a:lnTo>
                  <a:pt x="391" y="444"/>
                </a:lnTo>
                <a:lnTo>
                  <a:pt x="391" y="446"/>
                </a:lnTo>
                <a:lnTo>
                  <a:pt x="389" y="446"/>
                </a:lnTo>
                <a:lnTo>
                  <a:pt x="387" y="444"/>
                </a:lnTo>
                <a:lnTo>
                  <a:pt x="387" y="442"/>
                </a:lnTo>
                <a:lnTo>
                  <a:pt x="389" y="442"/>
                </a:lnTo>
                <a:lnTo>
                  <a:pt x="389" y="440"/>
                </a:lnTo>
                <a:lnTo>
                  <a:pt x="391" y="439"/>
                </a:lnTo>
                <a:lnTo>
                  <a:pt x="389" y="437"/>
                </a:lnTo>
                <a:lnTo>
                  <a:pt x="387" y="435"/>
                </a:lnTo>
                <a:lnTo>
                  <a:pt x="389" y="432"/>
                </a:lnTo>
                <a:lnTo>
                  <a:pt x="387" y="430"/>
                </a:lnTo>
                <a:lnTo>
                  <a:pt x="387" y="427"/>
                </a:lnTo>
                <a:lnTo>
                  <a:pt x="386" y="427"/>
                </a:lnTo>
                <a:lnTo>
                  <a:pt x="384" y="425"/>
                </a:lnTo>
                <a:lnTo>
                  <a:pt x="386" y="423"/>
                </a:lnTo>
                <a:lnTo>
                  <a:pt x="384" y="422"/>
                </a:lnTo>
                <a:lnTo>
                  <a:pt x="382" y="423"/>
                </a:lnTo>
                <a:lnTo>
                  <a:pt x="381" y="423"/>
                </a:lnTo>
                <a:lnTo>
                  <a:pt x="381" y="420"/>
                </a:lnTo>
                <a:lnTo>
                  <a:pt x="379" y="422"/>
                </a:lnTo>
                <a:lnTo>
                  <a:pt x="377" y="422"/>
                </a:lnTo>
                <a:lnTo>
                  <a:pt x="376" y="423"/>
                </a:lnTo>
                <a:lnTo>
                  <a:pt x="374" y="422"/>
                </a:lnTo>
                <a:lnTo>
                  <a:pt x="374" y="420"/>
                </a:lnTo>
                <a:lnTo>
                  <a:pt x="372" y="420"/>
                </a:lnTo>
                <a:lnTo>
                  <a:pt x="369" y="420"/>
                </a:lnTo>
                <a:lnTo>
                  <a:pt x="369" y="418"/>
                </a:lnTo>
                <a:lnTo>
                  <a:pt x="367" y="420"/>
                </a:lnTo>
                <a:lnTo>
                  <a:pt x="365" y="420"/>
                </a:lnTo>
                <a:lnTo>
                  <a:pt x="364" y="420"/>
                </a:lnTo>
                <a:lnTo>
                  <a:pt x="365" y="418"/>
                </a:lnTo>
                <a:lnTo>
                  <a:pt x="365" y="417"/>
                </a:lnTo>
                <a:lnTo>
                  <a:pt x="365" y="413"/>
                </a:lnTo>
                <a:lnTo>
                  <a:pt x="365" y="410"/>
                </a:lnTo>
                <a:lnTo>
                  <a:pt x="364" y="410"/>
                </a:lnTo>
                <a:lnTo>
                  <a:pt x="362" y="410"/>
                </a:lnTo>
                <a:lnTo>
                  <a:pt x="362" y="412"/>
                </a:lnTo>
                <a:lnTo>
                  <a:pt x="360" y="412"/>
                </a:lnTo>
                <a:lnTo>
                  <a:pt x="359" y="410"/>
                </a:lnTo>
                <a:lnTo>
                  <a:pt x="359" y="408"/>
                </a:lnTo>
                <a:lnTo>
                  <a:pt x="360" y="408"/>
                </a:lnTo>
                <a:lnTo>
                  <a:pt x="362" y="406"/>
                </a:lnTo>
                <a:lnTo>
                  <a:pt x="360" y="405"/>
                </a:lnTo>
                <a:lnTo>
                  <a:pt x="360" y="403"/>
                </a:lnTo>
                <a:lnTo>
                  <a:pt x="359" y="401"/>
                </a:lnTo>
                <a:lnTo>
                  <a:pt x="359" y="400"/>
                </a:lnTo>
                <a:lnTo>
                  <a:pt x="360" y="400"/>
                </a:lnTo>
                <a:lnTo>
                  <a:pt x="360" y="396"/>
                </a:lnTo>
                <a:lnTo>
                  <a:pt x="359" y="396"/>
                </a:lnTo>
                <a:lnTo>
                  <a:pt x="359" y="395"/>
                </a:lnTo>
                <a:lnTo>
                  <a:pt x="359" y="393"/>
                </a:lnTo>
                <a:lnTo>
                  <a:pt x="357" y="391"/>
                </a:lnTo>
                <a:lnTo>
                  <a:pt x="355" y="393"/>
                </a:lnTo>
                <a:lnTo>
                  <a:pt x="353" y="393"/>
                </a:lnTo>
                <a:lnTo>
                  <a:pt x="355" y="395"/>
                </a:lnTo>
                <a:lnTo>
                  <a:pt x="355" y="396"/>
                </a:lnTo>
                <a:lnTo>
                  <a:pt x="352" y="398"/>
                </a:lnTo>
                <a:lnTo>
                  <a:pt x="350" y="398"/>
                </a:lnTo>
                <a:lnTo>
                  <a:pt x="348" y="396"/>
                </a:lnTo>
                <a:lnTo>
                  <a:pt x="348" y="393"/>
                </a:lnTo>
                <a:lnTo>
                  <a:pt x="347" y="395"/>
                </a:lnTo>
                <a:lnTo>
                  <a:pt x="345" y="393"/>
                </a:lnTo>
                <a:lnTo>
                  <a:pt x="345" y="391"/>
                </a:lnTo>
                <a:lnTo>
                  <a:pt x="345" y="389"/>
                </a:lnTo>
                <a:lnTo>
                  <a:pt x="343" y="391"/>
                </a:lnTo>
                <a:lnTo>
                  <a:pt x="342" y="393"/>
                </a:lnTo>
                <a:lnTo>
                  <a:pt x="340" y="389"/>
                </a:lnTo>
                <a:lnTo>
                  <a:pt x="340" y="391"/>
                </a:lnTo>
                <a:lnTo>
                  <a:pt x="338" y="393"/>
                </a:lnTo>
                <a:lnTo>
                  <a:pt x="338" y="389"/>
                </a:lnTo>
                <a:lnTo>
                  <a:pt x="336" y="391"/>
                </a:lnTo>
                <a:lnTo>
                  <a:pt x="338" y="389"/>
                </a:lnTo>
                <a:lnTo>
                  <a:pt x="336" y="386"/>
                </a:lnTo>
                <a:lnTo>
                  <a:pt x="335" y="388"/>
                </a:lnTo>
                <a:lnTo>
                  <a:pt x="335" y="386"/>
                </a:lnTo>
                <a:lnTo>
                  <a:pt x="333" y="384"/>
                </a:lnTo>
                <a:lnTo>
                  <a:pt x="335" y="383"/>
                </a:lnTo>
                <a:lnTo>
                  <a:pt x="335" y="381"/>
                </a:lnTo>
                <a:lnTo>
                  <a:pt x="336" y="379"/>
                </a:lnTo>
                <a:lnTo>
                  <a:pt x="336" y="377"/>
                </a:lnTo>
                <a:lnTo>
                  <a:pt x="335" y="377"/>
                </a:lnTo>
                <a:lnTo>
                  <a:pt x="336" y="374"/>
                </a:lnTo>
                <a:lnTo>
                  <a:pt x="333" y="372"/>
                </a:lnTo>
                <a:lnTo>
                  <a:pt x="335" y="369"/>
                </a:lnTo>
                <a:lnTo>
                  <a:pt x="335" y="367"/>
                </a:lnTo>
                <a:lnTo>
                  <a:pt x="335" y="366"/>
                </a:lnTo>
                <a:lnTo>
                  <a:pt x="333" y="367"/>
                </a:lnTo>
                <a:lnTo>
                  <a:pt x="331" y="366"/>
                </a:lnTo>
                <a:lnTo>
                  <a:pt x="333" y="362"/>
                </a:lnTo>
                <a:lnTo>
                  <a:pt x="333" y="360"/>
                </a:lnTo>
                <a:lnTo>
                  <a:pt x="335" y="360"/>
                </a:lnTo>
                <a:lnTo>
                  <a:pt x="331" y="360"/>
                </a:lnTo>
                <a:lnTo>
                  <a:pt x="330" y="359"/>
                </a:lnTo>
                <a:lnTo>
                  <a:pt x="330" y="357"/>
                </a:lnTo>
                <a:lnTo>
                  <a:pt x="328" y="355"/>
                </a:lnTo>
                <a:lnTo>
                  <a:pt x="326" y="355"/>
                </a:lnTo>
                <a:lnTo>
                  <a:pt x="325" y="357"/>
                </a:lnTo>
                <a:lnTo>
                  <a:pt x="325" y="359"/>
                </a:lnTo>
                <a:lnTo>
                  <a:pt x="323" y="359"/>
                </a:lnTo>
                <a:lnTo>
                  <a:pt x="321" y="359"/>
                </a:lnTo>
                <a:lnTo>
                  <a:pt x="318" y="359"/>
                </a:lnTo>
                <a:lnTo>
                  <a:pt x="316" y="359"/>
                </a:lnTo>
                <a:lnTo>
                  <a:pt x="314" y="357"/>
                </a:lnTo>
                <a:lnTo>
                  <a:pt x="311" y="355"/>
                </a:lnTo>
                <a:lnTo>
                  <a:pt x="311" y="354"/>
                </a:lnTo>
                <a:lnTo>
                  <a:pt x="311" y="350"/>
                </a:lnTo>
                <a:lnTo>
                  <a:pt x="309" y="349"/>
                </a:lnTo>
                <a:lnTo>
                  <a:pt x="308" y="349"/>
                </a:lnTo>
                <a:lnTo>
                  <a:pt x="308" y="350"/>
                </a:lnTo>
                <a:lnTo>
                  <a:pt x="306" y="350"/>
                </a:lnTo>
                <a:lnTo>
                  <a:pt x="302" y="350"/>
                </a:lnTo>
                <a:lnTo>
                  <a:pt x="301" y="350"/>
                </a:lnTo>
                <a:lnTo>
                  <a:pt x="297" y="349"/>
                </a:lnTo>
                <a:lnTo>
                  <a:pt x="296" y="349"/>
                </a:lnTo>
                <a:lnTo>
                  <a:pt x="296" y="352"/>
                </a:lnTo>
                <a:lnTo>
                  <a:pt x="294" y="352"/>
                </a:lnTo>
                <a:lnTo>
                  <a:pt x="296" y="352"/>
                </a:lnTo>
                <a:lnTo>
                  <a:pt x="294" y="354"/>
                </a:lnTo>
                <a:lnTo>
                  <a:pt x="296" y="355"/>
                </a:lnTo>
                <a:lnTo>
                  <a:pt x="296" y="357"/>
                </a:lnTo>
                <a:lnTo>
                  <a:pt x="294" y="357"/>
                </a:lnTo>
                <a:lnTo>
                  <a:pt x="292" y="355"/>
                </a:lnTo>
                <a:lnTo>
                  <a:pt x="291" y="355"/>
                </a:lnTo>
                <a:lnTo>
                  <a:pt x="292" y="354"/>
                </a:lnTo>
                <a:lnTo>
                  <a:pt x="291" y="350"/>
                </a:lnTo>
                <a:lnTo>
                  <a:pt x="289" y="352"/>
                </a:lnTo>
                <a:lnTo>
                  <a:pt x="287" y="354"/>
                </a:lnTo>
                <a:lnTo>
                  <a:pt x="285" y="355"/>
                </a:lnTo>
                <a:lnTo>
                  <a:pt x="285" y="354"/>
                </a:lnTo>
                <a:lnTo>
                  <a:pt x="287" y="352"/>
                </a:lnTo>
                <a:lnTo>
                  <a:pt x="287" y="350"/>
                </a:lnTo>
                <a:lnTo>
                  <a:pt x="285" y="347"/>
                </a:lnTo>
                <a:lnTo>
                  <a:pt x="285" y="349"/>
                </a:lnTo>
                <a:lnTo>
                  <a:pt x="284" y="349"/>
                </a:lnTo>
                <a:lnTo>
                  <a:pt x="280" y="350"/>
                </a:lnTo>
                <a:lnTo>
                  <a:pt x="280" y="352"/>
                </a:lnTo>
                <a:lnTo>
                  <a:pt x="279" y="350"/>
                </a:lnTo>
                <a:lnTo>
                  <a:pt x="279" y="349"/>
                </a:lnTo>
                <a:lnTo>
                  <a:pt x="277" y="349"/>
                </a:lnTo>
                <a:lnTo>
                  <a:pt x="275" y="349"/>
                </a:lnTo>
                <a:lnTo>
                  <a:pt x="274" y="350"/>
                </a:lnTo>
                <a:lnTo>
                  <a:pt x="274" y="347"/>
                </a:lnTo>
                <a:lnTo>
                  <a:pt x="272" y="345"/>
                </a:lnTo>
                <a:lnTo>
                  <a:pt x="270" y="345"/>
                </a:lnTo>
                <a:lnTo>
                  <a:pt x="268" y="345"/>
                </a:lnTo>
                <a:lnTo>
                  <a:pt x="267" y="347"/>
                </a:lnTo>
                <a:lnTo>
                  <a:pt x="267" y="345"/>
                </a:lnTo>
                <a:lnTo>
                  <a:pt x="263" y="345"/>
                </a:lnTo>
                <a:lnTo>
                  <a:pt x="263" y="343"/>
                </a:lnTo>
                <a:lnTo>
                  <a:pt x="262" y="342"/>
                </a:lnTo>
                <a:lnTo>
                  <a:pt x="258" y="342"/>
                </a:lnTo>
                <a:lnTo>
                  <a:pt x="258" y="340"/>
                </a:lnTo>
                <a:lnTo>
                  <a:pt x="255" y="340"/>
                </a:lnTo>
                <a:lnTo>
                  <a:pt x="251" y="342"/>
                </a:lnTo>
                <a:lnTo>
                  <a:pt x="250" y="342"/>
                </a:lnTo>
                <a:lnTo>
                  <a:pt x="248" y="342"/>
                </a:lnTo>
                <a:lnTo>
                  <a:pt x="248" y="338"/>
                </a:lnTo>
                <a:lnTo>
                  <a:pt x="246" y="338"/>
                </a:lnTo>
                <a:lnTo>
                  <a:pt x="246" y="340"/>
                </a:lnTo>
                <a:lnTo>
                  <a:pt x="245" y="342"/>
                </a:lnTo>
                <a:lnTo>
                  <a:pt x="243" y="343"/>
                </a:lnTo>
                <a:lnTo>
                  <a:pt x="243" y="347"/>
                </a:lnTo>
                <a:lnTo>
                  <a:pt x="241" y="347"/>
                </a:lnTo>
                <a:lnTo>
                  <a:pt x="240" y="347"/>
                </a:lnTo>
                <a:lnTo>
                  <a:pt x="238" y="345"/>
                </a:lnTo>
                <a:lnTo>
                  <a:pt x="236" y="345"/>
                </a:lnTo>
                <a:lnTo>
                  <a:pt x="234" y="349"/>
                </a:lnTo>
                <a:lnTo>
                  <a:pt x="236" y="350"/>
                </a:lnTo>
                <a:lnTo>
                  <a:pt x="233" y="350"/>
                </a:lnTo>
                <a:lnTo>
                  <a:pt x="231" y="350"/>
                </a:lnTo>
                <a:lnTo>
                  <a:pt x="229" y="352"/>
                </a:lnTo>
                <a:lnTo>
                  <a:pt x="226" y="350"/>
                </a:lnTo>
                <a:lnTo>
                  <a:pt x="224" y="349"/>
                </a:lnTo>
                <a:lnTo>
                  <a:pt x="224" y="350"/>
                </a:lnTo>
                <a:lnTo>
                  <a:pt x="223" y="350"/>
                </a:lnTo>
                <a:lnTo>
                  <a:pt x="224" y="350"/>
                </a:lnTo>
                <a:lnTo>
                  <a:pt x="224" y="354"/>
                </a:lnTo>
                <a:lnTo>
                  <a:pt x="223" y="354"/>
                </a:lnTo>
                <a:lnTo>
                  <a:pt x="223" y="355"/>
                </a:lnTo>
                <a:lnTo>
                  <a:pt x="219" y="355"/>
                </a:lnTo>
                <a:lnTo>
                  <a:pt x="217" y="354"/>
                </a:lnTo>
                <a:lnTo>
                  <a:pt x="216" y="352"/>
                </a:lnTo>
                <a:lnTo>
                  <a:pt x="214" y="352"/>
                </a:lnTo>
                <a:lnTo>
                  <a:pt x="212" y="352"/>
                </a:lnTo>
                <a:lnTo>
                  <a:pt x="211" y="354"/>
                </a:lnTo>
                <a:lnTo>
                  <a:pt x="209" y="354"/>
                </a:lnTo>
                <a:lnTo>
                  <a:pt x="211" y="355"/>
                </a:lnTo>
                <a:lnTo>
                  <a:pt x="212" y="357"/>
                </a:lnTo>
                <a:lnTo>
                  <a:pt x="214" y="357"/>
                </a:lnTo>
                <a:lnTo>
                  <a:pt x="216" y="360"/>
                </a:lnTo>
                <a:lnTo>
                  <a:pt x="214" y="362"/>
                </a:lnTo>
                <a:lnTo>
                  <a:pt x="212" y="360"/>
                </a:lnTo>
                <a:lnTo>
                  <a:pt x="209" y="359"/>
                </a:lnTo>
                <a:lnTo>
                  <a:pt x="209" y="360"/>
                </a:lnTo>
                <a:lnTo>
                  <a:pt x="207" y="362"/>
                </a:lnTo>
                <a:lnTo>
                  <a:pt x="207" y="364"/>
                </a:lnTo>
                <a:lnTo>
                  <a:pt x="207" y="366"/>
                </a:lnTo>
                <a:lnTo>
                  <a:pt x="207" y="367"/>
                </a:lnTo>
                <a:lnTo>
                  <a:pt x="206" y="367"/>
                </a:lnTo>
                <a:lnTo>
                  <a:pt x="206" y="369"/>
                </a:lnTo>
                <a:lnTo>
                  <a:pt x="204" y="369"/>
                </a:lnTo>
                <a:lnTo>
                  <a:pt x="200" y="369"/>
                </a:lnTo>
                <a:lnTo>
                  <a:pt x="200" y="372"/>
                </a:lnTo>
                <a:lnTo>
                  <a:pt x="199" y="371"/>
                </a:lnTo>
                <a:lnTo>
                  <a:pt x="197" y="372"/>
                </a:lnTo>
                <a:lnTo>
                  <a:pt x="195" y="374"/>
                </a:lnTo>
                <a:lnTo>
                  <a:pt x="195" y="376"/>
                </a:lnTo>
                <a:lnTo>
                  <a:pt x="194" y="377"/>
                </a:lnTo>
                <a:lnTo>
                  <a:pt x="194" y="379"/>
                </a:lnTo>
                <a:lnTo>
                  <a:pt x="194" y="381"/>
                </a:lnTo>
                <a:lnTo>
                  <a:pt x="192" y="384"/>
                </a:lnTo>
                <a:lnTo>
                  <a:pt x="192" y="388"/>
                </a:lnTo>
                <a:lnTo>
                  <a:pt x="189" y="389"/>
                </a:lnTo>
                <a:lnTo>
                  <a:pt x="185" y="389"/>
                </a:lnTo>
                <a:lnTo>
                  <a:pt x="183" y="391"/>
                </a:lnTo>
                <a:lnTo>
                  <a:pt x="182" y="391"/>
                </a:lnTo>
                <a:lnTo>
                  <a:pt x="182" y="393"/>
                </a:lnTo>
                <a:lnTo>
                  <a:pt x="180" y="393"/>
                </a:lnTo>
                <a:lnTo>
                  <a:pt x="178" y="393"/>
                </a:lnTo>
                <a:lnTo>
                  <a:pt x="177" y="393"/>
                </a:lnTo>
                <a:lnTo>
                  <a:pt x="175" y="395"/>
                </a:lnTo>
                <a:lnTo>
                  <a:pt x="173" y="396"/>
                </a:lnTo>
                <a:lnTo>
                  <a:pt x="172" y="396"/>
                </a:lnTo>
                <a:lnTo>
                  <a:pt x="168" y="396"/>
                </a:lnTo>
                <a:lnTo>
                  <a:pt x="166" y="396"/>
                </a:lnTo>
                <a:lnTo>
                  <a:pt x="165" y="398"/>
                </a:lnTo>
                <a:lnTo>
                  <a:pt x="163" y="400"/>
                </a:lnTo>
                <a:lnTo>
                  <a:pt x="161" y="400"/>
                </a:lnTo>
                <a:lnTo>
                  <a:pt x="160" y="400"/>
                </a:lnTo>
                <a:lnTo>
                  <a:pt x="158" y="401"/>
                </a:lnTo>
                <a:lnTo>
                  <a:pt x="156" y="401"/>
                </a:lnTo>
                <a:lnTo>
                  <a:pt x="155" y="401"/>
                </a:lnTo>
                <a:lnTo>
                  <a:pt x="155" y="403"/>
                </a:lnTo>
                <a:lnTo>
                  <a:pt x="153" y="403"/>
                </a:lnTo>
                <a:lnTo>
                  <a:pt x="151" y="405"/>
                </a:lnTo>
                <a:lnTo>
                  <a:pt x="149" y="405"/>
                </a:lnTo>
                <a:lnTo>
                  <a:pt x="149" y="406"/>
                </a:lnTo>
                <a:lnTo>
                  <a:pt x="148" y="410"/>
                </a:lnTo>
                <a:lnTo>
                  <a:pt x="148" y="413"/>
                </a:lnTo>
                <a:lnTo>
                  <a:pt x="146" y="413"/>
                </a:lnTo>
                <a:lnTo>
                  <a:pt x="146" y="415"/>
                </a:lnTo>
                <a:lnTo>
                  <a:pt x="143" y="417"/>
                </a:lnTo>
                <a:lnTo>
                  <a:pt x="143" y="418"/>
                </a:lnTo>
                <a:lnTo>
                  <a:pt x="141" y="418"/>
                </a:lnTo>
                <a:lnTo>
                  <a:pt x="139" y="418"/>
                </a:lnTo>
                <a:lnTo>
                  <a:pt x="136" y="420"/>
                </a:lnTo>
                <a:lnTo>
                  <a:pt x="136" y="418"/>
                </a:lnTo>
                <a:lnTo>
                  <a:pt x="132" y="417"/>
                </a:lnTo>
                <a:lnTo>
                  <a:pt x="132" y="413"/>
                </a:lnTo>
                <a:lnTo>
                  <a:pt x="129" y="413"/>
                </a:lnTo>
                <a:lnTo>
                  <a:pt x="127" y="413"/>
                </a:lnTo>
                <a:lnTo>
                  <a:pt x="126" y="413"/>
                </a:lnTo>
                <a:lnTo>
                  <a:pt x="124" y="412"/>
                </a:lnTo>
                <a:lnTo>
                  <a:pt x="124" y="410"/>
                </a:lnTo>
                <a:lnTo>
                  <a:pt x="121" y="408"/>
                </a:lnTo>
                <a:lnTo>
                  <a:pt x="121" y="406"/>
                </a:lnTo>
                <a:lnTo>
                  <a:pt x="119" y="408"/>
                </a:lnTo>
                <a:lnTo>
                  <a:pt x="119" y="406"/>
                </a:lnTo>
                <a:lnTo>
                  <a:pt x="115" y="406"/>
                </a:lnTo>
                <a:lnTo>
                  <a:pt x="115" y="408"/>
                </a:lnTo>
                <a:lnTo>
                  <a:pt x="112" y="408"/>
                </a:lnTo>
                <a:lnTo>
                  <a:pt x="112" y="406"/>
                </a:lnTo>
                <a:lnTo>
                  <a:pt x="110" y="408"/>
                </a:lnTo>
                <a:lnTo>
                  <a:pt x="110" y="410"/>
                </a:lnTo>
                <a:lnTo>
                  <a:pt x="109" y="412"/>
                </a:lnTo>
                <a:lnTo>
                  <a:pt x="107" y="412"/>
                </a:lnTo>
                <a:lnTo>
                  <a:pt x="105" y="413"/>
                </a:lnTo>
                <a:lnTo>
                  <a:pt x="104" y="413"/>
                </a:lnTo>
                <a:lnTo>
                  <a:pt x="104" y="415"/>
                </a:lnTo>
                <a:lnTo>
                  <a:pt x="102" y="413"/>
                </a:lnTo>
                <a:lnTo>
                  <a:pt x="100" y="413"/>
                </a:lnTo>
                <a:lnTo>
                  <a:pt x="97" y="413"/>
                </a:lnTo>
                <a:lnTo>
                  <a:pt x="95" y="412"/>
                </a:lnTo>
                <a:lnTo>
                  <a:pt x="93" y="412"/>
                </a:lnTo>
                <a:lnTo>
                  <a:pt x="92" y="412"/>
                </a:lnTo>
                <a:lnTo>
                  <a:pt x="90" y="412"/>
                </a:lnTo>
                <a:lnTo>
                  <a:pt x="90" y="413"/>
                </a:lnTo>
                <a:lnTo>
                  <a:pt x="87" y="413"/>
                </a:lnTo>
                <a:lnTo>
                  <a:pt x="87" y="415"/>
                </a:lnTo>
                <a:lnTo>
                  <a:pt x="85" y="415"/>
                </a:lnTo>
                <a:lnTo>
                  <a:pt x="83" y="412"/>
                </a:lnTo>
                <a:lnTo>
                  <a:pt x="81" y="412"/>
                </a:lnTo>
                <a:lnTo>
                  <a:pt x="78" y="412"/>
                </a:lnTo>
                <a:lnTo>
                  <a:pt x="76" y="413"/>
                </a:lnTo>
                <a:lnTo>
                  <a:pt x="75" y="412"/>
                </a:lnTo>
                <a:lnTo>
                  <a:pt x="73" y="412"/>
                </a:lnTo>
                <a:lnTo>
                  <a:pt x="71" y="413"/>
                </a:lnTo>
                <a:lnTo>
                  <a:pt x="70" y="412"/>
                </a:lnTo>
                <a:lnTo>
                  <a:pt x="70" y="413"/>
                </a:lnTo>
                <a:lnTo>
                  <a:pt x="68" y="417"/>
                </a:lnTo>
                <a:lnTo>
                  <a:pt x="66" y="415"/>
                </a:lnTo>
                <a:lnTo>
                  <a:pt x="64" y="415"/>
                </a:lnTo>
                <a:lnTo>
                  <a:pt x="63" y="415"/>
                </a:lnTo>
                <a:lnTo>
                  <a:pt x="61" y="413"/>
                </a:lnTo>
                <a:lnTo>
                  <a:pt x="59" y="413"/>
                </a:lnTo>
                <a:lnTo>
                  <a:pt x="58" y="412"/>
                </a:lnTo>
                <a:lnTo>
                  <a:pt x="58" y="410"/>
                </a:lnTo>
                <a:lnTo>
                  <a:pt x="56" y="408"/>
                </a:lnTo>
                <a:lnTo>
                  <a:pt x="56" y="410"/>
                </a:lnTo>
                <a:lnTo>
                  <a:pt x="53" y="410"/>
                </a:lnTo>
                <a:lnTo>
                  <a:pt x="51" y="408"/>
                </a:lnTo>
                <a:lnTo>
                  <a:pt x="49" y="412"/>
                </a:lnTo>
                <a:lnTo>
                  <a:pt x="49" y="413"/>
                </a:lnTo>
                <a:lnTo>
                  <a:pt x="49" y="415"/>
                </a:lnTo>
                <a:lnTo>
                  <a:pt x="49" y="417"/>
                </a:lnTo>
                <a:lnTo>
                  <a:pt x="47" y="417"/>
                </a:lnTo>
                <a:lnTo>
                  <a:pt x="46" y="418"/>
                </a:lnTo>
                <a:lnTo>
                  <a:pt x="44" y="417"/>
                </a:lnTo>
                <a:lnTo>
                  <a:pt x="41" y="417"/>
                </a:lnTo>
                <a:lnTo>
                  <a:pt x="41" y="418"/>
                </a:lnTo>
                <a:lnTo>
                  <a:pt x="42" y="420"/>
                </a:lnTo>
                <a:lnTo>
                  <a:pt x="41" y="422"/>
                </a:lnTo>
                <a:lnTo>
                  <a:pt x="37" y="420"/>
                </a:lnTo>
                <a:lnTo>
                  <a:pt x="39" y="418"/>
                </a:lnTo>
                <a:lnTo>
                  <a:pt x="39" y="417"/>
                </a:lnTo>
                <a:lnTo>
                  <a:pt x="39" y="415"/>
                </a:lnTo>
                <a:lnTo>
                  <a:pt x="37" y="413"/>
                </a:lnTo>
                <a:lnTo>
                  <a:pt x="36" y="412"/>
                </a:lnTo>
                <a:lnTo>
                  <a:pt x="34" y="412"/>
                </a:lnTo>
                <a:lnTo>
                  <a:pt x="32" y="412"/>
                </a:lnTo>
                <a:lnTo>
                  <a:pt x="34" y="412"/>
                </a:lnTo>
                <a:lnTo>
                  <a:pt x="32" y="412"/>
                </a:lnTo>
                <a:lnTo>
                  <a:pt x="30" y="413"/>
                </a:lnTo>
                <a:lnTo>
                  <a:pt x="29" y="415"/>
                </a:lnTo>
                <a:lnTo>
                  <a:pt x="27" y="415"/>
                </a:lnTo>
                <a:lnTo>
                  <a:pt x="25" y="413"/>
                </a:lnTo>
                <a:lnTo>
                  <a:pt x="25" y="412"/>
                </a:lnTo>
                <a:lnTo>
                  <a:pt x="22" y="408"/>
                </a:lnTo>
                <a:lnTo>
                  <a:pt x="20" y="408"/>
                </a:lnTo>
                <a:lnTo>
                  <a:pt x="19" y="405"/>
                </a:lnTo>
                <a:lnTo>
                  <a:pt x="17" y="406"/>
                </a:lnTo>
                <a:lnTo>
                  <a:pt x="15" y="406"/>
                </a:lnTo>
                <a:lnTo>
                  <a:pt x="13" y="406"/>
                </a:lnTo>
                <a:lnTo>
                  <a:pt x="12" y="405"/>
                </a:lnTo>
                <a:lnTo>
                  <a:pt x="10" y="401"/>
                </a:lnTo>
                <a:lnTo>
                  <a:pt x="10" y="400"/>
                </a:lnTo>
                <a:lnTo>
                  <a:pt x="7" y="400"/>
                </a:lnTo>
                <a:lnTo>
                  <a:pt x="5" y="398"/>
                </a:lnTo>
                <a:lnTo>
                  <a:pt x="7" y="396"/>
                </a:lnTo>
                <a:lnTo>
                  <a:pt x="3" y="395"/>
                </a:lnTo>
                <a:lnTo>
                  <a:pt x="2" y="396"/>
                </a:lnTo>
                <a:lnTo>
                  <a:pt x="0" y="396"/>
                </a:lnTo>
                <a:lnTo>
                  <a:pt x="0" y="395"/>
                </a:lnTo>
                <a:lnTo>
                  <a:pt x="0" y="391"/>
                </a:lnTo>
                <a:lnTo>
                  <a:pt x="0" y="388"/>
                </a:lnTo>
                <a:lnTo>
                  <a:pt x="0" y="386"/>
                </a:lnTo>
                <a:lnTo>
                  <a:pt x="0" y="384"/>
                </a:lnTo>
                <a:lnTo>
                  <a:pt x="0" y="383"/>
                </a:lnTo>
                <a:lnTo>
                  <a:pt x="3" y="381"/>
                </a:lnTo>
                <a:lnTo>
                  <a:pt x="3" y="379"/>
                </a:lnTo>
                <a:lnTo>
                  <a:pt x="5" y="377"/>
                </a:lnTo>
                <a:lnTo>
                  <a:pt x="7" y="376"/>
                </a:lnTo>
                <a:lnTo>
                  <a:pt x="7" y="374"/>
                </a:lnTo>
                <a:lnTo>
                  <a:pt x="7" y="372"/>
                </a:lnTo>
                <a:lnTo>
                  <a:pt x="7" y="371"/>
                </a:lnTo>
                <a:lnTo>
                  <a:pt x="7" y="369"/>
                </a:lnTo>
                <a:lnTo>
                  <a:pt x="7" y="367"/>
                </a:lnTo>
                <a:lnTo>
                  <a:pt x="7" y="366"/>
                </a:lnTo>
                <a:lnTo>
                  <a:pt x="7" y="362"/>
                </a:lnTo>
                <a:lnTo>
                  <a:pt x="8" y="362"/>
                </a:lnTo>
                <a:lnTo>
                  <a:pt x="8" y="359"/>
                </a:lnTo>
                <a:lnTo>
                  <a:pt x="8" y="355"/>
                </a:lnTo>
                <a:lnTo>
                  <a:pt x="8" y="354"/>
                </a:lnTo>
                <a:lnTo>
                  <a:pt x="12" y="354"/>
                </a:lnTo>
                <a:lnTo>
                  <a:pt x="12" y="352"/>
                </a:lnTo>
                <a:lnTo>
                  <a:pt x="12" y="350"/>
                </a:lnTo>
                <a:lnTo>
                  <a:pt x="12" y="347"/>
                </a:lnTo>
                <a:lnTo>
                  <a:pt x="13" y="345"/>
                </a:lnTo>
                <a:lnTo>
                  <a:pt x="15" y="347"/>
                </a:lnTo>
                <a:lnTo>
                  <a:pt x="17" y="349"/>
                </a:lnTo>
                <a:lnTo>
                  <a:pt x="19" y="347"/>
                </a:lnTo>
                <a:lnTo>
                  <a:pt x="20" y="349"/>
                </a:lnTo>
                <a:lnTo>
                  <a:pt x="22" y="347"/>
                </a:lnTo>
                <a:lnTo>
                  <a:pt x="24" y="349"/>
                </a:lnTo>
                <a:lnTo>
                  <a:pt x="25" y="349"/>
                </a:lnTo>
                <a:lnTo>
                  <a:pt x="25" y="350"/>
                </a:lnTo>
                <a:lnTo>
                  <a:pt x="27" y="349"/>
                </a:lnTo>
                <a:lnTo>
                  <a:pt x="25" y="347"/>
                </a:lnTo>
                <a:lnTo>
                  <a:pt x="25" y="345"/>
                </a:lnTo>
                <a:lnTo>
                  <a:pt x="27" y="343"/>
                </a:lnTo>
                <a:lnTo>
                  <a:pt x="24" y="343"/>
                </a:lnTo>
                <a:lnTo>
                  <a:pt x="22" y="342"/>
                </a:lnTo>
                <a:lnTo>
                  <a:pt x="20" y="340"/>
                </a:lnTo>
                <a:lnTo>
                  <a:pt x="19" y="340"/>
                </a:lnTo>
                <a:lnTo>
                  <a:pt x="19" y="338"/>
                </a:lnTo>
                <a:lnTo>
                  <a:pt x="17" y="340"/>
                </a:lnTo>
                <a:lnTo>
                  <a:pt x="19" y="337"/>
                </a:lnTo>
                <a:lnTo>
                  <a:pt x="17" y="335"/>
                </a:lnTo>
                <a:lnTo>
                  <a:pt x="17" y="333"/>
                </a:lnTo>
                <a:lnTo>
                  <a:pt x="17" y="330"/>
                </a:lnTo>
                <a:lnTo>
                  <a:pt x="17" y="326"/>
                </a:lnTo>
                <a:lnTo>
                  <a:pt x="15" y="323"/>
                </a:lnTo>
                <a:lnTo>
                  <a:pt x="13" y="321"/>
                </a:lnTo>
                <a:lnTo>
                  <a:pt x="13" y="318"/>
                </a:lnTo>
                <a:lnTo>
                  <a:pt x="10" y="316"/>
                </a:lnTo>
                <a:lnTo>
                  <a:pt x="10" y="315"/>
                </a:lnTo>
                <a:lnTo>
                  <a:pt x="12" y="315"/>
                </a:lnTo>
                <a:lnTo>
                  <a:pt x="12" y="311"/>
                </a:lnTo>
                <a:lnTo>
                  <a:pt x="12" y="309"/>
                </a:lnTo>
                <a:lnTo>
                  <a:pt x="13" y="308"/>
                </a:lnTo>
                <a:lnTo>
                  <a:pt x="15" y="306"/>
                </a:lnTo>
                <a:lnTo>
                  <a:pt x="15" y="303"/>
                </a:lnTo>
                <a:lnTo>
                  <a:pt x="17" y="301"/>
                </a:lnTo>
                <a:lnTo>
                  <a:pt x="17" y="299"/>
                </a:lnTo>
                <a:lnTo>
                  <a:pt x="19" y="298"/>
                </a:lnTo>
                <a:lnTo>
                  <a:pt x="20" y="294"/>
                </a:lnTo>
                <a:lnTo>
                  <a:pt x="20" y="291"/>
                </a:lnTo>
                <a:lnTo>
                  <a:pt x="22" y="291"/>
                </a:lnTo>
                <a:lnTo>
                  <a:pt x="24" y="287"/>
                </a:lnTo>
                <a:lnTo>
                  <a:pt x="24" y="286"/>
                </a:lnTo>
                <a:lnTo>
                  <a:pt x="25" y="284"/>
                </a:lnTo>
                <a:lnTo>
                  <a:pt x="25" y="282"/>
                </a:lnTo>
                <a:lnTo>
                  <a:pt x="27" y="281"/>
                </a:lnTo>
                <a:lnTo>
                  <a:pt x="27" y="279"/>
                </a:lnTo>
                <a:lnTo>
                  <a:pt x="29" y="277"/>
                </a:lnTo>
                <a:lnTo>
                  <a:pt x="29" y="275"/>
                </a:lnTo>
                <a:lnTo>
                  <a:pt x="30" y="274"/>
                </a:lnTo>
                <a:lnTo>
                  <a:pt x="30" y="272"/>
                </a:lnTo>
                <a:lnTo>
                  <a:pt x="30" y="270"/>
                </a:lnTo>
                <a:lnTo>
                  <a:pt x="32" y="270"/>
                </a:lnTo>
                <a:lnTo>
                  <a:pt x="34" y="269"/>
                </a:lnTo>
                <a:lnTo>
                  <a:pt x="34" y="265"/>
                </a:lnTo>
                <a:lnTo>
                  <a:pt x="37" y="264"/>
                </a:lnTo>
                <a:lnTo>
                  <a:pt x="37" y="262"/>
                </a:lnTo>
                <a:lnTo>
                  <a:pt x="39" y="260"/>
                </a:lnTo>
                <a:lnTo>
                  <a:pt x="41" y="258"/>
                </a:lnTo>
                <a:lnTo>
                  <a:pt x="42" y="257"/>
                </a:lnTo>
                <a:lnTo>
                  <a:pt x="42" y="255"/>
                </a:lnTo>
                <a:lnTo>
                  <a:pt x="44" y="253"/>
                </a:lnTo>
                <a:lnTo>
                  <a:pt x="46" y="252"/>
                </a:lnTo>
                <a:lnTo>
                  <a:pt x="46" y="250"/>
                </a:lnTo>
                <a:lnTo>
                  <a:pt x="46" y="248"/>
                </a:lnTo>
                <a:lnTo>
                  <a:pt x="47" y="247"/>
                </a:lnTo>
                <a:lnTo>
                  <a:pt x="49" y="247"/>
                </a:lnTo>
                <a:lnTo>
                  <a:pt x="49" y="245"/>
                </a:lnTo>
                <a:lnTo>
                  <a:pt x="53" y="245"/>
                </a:lnTo>
                <a:lnTo>
                  <a:pt x="54" y="245"/>
                </a:lnTo>
                <a:lnTo>
                  <a:pt x="56" y="243"/>
                </a:lnTo>
                <a:lnTo>
                  <a:pt x="58" y="243"/>
                </a:lnTo>
                <a:lnTo>
                  <a:pt x="58" y="241"/>
                </a:lnTo>
                <a:lnTo>
                  <a:pt x="59" y="241"/>
                </a:lnTo>
                <a:lnTo>
                  <a:pt x="59" y="240"/>
                </a:lnTo>
                <a:lnTo>
                  <a:pt x="59" y="238"/>
                </a:lnTo>
                <a:lnTo>
                  <a:pt x="61" y="236"/>
                </a:lnTo>
                <a:lnTo>
                  <a:pt x="61" y="235"/>
                </a:lnTo>
                <a:lnTo>
                  <a:pt x="61" y="233"/>
                </a:lnTo>
                <a:lnTo>
                  <a:pt x="61" y="229"/>
                </a:lnTo>
                <a:lnTo>
                  <a:pt x="59" y="228"/>
                </a:lnTo>
                <a:lnTo>
                  <a:pt x="59" y="226"/>
                </a:lnTo>
                <a:lnTo>
                  <a:pt x="58" y="224"/>
                </a:lnTo>
                <a:lnTo>
                  <a:pt x="58" y="223"/>
                </a:lnTo>
                <a:lnTo>
                  <a:pt x="54" y="223"/>
                </a:lnTo>
                <a:lnTo>
                  <a:pt x="54" y="219"/>
                </a:lnTo>
                <a:lnTo>
                  <a:pt x="53" y="219"/>
                </a:lnTo>
                <a:lnTo>
                  <a:pt x="51" y="218"/>
                </a:lnTo>
                <a:lnTo>
                  <a:pt x="51" y="216"/>
                </a:lnTo>
                <a:lnTo>
                  <a:pt x="53" y="214"/>
                </a:lnTo>
                <a:lnTo>
                  <a:pt x="54" y="214"/>
                </a:lnTo>
                <a:lnTo>
                  <a:pt x="58" y="214"/>
                </a:lnTo>
                <a:lnTo>
                  <a:pt x="59" y="211"/>
                </a:lnTo>
                <a:lnTo>
                  <a:pt x="58" y="211"/>
                </a:lnTo>
                <a:lnTo>
                  <a:pt x="56" y="209"/>
                </a:lnTo>
                <a:lnTo>
                  <a:pt x="54" y="211"/>
                </a:lnTo>
                <a:lnTo>
                  <a:pt x="54" y="209"/>
                </a:lnTo>
                <a:lnTo>
                  <a:pt x="51" y="207"/>
                </a:lnTo>
                <a:lnTo>
                  <a:pt x="49" y="207"/>
                </a:lnTo>
                <a:lnTo>
                  <a:pt x="49" y="204"/>
                </a:lnTo>
                <a:lnTo>
                  <a:pt x="47" y="204"/>
                </a:lnTo>
                <a:lnTo>
                  <a:pt x="47" y="202"/>
                </a:lnTo>
                <a:lnTo>
                  <a:pt x="46" y="202"/>
                </a:lnTo>
                <a:lnTo>
                  <a:pt x="47" y="201"/>
                </a:lnTo>
                <a:lnTo>
                  <a:pt x="46" y="201"/>
                </a:lnTo>
                <a:lnTo>
                  <a:pt x="46" y="199"/>
                </a:lnTo>
                <a:lnTo>
                  <a:pt x="44" y="199"/>
                </a:lnTo>
                <a:lnTo>
                  <a:pt x="42" y="197"/>
                </a:lnTo>
                <a:lnTo>
                  <a:pt x="42" y="195"/>
                </a:lnTo>
                <a:lnTo>
                  <a:pt x="42" y="194"/>
                </a:lnTo>
                <a:lnTo>
                  <a:pt x="41" y="194"/>
                </a:lnTo>
                <a:lnTo>
                  <a:pt x="41" y="192"/>
                </a:lnTo>
                <a:lnTo>
                  <a:pt x="37" y="190"/>
                </a:lnTo>
                <a:lnTo>
                  <a:pt x="36" y="187"/>
                </a:lnTo>
                <a:lnTo>
                  <a:pt x="34" y="185"/>
                </a:lnTo>
                <a:lnTo>
                  <a:pt x="32" y="187"/>
                </a:lnTo>
                <a:lnTo>
                  <a:pt x="30" y="184"/>
                </a:lnTo>
                <a:lnTo>
                  <a:pt x="30" y="180"/>
                </a:lnTo>
                <a:lnTo>
                  <a:pt x="32" y="180"/>
                </a:lnTo>
                <a:lnTo>
                  <a:pt x="32" y="178"/>
                </a:lnTo>
                <a:lnTo>
                  <a:pt x="32" y="177"/>
                </a:lnTo>
                <a:lnTo>
                  <a:pt x="30" y="177"/>
                </a:lnTo>
                <a:lnTo>
                  <a:pt x="30" y="175"/>
                </a:lnTo>
                <a:lnTo>
                  <a:pt x="29" y="175"/>
                </a:lnTo>
                <a:lnTo>
                  <a:pt x="30" y="173"/>
                </a:lnTo>
                <a:lnTo>
                  <a:pt x="29" y="173"/>
                </a:lnTo>
                <a:lnTo>
                  <a:pt x="27" y="172"/>
                </a:lnTo>
                <a:lnTo>
                  <a:pt x="30" y="172"/>
                </a:lnTo>
                <a:lnTo>
                  <a:pt x="29" y="170"/>
                </a:lnTo>
                <a:lnTo>
                  <a:pt x="27" y="168"/>
                </a:lnTo>
                <a:lnTo>
                  <a:pt x="29" y="167"/>
                </a:lnTo>
                <a:lnTo>
                  <a:pt x="27" y="165"/>
                </a:lnTo>
                <a:lnTo>
                  <a:pt x="25" y="163"/>
                </a:lnTo>
                <a:lnTo>
                  <a:pt x="27" y="161"/>
                </a:lnTo>
                <a:lnTo>
                  <a:pt x="29" y="161"/>
                </a:lnTo>
                <a:lnTo>
                  <a:pt x="30" y="160"/>
                </a:lnTo>
                <a:lnTo>
                  <a:pt x="32" y="160"/>
                </a:lnTo>
                <a:lnTo>
                  <a:pt x="34" y="161"/>
                </a:lnTo>
                <a:lnTo>
                  <a:pt x="34" y="160"/>
                </a:lnTo>
                <a:lnTo>
                  <a:pt x="36" y="160"/>
                </a:lnTo>
                <a:lnTo>
                  <a:pt x="39" y="160"/>
                </a:lnTo>
                <a:lnTo>
                  <a:pt x="37" y="163"/>
                </a:lnTo>
                <a:lnTo>
                  <a:pt x="41" y="163"/>
                </a:lnTo>
                <a:lnTo>
                  <a:pt x="42" y="163"/>
                </a:lnTo>
                <a:lnTo>
                  <a:pt x="44" y="161"/>
                </a:lnTo>
                <a:lnTo>
                  <a:pt x="46" y="160"/>
                </a:lnTo>
                <a:lnTo>
                  <a:pt x="46" y="158"/>
                </a:lnTo>
                <a:lnTo>
                  <a:pt x="47" y="156"/>
                </a:lnTo>
                <a:lnTo>
                  <a:pt x="49" y="155"/>
                </a:lnTo>
                <a:lnTo>
                  <a:pt x="51" y="153"/>
                </a:lnTo>
                <a:lnTo>
                  <a:pt x="53" y="151"/>
                </a:lnTo>
                <a:lnTo>
                  <a:pt x="54" y="150"/>
                </a:lnTo>
                <a:lnTo>
                  <a:pt x="53" y="148"/>
                </a:lnTo>
                <a:lnTo>
                  <a:pt x="53" y="146"/>
                </a:lnTo>
                <a:lnTo>
                  <a:pt x="53" y="144"/>
                </a:lnTo>
                <a:lnTo>
                  <a:pt x="54" y="143"/>
                </a:lnTo>
                <a:lnTo>
                  <a:pt x="53" y="141"/>
                </a:lnTo>
                <a:lnTo>
                  <a:pt x="54" y="139"/>
                </a:lnTo>
                <a:lnTo>
                  <a:pt x="56" y="139"/>
                </a:lnTo>
                <a:lnTo>
                  <a:pt x="59" y="138"/>
                </a:lnTo>
                <a:lnTo>
                  <a:pt x="61" y="138"/>
                </a:lnTo>
                <a:lnTo>
                  <a:pt x="63" y="138"/>
                </a:lnTo>
                <a:lnTo>
                  <a:pt x="64" y="136"/>
                </a:lnTo>
                <a:lnTo>
                  <a:pt x="66" y="136"/>
                </a:lnTo>
                <a:lnTo>
                  <a:pt x="68" y="136"/>
                </a:lnTo>
                <a:lnTo>
                  <a:pt x="71" y="136"/>
                </a:lnTo>
                <a:lnTo>
                  <a:pt x="71" y="134"/>
                </a:lnTo>
                <a:lnTo>
                  <a:pt x="73" y="134"/>
                </a:lnTo>
                <a:lnTo>
                  <a:pt x="75" y="134"/>
                </a:lnTo>
                <a:lnTo>
                  <a:pt x="76" y="133"/>
                </a:lnTo>
                <a:lnTo>
                  <a:pt x="80" y="133"/>
                </a:lnTo>
                <a:lnTo>
                  <a:pt x="80" y="131"/>
                </a:lnTo>
                <a:lnTo>
                  <a:pt x="81" y="131"/>
                </a:lnTo>
                <a:lnTo>
                  <a:pt x="83" y="129"/>
                </a:lnTo>
                <a:lnTo>
                  <a:pt x="87" y="127"/>
                </a:lnTo>
                <a:lnTo>
                  <a:pt x="88" y="126"/>
                </a:lnTo>
                <a:lnTo>
                  <a:pt x="90" y="126"/>
                </a:lnTo>
                <a:lnTo>
                  <a:pt x="93" y="127"/>
                </a:lnTo>
                <a:lnTo>
                  <a:pt x="95" y="127"/>
                </a:lnTo>
                <a:lnTo>
                  <a:pt x="97" y="127"/>
                </a:lnTo>
                <a:lnTo>
                  <a:pt x="100" y="127"/>
                </a:lnTo>
                <a:lnTo>
                  <a:pt x="100" y="126"/>
                </a:lnTo>
                <a:lnTo>
                  <a:pt x="102" y="127"/>
                </a:lnTo>
                <a:lnTo>
                  <a:pt x="102" y="126"/>
                </a:lnTo>
                <a:lnTo>
                  <a:pt x="105" y="126"/>
                </a:lnTo>
                <a:lnTo>
                  <a:pt x="109" y="126"/>
                </a:lnTo>
                <a:lnTo>
                  <a:pt x="110" y="126"/>
                </a:lnTo>
                <a:lnTo>
                  <a:pt x="112" y="124"/>
                </a:lnTo>
                <a:lnTo>
                  <a:pt x="114" y="124"/>
                </a:lnTo>
                <a:lnTo>
                  <a:pt x="112" y="122"/>
                </a:lnTo>
                <a:lnTo>
                  <a:pt x="115" y="122"/>
                </a:lnTo>
                <a:lnTo>
                  <a:pt x="115" y="124"/>
                </a:lnTo>
                <a:lnTo>
                  <a:pt x="117" y="122"/>
                </a:lnTo>
                <a:lnTo>
                  <a:pt x="119" y="122"/>
                </a:lnTo>
                <a:lnTo>
                  <a:pt x="121" y="122"/>
                </a:lnTo>
                <a:lnTo>
                  <a:pt x="122" y="121"/>
                </a:lnTo>
                <a:lnTo>
                  <a:pt x="124" y="122"/>
                </a:lnTo>
                <a:lnTo>
                  <a:pt x="127" y="122"/>
                </a:lnTo>
                <a:lnTo>
                  <a:pt x="129" y="124"/>
                </a:lnTo>
                <a:lnTo>
                  <a:pt x="131" y="124"/>
                </a:lnTo>
                <a:lnTo>
                  <a:pt x="132" y="124"/>
                </a:lnTo>
                <a:lnTo>
                  <a:pt x="134" y="122"/>
                </a:lnTo>
                <a:lnTo>
                  <a:pt x="136" y="124"/>
                </a:lnTo>
                <a:lnTo>
                  <a:pt x="139" y="122"/>
                </a:lnTo>
                <a:lnTo>
                  <a:pt x="139" y="121"/>
                </a:lnTo>
                <a:lnTo>
                  <a:pt x="141" y="124"/>
                </a:lnTo>
                <a:lnTo>
                  <a:pt x="144" y="126"/>
                </a:lnTo>
                <a:lnTo>
                  <a:pt x="148" y="126"/>
                </a:lnTo>
                <a:lnTo>
                  <a:pt x="149" y="122"/>
                </a:lnTo>
                <a:lnTo>
                  <a:pt x="151" y="122"/>
                </a:lnTo>
                <a:lnTo>
                  <a:pt x="153" y="122"/>
                </a:lnTo>
                <a:lnTo>
                  <a:pt x="156" y="122"/>
                </a:lnTo>
                <a:lnTo>
                  <a:pt x="156" y="124"/>
                </a:lnTo>
                <a:lnTo>
                  <a:pt x="158" y="126"/>
                </a:lnTo>
                <a:lnTo>
                  <a:pt x="160" y="124"/>
                </a:lnTo>
                <a:lnTo>
                  <a:pt x="161" y="126"/>
                </a:lnTo>
                <a:lnTo>
                  <a:pt x="163" y="126"/>
                </a:lnTo>
                <a:lnTo>
                  <a:pt x="165" y="126"/>
                </a:lnTo>
                <a:lnTo>
                  <a:pt x="166" y="124"/>
                </a:lnTo>
                <a:lnTo>
                  <a:pt x="166" y="122"/>
                </a:lnTo>
                <a:lnTo>
                  <a:pt x="168" y="122"/>
                </a:lnTo>
                <a:lnTo>
                  <a:pt x="175" y="121"/>
                </a:lnTo>
                <a:lnTo>
                  <a:pt x="177" y="126"/>
                </a:lnTo>
                <a:lnTo>
                  <a:pt x="177" y="127"/>
                </a:lnTo>
                <a:lnTo>
                  <a:pt x="178" y="127"/>
                </a:lnTo>
                <a:lnTo>
                  <a:pt x="180" y="127"/>
                </a:lnTo>
                <a:lnTo>
                  <a:pt x="180" y="131"/>
                </a:lnTo>
                <a:lnTo>
                  <a:pt x="183" y="131"/>
                </a:lnTo>
                <a:lnTo>
                  <a:pt x="185" y="129"/>
                </a:lnTo>
                <a:lnTo>
                  <a:pt x="187" y="129"/>
                </a:lnTo>
                <a:lnTo>
                  <a:pt x="189" y="127"/>
                </a:lnTo>
                <a:lnTo>
                  <a:pt x="190" y="129"/>
                </a:lnTo>
                <a:lnTo>
                  <a:pt x="192" y="127"/>
                </a:lnTo>
                <a:lnTo>
                  <a:pt x="190" y="129"/>
                </a:lnTo>
                <a:lnTo>
                  <a:pt x="190" y="126"/>
                </a:lnTo>
                <a:lnTo>
                  <a:pt x="192" y="127"/>
                </a:lnTo>
                <a:lnTo>
                  <a:pt x="192" y="126"/>
                </a:lnTo>
                <a:lnTo>
                  <a:pt x="194" y="126"/>
                </a:lnTo>
                <a:lnTo>
                  <a:pt x="195" y="127"/>
                </a:lnTo>
                <a:lnTo>
                  <a:pt x="197" y="126"/>
                </a:lnTo>
                <a:lnTo>
                  <a:pt x="199" y="127"/>
                </a:lnTo>
                <a:lnTo>
                  <a:pt x="200" y="126"/>
                </a:lnTo>
                <a:lnTo>
                  <a:pt x="200" y="129"/>
                </a:lnTo>
                <a:lnTo>
                  <a:pt x="199" y="131"/>
                </a:lnTo>
                <a:lnTo>
                  <a:pt x="199" y="133"/>
                </a:lnTo>
                <a:lnTo>
                  <a:pt x="200" y="134"/>
                </a:lnTo>
                <a:lnTo>
                  <a:pt x="202" y="134"/>
                </a:lnTo>
                <a:lnTo>
                  <a:pt x="204" y="134"/>
                </a:lnTo>
                <a:lnTo>
                  <a:pt x="204" y="133"/>
                </a:lnTo>
                <a:lnTo>
                  <a:pt x="204" y="131"/>
                </a:lnTo>
                <a:lnTo>
                  <a:pt x="206" y="129"/>
                </a:lnTo>
                <a:lnTo>
                  <a:pt x="206" y="127"/>
                </a:lnTo>
                <a:lnTo>
                  <a:pt x="206" y="124"/>
                </a:lnTo>
                <a:lnTo>
                  <a:pt x="204" y="124"/>
                </a:lnTo>
                <a:lnTo>
                  <a:pt x="206" y="122"/>
                </a:lnTo>
                <a:lnTo>
                  <a:pt x="207" y="124"/>
                </a:lnTo>
                <a:lnTo>
                  <a:pt x="209" y="126"/>
                </a:lnTo>
                <a:lnTo>
                  <a:pt x="211" y="124"/>
                </a:lnTo>
                <a:lnTo>
                  <a:pt x="211" y="127"/>
                </a:lnTo>
                <a:lnTo>
                  <a:pt x="212" y="126"/>
                </a:lnTo>
                <a:lnTo>
                  <a:pt x="214" y="126"/>
                </a:lnTo>
                <a:lnTo>
                  <a:pt x="217" y="124"/>
                </a:lnTo>
                <a:lnTo>
                  <a:pt x="217" y="122"/>
                </a:lnTo>
                <a:lnTo>
                  <a:pt x="217" y="119"/>
                </a:lnTo>
                <a:lnTo>
                  <a:pt x="219" y="117"/>
                </a:lnTo>
                <a:lnTo>
                  <a:pt x="221" y="117"/>
                </a:lnTo>
                <a:lnTo>
                  <a:pt x="221" y="116"/>
                </a:lnTo>
                <a:lnTo>
                  <a:pt x="223" y="116"/>
                </a:lnTo>
                <a:lnTo>
                  <a:pt x="223" y="119"/>
                </a:lnTo>
                <a:lnTo>
                  <a:pt x="224" y="121"/>
                </a:lnTo>
                <a:lnTo>
                  <a:pt x="226" y="121"/>
                </a:lnTo>
                <a:lnTo>
                  <a:pt x="228" y="124"/>
                </a:lnTo>
                <a:lnTo>
                  <a:pt x="229" y="122"/>
                </a:lnTo>
                <a:lnTo>
                  <a:pt x="231" y="121"/>
                </a:lnTo>
                <a:lnTo>
                  <a:pt x="231" y="119"/>
                </a:lnTo>
                <a:lnTo>
                  <a:pt x="234" y="119"/>
                </a:lnTo>
                <a:lnTo>
                  <a:pt x="236" y="119"/>
                </a:lnTo>
                <a:lnTo>
                  <a:pt x="240" y="119"/>
                </a:lnTo>
                <a:lnTo>
                  <a:pt x="240" y="121"/>
                </a:lnTo>
                <a:lnTo>
                  <a:pt x="241" y="122"/>
                </a:lnTo>
                <a:lnTo>
                  <a:pt x="241" y="124"/>
                </a:lnTo>
                <a:lnTo>
                  <a:pt x="243" y="126"/>
                </a:lnTo>
                <a:lnTo>
                  <a:pt x="243" y="127"/>
                </a:lnTo>
                <a:lnTo>
                  <a:pt x="245" y="124"/>
                </a:lnTo>
                <a:lnTo>
                  <a:pt x="246" y="127"/>
                </a:lnTo>
                <a:lnTo>
                  <a:pt x="246" y="124"/>
                </a:lnTo>
                <a:lnTo>
                  <a:pt x="246" y="122"/>
                </a:lnTo>
                <a:lnTo>
                  <a:pt x="246" y="121"/>
                </a:lnTo>
                <a:lnTo>
                  <a:pt x="246" y="119"/>
                </a:lnTo>
                <a:lnTo>
                  <a:pt x="246" y="117"/>
                </a:lnTo>
                <a:lnTo>
                  <a:pt x="248" y="117"/>
                </a:lnTo>
                <a:lnTo>
                  <a:pt x="250" y="116"/>
                </a:lnTo>
                <a:lnTo>
                  <a:pt x="250" y="114"/>
                </a:lnTo>
                <a:lnTo>
                  <a:pt x="253" y="114"/>
                </a:lnTo>
                <a:lnTo>
                  <a:pt x="255" y="114"/>
                </a:lnTo>
                <a:lnTo>
                  <a:pt x="255" y="112"/>
                </a:lnTo>
                <a:lnTo>
                  <a:pt x="257" y="110"/>
                </a:lnTo>
                <a:lnTo>
                  <a:pt x="258" y="107"/>
                </a:lnTo>
                <a:lnTo>
                  <a:pt x="260" y="107"/>
                </a:lnTo>
                <a:lnTo>
                  <a:pt x="260" y="109"/>
                </a:lnTo>
                <a:lnTo>
                  <a:pt x="262" y="109"/>
                </a:lnTo>
                <a:lnTo>
                  <a:pt x="262" y="110"/>
                </a:lnTo>
                <a:lnTo>
                  <a:pt x="263" y="112"/>
                </a:lnTo>
                <a:lnTo>
                  <a:pt x="265" y="112"/>
                </a:lnTo>
                <a:lnTo>
                  <a:pt x="265" y="114"/>
                </a:lnTo>
                <a:lnTo>
                  <a:pt x="265" y="117"/>
                </a:lnTo>
                <a:lnTo>
                  <a:pt x="267" y="119"/>
                </a:lnTo>
                <a:lnTo>
                  <a:pt x="268" y="119"/>
                </a:lnTo>
                <a:lnTo>
                  <a:pt x="270" y="121"/>
                </a:lnTo>
                <a:lnTo>
                  <a:pt x="272" y="122"/>
                </a:lnTo>
                <a:lnTo>
                  <a:pt x="272" y="124"/>
                </a:lnTo>
                <a:lnTo>
                  <a:pt x="274" y="122"/>
                </a:lnTo>
                <a:lnTo>
                  <a:pt x="275" y="121"/>
                </a:lnTo>
                <a:lnTo>
                  <a:pt x="279" y="121"/>
                </a:lnTo>
                <a:lnTo>
                  <a:pt x="279" y="119"/>
                </a:lnTo>
                <a:lnTo>
                  <a:pt x="279" y="117"/>
                </a:lnTo>
                <a:lnTo>
                  <a:pt x="279" y="114"/>
                </a:lnTo>
                <a:lnTo>
                  <a:pt x="280" y="116"/>
                </a:lnTo>
                <a:lnTo>
                  <a:pt x="282" y="114"/>
                </a:lnTo>
                <a:lnTo>
                  <a:pt x="280" y="112"/>
                </a:lnTo>
                <a:lnTo>
                  <a:pt x="284" y="112"/>
                </a:lnTo>
                <a:lnTo>
                  <a:pt x="285" y="109"/>
                </a:lnTo>
                <a:lnTo>
                  <a:pt x="287" y="110"/>
                </a:lnTo>
                <a:lnTo>
                  <a:pt x="285" y="112"/>
                </a:lnTo>
                <a:lnTo>
                  <a:pt x="287" y="114"/>
                </a:lnTo>
                <a:lnTo>
                  <a:pt x="291" y="114"/>
                </a:lnTo>
                <a:lnTo>
                  <a:pt x="289" y="114"/>
                </a:lnTo>
                <a:lnTo>
                  <a:pt x="291" y="112"/>
                </a:lnTo>
                <a:lnTo>
                  <a:pt x="291" y="114"/>
                </a:lnTo>
                <a:lnTo>
                  <a:pt x="292" y="112"/>
                </a:lnTo>
                <a:lnTo>
                  <a:pt x="294" y="112"/>
                </a:lnTo>
                <a:lnTo>
                  <a:pt x="292" y="110"/>
                </a:lnTo>
                <a:lnTo>
                  <a:pt x="294" y="109"/>
                </a:lnTo>
                <a:lnTo>
                  <a:pt x="296" y="110"/>
                </a:lnTo>
                <a:lnTo>
                  <a:pt x="297" y="109"/>
                </a:lnTo>
                <a:lnTo>
                  <a:pt x="297" y="107"/>
                </a:lnTo>
                <a:lnTo>
                  <a:pt x="301" y="107"/>
                </a:lnTo>
                <a:lnTo>
                  <a:pt x="302" y="107"/>
                </a:lnTo>
                <a:lnTo>
                  <a:pt x="302" y="105"/>
                </a:lnTo>
                <a:lnTo>
                  <a:pt x="304" y="107"/>
                </a:lnTo>
                <a:lnTo>
                  <a:pt x="304" y="105"/>
                </a:lnTo>
                <a:lnTo>
                  <a:pt x="306" y="105"/>
                </a:lnTo>
                <a:lnTo>
                  <a:pt x="308" y="105"/>
                </a:lnTo>
                <a:lnTo>
                  <a:pt x="311" y="107"/>
                </a:lnTo>
                <a:lnTo>
                  <a:pt x="313" y="109"/>
                </a:lnTo>
                <a:lnTo>
                  <a:pt x="314" y="112"/>
                </a:lnTo>
                <a:lnTo>
                  <a:pt x="314" y="114"/>
                </a:lnTo>
                <a:lnTo>
                  <a:pt x="318" y="116"/>
                </a:lnTo>
                <a:lnTo>
                  <a:pt x="321" y="116"/>
                </a:lnTo>
                <a:lnTo>
                  <a:pt x="321" y="117"/>
                </a:lnTo>
                <a:lnTo>
                  <a:pt x="323" y="119"/>
                </a:lnTo>
                <a:lnTo>
                  <a:pt x="325" y="119"/>
                </a:lnTo>
                <a:lnTo>
                  <a:pt x="323" y="117"/>
                </a:lnTo>
                <a:lnTo>
                  <a:pt x="325" y="117"/>
                </a:lnTo>
                <a:lnTo>
                  <a:pt x="326" y="116"/>
                </a:lnTo>
                <a:lnTo>
                  <a:pt x="328" y="116"/>
                </a:lnTo>
                <a:lnTo>
                  <a:pt x="328" y="114"/>
                </a:lnTo>
                <a:lnTo>
                  <a:pt x="326" y="114"/>
                </a:lnTo>
                <a:lnTo>
                  <a:pt x="328" y="110"/>
                </a:lnTo>
                <a:lnTo>
                  <a:pt x="326" y="109"/>
                </a:lnTo>
                <a:lnTo>
                  <a:pt x="328" y="107"/>
                </a:lnTo>
                <a:lnTo>
                  <a:pt x="325" y="105"/>
                </a:lnTo>
                <a:lnTo>
                  <a:pt x="323" y="105"/>
                </a:lnTo>
                <a:lnTo>
                  <a:pt x="323" y="104"/>
                </a:lnTo>
                <a:lnTo>
                  <a:pt x="325" y="102"/>
                </a:lnTo>
                <a:lnTo>
                  <a:pt x="323" y="102"/>
                </a:lnTo>
                <a:lnTo>
                  <a:pt x="321" y="100"/>
                </a:lnTo>
                <a:lnTo>
                  <a:pt x="321" y="97"/>
                </a:lnTo>
                <a:lnTo>
                  <a:pt x="319" y="99"/>
                </a:lnTo>
                <a:lnTo>
                  <a:pt x="318" y="97"/>
                </a:lnTo>
                <a:lnTo>
                  <a:pt x="319" y="95"/>
                </a:lnTo>
                <a:lnTo>
                  <a:pt x="316" y="95"/>
                </a:lnTo>
                <a:lnTo>
                  <a:pt x="319" y="93"/>
                </a:lnTo>
                <a:lnTo>
                  <a:pt x="316" y="93"/>
                </a:lnTo>
                <a:lnTo>
                  <a:pt x="316" y="90"/>
                </a:lnTo>
                <a:lnTo>
                  <a:pt x="318" y="90"/>
                </a:lnTo>
                <a:lnTo>
                  <a:pt x="318" y="87"/>
                </a:lnTo>
                <a:lnTo>
                  <a:pt x="319" y="85"/>
                </a:lnTo>
                <a:lnTo>
                  <a:pt x="319" y="83"/>
                </a:lnTo>
                <a:lnTo>
                  <a:pt x="318" y="82"/>
                </a:lnTo>
                <a:lnTo>
                  <a:pt x="319" y="82"/>
                </a:lnTo>
                <a:lnTo>
                  <a:pt x="319" y="80"/>
                </a:lnTo>
                <a:lnTo>
                  <a:pt x="318" y="78"/>
                </a:lnTo>
                <a:lnTo>
                  <a:pt x="319" y="76"/>
                </a:lnTo>
                <a:lnTo>
                  <a:pt x="319" y="75"/>
                </a:lnTo>
                <a:lnTo>
                  <a:pt x="321" y="73"/>
                </a:lnTo>
                <a:lnTo>
                  <a:pt x="321" y="71"/>
                </a:lnTo>
                <a:lnTo>
                  <a:pt x="323" y="71"/>
                </a:lnTo>
                <a:lnTo>
                  <a:pt x="323" y="70"/>
                </a:lnTo>
                <a:lnTo>
                  <a:pt x="323" y="68"/>
                </a:lnTo>
                <a:lnTo>
                  <a:pt x="325" y="68"/>
                </a:lnTo>
                <a:lnTo>
                  <a:pt x="323" y="66"/>
                </a:lnTo>
                <a:lnTo>
                  <a:pt x="325" y="66"/>
                </a:lnTo>
                <a:lnTo>
                  <a:pt x="325" y="64"/>
                </a:lnTo>
                <a:lnTo>
                  <a:pt x="326" y="64"/>
                </a:lnTo>
                <a:lnTo>
                  <a:pt x="325" y="63"/>
                </a:lnTo>
                <a:lnTo>
                  <a:pt x="326" y="63"/>
                </a:lnTo>
                <a:lnTo>
                  <a:pt x="325" y="61"/>
                </a:lnTo>
                <a:lnTo>
                  <a:pt x="326" y="61"/>
                </a:lnTo>
                <a:lnTo>
                  <a:pt x="325" y="59"/>
                </a:lnTo>
                <a:lnTo>
                  <a:pt x="326" y="59"/>
                </a:lnTo>
                <a:lnTo>
                  <a:pt x="325" y="58"/>
                </a:lnTo>
                <a:lnTo>
                  <a:pt x="325" y="56"/>
                </a:lnTo>
                <a:lnTo>
                  <a:pt x="328" y="58"/>
                </a:lnTo>
                <a:lnTo>
                  <a:pt x="330" y="56"/>
                </a:lnTo>
                <a:lnTo>
                  <a:pt x="330" y="54"/>
                </a:lnTo>
                <a:lnTo>
                  <a:pt x="331" y="54"/>
                </a:lnTo>
                <a:lnTo>
                  <a:pt x="333" y="53"/>
                </a:lnTo>
                <a:lnTo>
                  <a:pt x="335" y="54"/>
                </a:lnTo>
                <a:lnTo>
                  <a:pt x="336" y="54"/>
                </a:lnTo>
                <a:lnTo>
                  <a:pt x="338" y="56"/>
                </a:lnTo>
                <a:lnTo>
                  <a:pt x="340" y="54"/>
                </a:lnTo>
                <a:lnTo>
                  <a:pt x="342" y="53"/>
                </a:lnTo>
                <a:lnTo>
                  <a:pt x="340" y="51"/>
                </a:lnTo>
                <a:lnTo>
                  <a:pt x="343" y="49"/>
                </a:lnTo>
                <a:lnTo>
                  <a:pt x="342" y="49"/>
                </a:lnTo>
                <a:lnTo>
                  <a:pt x="343" y="47"/>
                </a:lnTo>
                <a:lnTo>
                  <a:pt x="345" y="47"/>
                </a:lnTo>
                <a:lnTo>
                  <a:pt x="347" y="47"/>
                </a:lnTo>
                <a:lnTo>
                  <a:pt x="348" y="47"/>
                </a:lnTo>
                <a:lnTo>
                  <a:pt x="350" y="47"/>
                </a:lnTo>
                <a:lnTo>
                  <a:pt x="352" y="47"/>
                </a:lnTo>
                <a:lnTo>
                  <a:pt x="353" y="46"/>
                </a:lnTo>
                <a:lnTo>
                  <a:pt x="357" y="46"/>
                </a:lnTo>
                <a:lnTo>
                  <a:pt x="359" y="44"/>
                </a:lnTo>
                <a:lnTo>
                  <a:pt x="360" y="46"/>
                </a:lnTo>
                <a:lnTo>
                  <a:pt x="362" y="44"/>
                </a:lnTo>
                <a:lnTo>
                  <a:pt x="365" y="44"/>
                </a:lnTo>
                <a:lnTo>
                  <a:pt x="367" y="44"/>
                </a:lnTo>
                <a:lnTo>
                  <a:pt x="367" y="46"/>
                </a:lnTo>
                <a:lnTo>
                  <a:pt x="365" y="47"/>
                </a:lnTo>
                <a:lnTo>
                  <a:pt x="367" y="46"/>
                </a:lnTo>
                <a:lnTo>
                  <a:pt x="370" y="46"/>
                </a:lnTo>
                <a:lnTo>
                  <a:pt x="372" y="46"/>
                </a:lnTo>
                <a:lnTo>
                  <a:pt x="374" y="46"/>
                </a:lnTo>
                <a:lnTo>
                  <a:pt x="376" y="44"/>
                </a:lnTo>
                <a:lnTo>
                  <a:pt x="376" y="42"/>
                </a:lnTo>
                <a:lnTo>
                  <a:pt x="377" y="42"/>
                </a:lnTo>
                <a:lnTo>
                  <a:pt x="377" y="41"/>
                </a:lnTo>
                <a:lnTo>
                  <a:pt x="381" y="39"/>
                </a:lnTo>
                <a:lnTo>
                  <a:pt x="381" y="36"/>
                </a:lnTo>
                <a:lnTo>
                  <a:pt x="382" y="34"/>
                </a:lnTo>
                <a:lnTo>
                  <a:pt x="381" y="36"/>
                </a:lnTo>
                <a:lnTo>
                  <a:pt x="381" y="32"/>
                </a:lnTo>
                <a:lnTo>
                  <a:pt x="379" y="30"/>
                </a:lnTo>
                <a:lnTo>
                  <a:pt x="379" y="29"/>
                </a:lnTo>
                <a:lnTo>
                  <a:pt x="381" y="27"/>
                </a:lnTo>
                <a:lnTo>
                  <a:pt x="381" y="25"/>
                </a:lnTo>
                <a:lnTo>
                  <a:pt x="379" y="25"/>
                </a:lnTo>
                <a:lnTo>
                  <a:pt x="377" y="24"/>
                </a:lnTo>
                <a:lnTo>
                  <a:pt x="379" y="22"/>
                </a:lnTo>
                <a:lnTo>
                  <a:pt x="381" y="22"/>
                </a:lnTo>
                <a:lnTo>
                  <a:pt x="382" y="22"/>
                </a:lnTo>
                <a:lnTo>
                  <a:pt x="384" y="22"/>
                </a:lnTo>
                <a:lnTo>
                  <a:pt x="384" y="20"/>
                </a:lnTo>
                <a:lnTo>
                  <a:pt x="386" y="20"/>
                </a:lnTo>
                <a:lnTo>
                  <a:pt x="387" y="22"/>
                </a:lnTo>
                <a:lnTo>
                  <a:pt x="389" y="20"/>
                </a:lnTo>
                <a:lnTo>
                  <a:pt x="389" y="22"/>
                </a:lnTo>
                <a:lnTo>
                  <a:pt x="393" y="22"/>
                </a:lnTo>
                <a:lnTo>
                  <a:pt x="394" y="24"/>
                </a:lnTo>
                <a:lnTo>
                  <a:pt x="396" y="22"/>
                </a:lnTo>
                <a:lnTo>
                  <a:pt x="398" y="22"/>
                </a:lnTo>
                <a:lnTo>
                  <a:pt x="398" y="20"/>
                </a:lnTo>
                <a:lnTo>
                  <a:pt x="401" y="20"/>
                </a:lnTo>
                <a:lnTo>
                  <a:pt x="401" y="22"/>
                </a:lnTo>
                <a:lnTo>
                  <a:pt x="403" y="20"/>
                </a:lnTo>
                <a:lnTo>
                  <a:pt x="403" y="19"/>
                </a:lnTo>
                <a:lnTo>
                  <a:pt x="404" y="19"/>
                </a:lnTo>
                <a:lnTo>
                  <a:pt x="404" y="17"/>
                </a:lnTo>
                <a:lnTo>
                  <a:pt x="406" y="15"/>
                </a:lnTo>
                <a:lnTo>
                  <a:pt x="406" y="13"/>
                </a:lnTo>
                <a:lnTo>
                  <a:pt x="408" y="15"/>
                </a:lnTo>
                <a:lnTo>
                  <a:pt x="410" y="12"/>
                </a:lnTo>
                <a:lnTo>
                  <a:pt x="411" y="12"/>
                </a:lnTo>
                <a:lnTo>
                  <a:pt x="410" y="8"/>
                </a:lnTo>
                <a:lnTo>
                  <a:pt x="411" y="8"/>
                </a:lnTo>
                <a:lnTo>
                  <a:pt x="415" y="8"/>
                </a:lnTo>
                <a:lnTo>
                  <a:pt x="416" y="8"/>
                </a:lnTo>
                <a:lnTo>
                  <a:pt x="418" y="8"/>
                </a:lnTo>
                <a:lnTo>
                  <a:pt x="418" y="7"/>
                </a:lnTo>
                <a:lnTo>
                  <a:pt x="420" y="7"/>
                </a:lnTo>
                <a:lnTo>
                  <a:pt x="421" y="7"/>
                </a:lnTo>
                <a:lnTo>
                  <a:pt x="421" y="5"/>
                </a:lnTo>
                <a:lnTo>
                  <a:pt x="423" y="5"/>
                </a:lnTo>
                <a:lnTo>
                  <a:pt x="425" y="7"/>
                </a:lnTo>
                <a:lnTo>
                  <a:pt x="423" y="8"/>
                </a:lnTo>
                <a:lnTo>
                  <a:pt x="425" y="8"/>
                </a:lnTo>
                <a:lnTo>
                  <a:pt x="427" y="8"/>
                </a:lnTo>
                <a:lnTo>
                  <a:pt x="427" y="7"/>
                </a:lnTo>
                <a:lnTo>
                  <a:pt x="428" y="8"/>
                </a:lnTo>
                <a:lnTo>
                  <a:pt x="428" y="5"/>
                </a:lnTo>
                <a:lnTo>
                  <a:pt x="430" y="5"/>
                </a:lnTo>
                <a:lnTo>
                  <a:pt x="432" y="2"/>
                </a:lnTo>
                <a:lnTo>
                  <a:pt x="433" y="3"/>
                </a:lnTo>
                <a:lnTo>
                  <a:pt x="435" y="2"/>
                </a:lnTo>
                <a:lnTo>
                  <a:pt x="437" y="0"/>
                </a:lnTo>
                <a:lnTo>
                  <a:pt x="438" y="2"/>
                </a:lnTo>
                <a:lnTo>
                  <a:pt x="438" y="3"/>
                </a:lnTo>
                <a:lnTo>
                  <a:pt x="440" y="3"/>
                </a:lnTo>
                <a:lnTo>
                  <a:pt x="442" y="3"/>
                </a:lnTo>
                <a:lnTo>
                  <a:pt x="444" y="5"/>
                </a:lnTo>
                <a:lnTo>
                  <a:pt x="444" y="7"/>
                </a:lnTo>
                <a:lnTo>
                  <a:pt x="447" y="7"/>
                </a:lnTo>
                <a:lnTo>
                  <a:pt x="447" y="8"/>
                </a:lnTo>
                <a:lnTo>
                  <a:pt x="449" y="8"/>
                </a:lnTo>
                <a:lnTo>
                  <a:pt x="450" y="10"/>
                </a:lnTo>
                <a:lnTo>
                  <a:pt x="452" y="12"/>
                </a:lnTo>
                <a:lnTo>
                  <a:pt x="454" y="12"/>
                </a:lnTo>
                <a:lnTo>
                  <a:pt x="454" y="13"/>
                </a:lnTo>
                <a:lnTo>
                  <a:pt x="454" y="15"/>
                </a:lnTo>
                <a:lnTo>
                  <a:pt x="452" y="17"/>
                </a:lnTo>
                <a:lnTo>
                  <a:pt x="455" y="19"/>
                </a:lnTo>
                <a:lnTo>
                  <a:pt x="455" y="20"/>
                </a:lnTo>
                <a:lnTo>
                  <a:pt x="457" y="20"/>
                </a:lnTo>
                <a:lnTo>
                  <a:pt x="459" y="22"/>
                </a:lnTo>
                <a:lnTo>
                  <a:pt x="461" y="22"/>
                </a:lnTo>
                <a:lnTo>
                  <a:pt x="462" y="24"/>
                </a:lnTo>
                <a:lnTo>
                  <a:pt x="464" y="25"/>
                </a:lnTo>
                <a:lnTo>
                  <a:pt x="464" y="27"/>
                </a:lnTo>
                <a:lnTo>
                  <a:pt x="467" y="25"/>
                </a:lnTo>
                <a:lnTo>
                  <a:pt x="471" y="27"/>
                </a:lnTo>
                <a:lnTo>
                  <a:pt x="472" y="27"/>
                </a:lnTo>
                <a:lnTo>
                  <a:pt x="474" y="30"/>
                </a:lnTo>
                <a:lnTo>
                  <a:pt x="476" y="32"/>
                </a:lnTo>
                <a:lnTo>
                  <a:pt x="476" y="34"/>
                </a:lnTo>
                <a:lnTo>
                  <a:pt x="474" y="36"/>
                </a:lnTo>
                <a:lnTo>
                  <a:pt x="471" y="36"/>
                </a:lnTo>
                <a:lnTo>
                  <a:pt x="471" y="37"/>
                </a:lnTo>
                <a:lnTo>
                  <a:pt x="469" y="39"/>
                </a:lnTo>
                <a:lnTo>
                  <a:pt x="467" y="39"/>
                </a:lnTo>
                <a:lnTo>
                  <a:pt x="464" y="41"/>
                </a:lnTo>
                <a:lnTo>
                  <a:pt x="462" y="42"/>
                </a:lnTo>
                <a:lnTo>
                  <a:pt x="464" y="42"/>
                </a:lnTo>
                <a:lnTo>
                  <a:pt x="466" y="44"/>
                </a:lnTo>
                <a:lnTo>
                  <a:pt x="467" y="44"/>
                </a:lnTo>
                <a:lnTo>
                  <a:pt x="469" y="46"/>
                </a:lnTo>
                <a:lnTo>
                  <a:pt x="471" y="47"/>
                </a:lnTo>
                <a:lnTo>
                  <a:pt x="471" y="46"/>
                </a:lnTo>
                <a:lnTo>
                  <a:pt x="472" y="47"/>
                </a:lnTo>
                <a:lnTo>
                  <a:pt x="472" y="49"/>
                </a:lnTo>
                <a:lnTo>
                  <a:pt x="476" y="49"/>
                </a:lnTo>
                <a:lnTo>
                  <a:pt x="476" y="53"/>
                </a:lnTo>
                <a:lnTo>
                  <a:pt x="474" y="54"/>
                </a:lnTo>
                <a:lnTo>
                  <a:pt x="476" y="56"/>
                </a:lnTo>
                <a:lnTo>
                  <a:pt x="474" y="58"/>
                </a:lnTo>
                <a:lnTo>
                  <a:pt x="476" y="59"/>
                </a:lnTo>
                <a:lnTo>
                  <a:pt x="478" y="58"/>
                </a:lnTo>
                <a:lnTo>
                  <a:pt x="478" y="59"/>
                </a:lnTo>
                <a:lnTo>
                  <a:pt x="479" y="59"/>
                </a:lnTo>
                <a:lnTo>
                  <a:pt x="481" y="59"/>
                </a:lnTo>
                <a:lnTo>
                  <a:pt x="481" y="63"/>
                </a:lnTo>
                <a:lnTo>
                  <a:pt x="479" y="63"/>
                </a:lnTo>
                <a:lnTo>
                  <a:pt x="479" y="64"/>
                </a:lnTo>
                <a:lnTo>
                  <a:pt x="478" y="66"/>
                </a:lnTo>
                <a:lnTo>
                  <a:pt x="479" y="66"/>
                </a:lnTo>
                <a:lnTo>
                  <a:pt x="478" y="68"/>
                </a:lnTo>
                <a:lnTo>
                  <a:pt x="481" y="68"/>
                </a:lnTo>
                <a:lnTo>
                  <a:pt x="483" y="68"/>
                </a:lnTo>
                <a:lnTo>
                  <a:pt x="483" y="66"/>
                </a:lnTo>
                <a:lnTo>
                  <a:pt x="484" y="64"/>
                </a:lnTo>
                <a:lnTo>
                  <a:pt x="488" y="64"/>
                </a:lnTo>
                <a:lnTo>
                  <a:pt x="489" y="64"/>
                </a:lnTo>
                <a:lnTo>
                  <a:pt x="491" y="64"/>
                </a:lnTo>
                <a:lnTo>
                  <a:pt x="493" y="64"/>
                </a:lnTo>
                <a:lnTo>
                  <a:pt x="495" y="63"/>
                </a:lnTo>
                <a:lnTo>
                  <a:pt x="496" y="63"/>
                </a:lnTo>
                <a:lnTo>
                  <a:pt x="498" y="66"/>
                </a:lnTo>
                <a:lnTo>
                  <a:pt x="500" y="66"/>
                </a:lnTo>
                <a:lnTo>
                  <a:pt x="503" y="66"/>
                </a:lnTo>
                <a:lnTo>
                  <a:pt x="503" y="64"/>
                </a:lnTo>
                <a:lnTo>
                  <a:pt x="505" y="64"/>
                </a:lnTo>
                <a:lnTo>
                  <a:pt x="506" y="63"/>
                </a:lnTo>
                <a:lnTo>
                  <a:pt x="508" y="63"/>
                </a:lnTo>
                <a:lnTo>
                  <a:pt x="508" y="61"/>
                </a:lnTo>
                <a:lnTo>
                  <a:pt x="508" y="59"/>
                </a:lnTo>
                <a:lnTo>
                  <a:pt x="510" y="59"/>
                </a:lnTo>
                <a:lnTo>
                  <a:pt x="512" y="58"/>
                </a:lnTo>
                <a:lnTo>
                  <a:pt x="513" y="59"/>
                </a:lnTo>
                <a:lnTo>
                  <a:pt x="513" y="58"/>
                </a:lnTo>
                <a:lnTo>
                  <a:pt x="515" y="56"/>
                </a:lnTo>
                <a:lnTo>
                  <a:pt x="517" y="56"/>
                </a:lnTo>
                <a:lnTo>
                  <a:pt x="517" y="59"/>
                </a:lnTo>
                <a:lnTo>
                  <a:pt x="518" y="61"/>
                </a:lnTo>
                <a:lnTo>
                  <a:pt x="517" y="61"/>
                </a:lnTo>
                <a:lnTo>
                  <a:pt x="518" y="63"/>
                </a:lnTo>
                <a:lnTo>
                  <a:pt x="520" y="63"/>
                </a:lnTo>
                <a:lnTo>
                  <a:pt x="522" y="64"/>
                </a:lnTo>
                <a:lnTo>
                  <a:pt x="520" y="66"/>
                </a:lnTo>
                <a:lnTo>
                  <a:pt x="522" y="66"/>
                </a:lnTo>
                <a:lnTo>
                  <a:pt x="523" y="68"/>
                </a:lnTo>
                <a:lnTo>
                  <a:pt x="525" y="66"/>
                </a:lnTo>
                <a:lnTo>
                  <a:pt x="527" y="66"/>
                </a:lnTo>
                <a:lnTo>
                  <a:pt x="527" y="64"/>
                </a:lnTo>
                <a:lnTo>
                  <a:pt x="530" y="63"/>
                </a:lnTo>
                <a:lnTo>
                  <a:pt x="532" y="64"/>
                </a:lnTo>
                <a:lnTo>
                  <a:pt x="532" y="66"/>
                </a:lnTo>
                <a:lnTo>
                  <a:pt x="532" y="68"/>
                </a:lnTo>
                <a:lnTo>
                  <a:pt x="529" y="68"/>
                </a:lnTo>
                <a:lnTo>
                  <a:pt x="532" y="70"/>
                </a:lnTo>
                <a:lnTo>
                  <a:pt x="530" y="73"/>
                </a:lnTo>
                <a:lnTo>
                  <a:pt x="532" y="73"/>
                </a:lnTo>
                <a:lnTo>
                  <a:pt x="534" y="73"/>
                </a:lnTo>
                <a:lnTo>
                  <a:pt x="535" y="73"/>
                </a:lnTo>
                <a:lnTo>
                  <a:pt x="534" y="75"/>
                </a:lnTo>
                <a:lnTo>
                  <a:pt x="535" y="75"/>
                </a:lnTo>
                <a:lnTo>
                  <a:pt x="535" y="76"/>
                </a:lnTo>
                <a:lnTo>
                  <a:pt x="537" y="78"/>
                </a:lnTo>
                <a:lnTo>
                  <a:pt x="539" y="80"/>
                </a:lnTo>
                <a:lnTo>
                  <a:pt x="540" y="82"/>
                </a:lnTo>
                <a:lnTo>
                  <a:pt x="542" y="82"/>
                </a:lnTo>
                <a:lnTo>
                  <a:pt x="542" y="83"/>
                </a:lnTo>
                <a:lnTo>
                  <a:pt x="542" y="85"/>
                </a:lnTo>
                <a:lnTo>
                  <a:pt x="542" y="87"/>
                </a:lnTo>
                <a:lnTo>
                  <a:pt x="544" y="87"/>
                </a:lnTo>
                <a:lnTo>
                  <a:pt x="544" y="88"/>
                </a:lnTo>
                <a:lnTo>
                  <a:pt x="540" y="90"/>
                </a:lnTo>
                <a:lnTo>
                  <a:pt x="540" y="92"/>
                </a:lnTo>
                <a:lnTo>
                  <a:pt x="544" y="93"/>
                </a:lnTo>
                <a:lnTo>
                  <a:pt x="542" y="95"/>
                </a:lnTo>
                <a:lnTo>
                  <a:pt x="546" y="97"/>
                </a:lnTo>
                <a:lnTo>
                  <a:pt x="546" y="99"/>
                </a:lnTo>
                <a:lnTo>
                  <a:pt x="547" y="99"/>
                </a:lnTo>
                <a:lnTo>
                  <a:pt x="549" y="100"/>
                </a:lnTo>
                <a:lnTo>
                  <a:pt x="552" y="100"/>
                </a:lnTo>
                <a:lnTo>
                  <a:pt x="552" y="102"/>
                </a:lnTo>
                <a:lnTo>
                  <a:pt x="552" y="100"/>
                </a:lnTo>
                <a:lnTo>
                  <a:pt x="554" y="100"/>
                </a:lnTo>
                <a:lnTo>
                  <a:pt x="554" y="102"/>
                </a:lnTo>
                <a:lnTo>
                  <a:pt x="556" y="105"/>
                </a:lnTo>
                <a:lnTo>
                  <a:pt x="557" y="107"/>
                </a:lnTo>
                <a:lnTo>
                  <a:pt x="559" y="105"/>
                </a:lnTo>
                <a:lnTo>
                  <a:pt x="563" y="105"/>
                </a:lnTo>
                <a:lnTo>
                  <a:pt x="563" y="104"/>
                </a:lnTo>
                <a:lnTo>
                  <a:pt x="564" y="100"/>
                </a:lnTo>
                <a:lnTo>
                  <a:pt x="563" y="100"/>
                </a:lnTo>
                <a:lnTo>
                  <a:pt x="564" y="99"/>
                </a:lnTo>
                <a:lnTo>
                  <a:pt x="566" y="99"/>
                </a:lnTo>
                <a:lnTo>
                  <a:pt x="566" y="97"/>
                </a:lnTo>
                <a:lnTo>
                  <a:pt x="569" y="97"/>
                </a:lnTo>
                <a:lnTo>
                  <a:pt x="571" y="95"/>
                </a:lnTo>
                <a:lnTo>
                  <a:pt x="573" y="93"/>
                </a:lnTo>
                <a:lnTo>
                  <a:pt x="574" y="93"/>
                </a:lnTo>
                <a:lnTo>
                  <a:pt x="576" y="93"/>
                </a:lnTo>
                <a:lnTo>
                  <a:pt x="578" y="93"/>
                </a:lnTo>
                <a:lnTo>
                  <a:pt x="580" y="95"/>
                </a:lnTo>
                <a:lnTo>
                  <a:pt x="583" y="95"/>
                </a:lnTo>
                <a:lnTo>
                  <a:pt x="583" y="97"/>
                </a:lnTo>
                <a:lnTo>
                  <a:pt x="586" y="97"/>
                </a:lnTo>
                <a:lnTo>
                  <a:pt x="588" y="100"/>
                </a:lnTo>
                <a:lnTo>
                  <a:pt x="590" y="99"/>
                </a:lnTo>
                <a:lnTo>
                  <a:pt x="591" y="97"/>
                </a:lnTo>
                <a:lnTo>
                  <a:pt x="591" y="95"/>
                </a:lnTo>
                <a:lnTo>
                  <a:pt x="593" y="97"/>
                </a:lnTo>
                <a:lnTo>
                  <a:pt x="595" y="95"/>
                </a:lnTo>
                <a:lnTo>
                  <a:pt x="597" y="97"/>
                </a:lnTo>
                <a:lnTo>
                  <a:pt x="598" y="97"/>
                </a:lnTo>
                <a:lnTo>
                  <a:pt x="600" y="95"/>
                </a:lnTo>
                <a:lnTo>
                  <a:pt x="600" y="99"/>
                </a:lnTo>
                <a:lnTo>
                  <a:pt x="602" y="99"/>
                </a:lnTo>
                <a:lnTo>
                  <a:pt x="603" y="99"/>
                </a:lnTo>
                <a:lnTo>
                  <a:pt x="605" y="97"/>
                </a:lnTo>
                <a:lnTo>
                  <a:pt x="605" y="95"/>
                </a:lnTo>
                <a:lnTo>
                  <a:pt x="607" y="93"/>
                </a:lnTo>
                <a:lnTo>
                  <a:pt x="607" y="92"/>
                </a:lnTo>
                <a:lnTo>
                  <a:pt x="608" y="90"/>
                </a:lnTo>
                <a:lnTo>
                  <a:pt x="610" y="88"/>
                </a:lnTo>
                <a:lnTo>
                  <a:pt x="612" y="87"/>
                </a:lnTo>
                <a:lnTo>
                  <a:pt x="614" y="85"/>
                </a:lnTo>
                <a:lnTo>
                  <a:pt x="615" y="85"/>
                </a:lnTo>
                <a:lnTo>
                  <a:pt x="617" y="85"/>
                </a:lnTo>
                <a:lnTo>
                  <a:pt x="619" y="83"/>
                </a:lnTo>
                <a:lnTo>
                  <a:pt x="620" y="82"/>
                </a:lnTo>
                <a:lnTo>
                  <a:pt x="622" y="82"/>
                </a:lnTo>
                <a:lnTo>
                  <a:pt x="624" y="80"/>
                </a:lnTo>
                <a:lnTo>
                  <a:pt x="625" y="78"/>
                </a:lnTo>
                <a:lnTo>
                  <a:pt x="625" y="76"/>
                </a:lnTo>
                <a:lnTo>
                  <a:pt x="627" y="73"/>
                </a:lnTo>
                <a:lnTo>
                  <a:pt x="629" y="73"/>
                </a:lnTo>
                <a:lnTo>
                  <a:pt x="631" y="73"/>
                </a:lnTo>
                <a:lnTo>
                  <a:pt x="632" y="70"/>
                </a:lnTo>
                <a:lnTo>
                  <a:pt x="632" y="71"/>
                </a:lnTo>
                <a:lnTo>
                  <a:pt x="632" y="73"/>
                </a:lnTo>
                <a:lnTo>
                  <a:pt x="634" y="75"/>
                </a:lnTo>
                <a:lnTo>
                  <a:pt x="636" y="76"/>
                </a:lnTo>
                <a:lnTo>
                  <a:pt x="637" y="76"/>
                </a:lnTo>
                <a:lnTo>
                  <a:pt x="639" y="76"/>
                </a:lnTo>
                <a:lnTo>
                  <a:pt x="641" y="78"/>
                </a:lnTo>
                <a:lnTo>
                  <a:pt x="642" y="76"/>
                </a:lnTo>
                <a:lnTo>
                  <a:pt x="642" y="78"/>
                </a:lnTo>
                <a:lnTo>
                  <a:pt x="644" y="82"/>
                </a:lnTo>
                <a:lnTo>
                  <a:pt x="644" y="83"/>
                </a:lnTo>
                <a:lnTo>
                  <a:pt x="646" y="85"/>
                </a:lnTo>
                <a:lnTo>
                  <a:pt x="648" y="87"/>
                </a:lnTo>
                <a:lnTo>
                  <a:pt x="651" y="87"/>
                </a:lnTo>
                <a:lnTo>
                  <a:pt x="651" y="88"/>
                </a:lnTo>
                <a:lnTo>
                  <a:pt x="653" y="90"/>
                </a:lnTo>
                <a:lnTo>
                  <a:pt x="654" y="90"/>
                </a:lnTo>
                <a:lnTo>
                  <a:pt x="654" y="88"/>
                </a:lnTo>
                <a:lnTo>
                  <a:pt x="656" y="90"/>
                </a:lnTo>
                <a:lnTo>
                  <a:pt x="659" y="90"/>
                </a:lnTo>
                <a:lnTo>
                  <a:pt x="661" y="90"/>
                </a:lnTo>
                <a:lnTo>
                  <a:pt x="663" y="92"/>
                </a:lnTo>
                <a:lnTo>
                  <a:pt x="665" y="93"/>
                </a:lnTo>
                <a:lnTo>
                  <a:pt x="666" y="93"/>
                </a:lnTo>
                <a:lnTo>
                  <a:pt x="670" y="95"/>
                </a:lnTo>
                <a:lnTo>
                  <a:pt x="668" y="95"/>
                </a:lnTo>
                <a:lnTo>
                  <a:pt x="670" y="97"/>
                </a:lnTo>
                <a:lnTo>
                  <a:pt x="670" y="95"/>
                </a:lnTo>
                <a:lnTo>
                  <a:pt x="673" y="92"/>
                </a:lnTo>
                <a:lnTo>
                  <a:pt x="673" y="93"/>
                </a:lnTo>
                <a:lnTo>
                  <a:pt x="675" y="92"/>
                </a:lnTo>
                <a:lnTo>
                  <a:pt x="675" y="90"/>
                </a:lnTo>
                <a:lnTo>
                  <a:pt x="676" y="88"/>
                </a:lnTo>
                <a:lnTo>
                  <a:pt x="675" y="88"/>
                </a:lnTo>
                <a:lnTo>
                  <a:pt x="673" y="87"/>
                </a:lnTo>
                <a:lnTo>
                  <a:pt x="673" y="85"/>
                </a:lnTo>
                <a:lnTo>
                  <a:pt x="671" y="83"/>
                </a:lnTo>
                <a:lnTo>
                  <a:pt x="675" y="82"/>
                </a:lnTo>
                <a:lnTo>
                  <a:pt x="676" y="80"/>
                </a:lnTo>
                <a:lnTo>
                  <a:pt x="678" y="82"/>
                </a:lnTo>
                <a:lnTo>
                  <a:pt x="680" y="83"/>
                </a:lnTo>
                <a:lnTo>
                  <a:pt x="680" y="85"/>
                </a:lnTo>
                <a:lnTo>
                  <a:pt x="683" y="85"/>
                </a:lnTo>
                <a:lnTo>
                  <a:pt x="683" y="83"/>
                </a:lnTo>
                <a:lnTo>
                  <a:pt x="685" y="83"/>
                </a:lnTo>
                <a:lnTo>
                  <a:pt x="687" y="85"/>
                </a:lnTo>
                <a:lnTo>
                  <a:pt x="688" y="85"/>
                </a:lnTo>
                <a:lnTo>
                  <a:pt x="690" y="82"/>
                </a:lnTo>
                <a:lnTo>
                  <a:pt x="692" y="82"/>
                </a:lnTo>
                <a:lnTo>
                  <a:pt x="693" y="83"/>
                </a:lnTo>
                <a:lnTo>
                  <a:pt x="695" y="82"/>
                </a:lnTo>
                <a:lnTo>
                  <a:pt x="693" y="78"/>
                </a:lnTo>
                <a:lnTo>
                  <a:pt x="697" y="80"/>
                </a:lnTo>
                <a:lnTo>
                  <a:pt x="695" y="82"/>
                </a:lnTo>
                <a:lnTo>
                  <a:pt x="697" y="83"/>
                </a:lnTo>
                <a:lnTo>
                  <a:pt x="699" y="83"/>
                </a:lnTo>
                <a:lnTo>
                  <a:pt x="699" y="85"/>
                </a:lnTo>
                <a:lnTo>
                  <a:pt x="700" y="85"/>
                </a:lnTo>
                <a:lnTo>
                  <a:pt x="702" y="85"/>
                </a:lnTo>
                <a:lnTo>
                  <a:pt x="705" y="85"/>
                </a:lnTo>
                <a:lnTo>
                  <a:pt x="707" y="83"/>
                </a:lnTo>
                <a:lnTo>
                  <a:pt x="707" y="85"/>
                </a:lnTo>
                <a:lnTo>
                  <a:pt x="709" y="87"/>
                </a:lnTo>
                <a:lnTo>
                  <a:pt x="710" y="88"/>
                </a:lnTo>
                <a:lnTo>
                  <a:pt x="712" y="87"/>
                </a:lnTo>
                <a:lnTo>
                  <a:pt x="714" y="85"/>
                </a:lnTo>
                <a:lnTo>
                  <a:pt x="716" y="85"/>
                </a:lnTo>
                <a:lnTo>
                  <a:pt x="717" y="82"/>
                </a:lnTo>
                <a:lnTo>
                  <a:pt x="717" y="80"/>
                </a:lnTo>
                <a:lnTo>
                  <a:pt x="719" y="78"/>
                </a:lnTo>
                <a:lnTo>
                  <a:pt x="721" y="80"/>
                </a:lnTo>
                <a:lnTo>
                  <a:pt x="722" y="82"/>
                </a:lnTo>
                <a:lnTo>
                  <a:pt x="724" y="83"/>
                </a:lnTo>
                <a:lnTo>
                  <a:pt x="726" y="85"/>
                </a:lnTo>
                <a:lnTo>
                  <a:pt x="727" y="83"/>
                </a:lnTo>
                <a:lnTo>
                  <a:pt x="729" y="83"/>
                </a:lnTo>
                <a:lnTo>
                  <a:pt x="731" y="83"/>
                </a:lnTo>
                <a:lnTo>
                  <a:pt x="733" y="82"/>
                </a:lnTo>
                <a:lnTo>
                  <a:pt x="734" y="82"/>
                </a:lnTo>
                <a:lnTo>
                  <a:pt x="736" y="82"/>
                </a:lnTo>
                <a:lnTo>
                  <a:pt x="738" y="80"/>
                </a:lnTo>
                <a:lnTo>
                  <a:pt x="739" y="80"/>
                </a:lnTo>
                <a:lnTo>
                  <a:pt x="739" y="82"/>
                </a:lnTo>
                <a:lnTo>
                  <a:pt x="741" y="83"/>
                </a:lnTo>
                <a:lnTo>
                  <a:pt x="744" y="85"/>
                </a:lnTo>
                <a:lnTo>
                  <a:pt x="746" y="87"/>
                </a:lnTo>
                <a:lnTo>
                  <a:pt x="748" y="87"/>
                </a:lnTo>
                <a:lnTo>
                  <a:pt x="750" y="87"/>
                </a:lnTo>
                <a:lnTo>
                  <a:pt x="751" y="87"/>
                </a:lnTo>
                <a:lnTo>
                  <a:pt x="753" y="88"/>
                </a:lnTo>
                <a:lnTo>
                  <a:pt x="755" y="87"/>
                </a:lnTo>
                <a:lnTo>
                  <a:pt x="756" y="87"/>
                </a:lnTo>
                <a:lnTo>
                  <a:pt x="758" y="85"/>
                </a:lnTo>
                <a:lnTo>
                  <a:pt x="758" y="82"/>
                </a:lnTo>
                <a:lnTo>
                  <a:pt x="761" y="80"/>
                </a:lnTo>
                <a:lnTo>
                  <a:pt x="763" y="80"/>
                </a:lnTo>
                <a:lnTo>
                  <a:pt x="765" y="78"/>
                </a:lnTo>
                <a:lnTo>
                  <a:pt x="767" y="78"/>
                </a:lnTo>
                <a:lnTo>
                  <a:pt x="768" y="80"/>
                </a:lnTo>
                <a:lnTo>
                  <a:pt x="765" y="85"/>
                </a:lnTo>
                <a:lnTo>
                  <a:pt x="763" y="85"/>
                </a:lnTo>
                <a:lnTo>
                  <a:pt x="765" y="87"/>
                </a:lnTo>
                <a:lnTo>
                  <a:pt x="765" y="90"/>
                </a:lnTo>
                <a:lnTo>
                  <a:pt x="767" y="90"/>
                </a:lnTo>
                <a:lnTo>
                  <a:pt x="768" y="92"/>
                </a:lnTo>
                <a:lnTo>
                  <a:pt x="770" y="93"/>
                </a:lnTo>
                <a:lnTo>
                  <a:pt x="772" y="93"/>
                </a:lnTo>
                <a:lnTo>
                  <a:pt x="775" y="93"/>
                </a:lnTo>
                <a:lnTo>
                  <a:pt x="775" y="95"/>
                </a:lnTo>
                <a:lnTo>
                  <a:pt x="777" y="97"/>
                </a:lnTo>
                <a:lnTo>
                  <a:pt x="777" y="99"/>
                </a:lnTo>
                <a:lnTo>
                  <a:pt x="778" y="99"/>
                </a:lnTo>
                <a:lnTo>
                  <a:pt x="778" y="100"/>
                </a:lnTo>
                <a:lnTo>
                  <a:pt x="777" y="102"/>
                </a:lnTo>
                <a:lnTo>
                  <a:pt x="775" y="102"/>
                </a:lnTo>
                <a:lnTo>
                  <a:pt x="775" y="104"/>
                </a:lnTo>
                <a:lnTo>
                  <a:pt x="775" y="105"/>
                </a:lnTo>
                <a:lnTo>
                  <a:pt x="773" y="107"/>
                </a:lnTo>
                <a:lnTo>
                  <a:pt x="773" y="109"/>
                </a:lnTo>
                <a:lnTo>
                  <a:pt x="772" y="112"/>
                </a:lnTo>
                <a:lnTo>
                  <a:pt x="772" y="116"/>
                </a:lnTo>
                <a:lnTo>
                  <a:pt x="773" y="117"/>
                </a:lnTo>
                <a:lnTo>
                  <a:pt x="770" y="117"/>
                </a:lnTo>
                <a:lnTo>
                  <a:pt x="768" y="119"/>
                </a:lnTo>
                <a:lnTo>
                  <a:pt x="767" y="119"/>
                </a:lnTo>
                <a:lnTo>
                  <a:pt x="767" y="121"/>
                </a:lnTo>
                <a:lnTo>
                  <a:pt x="765" y="122"/>
                </a:lnTo>
                <a:lnTo>
                  <a:pt x="763" y="122"/>
                </a:lnTo>
                <a:lnTo>
                  <a:pt x="761" y="122"/>
                </a:lnTo>
                <a:lnTo>
                  <a:pt x="763" y="124"/>
                </a:lnTo>
                <a:lnTo>
                  <a:pt x="763" y="126"/>
                </a:lnTo>
                <a:lnTo>
                  <a:pt x="765" y="126"/>
                </a:lnTo>
                <a:lnTo>
                  <a:pt x="767" y="126"/>
                </a:lnTo>
                <a:lnTo>
                  <a:pt x="768" y="127"/>
                </a:lnTo>
                <a:lnTo>
                  <a:pt x="770" y="129"/>
                </a:lnTo>
                <a:lnTo>
                  <a:pt x="772" y="129"/>
                </a:lnTo>
                <a:lnTo>
                  <a:pt x="773" y="131"/>
                </a:lnTo>
                <a:lnTo>
                  <a:pt x="773" y="129"/>
                </a:lnTo>
                <a:lnTo>
                  <a:pt x="775" y="129"/>
                </a:lnTo>
                <a:lnTo>
                  <a:pt x="777" y="127"/>
                </a:lnTo>
                <a:lnTo>
                  <a:pt x="778" y="129"/>
                </a:lnTo>
                <a:lnTo>
                  <a:pt x="780" y="127"/>
                </a:lnTo>
                <a:lnTo>
                  <a:pt x="780" y="126"/>
                </a:lnTo>
                <a:lnTo>
                  <a:pt x="780" y="124"/>
                </a:lnTo>
                <a:lnTo>
                  <a:pt x="782" y="124"/>
                </a:lnTo>
                <a:lnTo>
                  <a:pt x="783" y="126"/>
                </a:lnTo>
                <a:lnTo>
                  <a:pt x="783" y="127"/>
                </a:lnTo>
                <a:lnTo>
                  <a:pt x="782" y="133"/>
                </a:lnTo>
                <a:lnTo>
                  <a:pt x="780" y="134"/>
                </a:lnTo>
                <a:lnTo>
                  <a:pt x="777" y="133"/>
                </a:lnTo>
                <a:lnTo>
                  <a:pt x="775" y="134"/>
                </a:lnTo>
                <a:lnTo>
                  <a:pt x="773" y="133"/>
                </a:lnTo>
                <a:lnTo>
                  <a:pt x="773" y="134"/>
                </a:lnTo>
                <a:lnTo>
                  <a:pt x="773" y="136"/>
                </a:lnTo>
                <a:lnTo>
                  <a:pt x="773" y="138"/>
                </a:lnTo>
                <a:lnTo>
                  <a:pt x="773" y="139"/>
                </a:lnTo>
                <a:lnTo>
                  <a:pt x="772" y="139"/>
                </a:lnTo>
                <a:lnTo>
                  <a:pt x="773" y="141"/>
                </a:lnTo>
                <a:lnTo>
                  <a:pt x="772" y="143"/>
                </a:lnTo>
                <a:lnTo>
                  <a:pt x="773" y="144"/>
                </a:lnTo>
                <a:lnTo>
                  <a:pt x="773" y="146"/>
                </a:lnTo>
                <a:lnTo>
                  <a:pt x="775" y="148"/>
                </a:lnTo>
                <a:lnTo>
                  <a:pt x="773" y="148"/>
                </a:lnTo>
                <a:lnTo>
                  <a:pt x="773" y="151"/>
                </a:lnTo>
                <a:lnTo>
                  <a:pt x="775" y="151"/>
                </a:lnTo>
                <a:lnTo>
                  <a:pt x="778" y="151"/>
                </a:lnTo>
                <a:lnTo>
                  <a:pt x="780" y="150"/>
                </a:lnTo>
                <a:lnTo>
                  <a:pt x="782" y="150"/>
                </a:lnTo>
                <a:lnTo>
                  <a:pt x="783" y="151"/>
                </a:lnTo>
                <a:lnTo>
                  <a:pt x="783" y="153"/>
                </a:lnTo>
                <a:lnTo>
                  <a:pt x="785" y="153"/>
                </a:lnTo>
                <a:lnTo>
                  <a:pt x="785" y="155"/>
                </a:lnTo>
                <a:lnTo>
                  <a:pt x="785" y="156"/>
                </a:lnTo>
                <a:lnTo>
                  <a:pt x="789" y="156"/>
                </a:lnTo>
                <a:lnTo>
                  <a:pt x="789" y="158"/>
                </a:lnTo>
                <a:lnTo>
                  <a:pt x="790" y="160"/>
                </a:lnTo>
                <a:lnTo>
                  <a:pt x="792" y="161"/>
                </a:lnTo>
                <a:lnTo>
                  <a:pt x="792" y="160"/>
                </a:lnTo>
                <a:lnTo>
                  <a:pt x="792" y="161"/>
                </a:lnTo>
                <a:lnTo>
                  <a:pt x="794" y="163"/>
                </a:lnTo>
                <a:lnTo>
                  <a:pt x="790" y="165"/>
                </a:lnTo>
                <a:lnTo>
                  <a:pt x="789" y="165"/>
                </a:lnTo>
                <a:lnTo>
                  <a:pt x="790" y="167"/>
                </a:lnTo>
                <a:lnTo>
                  <a:pt x="792" y="167"/>
                </a:lnTo>
                <a:lnTo>
                  <a:pt x="794" y="168"/>
                </a:lnTo>
                <a:lnTo>
                  <a:pt x="795" y="165"/>
                </a:lnTo>
                <a:lnTo>
                  <a:pt x="795" y="163"/>
                </a:lnTo>
                <a:lnTo>
                  <a:pt x="797" y="165"/>
                </a:lnTo>
                <a:lnTo>
                  <a:pt x="799" y="167"/>
                </a:lnTo>
                <a:lnTo>
                  <a:pt x="799" y="170"/>
                </a:lnTo>
                <a:lnTo>
                  <a:pt x="795" y="170"/>
                </a:lnTo>
                <a:lnTo>
                  <a:pt x="797" y="170"/>
                </a:lnTo>
                <a:lnTo>
                  <a:pt x="797" y="173"/>
                </a:lnTo>
                <a:lnTo>
                  <a:pt x="797" y="177"/>
                </a:lnTo>
                <a:lnTo>
                  <a:pt x="797" y="178"/>
                </a:lnTo>
                <a:lnTo>
                  <a:pt x="797" y="182"/>
                </a:lnTo>
                <a:lnTo>
                  <a:pt x="795" y="182"/>
                </a:lnTo>
                <a:lnTo>
                  <a:pt x="799" y="184"/>
                </a:lnTo>
                <a:lnTo>
                  <a:pt x="795" y="185"/>
                </a:lnTo>
                <a:lnTo>
                  <a:pt x="794" y="185"/>
                </a:lnTo>
                <a:lnTo>
                  <a:pt x="795" y="187"/>
                </a:lnTo>
                <a:lnTo>
                  <a:pt x="799" y="189"/>
                </a:lnTo>
                <a:lnTo>
                  <a:pt x="799" y="190"/>
                </a:lnTo>
                <a:lnTo>
                  <a:pt x="799" y="192"/>
                </a:lnTo>
                <a:lnTo>
                  <a:pt x="800" y="195"/>
                </a:lnTo>
                <a:lnTo>
                  <a:pt x="799" y="197"/>
                </a:lnTo>
                <a:lnTo>
                  <a:pt x="799" y="199"/>
                </a:lnTo>
                <a:lnTo>
                  <a:pt x="799" y="201"/>
                </a:lnTo>
                <a:lnTo>
                  <a:pt x="795" y="201"/>
                </a:lnTo>
                <a:lnTo>
                  <a:pt x="794" y="201"/>
                </a:lnTo>
                <a:lnTo>
                  <a:pt x="790" y="202"/>
                </a:lnTo>
                <a:lnTo>
                  <a:pt x="790" y="204"/>
                </a:lnTo>
                <a:lnTo>
                  <a:pt x="787" y="202"/>
                </a:lnTo>
                <a:lnTo>
                  <a:pt x="785" y="204"/>
                </a:lnTo>
                <a:lnTo>
                  <a:pt x="785" y="206"/>
                </a:lnTo>
                <a:lnTo>
                  <a:pt x="783" y="204"/>
                </a:lnTo>
                <a:lnTo>
                  <a:pt x="782" y="204"/>
                </a:lnTo>
                <a:lnTo>
                  <a:pt x="780" y="206"/>
                </a:lnTo>
                <a:lnTo>
                  <a:pt x="777" y="206"/>
                </a:lnTo>
                <a:lnTo>
                  <a:pt x="777" y="207"/>
                </a:lnTo>
                <a:lnTo>
                  <a:pt x="773" y="209"/>
                </a:lnTo>
                <a:lnTo>
                  <a:pt x="772" y="211"/>
                </a:lnTo>
                <a:lnTo>
                  <a:pt x="770" y="211"/>
                </a:lnTo>
                <a:lnTo>
                  <a:pt x="770" y="209"/>
                </a:lnTo>
                <a:lnTo>
                  <a:pt x="768" y="209"/>
                </a:lnTo>
                <a:lnTo>
                  <a:pt x="763" y="212"/>
                </a:lnTo>
                <a:lnTo>
                  <a:pt x="761" y="212"/>
                </a:lnTo>
                <a:lnTo>
                  <a:pt x="760" y="212"/>
                </a:lnTo>
                <a:lnTo>
                  <a:pt x="760" y="214"/>
                </a:lnTo>
                <a:lnTo>
                  <a:pt x="760" y="216"/>
                </a:lnTo>
                <a:lnTo>
                  <a:pt x="760" y="218"/>
                </a:lnTo>
                <a:lnTo>
                  <a:pt x="758" y="218"/>
                </a:lnTo>
                <a:lnTo>
                  <a:pt x="760" y="221"/>
                </a:lnTo>
                <a:lnTo>
                  <a:pt x="760" y="223"/>
                </a:lnTo>
                <a:lnTo>
                  <a:pt x="760" y="224"/>
                </a:lnTo>
                <a:lnTo>
                  <a:pt x="761" y="226"/>
                </a:lnTo>
                <a:lnTo>
                  <a:pt x="760" y="228"/>
                </a:lnTo>
                <a:lnTo>
                  <a:pt x="760" y="226"/>
                </a:lnTo>
                <a:lnTo>
                  <a:pt x="758" y="226"/>
                </a:lnTo>
                <a:lnTo>
                  <a:pt x="756" y="228"/>
                </a:lnTo>
                <a:lnTo>
                  <a:pt x="756" y="229"/>
                </a:lnTo>
                <a:lnTo>
                  <a:pt x="755" y="231"/>
                </a:lnTo>
                <a:lnTo>
                  <a:pt x="755" y="233"/>
                </a:lnTo>
                <a:lnTo>
                  <a:pt x="748" y="235"/>
                </a:lnTo>
                <a:lnTo>
                  <a:pt x="750" y="236"/>
                </a:lnTo>
                <a:lnTo>
                  <a:pt x="744" y="240"/>
                </a:lnTo>
                <a:lnTo>
                  <a:pt x="746" y="241"/>
                </a:lnTo>
                <a:lnTo>
                  <a:pt x="744" y="243"/>
                </a:lnTo>
                <a:lnTo>
                  <a:pt x="744" y="245"/>
                </a:lnTo>
                <a:lnTo>
                  <a:pt x="743" y="245"/>
                </a:lnTo>
                <a:lnTo>
                  <a:pt x="744" y="248"/>
                </a:lnTo>
                <a:lnTo>
                  <a:pt x="746" y="250"/>
                </a:lnTo>
                <a:lnTo>
                  <a:pt x="748" y="253"/>
                </a:lnTo>
                <a:lnTo>
                  <a:pt x="748" y="255"/>
                </a:lnTo>
                <a:lnTo>
                  <a:pt x="748" y="257"/>
                </a:lnTo>
                <a:lnTo>
                  <a:pt x="746" y="257"/>
                </a:lnTo>
                <a:lnTo>
                  <a:pt x="746" y="260"/>
                </a:lnTo>
                <a:lnTo>
                  <a:pt x="748" y="262"/>
                </a:lnTo>
                <a:lnTo>
                  <a:pt x="750" y="260"/>
                </a:lnTo>
                <a:lnTo>
                  <a:pt x="753" y="260"/>
                </a:lnTo>
                <a:lnTo>
                  <a:pt x="753" y="262"/>
                </a:lnTo>
                <a:lnTo>
                  <a:pt x="753" y="264"/>
                </a:lnTo>
                <a:lnTo>
                  <a:pt x="751" y="264"/>
                </a:lnTo>
                <a:lnTo>
                  <a:pt x="751" y="265"/>
                </a:lnTo>
                <a:lnTo>
                  <a:pt x="750" y="267"/>
                </a:lnTo>
                <a:lnTo>
                  <a:pt x="751" y="269"/>
                </a:lnTo>
                <a:lnTo>
                  <a:pt x="751" y="270"/>
                </a:lnTo>
                <a:lnTo>
                  <a:pt x="753" y="272"/>
                </a:lnTo>
                <a:lnTo>
                  <a:pt x="753" y="274"/>
                </a:lnTo>
                <a:close/>
                <a:moveTo>
                  <a:pt x="401" y="520"/>
                </a:moveTo>
                <a:lnTo>
                  <a:pt x="403" y="520"/>
                </a:lnTo>
                <a:lnTo>
                  <a:pt x="403" y="522"/>
                </a:lnTo>
                <a:lnTo>
                  <a:pt x="401" y="522"/>
                </a:lnTo>
                <a:lnTo>
                  <a:pt x="403" y="522"/>
                </a:lnTo>
                <a:lnTo>
                  <a:pt x="403" y="524"/>
                </a:lnTo>
                <a:lnTo>
                  <a:pt x="403" y="522"/>
                </a:lnTo>
                <a:lnTo>
                  <a:pt x="403" y="524"/>
                </a:lnTo>
                <a:lnTo>
                  <a:pt x="404" y="525"/>
                </a:lnTo>
                <a:lnTo>
                  <a:pt x="403" y="527"/>
                </a:lnTo>
                <a:lnTo>
                  <a:pt x="403" y="525"/>
                </a:lnTo>
                <a:lnTo>
                  <a:pt x="401" y="527"/>
                </a:lnTo>
                <a:lnTo>
                  <a:pt x="399" y="527"/>
                </a:lnTo>
                <a:lnTo>
                  <a:pt x="398" y="527"/>
                </a:lnTo>
                <a:lnTo>
                  <a:pt x="396" y="525"/>
                </a:lnTo>
                <a:lnTo>
                  <a:pt x="396" y="524"/>
                </a:lnTo>
                <a:lnTo>
                  <a:pt x="398" y="522"/>
                </a:lnTo>
                <a:lnTo>
                  <a:pt x="401" y="522"/>
                </a:lnTo>
                <a:lnTo>
                  <a:pt x="399" y="520"/>
                </a:lnTo>
                <a:lnTo>
                  <a:pt x="401" y="520"/>
                </a:lnTo>
                <a:close/>
                <a:moveTo>
                  <a:pt x="506" y="405"/>
                </a:moveTo>
                <a:lnTo>
                  <a:pt x="508" y="406"/>
                </a:lnTo>
                <a:lnTo>
                  <a:pt x="510" y="405"/>
                </a:lnTo>
                <a:lnTo>
                  <a:pt x="510" y="406"/>
                </a:lnTo>
                <a:lnTo>
                  <a:pt x="508" y="406"/>
                </a:lnTo>
                <a:lnTo>
                  <a:pt x="508" y="410"/>
                </a:lnTo>
                <a:lnTo>
                  <a:pt x="506" y="410"/>
                </a:lnTo>
                <a:lnTo>
                  <a:pt x="505" y="410"/>
                </a:lnTo>
                <a:lnTo>
                  <a:pt x="506" y="410"/>
                </a:lnTo>
                <a:lnTo>
                  <a:pt x="505" y="410"/>
                </a:lnTo>
                <a:lnTo>
                  <a:pt x="505" y="408"/>
                </a:lnTo>
                <a:lnTo>
                  <a:pt x="505" y="412"/>
                </a:lnTo>
                <a:lnTo>
                  <a:pt x="503" y="412"/>
                </a:lnTo>
                <a:lnTo>
                  <a:pt x="501" y="412"/>
                </a:lnTo>
                <a:lnTo>
                  <a:pt x="503" y="412"/>
                </a:lnTo>
                <a:lnTo>
                  <a:pt x="503" y="410"/>
                </a:lnTo>
                <a:lnTo>
                  <a:pt x="503" y="412"/>
                </a:lnTo>
                <a:lnTo>
                  <a:pt x="501" y="413"/>
                </a:lnTo>
                <a:lnTo>
                  <a:pt x="501" y="412"/>
                </a:lnTo>
                <a:lnTo>
                  <a:pt x="503" y="410"/>
                </a:lnTo>
                <a:lnTo>
                  <a:pt x="503" y="408"/>
                </a:lnTo>
                <a:lnTo>
                  <a:pt x="505" y="408"/>
                </a:lnTo>
                <a:lnTo>
                  <a:pt x="505" y="406"/>
                </a:lnTo>
                <a:lnTo>
                  <a:pt x="506" y="405"/>
                </a:lnTo>
                <a:close/>
                <a:moveTo>
                  <a:pt x="403" y="529"/>
                </a:moveTo>
                <a:lnTo>
                  <a:pt x="404" y="529"/>
                </a:lnTo>
                <a:lnTo>
                  <a:pt x="404" y="531"/>
                </a:lnTo>
                <a:lnTo>
                  <a:pt x="404" y="532"/>
                </a:lnTo>
                <a:lnTo>
                  <a:pt x="404" y="534"/>
                </a:lnTo>
                <a:lnTo>
                  <a:pt x="403" y="532"/>
                </a:lnTo>
                <a:lnTo>
                  <a:pt x="401" y="529"/>
                </a:lnTo>
                <a:lnTo>
                  <a:pt x="403" y="529"/>
                </a:lnTo>
                <a:close/>
                <a:moveTo>
                  <a:pt x="401" y="527"/>
                </a:moveTo>
                <a:lnTo>
                  <a:pt x="403" y="527"/>
                </a:lnTo>
                <a:lnTo>
                  <a:pt x="404" y="527"/>
                </a:lnTo>
                <a:lnTo>
                  <a:pt x="404" y="529"/>
                </a:lnTo>
                <a:lnTo>
                  <a:pt x="403" y="529"/>
                </a:lnTo>
                <a:lnTo>
                  <a:pt x="401" y="529"/>
                </a:lnTo>
                <a:lnTo>
                  <a:pt x="399" y="527"/>
                </a:lnTo>
                <a:lnTo>
                  <a:pt x="401" y="527"/>
                </a:lnTo>
                <a:close/>
                <a:moveTo>
                  <a:pt x="471" y="439"/>
                </a:moveTo>
                <a:lnTo>
                  <a:pt x="474" y="439"/>
                </a:lnTo>
                <a:lnTo>
                  <a:pt x="476" y="439"/>
                </a:lnTo>
                <a:lnTo>
                  <a:pt x="474" y="440"/>
                </a:lnTo>
                <a:lnTo>
                  <a:pt x="478" y="440"/>
                </a:lnTo>
                <a:lnTo>
                  <a:pt x="481" y="439"/>
                </a:lnTo>
                <a:lnTo>
                  <a:pt x="483" y="439"/>
                </a:lnTo>
                <a:lnTo>
                  <a:pt x="484" y="439"/>
                </a:lnTo>
                <a:lnTo>
                  <a:pt x="486" y="439"/>
                </a:lnTo>
                <a:lnTo>
                  <a:pt x="489" y="439"/>
                </a:lnTo>
                <a:lnTo>
                  <a:pt x="491" y="439"/>
                </a:lnTo>
                <a:lnTo>
                  <a:pt x="493" y="439"/>
                </a:lnTo>
                <a:lnTo>
                  <a:pt x="495" y="439"/>
                </a:lnTo>
                <a:lnTo>
                  <a:pt x="493" y="439"/>
                </a:lnTo>
                <a:lnTo>
                  <a:pt x="489" y="439"/>
                </a:lnTo>
                <a:lnTo>
                  <a:pt x="488" y="439"/>
                </a:lnTo>
                <a:lnTo>
                  <a:pt x="486" y="439"/>
                </a:lnTo>
                <a:lnTo>
                  <a:pt x="483" y="439"/>
                </a:lnTo>
                <a:lnTo>
                  <a:pt x="481" y="440"/>
                </a:lnTo>
                <a:lnTo>
                  <a:pt x="479" y="440"/>
                </a:lnTo>
                <a:lnTo>
                  <a:pt x="478" y="440"/>
                </a:lnTo>
                <a:lnTo>
                  <a:pt x="476" y="440"/>
                </a:lnTo>
                <a:lnTo>
                  <a:pt x="474" y="440"/>
                </a:lnTo>
                <a:lnTo>
                  <a:pt x="472" y="439"/>
                </a:lnTo>
                <a:lnTo>
                  <a:pt x="471" y="439"/>
                </a:lnTo>
                <a:lnTo>
                  <a:pt x="467" y="437"/>
                </a:lnTo>
                <a:lnTo>
                  <a:pt x="467" y="434"/>
                </a:lnTo>
                <a:lnTo>
                  <a:pt x="467" y="432"/>
                </a:lnTo>
                <a:lnTo>
                  <a:pt x="467" y="434"/>
                </a:lnTo>
                <a:lnTo>
                  <a:pt x="469" y="437"/>
                </a:lnTo>
                <a:lnTo>
                  <a:pt x="469" y="439"/>
                </a:lnTo>
                <a:lnTo>
                  <a:pt x="471" y="439"/>
                </a:lnTo>
                <a:close/>
                <a:moveTo>
                  <a:pt x="510" y="401"/>
                </a:moveTo>
                <a:lnTo>
                  <a:pt x="512" y="403"/>
                </a:lnTo>
                <a:lnTo>
                  <a:pt x="510" y="405"/>
                </a:lnTo>
                <a:lnTo>
                  <a:pt x="508" y="405"/>
                </a:lnTo>
                <a:lnTo>
                  <a:pt x="510" y="403"/>
                </a:lnTo>
                <a:lnTo>
                  <a:pt x="508" y="405"/>
                </a:lnTo>
                <a:lnTo>
                  <a:pt x="506" y="405"/>
                </a:lnTo>
                <a:lnTo>
                  <a:pt x="508" y="403"/>
                </a:lnTo>
                <a:lnTo>
                  <a:pt x="510" y="401"/>
                </a:lnTo>
                <a:close/>
                <a:moveTo>
                  <a:pt x="510" y="400"/>
                </a:moveTo>
                <a:lnTo>
                  <a:pt x="512" y="400"/>
                </a:lnTo>
                <a:lnTo>
                  <a:pt x="512" y="401"/>
                </a:lnTo>
                <a:lnTo>
                  <a:pt x="510" y="403"/>
                </a:lnTo>
                <a:lnTo>
                  <a:pt x="510" y="400"/>
                </a:lnTo>
                <a:lnTo>
                  <a:pt x="508" y="401"/>
                </a:lnTo>
                <a:lnTo>
                  <a:pt x="510" y="403"/>
                </a:lnTo>
                <a:lnTo>
                  <a:pt x="508" y="403"/>
                </a:lnTo>
                <a:lnTo>
                  <a:pt x="506" y="405"/>
                </a:lnTo>
                <a:lnTo>
                  <a:pt x="506" y="401"/>
                </a:lnTo>
                <a:lnTo>
                  <a:pt x="508" y="401"/>
                </a:lnTo>
                <a:lnTo>
                  <a:pt x="506" y="401"/>
                </a:lnTo>
                <a:lnTo>
                  <a:pt x="508" y="401"/>
                </a:lnTo>
                <a:lnTo>
                  <a:pt x="510" y="400"/>
                </a:lnTo>
                <a:close/>
                <a:moveTo>
                  <a:pt x="403" y="536"/>
                </a:moveTo>
                <a:lnTo>
                  <a:pt x="401" y="534"/>
                </a:lnTo>
                <a:lnTo>
                  <a:pt x="401" y="532"/>
                </a:lnTo>
                <a:lnTo>
                  <a:pt x="404" y="534"/>
                </a:lnTo>
                <a:lnTo>
                  <a:pt x="404" y="536"/>
                </a:lnTo>
                <a:lnTo>
                  <a:pt x="404" y="537"/>
                </a:lnTo>
                <a:lnTo>
                  <a:pt x="403" y="536"/>
                </a:lnTo>
                <a:close/>
                <a:moveTo>
                  <a:pt x="624" y="408"/>
                </a:moveTo>
                <a:lnTo>
                  <a:pt x="624" y="406"/>
                </a:lnTo>
                <a:lnTo>
                  <a:pt x="625" y="410"/>
                </a:lnTo>
                <a:lnTo>
                  <a:pt x="624" y="408"/>
                </a:lnTo>
                <a:lnTo>
                  <a:pt x="624" y="410"/>
                </a:lnTo>
                <a:lnTo>
                  <a:pt x="622" y="408"/>
                </a:lnTo>
                <a:lnTo>
                  <a:pt x="620" y="408"/>
                </a:lnTo>
                <a:lnTo>
                  <a:pt x="624" y="408"/>
                </a:lnTo>
                <a:close/>
                <a:moveTo>
                  <a:pt x="505" y="410"/>
                </a:moveTo>
                <a:lnTo>
                  <a:pt x="506" y="410"/>
                </a:lnTo>
                <a:lnTo>
                  <a:pt x="506" y="412"/>
                </a:lnTo>
                <a:lnTo>
                  <a:pt x="503" y="412"/>
                </a:lnTo>
                <a:lnTo>
                  <a:pt x="501" y="415"/>
                </a:lnTo>
                <a:lnTo>
                  <a:pt x="500" y="413"/>
                </a:lnTo>
                <a:lnTo>
                  <a:pt x="501" y="413"/>
                </a:lnTo>
                <a:lnTo>
                  <a:pt x="505" y="412"/>
                </a:lnTo>
                <a:lnTo>
                  <a:pt x="505" y="410"/>
                </a:lnTo>
                <a:close/>
                <a:moveTo>
                  <a:pt x="678" y="343"/>
                </a:moveTo>
                <a:lnTo>
                  <a:pt x="678" y="347"/>
                </a:lnTo>
                <a:lnTo>
                  <a:pt x="676" y="349"/>
                </a:lnTo>
                <a:lnTo>
                  <a:pt x="676" y="350"/>
                </a:lnTo>
                <a:lnTo>
                  <a:pt x="675" y="352"/>
                </a:lnTo>
                <a:lnTo>
                  <a:pt x="675" y="350"/>
                </a:lnTo>
                <a:lnTo>
                  <a:pt x="675" y="349"/>
                </a:lnTo>
                <a:lnTo>
                  <a:pt x="676" y="350"/>
                </a:lnTo>
                <a:lnTo>
                  <a:pt x="676" y="349"/>
                </a:lnTo>
                <a:lnTo>
                  <a:pt x="678" y="347"/>
                </a:lnTo>
                <a:lnTo>
                  <a:pt x="676" y="347"/>
                </a:lnTo>
                <a:lnTo>
                  <a:pt x="678" y="343"/>
                </a:lnTo>
                <a:close/>
                <a:moveTo>
                  <a:pt x="403" y="517"/>
                </a:moveTo>
                <a:lnTo>
                  <a:pt x="401" y="519"/>
                </a:lnTo>
                <a:lnTo>
                  <a:pt x="401" y="517"/>
                </a:lnTo>
                <a:lnTo>
                  <a:pt x="401" y="519"/>
                </a:lnTo>
                <a:lnTo>
                  <a:pt x="403" y="517"/>
                </a:lnTo>
                <a:lnTo>
                  <a:pt x="401" y="515"/>
                </a:lnTo>
                <a:lnTo>
                  <a:pt x="403" y="517"/>
                </a:lnTo>
                <a:close/>
                <a:moveTo>
                  <a:pt x="513" y="400"/>
                </a:moveTo>
                <a:lnTo>
                  <a:pt x="513" y="401"/>
                </a:lnTo>
                <a:lnTo>
                  <a:pt x="512" y="403"/>
                </a:lnTo>
                <a:lnTo>
                  <a:pt x="512" y="405"/>
                </a:lnTo>
                <a:lnTo>
                  <a:pt x="510" y="405"/>
                </a:lnTo>
                <a:lnTo>
                  <a:pt x="512" y="401"/>
                </a:lnTo>
                <a:lnTo>
                  <a:pt x="512" y="400"/>
                </a:lnTo>
                <a:lnTo>
                  <a:pt x="513" y="400"/>
                </a:lnTo>
                <a:close/>
                <a:moveTo>
                  <a:pt x="501" y="410"/>
                </a:moveTo>
                <a:lnTo>
                  <a:pt x="503" y="410"/>
                </a:lnTo>
                <a:lnTo>
                  <a:pt x="501" y="410"/>
                </a:lnTo>
                <a:lnTo>
                  <a:pt x="503" y="410"/>
                </a:lnTo>
                <a:lnTo>
                  <a:pt x="501" y="412"/>
                </a:lnTo>
                <a:lnTo>
                  <a:pt x="500" y="412"/>
                </a:lnTo>
                <a:lnTo>
                  <a:pt x="501" y="410"/>
                </a:lnTo>
                <a:close/>
                <a:moveTo>
                  <a:pt x="401" y="519"/>
                </a:moveTo>
                <a:lnTo>
                  <a:pt x="403" y="517"/>
                </a:lnTo>
                <a:lnTo>
                  <a:pt x="404" y="520"/>
                </a:lnTo>
                <a:lnTo>
                  <a:pt x="401" y="520"/>
                </a:lnTo>
                <a:lnTo>
                  <a:pt x="401" y="519"/>
                </a:lnTo>
                <a:close/>
                <a:moveTo>
                  <a:pt x="505" y="408"/>
                </a:moveTo>
                <a:lnTo>
                  <a:pt x="503" y="410"/>
                </a:lnTo>
                <a:lnTo>
                  <a:pt x="501" y="410"/>
                </a:lnTo>
                <a:lnTo>
                  <a:pt x="503" y="408"/>
                </a:lnTo>
                <a:lnTo>
                  <a:pt x="501" y="410"/>
                </a:lnTo>
                <a:lnTo>
                  <a:pt x="501" y="408"/>
                </a:lnTo>
                <a:lnTo>
                  <a:pt x="503" y="408"/>
                </a:lnTo>
                <a:lnTo>
                  <a:pt x="505" y="406"/>
                </a:lnTo>
                <a:lnTo>
                  <a:pt x="505" y="408"/>
                </a:lnTo>
                <a:close/>
                <a:moveTo>
                  <a:pt x="404" y="534"/>
                </a:moveTo>
                <a:lnTo>
                  <a:pt x="406" y="532"/>
                </a:lnTo>
                <a:lnTo>
                  <a:pt x="406" y="534"/>
                </a:lnTo>
                <a:lnTo>
                  <a:pt x="404" y="536"/>
                </a:lnTo>
                <a:lnTo>
                  <a:pt x="404" y="534"/>
                </a:lnTo>
                <a:close/>
                <a:moveTo>
                  <a:pt x="500" y="408"/>
                </a:moveTo>
                <a:lnTo>
                  <a:pt x="501" y="408"/>
                </a:lnTo>
                <a:lnTo>
                  <a:pt x="500" y="410"/>
                </a:lnTo>
                <a:lnTo>
                  <a:pt x="498" y="410"/>
                </a:lnTo>
                <a:lnTo>
                  <a:pt x="500" y="408"/>
                </a:lnTo>
                <a:close/>
                <a:moveTo>
                  <a:pt x="500" y="412"/>
                </a:moveTo>
                <a:lnTo>
                  <a:pt x="501" y="412"/>
                </a:lnTo>
                <a:lnTo>
                  <a:pt x="500" y="413"/>
                </a:lnTo>
                <a:lnTo>
                  <a:pt x="500" y="412"/>
                </a:lnTo>
                <a:close/>
                <a:moveTo>
                  <a:pt x="503" y="412"/>
                </a:moveTo>
                <a:lnTo>
                  <a:pt x="501" y="413"/>
                </a:lnTo>
                <a:lnTo>
                  <a:pt x="501" y="412"/>
                </a:lnTo>
                <a:lnTo>
                  <a:pt x="503" y="412"/>
                </a:lnTo>
                <a:close/>
                <a:moveTo>
                  <a:pt x="625" y="412"/>
                </a:moveTo>
                <a:lnTo>
                  <a:pt x="627" y="410"/>
                </a:lnTo>
                <a:lnTo>
                  <a:pt x="627" y="413"/>
                </a:lnTo>
                <a:lnTo>
                  <a:pt x="625" y="412"/>
                </a:lnTo>
                <a:close/>
                <a:moveTo>
                  <a:pt x="591" y="405"/>
                </a:moveTo>
                <a:lnTo>
                  <a:pt x="593" y="406"/>
                </a:lnTo>
                <a:lnTo>
                  <a:pt x="591" y="406"/>
                </a:lnTo>
                <a:lnTo>
                  <a:pt x="591" y="405"/>
                </a:lnTo>
                <a:close/>
                <a:moveTo>
                  <a:pt x="500" y="410"/>
                </a:moveTo>
                <a:lnTo>
                  <a:pt x="501" y="408"/>
                </a:lnTo>
                <a:lnTo>
                  <a:pt x="501" y="410"/>
                </a:lnTo>
                <a:lnTo>
                  <a:pt x="500" y="410"/>
                </a:lnTo>
                <a:close/>
                <a:moveTo>
                  <a:pt x="399" y="517"/>
                </a:moveTo>
                <a:lnTo>
                  <a:pt x="401" y="517"/>
                </a:lnTo>
                <a:lnTo>
                  <a:pt x="399" y="519"/>
                </a:lnTo>
                <a:lnTo>
                  <a:pt x="399" y="517"/>
                </a:lnTo>
                <a:close/>
                <a:moveTo>
                  <a:pt x="500" y="413"/>
                </a:moveTo>
                <a:lnTo>
                  <a:pt x="501" y="413"/>
                </a:lnTo>
                <a:lnTo>
                  <a:pt x="500" y="413"/>
                </a:lnTo>
                <a:close/>
                <a:moveTo>
                  <a:pt x="627" y="417"/>
                </a:moveTo>
                <a:lnTo>
                  <a:pt x="627" y="418"/>
                </a:lnTo>
                <a:lnTo>
                  <a:pt x="627" y="417"/>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86" name="Freeform 54">
            <a:extLst>
              <a:ext uri="{FF2B5EF4-FFF2-40B4-BE49-F238E27FC236}">
                <a16:creationId xmlns:a16="http://schemas.microsoft.com/office/drawing/2014/main" id="{113B171F-CECC-4855-BB19-27B76F674BD1}"/>
              </a:ext>
            </a:extLst>
          </p:cNvPr>
          <p:cNvSpPr>
            <a:spLocks/>
          </p:cNvSpPr>
          <p:nvPr/>
        </p:nvSpPr>
        <p:spPr bwMode="gray">
          <a:xfrm>
            <a:off x="3877527" y="3377534"/>
            <a:ext cx="694870" cy="408129"/>
          </a:xfrm>
          <a:custGeom>
            <a:avLst/>
            <a:gdLst>
              <a:gd name="T0" fmla="*/ 251 w 255"/>
              <a:gd name="T1" fmla="*/ 31 h 143"/>
              <a:gd name="T2" fmla="*/ 250 w 255"/>
              <a:gd name="T3" fmla="*/ 44 h 143"/>
              <a:gd name="T4" fmla="*/ 243 w 255"/>
              <a:gd name="T5" fmla="*/ 56 h 143"/>
              <a:gd name="T6" fmla="*/ 243 w 255"/>
              <a:gd name="T7" fmla="*/ 70 h 143"/>
              <a:gd name="T8" fmla="*/ 234 w 255"/>
              <a:gd name="T9" fmla="*/ 73 h 143"/>
              <a:gd name="T10" fmla="*/ 224 w 255"/>
              <a:gd name="T11" fmla="*/ 73 h 143"/>
              <a:gd name="T12" fmla="*/ 216 w 255"/>
              <a:gd name="T13" fmla="*/ 67 h 143"/>
              <a:gd name="T14" fmla="*/ 207 w 255"/>
              <a:gd name="T15" fmla="*/ 63 h 143"/>
              <a:gd name="T16" fmla="*/ 195 w 255"/>
              <a:gd name="T17" fmla="*/ 70 h 143"/>
              <a:gd name="T18" fmla="*/ 182 w 255"/>
              <a:gd name="T19" fmla="*/ 67 h 143"/>
              <a:gd name="T20" fmla="*/ 168 w 255"/>
              <a:gd name="T21" fmla="*/ 72 h 143"/>
              <a:gd name="T22" fmla="*/ 163 w 255"/>
              <a:gd name="T23" fmla="*/ 87 h 143"/>
              <a:gd name="T24" fmla="*/ 153 w 255"/>
              <a:gd name="T25" fmla="*/ 94 h 143"/>
              <a:gd name="T26" fmla="*/ 143 w 255"/>
              <a:gd name="T27" fmla="*/ 104 h 143"/>
              <a:gd name="T28" fmla="*/ 137 w 255"/>
              <a:gd name="T29" fmla="*/ 101 h 143"/>
              <a:gd name="T30" fmla="*/ 126 w 255"/>
              <a:gd name="T31" fmla="*/ 101 h 143"/>
              <a:gd name="T32" fmla="*/ 120 w 255"/>
              <a:gd name="T33" fmla="*/ 111 h 143"/>
              <a:gd name="T34" fmla="*/ 110 w 255"/>
              <a:gd name="T35" fmla="*/ 112 h 143"/>
              <a:gd name="T36" fmla="*/ 98 w 255"/>
              <a:gd name="T37" fmla="*/ 116 h 143"/>
              <a:gd name="T38" fmla="*/ 93 w 255"/>
              <a:gd name="T39" fmla="*/ 123 h 143"/>
              <a:gd name="T40" fmla="*/ 95 w 255"/>
              <a:gd name="T41" fmla="*/ 131 h 143"/>
              <a:gd name="T42" fmla="*/ 83 w 255"/>
              <a:gd name="T43" fmla="*/ 138 h 143"/>
              <a:gd name="T44" fmla="*/ 69 w 255"/>
              <a:gd name="T45" fmla="*/ 141 h 143"/>
              <a:gd name="T46" fmla="*/ 56 w 255"/>
              <a:gd name="T47" fmla="*/ 141 h 143"/>
              <a:gd name="T48" fmla="*/ 39 w 255"/>
              <a:gd name="T49" fmla="*/ 138 h 143"/>
              <a:gd name="T50" fmla="*/ 27 w 255"/>
              <a:gd name="T51" fmla="*/ 129 h 143"/>
              <a:gd name="T52" fmla="*/ 13 w 255"/>
              <a:gd name="T53" fmla="*/ 128 h 143"/>
              <a:gd name="T54" fmla="*/ 12 w 255"/>
              <a:gd name="T55" fmla="*/ 119 h 143"/>
              <a:gd name="T56" fmla="*/ 5 w 255"/>
              <a:gd name="T57" fmla="*/ 111 h 143"/>
              <a:gd name="T58" fmla="*/ 0 w 255"/>
              <a:gd name="T59" fmla="*/ 99 h 143"/>
              <a:gd name="T60" fmla="*/ 3 w 255"/>
              <a:gd name="T61" fmla="*/ 82 h 143"/>
              <a:gd name="T62" fmla="*/ 10 w 255"/>
              <a:gd name="T63" fmla="*/ 70 h 143"/>
              <a:gd name="T64" fmla="*/ 22 w 255"/>
              <a:gd name="T65" fmla="*/ 70 h 143"/>
              <a:gd name="T66" fmla="*/ 30 w 255"/>
              <a:gd name="T67" fmla="*/ 68 h 143"/>
              <a:gd name="T68" fmla="*/ 44 w 255"/>
              <a:gd name="T69" fmla="*/ 60 h 143"/>
              <a:gd name="T70" fmla="*/ 51 w 255"/>
              <a:gd name="T71" fmla="*/ 51 h 143"/>
              <a:gd name="T72" fmla="*/ 54 w 255"/>
              <a:gd name="T73" fmla="*/ 39 h 143"/>
              <a:gd name="T74" fmla="*/ 63 w 255"/>
              <a:gd name="T75" fmla="*/ 29 h 143"/>
              <a:gd name="T76" fmla="*/ 69 w 255"/>
              <a:gd name="T77" fmla="*/ 17 h 143"/>
              <a:gd name="T78" fmla="*/ 83 w 255"/>
              <a:gd name="T79" fmla="*/ 14 h 143"/>
              <a:gd name="T80" fmla="*/ 88 w 255"/>
              <a:gd name="T81" fmla="*/ 21 h 143"/>
              <a:gd name="T82" fmla="*/ 98 w 255"/>
              <a:gd name="T83" fmla="*/ 17 h 143"/>
              <a:gd name="T84" fmla="*/ 107 w 255"/>
              <a:gd name="T85" fmla="*/ 5 h 143"/>
              <a:gd name="T86" fmla="*/ 114 w 255"/>
              <a:gd name="T87" fmla="*/ 10 h 143"/>
              <a:gd name="T88" fmla="*/ 122 w 255"/>
              <a:gd name="T89" fmla="*/ 17 h 143"/>
              <a:gd name="T90" fmla="*/ 127 w 255"/>
              <a:gd name="T91" fmla="*/ 24 h 143"/>
              <a:gd name="T92" fmla="*/ 132 w 255"/>
              <a:gd name="T93" fmla="*/ 31 h 143"/>
              <a:gd name="T94" fmla="*/ 143 w 255"/>
              <a:gd name="T95" fmla="*/ 27 h 143"/>
              <a:gd name="T96" fmla="*/ 148 w 255"/>
              <a:gd name="T97" fmla="*/ 17 h 143"/>
              <a:gd name="T98" fmla="*/ 153 w 255"/>
              <a:gd name="T99" fmla="*/ 14 h 143"/>
              <a:gd name="T100" fmla="*/ 165 w 255"/>
              <a:gd name="T101" fmla="*/ 10 h 143"/>
              <a:gd name="T102" fmla="*/ 173 w 255"/>
              <a:gd name="T103" fmla="*/ 14 h 143"/>
              <a:gd name="T104" fmla="*/ 183 w 255"/>
              <a:gd name="T105" fmla="*/ 10 h 143"/>
              <a:gd name="T106" fmla="*/ 190 w 255"/>
              <a:gd name="T107" fmla="*/ 7 h 143"/>
              <a:gd name="T108" fmla="*/ 202 w 255"/>
              <a:gd name="T109" fmla="*/ 4 h 143"/>
              <a:gd name="T110" fmla="*/ 216 w 255"/>
              <a:gd name="T111" fmla="*/ 4 h 143"/>
              <a:gd name="T112" fmla="*/ 224 w 255"/>
              <a:gd name="T113" fmla="*/ 5 h 143"/>
              <a:gd name="T114" fmla="*/ 233 w 255"/>
              <a:gd name="T115" fmla="*/ 14 h 143"/>
              <a:gd name="T116" fmla="*/ 245 w 255"/>
              <a:gd name="T117" fmla="*/ 1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5" h="143">
                <a:moveTo>
                  <a:pt x="255" y="19"/>
                </a:moveTo>
                <a:lnTo>
                  <a:pt x="255" y="22"/>
                </a:lnTo>
                <a:lnTo>
                  <a:pt x="255" y="24"/>
                </a:lnTo>
                <a:lnTo>
                  <a:pt x="255" y="26"/>
                </a:lnTo>
                <a:lnTo>
                  <a:pt x="251" y="26"/>
                </a:lnTo>
                <a:lnTo>
                  <a:pt x="251" y="27"/>
                </a:lnTo>
                <a:lnTo>
                  <a:pt x="251" y="31"/>
                </a:lnTo>
                <a:lnTo>
                  <a:pt x="251" y="34"/>
                </a:lnTo>
                <a:lnTo>
                  <a:pt x="250" y="34"/>
                </a:lnTo>
                <a:lnTo>
                  <a:pt x="250" y="38"/>
                </a:lnTo>
                <a:lnTo>
                  <a:pt x="250" y="39"/>
                </a:lnTo>
                <a:lnTo>
                  <a:pt x="250" y="41"/>
                </a:lnTo>
                <a:lnTo>
                  <a:pt x="250" y="43"/>
                </a:lnTo>
                <a:lnTo>
                  <a:pt x="250" y="44"/>
                </a:lnTo>
                <a:lnTo>
                  <a:pt x="250" y="46"/>
                </a:lnTo>
                <a:lnTo>
                  <a:pt x="250" y="48"/>
                </a:lnTo>
                <a:lnTo>
                  <a:pt x="248" y="49"/>
                </a:lnTo>
                <a:lnTo>
                  <a:pt x="246" y="51"/>
                </a:lnTo>
                <a:lnTo>
                  <a:pt x="246" y="53"/>
                </a:lnTo>
                <a:lnTo>
                  <a:pt x="243" y="55"/>
                </a:lnTo>
                <a:lnTo>
                  <a:pt x="243" y="56"/>
                </a:lnTo>
                <a:lnTo>
                  <a:pt x="243" y="58"/>
                </a:lnTo>
                <a:lnTo>
                  <a:pt x="243" y="60"/>
                </a:lnTo>
                <a:lnTo>
                  <a:pt x="243" y="63"/>
                </a:lnTo>
                <a:lnTo>
                  <a:pt x="243" y="67"/>
                </a:lnTo>
                <a:lnTo>
                  <a:pt x="243" y="68"/>
                </a:lnTo>
                <a:lnTo>
                  <a:pt x="245" y="68"/>
                </a:lnTo>
                <a:lnTo>
                  <a:pt x="243" y="70"/>
                </a:lnTo>
                <a:lnTo>
                  <a:pt x="241" y="72"/>
                </a:lnTo>
                <a:lnTo>
                  <a:pt x="241" y="70"/>
                </a:lnTo>
                <a:lnTo>
                  <a:pt x="239" y="72"/>
                </a:lnTo>
                <a:lnTo>
                  <a:pt x="238" y="70"/>
                </a:lnTo>
                <a:lnTo>
                  <a:pt x="236" y="72"/>
                </a:lnTo>
                <a:lnTo>
                  <a:pt x="234" y="72"/>
                </a:lnTo>
                <a:lnTo>
                  <a:pt x="234" y="73"/>
                </a:lnTo>
                <a:lnTo>
                  <a:pt x="233" y="73"/>
                </a:lnTo>
                <a:lnTo>
                  <a:pt x="231" y="75"/>
                </a:lnTo>
                <a:lnTo>
                  <a:pt x="231" y="73"/>
                </a:lnTo>
                <a:lnTo>
                  <a:pt x="229" y="77"/>
                </a:lnTo>
                <a:lnTo>
                  <a:pt x="228" y="77"/>
                </a:lnTo>
                <a:lnTo>
                  <a:pt x="226" y="77"/>
                </a:lnTo>
                <a:lnTo>
                  <a:pt x="224" y="73"/>
                </a:lnTo>
                <a:lnTo>
                  <a:pt x="222" y="73"/>
                </a:lnTo>
                <a:lnTo>
                  <a:pt x="222" y="72"/>
                </a:lnTo>
                <a:lnTo>
                  <a:pt x="219" y="70"/>
                </a:lnTo>
                <a:lnTo>
                  <a:pt x="219" y="68"/>
                </a:lnTo>
                <a:lnTo>
                  <a:pt x="219" y="67"/>
                </a:lnTo>
                <a:lnTo>
                  <a:pt x="217" y="65"/>
                </a:lnTo>
                <a:lnTo>
                  <a:pt x="216" y="67"/>
                </a:lnTo>
                <a:lnTo>
                  <a:pt x="214" y="65"/>
                </a:lnTo>
                <a:lnTo>
                  <a:pt x="214" y="63"/>
                </a:lnTo>
                <a:lnTo>
                  <a:pt x="212" y="63"/>
                </a:lnTo>
                <a:lnTo>
                  <a:pt x="211" y="63"/>
                </a:lnTo>
                <a:lnTo>
                  <a:pt x="209" y="61"/>
                </a:lnTo>
                <a:lnTo>
                  <a:pt x="209" y="63"/>
                </a:lnTo>
                <a:lnTo>
                  <a:pt x="207" y="63"/>
                </a:lnTo>
                <a:lnTo>
                  <a:pt x="207" y="65"/>
                </a:lnTo>
                <a:lnTo>
                  <a:pt x="204" y="65"/>
                </a:lnTo>
                <a:lnTo>
                  <a:pt x="204" y="67"/>
                </a:lnTo>
                <a:lnTo>
                  <a:pt x="202" y="67"/>
                </a:lnTo>
                <a:lnTo>
                  <a:pt x="200" y="67"/>
                </a:lnTo>
                <a:lnTo>
                  <a:pt x="197" y="68"/>
                </a:lnTo>
                <a:lnTo>
                  <a:pt x="195" y="70"/>
                </a:lnTo>
                <a:lnTo>
                  <a:pt x="194" y="68"/>
                </a:lnTo>
                <a:lnTo>
                  <a:pt x="190" y="68"/>
                </a:lnTo>
                <a:lnTo>
                  <a:pt x="188" y="70"/>
                </a:lnTo>
                <a:lnTo>
                  <a:pt x="188" y="68"/>
                </a:lnTo>
                <a:lnTo>
                  <a:pt x="185" y="67"/>
                </a:lnTo>
                <a:lnTo>
                  <a:pt x="183" y="68"/>
                </a:lnTo>
                <a:lnTo>
                  <a:pt x="182" y="67"/>
                </a:lnTo>
                <a:lnTo>
                  <a:pt x="180" y="67"/>
                </a:lnTo>
                <a:lnTo>
                  <a:pt x="177" y="68"/>
                </a:lnTo>
                <a:lnTo>
                  <a:pt x="173" y="68"/>
                </a:lnTo>
                <a:lnTo>
                  <a:pt x="173" y="70"/>
                </a:lnTo>
                <a:lnTo>
                  <a:pt x="171" y="72"/>
                </a:lnTo>
                <a:lnTo>
                  <a:pt x="170" y="72"/>
                </a:lnTo>
                <a:lnTo>
                  <a:pt x="168" y="72"/>
                </a:lnTo>
                <a:lnTo>
                  <a:pt x="166" y="72"/>
                </a:lnTo>
                <a:lnTo>
                  <a:pt x="168" y="75"/>
                </a:lnTo>
                <a:lnTo>
                  <a:pt x="166" y="77"/>
                </a:lnTo>
                <a:lnTo>
                  <a:pt x="166" y="78"/>
                </a:lnTo>
                <a:lnTo>
                  <a:pt x="165" y="80"/>
                </a:lnTo>
                <a:lnTo>
                  <a:pt x="165" y="84"/>
                </a:lnTo>
                <a:lnTo>
                  <a:pt x="163" y="87"/>
                </a:lnTo>
                <a:lnTo>
                  <a:pt x="161" y="89"/>
                </a:lnTo>
                <a:lnTo>
                  <a:pt x="161" y="90"/>
                </a:lnTo>
                <a:lnTo>
                  <a:pt x="160" y="92"/>
                </a:lnTo>
                <a:lnTo>
                  <a:pt x="158" y="92"/>
                </a:lnTo>
                <a:lnTo>
                  <a:pt x="156" y="94"/>
                </a:lnTo>
                <a:lnTo>
                  <a:pt x="154" y="94"/>
                </a:lnTo>
                <a:lnTo>
                  <a:pt x="153" y="94"/>
                </a:lnTo>
                <a:lnTo>
                  <a:pt x="153" y="95"/>
                </a:lnTo>
                <a:lnTo>
                  <a:pt x="151" y="97"/>
                </a:lnTo>
                <a:lnTo>
                  <a:pt x="151" y="99"/>
                </a:lnTo>
                <a:lnTo>
                  <a:pt x="149" y="101"/>
                </a:lnTo>
                <a:lnTo>
                  <a:pt x="146" y="101"/>
                </a:lnTo>
                <a:lnTo>
                  <a:pt x="144" y="104"/>
                </a:lnTo>
                <a:lnTo>
                  <a:pt x="143" y="104"/>
                </a:lnTo>
                <a:lnTo>
                  <a:pt x="144" y="102"/>
                </a:lnTo>
                <a:lnTo>
                  <a:pt x="143" y="101"/>
                </a:lnTo>
                <a:lnTo>
                  <a:pt x="141" y="101"/>
                </a:lnTo>
                <a:lnTo>
                  <a:pt x="141" y="102"/>
                </a:lnTo>
                <a:lnTo>
                  <a:pt x="139" y="102"/>
                </a:lnTo>
                <a:lnTo>
                  <a:pt x="137" y="102"/>
                </a:lnTo>
                <a:lnTo>
                  <a:pt x="137" y="101"/>
                </a:lnTo>
                <a:lnTo>
                  <a:pt x="136" y="99"/>
                </a:lnTo>
                <a:lnTo>
                  <a:pt x="132" y="101"/>
                </a:lnTo>
                <a:lnTo>
                  <a:pt x="132" y="97"/>
                </a:lnTo>
                <a:lnTo>
                  <a:pt x="129" y="97"/>
                </a:lnTo>
                <a:lnTo>
                  <a:pt x="129" y="99"/>
                </a:lnTo>
                <a:lnTo>
                  <a:pt x="127" y="101"/>
                </a:lnTo>
                <a:lnTo>
                  <a:pt x="126" y="101"/>
                </a:lnTo>
                <a:lnTo>
                  <a:pt x="124" y="104"/>
                </a:lnTo>
                <a:lnTo>
                  <a:pt x="126" y="106"/>
                </a:lnTo>
                <a:lnTo>
                  <a:pt x="124" y="106"/>
                </a:lnTo>
                <a:lnTo>
                  <a:pt x="124" y="107"/>
                </a:lnTo>
                <a:lnTo>
                  <a:pt x="124" y="109"/>
                </a:lnTo>
                <a:lnTo>
                  <a:pt x="122" y="109"/>
                </a:lnTo>
                <a:lnTo>
                  <a:pt x="120" y="111"/>
                </a:lnTo>
                <a:lnTo>
                  <a:pt x="120" y="109"/>
                </a:lnTo>
                <a:lnTo>
                  <a:pt x="119" y="111"/>
                </a:lnTo>
                <a:lnTo>
                  <a:pt x="115" y="111"/>
                </a:lnTo>
                <a:lnTo>
                  <a:pt x="114" y="111"/>
                </a:lnTo>
                <a:lnTo>
                  <a:pt x="114" y="112"/>
                </a:lnTo>
                <a:lnTo>
                  <a:pt x="112" y="112"/>
                </a:lnTo>
                <a:lnTo>
                  <a:pt x="110" y="112"/>
                </a:lnTo>
                <a:lnTo>
                  <a:pt x="109" y="112"/>
                </a:lnTo>
                <a:lnTo>
                  <a:pt x="105" y="112"/>
                </a:lnTo>
                <a:lnTo>
                  <a:pt x="105" y="114"/>
                </a:lnTo>
                <a:lnTo>
                  <a:pt x="103" y="112"/>
                </a:lnTo>
                <a:lnTo>
                  <a:pt x="102" y="114"/>
                </a:lnTo>
                <a:lnTo>
                  <a:pt x="100" y="114"/>
                </a:lnTo>
                <a:lnTo>
                  <a:pt x="98" y="116"/>
                </a:lnTo>
                <a:lnTo>
                  <a:pt x="97" y="114"/>
                </a:lnTo>
                <a:lnTo>
                  <a:pt x="95" y="116"/>
                </a:lnTo>
                <a:lnTo>
                  <a:pt x="93" y="118"/>
                </a:lnTo>
                <a:lnTo>
                  <a:pt x="95" y="118"/>
                </a:lnTo>
                <a:lnTo>
                  <a:pt x="95" y="119"/>
                </a:lnTo>
                <a:lnTo>
                  <a:pt x="92" y="121"/>
                </a:lnTo>
                <a:lnTo>
                  <a:pt x="93" y="123"/>
                </a:lnTo>
                <a:lnTo>
                  <a:pt x="92" y="126"/>
                </a:lnTo>
                <a:lnTo>
                  <a:pt x="92" y="128"/>
                </a:lnTo>
                <a:lnTo>
                  <a:pt x="93" y="129"/>
                </a:lnTo>
                <a:lnTo>
                  <a:pt x="95" y="129"/>
                </a:lnTo>
                <a:lnTo>
                  <a:pt x="97" y="131"/>
                </a:lnTo>
                <a:lnTo>
                  <a:pt x="97" y="133"/>
                </a:lnTo>
                <a:lnTo>
                  <a:pt x="95" y="131"/>
                </a:lnTo>
                <a:lnTo>
                  <a:pt x="92" y="133"/>
                </a:lnTo>
                <a:lnTo>
                  <a:pt x="92" y="135"/>
                </a:lnTo>
                <a:lnTo>
                  <a:pt x="90" y="136"/>
                </a:lnTo>
                <a:lnTo>
                  <a:pt x="88" y="138"/>
                </a:lnTo>
                <a:lnTo>
                  <a:pt x="86" y="138"/>
                </a:lnTo>
                <a:lnTo>
                  <a:pt x="85" y="138"/>
                </a:lnTo>
                <a:lnTo>
                  <a:pt x="83" y="138"/>
                </a:lnTo>
                <a:lnTo>
                  <a:pt x="81" y="138"/>
                </a:lnTo>
                <a:lnTo>
                  <a:pt x="80" y="138"/>
                </a:lnTo>
                <a:lnTo>
                  <a:pt x="78" y="138"/>
                </a:lnTo>
                <a:lnTo>
                  <a:pt x="76" y="140"/>
                </a:lnTo>
                <a:lnTo>
                  <a:pt x="75" y="140"/>
                </a:lnTo>
                <a:lnTo>
                  <a:pt x="71" y="141"/>
                </a:lnTo>
                <a:lnTo>
                  <a:pt x="69" y="141"/>
                </a:lnTo>
                <a:lnTo>
                  <a:pt x="68" y="141"/>
                </a:lnTo>
                <a:lnTo>
                  <a:pt x="66" y="141"/>
                </a:lnTo>
                <a:lnTo>
                  <a:pt x="64" y="141"/>
                </a:lnTo>
                <a:lnTo>
                  <a:pt x="63" y="140"/>
                </a:lnTo>
                <a:lnTo>
                  <a:pt x="59" y="141"/>
                </a:lnTo>
                <a:lnTo>
                  <a:pt x="58" y="141"/>
                </a:lnTo>
                <a:lnTo>
                  <a:pt x="56" y="141"/>
                </a:lnTo>
                <a:lnTo>
                  <a:pt x="52" y="143"/>
                </a:lnTo>
                <a:lnTo>
                  <a:pt x="49" y="143"/>
                </a:lnTo>
                <a:lnTo>
                  <a:pt x="47" y="143"/>
                </a:lnTo>
                <a:lnTo>
                  <a:pt x="44" y="143"/>
                </a:lnTo>
                <a:lnTo>
                  <a:pt x="44" y="141"/>
                </a:lnTo>
                <a:lnTo>
                  <a:pt x="41" y="140"/>
                </a:lnTo>
                <a:lnTo>
                  <a:pt x="39" y="138"/>
                </a:lnTo>
                <a:lnTo>
                  <a:pt x="37" y="140"/>
                </a:lnTo>
                <a:lnTo>
                  <a:pt x="35" y="136"/>
                </a:lnTo>
                <a:lnTo>
                  <a:pt x="34" y="136"/>
                </a:lnTo>
                <a:lnTo>
                  <a:pt x="32" y="135"/>
                </a:lnTo>
                <a:lnTo>
                  <a:pt x="30" y="133"/>
                </a:lnTo>
                <a:lnTo>
                  <a:pt x="29" y="131"/>
                </a:lnTo>
                <a:lnTo>
                  <a:pt x="27" y="129"/>
                </a:lnTo>
                <a:lnTo>
                  <a:pt x="25" y="128"/>
                </a:lnTo>
                <a:lnTo>
                  <a:pt x="22" y="128"/>
                </a:lnTo>
                <a:lnTo>
                  <a:pt x="20" y="126"/>
                </a:lnTo>
                <a:lnTo>
                  <a:pt x="18" y="126"/>
                </a:lnTo>
                <a:lnTo>
                  <a:pt x="17" y="128"/>
                </a:lnTo>
                <a:lnTo>
                  <a:pt x="15" y="126"/>
                </a:lnTo>
                <a:lnTo>
                  <a:pt x="13" y="128"/>
                </a:lnTo>
                <a:lnTo>
                  <a:pt x="12" y="126"/>
                </a:lnTo>
                <a:lnTo>
                  <a:pt x="13" y="126"/>
                </a:lnTo>
                <a:lnTo>
                  <a:pt x="12" y="124"/>
                </a:lnTo>
                <a:lnTo>
                  <a:pt x="13" y="124"/>
                </a:lnTo>
                <a:lnTo>
                  <a:pt x="12" y="123"/>
                </a:lnTo>
                <a:lnTo>
                  <a:pt x="13" y="121"/>
                </a:lnTo>
                <a:lnTo>
                  <a:pt x="12" y="119"/>
                </a:lnTo>
                <a:lnTo>
                  <a:pt x="10" y="119"/>
                </a:lnTo>
                <a:lnTo>
                  <a:pt x="8" y="118"/>
                </a:lnTo>
                <a:lnTo>
                  <a:pt x="7" y="118"/>
                </a:lnTo>
                <a:lnTo>
                  <a:pt x="7" y="116"/>
                </a:lnTo>
                <a:lnTo>
                  <a:pt x="7" y="114"/>
                </a:lnTo>
                <a:lnTo>
                  <a:pt x="5" y="112"/>
                </a:lnTo>
                <a:lnTo>
                  <a:pt x="5" y="111"/>
                </a:lnTo>
                <a:lnTo>
                  <a:pt x="3" y="109"/>
                </a:lnTo>
                <a:lnTo>
                  <a:pt x="3" y="107"/>
                </a:lnTo>
                <a:lnTo>
                  <a:pt x="1" y="106"/>
                </a:lnTo>
                <a:lnTo>
                  <a:pt x="0" y="106"/>
                </a:lnTo>
                <a:lnTo>
                  <a:pt x="0" y="102"/>
                </a:lnTo>
                <a:lnTo>
                  <a:pt x="0" y="101"/>
                </a:lnTo>
                <a:lnTo>
                  <a:pt x="0" y="99"/>
                </a:lnTo>
                <a:lnTo>
                  <a:pt x="1" y="95"/>
                </a:lnTo>
                <a:lnTo>
                  <a:pt x="1" y="94"/>
                </a:lnTo>
                <a:lnTo>
                  <a:pt x="3" y="90"/>
                </a:lnTo>
                <a:lnTo>
                  <a:pt x="3" y="89"/>
                </a:lnTo>
                <a:lnTo>
                  <a:pt x="3" y="87"/>
                </a:lnTo>
                <a:lnTo>
                  <a:pt x="3" y="84"/>
                </a:lnTo>
                <a:lnTo>
                  <a:pt x="3" y="82"/>
                </a:lnTo>
                <a:lnTo>
                  <a:pt x="5" y="80"/>
                </a:lnTo>
                <a:lnTo>
                  <a:pt x="5" y="78"/>
                </a:lnTo>
                <a:lnTo>
                  <a:pt x="7" y="75"/>
                </a:lnTo>
                <a:lnTo>
                  <a:pt x="8" y="73"/>
                </a:lnTo>
                <a:lnTo>
                  <a:pt x="8" y="72"/>
                </a:lnTo>
                <a:lnTo>
                  <a:pt x="8" y="70"/>
                </a:lnTo>
                <a:lnTo>
                  <a:pt x="10" y="70"/>
                </a:lnTo>
                <a:lnTo>
                  <a:pt x="12" y="67"/>
                </a:lnTo>
                <a:lnTo>
                  <a:pt x="13" y="67"/>
                </a:lnTo>
                <a:lnTo>
                  <a:pt x="15" y="68"/>
                </a:lnTo>
                <a:lnTo>
                  <a:pt x="17" y="68"/>
                </a:lnTo>
                <a:lnTo>
                  <a:pt x="18" y="68"/>
                </a:lnTo>
                <a:lnTo>
                  <a:pt x="20" y="70"/>
                </a:lnTo>
                <a:lnTo>
                  <a:pt x="22" y="70"/>
                </a:lnTo>
                <a:lnTo>
                  <a:pt x="24" y="70"/>
                </a:lnTo>
                <a:lnTo>
                  <a:pt x="25" y="68"/>
                </a:lnTo>
                <a:lnTo>
                  <a:pt x="27" y="70"/>
                </a:lnTo>
                <a:lnTo>
                  <a:pt x="27" y="68"/>
                </a:lnTo>
                <a:lnTo>
                  <a:pt x="29" y="70"/>
                </a:lnTo>
                <a:lnTo>
                  <a:pt x="29" y="68"/>
                </a:lnTo>
                <a:lnTo>
                  <a:pt x="30" y="68"/>
                </a:lnTo>
                <a:lnTo>
                  <a:pt x="32" y="67"/>
                </a:lnTo>
                <a:lnTo>
                  <a:pt x="34" y="67"/>
                </a:lnTo>
                <a:lnTo>
                  <a:pt x="35" y="65"/>
                </a:lnTo>
                <a:lnTo>
                  <a:pt x="37" y="63"/>
                </a:lnTo>
                <a:lnTo>
                  <a:pt x="39" y="61"/>
                </a:lnTo>
                <a:lnTo>
                  <a:pt x="42" y="60"/>
                </a:lnTo>
                <a:lnTo>
                  <a:pt x="44" y="60"/>
                </a:lnTo>
                <a:lnTo>
                  <a:pt x="44" y="58"/>
                </a:lnTo>
                <a:lnTo>
                  <a:pt x="44" y="56"/>
                </a:lnTo>
                <a:lnTo>
                  <a:pt x="44" y="55"/>
                </a:lnTo>
                <a:lnTo>
                  <a:pt x="44" y="53"/>
                </a:lnTo>
                <a:lnTo>
                  <a:pt x="47" y="53"/>
                </a:lnTo>
                <a:lnTo>
                  <a:pt x="49" y="53"/>
                </a:lnTo>
                <a:lnTo>
                  <a:pt x="51" y="51"/>
                </a:lnTo>
                <a:lnTo>
                  <a:pt x="52" y="49"/>
                </a:lnTo>
                <a:lnTo>
                  <a:pt x="52" y="48"/>
                </a:lnTo>
                <a:lnTo>
                  <a:pt x="52" y="46"/>
                </a:lnTo>
                <a:lnTo>
                  <a:pt x="52" y="44"/>
                </a:lnTo>
                <a:lnTo>
                  <a:pt x="52" y="43"/>
                </a:lnTo>
                <a:lnTo>
                  <a:pt x="52" y="41"/>
                </a:lnTo>
                <a:lnTo>
                  <a:pt x="54" y="39"/>
                </a:lnTo>
                <a:lnTo>
                  <a:pt x="52" y="36"/>
                </a:lnTo>
                <a:lnTo>
                  <a:pt x="54" y="34"/>
                </a:lnTo>
                <a:lnTo>
                  <a:pt x="56" y="32"/>
                </a:lnTo>
                <a:lnTo>
                  <a:pt x="58" y="32"/>
                </a:lnTo>
                <a:lnTo>
                  <a:pt x="59" y="31"/>
                </a:lnTo>
                <a:lnTo>
                  <a:pt x="61" y="31"/>
                </a:lnTo>
                <a:lnTo>
                  <a:pt x="63" y="29"/>
                </a:lnTo>
                <a:lnTo>
                  <a:pt x="64" y="27"/>
                </a:lnTo>
                <a:lnTo>
                  <a:pt x="63" y="24"/>
                </a:lnTo>
                <a:lnTo>
                  <a:pt x="66" y="24"/>
                </a:lnTo>
                <a:lnTo>
                  <a:pt x="68" y="22"/>
                </a:lnTo>
                <a:lnTo>
                  <a:pt x="68" y="21"/>
                </a:lnTo>
                <a:lnTo>
                  <a:pt x="69" y="19"/>
                </a:lnTo>
                <a:lnTo>
                  <a:pt x="69" y="17"/>
                </a:lnTo>
                <a:lnTo>
                  <a:pt x="71" y="15"/>
                </a:lnTo>
                <a:lnTo>
                  <a:pt x="73" y="17"/>
                </a:lnTo>
                <a:lnTo>
                  <a:pt x="75" y="15"/>
                </a:lnTo>
                <a:lnTo>
                  <a:pt x="76" y="15"/>
                </a:lnTo>
                <a:lnTo>
                  <a:pt x="78" y="15"/>
                </a:lnTo>
                <a:lnTo>
                  <a:pt x="81" y="14"/>
                </a:lnTo>
                <a:lnTo>
                  <a:pt x="83" y="14"/>
                </a:lnTo>
                <a:lnTo>
                  <a:pt x="85" y="14"/>
                </a:lnTo>
                <a:lnTo>
                  <a:pt x="86" y="14"/>
                </a:lnTo>
                <a:lnTo>
                  <a:pt x="88" y="14"/>
                </a:lnTo>
                <a:lnTo>
                  <a:pt x="88" y="15"/>
                </a:lnTo>
                <a:lnTo>
                  <a:pt x="88" y="17"/>
                </a:lnTo>
                <a:lnTo>
                  <a:pt x="90" y="19"/>
                </a:lnTo>
                <a:lnTo>
                  <a:pt x="88" y="21"/>
                </a:lnTo>
                <a:lnTo>
                  <a:pt x="90" y="22"/>
                </a:lnTo>
                <a:lnTo>
                  <a:pt x="92" y="21"/>
                </a:lnTo>
                <a:lnTo>
                  <a:pt x="93" y="19"/>
                </a:lnTo>
                <a:lnTo>
                  <a:pt x="95" y="21"/>
                </a:lnTo>
                <a:lnTo>
                  <a:pt x="97" y="21"/>
                </a:lnTo>
                <a:lnTo>
                  <a:pt x="100" y="19"/>
                </a:lnTo>
                <a:lnTo>
                  <a:pt x="98" y="17"/>
                </a:lnTo>
                <a:lnTo>
                  <a:pt x="100" y="15"/>
                </a:lnTo>
                <a:lnTo>
                  <a:pt x="100" y="12"/>
                </a:lnTo>
                <a:lnTo>
                  <a:pt x="102" y="10"/>
                </a:lnTo>
                <a:lnTo>
                  <a:pt x="103" y="10"/>
                </a:lnTo>
                <a:lnTo>
                  <a:pt x="105" y="10"/>
                </a:lnTo>
                <a:lnTo>
                  <a:pt x="105" y="7"/>
                </a:lnTo>
                <a:lnTo>
                  <a:pt x="107" y="5"/>
                </a:lnTo>
                <a:lnTo>
                  <a:pt x="109" y="5"/>
                </a:lnTo>
                <a:lnTo>
                  <a:pt x="109" y="4"/>
                </a:lnTo>
                <a:lnTo>
                  <a:pt x="110" y="4"/>
                </a:lnTo>
                <a:lnTo>
                  <a:pt x="110" y="5"/>
                </a:lnTo>
                <a:lnTo>
                  <a:pt x="112" y="5"/>
                </a:lnTo>
                <a:lnTo>
                  <a:pt x="114" y="9"/>
                </a:lnTo>
                <a:lnTo>
                  <a:pt x="114" y="10"/>
                </a:lnTo>
                <a:lnTo>
                  <a:pt x="115" y="12"/>
                </a:lnTo>
                <a:lnTo>
                  <a:pt x="115" y="14"/>
                </a:lnTo>
                <a:lnTo>
                  <a:pt x="117" y="14"/>
                </a:lnTo>
                <a:lnTo>
                  <a:pt x="119" y="14"/>
                </a:lnTo>
                <a:lnTo>
                  <a:pt x="119" y="15"/>
                </a:lnTo>
                <a:lnTo>
                  <a:pt x="119" y="17"/>
                </a:lnTo>
                <a:lnTo>
                  <a:pt x="122" y="17"/>
                </a:lnTo>
                <a:lnTo>
                  <a:pt x="124" y="15"/>
                </a:lnTo>
                <a:lnTo>
                  <a:pt x="126" y="15"/>
                </a:lnTo>
                <a:lnTo>
                  <a:pt x="126" y="17"/>
                </a:lnTo>
                <a:lnTo>
                  <a:pt x="127" y="19"/>
                </a:lnTo>
                <a:lnTo>
                  <a:pt x="127" y="21"/>
                </a:lnTo>
                <a:lnTo>
                  <a:pt x="127" y="22"/>
                </a:lnTo>
                <a:lnTo>
                  <a:pt x="127" y="24"/>
                </a:lnTo>
                <a:lnTo>
                  <a:pt x="129" y="24"/>
                </a:lnTo>
                <a:lnTo>
                  <a:pt x="127" y="26"/>
                </a:lnTo>
                <a:lnTo>
                  <a:pt x="127" y="27"/>
                </a:lnTo>
                <a:lnTo>
                  <a:pt x="127" y="29"/>
                </a:lnTo>
                <a:lnTo>
                  <a:pt x="129" y="29"/>
                </a:lnTo>
                <a:lnTo>
                  <a:pt x="131" y="31"/>
                </a:lnTo>
                <a:lnTo>
                  <a:pt x="132" y="31"/>
                </a:lnTo>
                <a:lnTo>
                  <a:pt x="132" y="27"/>
                </a:lnTo>
                <a:lnTo>
                  <a:pt x="134" y="27"/>
                </a:lnTo>
                <a:lnTo>
                  <a:pt x="136" y="27"/>
                </a:lnTo>
                <a:lnTo>
                  <a:pt x="139" y="29"/>
                </a:lnTo>
                <a:lnTo>
                  <a:pt x="141" y="31"/>
                </a:lnTo>
                <a:lnTo>
                  <a:pt x="141" y="29"/>
                </a:lnTo>
                <a:lnTo>
                  <a:pt x="143" y="27"/>
                </a:lnTo>
                <a:lnTo>
                  <a:pt x="141" y="26"/>
                </a:lnTo>
                <a:lnTo>
                  <a:pt x="143" y="24"/>
                </a:lnTo>
                <a:lnTo>
                  <a:pt x="143" y="21"/>
                </a:lnTo>
                <a:lnTo>
                  <a:pt x="144" y="21"/>
                </a:lnTo>
                <a:lnTo>
                  <a:pt x="144" y="19"/>
                </a:lnTo>
                <a:lnTo>
                  <a:pt x="146" y="17"/>
                </a:lnTo>
                <a:lnTo>
                  <a:pt x="148" y="17"/>
                </a:lnTo>
                <a:lnTo>
                  <a:pt x="149" y="17"/>
                </a:lnTo>
                <a:lnTo>
                  <a:pt x="151" y="17"/>
                </a:lnTo>
                <a:lnTo>
                  <a:pt x="151" y="14"/>
                </a:lnTo>
                <a:lnTo>
                  <a:pt x="149" y="14"/>
                </a:lnTo>
                <a:lnTo>
                  <a:pt x="149" y="12"/>
                </a:lnTo>
                <a:lnTo>
                  <a:pt x="153" y="12"/>
                </a:lnTo>
                <a:lnTo>
                  <a:pt x="153" y="14"/>
                </a:lnTo>
                <a:lnTo>
                  <a:pt x="154" y="12"/>
                </a:lnTo>
                <a:lnTo>
                  <a:pt x="154" y="10"/>
                </a:lnTo>
                <a:lnTo>
                  <a:pt x="156" y="10"/>
                </a:lnTo>
                <a:lnTo>
                  <a:pt x="158" y="12"/>
                </a:lnTo>
                <a:lnTo>
                  <a:pt x="161" y="14"/>
                </a:lnTo>
                <a:lnTo>
                  <a:pt x="163" y="10"/>
                </a:lnTo>
                <a:lnTo>
                  <a:pt x="165" y="10"/>
                </a:lnTo>
                <a:lnTo>
                  <a:pt x="166" y="9"/>
                </a:lnTo>
                <a:lnTo>
                  <a:pt x="168" y="9"/>
                </a:lnTo>
                <a:lnTo>
                  <a:pt x="170" y="10"/>
                </a:lnTo>
                <a:lnTo>
                  <a:pt x="170" y="12"/>
                </a:lnTo>
                <a:lnTo>
                  <a:pt x="173" y="12"/>
                </a:lnTo>
                <a:lnTo>
                  <a:pt x="171" y="14"/>
                </a:lnTo>
                <a:lnTo>
                  <a:pt x="173" y="14"/>
                </a:lnTo>
                <a:lnTo>
                  <a:pt x="175" y="14"/>
                </a:lnTo>
                <a:lnTo>
                  <a:pt x="177" y="15"/>
                </a:lnTo>
                <a:lnTo>
                  <a:pt x="177" y="14"/>
                </a:lnTo>
                <a:lnTo>
                  <a:pt x="178" y="15"/>
                </a:lnTo>
                <a:lnTo>
                  <a:pt x="182" y="15"/>
                </a:lnTo>
                <a:lnTo>
                  <a:pt x="182" y="14"/>
                </a:lnTo>
                <a:lnTo>
                  <a:pt x="183" y="10"/>
                </a:lnTo>
                <a:lnTo>
                  <a:pt x="185" y="10"/>
                </a:lnTo>
                <a:lnTo>
                  <a:pt x="185" y="9"/>
                </a:lnTo>
                <a:lnTo>
                  <a:pt x="183" y="7"/>
                </a:lnTo>
                <a:lnTo>
                  <a:pt x="185" y="5"/>
                </a:lnTo>
                <a:lnTo>
                  <a:pt x="187" y="5"/>
                </a:lnTo>
                <a:lnTo>
                  <a:pt x="188" y="7"/>
                </a:lnTo>
                <a:lnTo>
                  <a:pt x="190" y="7"/>
                </a:lnTo>
                <a:lnTo>
                  <a:pt x="190" y="4"/>
                </a:lnTo>
                <a:lnTo>
                  <a:pt x="192" y="2"/>
                </a:lnTo>
                <a:lnTo>
                  <a:pt x="195" y="2"/>
                </a:lnTo>
                <a:lnTo>
                  <a:pt x="197" y="4"/>
                </a:lnTo>
                <a:lnTo>
                  <a:pt x="199" y="4"/>
                </a:lnTo>
                <a:lnTo>
                  <a:pt x="200" y="5"/>
                </a:lnTo>
                <a:lnTo>
                  <a:pt x="202" y="4"/>
                </a:lnTo>
                <a:lnTo>
                  <a:pt x="204" y="4"/>
                </a:lnTo>
                <a:lnTo>
                  <a:pt x="204" y="2"/>
                </a:lnTo>
                <a:lnTo>
                  <a:pt x="207" y="2"/>
                </a:lnTo>
                <a:lnTo>
                  <a:pt x="209" y="0"/>
                </a:lnTo>
                <a:lnTo>
                  <a:pt x="211" y="2"/>
                </a:lnTo>
                <a:lnTo>
                  <a:pt x="212" y="2"/>
                </a:lnTo>
                <a:lnTo>
                  <a:pt x="216" y="4"/>
                </a:lnTo>
                <a:lnTo>
                  <a:pt x="216" y="5"/>
                </a:lnTo>
                <a:lnTo>
                  <a:pt x="217" y="4"/>
                </a:lnTo>
                <a:lnTo>
                  <a:pt x="219" y="4"/>
                </a:lnTo>
                <a:lnTo>
                  <a:pt x="219" y="5"/>
                </a:lnTo>
                <a:lnTo>
                  <a:pt x="221" y="4"/>
                </a:lnTo>
                <a:lnTo>
                  <a:pt x="222" y="5"/>
                </a:lnTo>
                <a:lnTo>
                  <a:pt x="224" y="5"/>
                </a:lnTo>
                <a:lnTo>
                  <a:pt x="226" y="7"/>
                </a:lnTo>
                <a:lnTo>
                  <a:pt x="228" y="9"/>
                </a:lnTo>
                <a:lnTo>
                  <a:pt x="229" y="9"/>
                </a:lnTo>
                <a:lnTo>
                  <a:pt x="229" y="10"/>
                </a:lnTo>
                <a:lnTo>
                  <a:pt x="229" y="14"/>
                </a:lnTo>
                <a:lnTo>
                  <a:pt x="231" y="14"/>
                </a:lnTo>
                <a:lnTo>
                  <a:pt x="233" y="14"/>
                </a:lnTo>
                <a:lnTo>
                  <a:pt x="234" y="14"/>
                </a:lnTo>
                <a:lnTo>
                  <a:pt x="236" y="15"/>
                </a:lnTo>
                <a:lnTo>
                  <a:pt x="238" y="14"/>
                </a:lnTo>
                <a:lnTo>
                  <a:pt x="239" y="17"/>
                </a:lnTo>
                <a:lnTo>
                  <a:pt x="241" y="17"/>
                </a:lnTo>
                <a:lnTo>
                  <a:pt x="243" y="17"/>
                </a:lnTo>
                <a:lnTo>
                  <a:pt x="245" y="15"/>
                </a:lnTo>
                <a:lnTo>
                  <a:pt x="246" y="17"/>
                </a:lnTo>
                <a:lnTo>
                  <a:pt x="248" y="19"/>
                </a:lnTo>
                <a:lnTo>
                  <a:pt x="250" y="19"/>
                </a:lnTo>
                <a:lnTo>
                  <a:pt x="251" y="19"/>
                </a:lnTo>
                <a:lnTo>
                  <a:pt x="255" y="19"/>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87" name="Freeform 32">
            <a:extLst>
              <a:ext uri="{FF2B5EF4-FFF2-40B4-BE49-F238E27FC236}">
                <a16:creationId xmlns:a16="http://schemas.microsoft.com/office/drawing/2014/main" id="{71FC1610-4804-441F-90C2-0A977D42AAEE}"/>
              </a:ext>
            </a:extLst>
          </p:cNvPr>
          <p:cNvSpPr>
            <a:spLocks noEditPoints="1"/>
          </p:cNvSpPr>
          <p:nvPr/>
        </p:nvSpPr>
        <p:spPr bwMode="gray">
          <a:xfrm>
            <a:off x="2515038" y="2378620"/>
            <a:ext cx="1092716" cy="1558307"/>
          </a:xfrm>
          <a:custGeom>
            <a:avLst/>
            <a:gdLst>
              <a:gd name="T0" fmla="*/ 114 w 401"/>
              <a:gd name="T1" fmla="*/ 510 h 546"/>
              <a:gd name="T2" fmla="*/ 90 w 401"/>
              <a:gd name="T3" fmla="*/ 524 h 546"/>
              <a:gd name="T4" fmla="*/ 68 w 401"/>
              <a:gd name="T5" fmla="*/ 491 h 546"/>
              <a:gd name="T6" fmla="*/ 93 w 401"/>
              <a:gd name="T7" fmla="*/ 437 h 546"/>
              <a:gd name="T8" fmla="*/ 61 w 401"/>
              <a:gd name="T9" fmla="*/ 410 h 546"/>
              <a:gd name="T10" fmla="*/ 31 w 401"/>
              <a:gd name="T11" fmla="*/ 401 h 546"/>
              <a:gd name="T12" fmla="*/ 15 w 401"/>
              <a:gd name="T13" fmla="*/ 360 h 546"/>
              <a:gd name="T14" fmla="*/ 20 w 401"/>
              <a:gd name="T15" fmla="*/ 320 h 546"/>
              <a:gd name="T16" fmla="*/ 8 w 401"/>
              <a:gd name="T17" fmla="*/ 286 h 546"/>
              <a:gd name="T18" fmla="*/ 17 w 401"/>
              <a:gd name="T19" fmla="*/ 253 h 546"/>
              <a:gd name="T20" fmla="*/ 22 w 401"/>
              <a:gd name="T21" fmla="*/ 221 h 546"/>
              <a:gd name="T22" fmla="*/ 56 w 401"/>
              <a:gd name="T23" fmla="*/ 195 h 546"/>
              <a:gd name="T24" fmla="*/ 58 w 401"/>
              <a:gd name="T25" fmla="*/ 161 h 546"/>
              <a:gd name="T26" fmla="*/ 68 w 401"/>
              <a:gd name="T27" fmla="*/ 119 h 546"/>
              <a:gd name="T28" fmla="*/ 88 w 401"/>
              <a:gd name="T29" fmla="*/ 95 h 546"/>
              <a:gd name="T30" fmla="*/ 112 w 401"/>
              <a:gd name="T31" fmla="*/ 102 h 546"/>
              <a:gd name="T32" fmla="*/ 124 w 401"/>
              <a:gd name="T33" fmla="*/ 83 h 546"/>
              <a:gd name="T34" fmla="*/ 173 w 401"/>
              <a:gd name="T35" fmla="*/ 109 h 546"/>
              <a:gd name="T36" fmla="*/ 143 w 401"/>
              <a:gd name="T37" fmla="*/ 81 h 546"/>
              <a:gd name="T38" fmla="*/ 126 w 401"/>
              <a:gd name="T39" fmla="*/ 56 h 546"/>
              <a:gd name="T40" fmla="*/ 134 w 401"/>
              <a:gd name="T41" fmla="*/ 37 h 546"/>
              <a:gd name="T42" fmla="*/ 114 w 401"/>
              <a:gd name="T43" fmla="*/ 15 h 546"/>
              <a:gd name="T44" fmla="*/ 134 w 401"/>
              <a:gd name="T45" fmla="*/ 12 h 546"/>
              <a:gd name="T46" fmla="*/ 180 w 401"/>
              <a:gd name="T47" fmla="*/ 20 h 546"/>
              <a:gd name="T48" fmla="*/ 178 w 401"/>
              <a:gd name="T49" fmla="*/ 30 h 546"/>
              <a:gd name="T50" fmla="*/ 190 w 401"/>
              <a:gd name="T51" fmla="*/ 46 h 546"/>
              <a:gd name="T52" fmla="*/ 223 w 401"/>
              <a:gd name="T53" fmla="*/ 64 h 546"/>
              <a:gd name="T54" fmla="*/ 233 w 401"/>
              <a:gd name="T55" fmla="*/ 76 h 546"/>
              <a:gd name="T56" fmla="*/ 267 w 401"/>
              <a:gd name="T57" fmla="*/ 64 h 546"/>
              <a:gd name="T58" fmla="*/ 294 w 401"/>
              <a:gd name="T59" fmla="*/ 42 h 546"/>
              <a:gd name="T60" fmla="*/ 282 w 401"/>
              <a:gd name="T61" fmla="*/ 51 h 546"/>
              <a:gd name="T62" fmla="*/ 318 w 401"/>
              <a:gd name="T63" fmla="*/ 61 h 546"/>
              <a:gd name="T64" fmla="*/ 342 w 401"/>
              <a:gd name="T65" fmla="*/ 85 h 546"/>
              <a:gd name="T66" fmla="*/ 365 w 401"/>
              <a:gd name="T67" fmla="*/ 124 h 546"/>
              <a:gd name="T68" fmla="*/ 377 w 401"/>
              <a:gd name="T69" fmla="*/ 168 h 546"/>
              <a:gd name="T70" fmla="*/ 382 w 401"/>
              <a:gd name="T71" fmla="*/ 217 h 546"/>
              <a:gd name="T72" fmla="*/ 399 w 401"/>
              <a:gd name="T73" fmla="*/ 275 h 546"/>
              <a:gd name="T74" fmla="*/ 371 w 401"/>
              <a:gd name="T75" fmla="*/ 277 h 546"/>
              <a:gd name="T76" fmla="*/ 337 w 401"/>
              <a:gd name="T77" fmla="*/ 304 h 546"/>
              <a:gd name="T78" fmla="*/ 294 w 401"/>
              <a:gd name="T79" fmla="*/ 325 h 546"/>
              <a:gd name="T80" fmla="*/ 286 w 401"/>
              <a:gd name="T81" fmla="*/ 348 h 546"/>
              <a:gd name="T82" fmla="*/ 304 w 401"/>
              <a:gd name="T83" fmla="*/ 393 h 546"/>
              <a:gd name="T84" fmla="*/ 354 w 401"/>
              <a:gd name="T85" fmla="*/ 430 h 546"/>
              <a:gd name="T86" fmla="*/ 338 w 401"/>
              <a:gd name="T87" fmla="*/ 466 h 546"/>
              <a:gd name="T88" fmla="*/ 320 w 401"/>
              <a:gd name="T89" fmla="*/ 512 h 546"/>
              <a:gd name="T90" fmla="*/ 297 w 401"/>
              <a:gd name="T91" fmla="*/ 517 h 546"/>
              <a:gd name="T92" fmla="*/ 257 w 401"/>
              <a:gd name="T93" fmla="*/ 527 h 546"/>
              <a:gd name="T94" fmla="*/ 214 w 401"/>
              <a:gd name="T95" fmla="*/ 525 h 546"/>
              <a:gd name="T96" fmla="*/ 185 w 401"/>
              <a:gd name="T97" fmla="*/ 537 h 546"/>
              <a:gd name="T98" fmla="*/ 143 w 401"/>
              <a:gd name="T99" fmla="*/ 510 h 546"/>
              <a:gd name="T100" fmla="*/ 328 w 401"/>
              <a:gd name="T101" fmla="*/ 42 h 546"/>
              <a:gd name="T102" fmla="*/ 316 w 401"/>
              <a:gd name="T103" fmla="*/ 54 h 546"/>
              <a:gd name="T104" fmla="*/ 316 w 401"/>
              <a:gd name="T105" fmla="*/ 34 h 546"/>
              <a:gd name="T106" fmla="*/ 313 w 401"/>
              <a:gd name="T107" fmla="*/ 34 h 546"/>
              <a:gd name="T108" fmla="*/ 342 w 401"/>
              <a:gd name="T109" fmla="*/ 80 h 546"/>
              <a:gd name="T110" fmla="*/ 335 w 401"/>
              <a:gd name="T111" fmla="*/ 59 h 546"/>
              <a:gd name="T112" fmla="*/ 226 w 401"/>
              <a:gd name="T113" fmla="*/ 37 h 546"/>
              <a:gd name="T114" fmla="*/ 48 w 401"/>
              <a:gd name="T115" fmla="*/ 102 h 546"/>
              <a:gd name="T116" fmla="*/ 78 w 401"/>
              <a:gd name="T117" fmla="*/ 92 h 546"/>
              <a:gd name="T118" fmla="*/ 309 w 401"/>
              <a:gd name="T119" fmla="*/ 30 h 546"/>
              <a:gd name="T120" fmla="*/ 104 w 401"/>
              <a:gd name="T121" fmla="*/ 93 h 546"/>
              <a:gd name="T122" fmla="*/ 306 w 401"/>
              <a:gd name="T123" fmla="*/ 41 h 546"/>
              <a:gd name="T124" fmla="*/ 158 w 401"/>
              <a:gd name="T125" fmla="*/ 95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1" h="546">
                <a:moveTo>
                  <a:pt x="139" y="517"/>
                </a:moveTo>
                <a:lnTo>
                  <a:pt x="139" y="515"/>
                </a:lnTo>
                <a:lnTo>
                  <a:pt x="136" y="513"/>
                </a:lnTo>
                <a:lnTo>
                  <a:pt x="134" y="512"/>
                </a:lnTo>
                <a:lnTo>
                  <a:pt x="136" y="513"/>
                </a:lnTo>
                <a:lnTo>
                  <a:pt x="133" y="513"/>
                </a:lnTo>
                <a:lnTo>
                  <a:pt x="131" y="513"/>
                </a:lnTo>
                <a:lnTo>
                  <a:pt x="133" y="513"/>
                </a:lnTo>
                <a:lnTo>
                  <a:pt x="134" y="515"/>
                </a:lnTo>
                <a:lnTo>
                  <a:pt x="134" y="517"/>
                </a:lnTo>
                <a:lnTo>
                  <a:pt x="133" y="519"/>
                </a:lnTo>
                <a:lnTo>
                  <a:pt x="131" y="519"/>
                </a:lnTo>
                <a:lnTo>
                  <a:pt x="129" y="519"/>
                </a:lnTo>
                <a:lnTo>
                  <a:pt x="127" y="517"/>
                </a:lnTo>
                <a:lnTo>
                  <a:pt x="129" y="515"/>
                </a:lnTo>
                <a:lnTo>
                  <a:pt x="126" y="515"/>
                </a:lnTo>
                <a:lnTo>
                  <a:pt x="126" y="513"/>
                </a:lnTo>
                <a:lnTo>
                  <a:pt x="124" y="513"/>
                </a:lnTo>
                <a:lnTo>
                  <a:pt x="126" y="515"/>
                </a:lnTo>
                <a:lnTo>
                  <a:pt x="124" y="517"/>
                </a:lnTo>
                <a:lnTo>
                  <a:pt x="122" y="517"/>
                </a:lnTo>
                <a:lnTo>
                  <a:pt x="122" y="515"/>
                </a:lnTo>
                <a:lnTo>
                  <a:pt x="122" y="513"/>
                </a:lnTo>
                <a:lnTo>
                  <a:pt x="121" y="513"/>
                </a:lnTo>
                <a:lnTo>
                  <a:pt x="122" y="512"/>
                </a:lnTo>
                <a:lnTo>
                  <a:pt x="121" y="512"/>
                </a:lnTo>
                <a:lnTo>
                  <a:pt x="119" y="508"/>
                </a:lnTo>
                <a:lnTo>
                  <a:pt x="119" y="510"/>
                </a:lnTo>
                <a:lnTo>
                  <a:pt x="117" y="512"/>
                </a:lnTo>
                <a:lnTo>
                  <a:pt x="117" y="508"/>
                </a:lnTo>
                <a:lnTo>
                  <a:pt x="114" y="508"/>
                </a:lnTo>
                <a:lnTo>
                  <a:pt x="114" y="510"/>
                </a:lnTo>
                <a:lnTo>
                  <a:pt x="114" y="508"/>
                </a:lnTo>
                <a:lnTo>
                  <a:pt x="112" y="510"/>
                </a:lnTo>
                <a:lnTo>
                  <a:pt x="110" y="510"/>
                </a:lnTo>
                <a:lnTo>
                  <a:pt x="109" y="512"/>
                </a:lnTo>
                <a:lnTo>
                  <a:pt x="109" y="513"/>
                </a:lnTo>
                <a:lnTo>
                  <a:pt x="107" y="515"/>
                </a:lnTo>
                <a:lnTo>
                  <a:pt x="107" y="517"/>
                </a:lnTo>
                <a:lnTo>
                  <a:pt x="109" y="519"/>
                </a:lnTo>
                <a:lnTo>
                  <a:pt x="112" y="519"/>
                </a:lnTo>
                <a:lnTo>
                  <a:pt x="114" y="517"/>
                </a:lnTo>
                <a:lnTo>
                  <a:pt x="114" y="519"/>
                </a:lnTo>
                <a:lnTo>
                  <a:pt x="116" y="517"/>
                </a:lnTo>
                <a:lnTo>
                  <a:pt x="117" y="519"/>
                </a:lnTo>
                <a:lnTo>
                  <a:pt x="116" y="519"/>
                </a:lnTo>
                <a:lnTo>
                  <a:pt x="116" y="522"/>
                </a:lnTo>
                <a:lnTo>
                  <a:pt x="114" y="522"/>
                </a:lnTo>
                <a:lnTo>
                  <a:pt x="114" y="520"/>
                </a:lnTo>
                <a:lnTo>
                  <a:pt x="112" y="520"/>
                </a:lnTo>
                <a:lnTo>
                  <a:pt x="110" y="520"/>
                </a:lnTo>
                <a:lnTo>
                  <a:pt x="109" y="522"/>
                </a:lnTo>
                <a:lnTo>
                  <a:pt x="109" y="524"/>
                </a:lnTo>
                <a:lnTo>
                  <a:pt x="110" y="524"/>
                </a:lnTo>
                <a:lnTo>
                  <a:pt x="107" y="524"/>
                </a:lnTo>
                <a:lnTo>
                  <a:pt x="105" y="524"/>
                </a:lnTo>
                <a:lnTo>
                  <a:pt x="102" y="524"/>
                </a:lnTo>
                <a:lnTo>
                  <a:pt x="100" y="522"/>
                </a:lnTo>
                <a:lnTo>
                  <a:pt x="99" y="522"/>
                </a:lnTo>
                <a:lnTo>
                  <a:pt x="97" y="520"/>
                </a:lnTo>
                <a:lnTo>
                  <a:pt x="95" y="522"/>
                </a:lnTo>
                <a:lnTo>
                  <a:pt x="92" y="524"/>
                </a:lnTo>
                <a:lnTo>
                  <a:pt x="92" y="525"/>
                </a:lnTo>
                <a:lnTo>
                  <a:pt x="90" y="524"/>
                </a:lnTo>
                <a:lnTo>
                  <a:pt x="88" y="525"/>
                </a:lnTo>
                <a:lnTo>
                  <a:pt x="85" y="524"/>
                </a:lnTo>
                <a:lnTo>
                  <a:pt x="85" y="525"/>
                </a:lnTo>
                <a:lnTo>
                  <a:pt x="83" y="525"/>
                </a:lnTo>
                <a:lnTo>
                  <a:pt x="82" y="522"/>
                </a:lnTo>
                <a:lnTo>
                  <a:pt x="80" y="522"/>
                </a:lnTo>
                <a:lnTo>
                  <a:pt x="78" y="522"/>
                </a:lnTo>
                <a:lnTo>
                  <a:pt x="78" y="524"/>
                </a:lnTo>
                <a:lnTo>
                  <a:pt x="75" y="525"/>
                </a:lnTo>
                <a:lnTo>
                  <a:pt x="73" y="525"/>
                </a:lnTo>
                <a:lnTo>
                  <a:pt x="71" y="525"/>
                </a:lnTo>
                <a:lnTo>
                  <a:pt x="70" y="524"/>
                </a:lnTo>
                <a:lnTo>
                  <a:pt x="71" y="524"/>
                </a:lnTo>
                <a:lnTo>
                  <a:pt x="71" y="522"/>
                </a:lnTo>
                <a:lnTo>
                  <a:pt x="73" y="520"/>
                </a:lnTo>
                <a:lnTo>
                  <a:pt x="70" y="522"/>
                </a:lnTo>
                <a:lnTo>
                  <a:pt x="68" y="522"/>
                </a:lnTo>
                <a:lnTo>
                  <a:pt x="66" y="519"/>
                </a:lnTo>
                <a:lnTo>
                  <a:pt x="65" y="517"/>
                </a:lnTo>
                <a:lnTo>
                  <a:pt x="65" y="513"/>
                </a:lnTo>
                <a:lnTo>
                  <a:pt x="66" y="512"/>
                </a:lnTo>
                <a:lnTo>
                  <a:pt x="65" y="508"/>
                </a:lnTo>
                <a:lnTo>
                  <a:pt x="66" y="508"/>
                </a:lnTo>
                <a:lnTo>
                  <a:pt x="66" y="505"/>
                </a:lnTo>
                <a:lnTo>
                  <a:pt x="66" y="503"/>
                </a:lnTo>
                <a:lnTo>
                  <a:pt x="66" y="502"/>
                </a:lnTo>
                <a:lnTo>
                  <a:pt x="68" y="500"/>
                </a:lnTo>
                <a:lnTo>
                  <a:pt x="68" y="498"/>
                </a:lnTo>
                <a:lnTo>
                  <a:pt x="70" y="496"/>
                </a:lnTo>
                <a:lnTo>
                  <a:pt x="70" y="495"/>
                </a:lnTo>
                <a:lnTo>
                  <a:pt x="70" y="493"/>
                </a:lnTo>
                <a:lnTo>
                  <a:pt x="68" y="491"/>
                </a:lnTo>
                <a:lnTo>
                  <a:pt x="68" y="490"/>
                </a:lnTo>
                <a:lnTo>
                  <a:pt x="68" y="488"/>
                </a:lnTo>
                <a:lnTo>
                  <a:pt x="68" y="485"/>
                </a:lnTo>
                <a:lnTo>
                  <a:pt x="70" y="483"/>
                </a:lnTo>
                <a:lnTo>
                  <a:pt x="70" y="481"/>
                </a:lnTo>
                <a:lnTo>
                  <a:pt x="71" y="479"/>
                </a:lnTo>
                <a:lnTo>
                  <a:pt x="71" y="478"/>
                </a:lnTo>
                <a:lnTo>
                  <a:pt x="73" y="478"/>
                </a:lnTo>
                <a:lnTo>
                  <a:pt x="73" y="476"/>
                </a:lnTo>
                <a:lnTo>
                  <a:pt x="73" y="474"/>
                </a:lnTo>
                <a:lnTo>
                  <a:pt x="75" y="473"/>
                </a:lnTo>
                <a:lnTo>
                  <a:pt x="76" y="471"/>
                </a:lnTo>
                <a:lnTo>
                  <a:pt x="76" y="469"/>
                </a:lnTo>
                <a:lnTo>
                  <a:pt x="76" y="468"/>
                </a:lnTo>
                <a:lnTo>
                  <a:pt x="76" y="466"/>
                </a:lnTo>
                <a:lnTo>
                  <a:pt x="76" y="464"/>
                </a:lnTo>
                <a:lnTo>
                  <a:pt x="78" y="462"/>
                </a:lnTo>
                <a:lnTo>
                  <a:pt x="78" y="461"/>
                </a:lnTo>
                <a:lnTo>
                  <a:pt x="78" y="459"/>
                </a:lnTo>
                <a:lnTo>
                  <a:pt x="80" y="457"/>
                </a:lnTo>
                <a:lnTo>
                  <a:pt x="80" y="454"/>
                </a:lnTo>
                <a:lnTo>
                  <a:pt x="80" y="452"/>
                </a:lnTo>
                <a:lnTo>
                  <a:pt x="82" y="451"/>
                </a:lnTo>
                <a:lnTo>
                  <a:pt x="82" y="449"/>
                </a:lnTo>
                <a:lnTo>
                  <a:pt x="85" y="447"/>
                </a:lnTo>
                <a:lnTo>
                  <a:pt x="85" y="445"/>
                </a:lnTo>
                <a:lnTo>
                  <a:pt x="87" y="444"/>
                </a:lnTo>
                <a:lnTo>
                  <a:pt x="88" y="442"/>
                </a:lnTo>
                <a:lnTo>
                  <a:pt x="88" y="440"/>
                </a:lnTo>
                <a:lnTo>
                  <a:pt x="90" y="440"/>
                </a:lnTo>
                <a:lnTo>
                  <a:pt x="90" y="439"/>
                </a:lnTo>
                <a:lnTo>
                  <a:pt x="93" y="437"/>
                </a:lnTo>
                <a:lnTo>
                  <a:pt x="95" y="435"/>
                </a:lnTo>
                <a:lnTo>
                  <a:pt x="95" y="432"/>
                </a:lnTo>
                <a:lnTo>
                  <a:pt x="97" y="430"/>
                </a:lnTo>
                <a:lnTo>
                  <a:pt x="99" y="428"/>
                </a:lnTo>
                <a:lnTo>
                  <a:pt x="99" y="427"/>
                </a:lnTo>
                <a:lnTo>
                  <a:pt x="100" y="427"/>
                </a:lnTo>
                <a:lnTo>
                  <a:pt x="100" y="425"/>
                </a:lnTo>
                <a:lnTo>
                  <a:pt x="99" y="427"/>
                </a:lnTo>
                <a:lnTo>
                  <a:pt x="99" y="425"/>
                </a:lnTo>
                <a:lnTo>
                  <a:pt x="97" y="425"/>
                </a:lnTo>
                <a:lnTo>
                  <a:pt x="93" y="425"/>
                </a:lnTo>
                <a:lnTo>
                  <a:pt x="92" y="423"/>
                </a:lnTo>
                <a:lnTo>
                  <a:pt x="90" y="422"/>
                </a:lnTo>
                <a:lnTo>
                  <a:pt x="88" y="422"/>
                </a:lnTo>
                <a:lnTo>
                  <a:pt x="87" y="420"/>
                </a:lnTo>
                <a:lnTo>
                  <a:pt x="85" y="420"/>
                </a:lnTo>
                <a:lnTo>
                  <a:pt x="83" y="422"/>
                </a:lnTo>
                <a:lnTo>
                  <a:pt x="83" y="420"/>
                </a:lnTo>
                <a:lnTo>
                  <a:pt x="80" y="418"/>
                </a:lnTo>
                <a:lnTo>
                  <a:pt x="78" y="420"/>
                </a:lnTo>
                <a:lnTo>
                  <a:pt x="75" y="420"/>
                </a:lnTo>
                <a:lnTo>
                  <a:pt x="73" y="420"/>
                </a:lnTo>
                <a:lnTo>
                  <a:pt x="73" y="418"/>
                </a:lnTo>
                <a:lnTo>
                  <a:pt x="70" y="417"/>
                </a:lnTo>
                <a:lnTo>
                  <a:pt x="68" y="417"/>
                </a:lnTo>
                <a:lnTo>
                  <a:pt x="68" y="415"/>
                </a:lnTo>
                <a:lnTo>
                  <a:pt x="66" y="413"/>
                </a:lnTo>
                <a:lnTo>
                  <a:pt x="68" y="411"/>
                </a:lnTo>
                <a:lnTo>
                  <a:pt x="66" y="411"/>
                </a:lnTo>
                <a:lnTo>
                  <a:pt x="65" y="411"/>
                </a:lnTo>
                <a:lnTo>
                  <a:pt x="65" y="410"/>
                </a:lnTo>
                <a:lnTo>
                  <a:pt x="61" y="410"/>
                </a:lnTo>
                <a:lnTo>
                  <a:pt x="61" y="413"/>
                </a:lnTo>
                <a:lnTo>
                  <a:pt x="59" y="413"/>
                </a:lnTo>
                <a:lnTo>
                  <a:pt x="58" y="415"/>
                </a:lnTo>
                <a:lnTo>
                  <a:pt x="56" y="413"/>
                </a:lnTo>
                <a:lnTo>
                  <a:pt x="53" y="415"/>
                </a:lnTo>
                <a:lnTo>
                  <a:pt x="53" y="413"/>
                </a:lnTo>
                <a:lnTo>
                  <a:pt x="51" y="413"/>
                </a:lnTo>
                <a:lnTo>
                  <a:pt x="51" y="411"/>
                </a:lnTo>
                <a:lnTo>
                  <a:pt x="49" y="413"/>
                </a:lnTo>
                <a:lnTo>
                  <a:pt x="49" y="411"/>
                </a:lnTo>
                <a:lnTo>
                  <a:pt x="48" y="411"/>
                </a:lnTo>
                <a:lnTo>
                  <a:pt x="49" y="413"/>
                </a:lnTo>
                <a:lnTo>
                  <a:pt x="46" y="415"/>
                </a:lnTo>
                <a:lnTo>
                  <a:pt x="46" y="411"/>
                </a:lnTo>
                <a:lnTo>
                  <a:pt x="46" y="410"/>
                </a:lnTo>
                <a:lnTo>
                  <a:pt x="46" y="408"/>
                </a:lnTo>
                <a:lnTo>
                  <a:pt x="44" y="408"/>
                </a:lnTo>
                <a:lnTo>
                  <a:pt x="44" y="406"/>
                </a:lnTo>
                <a:lnTo>
                  <a:pt x="42" y="408"/>
                </a:lnTo>
                <a:lnTo>
                  <a:pt x="42" y="406"/>
                </a:lnTo>
                <a:lnTo>
                  <a:pt x="39" y="406"/>
                </a:lnTo>
                <a:lnTo>
                  <a:pt x="37" y="406"/>
                </a:lnTo>
                <a:lnTo>
                  <a:pt x="37" y="408"/>
                </a:lnTo>
                <a:lnTo>
                  <a:pt x="37" y="411"/>
                </a:lnTo>
                <a:lnTo>
                  <a:pt x="34" y="410"/>
                </a:lnTo>
                <a:lnTo>
                  <a:pt x="32" y="410"/>
                </a:lnTo>
                <a:lnTo>
                  <a:pt x="31" y="408"/>
                </a:lnTo>
                <a:lnTo>
                  <a:pt x="32" y="406"/>
                </a:lnTo>
                <a:lnTo>
                  <a:pt x="31" y="406"/>
                </a:lnTo>
                <a:lnTo>
                  <a:pt x="31" y="403"/>
                </a:lnTo>
                <a:lnTo>
                  <a:pt x="29" y="403"/>
                </a:lnTo>
                <a:lnTo>
                  <a:pt x="31" y="401"/>
                </a:lnTo>
                <a:lnTo>
                  <a:pt x="27" y="399"/>
                </a:lnTo>
                <a:lnTo>
                  <a:pt x="27" y="398"/>
                </a:lnTo>
                <a:lnTo>
                  <a:pt x="25" y="396"/>
                </a:lnTo>
                <a:lnTo>
                  <a:pt x="27" y="396"/>
                </a:lnTo>
                <a:lnTo>
                  <a:pt x="25" y="394"/>
                </a:lnTo>
                <a:lnTo>
                  <a:pt x="24" y="393"/>
                </a:lnTo>
                <a:lnTo>
                  <a:pt x="25" y="391"/>
                </a:lnTo>
                <a:lnTo>
                  <a:pt x="24" y="391"/>
                </a:lnTo>
                <a:lnTo>
                  <a:pt x="22" y="389"/>
                </a:lnTo>
                <a:lnTo>
                  <a:pt x="20" y="388"/>
                </a:lnTo>
                <a:lnTo>
                  <a:pt x="19" y="388"/>
                </a:lnTo>
                <a:lnTo>
                  <a:pt x="17" y="388"/>
                </a:lnTo>
                <a:lnTo>
                  <a:pt x="17" y="386"/>
                </a:lnTo>
                <a:lnTo>
                  <a:pt x="17" y="384"/>
                </a:lnTo>
                <a:lnTo>
                  <a:pt x="17" y="381"/>
                </a:lnTo>
                <a:lnTo>
                  <a:pt x="17" y="379"/>
                </a:lnTo>
                <a:lnTo>
                  <a:pt x="19" y="377"/>
                </a:lnTo>
                <a:lnTo>
                  <a:pt x="20" y="376"/>
                </a:lnTo>
                <a:lnTo>
                  <a:pt x="20" y="374"/>
                </a:lnTo>
                <a:lnTo>
                  <a:pt x="22" y="372"/>
                </a:lnTo>
                <a:lnTo>
                  <a:pt x="24" y="371"/>
                </a:lnTo>
                <a:lnTo>
                  <a:pt x="24" y="369"/>
                </a:lnTo>
                <a:lnTo>
                  <a:pt x="24" y="367"/>
                </a:lnTo>
                <a:lnTo>
                  <a:pt x="24" y="365"/>
                </a:lnTo>
                <a:lnTo>
                  <a:pt x="25" y="364"/>
                </a:lnTo>
                <a:lnTo>
                  <a:pt x="24" y="365"/>
                </a:lnTo>
                <a:lnTo>
                  <a:pt x="22" y="364"/>
                </a:lnTo>
                <a:lnTo>
                  <a:pt x="20" y="364"/>
                </a:lnTo>
                <a:lnTo>
                  <a:pt x="19" y="364"/>
                </a:lnTo>
                <a:lnTo>
                  <a:pt x="17" y="360"/>
                </a:lnTo>
                <a:lnTo>
                  <a:pt x="15" y="362"/>
                </a:lnTo>
                <a:lnTo>
                  <a:pt x="15" y="360"/>
                </a:lnTo>
                <a:lnTo>
                  <a:pt x="15" y="359"/>
                </a:lnTo>
                <a:lnTo>
                  <a:pt x="14" y="359"/>
                </a:lnTo>
                <a:lnTo>
                  <a:pt x="12" y="357"/>
                </a:lnTo>
                <a:lnTo>
                  <a:pt x="12" y="355"/>
                </a:lnTo>
                <a:lnTo>
                  <a:pt x="12" y="354"/>
                </a:lnTo>
                <a:lnTo>
                  <a:pt x="10" y="354"/>
                </a:lnTo>
                <a:lnTo>
                  <a:pt x="10" y="352"/>
                </a:lnTo>
                <a:lnTo>
                  <a:pt x="10" y="354"/>
                </a:lnTo>
                <a:lnTo>
                  <a:pt x="10" y="352"/>
                </a:lnTo>
                <a:lnTo>
                  <a:pt x="8" y="350"/>
                </a:lnTo>
                <a:lnTo>
                  <a:pt x="8" y="348"/>
                </a:lnTo>
                <a:lnTo>
                  <a:pt x="7" y="345"/>
                </a:lnTo>
                <a:lnTo>
                  <a:pt x="8" y="345"/>
                </a:lnTo>
                <a:lnTo>
                  <a:pt x="7" y="345"/>
                </a:lnTo>
                <a:lnTo>
                  <a:pt x="8" y="343"/>
                </a:lnTo>
                <a:lnTo>
                  <a:pt x="8" y="342"/>
                </a:lnTo>
                <a:lnTo>
                  <a:pt x="10" y="340"/>
                </a:lnTo>
                <a:lnTo>
                  <a:pt x="8" y="340"/>
                </a:lnTo>
                <a:lnTo>
                  <a:pt x="8" y="338"/>
                </a:lnTo>
                <a:lnTo>
                  <a:pt x="12" y="338"/>
                </a:lnTo>
                <a:lnTo>
                  <a:pt x="10" y="335"/>
                </a:lnTo>
                <a:lnTo>
                  <a:pt x="10" y="333"/>
                </a:lnTo>
                <a:lnTo>
                  <a:pt x="12" y="331"/>
                </a:lnTo>
                <a:lnTo>
                  <a:pt x="15" y="331"/>
                </a:lnTo>
                <a:lnTo>
                  <a:pt x="17" y="328"/>
                </a:lnTo>
                <a:lnTo>
                  <a:pt x="19" y="328"/>
                </a:lnTo>
                <a:lnTo>
                  <a:pt x="19" y="330"/>
                </a:lnTo>
                <a:lnTo>
                  <a:pt x="22" y="326"/>
                </a:lnTo>
                <a:lnTo>
                  <a:pt x="20" y="326"/>
                </a:lnTo>
                <a:lnTo>
                  <a:pt x="19" y="325"/>
                </a:lnTo>
                <a:lnTo>
                  <a:pt x="20" y="321"/>
                </a:lnTo>
                <a:lnTo>
                  <a:pt x="20" y="320"/>
                </a:lnTo>
                <a:lnTo>
                  <a:pt x="19" y="318"/>
                </a:lnTo>
                <a:lnTo>
                  <a:pt x="19" y="316"/>
                </a:lnTo>
                <a:lnTo>
                  <a:pt x="17" y="316"/>
                </a:lnTo>
                <a:lnTo>
                  <a:pt x="15" y="314"/>
                </a:lnTo>
                <a:lnTo>
                  <a:pt x="14" y="316"/>
                </a:lnTo>
                <a:lnTo>
                  <a:pt x="12" y="313"/>
                </a:lnTo>
                <a:lnTo>
                  <a:pt x="14" y="313"/>
                </a:lnTo>
                <a:lnTo>
                  <a:pt x="12" y="313"/>
                </a:lnTo>
                <a:lnTo>
                  <a:pt x="12" y="311"/>
                </a:lnTo>
                <a:lnTo>
                  <a:pt x="14" y="311"/>
                </a:lnTo>
                <a:lnTo>
                  <a:pt x="14" y="309"/>
                </a:lnTo>
                <a:lnTo>
                  <a:pt x="15" y="309"/>
                </a:lnTo>
                <a:lnTo>
                  <a:pt x="17" y="306"/>
                </a:lnTo>
                <a:lnTo>
                  <a:pt x="15" y="306"/>
                </a:lnTo>
                <a:lnTo>
                  <a:pt x="14" y="306"/>
                </a:lnTo>
                <a:lnTo>
                  <a:pt x="12" y="306"/>
                </a:lnTo>
                <a:lnTo>
                  <a:pt x="12" y="304"/>
                </a:lnTo>
                <a:lnTo>
                  <a:pt x="10" y="303"/>
                </a:lnTo>
                <a:lnTo>
                  <a:pt x="10" y="299"/>
                </a:lnTo>
                <a:lnTo>
                  <a:pt x="8" y="299"/>
                </a:lnTo>
                <a:lnTo>
                  <a:pt x="7" y="299"/>
                </a:lnTo>
                <a:lnTo>
                  <a:pt x="7" y="297"/>
                </a:lnTo>
                <a:lnTo>
                  <a:pt x="5" y="297"/>
                </a:lnTo>
                <a:lnTo>
                  <a:pt x="7" y="296"/>
                </a:lnTo>
                <a:lnTo>
                  <a:pt x="3" y="294"/>
                </a:lnTo>
                <a:lnTo>
                  <a:pt x="7" y="292"/>
                </a:lnTo>
                <a:lnTo>
                  <a:pt x="7" y="291"/>
                </a:lnTo>
                <a:lnTo>
                  <a:pt x="8" y="291"/>
                </a:lnTo>
                <a:lnTo>
                  <a:pt x="8" y="289"/>
                </a:lnTo>
                <a:lnTo>
                  <a:pt x="8" y="287"/>
                </a:lnTo>
                <a:lnTo>
                  <a:pt x="10" y="286"/>
                </a:lnTo>
                <a:lnTo>
                  <a:pt x="8" y="286"/>
                </a:lnTo>
                <a:lnTo>
                  <a:pt x="7" y="284"/>
                </a:lnTo>
                <a:lnTo>
                  <a:pt x="7" y="282"/>
                </a:lnTo>
                <a:lnTo>
                  <a:pt x="7" y="280"/>
                </a:lnTo>
                <a:lnTo>
                  <a:pt x="5" y="280"/>
                </a:lnTo>
                <a:lnTo>
                  <a:pt x="3" y="280"/>
                </a:lnTo>
                <a:lnTo>
                  <a:pt x="2" y="282"/>
                </a:lnTo>
                <a:lnTo>
                  <a:pt x="2" y="279"/>
                </a:lnTo>
                <a:lnTo>
                  <a:pt x="0" y="279"/>
                </a:lnTo>
                <a:lnTo>
                  <a:pt x="0" y="275"/>
                </a:lnTo>
                <a:lnTo>
                  <a:pt x="2" y="275"/>
                </a:lnTo>
                <a:lnTo>
                  <a:pt x="3" y="277"/>
                </a:lnTo>
                <a:lnTo>
                  <a:pt x="5" y="275"/>
                </a:lnTo>
                <a:lnTo>
                  <a:pt x="7" y="274"/>
                </a:lnTo>
                <a:lnTo>
                  <a:pt x="8" y="274"/>
                </a:lnTo>
                <a:lnTo>
                  <a:pt x="10" y="272"/>
                </a:lnTo>
                <a:lnTo>
                  <a:pt x="10" y="270"/>
                </a:lnTo>
                <a:lnTo>
                  <a:pt x="12" y="270"/>
                </a:lnTo>
                <a:lnTo>
                  <a:pt x="14" y="270"/>
                </a:lnTo>
                <a:lnTo>
                  <a:pt x="14" y="269"/>
                </a:lnTo>
                <a:lnTo>
                  <a:pt x="12" y="269"/>
                </a:lnTo>
                <a:lnTo>
                  <a:pt x="15" y="267"/>
                </a:lnTo>
                <a:lnTo>
                  <a:pt x="14" y="267"/>
                </a:lnTo>
                <a:lnTo>
                  <a:pt x="12" y="267"/>
                </a:lnTo>
                <a:lnTo>
                  <a:pt x="10" y="269"/>
                </a:lnTo>
                <a:lnTo>
                  <a:pt x="10" y="267"/>
                </a:lnTo>
                <a:lnTo>
                  <a:pt x="10" y="265"/>
                </a:lnTo>
                <a:lnTo>
                  <a:pt x="10" y="263"/>
                </a:lnTo>
                <a:lnTo>
                  <a:pt x="12" y="262"/>
                </a:lnTo>
                <a:lnTo>
                  <a:pt x="14" y="258"/>
                </a:lnTo>
                <a:lnTo>
                  <a:pt x="15" y="257"/>
                </a:lnTo>
                <a:lnTo>
                  <a:pt x="17" y="255"/>
                </a:lnTo>
                <a:lnTo>
                  <a:pt x="17" y="253"/>
                </a:lnTo>
                <a:lnTo>
                  <a:pt x="17" y="250"/>
                </a:lnTo>
                <a:lnTo>
                  <a:pt x="17" y="246"/>
                </a:lnTo>
                <a:lnTo>
                  <a:pt x="17" y="245"/>
                </a:lnTo>
                <a:lnTo>
                  <a:pt x="17" y="243"/>
                </a:lnTo>
                <a:lnTo>
                  <a:pt x="15" y="243"/>
                </a:lnTo>
                <a:lnTo>
                  <a:pt x="15" y="241"/>
                </a:lnTo>
                <a:lnTo>
                  <a:pt x="14" y="240"/>
                </a:lnTo>
                <a:lnTo>
                  <a:pt x="12" y="238"/>
                </a:lnTo>
                <a:lnTo>
                  <a:pt x="12" y="236"/>
                </a:lnTo>
                <a:lnTo>
                  <a:pt x="14" y="234"/>
                </a:lnTo>
                <a:lnTo>
                  <a:pt x="12" y="234"/>
                </a:lnTo>
                <a:lnTo>
                  <a:pt x="10" y="233"/>
                </a:lnTo>
                <a:lnTo>
                  <a:pt x="10" y="231"/>
                </a:lnTo>
                <a:lnTo>
                  <a:pt x="10" y="229"/>
                </a:lnTo>
                <a:lnTo>
                  <a:pt x="8" y="228"/>
                </a:lnTo>
                <a:lnTo>
                  <a:pt x="7" y="228"/>
                </a:lnTo>
                <a:lnTo>
                  <a:pt x="8" y="226"/>
                </a:lnTo>
                <a:lnTo>
                  <a:pt x="8" y="224"/>
                </a:lnTo>
                <a:lnTo>
                  <a:pt x="7" y="223"/>
                </a:lnTo>
                <a:lnTo>
                  <a:pt x="7" y="221"/>
                </a:lnTo>
                <a:lnTo>
                  <a:pt x="8" y="223"/>
                </a:lnTo>
                <a:lnTo>
                  <a:pt x="10" y="221"/>
                </a:lnTo>
                <a:lnTo>
                  <a:pt x="12" y="219"/>
                </a:lnTo>
                <a:lnTo>
                  <a:pt x="14" y="221"/>
                </a:lnTo>
                <a:lnTo>
                  <a:pt x="17" y="221"/>
                </a:lnTo>
                <a:lnTo>
                  <a:pt x="15" y="219"/>
                </a:lnTo>
                <a:lnTo>
                  <a:pt x="14" y="217"/>
                </a:lnTo>
                <a:lnTo>
                  <a:pt x="15" y="217"/>
                </a:lnTo>
                <a:lnTo>
                  <a:pt x="17" y="217"/>
                </a:lnTo>
                <a:lnTo>
                  <a:pt x="19" y="219"/>
                </a:lnTo>
                <a:lnTo>
                  <a:pt x="22" y="219"/>
                </a:lnTo>
                <a:lnTo>
                  <a:pt x="22" y="221"/>
                </a:lnTo>
                <a:lnTo>
                  <a:pt x="24" y="221"/>
                </a:lnTo>
                <a:lnTo>
                  <a:pt x="27" y="223"/>
                </a:lnTo>
                <a:lnTo>
                  <a:pt x="27" y="221"/>
                </a:lnTo>
                <a:lnTo>
                  <a:pt x="25" y="219"/>
                </a:lnTo>
                <a:lnTo>
                  <a:pt x="29" y="221"/>
                </a:lnTo>
                <a:lnTo>
                  <a:pt x="31" y="221"/>
                </a:lnTo>
                <a:lnTo>
                  <a:pt x="32" y="219"/>
                </a:lnTo>
                <a:lnTo>
                  <a:pt x="34" y="219"/>
                </a:lnTo>
                <a:lnTo>
                  <a:pt x="37" y="219"/>
                </a:lnTo>
                <a:lnTo>
                  <a:pt x="39" y="217"/>
                </a:lnTo>
                <a:lnTo>
                  <a:pt x="41" y="219"/>
                </a:lnTo>
                <a:lnTo>
                  <a:pt x="42" y="217"/>
                </a:lnTo>
                <a:lnTo>
                  <a:pt x="44" y="217"/>
                </a:lnTo>
                <a:lnTo>
                  <a:pt x="44" y="214"/>
                </a:lnTo>
                <a:lnTo>
                  <a:pt x="46" y="214"/>
                </a:lnTo>
                <a:lnTo>
                  <a:pt x="46" y="212"/>
                </a:lnTo>
                <a:lnTo>
                  <a:pt x="44" y="212"/>
                </a:lnTo>
                <a:lnTo>
                  <a:pt x="42" y="211"/>
                </a:lnTo>
                <a:lnTo>
                  <a:pt x="42" y="209"/>
                </a:lnTo>
                <a:lnTo>
                  <a:pt x="39" y="209"/>
                </a:lnTo>
                <a:lnTo>
                  <a:pt x="39" y="207"/>
                </a:lnTo>
                <a:lnTo>
                  <a:pt x="42" y="206"/>
                </a:lnTo>
                <a:lnTo>
                  <a:pt x="42" y="204"/>
                </a:lnTo>
                <a:lnTo>
                  <a:pt x="46" y="204"/>
                </a:lnTo>
                <a:lnTo>
                  <a:pt x="48" y="204"/>
                </a:lnTo>
                <a:lnTo>
                  <a:pt x="48" y="202"/>
                </a:lnTo>
                <a:lnTo>
                  <a:pt x="48" y="200"/>
                </a:lnTo>
                <a:lnTo>
                  <a:pt x="49" y="200"/>
                </a:lnTo>
                <a:lnTo>
                  <a:pt x="51" y="199"/>
                </a:lnTo>
                <a:lnTo>
                  <a:pt x="53" y="197"/>
                </a:lnTo>
                <a:lnTo>
                  <a:pt x="54" y="197"/>
                </a:lnTo>
                <a:lnTo>
                  <a:pt x="56" y="195"/>
                </a:lnTo>
                <a:lnTo>
                  <a:pt x="54" y="194"/>
                </a:lnTo>
                <a:lnTo>
                  <a:pt x="54" y="192"/>
                </a:lnTo>
                <a:lnTo>
                  <a:pt x="56" y="190"/>
                </a:lnTo>
                <a:lnTo>
                  <a:pt x="56" y="189"/>
                </a:lnTo>
                <a:lnTo>
                  <a:pt x="56" y="187"/>
                </a:lnTo>
                <a:lnTo>
                  <a:pt x="56" y="185"/>
                </a:lnTo>
                <a:lnTo>
                  <a:pt x="54" y="182"/>
                </a:lnTo>
                <a:lnTo>
                  <a:pt x="54" y="180"/>
                </a:lnTo>
                <a:lnTo>
                  <a:pt x="51" y="182"/>
                </a:lnTo>
                <a:lnTo>
                  <a:pt x="49" y="180"/>
                </a:lnTo>
                <a:lnTo>
                  <a:pt x="48" y="180"/>
                </a:lnTo>
                <a:lnTo>
                  <a:pt x="44" y="180"/>
                </a:lnTo>
                <a:lnTo>
                  <a:pt x="41" y="178"/>
                </a:lnTo>
                <a:lnTo>
                  <a:pt x="42" y="175"/>
                </a:lnTo>
                <a:lnTo>
                  <a:pt x="41" y="173"/>
                </a:lnTo>
                <a:lnTo>
                  <a:pt x="42" y="173"/>
                </a:lnTo>
                <a:lnTo>
                  <a:pt x="42" y="172"/>
                </a:lnTo>
                <a:lnTo>
                  <a:pt x="44" y="173"/>
                </a:lnTo>
                <a:lnTo>
                  <a:pt x="42" y="170"/>
                </a:lnTo>
                <a:lnTo>
                  <a:pt x="42" y="168"/>
                </a:lnTo>
                <a:lnTo>
                  <a:pt x="44" y="166"/>
                </a:lnTo>
                <a:lnTo>
                  <a:pt x="46" y="166"/>
                </a:lnTo>
                <a:lnTo>
                  <a:pt x="48" y="166"/>
                </a:lnTo>
                <a:lnTo>
                  <a:pt x="49" y="166"/>
                </a:lnTo>
                <a:lnTo>
                  <a:pt x="51" y="168"/>
                </a:lnTo>
                <a:lnTo>
                  <a:pt x="54" y="166"/>
                </a:lnTo>
                <a:lnTo>
                  <a:pt x="56" y="168"/>
                </a:lnTo>
                <a:lnTo>
                  <a:pt x="58" y="166"/>
                </a:lnTo>
                <a:lnTo>
                  <a:pt x="56" y="166"/>
                </a:lnTo>
                <a:lnTo>
                  <a:pt x="58" y="165"/>
                </a:lnTo>
                <a:lnTo>
                  <a:pt x="58" y="163"/>
                </a:lnTo>
                <a:lnTo>
                  <a:pt x="58" y="161"/>
                </a:lnTo>
                <a:lnTo>
                  <a:pt x="58" y="158"/>
                </a:lnTo>
                <a:lnTo>
                  <a:pt x="58" y="156"/>
                </a:lnTo>
                <a:lnTo>
                  <a:pt x="59" y="153"/>
                </a:lnTo>
                <a:lnTo>
                  <a:pt x="59" y="151"/>
                </a:lnTo>
                <a:lnTo>
                  <a:pt x="61" y="151"/>
                </a:lnTo>
                <a:lnTo>
                  <a:pt x="61" y="149"/>
                </a:lnTo>
                <a:lnTo>
                  <a:pt x="63" y="146"/>
                </a:lnTo>
                <a:lnTo>
                  <a:pt x="65" y="144"/>
                </a:lnTo>
                <a:lnTo>
                  <a:pt x="65" y="143"/>
                </a:lnTo>
                <a:lnTo>
                  <a:pt x="65" y="139"/>
                </a:lnTo>
                <a:lnTo>
                  <a:pt x="65" y="138"/>
                </a:lnTo>
                <a:lnTo>
                  <a:pt x="65" y="134"/>
                </a:lnTo>
                <a:lnTo>
                  <a:pt x="63" y="132"/>
                </a:lnTo>
                <a:lnTo>
                  <a:pt x="65" y="131"/>
                </a:lnTo>
                <a:lnTo>
                  <a:pt x="66" y="131"/>
                </a:lnTo>
                <a:lnTo>
                  <a:pt x="65" y="129"/>
                </a:lnTo>
                <a:lnTo>
                  <a:pt x="65" y="126"/>
                </a:lnTo>
                <a:lnTo>
                  <a:pt x="66" y="124"/>
                </a:lnTo>
                <a:lnTo>
                  <a:pt x="66" y="122"/>
                </a:lnTo>
                <a:lnTo>
                  <a:pt x="66" y="121"/>
                </a:lnTo>
                <a:lnTo>
                  <a:pt x="68" y="121"/>
                </a:lnTo>
                <a:lnTo>
                  <a:pt x="70" y="121"/>
                </a:lnTo>
                <a:lnTo>
                  <a:pt x="71" y="122"/>
                </a:lnTo>
                <a:lnTo>
                  <a:pt x="73" y="122"/>
                </a:lnTo>
                <a:lnTo>
                  <a:pt x="73" y="126"/>
                </a:lnTo>
                <a:lnTo>
                  <a:pt x="73" y="127"/>
                </a:lnTo>
                <a:lnTo>
                  <a:pt x="73" y="126"/>
                </a:lnTo>
                <a:lnTo>
                  <a:pt x="73" y="124"/>
                </a:lnTo>
                <a:lnTo>
                  <a:pt x="73" y="122"/>
                </a:lnTo>
                <a:lnTo>
                  <a:pt x="71" y="122"/>
                </a:lnTo>
                <a:lnTo>
                  <a:pt x="71" y="121"/>
                </a:lnTo>
                <a:lnTo>
                  <a:pt x="68" y="119"/>
                </a:lnTo>
                <a:lnTo>
                  <a:pt x="68" y="121"/>
                </a:lnTo>
                <a:lnTo>
                  <a:pt x="66" y="119"/>
                </a:lnTo>
                <a:lnTo>
                  <a:pt x="65" y="119"/>
                </a:lnTo>
                <a:lnTo>
                  <a:pt x="63" y="119"/>
                </a:lnTo>
                <a:lnTo>
                  <a:pt x="61" y="119"/>
                </a:lnTo>
                <a:lnTo>
                  <a:pt x="59" y="119"/>
                </a:lnTo>
                <a:lnTo>
                  <a:pt x="58" y="119"/>
                </a:lnTo>
                <a:lnTo>
                  <a:pt x="56" y="117"/>
                </a:lnTo>
                <a:lnTo>
                  <a:pt x="58" y="115"/>
                </a:lnTo>
                <a:lnTo>
                  <a:pt x="58" y="112"/>
                </a:lnTo>
                <a:lnTo>
                  <a:pt x="58" y="109"/>
                </a:lnTo>
                <a:lnTo>
                  <a:pt x="59" y="105"/>
                </a:lnTo>
                <a:lnTo>
                  <a:pt x="61" y="105"/>
                </a:lnTo>
                <a:lnTo>
                  <a:pt x="59" y="105"/>
                </a:lnTo>
                <a:lnTo>
                  <a:pt x="61" y="107"/>
                </a:lnTo>
                <a:lnTo>
                  <a:pt x="61" y="105"/>
                </a:lnTo>
                <a:lnTo>
                  <a:pt x="63" y="105"/>
                </a:lnTo>
                <a:lnTo>
                  <a:pt x="61" y="102"/>
                </a:lnTo>
                <a:lnTo>
                  <a:pt x="63" y="100"/>
                </a:lnTo>
                <a:lnTo>
                  <a:pt x="65" y="98"/>
                </a:lnTo>
                <a:lnTo>
                  <a:pt x="68" y="97"/>
                </a:lnTo>
                <a:lnTo>
                  <a:pt x="70" y="95"/>
                </a:lnTo>
                <a:lnTo>
                  <a:pt x="71" y="95"/>
                </a:lnTo>
                <a:lnTo>
                  <a:pt x="73" y="95"/>
                </a:lnTo>
                <a:lnTo>
                  <a:pt x="75" y="95"/>
                </a:lnTo>
                <a:lnTo>
                  <a:pt x="78" y="95"/>
                </a:lnTo>
                <a:lnTo>
                  <a:pt x="80" y="97"/>
                </a:lnTo>
                <a:lnTo>
                  <a:pt x="82" y="95"/>
                </a:lnTo>
                <a:lnTo>
                  <a:pt x="83" y="95"/>
                </a:lnTo>
                <a:lnTo>
                  <a:pt x="85" y="95"/>
                </a:lnTo>
                <a:lnTo>
                  <a:pt x="87" y="95"/>
                </a:lnTo>
                <a:lnTo>
                  <a:pt x="88" y="95"/>
                </a:lnTo>
                <a:lnTo>
                  <a:pt x="92" y="93"/>
                </a:lnTo>
                <a:lnTo>
                  <a:pt x="93" y="93"/>
                </a:lnTo>
                <a:lnTo>
                  <a:pt x="95" y="93"/>
                </a:lnTo>
                <a:lnTo>
                  <a:pt x="97" y="93"/>
                </a:lnTo>
                <a:lnTo>
                  <a:pt x="100" y="93"/>
                </a:lnTo>
                <a:lnTo>
                  <a:pt x="100" y="95"/>
                </a:lnTo>
                <a:lnTo>
                  <a:pt x="100" y="97"/>
                </a:lnTo>
                <a:lnTo>
                  <a:pt x="100" y="98"/>
                </a:lnTo>
                <a:lnTo>
                  <a:pt x="102" y="98"/>
                </a:lnTo>
                <a:lnTo>
                  <a:pt x="104" y="100"/>
                </a:lnTo>
                <a:lnTo>
                  <a:pt x="104" y="104"/>
                </a:lnTo>
                <a:lnTo>
                  <a:pt x="105" y="105"/>
                </a:lnTo>
                <a:lnTo>
                  <a:pt x="105" y="107"/>
                </a:lnTo>
                <a:lnTo>
                  <a:pt x="105" y="109"/>
                </a:lnTo>
                <a:lnTo>
                  <a:pt x="102" y="109"/>
                </a:lnTo>
                <a:lnTo>
                  <a:pt x="100" y="109"/>
                </a:lnTo>
                <a:lnTo>
                  <a:pt x="102" y="110"/>
                </a:lnTo>
                <a:lnTo>
                  <a:pt x="102" y="112"/>
                </a:lnTo>
                <a:lnTo>
                  <a:pt x="105" y="112"/>
                </a:lnTo>
                <a:lnTo>
                  <a:pt x="105" y="114"/>
                </a:lnTo>
                <a:lnTo>
                  <a:pt x="107" y="115"/>
                </a:lnTo>
                <a:lnTo>
                  <a:pt x="109" y="115"/>
                </a:lnTo>
                <a:lnTo>
                  <a:pt x="110" y="114"/>
                </a:lnTo>
                <a:lnTo>
                  <a:pt x="112" y="112"/>
                </a:lnTo>
                <a:lnTo>
                  <a:pt x="112" y="109"/>
                </a:lnTo>
                <a:lnTo>
                  <a:pt x="112" y="107"/>
                </a:lnTo>
                <a:lnTo>
                  <a:pt x="110" y="107"/>
                </a:lnTo>
                <a:lnTo>
                  <a:pt x="109" y="107"/>
                </a:lnTo>
                <a:lnTo>
                  <a:pt x="109" y="105"/>
                </a:lnTo>
                <a:lnTo>
                  <a:pt x="109" y="104"/>
                </a:lnTo>
                <a:lnTo>
                  <a:pt x="110" y="102"/>
                </a:lnTo>
                <a:lnTo>
                  <a:pt x="112" y="102"/>
                </a:lnTo>
                <a:lnTo>
                  <a:pt x="114" y="102"/>
                </a:lnTo>
                <a:lnTo>
                  <a:pt x="114" y="104"/>
                </a:lnTo>
                <a:lnTo>
                  <a:pt x="116" y="104"/>
                </a:lnTo>
                <a:lnTo>
                  <a:pt x="117" y="105"/>
                </a:lnTo>
                <a:lnTo>
                  <a:pt x="121" y="105"/>
                </a:lnTo>
                <a:lnTo>
                  <a:pt x="122" y="107"/>
                </a:lnTo>
                <a:lnTo>
                  <a:pt x="121" y="109"/>
                </a:lnTo>
                <a:lnTo>
                  <a:pt x="119" y="110"/>
                </a:lnTo>
                <a:lnTo>
                  <a:pt x="119" y="112"/>
                </a:lnTo>
                <a:lnTo>
                  <a:pt x="119" y="115"/>
                </a:lnTo>
                <a:lnTo>
                  <a:pt x="119" y="117"/>
                </a:lnTo>
                <a:lnTo>
                  <a:pt x="119" y="119"/>
                </a:lnTo>
                <a:lnTo>
                  <a:pt x="119" y="121"/>
                </a:lnTo>
                <a:lnTo>
                  <a:pt x="119" y="117"/>
                </a:lnTo>
                <a:lnTo>
                  <a:pt x="119" y="115"/>
                </a:lnTo>
                <a:lnTo>
                  <a:pt x="119" y="114"/>
                </a:lnTo>
                <a:lnTo>
                  <a:pt x="119" y="110"/>
                </a:lnTo>
                <a:lnTo>
                  <a:pt x="121" y="109"/>
                </a:lnTo>
                <a:lnTo>
                  <a:pt x="122" y="109"/>
                </a:lnTo>
                <a:lnTo>
                  <a:pt x="122" y="107"/>
                </a:lnTo>
                <a:lnTo>
                  <a:pt x="122" y="105"/>
                </a:lnTo>
                <a:lnTo>
                  <a:pt x="121" y="104"/>
                </a:lnTo>
                <a:lnTo>
                  <a:pt x="121" y="102"/>
                </a:lnTo>
                <a:lnTo>
                  <a:pt x="119" y="98"/>
                </a:lnTo>
                <a:lnTo>
                  <a:pt x="119" y="95"/>
                </a:lnTo>
                <a:lnTo>
                  <a:pt x="121" y="93"/>
                </a:lnTo>
                <a:lnTo>
                  <a:pt x="121" y="92"/>
                </a:lnTo>
                <a:lnTo>
                  <a:pt x="121" y="90"/>
                </a:lnTo>
                <a:lnTo>
                  <a:pt x="122" y="90"/>
                </a:lnTo>
                <a:lnTo>
                  <a:pt x="122" y="88"/>
                </a:lnTo>
                <a:lnTo>
                  <a:pt x="122" y="85"/>
                </a:lnTo>
                <a:lnTo>
                  <a:pt x="124" y="83"/>
                </a:lnTo>
                <a:lnTo>
                  <a:pt x="126" y="83"/>
                </a:lnTo>
                <a:lnTo>
                  <a:pt x="127" y="81"/>
                </a:lnTo>
                <a:lnTo>
                  <a:pt x="127" y="83"/>
                </a:lnTo>
                <a:lnTo>
                  <a:pt x="129" y="83"/>
                </a:lnTo>
                <a:lnTo>
                  <a:pt x="129" y="85"/>
                </a:lnTo>
                <a:lnTo>
                  <a:pt x="131" y="86"/>
                </a:lnTo>
                <a:lnTo>
                  <a:pt x="133" y="86"/>
                </a:lnTo>
                <a:lnTo>
                  <a:pt x="134" y="86"/>
                </a:lnTo>
                <a:lnTo>
                  <a:pt x="136" y="86"/>
                </a:lnTo>
                <a:lnTo>
                  <a:pt x="138" y="86"/>
                </a:lnTo>
                <a:lnTo>
                  <a:pt x="139" y="86"/>
                </a:lnTo>
                <a:lnTo>
                  <a:pt x="141" y="86"/>
                </a:lnTo>
                <a:lnTo>
                  <a:pt x="143" y="85"/>
                </a:lnTo>
                <a:lnTo>
                  <a:pt x="144" y="85"/>
                </a:lnTo>
                <a:lnTo>
                  <a:pt x="146" y="85"/>
                </a:lnTo>
                <a:lnTo>
                  <a:pt x="148" y="85"/>
                </a:lnTo>
                <a:lnTo>
                  <a:pt x="150" y="85"/>
                </a:lnTo>
                <a:lnTo>
                  <a:pt x="151" y="85"/>
                </a:lnTo>
                <a:lnTo>
                  <a:pt x="155" y="86"/>
                </a:lnTo>
                <a:lnTo>
                  <a:pt x="155" y="90"/>
                </a:lnTo>
                <a:lnTo>
                  <a:pt x="156" y="93"/>
                </a:lnTo>
                <a:lnTo>
                  <a:pt x="158" y="93"/>
                </a:lnTo>
                <a:lnTo>
                  <a:pt x="160" y="97"/>
                </a:lnTo>
                <a:lnTo>
                  <a:pt x="161" y="98"/>
                </a:lnTo>
                <a:lnTo>
                  <a:pt x="161" y="100"/>
                </a:lnTo>
                <a:lnTo>
                  <a:pt x="163" y="102"/>
                </a:lnTo>
                <a:lnTo>
                  <a:pt x="165" y="104"/>
                </a:lnTo>
                <a:lnTo>
                  <a:pt x="167" y="105"/>
                </a:lnTo>
                <a:lnTo>
                  <a:pt x="168" y="107"/>
                </a:lnTo>
                <a:lnTo>
                  <a:pt x="170" y="107"/>
                </a:lnTo>
                <a:lnTo>
                  <a:pt x="172" y="107"/>
                </a:lnTo>
                <a:lnTo>
                  <a:pt x="173" y="109"/>
                </a:lnTo>
                <a:lnTo>
                  <a:pt x="175" y="107"/>
                </a:lnTo>
                <a:lnTo>
                  <a:pt x="177" y="107"/>
                </a:lnTo>
                <a:lnTo>
                  <a:pt x="178" y="107"/>
                </a:lnTo>
                <a:lnTo>
                  <a:pt x="177" y="107"/>
                </a:lnTo>
                <a:lnTo>
                  <a:pt x="173" y="105"/>
                </a:lnTo>
                <a:lnTo>
                  <a:pt x="172" y="105"/>
                </a:lnTo>
                <a:lnTo>
                  <a:pt x="170" y="105"/>
                </a:lnTo>
                <a:lnTo>
                  <a:pt x="168" y="105"/>
                </a:lnTo>
                <a:lnTo>
                  <a:pt x="167" y="104"/>
                </a:lnTo>
                <a:lnTo>
                  <a:pt x="165" y="104"/>
                </a:lnTo>
                <a:lnTo>
                  <a:pt x="163" y="102"/>
                </a:lnTo>
                <a:lnTo>
                  <a:pt x="163" y="100"/>
                </a:lnTo>
                <a:lnTo>
                  <a:pt x="163" y="98"/>
                </a:lnTo>
                <a:lnTo>
                  <a:pt x="163" y="100"/>
                </a:lnTo>
                <a:lnTo>
                  <a:pt x="165" y="100"/>
                </a:lnTo>
                <a:lnTo>
                  <a:pt x="163" y="100"/>
                </a:lnTo>
                <a:lnTo>
                  <a:pt x="163" y="98"/>
                </a:lnTo>
                <a:lnTo>
                  <a:pt x="161" y="95"/>
                </a:lnTo>
                <a:lnTo>
                  <a:pt x="160" y="95"/>
                </a:lnTo>
                <a:lnTo>
                  <a:pt x="160" y="93"/>
                </a:lnTo>
                <a:lnTo>
                  <a:pt x="158" y="93"/>
                </a:lnTo>
                <a:lnTo>
                  <a:pt x="158" y="90"/>
                </a:lnTo>
                <a:lnTo>
                  <a:pt x="156" y="88"/>
                </a:lnTo>
                <a:lnTo>
                  <a:pt x="156" y="86"/>
                </a:lnTo>
                <a:lnTo>
                  <a:pt x="153" y="85"/>
                </a:lnTo>
                <a:lnTo>
                  <a:pt x="153" y="83"/>
                </a:lnTo>
                <a:lnTo>
                  <a:pt x="151" y="83"/>
                </a:lnTo>
                <a:lnTo>
                  <a:pt x="150" y="83"/>
                </a:lnTo>
                <a:lnTo>
                  <a:pt x="148" y="83"/>
                </a:lnTo>
                <a:lnTo>
                  <a:pt x="146" y="83"/>
                </a:lnTo>
                <a:lnTo>
                  <a:pt x="144" y="83"/>
                </a:lnTo>
                <a:lnTo>
                  <a:pt x="143" y="81"/>
                </a:lnTo>
                <a:lnTo>
                  <a:pt x="139" y="83"/>
                </a:lnTo>
                <a:lnTo>
                  <a:pt x="139" y="81"/>
                </a:lnTo>
                <a:lnTo>
                  <a:pt x="138" y="81"/>
                </a:lnTo>
                <a:lnTo>
                  <a:pt x="138" y="80"/>
                </a:lnTo>
                <a:lnTo>
                  <a:pt x="136" y="78"/>
                </a:lnTo>
                <a:lnTo>
                  <a:pt x="136" y="76"/>
                </a:lnTo>
                <a:lnTo>
                  <a:pt x="134" y="73"/>
                </a:lnTo>
                <a:lnTo>
                  <a:pt x="133" y="73"/>
                </a:lnTo>
                <a:lnTo>
                  <a:pt x="136" y="71"/>
                </a:lnTo>
                <a:lnTo>
                  <a:pt x="138" y="73"/>
                </a:lnTo>
                <a:lnTo>
                  <a:pt x="139" y="71"/>
                </a:lnTo>
                <a:lnTo>
                  <a:pt x="139" y="69"/>
                </a:lnTo>
                <a:lnTo>
                  <a:pt x="139" y="68"/>
                </a:lnTo>
                <a:lnTo>
                  <a:pt x="138" y="66"/>
                </a:lnTo>
                <a:lnTo>
                  <a:pt x="134" y="66"/>
                </a:lnTo>
                <a:lnTo>
                  <a:pt x="134" y="64"/>
                </a:lnTo>
                <a:lnTo>
                  <a:pt x="133" y="63"/>
                </a:lnTo>
                <a:lnTo>
                  <a:pt x="133" y="61"/>
                </a:lnTo>
                <a:lnTo>
                  <a:pt x="134" y="59"/>
                </a:lnTo>
                <a:lnTo>
                  <a:pt x="134" y="58"/>
                </a:lnTo>
                <a:lnTo>
                  <a:pt x="138" y="56"/>
                </a:lnTo>
                <a:lnTo>
                  <a:pt x="139" y="52"/>
                </a:lnTo>
                <a:lnTo>
                  <a:pt x="138" y="54"/>
                </a:lnTo>
                <a:lnTo>
                  <a:pt x="136" y="54"/>
                </a:lnTo>
                <a:lnTo>
                  <a:pt x="136" y="56"/>
                </a:lnTo>
                <a:lnTo>
                  <a:pt x="134" y="56"/>
                </a:lnTo>
                <a:lnTo>
                  <a:pt x="134" y="54"/>
                </a:lnTo>
                <a:lnTo>
                  <a:pt x="133" y="54"/>
                </a:lnTo>
                <a:lnTo>
                  <a:pt x="131" y="54"/>
                </a:lnTo>
                <a:lnTo>
                  <a:pt x="129" y="54"/>
                </a:lnTo>
                <a:lnTo>
                  <a:pt x="127" y="56"/>
                </a:lnTo>
                <a:lnTo>
                  <a:pt x="126" y="56"/>
                </a:lnTo>
                <a:lnTo>
                  <a:pt x="124" y="52"/>
                </a:lnTo>
                <a:lnTo>
                  <a:pt x="126" y="54"/>
                </a:lnTo>
                <a:lnTo>
                  <a:pt x="124" y="52"/>
                </a:lnTo>
                <a:lnTo>
                  <a:pt x="126" y="54"/>
                </a:lnTo>
                <a:lnTo>
                  <a:pt x="124" y="54"/>
                </a:lnTo>
                <a:lnTo>
                  <a:pt x="124" y="52"/>
                </a:lnTo>
                <a:lnTo>
                  <a:pt x="124" y="49"/>
                </a:lnTo>
                <a:lnTo>
                  <a:pt x="126" y="51"/>
                </a:lnTo>
                <a:lnTo>
                  <a:pt x="127" y="49"/>
                </a:lnTo>
                <a:lnTo>
                  <a:pt x="126" y="49"/>
                </a:lnTo>
                <a:lnTo>
                  <a:pt x="126" y="47"/>
                </a:lnTo>
                <a:lnTo>
                  <a:pt x="127" y="47"/>
                </a:lnTo>
                <a:lnTo>
                  <a:pt x="127" y="46"/>
                </a:lnTo>
                <a:lnTo>
                  <a:pt x="127" y="47"/>
                </a:lnTo>
                <a:lnTo>
                  <a:pt x="129" y="46"/>
                </a:lnTo>
                <a:lnTo>
                  <a:pt x="131" y="46"/>
                </a:lnTo>
                <a:lnTo>
                  <a:pt x="134" y="46"/>
                </a:lnTo>
                <a:lnTo>
                  <a:pt x="136" y="46"/>
                </a:lnTo>
                <a:lnTo>
                  <a:pt x="138" y="46"/>
                </a:lnTo>
                <a:lnTo>
                  <a:pt x="139" y="42"/>
                </a:lnTo>
                <a:lnTo>
                  <a:pt x="141" y="42"/>
                </a:lnTo>
                <a:lnTo>
                  <a:pt x="141" y="41"/>
                </a:lnTo>
                <a:lnTo>
                  <a:pt x="141" y="39"/>
                </a:lnTo>
                <a:lnTo>
                  <a:pt x="139" y="39"/>
                </a:lnTo>
                <a:lnTo>
                  <a:pt x="138" y="42"/>
                </a:lnTo>
                <a:lnTo>
                  <a:pt x="136" y="42"/>
                </a:lnTo>
                <a:lnTo>
                  <a:pt x="133" y="42"/>
                </a:lnTo>
                <a:lnTo>
                  <a:pt x="133" y="41"/>
                </a:lnTo>
                <a:lnTo>
                  <a:pt x="134" y="39"/>
                </a:lnTo>
                <a:lnTo>
                  <a:pt x="136" y="37"/>
                </a:lnTo>
                <a:lnTo>
                  <a:pt x="136" y="35"/>
                </a:lnTo>
                <a:lnTo>
                  <a:pt x="134" y="37"/>
                </a:lnTo>
                <a:lnTo>
                  <a:pt x="133" y="35"/>
                </a:lnTo>
                <a:lnTo>
                  <a:pt x="134" y="35"/>
                </a:lnTo>
                <a:lnTo>
                  <a:pt x="136" y="35"/>
                </a:lnTo>
                <a:lnTo>
                  <a:pt x="136" y="34"/>
                </a:lnTo>
                <a:lnTo>
                  <a:pt x="134" y="32"/>
                </a:lnTo>
                <a:lnTo>
                  <a:pt x="134" y="29"/>
                </a:lnTo>
                <a:lnTo>
                  <a:pt x="131" y="27"/>
                </a:lnTo>
                <a:lnTo>
                  <a:pt x="131" y="25"/>
                </a:lnTo>
                <a:lnTo>
                  <a:pt x="129" y="24"/>
                </a:lnTo>
                <a:lnTo>
                  <a:pt x="131" y="27"/>
                </a:lnTo>
                <a:lnTo>
                  <a:pt x="129" y="27"/>
                </a:lnTo>
                <a:lnTo>
                  <a:pt x="127" y="27"/>
                </a:lnTo>
                <a:lnTo>
                  <a:pt x="127" y="30"/>
                </a:lnTo>
                <a:lnTo>
                  <a:pt x="124" y="30"/>
                </a:lnTo>
                <a:lnTo>
                  <a:pt x="122" y="32"/>
                </a:lnTo>
                <a:lnTo>
                  <a:pt x="122" y="30"/>
                </a:lnTo>
                <a:lnTo>
                  <a:pt x="126" y="30"/>
                </a:lnTo>
                <a:lnTo>
                  <a:pt x="127" y="29"/>
                </a:lnTo>
                <a:lnTo>
                  <a:pt x="127" y="27"/>
                </a:lnTo>
                <a:lnTo>
                  <a:pt x="129" y="27"/>
                </a:lnTo>
                <a:lnTo>
                  <a:pt x="129" y="24"/>
                </a:lnTo>
                <a:lnTo>
                  <a:pt x="129" y="20"/>
                </a:lnTo>
                <a:lnTo>
                  <a:pt x="127" y="18"/>
                </a:lnTo>
                <a:lnTo>
                  <a:pt x="127" y="17"/>
                </a:lnTo>
                <a:lnTo>
                  <a:pt x="126" y="15"/>
                </a:lnTo>
                <a:lnTo>
                  <a:pt x="126" y="13"/>
                </a:lnTo>
                <a:lnTo>
                  <a:pt x="122" y="13"/>
                </a:lnTo>
                <a:lnTo>
                  <a:pt x="119" y="15"/>
                </a:lnTo>
                <a:lnTo>
                  <a:pt x="117" y="15"/>
                </a:lnTo>
                <a:lnTo>
                  <a:pt x="116" y="13"/>
                </a:lnTo>
                <a:lnTo>
                  <a:pt x="114" y="13"/>
                </a:lnTo>
                <a:lnTo>
                  <a:pt x="114" y="15"/>
                </a:lnTo>
                <a:lnTo>
                  <a:pt x="114" y="18"/>
                </a:lnTo>
                <a:lnTo>
                  <a:pt x="112" y="18"/>
                </a:lnTo>
                <a:lnTo>
                  <a:pt x="114" y="22"/>
                </a:lnTo>
                <a:lnTo>
                  <a:pt x="112" y="22"/>
                </a:lnTo>
                <a:lnTo>
                  <a:pt x="112" y="20"/>
                </a:lnTo>
                <a:lnTo>
                  <a:pt x="112" y="18"/>
                </a:lnTo>
                <a:lnTo>
                  <a:pt x="112" y="15"/>
                </a:lnTo>
                <a:lnTo>
                  <a:pt x="112" y="12"/>
                </a:lnTo>
                <a:lnTo>
                  <a:pt x="114" y="10"/>
                </a:lnTo>
                <a:lnTo>
                  <a:pt x="114" y="8"/>
                </a:lnTo>
                <a:lnTo>
                  <a:pt x="114" y="7"/>
                </a:lnTo>
                <a:lnTo>
                  <a:pt x="116" y="5"/>
                </a:lnTo>
                <a:lnTo>
                  <a:pt x="117" y="1"/>
                </a:lnTo>
                <a:lnTo>
                  <a:pt x="117" y="0"/>
                </a:lnTo>
                <a:lnTo>
                  <a:pt x="121" y="1"/>
                </a:lnTo>
                <a:lnTo>
                  <a:pt x="117" y="1"/>
                </a:lnTo>
                <a:lnTo>
                  <a:pt x="119" y="3"/>
                </a:lnTo>
                <a:lnTo>
                  <a:pt x="117" y="5"/>
                </a:lnTo>
                <a:lnTo>
                  <a:pt x="116" y="7"/>
                </a:lnTo>
                <a:lnTo>
                  <a:pt x="116" y="10"/>
                </a:lnTo>
                <a:lnTo>
                  <a:pt x="117" y="12"/>
                </a:lnTo>
                <a:lnTo>
                  <a:pt x="119" y="13"/>
                </a:lnTo>
                <a:lnTo>
                  <a:pt x="121" y="13"/>
                </a:lnTo>
                <a:lnTo>
                  <a:pt x="122" y="13"/>
                </a:lnTo>
                <a:lnTo>
                  <a:pt x="124" y="13"/>
                </a:lnTo>
                <a:lnTo>
                  <a:pt x="126" y="12"/>
                </a:lnTo>
                <a:lnTo>
                  <a:pt x="127" y="12"/>
                </a:lnTo>
                <a:lnTo>
                  <a:pt x="127" y="10"/>
                </a:lnTo>
                <a:lnTo>
                  <a:pt x="129" y="12"/>
                </a:lnTo>
                <a:lnTo>
                  <a:pt x="131" y="12"/>
                </a:lnTo>
                <a:lnTo>
                  <a:pt x="133" y="12"/>
                </a:lnTo>
                <a:lnTo>
                  <a:pt x="134" y="12"/>
                </a:lnTo>
                <a:lnTo>
                  <a:pt x="136" y="12"/>
                </a:lnTo>
                <a:lnTo>
                  <a:pt x="138" y="12"/>
                </a:lnTo>
                <a:lnTo>
                  <a:pt x="139" y="12"/>
                </a:lnTo>
                <a:lnTo>
                  <a:pt x="143" y="13"/>
                </a:lnTo>
                <a:lnTo>
                  <a:pt x="144" y="13"/>
                </a:lnTo>
                <a:lnTo>
                  <a:pt x="148" y="13"/>
                </a:lnTo>
                <a:lnTo>
                  <a:pt x="150" y="15"/>
                </a:lnTo>
                <a:lnTo>
                  <a:pt x="151" y="15"/>
                </a:lnTo>
                <a:lnTo>
                  <a:pt x="151" y="18"/>
                </a:lnTo>
                <a:lnTo>
                  <a:pt x="153" y="18"/>
                </a:lnTo>
                <a:lnTo>
                  <a:pt x="155" y="18"/>
                </a:lnTo>
                <a:lnTo>
                  <a:pt x="156" y="17"/>
                </a:lnTo>
                <a:lnTo>
                  <a:pt x="158" y="17"/>
                </a:lnTo>
                <a:lnTo>
                  <a:pt x="160" y="20"/>
                </a:lnTo>
                <a:lnTo>
                  <a:pt x="160" y="17"/>
                </a:lnTo>
                <a:lnTo>
                  <a:pt x="161" y="17"/>
                </a:lnTo>
                <a:lnTo>
                  <a:pt x="163" y="17"/>
                </a:lnTo>
                <a:lnTo>
                  <a:pt x="165" y="15"/>
                </a:lnTo>
                <a:lnTo>
                  <a:pt x="165" y="13"/>
                </a:lnTo>
                <a:lnTo>
                  <a:pt x="167" y="13"/>
                </a:lnTo>
                <a:lnTo>
                  <a:pt x="165" y="15"/>
                </a:lnTo>
                <a:lnTo>
                  <a:pt x="167" y="17"/>
                </a:lnTo>
                <a:lnTo>
                  <a:pt x="168" y="17"/>
                </a:lnTo>
                <a:lnTo>
                  <a:pt x="170" y="18"/>
                </a:lnTo>
                <a:lnTo>
                  <a:pt x="172" y="18"/>
                </a:lnTo>
                <a:lnTo>
                  <a:pt x="173" y="20"/>
                </a:lnTo>
                <a:lnTo>
                  <a:pt x="173" y="18"/>
                </a:lnTo>
                <a:lnTo>
                  <a:pt x="175" y="22"/>
                </a:lnTo>
                <a:lnTo>
                  <a:pt x="177" y="22"/>
                </a:lnTo>
                <a:lnTo>
                  <a:pt x="178" y="22"/>
                </a:lnTo>
                <a:lnTo>
                  <a:pt x="178" y="18"/>
                </a:lnTo>
                <a:lnTo>
                  <a:pt x="180" y="20"/>
                </a:lnTo>
                <a:lnTo>
                  <a:pt x="180" y="22"/>
                </a:lnTo>
                <a:lnTo>
                  <a:pt x="182" y="25"/>
                </a:lnTo>
                <a:lnTo>
                  <a:pt x="184" y="27"/>
                </a:lnTo>
                <a:lnTo>
                  <a:pt x="184" y="29"/>
                </a:lnTo>
                <a:lnTo>
                  <a:pt x="184" y="27"/>
                </a:lnTo>
                <a:lnTo>
                  <a:pt x="182" y="27"/>
                </a:lnTo>
                <a:lnTo>
                  <a:pt x="182" y="25"/>
                </a:lnTo>
                <a:lnTo>
                  <a:pt x="180" y="27"/>
                </a:lnTo>
                <a:lnTo>
                  <a:pt x="178" y="29"/>
                </a:lnTo>
                <a:lnTo>
                  <a:pt x="178" y="30"/>
                </a:lnTo>
                <a:lnTo>
                  <a:pt x="175" y="34"/>
                </a:lnTo>
                <a:lnTo>
                  <a:pt x="173" y="34"/>
                </a:lnTo>
                <a:lnTo>
                  <a:pt x="172" y="34"/>
                </a:lnTo>
                <a:lnTo>
                  <a:pt x="172" y="35"/>
                </a:lnTo>
                <a:lnTo>
                  <a:pt x="170" y="37"/>
                </a:lnTo>
                <a:lnTo>
                  <a:pt x="170" y="39"/>
                </a:lnTo>
                <a:lnTo>
                  <a:pt x="167" y="39"/>
                </a:lnTo>
                <a:lnTo>
                  <a:pt x="167" y="37"/>
                </a:lnTo>
                <a:lnTo>
                  <a:pt x="165" y="39"/>
                </a:lnTo>
                <a:lnTo>
                  <a:pt x="163" y="39"/>
                </a:lnTo>
                <a:lnTo>
                  <a:pt x="165" y="41"/>
                </a:lnTo>
                <a:lnTo>
                  <a:pt x="167" y="39"/>
                </a:lnTo>
                <a:lnTo>
                  <a:pt x="170" y="41"/>
                </a:lnTo>
                <a:lnTo>
                  <a:pt x="170" y="39"/>
                </a:lnTo>
                <a:lnTo>
                  <a:pt x="170" y="37"/>
                </a:lnTo>
                <a:lnTo>
                  <a:pt x="172" y="39"/>
                </a:lnTo>
                <a:lnTo>
                  <a:pt x="172" y="35"/>
                </a:lnTo>
                <a:lnTo>
                  <a:pt x="173" y="35"/>
                </a:lnTo>
                <a:lnTo>
                  <a:pt x="175" y="34"/>
                </a:lnTo>
                <a:lnTo>
                  <a:pt x="177" y="34"/>
                </a:lnTo>
                <a:lnTo>
                  <a:pt x="178" y="32"/>
                </a:lnTo>
                <a:lnTo>
                  <a:pt x="178" y="30"/>
                </a:lnTo>
                <a:lnTo>
                  <a:pt x="180" y="29"/>
                </a:lnTo>
                <a:lnTo>
                  <a:pt x="182" y="29"/>
                </a:lnTo>
                <a:lnTo>
                  <a:pt x="184" y="29"/>
                </a:lnTo>
                <a:lnTo>
                  <a:pt x="182" y="29"/>
                </a:lnTo>
                <a:lnTo>
                  <a:pt x="184" y="29"/>
                </a:lnTo>
                <a:lnTo>
                  <a:pt x="184" y="32"/>
                </a:lnTo>
                <a:lnTo>
                  <a:pt x="184" y="34"/>
                </a:lnTo>
                <a:lnTo>
                  <a:pt x="184" y="37"/>
                </a:lnTo>
                <a:lnTo>
                  <a:pt x="182" y="39"/>
                </a:lnTo>
                <a:lnTo>
                  <a:pt x="180" y="41"/>
                </a:lnTo>
                <a:lnTo>
                  <a:pt x="178" y="41"/>
                </a:lnTo>
                <a:lnTo>
                  <a:pt x="177" y="42"/>
                </a:lnTo>
                <a:lnTo>
                  <a:pt x="175" y="42"/>
                </a:lnTo>
                <a:lnTo>
                  <a:pt x="177" y="44"/>
                </a:lnTo>
                <a:lnTo>
                  <a:pt x="178" y="42"/>
                </a:lnTo>
                <a:lnTo>
                  <a:pt x="182" y="42"/>
                </a:lnTo>
                <a:lnTo>
                  <a:pt x="185" y="41"/>
                </a:lnTo>
                <a:lnTo>
                  <a:pt x="187" y="41"/>
                </a:lnTo>
                <a:lnTo>
                  <a:pt x="189" y="42"/>
                </a:lnTo>
                <a:lnTo>
                  <a:pt x="190" y="42"/>
                </a:lnTo>
                <a:lnTo>
                  <a:pt x="189" y="44"/>
                </a:lnTo>
                <a:lnTo>
                  <a:pt x="190" y="47"/>
                </a:lnTo>
                <a:lnTo>
                  <a:pt x="189" y="47"/>
                </a:lnTo>
                <a:lnTo>
                  <a:pt x="189" y="49"/>
                </a:lnTo>
                <a:lnTo>
                  <a:pt x="185" y="49"/>
                </a:lnTo>
                <a:lnTo>
                  <a:pt x="189" y="49"/>
                </a:lnTo>
                <a:lnTo>
                  <a:pt x="189" y="51"/>
                </a:lnTo>
                <a:lnTo>
                  <a:pt x="187" y="52"/>
                </a:lnTo>
                <a:lnTo>
                  <a:pt x="189" y="52"/>
                </a:lnTo>
                <a:lnTo>
                  <a:pt x="189" y="49"/>
                </a:lnTo>
                <a:lnTo>
                  <a:pt x="190" y="49"/>
                </a:lnTo>
                <a:lnTo>
                  <a:pt x="190" y="46"/>
                </a:lnTo>
                <a:lnTo>
                  <a:pt x="194" y="46"/>
                </a:lnTo>
                <a:lnTo>
                  <a:pt x="195" y="44"/>
                </a:lnTo>
                <a:lnTo>
                  <a:pt x="197" y="46"/>
                </a:lnTo>
                <a:lnTo>
                  <a:pt x="199" y="46"/>
                </a:lnTo>
                <a:lnTo>
                  <a:pt x="201" y="47"/>
                </a:lnTo>
                <a:lnTo>
                  <a:pt x="204" y="49"/>
                </a:lnTo>
                <a:lnTo>
                  <a:pt x="206" y="49"/>
                </a:lnTo>
                <a:lnTo>
                  <a:pt x="207" y="51"/>
                </a:lnTo>
                <a:lnTo>
                  <a:pt x="209" y="52"/>
                </a:lnTo>
                <a:lnTo>
                  <a:pt x="211" y="54"/>
                </a:lnTo>
                <a:lnTo>
                  <a:pt x="212" y="54"/>
                </a:lnTo>
                <a:lnTo>
                  <a:pt x="214" y="52"/>
                </a:lnTo>
                <a:lnTo>
                  <a:pt x="216" y="51"/>
                </a:lnTo>
                <a:lnTo>
                  <a:pt x="218" y="49"/>
                </a:lnTo>
                <a:lnTo>
                  <a:pt x="219" y="47"/>
                </a:lnTo>
                <a:lnTo>
                  <a:pt x="221" y="47"/>
                </a:lnTo>
                <a:lnTo>
                  <a:pt x="223" y="47"/>
                </a:lnTo>
                <a:lnTo>
                  <a:pt x="221" y="49"/>
                </a:lnTo>
                <a:lnTo>
                  <a:pt x="223" y="49"/>
                </a:lnTo>
                <a:lnTo>
                  <a:pt x="226" y="49"/>
                </a:lnTo>
                <a:lnTo>
                  <a:pt x="226" y="47"/>
                </a:lnTo>
                <a:lnTo>
                  <a:pt x="228" y="47"/>
                </a:lnTo>
                <a:lnTo>
                  <a:pt x="228" y="49"/>
                </a:lnTo>
                <a:lnTo>
                  <a:pt x="224" y="51"/>
                </a:lnTo>
                <a:lnTo>
                  <a:pt x="226" y="51"/>
                </a:lnTo>
                <a:lnTo>
                  <a:pt x="226" y="52"/>
                </a:lnTo>
                <a:lnTo>
                  <a:pt x="226" y="54"/>
                </a:lnTo>
                <a:lnTo>
                  <a:pt x="226" y="58"/>
                </a:lnTo>
                <a:lnTo>
                  <a:pt x="226" y="59"/>
                </a:lnTo>
                <a:lnTo>
                  <a:pt x="226" y="61"/>
                </a:lnTo>
                <a:lnTo>
                  <a:pt x="224" y="63"/>
                </a:lnTo>
                <a:lnTo>
                  <a:pt x="223" y="64"/>
                </a:lnTo>
                <a:lnTo>
                  <a:pt x="221" y="64"/>
                </a:lnTo>
                <a:lnTo>
                  <a:pt x="219" y="66"/>
                </a:lnTo>
                <a:lnTo>
                  <a:pt x="218" y="68"/>
                </a:lnTo>
                <a:lnTo>
                  <a:pt x="218" y="69"/>
                </a:lnTo>
                <a:lnTo>
                  <a:pt x="216" y="68"/>
                </a:lnTo>
                <a:lnTo>
                  <a:pt x="214" y="68"/>
                </a:lnTo>
                <a:lnTo>
                  <a:pt x="214" y="69"/>
                </a:lnTo>
                <a:lnTo>
                  <a:pt x="212" y="71"/>
                </a:lnTo>
                <a:lnTo>
                  <a:pt x="212" y="73"/>
                </a:lnTo>
                <a:lnTo>
                  <a:pt x="214" y="75"/>
                </a:lnTo>
                <a:lnTo>
                  <a:pt x="218" y="75"/>
                </a:lnTo>
                <a:lnTo>
                  <a:pt x="218" y="78"/>
                </a:lnTo>
                <a:lnTo>
                  <a:pt x="218" y="80"/>
                </a:lnTo>
                <a:lnTo>
                  <a:pt x="216" y="81"/>
                </a:lnTo>
                <a:lnTo>
                  <a:pt x="212" y="81"/>
                </a:lnTo>
                <a:lnTo>
                  <a:pt x="214" y="83"/>
                </a:lnTo>
                <a:lnTo>
                  <a:pt x="216" y="81"/>
                </a:lnTo>
                <a:lnTo>
                  <a:pt x="218" y="80"/>
                </a:lnTo>
                <a:lnTo>
                  <a:pt x="219" y="81"/>
                </a:lnTo>
                <a:lnTo>
                  <a:pt x="221" y="81"/>
                </a:lnTo>
                <a:lnTo>
                  <a:pt x="219" y="80"/>
                </a:lnTo>
                <a:lnTo>
                  <a:pt x="219" y="78"/>
                </a:lnTo>
                <a:lnTo>
                  <a:pt x="218" y="80"/>
                </a:lnTo>
                <a:lnTo>
                  <a:pt x="218" y="78"/>
                </a:lnTo>
                <a:lnTo>
                  <a:pt x="219" y="78"/>
                </a:lnTo>
                <a:lnTo>
                  <a:pt x="223" y="76"/>
                </a:lnTo>
                <a:lnTo>
                  <a:pt x="224" y="75"/>
                </a:lnTo>
                <a:lnTo>
                  <a:pt x="226" y="73"/>
                </a:lnTo>
                <a:lnTo>
                  <a:pt x="229" y="75"/>
                </a:lnTo>
                <a:lnTo>
                  <a:pt x="229" y="73"/>
                </a:lnTo>
                <a:lnTo>
                  <a:pt x="231" y="76"/>
                </a:lnTo>
                <a:lnTo>
                  <a:pt x="233" y="76"/>
                </a:lnTo>
                <a:lnTo>
                  <a:pt x="233" y="78"/>
                </a:lnTo>
                <a:lnTo>
                  <a:pt x="233" y="80"/>
                </a:lnTo>
                <a:lnTo>
                  <a:pt x="235" y="80"/>
                </a:lnTo>
                <a:lnTo>
                  <a:pt x="236" y="78"/>
                </a:lnTo>
                <a:lnTo>
                  <a:pt x="238" y="80"/>
                </a:lnTo>
                <a:lnTo>
                  <a:pt x="240" y="80"/>
                </a:lnTo>
                <a:lnTo>
                  <a:pt x="241" y="81"/>
                </a:lnTo>
                <a:lnTo>
                  <a:pt x="243" y="80"/>
                </a:lnTo>
                <a:lnTo>
                  <a:pt x="241" y="76"/>
                </a:lnTo>
                <a:lnTo>
                  <a:pt x="243" y="76"/>
                </a:lnTo>
                <a:lnTo>
                  <a:pt x="243" y="75"/>
                </a:lnTo>
                <a:lnTo>
                  <a:pt x="245" y="73"/>
                </a:lnTo>
                <a:lnTo>
                  <a:pt x="246" y="73"/>
                </a:lnTo>
                <a:lnTo>
                  <a:pt x="246" y="69"/>
                </a:lnTo>
                <a:lnTo>
                  <a:pt x="248" y="69"/>
                </a:lnTo>
                <a:lnTo>
                  <a:pt x="248" y="68"/>
                </a:lnTo>
                <a:lnTo>
                  <a:pt x="245" y="69"/>
                </a:lnTo>
                <a:lnTo>
                  <a:pt x="245" y="71"/>
                </a:lnTo>
                <a:lnTo>
                  <a:pt x="245" y="69"/>
                </a:lnTo>
                <a:lnTo>
                  <a:pt x="245" y="68"/>
                </a:lnTo>
                <a:lnTo>
                  <a:pt x="248" y="66"/>
                </a:lnTo>
                <a:lnTo>
                  <a:pt x="250" y="64"/>
                </a:lnTo>
                <a:lnTo>
                  <a:pt x="250" y="63"/>
                </a:lnTo>
                <a:lnTo>
                  <a:pt x="253" y="63"/>
                </a:lnTo>
                <a:lnTo>
                  <a:pt x="255" y="64"/>
                </a:lnTo>
                <a:lnTo>
                  <a:pt x="257" y="64"/>
                </a:lnTo>
                <a:lnTo>
                  <a:pt x="258" y="63"/>
                </a:lnTo>
                <a:lnTo>
                  <a:pt x="262" y="63"/>
                </a:lnTo>
                <a:lnTo>
                  <a:pt x="263" y="61"/>
                </a:lnTo>
                <a:lnTo>
                  <a:pt x="267" y="61"/>
                </a:lnTo>
                <a:lnTo>
                  <a:pt x="267" y="63"/>
                </a:lnTo>
                <a:lnTo>
                  <a:pt x="267" y="64"/>
                </a:lnTo>
                <a:lnTo>
                  <a:pt x="267" y="66"/>
                </a:lnTo>
                <a:lnTo>
                  <a:pt x="269" y="68"/>
                </a:lnTo>
                <a:lnTo>
                  <a:pt x="270" y="68"/>
                </a:lnTo>
                <a:lnTo>
                  <a:pt x="267" y="66"/>
                </a:lnTo>
                <a:lnTo>
                  <a:pt x="267" y="63"/>
                </a:lnTo>
                <a:lnTo>
                  <a:pt x="269" y="63"/>
                </a:lnTo>
                <a:lnTo>
                  <a:pt x="269" y="61"/>
                </a:lnTo>
                <a:lnTo>
                  <a:pt x="267" y="63"/>
                </a:lnTo>
                <a:lnTo>
                  <a:pt x="267" y="61"/>
                </a:lnTo>
                <a:lnTo>
                  <a:pt x="269" y="61"/>
                </a:lnTo>
                <a:lnTo>
                  <a:pt x="270" y="59"/>
                </a:lnTo>
                <a:lnTo>
                  <a:pt x="270" y="58"/>
                </a:lnTo>
                <a:lnTo>
                  <a:pt x="272" y="58"/>
                </a:lnTo>
                <a:lnTo>
                  <a:pt x="272" y="56"/>
                </a:lnTo>
                <a:lnTo>
                  <a:pt x="274" y="56"/>
                </a:lnTo>
                <a:lnTo>
                  <a:pt x="275" y="54"/>
                </a:lnTo>
                <a:lnTo>
                  <a:pt x="277" y="52"/>
                </a:lnTo>
                <a:lnTo>
                  <a:pt x="279" y="51"/>
                </a:lnTo>
                <a:lnTo>
                  <a:pt x="279" y="49"/>
                </a:lnTo>
                <a:lnTo>
                  <a:pt x="279" y="47"/>
                </a:lnTo>
                <a:lnTo>
                  <a:pt x="280" y="46"/>
                </a:lnTo>
                <a:lnTo>
                  <a:pt x="282" y="44"/>
                </a:lnTo>
                <a:lnTo>
                  <a:pt x="282" y="42"/>
                </a:lnTo>
                <a:lnTo>
                  <a:pt x="284" y="41"/>
                </a:lnTo>
                <a:lnTo>
                  <a:pt x="284" y="39"/>
                </a:lnTo>
                <a:lnTo>
                  <a:pt x="284" y="41"/>
                </a:lnTo>
                <a:lnTo>
                  <a:pt x="286" y="41"/>
                </a:lnTo>
                <a:lnTo>
                  <a:pt x="287" y="42"/>
                </a:lnTo>
                <a:lnTo>
                  <a:pt x="289" y="42"/>
                </a:lnTo>
                <a:lnTo>
                  <a:pt x="291" y="42"/>
                </a:lnTo>
                <a:lnTo>
                  <a:pt x="292" y="42"/>
                </a:lnTo>
                <a:lnTo>
                  <a:pt x="294" y="42"/>
                </a:lnTo>
                <a:lnTo>
                  <a:pt x="296" y="42"/>
                </a:lnTo>
                <a:lnTo>
                  <a:pt x="297" y="42"/>
                </a:lnTo>
                <a:lnTo>
                  <a:pt x="299" y="42"/>
                </a:lnTo>
                <a:lnTo>
                  <a:pt x="301" y="42"/>
                </a:lnTo>
                <a:lnTo>
                  <a:pt x="303" y="42"/>
                </a:lnTo>
                <a:lnTo>
                  <a:pt x="301" y="42"/>
                </a:lnTo>
                <a:lnTo>
                  <a:pt x="301" y="44"/>
                </a:lnTo>
                <a:lnTo>
                  <a:pt x="299" y="44"/>
                </a:lnTo>
                <a:lnTo>
                  <a:pt x="297" y="44"/>
                </a:lnTo>
                <a:lnTo>
                  <a:pt x="296" y="44"/>
                </a:lnTo>
                <a:lnTo>
                  <a:pt x="292" y="44"/>
                </a:lnTo>
                <a:lnTo>
                  <a:pt x="292" y="42"/>
                </a:lnTo>
                <a:lnTo>
                  <a:pt x="291" y="42"/>
                </a:lnTo>
                <a:lnTo>
                  <a:pt x="291" y="44"/>
                </a:lnTo>
                <a:lnTo>
                  <a:pt x="289" y="44"/>
                </a:lnTo>
                <a:lnTo>
                  <a:pt x="287" y="46"/>
                </a:lnTo>
                <a:lnTo>
                  <a:pt x="286" y="46"/>
                </a:lnTo>
                <a:lnTo>
                  <a:pt x="284" y="47"/>
                </a:lnTo>
                <a:lnTo>
                  <a:pt x="284" y="46"/>
                </a:lnTo>
                <a:lnTo>
                  <a:pt x="280" y="47"/>
                </a:lnTo>
                <a:lnTo>
                  <a:pt x="280" y="49"/>
                </a:lnTo>
                <a:lnTo>
                  <a:pt x="279" y="49"/>
                </a:lnTo>
                <a:lnTo>
                  <a:pt x="279" y="51"/>
                </a:lnTo>
                <a:lnTo>
                  <a:pt x="277" y="52"/>
                </a:lnTo>
                <a:lnTo>
                  <a:pt x="279" y="54"/>
                </a:lnTo>
                <a:lnTo>
                  <a:pt x="280" y="56"/>
                </a:lnTo>
                <a:lnTo>
                  <a:pt x="282" y="56"/>
                </a:lnTo>
                <a:lnTo>
                  <a:pt x="280" y="56"/>
                </a:lnTo>
                <a:lnTo>
                  <a:pt x="280" y="54"/>
                </a:lnTo>
                <a:lnTo>
                  <a:pt x="280" y="52"/>
                </a:lnTo>
                <a:lnTo>
                  <a:pt x="282" y="52"/>
                </a:lnTo>
                <a:lnTo>
                  <a:pt x="282" y="51"/>
                </a:lnTo>
                <a:lnTo>
                  <a:pt x="286" y="49"/>
                </a:lnTo>
                <a:lnTo>
                  <a:pt x="286" y="47"/>
                </a:lnTo>
                <a:lnTo>
                  <a:pt x="287" y="47"/>
                </a:lnTo>
                <a:lnTo>
                  <a:pt x="289" y="47"/>
                </a:lnTo>
                <a:lnTo>
                  <a:pt x="291" y="46"/>
                </a:lnTo>
                <a:lnTo>
                  <a:pt x="291" y="44"/>
                </a:lnTo>
                <a:lnTo>
                  <a:pt x="292" y="44"/>
                </a:lnTo>
                <a:lnTo>
                  <a:pt x="291" y="47"/>
                </a:lnTo>
                <a:lnTo>
                  <a:pt x="291" y="46"/>
                </a:lnTo>
                <a:lnTo>
                  <a:pt x="292" y="47"/>
                </a:lnTo>
                <a:lnTo>
                  <a:pt x="294" y="46"/>
                </a:lnTo>
                <a:lnTo>
                  <a:pt x="294" y="47"/>
                </a:lnTo>
                <a:lnTo>
                  <a:pt x="296" y="46"/>
                </a:lnTo>
                <a:lnTo>
                  <a:pt x="296" y="49"/>
                </a:lnTo>
                <a:lnTo>
                  <a:pt x="299" y="47"/>
                </a:lnTo>
                <a:lnTo>
                  <a:pt x="299" y="44"/>
                </a:lnTo>
                <a:lnTo>
                  <a:pt x="303" y="42"/>
                </a:lnTo>
                <a:lnTo>
                  <a:pt x="304" y="42"/>
                </a:lnTo>
                <a:lnTo>
                  <a:pt x="304" y="44"/>
                </a:lnTo>
                <a:lnTo>
                  <a:pt x="308" y="46"/>
                </a:lnTo>
                <a:lnTo>
                  <a:pt x="308" y="47"/>
                </a:lnTo>
                <a:lnTo>
                  <a:pt x="308" y="51"/>
                </a:lnTo>
                <a:lnTo>
                  <a:pt x="308" y="52"/>
                </a:lnTo>
                <a:lnTo>
                  <a:pt x="311" y="52"/>
                </a:lnTo>
                <a:lnTo>
                  <a:pt x="309" y="54"/>
                </a:lnTo>
                <a:lnTo>
                  <a:pt x="311" y="54"/>
                </a:lnTo>
                <a:lnTo>
                  <a:pt x="313" y="56"/>
                </a:lnTo>
                <a:lnTo>
                  <a:pt x="316" y="56"/>
                </a:lnTo>
                <a:lnTo>
                  <a:pt x="316" y="58"/>
                </a:lnTo>
                <a:lnTo>
                  <a:pt x="318" y="59"/>
                </a:lnTo>
                <a:lnTo>
                  <a:pt x="320" y="59"/>
                </a:lnTo>
                <a:lnTo>
                  <a:pt x="318" y="61"/>
                </a:lnTo>
                <a:lnTo>
                  <a:pt x="320" y="59"/>
                </a:lnTo>
                <a:lnTo>
                  <a:pt x="321" y="59"/>
                </a:lnTo>
                <a:lnTo>
                  <a:pt x="320" y="61"/>
                </a:lnTo>
                <a:lnTo>
                  <a:pt x="321" y="61"/>
                </a:lnTo>
                <a:lnTo>
                  <a:pt x="321" y="63"/>
                </a:lnTo>
                <a:lnTo>
                  <a:pt x="323" y="64"/>
                </a:lnTo>
                <a:lnTo>
                  <a:pt x="323" y="66"/>
                </a:lnTo>
                <a:lnTo>
                  <a:pt x="325" y="66"/>
                </a:lnTo>
                <a:lnTo>
                  <a:pt x="325" y="63"/>
                </a:lnTo>
                <a:lnTo>
                  <a:pt x="326" y="63"/>
                </a:lnTo>
                <a:lnTo>
                  <a:pt x="328" y="63"/>
                </a:lnTo>
                <a:lnTo>
                  <a:pt x="330" y="61"/>
                </a:lnTo>
                <a:lnTo>
                  <a:pt x="331" y="61"/>
                </a:lnTo>
                <a:lnTo>
                  <a:pt x="333" y="59"/>
                </a:lnTo>
                <a:lnTo>
                  <a:pt x="333" y="61"/>
                </a:lnTo>
                <a:lnTo>
                  <a:pt x="335" y="61"/>
                </a:lnTo>
                <a:lnTo>
                  <a:pt x="337" y="63"/>
                </a:lnTo>
                <a:lnTo>
                  <a:pt x="338" y="64"/>
                </a:lnTo>
                <a:lnTo>
                  <a:pt x="337" y="66"/>
                </a:lnTo>
                <a:lnTo>
                  <a:pt x="337" y="68"/>
                </a:lnTo>
                <a:lnTo>
                  <a:pt x="335" y="69"/>
                </a:lnTo>
                <a:lnTo>
                  <a:pt x="338" y="71"/>
                </a:lnTo>
                <a:lnTo>
                  <a:pt x="340" y="71"/>
                </a:lnTo>
                <a:lnTo>
                  <a:pt x="340" y="75"/>
                </a:lnTo>
                <a:lnTo>
                  <a:pt x="342" y="75"/>
                </a:lnTo>
                <a:lnTo>
                  <a:pt x="343" y="76"/>
                </a:lnTo>
                <a:lnTo>
                  <a:pt x="340" y="78"/>
                </a:lnTo>
                <a:lnTo>
                  <a:pt x="340" y="80"/>
                </a:lnTo>
                <a:lnTo>
                  <a:pt x="338" y="81"/>
                </a:lnTo>
                <a:lnTo>
                  <a:pt x="340" y="81"/>
                </a:lnTo>
                <a:lnTo>
                  <a:pt x="342" y="83"/>
                </a:lnTo>
                <a:lnTo>
                  <a:pt x="342" y="85"/>
                </a:lnTo>
                <a:lnTo>
                  <a:pt x="343" y="85"/>
                </a:lnTo>
                <a:lnTo>
                  <a:pt x="345" y="86"/>
                </a:lnTo>
                <a:lnTo>
                  <a:pt x="347" y="86"/>
                </a:lnTo>
                <a:lnTo>
                  <a:pt x="348" y="88"/>
                </a:lnTo>
                <a:lnTo>
                  <a:pt x="350" y="88"/>
                </a:lnTo>
                <a:lnTo>
                  <a:pt x="352" y="88"/>
                </a:lnTo>
                <a:lnTo>
                  <a:pt x="354" y="88"/>
                </a:lnTo>
                <a:lnTo>
                  <a:pt x="355" y="88"/>
                </a:lnTo>
                <a:lnTo>
                  <a:pt x="357" y="86"/>
                </a:lnTo>
                <a:lnTo>
                  <a:pt x="359" y="88"/>
                </a:lnTo>
                <a:lnTo>
                  <a:pt x="357" y="90"/>
                </a:lnTo>
                <a:lnTo>
                  <a:pt x="355" y="90"/>
                </a:lnTo>
                <a:lnTo>
                  <a:pt x="359" y="92"/>
                </a:lnTo>
                <a:lnTo>
                  <a:pt x="359" y="93"/>
                </a:lnTo>
                <a:lnTo>
                  <a:pt x="359" y="95"/>
                </a:lnTo>
                <a:lnTo>
                  <a:pt x="360" y="97"/>
                </a:lnTo>
                <a:lnTo>
                  <a:pt x="360" y="98"/>
                </a:lnTo>
                <a:lnTo>
                  <a:pt x="360" y="100"/>
                </a:lnTo>
                <a:lnTo>
                  <a:pt x="360" y="102"/>
                </a:lnTo>
                <a:lnTo>
                  <a:pt x="362" y="104"/>
                </a:lnTo>
                <a:lnTo>
                  <a:pt x="362" y="105"/>
                </a:lnTo>
                <a:lnTo>
                  <a:pt x="362" y="107"/>
                </a:lnTo>
                <a:lnTo>
                  <a:pt x="364" y="107"/>
                </a:lnTo>
                <a:lnTo>
                  <a:pt x="364" y="109"/>
                </a:lnTo>
                <a:lnTo>
                  <a:pt x="364" y="110"/>
                </a:lnTo>
                <a:lnTo>
                  <a:pt x="365" y="114"/>
                </a:lnTo>
                <a:lnTo>
                  <a:pt x="365" y="115"/>
                </a:lnTo>
                <a:lnTo>
                  <a:pt x="365" y="117"/>
                </a:lnTo>
                <a:lnTo>
                  <a:pt x="365" y="121"/>
                </a:lnTo>
                <a:lnTo>
                  <a:pt x="367" y="121"/>
                </a:lnTo>
                <a:lnTo>
                  <a:pt x="367" y="122"/>
                </a:lnTo>
                <a:lnTo>
                  <a:pt x="365" y="124"/>
                </a:lnTo>
                <a:lnTo>
                  <a:pt x="365" y="126"/>
                </a:lnTo>
                <a:lnTo>
                  <a:pt x="364" y="127"/>
                </a:lnTo>
                <a:lnTo>
                  <a:pt x="365" y="129"/>
                </a:lnTo>
                <a:lnTo>
                  <a:pt x="365" y="132"/>
                </a:lnTo>
                <a:lnTo>
                  <a:pt x="365" y="134"/>
                </a:lnTo>
                <a:lnTo>
                  <a:pt x="364" y="136"/>
                </a:lnTo>
                <a:lnTo>
                  <a:pt x="362" y="138"/>
                </a:lnTo>
                <a:lnTo>
                  <a:pt x="360" y="139"/>
                </a:lnTo>
                <a:lnTo>
                  <a:pt x="360" y="141"/>
                </a:lnTo>
                <a:lnTo>
                  <a:pt x="357" y="141"/>
                </a:lnTo>
                <a:lnTo>
                  <a:pt x="355" y="143"/>
                </a:lnTo>
                <a:lnTo>
                  <a:pt x="355" y="144"/>
                </a:lnTo>
                <a:lnTo>
                  <a:pt x="357" y="146"/>
                </a:lnTo>
                <a:lnTo>
                  <a:pt x="357" y="148"/>
                </a:lnTo>
                <a:lnTo>
                  <a:pt x="357" y="149"/>
                </a:lnTo>
                <a:lnTo>
                  <a:pt x="355" y="151"/>
                </a:lnTo>
                <a:lnTo>
                  <a:pt x="357" y="153"/>
                </a:lnTo>
                <a:lnTo>
                  <a:pt x="359" y="153"/>
                </a:lnTo>
                <a:lnTo>
                  <a:pt x="360" y="153"/>
                </a:lnTo>
                <a:lnTo>
                  <a:pt x="362" y="155"/>
                </a:lnTo>
                <a:lnTo>
                  <a:pt x="364" y="156"/>
                </a:lnTo>
                <a:lnTo>
                  <a:pt x="365" y="156"/>
                </a:lnTo>
                <a:lnTo>
                  <a:pt x="365" y="158"/>
                </a:lnTo>
                <a:lnTo>
                  <a:pt x="367" y="158"/>
                </a:lnTo>
                <a:lnTo>
                  <a:pt x="369" y="160"/>
                </a:lnTo>
                <a:lnTo>
                  <a:pt x="369" y="161"/>
                </a:lnTo>
                <a:lnTo>
                  <a:pt x="371" y="161"/>
                </a:lnTo>
                <a:lnTo>
                  <a:pt x="371" y="163"/>
                </a:lnTo>
                <a:lnTo>
                  <a:pt x="372" y="165"/>
                </a:lnTo>
                <a:lnTo>
                  <a:pt x="376" y="165"/>
                </a:lnTo>
                <a:lnTo>
                  <a:pt x="377" y="166"/>
                </a:lnTo>
                <a:lnTo>
                  <a:pt x="377" y="168"/>
                </a:lnTo>
                <a:lnTo>
                  <a:pt x="379" y="168"/>
                </a:lnTo>
                <a:lnTo>
                  <a:pt x="377" y="170"/>
                </a:lnTo>
                <a:lnTo>
                  <a:pt x="377" y="172"/>
                </a:lnTo>
                <a:lnTo>
                  <a:pt x="379" y="173"/>
                </a:lnTo>
                <a:lnTo>
                  <a:pt x="377" y="177"/>
                </a:lnTo>
                <a:lnTo>
                  <a:pt x="377" y="178"/>
                </a:lnTo>
                <a:lnTo>
                  <a:pt x="376" y="178"/>
                </a:lnTo>
                <a:lnTo>
                  <a:pt x="376" y="182"/>
                </a:lnTo>
                <a:lnTo>
                  <a:pt x="376" y="183"/>
                </a:lnTo>
                <a:lnTo>
                  <a:pt x="376" y="185"/>
                </a:lnTo>
                <a:lnTo>
                  <a:pt x="377" y="187"/>
                </a:lnTo>
                <a:lnTo>
                  <a:pt x="377" y="189"/>
                </a:lnTo>
                <a:lnTo>
                  <a:pt x="377" y="190"/>
                </a:lnTo>
                <a:lnTo>
                  <a:pt x="379" y="190"/>
                </a:lnTo>
                <a:lnTo>
                  <a:pt x="381" y="190"/>
                </a:lnTo>
                <a:lnTo>
                  <a:pt x="382" y="190"/>
                </a:lnTo>
                <a:lnTo>
                  <a:pt x="382" y="192"/>
                </a:lnTo>
                <a:lnTo>
                  <a:pt x="382" y="194"/>
                </a:lnTo>
                <a:lnTo>
                  <a:pt x="382" y="195"/>
                </a:lnTo>
                <a:lnTo>
                  <a:pt x="382" y="197"/>
                </a:lnTo>
                <a:lnTo>
                  <a:pt x="382" y="199"/>
                </a:lnTo>
                <a:lnTo>
                  <a:pt x="382" y="200"/>
                </a:lnTo>
                <a:lnTo>
                  <a:pt x="382" y="202"/>
                </a:lnTo>
                <a:lnTo>
                  <a:pt x="386" y="202"/>
                </a:lnTo>
                <a:lnTo>
                  <a:pt x="386" y="204"/>
                </a:lnTo>
                <a:lnTo>
                  <a:pt x="386" y="206"/>
                </a:lnTo>
                <a:lnTo>
                  <a:pt x="384" y="207"/>
                </a:lnTo>
                <a:lnTo>
                  <a:pt x="384" y="211"/>
                </a:lnTo>
                <a:lnTo>
                  <a:pt x="384" y="212"/>
                </a:lnTo>
                <a:lnTo>
                  <a:pt x="384" y="216"/>
                </a:lnTo>
                <a:lnTo>
                  <a:pt x="382" y="216"/>
                </a:lnTo>
                <a:lnTo>
                  <a:pt x="382" y="217"/>
                </a:lnTo>
                <a:lnTo>
                  <a:pt x="381" y="219"/>
                </a:lnTo>
                <a:lnTo>
                  <a:pt x="379" y="221"/>
                </a:lnTo>
                <a:lnTo>
                  <a:pt x="382" y="223"/>
                </a:lnTo>
                <a:lnTo>
                  <a:pt x="382" y="226"/>
                </a:lnTo>
                <a:lnTo>
                  <a:pt x="384" y="228"/>
                </a:lnTo>
                <a:lnTo>
                  <a:pt x="384" y="229"/>
                </a:lnTo>
                <a:lnTo>
                  <a:pt x="386" y="229"/>
                </a:lnTo>
                <a:lnTo>
                  <a:pt x="388" y="231"/>
                </a:lnTo>
                <a:lnTo>
                  <a:pt x="388" y="234"/>
                </a:lnTo>
                <a:lnTo>
                  <a:pt x="388" y="236"/>
                </a:lnTo>
                <a:lnTo>
                  <a:pt x="386" y="238"/>
                </a:lnTo>
                <a:lnTo>
                  <a:pt x="388" y="241"/>
                </a:lnTo>
                <a:lnTo>
                  <a:pt x="389" y="241"/>
                </a:lnTo>
                <a:lnTo>
                  <a:pt x="393" y="243"/>
                </a:lnTo>
                <a:lnTo>
                  <a:pt x="396" y="243"/>
                </a:lnTo>
                <a:lnTo>
                  <a:pt x="398" y="245"/>
                </a:lnTo>
                <a:lnTo>
                  <a:pt x="398" y="246"/>
                </a:lnTo>
                <a:lnTo>
                  <a:pt x="398" y="250"/>
                </a:lnTo>
                <a:lnTo>
                  <a:pt x="399" y="251"/>
                </a:lnTo>
                <a:lnTo>
                  <a:pt x="398" y="251"/>
                </a:lnTo>
                <a:lnTo>
                  <a:pt x="399" y="255"/>
                </a:lnTo>
                <a:lnTo>
                  <a:pt x="401" y="257"/>
                </a:lnTo>
                <a:lnTo>
                  <a:pt x="401" y="258"/>
                </a:lnTo>
                <a:lnTo>
                  <a:pt x="401" y="260"/>
                </a:lnTo>
                <a:lnTo>
                  <a:pt x="401" y="262"/>
                </a:lnTo>
                <a:lnTo>
                  <a:pt x="401" y="263"/>
                </a:lnTo>
                <a:lnTo>
                  <a:pt x="401" y="265"/>
                </a:lnTo>
                <a:lnTo>
                  <a:pt x="401" y="269"/>
                </a:lnTo>
                <a:lnTo>
                  <a:pt x="399" y="269"/>
                </a:lnTo>
                <a:lnTo>
                  <a:pt x="399" y="272"/>
                </a:lnTo>
                <a:lnTo>
                  <a:pt x="399" y="274"/>
                </a:lnTo>
                <a:lnTo>
                  <a:pt x="399" y="275"/>
                </a:lnTo>
                <a:lnTo>
                  <a:pt x="398" y="277"/>
                </a:lnTo>
                <a:lnTo>
                  <a:pt x="398" y="279"/>
                </a:lnTo>
                <a:lnTo>
                  <a:pt x="398" y="282"/>
                </a:lnTo>
                <a:lnTo>
                  <a:pt x="396" y="282"/>
                </a:lnTo>
                <a:lnTo>
                  <a:pt x="396" y="284"/>
                </a:lnTo>
                <a:lnTo>
                  <a:pt x="394" y="286"/>
                </a:lnTo>
                <a:lnTo>
                  <a:pt x="394" y="287"/>
                </a:lnTo>
                <a:lnTo>
                  <a:pt x="394" y="289"/>
                </a:lnTo>
                <a:lnTo>
                  <a:pt x="393" y="291"/>
                </a:lnTo>
                <a:lnTo>
                  <a:pt x="389" y="291"/>
                </a:lnTo>
                <a:lnTo>
                  <a:pt x="389" y="289"/>
                </a:lnTo>
                <a:lnTo>
                  <a:pt x="388" y="289"/>
                </a:lnTo>
                <a:lnTo>
                  <a:pt x="386" y="289"/>
                </a:lnTo>
                <a:lnTo>
                  <a:pt x="386" y="286"/>
                </a:lnTo>
                <a:lnTo>
                  <a:pt x="386" y="284"/>
                </a:lnTo>
                <a:lnTo>
                  <a:pt x="386" y="282"/>
                </a:lnTo>
                <a:lnTo>
                  <a:pt x="384" y="284"/>
                </a:lnTo>
                <a:lnTo>
                  <a:pt x="382" y="284"/>
                </a:lnTo>
                <a:lnTo>
                  <a:pt x="384" y="282"/>
                </a:lnTo>
                <a:lnTo>
                  <a:pt x="384" y="280"/>
                </a:lnTo>
                <a:lnTo>
                  <a:pt x="382" y="277"/>
                </a:lnTo>
                <a:lnTo>
                  <a:pt x="381" y="279"/>
                </a:lnTo>
                <a:lnTo>
                  <a:pt x="379" y="277"/>
                </a:lnTo>
                <a:lnTo>
                  <a:pt x="379" y="275"/>
                </a:lnTo>
                <a:lnTo>
                  <a:pt x="379" y="277"/>
                </a:lnTo>
                <a:lnTo>
                  <a:pt x="377" y="277"/>
                </a:lnTo>
                <a:lnTo>
                  <a:pt x="376" y="277"/>
                </a:lnTo>
                <a:lnTo>
                  <a:pt x="374" y="277"/>
                </a:lnTo>
                <a:lnTo>
                  <a:pt x="372" y="277"/>
                </a:lnTo>
                <a:lnTo>
                  <a:pt x="371" y="275"/>
                </a:lnTo>
                <a:lnTo>
                  <a:pt x="369" y="277"/>
                </a:lnTo>
                <a:lnTo>
                  <a:pt x="371" y="277"/>
                </a:lnTo>
                <a:lnTo>
                  <a:pt x="369" y="280"/>
                </a:lnTo>
                <a:lnTo>
                  <a:pt x="371" y="280"/>
                </a:lnTo>
                <a:lnTo>
                  <a:pt x="372" y="280"/>
                </a:lnTo>
                <a:lnTo>
                  <a:pt x="371" y="282"/>
                </a:lnTo>
                <a:lnTo>
                  <a:pt x="374" y="284"/>
                </a:lnTo>
                <a:lnTo>
                  <a:pt x="374" y="282"/>
                </a:lnTo>
                <a:lnTo>
                  <a:pt x="376" y="284"/>
                </a:lnTo>
                <a:lnTo>
                  <a:pt x="376" y="286"/>
                </a:lnTo>
                <a:lnTo>
                  <a:pt x="374" y="286"/>
                </a:lnTo>
                <a:lnTo>
                  <a:pt x="371" y="287"/>
                </a:lnTo>
                <a:lnTo>
                  <a:pt x="369" y="287"/>
                </a:lnTo>
                <a:lnTo>
                  <a:pt x="367" y="289"/>
                </a:lnTo>
                <a:lnTo>
                  <a:pt x="365" y="291"/>
                </a:lnTo>
                <a:lnTo>
                  <a:pt x="364" y="291"/>
                </a:lnTo>
                <a:lnTo>
                  <a:pt x="362" y="292"/>
                </a:lnTo>
                <a:lnTo>
                  <a:pt x="360" y="294"/>
                </a:lnTo>
                <a:lnTo>
                  <a:pt x="357" y="292"/>
                </a:lnTo>
                <a:lnTo>
                  <a:pt x="355" y="294"/>
                </a:lnTo>
                <a:lnTo>
                  <a:pt x="354" y="294"/>
                </a:lnTo>
                <a:lnTo>
                  <a:pt x="354" y="296"/>
                </a:lnTo>
                <a:lnTo>
                  <a:pt x="354" y="297"/>
                </a:lnTo>
                <a:lnTo>
                  <a:pt x="352" y="297"/>
                </a:lnTo>
                <a:lnTo>
                  <a:pt x="352" y="299"/>
                </a:lnTo>
                <a:lnTo>
                  <a:pt x="350" y="299"/>
                </a:lnTo>
                <a:lnTo>
                  <a:pt x="348" y="299"/>
                </a:lnTo>
                <a:lnTo>
                  <a:pt x="347" y="299"/>
                </a:lnTo>
                <a:lnTo>
                  <a:pt x="345" y="301"/>
                </a:lnTo>
                <a:lnTo>
                  <a:pt x="343" y="299"/>
                </a:lnTo>
                <a:lnTo>
                  <a:pt x="342" y="301"/>
                </a:lnTo>
                <a:lnTo>
                  <a:pt x="338" y="301"/>
                </a:lnTo>
                <a:lnTo>
                  <a:pt x="338" y="303"/>
                </a:lnTo>
                <a:lnTo>
                  <a:pt x="337" y="304"/>
                </a:lnTo>
                <a:lnTo>
                  <a:pt x="338" y="306"/>
                </a:lnTo>
                <a:lnTo>
                  <a:pt x="337" y="306"/>
                </a:lnTo>
                <a:lnTo>
                  <a:pt x="335" y="309"/>
                </a:lnTo>
                <a:lnTo>
                  <a:pt x="333" y="308"/>
                </a:lnTo>
                <a:lnTo>
                  <a:pt x="331" y="306"/>
                </a:lnTo>
                <a:lnTo>
                  <a:pt x="331" y="308"/>
                </a:lnTo>
                <a:lnTo>
                  <a:pt x="330" y="309"/>
                </a:lnTo>
                <a:lnTo>
                  <a:pt x="330" y="311"/>
                </a:lnTo>
                <a:lnTo>
                  <a:pt x="328" y="311"/>
                </a:lnTo>
                <a:lnTo>
                  <a:pt x="328" y="309"/>
                </a:lnTo>
                <a:lnTo>
                  <a:pt x="326" y="309"/>
                </a:lnTo>
                <a:lnTo>
                  <a:pt x="325" y="313"/>
                </a:lnTo>
                <a:lnTo>
                  <a:pt x="323" y="316"/>
                </a:lnTo>
                <a:lnTo>
                  <a:pt x="321" y="316"/>
                </a:lnTo>
                <a:lnTo>
                  <a:pt x="320" y="316"/>
                </a:lnTo>
                <a:lnTo>
                  <a:pt x="316" y="316"/>
                </a:lnTo>
                <a:lnTo>
                  <a:pt x="316" y="320"/>
                </a:lnTo>
                <a:lnTo>
                  <a:pt x="316" y="321"/>
                </a:lnTo>
                <a:lnTo>
                  <a:pt x="314" y="323"/>
                </a:lnTo>
                <a:lnTo>
                  <a:pt x="313" y="323"/>
                </a:lnTo>
                <a:lnTo>
                  <a:pt x="311" y="323"/>
                </a:lnTo>
                <a:lnTo>
                  <a:pt x="311" y="321"/>
                </a:lnTo>
                <a:lnTo>
                  <a:pt x="308" y="321"/>
                </a:lnTo>
                <a:lnTo>
                  <a:pt x="308" y="320"/>
                </a:lnTo>
                <a:lnTo>
                  <a:pt x="306" y="321"/>
                </a:lnTo>
                <a:lnTo>
                  <a:pt x="304" y="323"/>
                </a:lnTo>
                <a:lnTo>
                  <a:pt x="303" y="325"/>
                </a:lnTo>
                <a:lnTo>
                  <a:pt x="301" y="323"/>
                </a:lnTo>
                <a:lnTo>
                  <a:pt x="297" y="323"/>
                </a:lnTo>
                <a:lnTo>
                  <a:pt x="297" y="325"/>
                </a:lnTo>
                <a:lnTo>
                  <a:pt x="296" y="325"/>
                </a:lnTo>
                <a:lnTo>
                  <a:pt x="294" y="325"/>
                </a:lnTo>
                <a:lnTo>
                  <a:pt x="292" y="326"/>
                </a:lnTo>
                <a:lnTo>
                  <a:pt x="292" y="328"/>
                </a:lnTo>
                <a:lnTo>
                  <a:pt x="291" y="330"/>
                </a:lnTo>
                <a:lnTo>
                  <a:pt x="289" y="330"/>
                </a:lnTo>
                <a:lnTo>
                  <a:pt x="289" y="333"/>
                </a:lnTo>
                <a:lnTo>
                  <a:pt x="287" y="333"/>
                </a:lnTo>
                <a:lnTo>
                  <a:pt x="287" y="337"/>
                </a:lnTo>
                <a:lnTo>
                  <a:pt x="286" y="337"/>
                </a:lnTo>
                <a:lnTo>
                  <a:pt x="286" y="338"/>
                </a:lnTo>
                <a:lnTo>
                  <a:pt x="286" y="340"/>
                </a:lnTo>
                <a:lnTo>
                  <a:pt x="286" y="342"/>
                </a:lnTo>
                <a:lnTo>
                  <a:pt x="284" y="340"/>
                </a:lnTo>
                <a:lnTo>
                  <a:pt x="284" y="338"/>
                </a:lnTo>
                <a:lnTo>
                  <a:pt x="282" y="337"/>
                </a:lnTo>
                <a:lnTo>
                  <a:pt x="282" y="335"/>
                </a:lnTo>
                <a:lnTo>
                  <a:pt x="280" y="335"/>
                </a:lnTo>
                <a:lnTo>
                  <a:pt x="280" y="331"/>
                </a:lnTo>
                <a:lnTo>
                  <a:pt x="279" y="331"/>
                </a:lnTo>
                <a:lnTo>
                  <a:pt x="277" y="331"/>
                </a:lnTo>
                <a:lnTo>
                  <a:pt x="275" y="331"/>
                </a:lnTo>
                <a:lnTo>
                  <a:pt x="277" y="331"/>
                </a:lnTo>
                <a:lnTo>
                  <a:pt x="277" y="333"/>
                </a:lnTo>
                <a:lnTo>
                  <a:pt x="275" y="337"/>
                </a:lnTo>
                <a:lnTo>
                  <a:pt x="277" y="337"/>
                </a:lnTo>
                <a:lnTo>
                  <a:pt x="279" y="338"/>
                </a:lnTo>
                <a:lnTo>
                  <a:pt x="280" y="340"/>
                </a:lnTo>
                <a:lnTo>
                  <a:pt x="280" y="342"/>
                </a:lnTo>
                <a:lnTo>
                  <a:pt x="280" y="343"/>
                </a:lnTo>
                <a:lnTo>
                  <a:pt x="280" y="345"/>
                </a:lnTo>
                <a:lnTo>
                  <a:pt x="282" y="347"/>
                </a:lnTo>
                <a:lnTo>
                  <a:pt x="284" y="348"/>
                </a:lnTo>
                <a:lnTo>
                  <a:pt x="286" y="348"/>
                </a:lnTo>
                <a:lnTo>
                  <a:pt x="286" y="350"/>
                </a:lnTo>
                <a:lnTo>
                  <a:pt x="287" y="350"/>
                </a:lnTo>
                <a:lnTo>
                  <a:pt x="287" y="352"/>
                </a:lnTo>
                <a:lnTo>
                  <a:pt x="291" y="352"/>
                </a:lnTo>
                <a:lnTo>
                  <a:pt x="291" y="354"/>
                </a:lnTo>
                <a:lnTo>
                  <a:pt x="292" y="354"/>
                </a:lnTo>
                <a:lnTo>
                  <a:pt x="294" y="354"/>
                </a:lnTo>
                <a:lnTo>
                  <a:pt x="292" y="357"/>
                </a:lnTo>
                <a:lnTo>
                  <a:pt x="294" y="357"/>
                </a:lnTo>
                <a:lnTo>
                  <a:pt x="296" y="359"/>
                </a:lnTo>
                <a:lnTo>
                  <a:pt x="296" y="360"/>
                </a:lnTo>
                <a:lnTo>
                  <a:pt x="296" y="362"/>
                </a:lnTo>
                <a:lnTo>
                  <a:pt x="294" y="362"/>
                </a:lnTo>
                <a:lnTo>
                  <a:pt x="294" y="364"/>
                </a:lnTo>
                <a:lnTo>
                  <a:pt x="292" y="365"/>
                </a:lnTo>
                <a:lnTo>
                  <a:pt x="294" y="367"/>
                </a:lnTo>
                <a:lnTo>
                  <a:pt x="292" y="367"/>
                </a:lnTo>
                <a:lnTo>
                  <a:pt x="291" y="369"/>
                </a:lnTo>
                <a:lnTo>
                  <a:pt x="291" y="371"/>
                </a:lnTo>
                <a:lnTo>
                  <a:pt x="292" y="374"/>
                </a:lnTo>
                <a:lnTo>
                  <a:pt x="294" y="374"/>
                </a:lnTo>
                <a:lnTo>
                  <a:pt x="296" y="374"/>
                </a:lnTo>
                <a:lnTo>
                  <a:pt x="296" y="377"/>
                </a:lnTo>
                <a:lnTo>
                  <a:pt x="296" y="379"/>
                </a:lnTo>
                <a:lnTo>
                  <a:pt x="297" y="379"/>
                </a:lnTo>
                <a:lnTo>
                  <a:pt x="299" y="381"/>
                </a:lnTo>
                <a:lnTo>
                  <a:pt x="299" y="384"/>
                </a:lnTo>
                <a:lnTo>
                  <a:pt x="303" y="386"/>
                </a:lnTo>
                <a:lnTo>
                  <a:pt x="303" y="389"/>
                </a:lnTo>
                <a:lnTo>
                  <a:pt x="301" y="389"/>
                </a:lnTo>
                <a:lnTo>
                  <a:pt x="303" y="393"/>
                </a:lnTo>
                <a:lnTo>
                  <a:pt x="304" y="393"/>
                </a:lnTo>
                <a:lnTo>
                  <a:pt x="308" y="394"/>
                </a:lnTo>
                <a:lnTo>
                  <a:pt x="308" y="396"/>
                </a:lnTo>
                <a:lnTo>
                  <a:pt x="309" y="398"/>
                </a:lnTo>
                <a:lnTo>
                  <a:pt x="311" y="398"/>
                </a:lnTo>
                <a:lnTo>
                  <a:pt x="313" y="399"/>
                </a:lnTo>
                <a:lnTo>
                  <a:pt x="313" y="398"/>
                </a:lnTo>
                <a:lnTo>
                  <a:pt x="316" y="398"/>
                </a:lnTo>
                <a:lnTo>
                  <a:pt x="318" y="398"/>
                </a:lnTo>
                <a:lnTo>
                  <a:pt x="320" y="401"/>
                </a:lnTo>
                <a:lnTo>
                  <a:pt x="320" y="403"/>
                </a:lnTo>
                <a:lnTo>
                  <a:pt x="323" y="405"/>
                </a:lnTo>
                <a:lnTo>
                  <a:pt x="325" y="406"/>
                </a:lnTo>
                <a:lnTo>
                  <a:pt x="325" y="408"/>
                </a:lnTo>
                <a:lnTo>
                  <a:pt x="326" y="410"/>
                </a:lnTo>
                <a:lnTo>
                  <a:pt x="328" y="411"/>
                </a:lnTo>
                <a:lnTo>
                  <a:pt x="330" y="413"/>
                </a:lnTo>
                <a:lnTo>
                  <a:pt x="331" y="413"/>
                </a:lnTo>
                <a:lnTo>
                  <a:pt x="335" y="415"/>
                </a:lnTo>
                <a:lnTo>
                  <a:pt x="337" y="417"/>
                </a:lnTo>
                <a:lnTo>
                  <a:pt x="338" y="418"/>
                </a:lnTo>
                <a:lnTo>
                  <a:pt x="337" y="418"/>
                </a:lnTo>
                <a:lnTo>
                  <a:pt x="338" y="422"/>
                </a:lnTo>
                <a:lnTo>
                  <a:pt x="338" y="423"/>
                </a:lnTo>
                <a:lnTo>
                  <a:pt x="342" y="425"/>
                </a:lnTo>
                <a:lnTo>
                  <a:pt x="343" y="423"/>
                </a:lnTo>
                <a:lnTo>
                  <a:pt x="347" y="423"/>
                </a:lnTo>
                <a:lnTo>
                  <a:pt x="348" y="425"/>
                </a:lnTo>
                <a:lnTo>
                  <a:pt x="348" y="423"/>
                </a:lnTo>
                <a:lnTo>
                  <a:pt x="348" y="425"/>
                </a:lnTo>
                <a:lnTo>
                  <a:pt x="350" y="428"/>
                </a:lnTo>
                <a:lnTo>
                  <a:pt x="354" y="428"/>
                </a:lnTo>
                <a:lnTo>
                  <a:pt x="354" y="430"/>
                </a:lnTo>
                <a:lnTo>
                  <a:pt x="355" y="432"/>
                </a:lnTo>
                <a:lnTo>
                  <a:pt x="357" y="432"/>
                </a:lnTo>
                <a:lnTo>
                  <a:pt x="357" y="434"/>
                </a:lnTo>
                <a:lnTo>
                  <a:pt x="357" y="435"/>
                </a:lnTo>
                <a:lnTo>
                  <a:pt x="359" y="435"/>
                </a:lnTo>
                <a:lnTo>
                  <a:pt x="359" y="439"/>
                </a:lnTo>
                <a:lnTo>
                  <a:pt x="357" y="440"/>
                </a:lnTo>
                <a:lnTo>
                  <a:pt x="359" y="440"/>
                </a:lnTo>
                <a:lnTo>
                  <a:pt x="359" y="442"/>
                </a:lnTo>
                <a:lnTo>
                  <a:pt x="359" y="444"/>
                </a:lnTo>
                <a:lnTo>
                  <a:pt x="359" y="447"/>
                </a:lnTo>
                <a:lnTo>
                  <a:pt x="357" y="449"/>
                </a:lnTo>
                <a:lnTo>
                  <a:pt x="357" y="451"/>
                </a:lnTo>
                <a:lnTo>
                  <a:pt x="357" y="452"/>
                </a:lnTo>
                <a:lnTo>
                  <a:pt x="355" y="451"/>
                </a:lnTo>
                <a:lnTo>
                  <a:pt x="355" y="454"/>
                </a:lnTo>
                <a:lnTo>
                  <a:pt x="354" y="454"/>
                </a:lnTo>
                <a:lnTo>
                  <a:pt x="352" y="452"/>
                </a:lnTo>
                <a:lnTo>
                  <a:pt x="350" y="452"/>
                </a:lnTo>
                <a:lnTo>
                  <a:pt x="348" y="451"/>
                </a:lnTo>
                <a:lnTo>
                  <a:pt x="347" y="451"/>
                </a:lnTo>
                <a:lnTo>
                  <a:pt x="345" y="449"/>
                </a:lnTo>
                <a:lnTo>
                  <a:pt x="343" y="449"/>
                </a:lnTo>
                <a:lnTo>
                  <a:pt x="343" y="452"/>
                </a:lnTo>
                <a:lnTo>
                  <a:pt x="342" y="452"/>
                </a:lnTo>
                <a:lnTo>
                  <a:pt x="342" y="454"/>
                </a:lnTo>
                <a:lnTo>
                  <a:pt x="342" y="456"/>
                </a:lnTo>
                <a:lnTo>
                  <a:pt x="342" y="459"/>
                </a:lnTo>
                <a:lnTo>
                  <a:pt x="342" y="461"/>
                </a:lnTo>
                <a:lnTo>
                  <a:pt x="340" y="462"/>
                </a:lnTo>
                <a:lnTo>
                  <a:pt x="340" y="464"/>
                </a:lnTo>
                <a:lnTo>
                  <a:pt x="338" y="466"/>
                </a:lnTo>
                <a:lnTo>
                  <a:pt x="337" y="469"/>
                </a:lnTo>
                <a:lnTo>
                  <a:pt x="335" y="469"/>
                </a:lnTo>
                <a:lnTo>
                  <a:pt x="333" y="471"/>
                </a:lnTo>
                <a:lnTo>
                  <a:pt x="330" y="471"/>
                </a:lnTo>
                <a:lnTo>
                  <a:pt x="328" y="473"/>
                </a:lnTo>
                <a:lnTo>
                  <a:pt x="325" y="473"/>
                </a:lnTo>
                <a:lnTo>
                  <a:pt x="323" y="474"/>
                </a:lnTo>
                <a:lnTo>
                  <a:pt x="321" y="476"/>
                </a:lnTo>
                <a:lnTo>
                  <a:pt x="320" y="478"/>
                </a:lnTo>
                <a:lnTo>
                  <a:pt x="318" y="478"/>
                </a:lnTo>
                <a:lnTo>
                  <a:pt x="316" y="478"/>
                </a:lnTo>
                <a:lnTo>
                  <a:pt x="314" y="481"/>
                </a:lnTo>
                <a:lnTo>
                  <a:pt x="313" y="483"/>
                </a:lnTo>
                <a:lnTo>
                  <a:pt x="311" y="483"/>
                </a:lnTo>
                <a:lnTo>
                  <a:pt x="311" y="485"/>
                </a:lnTo>
                <a:lnTo>
                  <a:pt x="311" y="486"/>
                </a:lnTo>
                <a:lnTo>
                  <a:pt x="311" y="488"/>
                </a:lnTo>
                <a:lnTo>
                  <a:pt x="313" y="488"/>
                </a:lnTo>
                <a:lnTo>
                  <a:pt x="314" y="490"/>
                </a:lnTo>
                <a:lnTo>
                  <a:pt x="316" y="491"/>
                </a:lnTo>
                <a:lnTo>
                  <a:pt x="316" y="495"/>
                </a:lnTo>
                <a:lnTo>
                  <a:pt x="318" y="495"/>
                </a:lnTo>
                <a:lnTo>
                  <a:pt x="320" y="496"/>
                </a:lnTo>
                <a:lnTo>
                  <a:pt x="320" y="498"/>
                </a:lnTo>
                <a:lnTo>
                  <a:pt x="321" y="498"/>
                </a:lnTo>
                <a:lnTo>
                  <a:pt x="321" y="500"/>
                </a:lnTo>
                <a:lnTo>
                  <a:pt x="323" y="503"/>
                </a:lnTo>
                <a:lnTo>
                  <a:pt x="321" y="507"/>
                </a:lnTo>
                <a:lnTo>
                  <a:pt x="320" y="508"/>
                </a:lnTo>
                <a:lnTo>
                  <a:pt x="321" y="508"/>
                </a:lnTo>
                <a:lnTo>
                  <a:pt x="320" y="510"/>
                </a:lnTo>
                <a:lnTo>
                  <a:pt x="320" y="512"/>
                </a:lnTo>
                <a:lnTo>
                  <a:pt x="321" y="512"/>
                </a:lnTo>
                <a:lnTo>
                  <a:pt x="323" y="512"/>
                </a:lnTo>
                <a:lnTo>
                  <a:pt x="325" y="512"/>
                </a:lnTo>
                <a:lnTo>
                  <a:pt x="326" y="513"/>
                </a:lnTo>
                <a:lnTo>
                  <a:pt x="326" y="515"/>
                </a:lnTo>
                <a:lnTo>
                  <a:pt x="328" y="517"/>
                </a:lnTo>
                <a:lnTo>
                  <a:pt x="326" y="520"/>
                </a:lnTo>
                <a:lnTo>
                  <a:pt x="326" y="522"/>
                </a:lnTo>
                <a:lnTo>
                  <a:pt x="325" y="525"/>
                </a:lnTo>
                <a:lnTo>
                  <a:pt x="326" y="527"/>
                </a:lnTo>
                <a:lnTo>
                  <a:pt x="325" y="529"/>
                </a:lnTo>
                <a:lnTo>
                  <a:pt x="323" y="529"/>
                </a:lnTo>
                <a:lnTo>
                  <a:pt x="321" y="529"/>
                </a:lnTo>
                <a:lnTo>
                  <a:pt x="320" y="527"/>
                </a:lnTo>
                <a:lnTo>
                  <a:pt x="318" y="525"/>
                </a:lnTo>
                <a:lnTo>
                  <a:pt x="316" y="525"/>
                </a:lnTo>
                <a:lnTo>
                  <a:pt x="316" y="524"/>
                </a:lnTo>
                <a:lnTo>
                  <a:pt x="314" y="524"/>
                </a:lnTo>
                <a:lnTo>
                  <a:pt x="313" y="522"/>
                </a:lnTo>
                <a:lnTo>
                  <a:pt x="314" y="519"/>
                </a:lnTo>
                <a:lnTo>
                  <a:pt x="313" y="519"/>
                </a:lnTo>
                <a:lnTo>
                  <a:pt x="313" y="517"/>
                </a:lnTo>
                <a:lnTo>
                  <a:pt x="313" y="515"/>
                </a:lnTo>
                <a:lnTo>
                  <a:pt x="311" y="515"/>
                </a:lnTo>
                <a:lnTo>
                  <a:pt x="308" y="515"/>
                </a:lnTo>
                <a:lnTo>
                  <a:pt x="306" y="515"/>
                </a:lnTo>
                <a:lnTo>
                  <a:pt x="304" y="515"/>
                </a:lnTo>
                <a:lnTo>
                  <a:pt x="304" y="517"/>
                </a:lnTo>
                <a:lnTo>
                  <a:pt x="303" y="519"/>
                </a:lnTo>
                <a:lnTo>
                  <a:pt x="301" y="519"/>
                </a:lnTo>
                <a:lnTo>
                  <a:pt x="299" y="519"/>
                </a:lnTo>
                <a:lnTo>
                  <a:pt x="297" y="517"/>
                </a:lnTo>
                <a:lnTo>
                  <a:pt x="297" y="515"/>
                </a:lnTo>
                <a:lnTo>
                  <a:pt x="297" y="513"/>
                </a:lnTo>
                <a:lnTo>
                  <a:pt x="296" y="515"/>
                </a:lnTo>
                <a:lnTo>
                  <a:pt x="294" y="515"/>
                </a:lnTo>
                <a:lnTo>
                  <a:pt x="292" y="513"/>
                </a:lnTo>
                <a:lnTo>
                  <a:pt x="289" y="515"/>
                </a:lnTo>
                <a:lnTo>
                  <a:pt x="287" y="515"/>
                </a:lnTo>
                <a:lnTo>
                  <a:pt x="289" y="512"/>
                </a:lnTo>
                <a:lnTo>
                  <a:pt x="287" y="512"/>
                </a:lnTo>
                <a:lnTo>
                  <a:pt x="287" y="513"/>
                </a:lnTo>
                <a:lnTo>
                  <a:pt x="286" y="513"/>
                </a:lnTo>
                <a:lnTo>
                  <a:pt x="284" y="513"/>
                </a:lnTo>
                <a:lnTo>
                  <a:pt x="284" y="515"/>
                </a:lnTo>
                <a:lnTo>
                  <a:pt x="286" y="519"/>
                </a:lnTo>
                <a:lnTo>
                  <a:pt x="286" y="520"/>
                </a:lnTo>
                <a:lnTo>
                  <a:pt x="284" y="522"/>
                </a:lnTo>
                <a:lnTo>
                  <a:pt x="284" y="520"/>
                </a:lnTo>
                <a:lnTo>
                  <a:pt x="282" y="520"/>
                </a:lnTo>
                <a:lnTo>
                  <a:pt x="280" y="520"/>
                </a:lnTo>
                <a:lnTo>
                  <a:pt x="279" y="520"/>
                </a:lnTo>
                <a:lnTo>
                  <a:pt x="277" y="520"/>
                </a:lnTo>
                <a:lnTo>
                  <a:pt x="275" y="520"/>
                </a:lnTo>
                <a:lnTo>
                  <a:pt x="272" y="520"/>
                </a:lnTo>
                <a:lnTo>
                  <a:pt x="269" y="522"/>
                </a:lnTo>
                <a:lnTo>
                  <a:pt x="269" y="524"/>
                </a:lnTo>
                <a:lnTo>
                  <a:pt x="265" y="522"/>
                </a:lnTo>
                <a:lnTo>
                  <a:pt x="262" y="522"/>
                </a:lnTo>
                <a:lnTo>
                  <a:pt x="260" y="524"/>
                </a:lnTo>
                <a:lnTo>
                  <a:pt x="258" y="522"/>
                </a:lnTo>
                <a:lnTo>
                  <a:pt x="258" y="524"/>
                </a:lnTo>
                <a:lnTo>
                  <a:pt x="257" y="525"/>
                </a:lnTo>
                <a:lnTo>
                  <a:pt x="257" y="527"/>
                </a:lnTo>
                <a:lnTo>
                  <a:pt x="257" y="529"/>
                </a:lnTo>
                <a:lnTo>
                  <a:pt x="253" y="529"/>
                </a:lnTo>
                <a:lnTo>
                  <a:pt x="250" y="529"/>
                </a:lnTo>
                <a:lnTo>
                  <a:pt x="248" y="530"/>
                </a:lnTo>
                <a:lnTo>
                  <a:pt x="250" y="534"/>
                </a:lnTo>
                <a:lnTo>
                  <a:pt x="246" y="534"/>
                </a:lnTo>
                <a:lnTo>
                  <a:pt x="245" y="532"/>
                </a:lnTo>
                <a:lnTo>
                  <a:pt x="243" y="534"/>
                </a:lnTo>
                <a:lnTo>
                  <a:pt x="241" y="537"/>
                </a:lnTo>
                <a:lnTo>
                  <a:pt x="240" y="537"/>
                </a:lnTo>
                <a:lnTo>
                  <a:pt x="241" y="534"/>
                </a:lnTo>
                <a:lnTo>
                  <a:pt x="240" y="534"/>
                </a:lnTo>
                <a:lnTo>
                  <a:pt x="238" y="534"/>
                </a:lnTo>
                <a:lnTo>
                  <a:pt x="236" y="536"/>
                </a:lnTo>
                <a:lnTo>
                  <a:pt x="235" y="536"/>
                </a:lnTo>
                <a:lnTo>
                  <a:pt x="235" y="537"/>
                </a:lnTo>
                <a:lnTo>
                  <a:pt x="233" y="537"/>
                </a:lnTo>
                <a:lnTo>
                  <a:pt x="231" y="537"/>
                </a:lnTo>
                <a:lnTo>
                  <a:pt x="228" y="537"/>
                </a:lnTo>
                <a:lnTo>
                  <a:pt x="228" y="534"/>
                </a:lnTo>
                <a:lnTo>
                  <a:pt x="228" y="532"/>
                </a:lnTo>
                <a:lnTo>
                  <a:pt x="226" y="532"/>
                </a:lnTo>
                <a:lnTo>
                  <a:pt x="226" y="530"/>
                </a:lnTo>
                <a:lnTo>
                  <a:pt x="223" y="530"/>
                </a:lnTo>
                <a:lnTo>
                  <a:pt x="223" y="529"/>
                </a:lnTo>
                <a:lnTo>
                  <a:pt x="224" y="529"/>
                </a:lnTo>
                <a:lnTo>
                  <a:pt x="224" y="527"/>
                </a:lnTo>
                <a:lnTo>
                  <a:pt x="221" y="527"/>
                </a:lnTo>
                <a:lnTo>
                  <a:pt x="219" y="529"/>
                </a:lnTo>
                <a:lnTo>
                  <a:pt x="218" y="527"/>
                </a:lnTo>
                <a:lnTo>
                  <a:pt x="214" y="527"/>
                </a:lnTo>
                <a:lnTo>
                  <a:pt x="214" y="525"/>
                </a:lnTo>
                <a:lnTo>
                  <a:pt x="212" y="525"/>
                </a:lnTo>
                <a:lnTo>
                  <a:pt x="211" y="525"/>
                </a:lnTo>
                <a:lnTo>
                  <a:pt x="209" y="527"/>
                </a:lnTo>
                <a:lnTo>
                  <a:pt x="207" y="527"/>
                </a:lnTo>
                <a:lnTo>
                  <a:pt x="206" y="527"/>
                </a:lnTo>
                <a:lnTo>
                  <a:pt x="204" y="525"/>
                </a:lnTo>
                <a:lnTo>
                  <a:pt x="204" y="524"/>
                </a:lnTo>
                <a:lnTo>
                  <a:pt x="202" y="524"/>
                </a:lnTo>
                <a:lnTo>
                  <a:pt x="204" y="525"/>
                </a:lnTo>
                <a:lnTo>
                  <a:pt x="202" y="529"/>
                </a:lnTo>
                <a:lnTo>
                  <a:pt x="204" y="532"/>
                </a:lnTo>
                <a:lnTo>
                  <a:pt x="204" y="534"/>
                </a:lnTo>
                <a:lnTo>
                  <a:pt x="202" y="536"/>
                </a:lnTo>
                <a:lnTo>
                  <a:pt x="202" y="539"/>
                </a:lnTo>
                <a:lnTo>
                  <a:pt x="201" y="539"/>
                </a:lnTo>
                <a:lnTo>
                  <a:pt x="201" y="541"/>
                </a:lnTo>
                <a:lnTo>
                  <a:pt x="199" y="541"/>
                </a:lnTo>
                <a:lnTo>
                  <a:pt x="197" y="544"/>
                </a:lnTo>
                <a:lnTo>
                  <a:pt x="195" y="544"/>
                </a:lnTo>
                <a:lnTo>
                  <a:pt x="192" y="546"/>
                </a:lnTo>
                <a:lnTo>
                  <a:pt x="190" y="546"/>
                </a:lnTo>
                <a:lnTo>
                  <a:pt x="190" y="544"/>
                </a:lnTo>
                <a:lnTo>
                  <a:pt x="192" y="542"/>
                </a:lnTo>
                <a:lnTo>
                  <a:pt x="190" y="542"/>
                </a:lnTo>
                <a:lnTo>
                  <a:pt x="192" y="541"/>
                </a:lnTo>
                <a:lnTo>
                  <a:pt x="194" y="539"/>
                </a:lnTo>
                <a:lnTo>
                  <a:pt x="192" y="539"/>
                </a:lnTo>
                <a:lnTo>
                  <a:pt x="190" y="537"/>
                </a:lnTo>
                <a:lnTo>
                  <a:pt x="190" y="539"/>
                </a:lnTo>
                <a:lnTo>
                  <a:pt x="187" y="539"/>
                </a:lnTo>
                <a:lnTo>
                  <a:pt x="187" y="541"/>
                </a:lnTo>
                <a:lnTo>
                  <a:pt x="185" y="537"/>
                </a:lnTo>
                <a:lnTo>
                  <a:pt x="185" y="536"/>
                </a:lnTo>
                <a:lnTo>
                  <a:pt x="187" y="536"/>
                </a:lnTo>
                <a:lnTo>
                  <a:pt x="185" y="532"/>
                </a:lnTo>
                <a:lnTo>
                  <a:pt x="184" y="530"/>
                </a:lnTo>
                <a:lnTo>
                  <a:pt x="182" y="530"/>
                </a:lnTo>
                <a:lnTo>
                  <a:pt x="180" y="529"/>
                </a:lnTo>
                <a:lnTo>
                  <a:pt x="180" y="527"/>
                </a:lnTo>
                <a:lnTo>
                  <a:pt x="178" y="527"/>
                </a:lnTo>
                <a:lnTo>
                  <a:pt x="177" y="527"/>
                </a:lnTo>
                <a:lnTo>
                  <a:pt x="175" y="527"/>
                </a:lnTo>
                <a:lnTo>
                  <a:pt x="173" y="527"/>
                </a:lnTo>
                <a:lnTo>
                  <a:pt x="173" y="524"/>
                </a:lnTo>
                <a:lnTo>
                  <a:pt x="172" y="524"/>
                </a:lnTo>
                <a:lnTo>
                  <a:pt x="170" y="525"/>
                </a:lnTo>
                <a:lnTo>
                  <a:pt x="168" y="527"/>
                </a:lnTo>
                <a:lnTo>
                  <a:pt x="167" y="527"/>
                </a:lnTo>
                <a:lnTo>
                  <a:pt x="167" y="525"/>
                </a:lnTo>
                <a:lnTo>
                  <a:pt x="165" y="525"/>
                </a:lnTo>
                <a:lnTo>
                  <a:pt x="163" y="525"/>
                </a:lnTo>
                <a:lnTo>
                  <a:pt x="163" y="524"/>
                </a:lnTo>
                <a:lnTo>
                  <a:pt x="160" y="524"/>
                </a:lnTo>
                <a:lnTo>
                  <a:pt x="160" y="522"/>
                </a:lnTo>
                <a:lnTo>
                  <a:pt x="158" y="520"/>
                </a:lnTo>
                <a:lnTo>
                  <a:pt x="158" y="519"/>
                </a:lnTo>
                <a:lnTo>
                  <a:pt x="156" y="519"/>
                </a:lnTo>
                <a:lnTo>
                  <a:pt x="153" y="519"/>
                </a:lnTo>
                <a:lnTo>
                  <a:pt x="151" y="519"/>
                </a:lnTo>
                <a:lnTo>
                  <a:pt x="150" y="517"/>
                </a:lnTo>
                <a:lnTo>
                  <a:pt x="148" y="517"/>
                </a:lnTo>
                <a:lnTo>
                  <a:pt x="146" y="515"/>
                </a:lnTo>
                <a:lnTo>
                  <a:pt x="144" y="512"/>
                </a:lnTo>
                <a:lnTo>
                  <a:pt x="143" y="510"/>
                </a:lnTo>
                <a:lnTo>
                  <a:pt x="141" y="510"/>
                </a:lnTo>
                <a:lnTo>
                  <a:pt x="139" y="508"/>
                </a:lnTo>
                <a:lnTo>
                  <a:pt x="138" y="507"/>
                </a:lnTo>
                <a:lnTo>
                  <a:pt x="136" y="507"/>
                </a:lnTo>
                <a:lnTo>
                  <a:pt x="136" y="508"/>
                </a:lnTo>
                <a:lnTo>
                  <a:pt x="138" y="508"/>
                </a:lnTo>
                <a:lnTo>
                  <a:pt x="138" y="510"/>
                </a:lnTo>
                <a:lnTo>
                  <a:pt x="141" y="512"/>
                </a:lnTo>
                <a:lnTo>
                  <a:pt x="143" y="513"/>
                </a:lnTo>
                <a:lnTo>
                  <a:pt x="143" y="515"/>
                </a:lnTo>
                <a:lnTo>
                  <a:pt x="144" y="517"/>
                </a:lnTo>
                <a:lnTo>
                  <a:pt x="144" y="519"/>
                </a:lnTo>
                <a:lnTo>
                  <a:pt x="143" y="519"/>
                </a:lnTo>
                <a:lnTo>
                  <a:pt x="141" y="519"/>
                </a:lnTo>
                <a:lnTo>
                  <a:pt x="141" y="517"/>
                </a:lnTo>
                <a:lnTo>
                  <a:pt x="139" y="517"/>
                </a:lnTo>
                <a:close/>
                <a:moveTo>
                  <a:pt x="320" y="24"/>
                </a:moveTo>
                <a:lnTo>
                  <a:pt x="320" y="25"/>
                </a:lnTo>
                <a:lnTo>
                  <a:pt x="318" y="27"/>
                </a:lnTo>
                <a:lnTo>
                  <a:pt x="320" y="30"/>
                </a:lnTo>
                <a:lnTo>
                  <a:pt x="321" y="32"/>
                </a:lnTo>
                <a:lnTo>
                  <a:pt x="323" y="32"/>
                </a:lnTo>
                <a:lnTo>
                  <a:pt x="325" y="32"/>
                </a:lnTo>
                <a:lnTo>
                  <a:pt x="325" y="30"/>
                </a:lnTo>
                <a:lnTo>
                  <a:pt x="326" y="30"/>
                </a:lnTo>
                <a:lnTo>
                  <a:pt x="328" y="30"/>
                </a:lnTo>
                <a:lnTo>
                  <a:pt x="331" y="32"/>
                </a:lnTo>
                <a:lnTo>
                  <a:pt x="330" y="35"/>
                </a:lnTo>
                <a:lnTo>
                  <a:pt x="328" y="37"/>
                </a:lnTo>
                <a:lnTo>
                  <a:pt x="326" y="37"/>
                </a:lnTo>
                <a:lnTo>
                  <a:pt x="326" y="41"/>
                </a:lnTo>
                <a:lnTo>
                  <a:pt x="328" y="42"/>
                </a:lnTo>
                <a:lnTo>
                  <a:pt x="331" y="44"/>
                </a:lnTo>
                <a:lnTo>
                  <a:pt x="333" y="44"/>
                </a:lnTo>
                <a:lnTo>
                  <a:pt x="333" y="46"/>
                </a:lnTo>
                <a:lnTo>
                  <a:pt x="335" y="47"/>
                </a:lnTo>
                <a:lnTo>
                  <a:pt x="333" y="49"/>
                </a:lnTo>
                <a:lnTo>
                  <a:pt x="333" y="52"/>
                </a:lnTo>
                <a:lnTo>
                  <a:pt x="331" y="51"/>
                </a:lnTo>
                <a:lnTo>
                  <a:pt x="333" y="51"/>
                </a:lnTo>
                <a:lnTo>
                  <a:pt x="331" y="51"/>
                </a:lnTo>
                <a:lnTo>
                  <a:pt x="330" y="51"/>
                </a:lnTo>
                <a:lnTo>
                  <a:pt x="333" y="49"/>
                </a:lnTo>
                <a:lnTo>
                  <a:pt x="331" y="47"/>
                </a:lnTo>
                <a:lnTo>
                  <a:pt x="328" y="49"/>
                </a:lnTo>
                <a:lnTo>
                  <a:pt x="331" y="47"/>
                </a:lnTo>
                <a:lnTo>
                  <a:pt x="328" y="47"/>
                </a:lnTo>
                <a:lnTo>
                  <a:pt x="326" y="47"/>
                </a:lnTo>
                <a:lnTo>
                  <a:pt x="325" y="47"/>
                </a:lnTo>
                <a:lnTo>
                  <a:pt x="323" y="49"/>
                </a:lnTo>
                <a:lnTo>
                  <a:pt x="323" y="47"/>
                </a:lnTo>
                <a:lnTo>
                  <a:pt x="323" y="49"/>
                </a:lnTo>
                <a:lnTo>
                  <a:pt x="321" y="51"/>
                </a:lnTo>
                <a:lnTo>
                  <a:pt x="320" y="52"/>
                </a:lnTo>
                <a:lnTo>
                  <a:pt x="318" y="52"/>
                </a:lnTo>
                <a:lnTo>
                  <a:pt x="320" y="54"/>
                </a:lnTo>
                <a:lnTo>
                  <a:pt x="321" y="54"/>
                </a:lnTo>
                <a:lnTo>
                  <a:pt x="321" y="56"/>
                </a:lnTo>
                <a:lnTo>
                  <a:pt x="320" y="56"/>
                </a:lnTo>
                <a:lnTo>
                  <a:pt x="318" y="56"/>
                </a:lnTo>
                <a:lnTo>
                  <a:pt x="316" y="54"/>
                </a:lnTo>
                <a:lnTo>
                  <a:pt x="318" y="54"/>
                </a:lnTo>
                <a:lnTo>
                  <a:pt x="318" y="52"/>
                </a:lnTo>
                <a:lnTo>
                  <a:pt x="316" y="54"/>
                </a:lnTo>
                <a:lnTo>
                  <a:pt x="318" y="54"/>
                </a:lnTo>
                <a:lnTo>
                  <a:pt x="314" y="54"/>
                </a:lnTo>
                <a:lnTo>
                  <a:pt x="313" y="52"/>
                </a:lnTo>
                <a:lnTo>
                  <a:pt x="311" y="51"/>
                </a:lnTo>
                <a:lnTo>
                  <a:pt x="309" y="52"/>
                </a:lnTo>
                <a:lnTo>
                  <a:pt x="311" y="51"/>
                </a:lnTo>
                <a:lnTo>
                  <a:pt x="309" y="51"/>
                </a:lnTo>
                <a:lnTo>
                  <a:pt x="309" y="49"/>
                </a:lnTo>
                <a:lnTo>
                  <a:pt x="309" y="46"/>
                </a:lnTo>
                <a:lnTo>
                  <a:pt x="311" y="46"/>
                </a:lnTo>
                <a:lnTo>
                  <a:pt x="313" y="46"/>
                </a:lnTo>
                <a:lnTo>
                  <a:pt x="314" y="46"/>
                </a:lnTo>
                <a:lnTo>
                  <a:pt x="313" y="46"/>
                </a:lnTo>
                <a:lnTo>
                  <a:pt x="313" y="44"/>
                </a:lnTo>
                <a:lnTo>
                  <a:pt x="313" y="42"/>
                </a:lnTo>
                <a:lnTo>
                  <a:pt x="309" y="42"/>
                </a:lnTo>
                <a:lnTo>
                  <a:pt x="311" y="41"/>
                </a:lnTo>
                <a:lnTo>
                  <a:pt x="313" y="41"/>
                </a:lnTo>
                <a:lnTo>
                  <a:pt x="314" y="39"/>
                </a:lnTo>
                <a:lnTo>
                  <a:pt x="313" y="39"/>
                </a:lnTo>
                <a:lnTo>
                  <a:pt x="314" y="39"/>
                </a:lnTo>
                <a:lnTo>
                  <a:pt x="313" y="39"/>
                </a:lnTo>
                <a:lnTo>
                  <a:pt x="313" y="37"/>
                </a:lnTo>
                <a:lnTo>
                  <a:pt x="311" y="37"/>
                </a:lnTo>
                <a:lnTo>
                  <a:pt x="309" y="34"/>
                </a:lnTo>
                <a:lnTo>
                  <a:pt x="311" y="34"/>
                </a:lnTo>
                <a:lnTo>
                  <a:pt x="313" y="34"/>
                </a:lnTo>
                <a:lnTo>
                  <a:pt x="314" y="34"/>
                </a:lnTo>
                <a:lnTo>
                  <a:pt x="316" y="35"/>
                </a:lnTo>
                <a:lnTo>
                  <a:pt x="316" y="34"/>
                </a:lnTo>
                <a:lnTo>
                  <a:pt x="318" y="32"/>
                </a:lnTo>
                <a:lnTo>
                  <a:pt x="316" y="34"/>
                </a:lnTo>
                <a:lnTo>
                  <a:pt x="318" y="34"/>
                </a:lnTo>
                <a:lnTo>
                  <a:pt x="318" y="35"/>
                </a:lnTo>
                <a:lnTo>
                  <a:pt x="320" y="35"/>
                </a:lnTo>
                <a:lnTo>
                  <a:pt x="318" y="34"/>
                </a:lnTo>
                <a:lnTo>
                  <a:pt x="318" y="32"/>
                </a:lnTo>
                <a:lnTo>
                  <a:pt x="318" y="34"/>
                </a:lnTo>
                <a:lnTo>
                  <a:pt x="320" y="35"/>
                </a:lnTo>
                <a:lnTo>
                  <a:pt x="320" y="37"/>
                </a:lnTo>
                <a:lnTo>
                  <a:pt x="321" y="39"/>
                </a:lnTo>
                <a:lnTo>
                  <a:pt x="323" y="37"/>
                </a:lnTo>
                <a:lnTo>
                  <a:pt x="323" y="41"/>
                </a:lnTo>
                <a:lnTo>
                  <a:pt x="325" y="41"/>
                </a:lnTo>
                <a:lnTo>
                  <a:pt x="323" y="41"/>
                </a:lnTo>
                <a:lnTo>
                  <a:pt x="323" y="42"/>
                </a:lnTo>
                <a:lnTo>
                  <a:pt x="326" y="42"/>
                </a:lnTo>
                <a:lnTo>
                  <a:pt x="325" y="41"/>
                </a:lnTo>
                <a:lnTo>
                  <a:pt x="326" y="41"/>
                </a:lnTo>
                <a:lnTo>
                  <a:pt x="325" y="41"/>
                </a:lnTo>
                <a:lnTo>
                  <a:pt x="326" y="39"/>
                </a:lnTo>
                <a:lnTo>
                  <a:pt x="323" y="37"/>
                </a:lnTo>
                <a:lnTo>
                  <a:pt x="325" y="35"/>
                </a:lnTo>
                <a:lnTo>
                  <a:pt x="323" y="32"/>
                </a:lnTo>
                <a:lnTo>
                  <a:pt x="325" y="32"/>
                </a:lnTo>
                <a:lnTo>
                  <a:pt x="323" y="32"/>
                </a:lnTo>
                <a:lnTo>
                  <a:pt x="323" y="34"/>
                </a:lnTo>
                <a:lnTo>
                  <a:pt x="321" y="34"/>
                </a:lnTo>
                <a:lnTo>
                  <a:pt x="321" y="32"/>
                </a:lnTo>
                <a:lnTo>
                  <a:pt x="320" y="30"/>
                </a:lnTo>
                <a:lnTo>
                  <a:pt x="318" y="29"/>
                </a:lnTo>
                <a:lnTo>
                  <a:pt x="316" y="30"/>
                </a:lnTo>
                <a:lnTo>
                  <a:pt x="314" y="32"/>
                </a:lnTo>
                <a:lnTo>
                  <a:pt x="313" y="34"/>
                </a:lnTo>
                <a:lnTo>
                  <a:pt x="313" y="30"/>
                </a:lnTo>
                <a:lnTo>
                  <a:pt x="314" y="29"/>
                </a:lnTo>
                <a:lnTo>
                  <a:pt x="314" y="27"/>
                </a:lnTo>
                <a:lnTo>
                  <a:pt x="313" y="29"/>
                </a:lnTo>
                <a:lnTo>
                  <a:pt x="313" y="30"/>
                </a:lnTo>
                <a:lnTo>
                  <a:pt x="311" y="34"/>
                </a:lnTo>
                <a:lnTo>
                  <a:pt x="309" y="34"/>
                </a:lnTo>
                <a:lnTo>
                  <a:pt x="309" y="32"/>
                </a:lnTo>
                <a:lnTo>
                  <a:pt x="311" y="30"/>
                </a:lnTo>
                <a:lnTo>
                  <a:pt x="311" y="27"/>
                </a:lnTo>
                <a:lnTo>
                  <a:pt x="313" y="25"/>
                </a:lnTo>
                <a:lnTo>
                  <a:pt x="314" y="25"/>
                </a:lnTo>
                <a:lnTo>
                  <a:pt x="316" y="25"/>
                </a:lnTo>
                <a:lnTo>
                  <a:pt x="318" y="24"/>
                </a:lnTo>
                <a:lnTo>
                  <a:pt x="320" y="24"/>
                </a:lnTo>
                <a:close/>
                <a:moveTo>
                  <a:pt x="355" y="75"/>
                </a:moveTo>
                <a:lnTo>
                  <a:pt x="354" y="76"/>
                </a:lnTo>
                <a:lnTo>
                  <a:pt x="355" y="76"/>
                </a:lnTo>
                <a:lnTo>
                  <a:pt x="355" y="80"/>
                </a:lnTo>
                <a:lnTo>
                  <a:pt x="354" y="80"/>
                </a:lnTo>
                <a:lnTo>
                  <a:pt x="352" y="80"/>
                </a:lnTo>
                <a:lnTo>
                  <a:pt x="350" y="80"/>
                </a:lnTo>
                <a:lnTo>
                  <a:pt x="348" y="80"/>
                </a:lnTo>
                <a:lnTo>
                  <a:pt x="347" y="81"/>
                </a:lnTo>
                <a:lnTo>
                  <a:pt x="343" y="81"/>
                </a:lnTo>
                <a:lnTo>
                  <a:pt x="345" y="80"/>
                </a:lnTo>
                <a:lnTo>
                  <a:pt x="343" y="80"/>
                </a:lnTo>
                <a:lnTo>
                  <a:pt x="343" y="81"/>
                </a:lnTo>
                <a:lnTo>
                  <a:pt x="342" y="81"/>
                </a:lnTo>
                <a:lnTo>
                  <a:pt x="340" y="81"/>
                </a:lnTo>
                <a:lnTo>
                  <a:pt x="340" y="80"/>
                </a:lnTo>
                <a:lnTo>
                  <a:pt x="342" y="80"/>
                </a:lnTo>
                <a:lnTo>
                  <a:pt x="343" y="76"/>
                </a:lnTo>
                <a:lnTo>
                  <a:pt x="343" y="75"/>
                </a:lnTo>
                <a:lnTo>
                  <a:pt x="342" y="73"/>
                </a:lnTo>
                <a:lnTo>
                  <a:pt x="342" y="71"/>
                </a:lnTo>
                <a:lnTo>
                  <a:pt x="345" y="71"/>
                </a:lnTo>
                <a:lnTo>
                  <a:pt x="345" y="73"/>
                </a:lnTo>
                <a:lnTo>
                  <a:pt x="343" y="73"/>
                </a:lnTo>
                <a:lnTo>
                  <a:pt x="345" y="75"/>
                </a:lnTo>
                <a:lnTo>
                  <a:pt x="345" y="73"/>
                </a:lnTo>
                <a:lnTo>
                  <a:pt x="347" y="73"/>
                </a:lnTo>
                <a:lnTo>
                  <a:pt x="347" y="75"/>
                </a:lnTo>
                <a:lnTo>
                  <a:pt x="348" y="75"/>
                </a:lnTo>
                <a:lnTo>
                  <a:pt x="347" y="75"/>
                </a:lnTo>
                <a:lnTo>
                  <a:pt x="348" y="71"/>
                </a:lnTo>
                <a:lnTo>
                  <a:pt x="348" y="69"/>
                </a:lnTo>
                <a:lnTo>
                  <a:pt x="347" y="69"/>
                </a:lnTo>
                <a:lnTo>
                  <a:pt x="345" y="68"/>
                </a:lnTo>
                <a:lnTo>
                  <a:pt x="345" y="66"/>
                </a:lnTo>
                <a:lnTo>
                  <a:pt x="342" y="66"/>
                </a:lnTo>
                <a:lnTo>
                  <a:pt x="342" y="68"/>
                </a:lnTo>
                <a:lnTo>
                  <a:pt x="343" y="69"/>
                </a:lnTo>
                <a:lnTo>
                  <a:pt x="343" y="68"/>
                </a:lnTo>
                <a:lnTo>
                  <a:pt x="342" y="69"/>
                </a:lnTo>
                <a:lnTo>
                  <a:pt x="340" y="71"/>
                </a:lnTo>
                <a:lnTo>
                  <a:pt x="340" y="68"/>
                </a:lnTo>
                <a:lnTo>
                  <a:pt x="338" y="69"/>
                </a:lnTo>
                <a:lnTo>
                  <a:pt x="337" y="69"/>
                </a:lnTo>
                <a:lnTo>
                  <a:pt x="337" y="68"/>
                </a:lnTo>
                <a:lnTo>
                  <a:pt x="338" y="66"/>
                </a:lnTo>
                <a:lnTo>
                  <a:pt x="338" y="63"/>
                </a:lnTo>
                <a:lnTo>
                  <a:pt x="337" y="63"/>
                </a:lnTo>
                <a:lnTo>
                  <a:pt x="335" y="59"/>
                </a:lnTo>
                <a:lnTo>
                  <a:pt x="338" y="59"/>
                </a:lnTo>
                <a:lnTo>
                  <a:pt x="338" y="63"/>
                </a:lnTo>
                <a:lnTo>
                  <a:pt x="340" y="64"/>
                </a:lnTo>
                <a:lnTo>
                  <a:pt x="343" y="64"/>
                </a:lnTo>
                <a:lnTo>
                  <a:pt x="345" y="66"/>
                </a:lnTo>
                <a:lnTo>
                  <a:pt x="347" y="66"/>
                </a:lnTo>
                <a:lnTo>
                  <a:pt x="347" y="68"/>
                </a:lnTo>
                <a:lnTo>
                  <a:pt x="348" y="69"/>
                </a:lnTo>
                <a:lnTo>
                  <a:pt x="350" y="71"/>
                </a:lnTo>
                <a:lnTo>
                  <a:pt x="352" y="71"/>
                </a:lnTo>
                <a:lnTo>
                  <a:pt x="354" y="73"/>
                </a:lnTo>
                <a:lnTo>
                  <a:pt x="355" y="75"/>
                </a:lnTo>
                <a:close/>
                <a:moveTo>
                  <a:pt x="226" y="37"/>
                </a:moveTo>
                <a:lnTo>
                  <a:pt x="228" y="37"/>
                </a:lnTo>
                <a:lnTo>
                  <a:pt x="229" y="39"/>
                </a:lnTo>
                <a:lnTo>
                  <a:pt x="231" y="39"/>
                </a:lnTo>
                <a:lnTo>
                  <a:pt x="233" y="42"/>
                </a:lnTo>
                <a:lnTo>
                  <a:pt x="235" y="44"/>
                </a:lnTo>
                <a:lnTo>
                  <a:pt x="235" y="46"/>
                </a:lnTo>
                <a:lnTo>
                  <a:pt x="233" y="46"/>
                </a:lnTo>
                <a:lnTo>
                  <a:pt x="231" y="46"/>
                </a:lnTo>
                <a:lnTo>
                  <a:pt x="229" y="46"/>
                </a:lnTo>
                <a:lnTo>
                  <a:pt x="228" y="47"/>
                </a:lnTo>
                <a:lnTo>
                  <a:pt x="226" y="46"/>
                </a:lnTo>
                <a:lnTo>
                  <a:pt x="226" y="44"/>
                </a:lnTo>
                <a:lnTo>
                  <a:pt x="223" y="44"/>
                </a:lnTo>
                <a:lnTo>
                  <a:pt x="224" y="44"/>
                </a:lnTo>
                <a:lnTo>
                  <a:pt x="223" y="44"/>
                </a:lnTo>
                <a:lnTo>
                  <a:pt x="223" y="41"/>
                </a:lnTo>
                <a:lnTo>
                  <a:pt x="223" y="39"/>
                </a:lnTo>
                <a:lnTo>
                  <a:pt x="224" y="37"/>
                </a:lnTo>
                <a:lnTo>
                  <a:pt x="226" y="37"/>
                </a:lnTo>
                <a:close/>
                <a:moveTo>
                  <a:pt x="122" y="22"/>
                </a:moveTo>
                <a:lnTo>
                  <a:pt x="124" y="22"/>
                </a:lnTo>
                <a:lnTo>
                  <a:pt x="126" y="24"/>
                </a:lnTo>
                <a:lnTo>
                  <a:pt x="124" y="27"/>
                </a:lnTo>
                <a:lnTo>
                  <a:pt x="121" y="27"/>
                </a:lnTo>
                <a:lnTo>
                  <a:pt x="119" y="25"/>
                </a:lnTo>
                <a:lnTo>
                  <a:pt x="117" y="25"/>
                </a:lnTo>
                <a:lnTo>
                  <a:pt x="117" y="24"/>
                </a:lnTo>
                <a:lnTo>
                  <a:pt x="119" y="22"/>
                </a:lnTo>
                <a:lnTo>
                  <a:pt x="121" y="22"/>
                </a:lnTo>
                <a:lnTo>
                  <a:pt x="122" y="22"/>
                </a:lnTo>
                <a:close/>
                <a:moveTo>
                  <a:pt x="129" y="35"/>
                </a:moveTo>
                <a:lnTo>
                  <a:pt x="129" y="39"/>
                </a:lnTo>
                <a:lnTo>
                  <a:pt x="127" y="41"/>
                </a:lnTo>
                <a:lnTo>
                  <a:pt x="126" y="41"/>
                </a:lnTo>
                <a:lnTo>
                  <a:pt x="124" y="37"/>
                </a:lnTo>
                <a:lnTo>
                  <a:pt x="126" y="37"/>
                </a:lnTo>
                <a:lnTo>
                  <a:pt x="129" y="35"/>
                </a:lnTo>
                <a:close/>
                <a:moveTo>
                  <a:pt x="243" y="75"/>
                </a:moveTo>
                <a:lnTo>
                  <a:pt x="243" y="76"/>
                </a:lnTo>
                <a:lnTo>
                  <a:pt x="241" y="78"/>
                </a:lnTo>
                <a:lnTo>
                  <a:pt x="241" y="75"/>
                </a:lnTo>
                <a:lnTo>
                  <a:pt x="240" y="76"/>
                </a:lnTo>
                <a:lnTo>
                  <a:pt x="238" y="76"/>
                </a:lnTo>
                <a:lnTo>
                  <a:pt x="238" y="75"/>
                </a:lnTo>
                <a:lnTo>
                  <a:pt x="240" y="75"/>
                </a:lnTo>
                <a:lnTo>
                  <a:pt x="241" y="73"/>
                </a:lnTo>
                <a:lnTo>
                  <a:pt x="243" y="75"/>
                </a:lnTo>
                <a:close/>
                <a:moveTo>
                  <a:pt x="49" y="100"/>
                </a:moveTo>
                <a:lnTo>
                  <a:pt x="48" y="100"/>
                </a:lnTo>
                <a:lnTo>
                  <a:pt x="46" y="102"/>
                </a:lnTo>
                <a:lnTo>
                  <a:pt x="48" y="102"/>
                </a:lnTo>
                <a:lnTo>
                  <a:pt x="48" y="104"/>
                </a:lnTo>
                <a:lnTo>
                  <a:pt x="46" y="102"/>
                </a:lnTo>
                <a:lnTo>
                  <a:pt x="46" y="104"/>
                </a:lnTo>
                <a:lnTo>
                  <a:pt x="44" y="102"/>
                </a:lnTo>
                <a:lnTo>
                  <a:pt x="42" y="100"/>
                </a:lnTo>
                <a:lnTo>
                  <a:pt x="44" y="100"/>
                </a:lnTo>
                <a:lnTo>
                  <a:pt x="48" y="98"/>
                </a:lnTo>
                <a:lnTo>
                  <a:pt x="49" y="100"/>
                </a:lnTo>
                <a:close/>
                <a:moveTo>
                  <a:pt x="116" y="30"/>
                </a:moveTo>
                <a:lnTo>
                  <a:pt x="117" y="32"/>
                </a:lnTo>
                <a:lnTo>
                  <a:pt x="116" y="32"/>
                </a:lnTo>
                <a:lnTo>
                  <a:pt x="114" y="30"/>
                </a:lnTo>
                <a:lnTo>
                  <a:pt x="114" y="29"/>
                </a:lnTo>
                <a:lnTo>
                  <a:pt x="112" y="27"/>
                </a:lnTo>
                <a:lnTo>
                  <a:pt x="114" y="25"/>
                </a:lnTo>
                <a:lnTo>
                  <a:pt x="116" y="24"/>
                </a:lnTo>
                <a:lnTo>
                  <a:pt x="114" y="25"/>
                </a:lnTo>
                <a:lnTo>
                  <a:pt x="116" y="29"/>
                </a:lnTo>
                <a:lnTo>
                  <a:pt x="116" y="30"/>
                </a:lnTo>
                <a:close/>
                <a:moveTo>
                  <a:pt x="71" y="92"/>
                </a:moveTo>
                <a:lnTo>
                  <a:pt x="71" y="93"/>
                </a:lnTo>
                <a:lnTo>
                  <a:pt x="68" y="93"/>
                </a:lnTo>
                <a:lnTo>
                  <a:pt x="66" y="93"/>
                </a:lnTo>
                <a:lnTo>
                  <a:pt x="65" y="93"/>
                </a:lnTo>
                <a:lnTo>
                  <a:pt x="63" y="93"/>
                </a:lnTo>
                <a:lnTo>
                  <a:pt x="66" y="92"/>
                </a:lnTo>
                <a:lnTo>
                  <a:pt x="68" y="92"/>
                </a:lnTo>
                <a:lnTo>
                  <a:pt x="71" y="92"/>
                </a:lnTo>
                <a:close/>
                <a:moveTo>
                  <a:pt x="82" y="90"/>
                </a:moveTo>
                <a:lnTo>
                  <a:pt x="83" y="92"/>
                </a:lnTo>
                <a:lnTo>
                  <a:pt x="82" y="92"/>
                </a:lnTo>
                <a:lnTo>
                  <a:pt x="78" y="92"/>
                </a:lnTo>
                <a:lnTo>
                  <a:pt x="78" y="93"/>
                </a:lnTo>
                <a:lnTo>
                  <a:pt x="76" y="93"/>
                </a:lnTo>
                <a:lnTo>
                  <a:pt x="78" y="90"/>
                </a:lnTo>
                <a:lnTo>
                  <a:pt x="82" y="90"/>
                </a:lnTo>
                <a:close/>
                <a:moveTo>
                  <a:pt x="311" y="37"/>
                </a:moveTo>
                <a:lnTo>
                  <a:pt x="313" y="39"/>
                </a:lnTo>
                <a:lnTo>
                  <a:pt x="311" y="39"/>
                </a:lnTo>
                <a:lnTo>
                  <a:pt x="309" y="41"/>
                </a:lnTo>
                <a:lnTo>
                  <a:pt x="309" y="39"/>
                </a:lnTo>
                <a:lnTo>
                  <a:pt x="311" y="37"/>
                </a:lnTo>
                <a:close/>
                <a:moveTo>
                  <a:pt x="88" y="88"/>
                </a:moveTo>
                <a:lnTo>
                  <a:pt x="90" y="88"/>
                </a:lnTo>
                <a:lnTo>
                  <a:pt x="92" y="90"/>
                </a:lnTo>
                <a:lnTo>
                  <a:pt x="88" y="90"/>
                </a:lnTo>
                <a:lnTo>
                  <a:pt x="87" y="90"/>
                </a:lnTo>
                <a:lnTo>
                  <a:pt x="87" y="92"/>
                </a:lnTo>
                <a:lnTo>
                  <a:pt x="85" y="90"/>
                </a:lnTo>
                <a:lnTo>
                  <a:pt x="88" y="88"/>
                </a:lnTo>
                <a:close/>
                <a:moveTo>
                  <a:pt x="309" y="30"/>
                </a:moveTo>
                <a:lnTo>
                  <a:pt x="309" y="32"/>
                </a:lnTo>
                <a:lnTo>
                  <a:pt x="309" y="30"/>
                </a:lnTo>
                <a:lnTo>
                  <a:pt x="308" y="32"/>
                </a:lnTo>
                <a:lnTo>
                  <a:pt x="308" y="35"/>
                </a:lnTo>
                <a:lnTo>
                  <a:pt x="306" y="35"/>
                </a:lnTo>
                <a:lnTo>
                  <a:pt x="306" y="37"/>
                </a:lnTo>
                <a:lnTo>
                  <a:pt x="306" y="41"/>
                </a:lnTo>
                <a:lnTo>
                  <a:pt x="306" y="39"/>
                </a:lnTo>
                <a:lnTo>
                  <a:pt x="306" y="37"/>
                </a:lnTo>
                <a:lnTo>
                  <a:pt x="306" y="35"/>
                </a:lnTo>
                <a:lnTo>
                  <a:pt x="308" y="34"/>
                </a:lnTo>
                <a:lnTo>
                  <a:pt x="308" y="30"/>
                </a:lnTo>
                <a:lnTo>
                  <a:pt x="309" y="30"/>
                </a:lnTo>
                <a:close/>
                <a:moveTo>
                  <a:pt x="121" y="42"/>
                </a:moveTo>
                <a:lnTo>
                  <a:pt x="121" y="44"/>
                </a:lnTo>
                <a:lnTo>
                  <a:pt x="121" y="46"/>
                </a:lnTo>
                <a:lnTo>
                  <a:pt x="119" y="44"/>
                </a:lnTo>
                <a:lnTo>
                  <a:pt x="119" y="42"/>
                </a:lnTo>
                <a:lnTo>
                  <a:pt x="121" y="42"/>
                </a:lnTo>
                <a:close/>
                <a:moveTo>
                  <a:pt x="61" y="95"/>
                </a:moveTo>
                <a:lnTo>
                  <a:pt x="59" y="95"/>
                </a:lnTo>
                <a:lnTo>
                  <a:pt x="58" y="95"/>
                </a:lnTo>
                <a:lnTo>
                  <a:pt x="56" y="95"/>
                </a:lnTo>
                <a:lnTo>
                  <a:pt x="53" y="95"/>
                </a:lnTo>
                <a:lnTo>
                  <a:pt x="54" y="95"/>
                </a:lnTo>
                <a:lnTo>
                  <a:pt x="56" y="95"/>
                </a:lnTo>
                <a:lnTo>
                  <a:pt x="59" y="95"/>
                </a:lnTo>
                <a:lnTo>
                  <a:pt x="61" y="95"/>
                </a:lnTo>
                <a:close/>
                <a:moveTo>
                  <a:pt x="121" y="39"/>
                </a:moveTo>
                <a:lnTo>
                  <a:pt x="119" y="39"/>
                </a:lnTo>
                <a:lnTo>
                  <a:pt x="119" y="37"/>
                </a:lnTo>
                <a:lnTo>
                  <a:pt x="119" y="35"/>
                </a:lnTo>
                <a:lnTo>
                  <a:pt x="121" y="37"/>
                </a:lnTo>
                <a:lnTo>
                  <a:pt x="121" y="39"/>
                </a:lnTo>
                <a:close/>
                <a:moveTo>
                  <a:pt x="97" y="88"/>
                </a:moveTo>
                <a:lnTo>
                  <a:pt x="99" y="90"/>
                </a:lnTo>
                <a:lnTo>
                  <a:pt x="97" y="88"/>
                </a:lnTo>
                <a:lnTo>
                  <a:pt x="93" y="88"/>
                </a:lnTo>
                <a:lnTo>
                  <a:pt x="93" y="90"/>
                </a:lnTo>
                <a:lnTo>
                  <a:pt x="93" y="88"/>
                </a:lnTo>
                <a:lnTo>
                  <a:pt x="97" y="88"/>
                </a:lnTo>
                <a:close/>
                <a:moveTo>
                  <a:pt x="105" y="93"/>
                </a:moveTo>
                <a:lnTo>
                  <a:pt x="107" y="93"/>
                </a:lnTo>
                <a:lnTo>
                  <a:pt x="105" y="95"/>
                </a:lnTo>
                <a:lnTo>
                  <a:pt x="104" y="93"/>
                </a:lnTo>
                <a:lnTo>
                  <a:pt x="105" y="93"/>
                </a:lnTo>
                <a:close/>
                <a:moveTo>
                  <a:pt x="75" y="92"/>
                </a:moveTo>
                <a:lnTo>
                  <a:pt x="76" y="93"/>
                </a:lnTo>
                <a:lnTo>
                  <a:pt x="73" y="92"/>
                </a:lnTo>
                <a:lnTo>
                  <a:pt x="75" y="92"/>
                </a:lnTo>
                <a:close/>
                <a:moveTo>
                  <a:pt x="121" y="513"/>
                </a:moveTo>
                <a:lnTo>
                  <a:pt x="121" y="515"/>
                </a:lnTo>
                <a:lnTo>
                  <a:pt x="119" y="517"/>
                </a:lnTo>
                <a:lnTo>
                  <a:pt x="119" y="515"/>
                </a:lnTo>
                <a:lnTo>
                  <a:pt x="121" y="513"/>
                </a:lnTo>
                <a:close/>
                <a:moveTo>
                  <a:pt x="124" y="34"/>
                </a:moveTo>
                <a:lnTo>
                  <a:pt x="124" y="35"/>
                </a:lnTo>
                <a:lnTo>
                  <a:pt x="122" y="35"/>
                </a:lnTo>
                <a:lnTo>
                  <a:pt x="121" y="34"/>
                </a:lnTo>
                <a:lnTo>
                  <a:pt x="124" y="34"/>
                </a:lnTo>
                <a:close/>
                <a:moveTo>
                  <a:pt x="53" y="97"/>
                </a:moveTo>
                <a:lnTo>
                  <a:pt x="54" y="97"/>
                </a:lnTo>
                <a:lnTo>
                  <a:pt x="53" y="98"/>
                </a:lnTo>
                <a:lnTo>
                  <a:pt x="53" y="97"/>
                </a:lnTo>
                <a:close/>
                <a:moveTo>
                  <a:pt x="139" y="517"/>
                </a:moveTo>
                <a:lnTo>
                  <a:pt x="136" y="515"/>
                </a:lnTo>
                <a:lnTo>
                  <a:pt x="139" y="517"/>
                </a:lnTo>
                <a:close/>
                <a:moveTo>
                  <a:pt x="160" y="95"/>
                </a:moveTo>
                <a:lnTo>
                  <a:pt x="161" y="97"/>
                </a:lnTo>
                <a:lnTo>
                  <a:pt x="161" y="98"/>
                </a:lnTo>
                <a:lnTo>
                  <a:pt x="161" y="97"/>
                </a:lnTo>
                <a:lnTo>
                  <a:pt x="160" y="95"/>
                </a:lnTo>
                <a:close/>
                <a:moveTo>
                  <a:pt x="291" y="42"/>
                </a:moveTo>
                <a:lnTo>
                  <a:pt x="292" y="44"/>
                </a:lnTo>
                <a:lnTo>
                  <a:pt x="291" y="44"/>
                </a:lnTo>
                <a:lnTo>
                  <a:pt x="291" y="42"/>
                </a:lnTo>
                <a:close/>
                <a:moveTo>
                  <a:pt x="306" y="41"/>
                </a:moveTo>
                <a:lnTo>
                  <a:pt x="304" y="42"/>
                </a:lnTo>
                <a:lnTo>
                  <a:pt x="303" y="42"/>
                </a:lnTo>
                <a:lnTo>
                  <a:pt x="304" y="41"/>
                </a:lnTo>
                <a:lnTo>
                  <a:pt x="306" y="41"/>
                </a:lnTo>
                <a:close/>
                <a:moveTo>
                  <a:pt x="127" y="69"/>
                </a:moveTo>
                <a:lnTo>
                  <a:pt x="129" y="69"/>
                </a:lnTo>
                <a:lnTo>
                  <a:pt x="127" y="71"/>
                </a:lnTo>
                <a:lnTo>
                  <a:pt x="127" y="69"/>
                </a:lnTo>
                <a:close/>
                <a:moveTo>
                  <a:pt x="117" y="76"/>
                </a:moveTo>
                <a:lnTo>
                  <a:pt x="119" y="76"/>
                </a:lnTo>
                <a:lnTo>
                  <a:pt x="119" y="78"/>
                </a:lnTo>
                <a:lnTo>
                  <a:pt x="117" y="78"/>
                </a:lnTo>
                <a:lnTo>
                  <a:pt x="117" y="76"/>
                </a:lnTo>
                <a:close/>
                <a:moveTo>
                  <a:pt x="119" y="34"/>
                </a:moveTo>
                <a:lnTo>
                  <a:pt x="119" y="35"/>
                </a:lnTo>
                <a:lnTo>
                  <a:pt x="119" y="34"/>
                </a:lnTo>
                <a:close/>
                <a:moveTo>
                  <a:pt x="119" y="80"/>
                </a:moveTo>
                <a:lnTo>
                  <a:pt x="121" y="80"/>
                </a:lnTo>
                <a:lnTo>
                  <a:pt x="119" y="80"/>
                </a:lnTo>
                <a:close/>
                <a:moveTo>
                  <a:pt x="170" y="105"/>
                </a:moveTo>
                <a:lnTo>
                  <a:pt x="168" y="107"/>
                </a:lnTo>
                <a:lnTo>
                  <a:pt x="168" y="105"/>
                </a:lnTo>
                <a:lnTo>
                  <a:pt x="170" y="105"/>
                </a:lnTo>
                <a:close/>
                <a:moveTo>
                  <a:pt x="172" y="105"/>
                </a:moveTo>
                <a:lnTo>
                  <a:pt x="173" y="107"/>
                </a:lnTo>
                <a:lnTo>
                  <a:pt x="170" y="107"/>
                </a:lnTo>
                <a:lnTo>
                  <a:pt x="172" y="105"/>
                </a:lnTo>
                <a:close/>
                <a:moveTo>
                  <a:pt x="158" y="95"/>
                </a:moveTo>
                <a:lnTo>
                  <a:pt x="160" y="95"/>
                </a:lnTo>
                <a:lnTo>
                  <a:pt x="160" y="97"/>
                </a:lnTo>
                <a:lnTo>
                  <a:pt x="158" y="97"/>
                </a:lnTo>
                <a:lnTo>
                  <a:pt x="158" y="95"/>
                </a:lnTo>
                <a:close/>
                <a:moveTo>
                  <a:pt x="163" y="104"/>
                </a:moveTo>
                <a:lnTo>
                  <a:pt x="165" y="104"/>
                </a:lnTo>
                <a:lnTo>
                  <a:pt x="163" y="104"/>
                </a:lnTo>
                <a:close/>
                <a:moveTo>
                  <a:pt x="325" y="49"/>
                </a:moveTo>
                <a:lnTo>
                  <a:pt x="326" y="47"/>
                </a:lnTo>
                <a:lnTo>
                  <a:pt x="326" y="49"/>
                </a:lnTo>
                <a:lnTo>
                  <a:pt x="325" y="49"/>
                </a:lnTo>
                <a:close/>
                <a:moveTo>
                  <a:pt x="243" y="69"/>
                </a:moveTo>
                <a:lnTo>
                  <a:pt x="245" y="69"/>
                </a:lnTo>
                <a:lnTo>
                  <a:pt x="245" y="71"/>
                </a:lnTo>
                <a:lnTo>
                  <a:pt x="243" y="71"/>
                </a:lnTo>
                <a:lnTo>
                  <a:pt x="243" y="69"/>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88" name="Freeform 56">
            <a:extLst>
              <a:ext uri="{FF2B5EF4-FFF2-40B4-BE49-F238E27FC236}">
                <a16:creationId xmlns:a16="http://schemas.microsoft.com/office/drawing/2014/main" id="{855C3CDF-AB25-46EA-9992-7E97A3B7EEA3}"/>
              </a:ext>
            </a:extLst>
          </p:cNvPr>
          <p:cNvSpPr>
            <a:spLocks/>
          </p:cNvSpPr>
          <p:nvPr/>
        </p:nvSpPr>
        <p:spPr bwMode="gray">
          <a:xfrm>
            <a:off x="2951034" y="3563045"/>
            <a:ext cx="972817" cy="533707"/>
          </a:xfrm>
          <a:custGeom>
            <a:avLst/>
            <a:gdLst>
              <a:gd name="T0" fmla="*/ 343 w 357"/>
              <a:gd name="T1" fmla="*/ 42 h 187"/>
              <a:gd name="T2" fmla="*/ 352 w 357"/>
              <a:gd name="T3" fmla="*/ 58 h 187"/>
              <a:gd name="T4" fmla="*/ 353 w 357"/>
              <a:gd name="T5" fmla="*/ 68 h 187"/>
              <a:gd name="T6" fmla="*/ 353 w 357"/>
              <a:gd name="T7" fmla="*/ 85 h 187"/>
              <a:gd name="T8" fmla="*/ 333 w 357"/>
              <a:gd name="T9" fmla="*/ 81 h 187"/>
              <a:gd name="T10" fmla="*/ 335 w 357"/>
              <a:gd name="T11" fmla="*/ 92 h 187"/>
              <a:gd name="T12" fmla="*/ 331 w 357"/>
              <a:gd name="T13" fmla="*/ 107 h 187"/>
              <a:gd name="T14" fmla="*/ 328 w 357"/>
              <a:gd name="T15" fmla="*/ 121 h 187"/>
              <a:gd name="T16" fmla="*/ 330 w 357"/>
              <a:gd name="T17" fmla="*/ 134 h 187"/>
              <a:gd name="T18" fmla="*/ 323 w 357"/>
              <a:gd name="T19" fmla="*/ 136 h 187"/>
              <a:gd name="T20" fmla="*/ 311 w 357"/>
              <a:gd name="T21" fmla="*/ 149 h 187"/>
              <a:gd name="T22" fmla="*/ 306 w 357"/>
              <a:gd name="T23" fmla="*/ 158 h 187"/>
              <a:gd name="T24" fmla="*/ 289 w 357"/>
              <a:gd name="T25" fmla="*/ 165 h 187"/>
              <a:gd name="T26" fmla="*/ 268 w 357"/>
              <a:gd name="T27" fmla="*/ 167 h 187"/>
              <a:gd name="T28" fmla="*/ 255 w 357"/>
              <a:gd name="T29" fmla="*/ 172 h 187"/>
              <a:gd name="T30" fmla="*/ 243 w 357"/>
              <a:gd name="T31" fmla="*/ 187 h 187"/>
              <a:gd name="T32" fmla="*/ 224 w 357"/>
              <a:gd name="T33" fmla="*/ 184 h 187"/>
              <a:gd name="T34" fmla="*/ 204 w 357"/>
              <a:gd name="T35" fmla="*/ 178 h 187"/>
              <a:gd name="T36" fmla="*/ 185 w 357"/>
              <a:gd name="T37" fmla="*/ 177 h 187"/>
              <a:gd name="T38" fmla="*/ 165 w 357"/>
              <a:gd name="T39" fmla="*/ 175 h 187"/>
              <a:gd name="T40" fmla="*/ 141 w 357"/>
              <a:gd name="T41" fmla="*/ 170 h 187"/>
              <a:gd name="T42" fmla="*/ 127 w 357"/>
              <a:gd name="T43" fmla="*/ 158 h 187"/>
              <a:gd name="T44" fmla="*/ 126 w 357"/>
              <a:gd name="T45" fmla="*/ 143 h 187"/>
              <a:gd name="T46" fmla="*/ 107 w 357"/>
              <a:gd name="T47" fmla="*/ 149 h 187"/>
              <a:gd name="T48" fmla="*/ 85 w 357"/>
              <a:gd name="T49" fmla="*/ 149 h 187"/>
              <a:gd name="T50" fmla="*/ 71 w 357"/>
              <a:gd name="T51" fmla="*/ 163 h 187"/>
              <a:gd name="T52" fmla="*/ 58 w 357"/>
              <a:gd name="T53" fmla="*/ 161 h 187"/>
              <a:gd name="T54" fmla="*/ 46 w 357"/>
              <a:gd name="T55" fmla="*/ 156 h 187"/>
              <a:gd name="T56" fmla="*/ 32 w 357"/>
              <a:gd name="T57" fmla="*/ 158 h 187"/>
              <a:gd name="T58" fmla="*/ 15 w 357"/>
              <a:gd name="T59" fmla="*/ 153 h 187"/>
              <a:gd name="T60" fmla="*/ 5 w 357"/>
              <a:gd name="T61" fmla="*/ 144 h 187"/>
              <a:gd name="T62" fmla="*/ 3 w 357"/>
              <a:gd name="T63" fmla="*/ 126 h 187"/>
              <a:gd name="T64" fmla="*/ 7 w 357"/>
              <a:gd name="T65" fmla="*/ 115 h 187"/>
              <a:gd name="T66" fmla="*/ 20 w 357"/>
              <a:gd name="T67" fmla="*/ 112 h 187"/>
              <a:gd name="T68" fmla="*/ 30 w 357"/>
              <a:gd name="T69" fmla="*/ 122 h 187"/>
              <a:gd name="T70" fmla="*/ 39 w 357"/>
              <a:gd name="T71" fmla="*/ 126 h 187"/>
              <a:gd name="T72" fmla="*/ 44 w 357"/>
              <a:gd name="T73" fmla="*/ 110 h 187"/>
              <a:gd name="T74" fmla="*/ 64 w 357"/>
              <a:gd name="T75" fmla="*/ 112 h 187"/>
              <a:gd name="T76" fmla="*/ 75 w 357"/>
              <a:gd name="T77" fmla="*/ 122 h 187"/>
              <a:gd name="T78" fmla="*/ 90 w 357"/>
              <a:gd name="T79" fmla="*/ 119 h 187"/>
              <a:gd name="T80" fmla="*/ 105 w 357"/>
              <a:gd name="T81" fmla="*/ 107 h 187"/>
              <a:gd name="T82" fmla="*/ 126 w 357"/>
              <a:gd name="T83" fmla="*/ 105 h 187"/>
              <a:gd name="T84" fmla="*/ 134 w 357"/>
              <a:gd name="T85" fmla="*/ 100 h 187"/>
              <a:gd name="T86" fmla="*/ 148 w 357"/>
              <a:gd name="T87" fmla="*/ 100 h 187"/>
              <a:gd name="T88" fmla="*/ 160 w 357"/>
              <a:gd name="T89" fmla="*/ 112 h 187"/>
              <a:gd name="T90" fmla="*/ 165 w 357"/>
              <a:gd name="T91" fmla="*/ 97 h 187"/>
              <a:gd name="T92" fmla="*/ 160 w 357"/>
              <a:gd name="T93" fmla="*/ 83 h 187"/>
              <a:gd name="T94" fmla="*/ 153 w 357"/>
              <a:gd name="T95" fmla="*/ 68 h 187"/>
              <a:gd name="T96" fmla="*/ 175 w 357"/>
              <a:gd name="T97" fmla="*/ 54 h 187"/>
              <a:gd name="T98" fmla="*/ 183 w 357"/>
              <a:gd name="T99" fmla="*/ 34 h 187"/>
              <a:gd name="T100" fmla="*/ 197 w 357"/>
              <a:gd name="T101" fmla="*/ 34 h 187"/>
              <a:gd name="T102" fmla="*/ 204 w 357"/>
              <a:gd name="T103" fmla="*/ 25 h 187"/>
              <a:gd name="T104" fmla="*/ 222 w 357"/>
              <a:gd name="T105" fmla="*/ 34 h 187"/>
              <a:gd name="T106" fmla="*/ 238 w 357"/>
              <a:gd name="T107" fmla="*/ 30 h 187"/>
              <a:gd name="T108" fmla="*/ 246 w 357"/>
              <a:gd name="T109" fmla="*/ 17 h 187"/>
              <a:gd name="T110" fmla="*/ 250 w 357"/>
              <a:gd name="T111" fmla="*/ 7 h 187"/>
              <a:gd name="T112" fmla="*/ 262 w 357"/>
              <a:gd name="T113" fmla="*/ 3 h 187"/>
              <a:gd name="T114" fmla="*/ 280 w 357"/>
              <a:gd name="T115" fmla="*/ 7 h 187"/>
              <a:gd name="T116" fmla="*/ 297 w 357"/>
              <a:gd name="T117" fmla="*/ 13 h 187"/>
              <a:gd name="T118" fmla="*/ 318 w 357"/>
              <a:gd name="T119" fmla="*/ 12 h 187"/>
              <a:gd name="T120" fmla="*/ 335 w 357"/>
              <a:gd name="T121" fmla="*/ 1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7" h="187">
                <a:moveTo>
                  <a:pt x="343" y="22"/>
                </a:moveTo>
                <a:lnTo>
                  <a:pt x="343" y="24"/>
                </a:lnTo>
                <a:lnTo>
                  <a:pt x="343" y="25"/>
                </a:lnTo>
                <a:lnTo>
                  <a:pt x="341" y="29"/>
                </a:lnTo>
                <a:lnTo>
                  <a:pt x="341" y="30"/>
                </a:lnTo>
                <a:lnTo>
                  <a:pt x="340" y="34"/>
                </a:lnTo>
                <a:lnTo>
                  <a:pt x="340" y="36"/>
                </a:lnTo>
                <a:lnTo>
                  <a:pt x="340" y="37"/>
                </a:lnTo>
                <a:lnTo>
                  <a:pt x="340" y="41"/>
                </a:lnTo>
                <a:lnTo>
                  <a:pt x="341" y="41"/>
                </a:lnTo>
                <a:lnTo>
                  <a:pt x="343" y="42"/>
                </a:lnTo>
                <a:lnTo>
                  <a:pt x="343" y="44"/>
                </a:lnTo>
                <a:lnTo>
                  <a:pt x="345" y="46"/>
                </a:lnTo>
                <a:lnTo>
                  <a:pt x="345" y="47"/>
                </a:lnTo>
                <a:lnTo>
                  <a:pt x="347" y="49"/>
                </a:lnTo>
                <a:lnTo>
                  <a:pt x="347" y="51"/>
                </a:lnTo>
                <a:lnTo>
                  <a:pt x="347" y="53"/>
                </a:lnTo>
                <a:lnTo>
                  <a:pt x="348" y="53"/>
                </a:lnTo>
                <a:lnTo>
                  <a:pt x="350" y="54"/>
                </a:lnTo>
                <a:lnTo>
                  <a:pt x="352" y="54"/>
                </a:lnTo>
                <a:lnTo>
                  <a:pt x="353" y="56"/>
                </a:lnTo>
                <a:lnTo>
                  <a:pt x="352" y="58"/>
                </a:lnTo>
                <a:lnTo>
                  <a:pt x="353" y="59"/>
                </a:lnTo>
                <a:lnTo>
                  <a:pt x="352" y="59"/>
                </a:lnTo>
                <a:lnTo>
                  <a:pt x="353" y="61"/>
                </a:lnTo>
                <a:lnTo>
                  <a:pt x="352" y="61"/>
                </a:lnTo>
                <a:lnTo>
                  <a:pt x="353" y="63"/>
                </a:lnTo>
                <a:lnTo>
                  <a:pt x="355" y="61"/>
                </a:lnTo>
                <a:lnTo>
                  <a:pt x="357" y="63"/>
                </a:lnTo>
                <a:lnTo>
                  <a:pt x="355" y="64"/>
                </a:lnTo>
                <a:lnTo>
                  <a:pt x="353" y="66"/>
                </a:lnTo>
                <a:lnTo>
                  <a:pt x="355" y="66"/>
                </a:lnTo>
                <a:lnTo>
                  <a:pt x="353" y="68"/>
                </a:lnTo>
                <a:lnTo>
                  <a:pt x="355" y="68"/>
                </a:lnTo>
                <a:lnTo>
                  <a:pt x="355" y="70"/>
                </a:lnTo>
                <a:lnTo>
                  <a:pt x="355" y="73"/>
                </a:lnTo>
                <a:lnTo>
                  <a:pt x="353" y="71"/>
                </a:lnTo>
                <a:lnTo>
                  <a:pt x="352" y="73"/>
                </a:lnTo>
                <a:lnTo>
                  <a:pt x="353" y="75"/>
                </a:lnTo>
                <a:lnTo>
                  <a:pt x="355" y="76"/>
                </a:lnTo>
                <a:lnTo>
                  <a:pt x="353" y="78"/>
                </a:lnTo>
                <a:lnTo>
                  <a:pt x="353" y="80"/>
                </a:lnTo>
                <a:lnTo>
                  <a:pt x="355" y="83"/>
                </a:lnTo>
                <a:lnTo>
                  <a:pt x="353" y="85"/>
                </a:lnTo>
                <a:lnTo>
                  <a:pt x="350" y="85"/>
                </a:lnTo>
                <a:lnTo>
                  <a:pt x="348" y="87"/>
                </a:lnTo>
                <a:lnTo>
                  <a:pt x="345" y="87"/>
                </a:lnTo>
                <a:lnTo>
                  <a:pt x="345" y="83"/>
                </a:lnTo>
                <a:lnTo>
                  <a:pt x="343" y="85"/>
                </a:lnTo>
                <a:lnTo>
                  <a:pt x="343" y="87"/>
                </a:lnTo>
                <a:lnTo>
                  <a:pt x="340" y="87"/>
                </a:lnTo>
                <a:lnTo>
                  <a:pt x="338" y="85"/>
                </a:lnTo>
                <a:lnTo>
                  <a:pt x="338" y="83"/>
                </a:lnTo>
                <a:lnTo>
                  <a:pt x="335" y="83"/>
                </a:lnTo>
                <a:lnTo>
                  <a:pt x="333" y="81"/>
                </a:lnTo>
                <a:lnTo>
                  <a:pt x="330" y="83"/>
                </a:lnTo>
                <a:lnTo>
                  <a:pt x="330" y="85"/>
                </a:lnTo>
                <a:lnTo>
                  <a:pt x="330" y="87"/>
                </a:lnTo>
                <a:lnTo>
                  <a:pt x="328" y="87"/>
                </a:lnTo>
                <a:lnTo>
                  <a:pt x="326" y="88"/>
                </a:lnTo>
                <a:lnTo>
                  <a:pt x="324" y="90"/>
                </a:lnTo>
                <a:lnTo>
                  <a:pt x="328" y="90"/>
                </a:lnTo>
                <a:lnTo>
                  <a:pt x="328" y="92"/>
                </a:lnTo>
                <a:lnTo>
                  <a:pt x="330" y="90"/>
                </a:lnTo>
                <a:lnTo>
                  <a:pt x="331" y="92"/>
                </a:lnTo>
                <a:lnTo>
                  <a:pt x="335" y="92"/>
                </a:lnTo>
                <a:lnTo>
                  <a:pt x="336" y="92"/>
                </a:lnTo>
                <a:lnTo>
                  <a:pt x="336" y="93"/>
                </a:lnTo>
                <a:lnTo>
                  <a:pt x="336" y="95"/>
                </a:lnTo>
                <a:lnTo>
                  <a:pt x="340" y="97"/>
                </a:lnTo>
                <a:lnTo>
                  <a:pt x="338" y="100"/>
                </a:lnTo>
                <a:lnTo>
                  <a:pt x="336" y="100"/>
                </a:lnTo>
                <a:lnTo>
                  <a:pt x="338" y="102"/>
                </a:lnTo>
                <a:lnTo>
                  <a:pt x="336" y="104"/>
                </a:lnTo>
                <a:lnTo>
                  <a:pt x="335" y="105"/>
                </a:lnTo>
                <a:lnTo>
                  <a:pt x="333" y="107"/>
                </a:lnTo>
                <a:lnTo>
                  <a:pt x="331" y="107"/>
                </a:lnTo>
                <a:lnTo>
                  <a:pt x="330" y="109"/>
                </a:lnTo>
                <a:lnTo>
                  <a:pt x="330" y="107"/>
                </a:lnTo>
                <a:lnTo>
                  <a:pt x="328" y="107"/>
                </a:lnTo>
                <a:lnTo>
                  <a:pt x="328" y="109"/>
                </a:lnTo>
                <a:lnTo>
                  <a:pt x="328" y="112"/>
                </a:lnTo>
                <a:lnTo>
                  <a:pt x="328" y="114"/>
                </a:lnTo>
                <a:lnTo>
                  <a:pt x="330" y="114"/>
                </a:lnTo>
                <a:lnTo>
                  <a:pt x="330" y="117"/>
                </a:lnTo>
                <a:lnTo>
                  <a:pt x="330" y="119"/>
                </a:lnTo>
                <a:lnTo>
                  <a:pt x="328" y="119"/>
                </a:lnTo>
                <a:lnTo>
                  <a:pt x="328" y="121"/>
                </a:lnTo>
                <a:lnTo>
                  <a:pt x="328" y="122"/>
                </a:lnTo>
                <a:lnTo>
                  <a:pt x="330" y="122"/>
                </a:lnTo>
                <a:lnTo>
                  <a:pt x="330" y="124"/>
                </a:lnTo>
                <a:lnTo>
                  <a:pt x="330" y="126"/>
                </a:lnTo>
                <a:lnTo>
                  <a:pt x="333" y="126"/>
                </a:lnTo>
                <a:lnTo>
                  <a:pt x="333" y="127"/>
                </a:lnTo>
                <a:lnTo>
                  <a:pt x="331" y="127"/>
                </a:lnTo>
                <a:lnTo>
                  <a:pt x="330" y="129"/>
                </a:lnTo>
                <a:lnTo>
                  <a:pt x="331" y="131"/>
                </a:lnTo>
                <a:lnTo>
                  <a:pt x="333" y="132"/>
                </a:lnTo>
                <a:lnTo>
                  <a:pt x="330" y="134"/>
                </a:lnTo>
                <a:lnTo>
                  <a:pt x="331" y="134"/>
                </a:lnTo>
                <a:lnTo>
                  <a:pt x="331" y="136"/>
                </a:lnTo>
                <a:lnTo>
                  <a:pt x="333" y="136"/>
                </a:lnTo>
                <a:lnTo>
                  <a:pt x="331" y="136"/>
                </a:lnTo>
                <a:lnTo>
                  <a:pt x="330" y="136"/>
                </a:lnTo>
                <a:lnTo>
                  <a:pt x="328" y="136"/>
                </a:lnTo>
                <a:lnTo>
                  <a:pt x="326" y="136"/>
                </a:lnTo>
                <a:lnTo>
                  <a:pt x="324" y="136"/>
                </a:lnTo>
                <a:lnTo>
                  <a:pt x="324" y="138"/>
                </a:lnTo>
                <a:lnTo>
                  <a:pt x="323" y="138"/>
                </a:lnTo>
                <a:lnTo>
                  <a:pt x="323" y="136"/>
                </a:lnTo>
                <a:lnTo>
                  <a:pt x="321" y="138"/>
                </a:lnTo>
                <a:lnTo>
                  <a:pt x="323" y="139"/>
                </a:lnTo>
                <a:lnTo>
                  <a:pt x="321" y="139"/>
                </a:lnTo>
                <a:lnTo>
                  <a:pt x="319" y="141"/>
                </a:lnTo>
                <a:lnTo>
                  <a:pt x="318" y="141"/>
                </a:lnTo>
                <a:lnTo>
                  <a:pt x="318" y="144"/>
                </a:lnTo>
                <a:lnTo>
                  <a:pt x="316" y="146"/>
                </a:lnTo>
                <a:lnTo>
                  <a:pt x="314" y="146"/>
                </a:lnTo>
                <a:lnTo>
                  <a:pt x="314" y="148"/>
                </a:lnTo>
                <a:lnTo>
                  <a:pt x="313" y="149"/>
                </a:lnTo>
                <a:lnTo>
                  <a:pt x="311" y="149"/>
                </a:lnTo>
                <a:lnTo>
                  <a:pt x="309" y="149"/>
                </a:lnTo>
                <a:lnTo>
                  <a:pt x="309" y="151"/>
                </a:lnTo>
                <a:lnTo>
                  <a:pt x="309" y="153"/>
                </a:lnTo>
                <a:lnTo>
                  <a:pt x="309" y="155"/>
                </a:lnTo>
                <a:lnTo>
                  <a:pt x="309" y="156"/>
                </a:lnTo>
                <a:lnTo>
                  <a:pt x="311" y="158"/>
                </a:lnTo>
                <a:lnTo>
                  <a:pt x="313" y="160"/>
                </a:lnTo>
                <a:lnTo>
                  <a:pt x="313" y="161"/>
                </a:lnTo>
                <a:lnTo>
                  <a:pt x="311" y="160"/>
                </a:lnTo>
                <a:lnTo>
                  <a:pt x="307" y="160"/>
                </a:lnTo>
                <a:lnTo>
                  <a:pt x="306" y="158"/>
                </a:lnTo>
                <a:lnTo>
                  <a:pt x="304" y="158"/>
                </a:lnTo>
                <a:lnTo>
                  <a:pt x="302" y="158"/>
                </a:lnTo>
                <a:lnTo>
                  <a:pt x="301" y="158"/>
                </a:lnTo>
                <a:lnTo>
                  <a:pt x="299" y="160"/>
                </a:lnTo>
                <a:lnTo>
                  <a:pt x="297" y="160"/>
                </a:lnTo>
                <a:lnTo>
                  <a:pt x="296" y="160"/>
                </a:lnTo>
                <a:lnTo>
                  <a:pt x="294" y="160"/>
                </a:lnTo>
                <a:lnTo>
                  <a:pt x="292" y="161"/>
                </a:lnTo>
                <a:lnTo>
                  <a:pt x="290" y="161"/>
                </a:lnTo>
                <a:lnTo>
                  <a:pt x="289" y="163"/>
                </a:lnTo>
                <a:lnTo>
                  <a:pt x="289" y="165"/>
                </a:lnTo>
                <a:lnTo>
                  <a:pt x="287" y="167"/>
                </a:lnTo>
                <a:lnTo>
                  <a:pt x="285" y="167"/>
                </a:lnTo>
                <a:lnTo>
                  <a:pt x="285" y="165"/>
                </a:lnTo>
                <a:lnTo>
                  <a:pt x="282" y="165"/>
                </a:lnTo>
                <a:lnTo>
                  <a:pt x="280" y="165"/>
                </a:lnTo>
                <a:lnTo>
                  <a:pt x="279" y="165"/>
                </a:lnTo>
                <a:lnTo>
                  <a:pt x="277" y="165"/>
                </a:lnTo>
                <a:lnTo>
                  <a:pt x="273" y="167"/>
                </a:lnTo>
                <a:lnTo>
                  <a:pt x="272" y="165"/>
                </a:lnTo>
                <a:lnTo>
                  <a:pt x="270" y="165"/>
                </a:lnTo>
                <a:lnTo>
                  <a:pt x="268" y="167"/>
                </a:lnTo>
                <a:lnTo>
                  <a:pt x="268" y="165"/>
                </a:lnTo>
                <a:lnTo>
                  <a:pt x="267" y="167"/>
                </a:lnTo>
                <a:lnTo>
                  <a:pt x="265" y="167"/>
                </a:lnTo>
                <a:lnTo>
                  <a:pt x="263" y="167"/>
                </a:lnTo>
                <a:lnTo>
                  <a:pt x="263" y="168"/>
                </a:lnTo>
                <a:lnTo>
                  <a:pt x="262" y="170"/>
                </a:lnTo>
                <a:lnTo>
                  <a:pt x="260" y="168"/>
                </a:lnTo>
                <a:lnTo>
                  <a:pt x="258" y="168"/>
                </a:lnTo>
                <a:lnTo>
                  <a:pt x="258" y="170"/>
                </a:lnTo>
                <a:lnTo>
                  <a:pt x="256" y="170"/>
                </a:lnTo>
                <a:lnTo>
                  <a:pt x="255" y="172"/>
                </a:lnTo>
                <a:lnTo>
                  <a:pt x="255" y="173"/>
                </a:lnTo>
                <a:lnTo>
                  <a:pt x="255" y="177"/>
                </a:lnTo>
                <a:lnTo>
                  <a:pt x="253" y="177"/>
                </a:lnTo>
                <a:lnTo>
                  <a:pt x="251" y="177"/>
                </a:lnTo>
                <a:lnTo>
                  <a:pt x="250" y="178"/>
                </a:lnTo>
                <a:lnTo>
                  <a:pt x="250" y="180"/>
                </a:lnTo>
                <a:lnTo>
                  <a:pt x="248" y="180"/>
                </a:lnTo>
                <a:lnTo>
                  <a:pt x="248" y="182"/>
                </a:lnTo>
                <a:lnTo>
                  <a:pt x="245" y="182"/>
                </a:lnTo>
                <a:lnTo>
                  <a:pt x="243" y="184"/>
                </a:lnTo>
                <a:lnTo>
                  <a:pt x="243" y="187"/>
                </a:lnTo>
                <a:lnTo>
                  <a:pt x="241" y="185"/>
                </a:lnTo>
                <a:lnTo>
                  <a:pt x="241" y="184"/>
                </a:lnTo>
                <a:lnTo>
                  <a:pt x="238" y="185"/>
                </a:lnTo>
                <a:lnTo>
                  <a:pt x="236" y="184"/>
                </a:lnTo>
                <a:lnTo>
                  <a:pt x="236" y="182"/>
                </a:lnTo>
                <a:lnTo>
                  <a:pt x="234" y="184"/>
                </a:lnTo>
                <a:lnTo>
                  <a:pt x="233" y="184"/>
                </a:lnTo>
                <a:lnTo>
                  <a:pt x="231" y="184"/>
                </a:lnTo>
                <a:lnTo>
                  <a:pt x="229" y="184"/>
                </a:lnTo>
                <a:lnTo>
                  <a:pt x="228" y="184"/>
                </a:lnTo>
                <a:lnTo>
                  <a:pt x="224" y="184"/>
                </a:lnTo>
                <a:lnTo>
                  <a:pt x="222" y="184"/>
                </a:lnTo>
                <a:lnTo>
                  <a:pt x="221" y="182"/>
                </a:lnTo>
                <a:lnTo>
                  <a:pt x="219" y="180"/>
                </a:lnTo>
                <a:lnTo>
                  <a:pt x="217" y="180"/>
                </a:lnTo>
                <a:lnTo>
                  <a:pt x="216" y="182"/>
                </a:lnTo>
                <a:lnTo>
                  <a:pt x="214" y="180"/>
                </a:lnTo>
                <a:lnTo>
                  <a:pt x="212" y="178"/>
                </a:lnTo>
                <a:lnTo>
                  <a:pt x="211" y="178"/>
                </a:lnTo>
                <a:lnTo>
                  <a:pt x="207" y="178"/>
                </a:lnTo>
                <a:lnTo>
                  <a:pt x="205" y="180"/>
                </a:lnTo>
                <a:lnTo>
                  <a:pt x="204" y="178"/>
                </a:lnTo>
                <a:lnTo>
                  <a:pt x="200" y="178"/>
                </a:lnTo>
                <a:lnTo>
                  <a:pt x="199" y="178"/>
                </a:lnTo>
                <a:lnTo>
                  <a:pt x="197" y="178"/>
                </a:lnTo>
                <a:lnTo>
                  <a:pt x="195" y="177"/>
                </a:lnTo>
                <a:lnTo>
                  <a:pt x="194" y="178"/>
                </a:lnTo>
                <a:lnTo>
                  <a:pt x="194" y="177"/>
                </a:lnTo>
                <a:lnTo>
                  <a:pt x="192" y="178"/>
                </a:lnTo>
                <a:lnTo>
                  <a:pt x="190" y="177"/>
                </a:lnTo>
                <a:lnTo>
                  <a:pt x="187" y="177"/>
                </a:lnTo>
                <a:lnTo>
                  <a:pt x="185" y="175"/>
                </a:lnTo>
                <a:lnTo>
                  <a:pt x="185" y="177"/>
                </a:lnTo>
                <a:lnTo>
                  <a:pt x="183" y="177"/>
                </a:lnTo>
                <a:lnTo>
                  <a:pt x="182" y="178"/>
                </a:lnTo>
                <a:lnTo>
                  <a:pt x="180" y="177"/>
                </a:lnTo>
                <a:lnTo>
                  <a:pt x="178" y="178"/>
                </a:lnTo>
                <a:lnTo>
                  <a:pt x="177" y="177"/>
                </a:lnTo>
                <a:lnTo>
                  <a:pt x="175" y="175"/>
                </a:lnTo>
                <a:lnTo>
                  <a:pt x="173" y="175"/>
                </a:lnTo>
                <a:lnTo>
                  <a:pt x="171" y="175"/>
                </a:lnTo>
                <a:lnTo>
                  <a:pt x="170" y="175"/>
                </a:lnTo>
                <a:lnTo>
                  <a:pt x="168" y="175"/>
                </a:lnTo>
                <a:lnTo>
                  <a:pt x="165" y="175"/>
                </a:lnTo>
                <a:lnTo>
                  <a:pt x="163" y="175"/>
                </a:lnTo>
                <a:lnTo>
                  <a:pt x="160" y="175"/>
                </a:lnTo>
                <a:lnTo>
                  <a:pt x="158" y="173"/>
                </a:lnTo>
                <a:lnTo>
                  <a:pt x="156" y="172"/>
                </a:lnTo>
                <a:lnTo>
                  <a:pt x="153" y="173"/>
                </a:lnTo>
                <a:lnTo>
                  <a:pt x="151" y="172"/>
                </a:lnTo>
                <a:lnTo>
                  <a:pt x="149" y="172"/>
                </a:lnTo>
                <a:lnTo>
                  <a:pt x="148" y="172"/>
                </a:lnTo>
                <a:lnTo>
                  <a:pt x="146" y="172"/>
                </a:lnTo>
                <a:lnTo>
                  <a:pt x="143" y="170"/>
                </a:lnTo>
                <a:lnTo>
                  <a:pt x="141" y="170"/>
                </a:lnTo>
                <a:lnTo>
                  <a:pt x="139" y="170"/>
                </a:lnTo>
                <a:lnTo>
                  <a:pt x="136" y="168"/>
                </a:lnTo>
                <a:lnTo>
                  <a:pt x="136" y="167"/>
                </a:lnTo>
                <a:lnTo>
                  <a:pt x="136" y="163"/>
                </a:lnTo>
                <a:lnTo>
                  <a:pt x="132" y="163"/>
                </a:lnTo>
                <a:lnTo>
                  <a:pt x="131" y="163"/>
                </a:lnTo>
                <a:lnTo>
                  <a:pt x="131" y="161"/>
                </a:lnTo>
                <a:lnTo>
                  <a:pt x="132" y="160"/>
                </a:lnTo>
                <a:lnTo>
                  <a:pt x="131" y="156"/>
                </a:lnTo>
                <a:lnTo>
                  <a:pt x="129" y="156"/>
                </a:lnTo>
                <a:lnTo>
                  <a:pt x="127" y="158"/>
                </a:lnTo>
                <a:lnTo>
                  <a:pt x="127" y="155"/>
                </a:lnTo>
                <a:lnTo>
                  <a:pt x="124" y="155"/>
                </a:lnTo>
                <a:lnTo>
                  <a:pt x="126" y="153"/>
                </a:lnTo>
                <a:lnTo>
                  <a:pt x="124" y="151"/>
                </a:lnTo>
                <a:lnTo>
                  <a:pt x="124" y="149"/>
                </a:lnTo>
                <a:lnTo>
                  <a:pt x="124" y="148"/>
                </a:lnTo>
                <a:lnTo>
                  <a:pt x="124" y="146"/>
                </a:lnTo>
                <a:lnTo>
                  <a:pt x="127" y="146"/>
                </a:lnTo>
                <a:lnTo>
                  <a:pt x="127" y="144"/>
                </a:lnTo>
                <a:lnTo>
                  <a:pt x="129" y="143"/>
                </a:lnTo>
                <a:lnTo>
                  <a:pt x="126" y="143"/>
                </a:lnTo>
                <a:lnTo>
                  <a:pt x="122" y="143"/>
                </a:lnTo>
                <a:lnTo>
                  <a:pt x="120" y="144"/>
                </a:lnTo>
                <a:lnTo>
                  <a:pt x="119" y="144"/>
                </a:lnTo>
                <a:lnTo>
                  <a:pt x="119" y="146"/>
                </a:lnTo>
                <a:lnTo>
                  <a:pt x="117" y="144"/>
                </a:lnTo>
                <a:lnTo>
                  <a:pt x="115" y="146"/>
                </a:lnTo>
                <a:lnTo>
                  <a:pt x="114" y="146"/>
                </a:lnTo>
                <a:lnTo>
                  <a:pt x="112" y="148"/>
                </a:lnTo>
                <a:lnTo>
                  <a:pt x="110" y="148"/>
                </a:lnTo>
                <a:lnTo>
                  <a:pt x="110" y="149"/>
                </a:lnTo>
                <a:lnTo>
                  <a:pt x="107" y="149"/>
                </a:lnTo>
                <a:lnTo>
                  <a:pt x="105" y="151"/>
                </a:lnTo>
                <a:lnTo>
                  <a:pt x="103" y="149"/>
                </a:lnTo>
                <a:lnTo>
                  <a:pt x="102" y="149"/>
                </a:lnTo>
                <a:lnTo>
                  <a:pt x="100" y="148"/>
                </a:lnTo>
                <a:lnTo>
                  <a:pt x="98" y="149"/>
                </a:lnTo>
                <a:lnTo>
                  <a:pt x="95" y="149"/>
                </a:lnTo>
                <a:lnTo>
                  <a:pt x="93" y="149"/>
                </a:lnTo>
                <a:lnTo>
                  <a:pt x="93" y="148"/>
                </a:lnTo>
                <a:lnTo>
                  <a:pt x="90" y="151"/>
                </a:lnTo>
                <a:lnTo>
                  <a:pt x="86" y="149"/>
                </a:lnTo>
                <a:lnTo>
                  <a:pt x="85" y="149"/>
                </a:lnTo>
                <a:lnTo>
                  <a:pt x="85" y="151"/>
                </a:lnTo>
                <a:lnTo>
                  <a:pt x="81" y="151"/>
                </a:lnTo>
                <a:lnTo>
                  <a:pt x="80" y="153"/>
                </a:lnTo>
                <a:lnTo>
                  <a:pt x="78" y="151"/>
                </a:lnTo>
                <a:lnTo>
                  <a:pt x="78" y="153"/>
                </a:lnTo>
                <a:lnTo>
                  <a:pt x="75" y="155"/>
                </a:lnTo>
                <a:lnTo>
                  <a:pt x="75" y="156"/>
                </a:lnTo>
                <a:lnTo>
                  <a:pt x="75" y="158"/>
                </a:lnTo>
                <a:lnTo>
                  <a:pt x="73" y="160"/>
                </a:lnTo>
                <a:lnTo>
                  <a:pt x="75" y="161"/>
                </a:lnTo>
                <a:lnTo>
                  <a:pt x="71" y="163"/>
                </a:lnTo>
                <a:lnTo>
                  <a:pt x="71" y="167"/>
                </a:lnTo>
                <a:lnTo>
                  <a:pt x="71" y="165"/>
                </a:lnTo>
                <a:lnTo>
                  <a:pt x="69" y="167"/>
                </a:lnTo>
                <a:lnTo>
                  <a:pt x="68" y="165"/>
                </a:lnTo>
                <a:lnTo>
                  <a:pt x="66" y="165"/>
                </a:lnTo>
                <a:lnTo>
                  <a:pt x="64" y="167"/>
                </a:lnTo>
                <a:lnTo>
                  <a:pt x="63" y="165"/>
                </a:lnTo>
                <a:lnTo>
                  <a:pt x="61" y="165"/>
                </a:lnTo>
                <a:lnTo>
                  <a:pt x="59" y="165"/>
                </a:lnTo>
                <a:lnTo>
                  <a:pt x="58" y="165"/>
                </a:lnTo>
                <a:lnTo>
                  <a:pt x="58" y="161"/>
                </a:lnTo>
                <a:lnTo>
                  <a:pt x="56" y="161"/>
                </a:lnTo>
                <a:lnTo>
                  <a:pt x="56" y="160"/>
                </a:lnTo>
                <a:lnTo>
                  <a:pt x="54" y="158"/>
                </a:lnTo>
                <a:lnTo>
                  <a:pt x="52" y="160"/>
                </a:lnTo>
                <a:lnTo>
                  <a:pt x="51" y="160"/>
                </a:lnTo>
                <a:lnTo>
                  <a:pt x="47" y="161"/>
                </a:lnTo>
                <a:lnTo>
                  <a:pt x="47" y="160"/>
                </a:lnTo>
                <a:lnTo>
                  <a:pt x="47" y="161"/>
                </a:lnTo>
                <a:lnTo>
                  <a:pt x="44" y="160"/>
                </a:lnTo>
                <a:lnTo>
                  <a:pt x="44" y="158"/>
                </a:lnTo>
                <a:lnTo>
                  <a:pt x="46" y="156"/>
                </a:lnTo>
                <a:lnTo>
                  <a:pt x="46" y="155"/>
                </a:lnTo>
                <a:lnTo>
                  <a:pt x="44" y="153"/>
                </a:lnTo>
                <a:lnTo>
                  <a:pt x="42" y="153"/>
                </a:lnTo>
                <a:lnTo>
                  <a:pt x="42" y="151"/>
                </a:lnTo>
                <a:lnTo>
                  <a:pt x="41" y="149"/>
                </a:lnTo>
                <a:lnTo>
                  <a:pt x="39" y="151"/>
                </a:lnTo>
                <a:lnTo>
                  <a:pt x="37" y="153"/>
                </a:lnTo>
                <a:lnTo>
                  <a:pt x="37" y="155"/>
                </a:lnTo>
                <a:lnTo>
                  <a:pt x="35" y="156"/>
                </a:lnTo>
                <a:lnTo>
                  <a:pt x="34" y="155"/>
                </a:lnTo>
                <a:lnTo>
                  <a:pt x="32" y="158"/>
                </a:lnTo>
                <a:lnTo>
                  <a:pt x="32" y="160"/>
                </a:lnTo>
                <a:lnTo>
                  <a:pt x="30" y="160"/>
                </a:lnTo>
                <a:lnTo>
                  <a:pt x="27" y="161"/>
                </a:lnTo>
                <a:lnTo>
                  <a:pt x="25" y="160"/>
                </a:lnTo>
                <a:lnTo>
                  <a:pt x="24" y="160"/>
                </a:lnTo>
                <a:lnTo>
                  <a:pt x="22" y="156"/>
                </a:lnTo>
                <a:lnTo>
                  <a:pt x="20" y="156"/>
                </a:lnTo>
                <a:lnTo>
                  <a:pt x="18" y="156"/>
                </a:lnTo>
                <a:lnTo>
                  <a:pt x="17" y="155"/>
                </a:lnTo>
                <a:lnTo>
                  <a:pt x="15" y="155"/>
                </a:lnTo>
                <a:lnTo>
                  <a:pt x="15" y="153"/>
                </a:lnTo>
                <a:lnTo>
                  <a:pt x="17" y="151"/>
                </a:lnTo>
                <a:lnTo>
                  <a:pt x="15" y="148"/>
                </a:lnTo>
                <a:lnTo>
                  <a:pt x="13" y="149"/>
                </a:lnTo>
                <a:lnTo>
                  <a:pt x="12" y="148"/>
                </a:lnTo>
                <a:lnTo>
                  <a:pt x="10" y="148"/>
                </a:lnTo>
                <a:lnTo>
                  <a:pt x="8" y="146"/>
                </a:lnTo>
                <a:lnTo>
                  <a:pt x="7" y="146"/>
                </a:lnTo>
                <a:lnTo>
                  <a:pt x="5" y="146"/>
                </a:lnTo>
                <a:lnTo>
                  <a:pt x="3" y="146"/>
                </a:lnTo>
                <a:lnTo>
                  <a:pt x="3" y="144"/>
                </a:lnTo>
                <a:lnTo>
                  <a:pt x="5" y="144"/>
                </a:lnTo>
                <a:lnTo>
                  <a:pt x="3" y="143"/>
                </a:lnTo>
                <a:lnTo>
                  <a:pt x="5" y="141"/>
                </a:lnTo>
                <a:lnTo>
                  <a:pt x="3" y="139"/>
                </a:lnTo>
                <a:lnTo>
                  <a:pt x="1" y="138"/>
                </a:lnTo>
                <a:lnTo>
                  <a:pt x="1" y="136"/>
                </a:lnTo>
                <a:lnTo>
                  <a:pt x="0" y="134"/>
                </a:lnTo>
                <a:lnTo>
                  <a:pt x="1" y="132"/>
                </a:lnTo>
                <a:lnTo>
                  <a:pt x="0" y="131"/>
                </a:lnTo>
                <a:lnTo>
                  <a:pt x="0" y="129"/>
                </a:lnTo>
                <a:lnTo>
                  <a:pt x="1" y="127"/>
                </a:lnTo>
                <a:lnTo>
                  <a:pt x="3" y="126"/>
                </a:lnTo>
                <a:lnTo>
                  <a:pt x="5" y="124"/>
                </a:lnTo>
                <a:lnTo>
                  <a:pt x="7" y="122"/>
                </a:lnTo>
                <a:lnTo>
                  <a:pt x="5" y="122"/>
                </a:lnTo>
                <a:lnTo>
                  <a:pt x="5" y="119"/>
                </a:lnTo>
                <a:lnTo>
                  <a:pt x="3" y="117"/>
                </a:lnTo>
                <a:lnTo>
                  <a:pt x="1" y="115"/>
                </a:lnTo>
                <a:lnTo>
                  <a:pt x="3" y="115"/>
                </a:lnTo>
                <a:lnTo>
                  <a:pt x="5" y="114"/>
                </a:lnTo>
                <a:lnTo>
                  <a:pt x="5" y="115"/>
                </a:lnTo>
                <a:lnTo>
                  <a:pt x="5" y="114"/>
                </a:lnTo>
                <a:lnTo>
                  <a:pt x="7" y="115"/>
                </a:lnTo>
                <a:lnTo>
                  <a:pt x="8" y="114"/>
                </a:lnTo>
                <a:lnTo>
                  <a:pt x="10" y="114"/>
                </a:lnTo>
                <a:lnTo>
                  <a:pt x="8" y="112"/>
                </a:lnTo>
                <a:lnTo>
                  <a:pt x="10" y="110"/>
                </a:lnTo>
                <a:lnTo>
                  <a:pt x="12" y="109"/>
                </a:lnTo>
                <a:lnTo>
                  <a:pt x="13" y="109"/>
                </a:lnTo>
                <a:lnTo>
                  <a:pt x="13" y="112"/>
                </a:lnTo>
                <a:lnTo>
                  <a:pt x="15" y="112"/>
                </a:lnTo>
                <a:lnTo>
                  <a:pt x="17" y="112"/>
                </a:lnTo>
                <a:lnTo>
                  <a:pt x="18" y="112"/>
                </a:lnTo>
                <a:lnTo>
                  <a:pt x="20" y="112"/>
                </a:lnTo>
                <a:lnTo>
                  <a:pt x="20" y="114"/>
                </a:lnTo>
                <a:lnTo>
                  <a:pt x="22" y="115"/>
                </a:lnTo>
                <a:lnTo>
                  <a:pt x="24" y="115"/>
                </a:lnTo>
                <a:lnTo>
                  <a:pt x="25" y="117"/>
                </a:lnTo>
                <a:lnTo>
                  <a:pt x="27" y="121"/>
                </a:lnTo>
                <a:lnTo>
                  <a:pt x="25" y="121"/>
                </a:lnTo>
                <a:lnTo>
                  <a:pt x="25" y="122"/>
                </a:lnTo>
                <a:lnTo>
                  <a:pt x="27" y="126"/>
                </a:lnTo>
                <a:lnTo>
                  <a:pt x="27" y="124"/>
                </a:lnTo>
                <a:lnTo>
                  <a:pt x="30" y="124"/>
                </a:lnTo>
                <a:lnTo>
                  <a:pt x="30" y="122"/>
                </a:lnTo>
                <a:lnTo>
                  <a:pt x="32" y="124"/>
                </a:lnTo>
                <a:lnTo>
                  <a:pt x="34" y="124"/>
                </a:lnTo>
                <a:lnTo>
                  <a:pt x="32" y="126"/>
                </a:lnTo>
                <a:lnTo>
                  <a:pt x="30" y="127"/>
                </a:lnTo>
                <a:lnTo>
                  <a:pt x="32" y="127"/>
                </a:lnTo>
                <a:lnTo>
                  <a:pt x="30" y="129"/>
                </a:lnTo>
                <a:lnTo>
                  <a:pt x="30" y="131"/>
                </a:lnTo>
                <a:lnTo>
                  <a:pt x="32" y="131"/>
                </a:lnTo>
                <a:lnTo>
                  <a:pt x="35" y="129"/>
                </a:lnTo>
                <a:lnTo>
                  <a:pt x="37" y="129"/>
                </a:lnTo>
                <a:lnTo>
                  <a:pt x="39" y="126"/>
                </a:lnTo>
                <a:lnTo>
                  <a:pt x="41" y="126"/>
                </a:lnTo>
                <a:lnTo>
                  <a:pt x="41" y="124"/>
                </a:lnTo>
                <a:lnTo>
                  <a:pt x="42" y="124"/>
                </a:lnTo>
                <a:lnTo>
                  <a:pt x="42" y="121"/>
                </a:lnTo>
                <a:lnTo>
                  <a:pt x="44" y="119"/>
                </a:lnTo>
                <a:lnTo>
                  <a:pt x="44" y="117"/>
                </a:lnTo>
                <a:lnTo>
                  <a:pt x="42" y="114"/>
                </a:lnTo>
                <a:lnTo>
                  <a:pt x="44" y="110"/>
                </a:lnTo>
                <a:lnTo>
                  <a:pt x="42" y="109"/>
                </a:lnTo>
                <a:lnTo>
                  <a:pt x="44" y="109"/>
                </a:lnTo>
                <a:lnTo>
                  <a:pt x="44" y="110"/>
                </a:lnTo>
                <a:lnTo>
                  <a:pt x="46" y="112"/>
                </a:lnTo>
                <a:lnTo>
                  <a:pt x="47" y="112"/>
                </a:lnTo>
                <a:lnTo>
                  <a:pt x="49" y="112"/>
                </a:lnTo>
                <a:lnTo>
                  <a:pt x="51" y="110"/>
                </a:lnTo>
                <a:lnTo>
                  <a:pt x="52" y="110"/>
                </a:lnTo>
                <a:lnTo>
                  <a:pt x="54" y="110"/>
                </a:lnTo>
                <a:lnTo>
                  <a:pt x="54" y="112"/>
                </a:lnTo>
                <a:lnTo>
                  <a:pt x="58" y="112"/>
                </a:lnTo>
                <a:lnTo>
                  <a:pt x="59" y="114"/>
                </a:lnTo>
                <a:lnTo>
                  <a:pt x="61" y="112"/>
                </a:lnTo>
                <a:lnTo>
                  <a:pt x="64" y="112"/>
                </a:lnTo>
                <a:lnTo>
                  <a:pt x="64" y="114"/>
                </a:lnTo>
                <a:lnTo>
                  <a:pt x="63" y="114"/>
                </a:lnTo>
                <a:lnTo>
                  <a:pt x="63" y="115"/>
                </a:lnTo>
                <a:lnTo>
                  <a:pt x="66" y="115"/>
                </a:lnTo>
                <a:lnTo>
                  <a:pt x="66" y="117"/>
                </a:lnTo>
                <a:lnTo>
                  <a:pt x="68" y="117"/>
                </a:lnTo>
                <a:lnTo>
                  <a:pt x="68" y="119"/>
                </a:lnTo>
                <a:lnTo>
                  <a:pt x="68" y="122"/>
                </a:lnTo>
                <a:lnTo>
                  <a:pt x="71" y="122"/>
                </a:lnTo>
                <a:lnTo>
                  <a:pt x="73" y="122"/>
                </a:lnTo>
                <a:lnTo>
                  <a:pt x="75" y="122"/>
                </a:lnTo>
                <a:lnTo>
                  <a:pt x="75" y="121"/>
                </a:lnTo>
                <a:lnTo>
                  <a:pt x="76" y="121"/>
                </a:lnTo>
                <a:lnTo>
                  <a:pt x="78" y="119"/>
                </a:lnTo>
                <a:lnTo>
                  <a:pt x="80" y="119"/>
                </a:lnTo>
                <a:lnTo>
                  <a:pt x="81" y="119"/>
                </a:lnTo>
                <a:lnTo>
                  <a:pt x="80" y="122"/>
                </a:lnTo>
                <a:lnTo>
                  <a:pt x="81" y="122"/>
                </a:lnTo>
                <a:lnTo>
                  <a:pt x="83" y="119"/>
                </a:lnTo>
                <a:lnTo>
                  <a:pt x="85" y="117"/>
                </a:lnTo>
                <a:lnTo>
                  <a:pt x="86" y="119"/>
                </a:lnTo>
                <a:lnTo>
                  <a:pt x="90" y="119"/>
                </a:lnTo>
                <a:lnTo>
                  <a:pt x="88" y="115"/>
                </a:lnTo>
                <a:lnTo>
                  <a:pt x="90" y="114"/>
                </a:lnTo>
                <a:lnTo>
                  <a:pt x="93" y="114"/>
                </a:lnTo>
                <a:lnTo>
                  <a:pt x="97" y="114"/>
                </a:lnTo>
                <a:lnTo>
                  <a:pt x="97" y="112"/>
                </a:lnTo>
                <a:lnTo>
                  <a:pt x="97" y="110"/>
                </a:lnTo>
                <a:lnTo>
                  <a:pt x="98" y="109"/>
                </a:lnTo>
                <a:lnTo>
                  <a:pt x="98" y="107"/>
                </a:lnTo>
                <a:lnTo>
                  <a:pt x="100" y="109"/>
                </a:lnTo>
                <a:lnTo>
                  <a:pt x="102" y="107"/>
                </a:lnTo>
                <a:lnTo>
                  <a:pt x="105" y="107"/>
                </a:lnTo>
                <a:lnTo>
                  <a:pt x="109" y="109"/>
                </a:lnTo>
                <a:lnTo>
                  <a:pt x="109" y="107"/>
                </a:lnTo>
                <a:lnTo>
                  <a:pt x="112" y="105"/>
                </a:lnTo>
                <a:lnTo>
                  <a:pt x="115" y="105"/>
                </a:lnTo>
                <a:lnTo>
                  <a:pt x="117" y="105"/>
                </a:lnTo>
                <a:lnTo>
                  <a:pt x="119" y="105"/>
                </a:lnTo>
                <a:lnTo>
                  <a:pt x="120" y="105"/>
                </a:lnTo>
                <a:lnTo>
                  <a:pt x="122" y="105"/>
                </a:lnTo>
                <a:lnTo>
                  <a:pt x="124" y="105"/>
                </a:lnTo>
                <a:lnTo>
                  <a:pt x="124" y="107"/>
                </a:lnTo>
                <a:lnTo>
                  <a:pt x="126" y="105"/>
                </a:lnTo>
                <a:lnTo>
                  <a:pt x="126" y="104"/>
                </a:lnTo>
                <a:lnTo>
                  <a:pt x="124" y="100"/>
                </a:lnTo>
                <a:lnTo>
                  <a:pt x="124" y="98"/>
                </a:lnTo>
                <a:lnTo>
                  <a:pt x="126" y="98"/>
                </a:lnTo>
                <a:lnTo>
                  <a:pt x="127" y="98"/>
                </a:lnTo>
                <a:lnTo>
                  <a:pt x="127" y="97"/>
                </a:lnTo>
                <a:lnTo>
                  <a:pt x="129" y="97"/>
                </a:lnTo>
                <a:lnTo>
                  <a:pt x="127" y="100"/>
                </a:lnTo>
                <a:lnTo>
                  <a:pt x="129" y="100"/>
                </a:lnTo>
                <a:lnTo>
                  <a:pt x="132" y="98"/>
                </a:lnTo>
                <a:lnTo>
                  <a:pt x="134" y="100"/>
                </a:lnTo>
                <a:lnTo>
                  <a:pt x="136" y="100"/>
                </a:lnTo>
                <a:lnTo>
                  <a:pt x="137" y="98"/>
                </a:lnTo>
                <a:lnTo>
                  <a:pt x="137" y="100"/>
                </a:lnTo>
                <a:lnTo>
                  <a:pt x="137" y="102"/>
                </a:lnTo>
                <a:lnTo>
                  <a:pt x="139" y="104"/>
                </a:lnTo>
                <a:lnTo>
                  <a:pt x="141" y="104"/>
                </a:lnTo>
                <a:lnTo>
                  <a:pt x="143" y="104"/>
                </a:lnTo>
                <a:lnTo>
                  <a:pt x="144" y="102"/>
                </a:lnTo>
                <a:lnTo>
                  <a:pt x="144" y="100"/>
                </a:lnTo>
                <a:lnTo>
                  <a:pt x="146" y="100"/>
                </a:lnTo>
                <a:lnTo>
                  <a:pt x="148" y="100"/>
                </a:lnTo>
                <a:lnTo>
                  <a:pt x="151" y="100"/>
                </a:lnTo>
                <a:lnTo>
                  <a:pt x="153" y="100"/>
                </a:lnTo>
                <a:lnTo>
                  <a:pt x="153" y="102"/>
                </a:lnTo>
                <a:lnTo>
                  <a:pt x="153" y="104"/>
                </a:lnTo>
                <a:lnTo>
                  <a:pt x="154" y="104"/>
                </a:lnTo>
                <a:lnTo>
                  <a:pt x="153" y="107"/>
                </a:lnTo>
                <a:lnTo>
                  <a:pt x="154" y="109"/>
                </a:lnTo>
                <a:lnTo>
                  <a:pt x="156" y="109"/>
                </a:lnTo>
                <a:lnTo>
                  <a:pt x="156" y="110"/>
                </a:lnTo>
                <a:lnTo>
                  <a:pt x="158" y="110"/>
                </a:lnTo>
                <a:lnTo>
                  <a:pt x="160" y="112"/>
                </a:lnTo>
                <a:lnTo>
                  <a:pt x="161" y="114"/>
                </a:lnTo>
                <a:lnTo>
                  <a:pt x="163" y="114"/>
                </a:lnTo>
                <a:lnTo>
                  <a:pt x="165" y="114"/>
                </a:lnTo>
                <a:lnTo>
                  <a:pt x="166" y="112"/>
                </a:lnTo>
                <a:lnTo>
                  <a:pt x="165" y="110"/>
                </a:lnTo>
                <a:lnTo>
                  <a:pt x="166" y="107"/>
                </a:lnTo>
                <a:lnTo>
                  <a:pt x="166" y="105"/>
                </a:lnTo>
                <a:lnTo>
                  <a:pt x="168" y="102"/>
                </a:lnTo>
                <a:lnTo>
                  <a:pt x="166" y="100"/>
                </a:lnTo>
                <a:lnTo>
                  <a:pt x="166" y="98"/>
                </a:lnTo>
                <a:lnTo>
                  <a:pt x="165" y="97"/>
                </a:lnTo>
                <a:lnTo>
                  <a:pt x="163" y="97"/>
                </a:lnTo>
                <a:lnTo>
                  <a:pt x="161" y="97"/>
                </a:lnTo>
                <a:lnTo>
                  <a:pt x="160" y="97"/>
                </a:lnTo>
                <a:lnTo>
                  <a:pt x="160" y="95"/>
                </a:lnTo>
                <a:lnTo>
                  <a:pt x="161" y="93"/>
                </a:lnTo>
                <a:lnTo>
                  <a:pt x="160" y="93"/>
                </a:lnTo>
                <a:lnTo>
                  <a:pt x="161" y="92"/>
                </a:lnTo>
                <a:lnTo>
                  <a:pt x="163" y="88"/>
                </a:lnTo>
                <a:lnTo>
                  <a:pt x="161" y="85"/>
                </a:lnTo>
                <a:lnTo>
                  <a:pt x="161" y="83"/>
                </a:lnTo>
                <a:lnTo>
                  <a:pt x="160" y="83"/>
                </a:lnTo>
                <a:lnTo>
                  <a:pt x="160" y="81"/>
                </a:lnTo>
                <a:lnTo>
                  <a:pt x="158" y="80"/>
                </a:lnTo>
                <a:lnTo>
                  <a:pt x="156" y="80"/>
                </a:lnTo>
                <a:lnTo>
                  <a:pt x="156" y="76"/>
                </a:lnTo>
                <a:lnTo>
                  <a:pt x="154" y="75"/>
                </a:lnTo>
                <a:lnTo>
                  <a:pt x="153" y="73"/>
                </a:lnTo>
                <a:lnTo>
                  <a:pt x="151" y="73"/>
                </a:lnTo>
                <a:lnTo>
                  <a:pt x="151" y="71"/>
                </a:lnTo>
                <a:lnTo>
                  <a:pt x="151" y="70"/>
                </a:lnTo>
                <a:lnTo>
                  <a:pt x="151" y="68"/>
                </a:lnTo>
                <a:lnTo>
                  <a:pt x="153" y="68"/>
                </a:lnTo>
                <a:lnTo>
                  <a:pt x="154" y="66"/>
                </a:lnTo>
                <a:lnTo>
                  <a:pt x="156" y="63"/>
                </a:lnTo>
                <a:lnTo>
                  <a:pt x="158" y="63"/>
                </a:lnTo>
                <a:lnTo>
                  <a:pt x="160" y="63"/>
                </a:lnTo>
                <a:lnTo>
                  <a:pt x="161" y="61"/>
                </a:lnTo>
                <a:lnTo>
                  <a:pt x="163" y="59"/>
                </a:lnTo>
                <a:lnTo>
                  <a:pt x="165" y="58"/>
                </a:lnTo>
                <a:lnTo>
                  <a:pt x="168" y="58"/>
                </a:lnTo>
                <a:lnTo>
                  <a:pt x="170" y="56"/>
                </a:lnTo>
                <a:lnTo>
                  <a:pt x="173" y="56"/>
                </a:lnTo>
                <a:lnTo>
                  <a:pt x="175" y="54"/>
                </a:lnTo>
                <a:lnTo>
                  <a:pt x="177" y="54"/>
                </a:lnTo>
                <a:lnTo>
                  <a:pt x="178" y="51"/>
                </a:lnTo>
                <a:lnTo>
                  <a:pt x="180" y="49"/>
                </a:lnTo>
                <a:lnTo>
                  <a:pt x="180" y="47"/>
                </a:lnTo>
                <a:lnTo>
                  <a:pt x="182" y="46"/>
                </a:lnTo>
                <a:lnTo>
                  <a:pt x="182" y="44"/>
                </a:lnTo>
                <a:lnTo>
                  <a:pt x="182" y="41"/>
                </a:lnTo>
                <a:lnTo>
                  <a:pt x="182" y="39"/>
                </a:lnTo>
                <a:lnTo>
                  <a:pt x="182" y="37"/>
                </a:lnTo>
                <a:lnTo>
                  <a:pt x="183" y="37"/>
                </a:lnTo>
                <a:lnTo>
                  <a:pt x="183" y="34"/>
                </a:lnTo>
                <a:lnTo>
                  <a:pt x="185" y="34"/>
                </a:lnTo>
                <a:lnTo>
                  <a:pt x="187" y="36"/>
                </a:lnTo>
                <a:lnTo>
                  <a:pt x="188" y="36"/>
                </a:lnTo>
                <a:lnTo>
                  <a:pt x="190" y="37"/>
                </a:lnTo>
                <a:lnTo>
                  <a:pt x="192" y="37"/>
                </a:lnTo>
                <a:lnTo>
                  <a:pt x="194" y="39"/>
                </a:lnTo>
                <a:lnTo>
                  <a:pt x="195" y="39"/>
                </a:lnTo>
                <a:lnTo>
                  <a:pt x="195" y="36"/>
                </a:lnTo>
                <a:lnTo>
                  <a:pt x="197" y="37"/>
                </a:lnTo>
                <a:lnTo>
                  <a:pt x="197" y="36"/>
                </a:lnTo>
                <a:lnTo>
                  <a:pt x="197" y="34"/>
                </a:lnTo>
                <a:lnTo>
                  <a:pt x="199" y="32"/>
                </a:lnTo>
                <a:lnTo>
                  <a:pt x="199" y="29"/>
                </a:lnTo>
                <a:lnTo>
                  <a:pt x="199" y="27"/>
                </a:lnTo>
                <a:lnTo>
                  <a:pt x="199" y="25"/>
                </a:lnTo>
                <a:lnTo>
                  <a:pt x="197" y="25"/>
                </a:lnTo>
                <a:lnTo>
                  <a:pt x="199" y="24"/>
                </a:lnTo>
                <a:lnTo>
                  <a:pt x="199" y="20"/>
                </a:lnTo>
                <a:lnTo>
                  <a:pt x="200" y="22"/>
                </a:lnTo>
                <a:lnTo>
                  <a:pt x="202" y="22"/>
                </a:lnTo>
                <a:lnTo>
                  <a:pt x="204" y="24"/>
                </a:lnTo>
                <a:lnTo>
                  <a:pt x="204" y="25"/>
                </a:lnTo>
                <a:lnTo>
                  <a:pt x="207" y="25"/>
                </a:lnTo>
                <a:lnTo>
                  <a:pt x="209" y="27"/>
                </a:lnTo>
                <a:lnTo>
                  <a:pt x="209" y="29"/>
                </a:lnTo>
                <a:lnTo>
                  <a:pt x="207" y="30"/>
                </a:lnTo>
                <a:lnTo>
                  <a:pt x="209" y="30"/>
                </a:lnTo>
                <a:lnTo>
                  <a:pt x="211" y="32"/>
                </a:lnTo>
                <a:lnTo>
                  <a:pt x="212" y="32"/>
                </a:lnTo>
                <a:lnTo>
                  <a:pt x="216" y="32"/>
                </a:lnTo>
                <a:lnTo>
                  <a:pt x="217" y="34"/>
                </a:lnTo>
                <a:lnTo>
                  <a:pt x="219" y="34"/>
                </a:lnTo>
                <a:lnTo>
                  <a:pt x="222" y="34"/>
                </a:lnTo>
                <a:lnTo>
                  <a:pt x="222" y="36"/>
                </a:lnTo>
                <a:lnTo>
                  <a:pt x="224" y="34"/>
                </a:lnTo>
                <a:lnTo>
                  <a:pt x="224" y="32"/>
                </a:lnTo>
                <a:lnTo>
                  <a:pt x="228" y="32"/>
                </a:lnTo>
                <a:lnTo>
                  <a:pt x="228" y="30"/>
                </a:lnTo>
                <a:lnTo>
                  <a:pt x="228" y="29"/>
                </a:lnTo>
                <a:lnTo>
                  <a:pt x="229" y="30"/>
                </a:lnTo>
                <a:lnTo>
                  <a:pt x="233" y="30"/>
                </a:lnTo>
                <a:lnTo>
                  <a:pt x="234" y="29"/>
                </a:lnTo>
                <a:lnTo>
                  <a:pt x="236" y="30"/>
                </a:lnTo>
                <a:lnTo>
                  <a:pt x="238" y="30"/>
                </a:lnTo>
                <a:lnTo>
                  <a:pt x="238" y="32"/>
                </a:lnTo>
                <a:lnTo>
                  <a:pt x="239" y="32"/>
                </a:lnTo>
                <a:lnTo>
                  <a:pt x="239" y="30"/>
                </a:lnTo>
                <a:lnTo>
                  <a:pt x="239" y="27"/>
                </a:lnTo>
                <a:lnTo>
                  <a:pt x="239" y="24"/>
                </a:lnTo>
                <a:lnTo>
                  <a:pt x="241" y="24"/>
                </a:lnTo>
                <a:lnTo>
                  <a:pt x="243" y="22"/>
                </a:lnTo>
                <a:lnTo>
                  <a:pt x="243" y="20"/>
                </a:lnTo>
                <a:lnTo>
                  <a:pt x="243" y="19"/>
                </a:lnTo>
                <a:lnTo>
                  <a:pt x="245" y="17"/>
                </a:lnTo>
                <a:lnTo>
                  <a:pt x="246" y="17"/>
                </a:lnTo>
                <a:lnTo>
                  <a:pt x="246" y="19"/>
                </a:lnTo>
                <a:lnTo>
                  <a:pt x="248" y="19"/>
                </a:lnTo>
                <a:lnTo>
                  <a:pt x="250" y="19"/>
                </a:lnTo>
                <a:lnTo>
                  <a:pt x="251" y="19"/>
                </a:lnTo>
                <a:lnTo>
                  <a:pt x="250" y="17"/>
                </a:lnTo>
                <a:lnTo>
                  <a:pt x="251" y="13"/>
                </a:lnTo>
                <a:lnTo>
                  <a:pt x="250" y="13"/>
                </a:lnTo>
                <a:lnTo>
                  <a:pt x="251" y="13"/>
                </a:lnTo>
                <a:lnTo>
                  <a:pt x="250" y="10"/>
                </a:lnTo>
                <a:lnTo>
                  <a:pt x="251" y="8"/>
                </a:lnTo>
                <a:lnTo>
                  <a:pt x="250" y="7"/>
                </a:lnTo>
                <a:lnTo>
                  <a:pt x="250" y="3"/>
                </a:lnTo>
                <a:lnTo>
                  <a:pt x="251" y="2"/>
                </a:lnTo>
                <a:lnTo>
                  <a:pt x="251" y="0"/>
                </a:lnTo>
                <a:lnTo>
                  <a:pt x="255" y="0"/>
                </a:lnTo>
                <a:lnTo>
                  <a:pt x="255" y="2"/>
                </a:lnTo>
                <a:lnTo>
                  <a:pt x="256" y="2"/>
                </a:lnTo>
                <a:lnTo>
                  <a:pt x="258" y="2"/>
                </a:lnTo>
                <a:lnTo>
                  <a:pt x="260" y="3"/>
                </a:lnTo>
                <a:lnTo>
                  <a:pt x="258" y="5"/>
                </a:lnTo>
                <a:lnTo>
                  <a:pt x="260" y="5"/>
                </a:lnTo>
                <a:lnTo>
                  <a:pt x="262" y="3"/>
                </a:lnTo>
                <a:lnTo>
                  <a:pt x="263" y="5"/>
                </a:lnTo>
                <a:lnTo>
                  <a:pt x="263" y="2"/>
                </a:lnTo>
                <a:lnTo>
                  <a:pt x="265" y="2"/>
                </a:lnTo>
                <a:lnTo>
                  <a:pt x="268" y="2"/>
                </a:lnTo>
                <a:lnTo>
                  <a:pt x="270" y="3"/>
                </a:lnTo>
                <a:lnTo>
                  <a:pt x="273" y="3"/>
                </a:lnTo>
                <a:lnTo>
                  <a:pt x="275" y="5"/>
                </a:lnTo>
                <a:lnTo>
                  <a:pt x="275" y="7"/>
                </a:lnTo>
                <a:lnTo>
                  <a:pt x="277" y="7"/>
                </a:lnTo>
                <a:lnTo>
                  <a:pt x="279" y="7"/>
                </a:lnTo>
                <a:lnTo>
                  <a:pt x="280" y="7"/>
                </a:lnTo>
                <a:lnTo>
                  <a:pt x="282" y="8"/>
                </a:lnTo>
                <a:lnTo>
                  <a:pt x="284" y="10"/>
                </a:lnTo>
                <a:lnTo>
                  <a:pt x="287" y="10"/>
                </a:lnTo>
                <a:lnTo>
                  <a:pt x="287" y="8"/>
                </a:lnTo>
                <a:lnTo>
                  <a:pt x="290" y="7"/>
                </a:lnTo>
                <a:lnTo>
                  <a:pt x="290" y="8"/>
                </a:lnTo>
                <a:lnTo>
                  <a:pt x="294" y="10"/>
                </a:lnTo>
                <a:lnTo>
                  <a:pt x="292" y="10"/>
                </a:lnTo>
                <a:lnTo>
                  <a:pt x="296" y="10"/>
                </a:lnTo>
                <a:lnTo>
                  <a:pt x="296" y="12"/>
                </a:lnTo>
                <a:lnTo>
                  <a:pt x="297" y="13"/>
                </a:lnTo>
                <a:lnTo>
                  <a:pt x="301" y="15"/>
                </a:lnTo>
                <a:lnTo>
                  <a:pt x="302" y="15"/>
                </a:lnTo>
                <a:lnTo>
                  <a:pt x="306" y="15"/>
                </a:lnTo>
                <a:lnTo>
                  <a:pt x="307" y="15"/>
                </a:lnTo>
                <a:lnTo>
                  <a:pt x="309" y="15"/>
                </a:lnTo>
                <a:lnTo>
                  <a:pt x="311" y="15"/>
                </a:lnTo>
                <a:lnTo>
                  <a:pt x="314" y="15"/>
                </a:lnTo>
                <a:lnTo>
                  <a:pt x="316" y="15"/>
                </a:lnTo>
                <a:lnTo>
                  <a:pt x="318" y="15"/>
                </a:lnTo>
                <a:lnTo>
                  <a:pt x="318" y="13"/>
                </a:lnTo>
                <a:lnTo>
                  <a:pt x="318" y="12"/>
                </a:lnTo>
                <a:lnTo>
                  <a:pt x="319" y="10"/>
                </a:lnTo>
                <a:lnTo>
                  <a:pt x="323" y="10"/>
                </a:lnTo>
                <a:lnTo>
                  <a:pt x="323" y="8"/>
                </a:lnTo>
                <a:lnTo>
                  <a:pt x="324" y="10"/>
                </a:lnTo>
                <a:lnTo>
                  <a:pt x="326" y="12"/>
                </a:lnTo>
                <a:lnTo>
                  <a:pt x="328" y="10"/>
                </a:lnTo>
                <a:lnTo>
                  <a:pt x="330" y="12"/>
                </a:lnTo>
                <a:lnTo>
                  <a:pt x="330" y="15"/>
                </a:lnTo>
                <a:lnTo>
                  <a:pt x="331" y="13"/>
                </a:lnTo>
                <a:lnTo>
                  <a:pt x="333" y="15"/>
                </a:lnTo>
                <a:lnTo>
                  <a:pt x="335" y="15"/>
                </a:lnTo>
                <a:lnTo>
                  <a:pt x="336" y="15"/>
                </a:lnTo>
                <a:lnTo>
                  <a:pt x="338" y="15"/>
                </a:lnTo>
                <a:lnTo>
                  <a:pt x="340" y="13"/>
                </a:lnTo>
                <a:lnTo>
                  <a:pt x="341" y="17"/>
                </a:lnTo>
                <a:lnTo>
                  <a:pt x="341" y="20"/>
                </a:lnTo>
                <a:lnTo>
                  <a:pt x="343" y="22"/>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89" name="Freeform 51">
            <a:extLst>
              <a:ext uri="{FF2B5EF4-FFF2-40B4-BE49-F238E27FC236}">
                <a16:creationId xmlns:a16="http://schemas.microsoft.com/office/drawing/2014/main" id="{5FA7553F-C834-4E2D-B972-A6DEA13CD6AC}"/>
              </a:ext>
            </a:extLst>
          </p:cNvPr>
          <p:cNvSpPr>
            <a:spLocks/>
          </p:cNvSpPr>
          <p:nvPr/>
        </p:nvSpPr>
        <p:spPr bwMode="gray">
          <a:xfrm>
            <a:off x="1792919" y="4790284"/>
            <a:ext cx="49050" cy="48519"/>
          </a:xfrm>
          <a:custGeom>
            <a:avLst/>
            <a:gdLst>
              <a:gd name="T0" fmla="*/ 15 w 18"/>
              <a:gd name="T1" fmla="*/ 12 h 17"/>
              <a:gd name="T2" fmla="*/ 13 w 18"/>
              <a:gd name="T3" fmla="*/ 14 h 17"/>
              <a:gd name="T4" fmla="*/ 12 w 18"/>
              <a:gd name="T5" fmla="*/ 12 h 17"/>
              <a:gd name="T6" fmla="*/ 12 w 18"/>
              <a:gd name="T7" fmla="*/ 14 h 17"/>
              <a:gd name="T8" fmla="*/ 8 w 18"/>
              <a:gd name="T9" fmla="*/ 14 h 17"/>
              <a:gd name="T10" fmla="*/ 7 w 18"/>
              <a:gd name="T11" fmla="*/ 15 h 17"/>
              <a:gd name="T12" fmla="*/ 7 w 18"/>
              <a:gd name="T13" fmla="*/ 14 h 17"/>
              <a:gd name="T14" fmla="*/ 5 w 18"/>
              <a:gd name="T15" fmla="*/ 15 h 17"/>
              <a:gd name="T16" fmla="*/ 3 w 18"/>
              <a:gd name="T17" fmla="*/ 17 h 17"/>
              <a:gd name="T18" fmla="*/ 3 w 18"/>
              <a:gd name="T19" fmla="*/ 15 h 17"/>
              <a:gd name="T20" fmla="*/ 0 w 18"/>
              <a:gd name="T21" fmla="*/ 15 h 17"/>
              <a:gd name="T22" fmla="*/ 0 w 18"/>
              <a:gd name="T23" fmla="*/ 12 h 17"/>
              <a:gd name="T24" fmla="*/ 1 w 18"/>
              <a:gd name="T25" fmla="*/ 10 h 17"/>
              <a:gd name="T26" fmla="*/ 1 w 18"/>
              <a:gd name="T27" fmla="*/ 9 h 17"/>
              <a:gd name="T28" fmla="*/ 0 w 18"/>
              <a:gd name="T29" fmla="*/ 9 h 17"/>
              <a:gd name="T30" fmla="*/ 1 w 18"/>
              <a:gd name="T31" fmla="*/ 7 h 17"/>
              <a:gd name="T32" fmla="*/ 0 w 18"/>
              <a:gd name="T33" fmla="*/ 5 h 17"/>
              <a:gd name="T34" fmla="*/ 1 w 18"/>
              <a:gd name="T35" fmla="*/ 4 h 17"/>
              <a:gd name="T36" fmla="*/ 3 w 18"/>
              <a:gd name="T37" fmla="*/ 4 h 17"/>
              <a:gd name="T38" fmla="*/ 3 w 18"/>
              <a:gd name="T39" fmla="*/ 0 h 17"/>
              <a:gd name="T40" fmla="*/ 5 w 18"/>
              <a:gd name="T41" fmla="*/ 2 h 17"/>
              <a:gd name="T42" fmla="*/ 7 w 18"/>
              <a:gd name="T43" fmla="*/ 0 h 17"/>
              <a:gd name="T44" fmla="*/ 8 w 18"/>
              <a:gd name="T45" fmla="*/ 2 h 17"/>
              <a:gd name="T46" fmla="*/ 10 w 18"/>
              <a:gd name="T47" fmla="*/ 4 h 17"/>
              <a:gd name="T48" fmla="*/ 12 w 18"/>
              <a:gd name="T49" fmla="*/ 4 h 17"/>
              <a:gd name="T50" fmla="*/ 13 w 18"/>
              <a:gd name="T51" fmla="*/ 4 h 17"/>
              <a:gd name="T52" fmla="*/ 17 w 18"/>
              <a:gd name="T53" fmla="*/ 5 h 17"/>
              <a:gd name="T54" fmla="*/ 15 w 18"/>
              <a:gd name="T55" fmla="*/ 7 h 17"/>
              <a:gd name="T56" fmla="*/ 18 w 18"/>
              <a:gd name="T57" fmla="*/ 7 h 17"/>
              <a:gd name="T58" fmla="*/ 17 w 18"/>
              <a:gd name="T59" fmla="*/ 9 h 17"/>
              <a:gd name="T60" fmla="*/ 15 w 18"/>
              <a:gd name="T6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 h="17">
                <a:moveTo>
                  <a:pt x="15" y="12"/>
                </a:moveTo>
                <a:lnTo>
                  <a:pt x="13" y="14"/>
                </a:lnTo>
                <a:lnTo>
                  <a:pt x="12" y="12"/>
                </a:lnTo>
                <a:lnTo>
                  <a:pt x="12" y="14"/>
                </a:lnTo>
                <a:lnTo>
                  <a:pt x="8" y="14"/>
                </a:lnTo>
                <a:lnTo>
                  <a:pt x="7" y="15"/>
                </a:lnTo>
                <a:lnTo>
                  <a:pt x="7" y="14"/>
                </a:lnTo>
                <a:lnTo>
                  <a:pt x="5" y="15"/>
                </a:lnTo>
                <a:lnTo>
                  <a:pt x="3" y="17"/>
                </a:lnTo>
                <a:lnTo>
                  <a:pt x="3" y="15"/>
                </a:lnTo>
                <a:lnTo>
                  <a:pt x="0" y="15"/>
                </a:lnTo>
                <a:lnTo>
                  <a:pt x="0" y="12"/>
                </a:lnTo>
                <a:lnTo>
                  <a:pt x="1" y="10"/>
                </a:lnTo>
                <a:lnTo>
                  <a:pt x="1" y="9"/>
                </a:lnTo>
                <a:lnTo>
                  <a:pt x="0" y="9"/>
                </a:lnTo>
                <a:lnTo>
                  <a:pt x="1" y="7"/>
                </a:lnTo>
                <a:lnTo>
                  <a:pt x="0" y="5"/>
                </a:lnTo>
                <a:lnTo>
                  <a:pt x="1" y="4"/>
                </a:lnTo>
                <a:lnTo>
                  <a:pt x="3" y="4"/>
                </a:lnTo>
                <a:lnTo>
                  <a:pt x="3" y="0"/>
                </a:lnTo>
                <a:lnTo>
                  <a:pt x="5" y="2"/>
                </a:lnTo>
                <a:lnTo>
                  <a:pt x="7" y="0"/>
                </a:lnTo>
                <a:lnTo>
                  <a:pt x="8" y="2"/>
                </a:lnTo>
                <a:lnTo>
                  <a:pt x="10" y="4"/>
                </a:lnTo>
                <a:lnTo>
                  <a:pt x="12" y="4"/>
                </a:lnTo>
                <a:lnTo>
                  <a:pt x="13" y="4"/>
                </a:lnTo>
                <a:lnTo>
                  <a:pt x="17" y="5"/>
                </a:lnTo>
                <a:lnTo>
                  <a:pt x="15" y="7"/>
                </a:lnTo>
                <a:lnTo>
                  <a:pt x="18" y="7"/>
                </a:lnTo>
                <a:lnTo>
                  <a:pt x="17" y="9"/>
                </a:lnTo>
                <a:lnTo>
                  <a:pt x="15" y="12"/>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90" name="Freeform 20">
            <a:extLst>
              <a:ext uri="{FF2B5EF4-FFF2-40B4-BE49-F238E27FC236}">
                <a16:creationId xmlns:a16="http://schemas.microsoft.com/office/drawing/2014/main" id="{C8BADBF7-8F48-483A-81FE-EC35E352AA13}"/>
              </a:ext>
            </a:extLst>
          </p:cNvPr>
          <p:cNvSpPr>
            <a:spLocks noEditPoints="1"/>
          </p:cNvSpPr>
          <p:nvPr/>
        </p:nvSpPr>
        <p:spPr bwMode="gray">
          <a:xfrm>
            <a:off x="4408898" y="4776014"/>
            <a:ext cx="1694936" cy="1466977"/>
          </a:xfrm>
          <a:custGeom>
            <a:avLst/>
            <a:gdLst>
              <a:gd name="T0" fmla="*/ 344 w 622"/>
              <a:gd name="T1" fmla="*/ 66 h 514"/>
              <a:gd name="T2" fmla="*/ 254 w 622"/>
              <a:gd name="T3" fmla="*/ 80 h 514"/>
              <a:gd name="T4" fmla="*/ 264 w 622"/>
              <a:gd name="T5" fmla="*/ 134 h 514"/>
              <a:gd name="T6" fmla="*/ 218 w 622"/>
              <a:gd name="T7" fmla="*/ 133 h 514"/>
              <a:gd name="T8" fmla="*/ 170 w 622"/>
              <a:gd name="T9" fmla="*/ 145 h 514"/>
              <a:gd name="T10" fmla="*/ 213 w 622"/>
              <a:gd name="T11" fmla="*/ 216 h 514"/>
              <a:gd name="T12" fmla="*/ 184 w 622"/>
              <a:gd name="T13" fmla="*/ 242 h 514"/>
              <a:gd name="T14" fmla="*/ 257 w 622"/>
              <a:gd name="T15" fmla="*/ 267 h 514"/>
              <a:gd name="T16" fmla="*/ 262 w 622"/>
              <a:gd name="T17" fmla="*/ 296 h 514"/>
              <a:gd name="T18" fmla="*/ 247 w 622"/>
              <a:gd name="T19" fmla="*/ 323 h 514"/>
              <a:gd name="T20" fmla="*/ 214 w 622"/>
              <a:gd name="T21" fmla="*/ 344 h 514"/>
              <a:gd name="T22" fmla="*/ 237 w 622"/>
              <a:gd name="T23" fmla="*/ 402 h 514"/>
              <a:gd name="T24" fmla="*/ 199 w 622"/>
              <a:gd name="T25" fmla="*/ 395 h 514"/>
              <a:gd name="T26" fmla="*/ 153 w 622"/>
              <a:gd name="T27" fmla="*/ 354 h 514"/>
              <a:gd name="T28" fmla="*/ 160 w 622"/>
              <a:gd name="T29" fmla="*/ 286 h 514"/>
              <a:gd name="T30" fmla="*/ 223 w 622"/>
              <a:gd name="T31" fmla="*/ 284 h 514"/>
              <a:gd name="T32" fmla="*/ 163 w 622"/>
              <a:gd name="T33" fmla="*/ 279 h 514"/>
              <a:gd name="T34" fmla="*/ 111 w 622"/>
              <a:gd name="T35" fmla="*/ 289 h 514"/>
              <a:gd name="T36" fmla="*/ 102 w 622"/>
              <a:gd name="T37" fmla="*/ 254 h 514"/>
              <a:gd name="T38" fmla="*/ 80 w 622"/>
              <a:gd name="T39" fmla="*/ 245 h 514"/>
              <a:gd name="T40" fmla="*/ 53 w 622"/>
              <a:gd name="T41" fmla="*/ 194 h 514"/>
              <a:gd name="T42" fmla="*/ 80 w 622"/>
              <a:gd name="T43" fmla="*/ 114 h 514"/>
              <a:gd name="T44" fmla="*/ 165 w 622"/>
              <a:gd name="T45" fmla="*/ 66 h 514"/>
              <a:gd name="T46" fmla="*/ 260 w 622"/>
              <a:gd name="T47" fmla="*/ 41 h 514"/>
              <a:gd name="T48" fmla="*/ 335 w 622"/>
              <a:gd name="T49" fmla="*/ 2 h 514"/>
              <a:gd name="T50" fmla="*/ 361 w 622"/>
              <a:gd name="T51" fmla="*/ 461 h 514"/>
              <a:gd name="T52" fmla="*/ 442 w 622"/>
              <a:gd name="T53" fmla="*/ 458 h 514"/>
              <a:gd name="T54" fmla="*/ 367 w 622"/>
              <a:gd name="T55" fmla="*/ 495 h 514"/>
              <a:gd name="T56" fmla="*/ 288 w 622"/>
              <a:gd name="T57" fmla="*/ 461 h 514"/>
              <a:gd name="T58" fmla="*/ 284 w 622"/>
              <a:gd name="T59" fmla="*/ 262 h 514"/>
              <a:gd name="T60" fmla="*/ 271 w 622"/>
              <a:gd name="T61" fmla="*/ 259 h 514"/>
              <a:gd name="T62" fmla="*/ 384 w 622"/>
              <a:gd name="T63" fmla="*/ 165 h 514"/>
              <a:gd name="T64" fmla="*/ 374 w 622"/>
              <a:gd name="T65" fmla="*/ 187 h 514"/>
              <a:gd name="T66" fmla="*/ 519 w 622"/>
              <a:gd name="T67" fmla="*/ 386 h 514"/>
              <a:gd name="T68" fmla="*/ 376 w 622"/>
              <a:gd name="T69" fmla="*/ 247 h 514"/>
              <a:gd name="T70" fmla="*/ 73 w 622"/>
              <a:gd name="T71" fmla="*/ 310 h 514"/>
              <a:gd name="T72" fmla="*/ 36 w 622"/>
              <a:gd name="T73" fmla="*/ 225 h 514"/>
              <a:gd name="T74" fmla="*/ 313 w 622"/>
              <a:gd name="T75" fmla="*/ 143 h 514"/>
              <a:gd name="T76" fmla="*/ 427 w 622"/>
              <a:gd name="T77" fmla="*/ 277 h 514"/>
              <a:gd name="T78" fmla="*/ 102 w 622"/>
              <a:gd name="T79" fmla="*/ 344 h 514"/>
              <a:gd name="T80" fmla="*/ 328 w 622"/>
              <a:gd name="T81" fmla="*/ 294 h 514"/>
              <a:gd name="T82" fmla="*/ 85 w 622"/>
              <a:gd name="T83" fmla="*/ 274 h 514"/>
              <a:gd name="T84" fmla="*/ 492 w 622"/>
              <a:gd name="T85" fmla="*/ 402 h 514"/>
              <a:gd name="T86" fmla="*/ 408 w 622"/>
              <a:gd name="T87" fmla="*/ 288 h 514"/>
              <a:gd name="T88" fmla="*/ 347 w 622"/>
              <a:gd name="T89" fmla="*/ 299 h 514"/>
              <a:gd name="T90" fmla="*/ 320 w 622"/>
              <a:gd name="T91" fmla="*/ 371 h 514"/>
              <a:gd name="T92" fmla="*/ 391 w 622"/>
              <a:gd name="T93" fmla="*/ 352 h 514"/>
              <a:gd name="T94" fmla="*/ 311 w 622"/>
              <a:gd name="T95" fmla="*/ 327 h 514"/>
              <a:gd name="T96" fmla="*/ 254 w 622"/>
              <a:gd name="T97" fmla="*/ 296 h 514"/>
              <a:gd name="T98" fmla="*/ 332 w 622"/>
              <a:gd name="T99" fmla="*/ 311 h 514"/>
              <a:gd name="T100" fmla="*/ 376 w 622"/>
              <a:gd name="T101" fmla="*/ 379 h 514"/>
              <a:gd name="T102" fmla="*/ 488 w 622"/>
              <a:gd name="T103" fmla="*/ 357 h 514"/>
              <a:gd name="T104" fmla="*/ 252 w 622"/>
              <a:gd name="T105" fmla="*/ 344 h 514"/>
              <a:gd name="T106" fmla="*/ 350 w 622"/>
              <a:gd name="T107" fmla="*/ 345 h 514"/>
              <a:gd name="T108" fmla="*/ 507 w 622"/>
              <a:gd name="T109" fmla="*/ 366 h 514"/>
              <a:gd name="T110" fmla="*/ 264 w 622"/>
              <a:gd name="T111" fmla="*/ 444 h 514"/>
              <a:gd name="T112" fmla="*/ 442 w 622"/>
              <a:gd name="T113" fmla="*/ 305 h 514"/>
              <a:gd name="T114" fmla="*/ 393 w 622"/>
              <a:gd name="T115" fmla="*/ 328 h 514"/>
              <a:gd name="T116" fmla="*/ 374 w 622"/>
              <a:gd name="T117" fmla="*/ 381 h 514"/>
              <a:gd name="T118" fmla="*/ 418 w 622"/>
              <a:gd name="T119" fmla="*/ 488 h 514"/>
              <a:gd name="T120" fmla="*/ 282 w 622"/>
              <a:gd name="T121" fmla="*/ 223 h 514"/>
              <a:gd name="T122" fmla="*/ 401 w 622"/>
              <a:gd name="T123" fmla="*/ 344 h 514"/>
              <a:gd name="T124" fmla="*/ 366 w 622"/>
              <a:gd name="T125" fmla="*/ 308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2" h="514">
                <a:moveTo>
                  <a:pt x="347" y="0"/>
                </a:moveTo>
                <a:lnTo>
                  <a:pt x="349" y="2"/>
                </a:lnTo>
                <a:lnTo>
                  <a:pt x="350" y="2"/>
                </a:lnTo>
                <a:lnTo>
                  <a:pt x="352" y="2"/>
                </a:lnTo>
                <a:lnTo>
                  <a:pt x="354" y="2"/>
                </a:lnTo>
                <a:lnTo>
                  <a:pt x="357" y="3"/>
                </a:lnTo>
                <a:lnTo>
                  <a:pt x="359" y="5"/>
                </a:lnTo>
                <a:lnTo>
                  <a:pt x="361" y="5"/>
                </a:lnTo>
                <a:lnTo>
                  <a:pt x="361" y="7"/>
                </a:lnTo>
                <a:lnTo>
                  <a:pt x="362" y="7"/>
                </a:lnTo>
                <a:lnTo>
                  <a:pt x="362" y="10"/>
                </a:lnTo>
                <a:lnTo>
                  <a:pt x="364" y="12"/>
                </a:lnTo>
                <a:lnTo>
                  <a:pt x="364" y="14"/>
                </a:lnTo>
                <a:lnTo>
                  <a:pt x="366" y="17"/>
                </a:lnTo>
                <a:lnTo>
                  <a:pt x="367" y="19"/>
                </a:lnTo>
                <a:lnTo>
                  <a:pt x="367" y="22"/>
                </a:lnTo>
                <a:lnTo>
                  <a:pt x="366" y="24"/>
                </a:lnTo>
                <a:lnTo>
                  <a:pt x="362" y="24"/>
                </a:lnTo>
                <a:lnTo>
                  <a:pt x="361" y="24"/>
                </a:lnTo>
                <a:lnTo>
                  <a:pt x="361" y="27"/>
                </a:lnTo>
                <a:lnTo>
                  <a:pt x="359" y="27"/>
                </a:lnTo>
                <a:lnTo>
                  <a:pt x="359" y="29"/>
                </a:lnTo>
                <a:lnTo>
                  <a:pt x="357" y="29"/>
                </a:lnTo>
                <a:lnTo>
                  <a:pt x="357" y="31"/>
                </a:lnTo>
                <a:lnTo>
                  <a:pt x="354" y="32"/>
                </a:lnTo>
                <a:lnTo>
                  <a:pt x="352" y="32"/>
                </a:lnTo>
                <a:lnTo>
                  <a:pt x="354" y="34"/>
                </a:lnTo>
                <a:lnTo>
                  <a:pt x="354" y="37"/>
                </a:lnTo>
                <a:lnTo>
                  <a:pt x="356" y="39"/>
                </a:lnTo>
                <a:lnTo>
                  <a:pt x="354" y="43"/>
                </a:lnTo>
                <a:lnTo>
                  <a:pt x="356" y="43"/>
                </a:lnTo>
                <a:lnTo>
                  <a:pt x="356" y="46"/>
                </a:lnTo>
                <a:lnTo>
                  <a:pt x="356" y="48"/>
                </a:lnTo>
                <a:lnTo>
                  <a:pt x="359" y="48"/>
                </a:lnTo>
                <a:lnTo>
                  <a:pt x="359" y="49"/>
                </a:lnTo>
                <a:lnTo>
                  <a:pt x="357" y="51"/>
                </a:lnTo>
                <a:lnTo>
                  <a:pt x="359" y="53"/>
                </a:lnTo>
                <a:lnTo>
                  <a:pt x="357" y="55"/>
                </a:lnTo>
                <a:lnTo>
                  <a:pt x="356" y="55"/>
                </a:lnTo>
                <a:lnTo>
                  <a:pt x="357" y="56"/>
                </a:lnTo>
                <a:lnTo>
                  <a:pt x="357" y="58"/>
                </a:lnTo>
                <a:lnTo>
                  <a:pt x="356" y="56"/>
                </a:lnTo>
                <a:lnTo>
                  <a:pt x="356" y="60"/>
                </a:lnTo>
                <a:lnTo>
                  <a:pt x="354" y="60"/>
                </a:lnTo>
                <a:lnTo>
                  <a:pt x="354" y="61"/>
                </a:lnTo>
                <a:lnTo>
                  <a:pt x="352" y="61"/>
                </a:lnTo>
                <a:lnTo>
                  <a:pt x="354" y="63"/>
                </a:lnTo>
                <a:lnTo>
                  <a:pt x="350" y="65"/>
                </a:lnTo>
                <a:lnTo>
                  <a:pt x="350" y="68"/>
                </a:lnTo>
                <a:lnTo>
                  <a:pt x="350" y="70"/>
                </a:lnTo>
                <a:lnTo>
                  <a:pt x="349" y="72"/>
                </a:lnTo>
                <a:lnTo>
                  <a:pt x="345" y="72"/>
                </a:lnTo>
                <a:lnTo>
                  <a:pt x="347" y="70"/>
                </a:lnTo>
                <a:lnTo>
                  <a:pt x="345" y="72"/>
                </a:lnTo>
                <a:lnTo>
                  <a:pt x="345" y="68"/>
                </a:lnTo>
                <a:lnTo>
                  <a:pt x="344" y="68"/>
                </a:lnTo>
                <a:lnTo>
                  <a:pt x="344" y="70"/>
                </a:lnTo>
                <a:lnTo>
                  <a:pt x="344" y="68"/>
                </a:lnTo>
                <a:lnTo>
                  <a:pt x="342" y="68"/>
                </a:lnTo>
                <a:lnTo>
                  <a:pt x="344" y="68"/>
                </a:lnTo>
                <a:lnTo>
                  <a:pt x="344" y="66"/>
                </a:lnTo>
                <a:lnTo>
                  <a:pt x="342" y="66"/>
                </a:lnTo>
                <a:lnTo>
                  <a:pt x="340" y="65"/>
                </a:lnTo>
                <a:lnTo>
                  <a:pt x="337" y="66"/>
                </a:lnTo>
                <a:lnTo>
                  <a:pt x="335" y="66"/>
                </a:lnTo>
                <a:lnTo>
                  <a:pt x="332" y="66"/>
                </a:lnTo>
                <a:lnTo>
                  <a:pt x="330" y="66"/>
                </a:lnTo>
                <a:lnTo>
                  <a:pt x="328" y="68"/>
                </a:lnTo>
                <a:lnTo>
                  <a:pt x="327" y="68"/>
                </a:lnTo>
                <a:lnTo>
                  <a:pt x="325" y="68"/>
                </a:lnTo>
                <a:lnTo>
                  <a:pt x="322" y="68"/>
                </a:lnTo>
                <a:lnTo>
                  <a:pt x="320" y="68"/>
                </a:lnTo>
                <a:lnTo>
                  <a:pt x="318" y="70"/>
                </a:lnTo>
                <a:lnTo>
                  <a:pt x="316" y="68"/>
                </a:lnTo>
                <a:lnTo>
                  <a:pt x="315" y="68"/>
                </a:lnTo>
                <a:lnTo>
                  <a:pt x="313" y="68"/>
                </a:lnTo>
                <a:lnTo>
                  <a:pt x="310" y="68"/>
                </a:lnTo>
                <a:lnTo>
                  <a:pt x="308" y="68"/>
                </a:lnTo>
                <a:lnTo>
                  <a:pt x="306" y="66"/>
                </a:lnTo>
                <a:lnTo>
                  <a:pt x="303" y="66"/>
                </a:lnTo>
                <a:lnTo>
                  <a:pt x="303" y="68"/>
                </a:lnTo>
                <a:lnTo>
                  <a:pt x="301" y="66"/>
                </a:lnTo>
                <a:lnTo>
                  <a:pt x="299" y="66"/>
                </a:lnTo>
                <a:lnTo>
                  <a:pt x="298" y="68"/>
                </a:lnTo>
                <a:lnTo>
                  <a:pt x="294" y="66"/>
                </a:lnTo>
                <a:lnTo>
                  <a:pt x="294" y="65"/>
                </a:lnTo>
                <a:lnTo>
                  <a:pt x="294" y="63"/>
                </a:lnTo>
                <a:lnTo>
                  <a:pt x="296" y="63"/>
                </a:lnTo>
                <a:lnTo>
                  <a:pt x="294" y="61"/>
                </a:lnTo>
                <a:lnTo>
                  <a:pt x="293" y="61"/>
                </a:lnTo>
                <a:lnTo>
                  <a:pt x="293" y="58"/>
                </a:lnTo>
                <a:lnTo>
                  <a:pt x="291" y="58"/>
                </a:lnTo>
                <a:lnTo>
                  <a:pt x="291" y="61"/>
                </a:lnTo>
                <a:lnTo>
                  <a:pt x="291" y="63"/>
                </a:lnTo>
                <a:lnTo>
                  <a:pt x="294" y="63"/>
                </a:lnTo>
                <a:lnTo>
                  <a:pt x="293" y="63"/>
                </a:lnTo>
                <a:lnTo>
                  <a:pt x="294" y="65"/>
                </a:lnTo>
                <a:lnTo>
                  <a:pt x="291" y="65"/>
                </a:lnTo>
                <a:lnTo>
                  <a:pt x="289" y="66"/>
                </a:lnTo>
                <a:lnTo>
                  <a:pt x="288" y="68"/>
                </a:lnTo>
                <a:lnTo>
                  <a:pt x="288" y="70"/>
                </a:lnTo>
                <a:lnTo>
                  <a:pt x="286" y="70"/>
                </a:lnTo>
                <a:lnTo>
                  <a:pt x="284" y="72"/>
                </a:lnTo>
                <a:lnTo>
                  <a:pt x="282" y="73"/>
                </a:lnTo>
                <a:lnTo>
                  <a:pt x="281" y="75"/>
                </a:lnTo>
                <a:lnTo>
                  <a:pt x="281" y="77"/>
                </a:lnTo>
                <a:lnTo>
                  <a:pt x="279" y="78"/>
                </a:lnTo>
                <a:lnTo>
                  <a:pt x="277" y="78"/>
                </a:lnTo>
                <a:lnTo>
                  <a:pt x="274" y="78"/>
                </a:lnTo>
                <a:lnTo>
                  <a:pt x="272" y="78"/>
                </a:lnTo>
                <a:lnTo>
                  <a:pt x="274" y="78"/>
                </a:lnTo>
                <a:lnTo>
                  <a:pt x="272" y="78"/>
                </a:lnTo>
                <a:lnTo>
                  <a:pt x="269" y="80"/>
                </a:lnTo>
                <a:lnTo>
                  <a:pt x="269" y="77"/>
                </a:lnTo>
                <a:lnTo>
                  <a:pt x="265" y="75"/>
                </a:lnTo>
                <a:lnTo>
                  <a:pt x="264" y="73"/>
                </a:lnTo>
                <a:lnTo>
                  <a:pt x="262" y="73"/>
                </a:lnTo>
                <a:lnTo>
                  <a:pt x="260" y="75"/>
                </a:lnTo>
                <a:lnTo>
                  <a:pt x="259" y="75"/>
                </a:lnTo>
                <a:lnTo>
                  <a:pt x="257" y="77"/>
                </a:lnTo>
                <a:lnTo>
                  <a:pt x="255" y="78"/>
                </a:lnTo>
                <a:lnTo>
                  <a:pt x="254" y="80"/>
                </a:lnTo>
                <a:lnTo>
                  <a:pt x="254" y="82"/>
                </a:lnTo>
                <a:lnTo>
                  <a:pt x="254" y="83"/>
                </a:lnTo>
                <a:lnTo>
                  <a:pt x="254" y="85"/>
                </a:lnTo>
                <a:lnTo>
                  <a:pt x="255" y="85"/>
                </a:lnTo>
                <a:lnTo>
                  <a:pt x="254" y="85"/>
                </a:lnTo>
                <a:lnTo>
                  <a:pt x="252" y="87"/>
                </a:lnTo>
                <a:lnTo>
                  <a:pt x="250" y="89"/>
                </a:lnTo>
                <a:lnTo>
                  <a:pt x="248" y="90"/>
                </a:lnTo>
                <a:lnTo>
                  <a:pt x="245" y="94"/>
                </a:lnTo>
                <a:lnTo>
                  <a:pt x="243" y="95"/>
                </a:lnTo>
                <a:lnTo>
                  <a:pt x="242" y="95"/>
                </a:lnTo>
                <a:lnTo>
                  <a:pt x="238" y="95"/>
                </a:lnTo>
                <a:lnTo>
                  <a:pt x="237" y="95"/>
                </a:lnTo>
                <a:lnTo>
                  <a:pt x="233" y="94"/>
                </a:lnTo>
                <a:lnTo>
                  <a:pt x="231" y="94"/>
                </a:lnTo>
                <a:lnTo>
                  <a:pt x="230" y="94"/>
                </a:lnTo>
                <a:lnTo>
                  <a:pt x="230" y="92"/>
                </a:lnTo>
                <a:lnTo>
                  <a:pt x="228" y="94"/>
                </a:lnTo>
                <a:lnTo>
                  <a:pt x="226" y="95"/>
                </a:lnTo>
                <a:lnTo>
                  <a:pt x="225" y="95"/>
                </a:lnTo>
                <a:lnTo>
                  <a:pt x="223" y="97"/>
                </a:lnTo>
                <a:lnTo>
                  <a:pt x="223" y="100"/>
                </a:lnTo>
                <a:lnTo>
                  <a:pt x="223" y="102"/>
                </a:lnTo>
                <a:lnTo>
                  <a:pt x="226" y="102"/>
                </a:lnTo>
                <a:lnTo>
                  <a:pt x="226" y="104"/>
                </a:lnTo>
                <a:lnTo>
                  <a:pt x="228" y="106"/>
                </a:lnTo>
                <a:lnTo>
                  <a:pt x="228" y="107"/>
                </a:lnTo>
                <a:lnTo>
                  <a:pt x="231" y="107"/>
                </a:lnTo>
                <a:lnTo>
                  <a:pt x="231" y="109"/>
                </a:lnTo>
                <a:lnTo>
                  <a:pt x="235" y="109"/>
                </a:lnTo>
                <a:lnTo>
                  <a:pt x="237" y="109"/>
                </a:lnTo>
                <a:lnTo>
                  <a:pt x="235" y="111"/>
                </a:lnTo>
                <a:lnTo>
                  <a:pt x="233" y="112"/>
                </a:lnTo>
                <a:lnTo>
                  <a:pt x="231" y="112"/>
                </a:lnTo>
                <a:lnTo>
                  <a:pt x="233" y="116"/>
                </a:lnTo>
                <a:lnTo>
                  <a:pt x="233" y="117"/>
                </a:lnTo>
                <a:lnTo>
                  <a:pt x="235" y="119"/>
                </a:lnTo>
                <a:lnTo>
                  <a:pt x="237" y="119"/>
                </a:lnTo>
                <a:lnTo>
                  <a:pt x="240" y="121"/>
                </a:lnTo>
                <a:lnTo>
                  <a:pt x="242" y="121"/>
                </a:lnTo>
                <a:lnTo>
                  <a:pt x="243" y="119"/>
                </a:lnTo>
                <a:lnTo>
                  <a:pt x="242" y="116"/>
                </a:lnTo>
                <a:lnTo>
                  <a:pt x="243" y="114"/>
                </a:lnTo>
                <a:lnTo>
                  <a:pt x="243" y="116"/>
                </a:lnTo>
                <a:lnTo>
                  <a:pt x="245" y="117"/>
                </a:lnTo>
                <a:lnTo>
                  <a:pt x="247" y="119"/>
                </a:lnTo>
                <a:lnTo>
                  <a:pt x="250" y="119"/>
                </a:lnTo>
                <a:lnTo>
                  <a:pt x="250" y="121"/>
                </a:lnTo>
                <a:lnTo>
                  <a:pt x="252" y="119"/>
                </a:lnTo>
                <a:lnTo>
                  <a:pt x="254" y="121"/>
                </a:lnTo>
                <a:lnTo>
                  <a:pt x="254" y="123"/>
                </a:lnTo>
                <a:lnTo>
                  <a:pt x="257" y="123"/>
                </a:lnTo>
                <a:lnTo>
                  <a:pt x="259" y="123"/>
                </a:lnTo>
                <a:lnTo>
                  <a:pt x="260" y="126"/>
                </a:lnTo>
                <a:lnTo>
                  <a:pt x="262" y="128"/>
                </a:lnTo>
                <a:lnTo>
                  <a:pt x="264" y="128"/>
                </a:lnTo>
                <a:lnTo>
                  <a:pt x="265" y="129"/>
                </a:lnTo>
                <a:lnTo>
                  <a:pt x="267" y="131"/>
                </a:lnTo>
                <a:lnTo>
                  <a:pt x="267" y="133"/>
                </a:lnTo>
                <a:lnTo>
                  <a:pt x="265" y="134"/>
                </a:lnTo>
                <a:lnTo>
                  <a:pt x="264" y="134"/>
                </a:lnTo>
                <a:lnTo>
                  <a:pt x="262" y="134"/>
                </a:lnTo>
                <a:lnTo>
                  <a:pt x="260" y="131"/>
                </a:lnTo>
                <a:lnTo>
                  <a:pt x="257" y="129"/>
                </a:lnTo>
                <a:lnTo>
                  <a:pt x="255" y="128"/>
                </a:lnTo>
                <a:lnTo>
                  <a:pt x="254" y="126"/>
                </a:lnTo>
                <a:lnTo>
                  <a:pt x="254" y="124"/>
                </a:lnTo>
                <a:lnTo>
                  <a:pt x="250" y="124"/>
                </a:lnTo>
                <a:lnTo>
                  <a:pt x="248" y="126"/>
                </a:lnTo>
                <a:lnTo>
                  <a:pt x="247" y="124"/>
                </a:lnTo>
                <a:lnTo>
                  <a:pt x="247" y="126"/>
                </a:lnTo>
                <a:lnTo>
                  <a:pt x="245" y="124"/>
                </a:lnTo>
                <a:lnTo>
                  <a:pt x="243" y="124"/>
                </a:lnTo>
                <a:lnTo>
                  <a:pt x="242" y="123"/>
                </a:lnTo>
                <a:lnTo>
                  <a:pt x="238" y="121"/>
                </a:lnTo>
                <a:lnTo>
                  <a:pt x="238" y="123"/>
                </a:lnTo>
                <a:lnTo>
                  <a:pt x="235" y="123"/>
                </a:lnTo>
                <a:lnTo>
                  <a:pt x="233" y="123"/>
                </a:lnTo>
                <a:lnTo>
                  <a:pt x="231" y="124"/>
                </a:lnTo>
                <a:lnTo>
                  <a:pt x="230" y="124"/>
                </a:lnTo>
                <a:lnTo>
                  <a:pt x="230" y="126"/>
                </a:lnTo>
                <a:lnTo>
                  <a:pt x="228" y="126"/>
                </a:lnTo>
                <a:lnTo>
                  <a:pt x="228" y="129"/>
                </a:lnTo>
                <a:lnTo>
                  <a:pt x="230" y="131"/>
                </a:lnTo>
                <a:lnTo>
                  <a:pt x="231" y="133"/>
                </a:lnTo>
                <a:lnTo>
                  <a:pt x="233" y="133"/>
                </a:lnTo>
                <a:lnTo>
                  <a:pt x="233" y="134"/>
                </a:lnTo>
                <a:lnTo>
                  <a:pt x="235" y="134"/>
                </a:lnTo>
                <a:lnTo>
                  <a:pt x="237" y="136"/>
                </a:lnTo>
                <a:lnTo>
                  <a:pt x="240" y="136"/>
                </a:lnTo>
                <a:lnTo>
                  <a:pt x="242" y="136"/>
                </a:lnTo>
                <a:lnTo>
                  <a:pt x="243" y="138"/>
                </a:lnTo>
                <a:lnTo>
                  <a:pt x="245" y="138"/>
                </a:lnTo>
                <a:lnTo>
                  <a:pt x="247" y="140"/>
                </a:lnTo>
                <a:lnTo>
                  <a:pt x="247" y="141"/>
                </a:lnTo>
                <a:lnTo>
                  <a:pt x="248" y="143"/>
                </a:lnTo>
                <a:lnTo>
                  <a:pt x="247" y="143"/>
                </a:lnTo>
                <a:lnTo>
                  <a:pt x="248" y="143"/>
                </a:lnTo>
                <a:lnTo>
                  <a:pt x="250" y="145"/>
                </a:lnTo>
                <a:lnTo>
                  <a:pt x="248" y="148"/>
                </a:lnTo>
                <a:lnTo>
                  <a:pt x="247" y="150"/>
                </a:lnTo>
                <a:lnTo>
                  <a:pt x="248" y="150"/>
                </a:lnTo>
                <a:lnTo>
                  <a:pt x="247" y="150"/>
                </a:lnTo>
                <a:lnTo>
                  <a:pt x="245" y="151"/>
                </a:lnTo>
                <a:lnTo>
                  <a:pt x="245" y="150"/>
                </a:lnTo>
                <a:lnTo>
                  <a:pt x="243" y="150"/>
                </a:lnTo>
                <a:lnTo>
                  <a:pt x="243" y="148"/>
                </a:lnTo>
                <a:lnTo>
                  <a:pt x="242" y="148"/>
                </a:lnTo>
                <a:lnTo>
                  <a:pt x="240" y="146"/>
                </a:lnTo>
                <a:lnTo>
                  <a:pt x="238" y="146"/>
                </a:lnTo>
                <a:lnTo>
                  <a:pt x="238" y="145"/>
                </a:lnTo>
                <a:lnTo>
                  <a:pt x="237" y="143"/>
                </a:lnTo>
                <a:lnTo>
                  <a:pt x="235" y="141"/>
                </a:lnTo>
                <a:lnTo>
                  <a:pt x="235" y="140"/>
                </a:lnTo>
                <a:lnTo>
                  <a:pt x="231" y="140"/>
                </a:lnTo>
                <a:lnTo>
                  <a:pt x="231" y="138"/>
                </a:lnTo>
                <a:lnTo>
                  <a:pt x="228" y="136"/>
                </a:lnTo>
                <a:lnTo>
                  <a:pt x="226" y="134"/>
                </a:lnTo>
                <a:lnTo>
                  <a:pt x="225" y="134"/>
                </a:lnTo>
                <a:lnTo>
                  <a:pt x="223" y="134"/>
                </a:lnTo>
                <a:lnTo>
                  <a:pt x="220" y="134"/>
                </a:lnTo>
                <a:lnTo>
                  <a:pt x="218" y="133"/>
                </a:lnTo>
                <a:lnTo>
                  <a:pt x="216" y="133"/>
                </a:lnTo>
                <a:lnTo>
                  <a:pt x="214" y="133"/>
                </a:lnTo>
                <a:lnTo>
                  <a:pt x="213" y="133"/>
                </a:lnTo>
                <a:lnTo>
                  <a:pt x="211" y="134"/>
                </a:lnTo>
                <a:lnTo>
                  <a:pt x="211" y="136"/>
                </a:lnTo>
                <a:lnTo>
                  <a:pt x="209" y="138"/>
                </a:lnTo>
                <a:lnTo>
                  <a:pt x="209" y="140"/>
                </a:lnTo>
                <a:lnTo>
                  <a:pt x="209" y="138"/>
                </a:lnTo>
                <a:lnTo>
                  <a:pt x="208" y="136"/>
                </a:lnTo>
                <a:lnTo>
                  <a:pt x="206" y="138"/>
                </a:lnTo>
                <a:lnTo>
                  <a:pt x="204" y="136"/>
                </a:lnTo>
                <a:lnTo>
                  <a:pt x="203" y="136"/>
                </a:lnTo>
                <a:lnTo>
                  <a:pt x="201" y="136"/>
                </a:lnTo>
                <a:lnTo>
                  <a:pt x="199" y="136"/>
                </a:lnTo>
                <a:lnTo>
                  <a:pt x="197" y="134"/>
                </a:lnTo>
                <a:lnTo>
                  <a:pt x="194" y="134"/>
                </a:lnTo>
                <a:lnTo>
                  <a:pt x="191" y="133"/>
                </a:lnTo>
                <a:lnTo>
                  <a:pt x="189" y="131"/>
                </a:lnTo>
                <a:lnTo>
                  <a:pt x="186" y="131"/>
                </a:lnTo>
                <a:lnTo>
                  <a:pt x="184" y="131"/>
                </a:lnTo>
                <a:lnTo>
                  <a:pt x="184" y="129"/>
                </a:lnTo>
                <a:lnTo>
                  <a:pt x="182" y="128"/>
                </a:lnTo>
                <a:lnTo>
                  <a:pt x="180" y="124"/>
                </a:lnTo>
                <a:lnTo>
                  <a:pt x="179" y="124"/>
                </a:lnTo>
                <a:lnTo>
                  <a:pt x="179" y="123"/>
                </a:lnTo>
                <a:lnTo>
                  <a:pt x="180" y="123"/>
                </a:lnTo>
                <a:lnTo>
                  <a:pt x="184" y="123"/>
                </a:lnTo>
                <a:lnTo>
                  <a:pt x="186" y="121"/>
                </a:lnTo>
                <a:lnTo>
                  <a:pt x="186" y="119"/>
                </a:lnTo>
                <a:lnTo>
                  <a:pt x="186" y="117"/>
                </a:lnTo>
                <a:lnTo>
                  <a:pt x="184" y="116"/>
                </a:lnTo>
                <a:lnTo>
                  <a:pt x="184" y="114"/>
                </a:lnTo>
                <a:lnTo>
                  <a:pt x="182" y="112"/>
                </a:lnTo>
                <a:lnTo>
                  <a:pt x="180" y="112"/>
                </a:lnTo>
                <a:lnTo>
                  <a:pt x="179" y="114"/>
                </a:lnTo>
                <a:lnTo>
                  <a:pt x="177" y="114"/>
                </a:lnTo>
                <a:lnTo>
                  <a:pt x="179" y="114"/>
                </a:lnTo>
                <a:lnTo>
                  <a:pt x="179" y="116"/>
                </a:lnTo>
                <a:lnTo>
                  <a:pt x="179" y="117"/>
                </a:lnTo>
                <a:lnTo>
                  <a:pt x="177" y="119"/>
                </a:lnTo>
                <a:lnTo>
                  <a:pt x="175" y="119"/>
                </a:lnTo>
                <a:lnTo>
                  <a:pt x="174" y="119"/>
                </a:lnTo>
                <a:lnTo>
                  <a:pt x="174" y="123"/>
                </a:lnTo>
                <a:lnTo>
                  <a:pt x="172" y="123"/>
                </a:lnTo>
                <a:lnTo>
                  <a:pt x="170" y="123"/>
                </a:lnTo>
                <a:lnTo>
                  <a:pt x="169" y="124"/>
                </a:lnTo>
                <a:lnTo>
                  <a:pt x="169" y="123"/>
                </a:lnTo>
                <a:lnTo>
                  <a:pt x="170" y="126"/>
                </a:lnTo>
                <a:lnTo>
                  <a:pt x="169" y="126"/>
                </a:lnTo>
                <a:lnTo>
                  <a:pt x="167" y="126"/>
                </a:lnTo>
                <a:lnTo>
                  <a:pt x="167" y="128"/>
                </a:lnTo>
                <a:lnTo>
                  <a:pt x="169" y="129"/>
                </a:lnTo>
                <a:lnTo>
                  <a:pt x="169" y="131"/>
                </a:lnTo>
                <a:lnTo>
                  <a:pt x="169" y="133"/>
                </a:lnTo>
                <a:lnTo>
                  <a:pt x="170" y="133"/>
                </a:lnTo>
                <a:lnTo>
                  <a:pt x="172" y="134"/>
                </a:lnTo>
                <a:lnTo>
                  <a:pt x="170" y="136"/>
                </a:lnTo>
                <a:lnTo>
                  <a:pt x="170" y="138"/>
                </a:lnTo>
                <a:lnTo>
                  <a:pt x="170" y="140"/>
                </a:lnTo>
                <a:lnTo>
                  <a:pt x="170" y="141"/>
                </a:lnTo>
                <a:lnTo>
                  <a:pt x="170" y="145"/>
                </a:lnTo>
                <a:lnTo>
                  <a:pt x="170" y="146"/>
                </a:lnTo>
                <a:lnTo>
                  <a:pt x="169" y="148"/>
                </a:lnTo>
                <a:lnTo>
                  <a:pt x="169" y="150"/>
                </a:lnTo>
                <a:lnTo>
                  <a:pt x="169" y="151"/>
                </a:lnTo>
                <a:lnTo>
                  <a:pt x="170" y="153"/>
                </a:lnTo>
                <a:lnTo>
                  <a:pt x="170" y="157"/>
                </a:lnTo>
                <a:lnTo>
                  <a:pt x="172" y="158"/>
                </a:lnTo>
                <a:lnTo>
                  <a:pt x="172" y="160"/>
                </a:lnTo>
                <a:lnTo>
                  <a:pt x="174" y="160"/>
                </a:lnTo>
                <a:lnTo>
                  <a:pt x="175" y="162"/>
                </a:lnTo>
                <a:lnTo>
                  <a:pt x="177" y="162"/>
                </a:lnTo>
                <a:lnTo>
                  <a:pt x="179" y="163"/>
                </a:lnTo>
                <a:lnTo>
                  <a:pt x="180" y="165"/>
                </a:lnTo>
                <a:lnTo>
                  <a:pt x="182" y="168"/>
                </a:lnTo>
                <a:lnTo>
                  <a:pt x="184" y="168"/>
                </a:lnTo>
                <a:lnTo>
                  <a:pt x="186" y="170"/>
                </a:lnTo>
                <a:lnTo>
                  <a:pt x="187" y="172"/>
                </a:lnTo>
                <a:lnTo>
                  <a:pt x="189" y="172"/>
                </a:lnTo>
                <a:lnTo>
                  <a:pt x="191" y="174"/>
                </a:lnTo>
                <a:lnTo>
                  <a:pt x="191" y="175"/>
                </a:lnTo>
                <a:lnTo>
                  <a:pt x="191" y="177"/>
                </a:lnTo>
                <a:lnTo>
                  <a:pt x="192" y="180"/>
                </a:lnTo>
                <a:lnTo>
                  <a:pt x="194" y="184"/>
                </a:lnTo>
                <a:lnTo>
                  <a:pt x="196" y="185"/>
                </a:lnTo>
                <a:lnTo>
                  <a:pt x="196" y="187"/>
                </a:lnTo>
                <a:lnTo>
                  <a:pt x="199" y="187"/>
                </a:lnTo>
                <a:lnTo>
                  <a:pt x="199" y="189"/>
                </a:lnTo>
                <a:lnTo>
                  <a:pt x="201" y="189"/>
                </a:lnTo>
                <a:lnTo>
                  <a:pt x="203" y="189"/>
                </a:lnTo>
                <a:lnTo>
                  <a:pt x="204" y="189"/>
                </a:lnTo>
                <a:lnTo>
                  <a:pt x="206" y="191"/>
                </a:lnTo>
                <a:lnTo>
                  <a:pt x="208" y="194"/>
                </a:lnTo>
                <a:lnTo>
                  <a:pt x="211" y="196"/>
                </a:lnTo>
                <a:lnTo>
                  <a:pt x="213" y="197"/>
                </a:lnTo>
                <a:lnTo>
                  <a:pt x="214" y="199"/>
                </a:lnTo>
                <a:lnTo>
                  <a:pt x="216" y="201"/>
                </a:lnTo>
                <a:lnTo>
                  <a:pt x="218" y="202"/>
                </a:lnTo>
                <a:lnTo>
                  <a:pt x="220" y="204"/>
                </a:lnTo>
                <a:lnTo>
                  <a:pt x="221" y="206"/>
                </a:lnTo>
                <a:lnTo>
                  <a:pt x="221" y="208"/>
                </a:lnTo>
                <a:lnTo>
                  <a:pt x="223" y="208"/>
                </a:lnTo>
                <a:lnTo>
                  <a:pt x="225" y="211"/>
                </a:lnTo>
                <a:lnTo>
                  <a:pt x="223" y="213"/>
                </a:lnTo>
                <a:lnTo>
                  <a:pt x="223" y="214"/>
                </a:lnTo>
                <a:lnTo>
                  <a:pt x="221" y="214"/>
                </a:lnTo>
                <a:lnTo>
                  <a:pt x="220" y="216"/>
                </a:lnTo>
                <a:lnTo>
                  <a:pt x="218" y="216"/>
                </a:lnTo>
                <a:lnTo>
                  <a:pt x="218" y="218"/>
                </a:lnTo>
                <a:lnTo>
                  <a:pt x="216" y="218"/>
                </a:lnTo>
                <a:lnTo>
                  <a:pt x="213" y="220"/>
                </a:lnTo>
                <a:lnTo>
                  <a:pt x="211" y="220"/>
                </a:lnTo>
                <a:lnTo>
                  <a:pt x="209" y="220"/>
                </a:lnTo>
                <a:lnTo>
                  <a:pt x="209" y="218"/>
                </a:lnTo>
                <a:lnTo>
                  <a:pt x="209" y="216"/>
                </a:lnTo>
                <a:lnTo>
                  <a:pt x="211" y="216"/>
                </a:lnTo>
                <a:lnTo>
                  <a:pt x="211" y="214"/>
                </a:lnTo>
                <a:lnTo>
                  <a:pt x="213" y="216"/>
                </a:lnTo>
                <a:lnTo>
                  <a:pt x="211" y="218"/>
                </a:lnTo>
                <a:lnTo>
                  <a:pt x="211" y="220"/>
                </a:lnTo>
                <a:lnTo>
                  <a:pt x="213" y="218"/>
                </a:lnTo>
                <a:lnTo>
                  <a:pt x="213" y="216"/>
                </a:lnTo>
                <a:lnTo>
                  <a:pt x="214" y="216"/>
                </a:lnTo>
                <a:lnTo>
                  <a:pt x="216" y="216"/>
                </a:lnTo>
                <a:lnTo>
                  <a:pt x="216" y="214"/>
                </a:lnTo>
                <a:lnTo>
                  <a:pt x="218" y="214"/>
                </a:lnTo>
                <a:lnTo>
                  <a:pt x="218" y="213"/>
                </a:lnTo>
                <a:lnTo>
                  <a:pt x="214" y="211"/>
                </a:lnTo>
                <a:lnTo>
                  <a:pt x="214" y="208"/>
                </a:lnTo>
                <a:lnTo>
                  <a:pt x="213" y="206"/>
                </a:lnTo>
                <a:lnTo>
                  <a:pt x="211" y="204"/>
                </a:lnTo>
                <a:lnTo>
                  <a:pt x="209" y="204"/>
                </a:lnTo>
                <a:lnTo>
                  <a:pt x="208" y="204"/>
                </a:lnTo>
                <a:lnTo>
                  <a:pt x="204" y="204"/>
                </a:lnTo>
                <a:lnTo>
                  <a:pt x="203" y="202"/>
                </a:lnTo>
                <a:lnTo>
                  <a:pt x="199" y="202"/>
                </a:lnTo>
                <a:lnTo>
                  <a:pt x="199" y="206"/>
                </a:lnTo>
                <a:lnTo>
                  <a:pt x="201" y="206"/>
                </a:lnTo>
                <a:lnTo>
                  <a:pt x="197" y="208"/>
                </a:lnTo>
                <a:lnTo>
                  <a:pt x="196" y="208"/>
                </a:lnTo>
                <a:lnTo>
                  <a:pt x="194" y="209"/>
                </a:lnTo>
                <a:lnTo>
                  <a:pt x="194" y="211"/>
                </a:lnTo>
                <a:lnTo>
                  <a:pt x="196" y="214"/>
                </a:lnTo>
                <a:lnTo>
                  <a:pt x="197" y="216"/>
                </a:lnTo>
                <a:lnTo>
                  <a:pt x="197" y="218"/>
                </a:lnTo>
                <a:lnTo>
                  <a:pt x="199" y="216"/>
                </a:lnTo>
                <a:lnTo>
                  <a:pt x="197" y="214"/>
                </a:lnTo>
                <a:lnTo>
                  <a:pt x="199" y="214"/>
                </a:lnTo>
                <a:lnTo>
                  <a:pt x="199" y="216"/>
                </a:lnTo>
                <a:lnTo>
                  <a:pt x="201" y="216"/>
                </a:lnTo>
                <a:lnTo>
                  <a:pt x="201" y="218"/>
                </a:lnTo>
                <a:lnTo>
                  <a:pt x="203" y="220"/>
                </a:lnTo>
                <a:lnTo>
                  <a:pt x="203" y="218"/>
                </a:lnTo>
                <a:lnTo>
                  <a:pt x="204" y="220"/>
                </a:lnTo>
                <a:lnTo>
                  <a:pt x="206" y="220"/>
                </a:lnTo>
                <a:lnTo>
                  <a:pt x="206" y="223"/>
                </a:lnTo>
                <a:lnTo>
                  <a:pt x="206" y="225"/>
                </a:lnTo>
                <a:lnTo>
                  <a:pt x="204" y="225"/>
                </a:lnTo>
                <a:lnTo>
                  <a:pt x="206" y="226"/>
                </a:lnTo>
                <a:lnTo>
                  <a:pt x="208" y="226"/>
                </a:lnTo>
                <a:lnTo>
                  <a:pt x="208" y="225"/>
                </a:lnTo>
                <a:lnTo>
                  <a:pt x="209" y="223"/>
                </a:lnTo>
                <a:lnTo>
                  <a:pt x="211" y="223"/>
                </a:lnTo>
                <a:lnTo>
                  <a:pt x="211" y="225"/>
                </a:lnTo>
                <a:lnTo>
                  <a:pt x="209" y="226"/>
                </a:lnTo>
                <a:lnTo>
                  <a:pt x="208" y="228"/>
                </a:lnTo>
                <a:lnTo>
                  <a:pt x="208" y="230"/>
                </a:lnTo>
                <a:lnTo>
                  <a:pt x="208" y="231"/>
                </a:lnTo>
                <a:lnTo>
                  <a:pt x="204" y="231"/>
                </a:lnTo>
                <a:lnTo>
                  <a:pt x="204" y="233"/>
                </a:lnTo>
                <a:lnTo>
                  <a:pt x="203" y="233"/>
                </a:lnTo>
                <a:lnTo>
                  <a:pt x="201" y="233"/>
                </a:lnTo>
                <a:lnTo>
                  <a:pt x="199" y="237"/>
                </a:lnTo>
                <a:lnTo>
                  <a:pt x="197" y="238"/>
                </a:lnTo>
                <a:lnTo>
                  <a:pt x="196" y="238"/>
                </a:lnTo>
                <a:lnTo>
                  <a:pt x="192" y="238"/>
                </a:lnTo>
                <a:lnTo>
                  <a:pt x="191" y="238"/>
                </a:lnTo>
                <a:lnTo>
                  <a:pt x="189" y="237"/>
                </a:lnTo>
                <a:lnTo>
                  <a:pt x="187" y="237"/>
                </a:lnTo>
                <a:lnTo>
                  <a:pt x="186" y="238"/>
                </a:lnTo>
                <a:lnTo>
                  <a:pt x="184" y="240"/>
                </a:lnTo>
                <a:lnTo>
                  <a:pt x="186" y="240"/>
                </a:lnTo>
                <a:lnTo>
                  <a:pt x="184" y="242"/>
                </a:lnTo>
                <a:lnTo>
                  <a:pt x="186" y="240"/>
                </a:lnTo>
                <a:lnTo>
                  <a:pt x="184" y="242"/>
                </a:lnTo>
                <a:lnTo>
                  <a:pt x="186" y="243"/>
                </a:lnTo>
                <a:lnTo>
                  <a:pt x="187" y="243"/>
                </a:lnTo>
                <a:lnTo>
                  <a:pt x="187" y="242"/>
                </a:lnTo>
                <a:lnTo>
                  <a:pt x="187" y="243"/>
                </a:lnTo>
                <a:lnTo>
                  <a:pt x="189" y="242"/>
                </a:lnTo>
                <a:lnTo>
                  <a:pt x="192" y="242"/>
                </a:lnTo>
                <a:lnTo>
                  <a:pt x="192" y="240"/>
                </a:lnTo>
                <a:lnTo>
                  <a:pt x="194" y="242"/>
                </a:lnTo>
                <a:lnTo>
                  <a:pt x="197" y="245"/>
                </a:lnTo>
                <a:lnTo>
                  <a:pt x="199" y="245"/>
                </a:lnTo>
                <a:lnTo>
                  <a:pt x="201" y="243"/>
                </a:lnTo>
                <a:lnTo>
                  <a:pt x="201" y="245"/>
                </a:lnTo>
                <a:lnTo>
                  <a:pt x="203" y="245"/>
                </a:lnTo>
                <a:lnTo>
                  <a:pt x="204" y="243"/>
                </a:lnTo>
                <a:lnTo>
                  <a:pt x="208" y="245"/>
                </a:lnTo>
                <a:lnTo>
                  <a:pt x="209" y="245"/>
                </a:lnTo>
                <a:lnTo>
                  <a:pt x="211" y="245"/>
                </a:lnTo>
                <a:lnTo>
                  <a:pt x="213" y="243"/>
                </a:lnTo>
                <a:lnTo>
                  <a:pt x="214" y="247"/>
                </a:lnTo>
                <a:lnTo>
                  <a:pt x="214" y="248"/>
                </a:lnTo>
                <a:lnTo>
                  <a:pt x="218" y="252"/>
                </a:lnTo>
                <a:lnTo>
                  <a:pt x="216" y="252"/>
                </a:lnTo>
                <a:lnTo>
                  <a:pt x="220" y="250"/>
                </a:lnTo>
                <a:lnTo>
                  <a:pt x="218" y="252"/>
                </a:lnTo>
                <a:lnTo>
                  <a:pt x="220" y="252"/>
                </a:lnTo>
                <a:lnTo>
                  <a:pt x="220" y="250"/>
                </a:lnTo>
                <a:lnTo>
                  <a:pt x="223" y="250"/>
                </a:lnTo>
                <a:lnTo>
                  <a:pt x="221" y="248"/>
                </a:lnTo>
                <a:lnTo>
                  <a:pt x="223" y="247"/>
                </a:lnTo>
                <a:lnTo>
                  <a:pt x="225" y="248"/>
                </a:lnTo>
                <a:lnTo>
                  <a:pt x="226" y="250"/>
                </a:lnTo>
                <a:lnTo>
                  <a:pt x="228" y="248"/>
                </a:lnTo>
                <a:lnTo>
                  <a:pt x="230" y="248"/>
                </a:lnTo>
                <a:lnTo>
                  <a:pt x="231" y="252"/>
                </a:lnTo>
                <a:lnTo>
                  <a:pt x="230" y="254"/>
                </a:lnTo>
                <a:lnTo>
                  <a:pt x="228" y="255"/>
                </a:lnTo>
                <a:lnTo>
                  <a:pt x="230" y="254"/>
                </a:lnTo>
                <a:lnTo>
                  <a:pt x="231" y="257"/>
                </a:lnTo>
                <a:lnTo>
                  <a:pt x="235" y="257"/>
                </a:lnTo>
                <a:lnTo>
                  <a:pt x="231" y="257"/>
                </a:lnTo>
                <a:lnTo>
                  <a:pt x="231" y="259"/>
                </a:lnTo>
                <a:lnTo>
                  <a:pt x="233" y="259"/>
                </a:lnTo>
                <a:lnTo>
                  <a:pt x="237" y="257"/>
                </a:lnTo>
                <a:lnTo>
                  <a:pt x="237" y="259"/>
                </a:lnTo>
                <a:lnTo>
                  <a:pt x="240" y="257"/>
                </a:lnTo>
                <a:lnTo>
                  <a:pt x="243" y="259"/>
                </a:lnTo>
                <a:lnTo>
                  <a:pt x="243" y="255"/>
                </a:lnTo>
                <a:lnTo>
                  <a:pt x="245" y="255"/>
                </a:lnTo>
                <a:lnTo>
                  <a:pt x="245" y="257"/>
                </a:lnTo>
                <a:lnTo>
                  <a:pt x="247" y="259"/>
                </a:lnTo>
                <a:lnTo>
                  <a:pt x="247" y="260"/>
                </a:lnTo>
                <a:lnTo>
                  <a:pt x="248" y="260"/>
                </a:lnTo>
                <a:lnTo>
                  <a:pt x="248" y="262"/>
                </a:lnTo>
                <a:lnTo>
                  <a:pt x="250" y="262"/>
                </a:lnTo>
                <a:lnTo>
                  <a:pt x="250" y="264"/>
                </a:lnTo>
                <a:lnTo>
                  <a:pt x="252" y="265"/>
                </a:lnTo>
                <a:lnTo>
                  <a:pt x="255" y="267"/>
                </a:lnTo>
                <a:lnTo>
                  <a:pt x="257" y="265"/>
                </a:lnTo>
                <a:lnTo>
                  <a:pt x="257" y="267"/>
                </a:lnTo>
                <a:lnTo>
                  <a:pt x="259" y="265"/>
                </a:lnTo>
                <a:lnTo>
                  <a:pt x="260" y="267"/>
                </a:lnTo>
                <a:lnTo>
                  <a:pt x="260" y="265"/>
                </a:lnTo>
                <a:lnTo>
                  <a:pt x="262" y="267"/>
                </a:lnTo>
                <a:lnTo>
                  <a:pt x="264" y="267"/>
                </a:lnTo>
                <a:lnTo>
                  <a:pt x="265" y="267"/>
                </a:lnTo>
                <a:lnTo>
                  <a:pt x="267" y="267"/>
                </a:lnTo>
                <a:lnTo>
                  <a:pt x="269" y="267"/>
                </a:lnTo>
                <a:lnTo>
                  <a:pt x="271" y="269"/>
                </a:lnTo>
                <a:lnTo>
                  <a:pt x="272" y="271"/>
                </a:lnTo>
                <a:lnTo>
                  <a:pt x="274" y="271"/>
                </a:lnTo>
                <a:lnTo>
                  <a:pt x="276" y="271"/>
                </a:lnTo>
                <a:lnTo>
                  <a:pt x="276" y="272"/>
                </a:lnTo>
                <a:lnTo>
                  <a:pt x="277" y="272"/>
                </a:lnTo>
                <a:lnTo>
                  <a:pt x="277" y="274"/>
                </a:lnTo>
                <a:lnTo>
                  <a:pt x="277" y="276"/>
                </a:lnTo>
                <a:lnTo>
                  <a:pt x="277" y="277"/>
                </a:lnTo>
                <a:lnTo>
                  <a:pt x="277" y="276"/>
                </a:lnTo>
                <a:lnTo>
                  <a:pt x="276" y="277"/>
                </a:lnTo>
                <a:lnTo>
                  <a:pt x="274" y="277"/>
                </a:lnTo>
                <a:lnTo>
                  <a:pt x="274" y="279"/>
                </a:lnTo>
                <a:lnTo>
                  <a:pt x="276" y="282"/>
                </a:lnTo>
                <a:lnTo>
                  <a:pt x="276" y="284"/>
                </a:lnTo>
                <a:lnTo>
                  <a:pt x="276" y="286"/>
                </a:lnTo>
                <a:lnTo>
                  <a:pt x="277" y="288"/>
                </a:lnTo>
                <a:lnTo>
                  <a:pt x="277" y="291"/>
                </a:lnTo>
                <a:lnTo>
                  <a:pt x="277" y="293"/>
                </a:lnTo>
                <a:lnTo>
                  <a:pt x="279" y="293"/>
                </a:lnTo>
                <a:lnTo>
                  <a:pt x="281" y="294"/>
                </a:lnTo>
                <a:lnTo>
                  <a:pt x="277" y="294"/>
                </a:lnTo>
                <a:lnTo>
                  <a:pt x="279" y="296"/>
                </a:lnTo>
                <a:lnTo>
                  <a:pt x="281" y="296"/>
                </a:lnTo>
                <a:lnTo>
                  <a:pt x="281" y="298"/>
                </a:lnTo>
                <a:lnTo>
                  <a:pt x="282" y="298"/>
                </a:lnTo>
                <a:lnTo>
                  <a:pt x="281" y="299"/>
                </a:lnTo>
                <a:lnTo>
                  <a:pt x="284" y="301"/>
                </a:lnTo>
                <a:lnTo>
                  <a:pt x="284" y="303"/>
                </a:lnTo>
                <a:lnTo>
                  <a:pt x="284" y="305"/>
                </a:lnTo>
                <a:lnTo>
                  <a:pt x="282" y="306"/>
                </a:lnTo>
                <a:lnTo>
                  <a:pt x="284" y="308"/>
                </a:lnTo>
                <a:lnTo>
                  <a:pt x="284" y="310"/>
                </a:lnTo>
                <a:lnTo>
                  <a:pt x="282" y="311"/>
                </a:lnTo>
                <a:lnTo>
                  <a:pt x="279" y="311"/>
                </a:lnTo>
                <a:lnTo>
                  <a:pt x="277" y="311"/>
                </a:lnTo>
                <a:lnTo>
                  <a:pt x="277" y="308"/>
                </a:lnTo>
                <a:lnTo>
                  <a:pt x="276" y="308"/>
                </a:lnTo>
                <a:lnTo>
                  <a:pt x="274" y="306"/>
                </a:lnTo>
                <a:lnTo>
                  <a:pt x="274" y="305"/>
                </a:lnTo>
                <a:lnTo>
                  <a:pt x="272" y="303"/>
                </a:lnTo>
                <a:lnTo>
                  <a:pt x="269" y="301"/>
                </a:lnTo>
                <a:lnTo>
                  <a:pt x="269" y="303"/>
                </a:lnTo>
                <a:lnTo>
                  <a:pt x="269" y="301"/>
                </a:lnTo>
                <a:lnTo>
                  <a:pt x="267" y="303"/>
                </a:lnTo>
                <a:lnTo>
                  <a:pt x="265" y="303"/>
                </a:lnTo>
                <a:lnTo>
                  <a:pt x="265" y="305"/>
                </a:lnTo>
                <a:lnTo>
                  <a:pt x="265" y="303"/>
                </a:lnTo>
                <a:lnTo>
                  <a:pt x="265" y="301"/>
                </a:lnTo>
                <a:lnTo>
                  <a:pt x="264" y="301"/>
                </a:lnTo>
                <a:lnTo>
                  <a:pt x="264" y="299"/>
                </a:lnTo>
                <a:lnTo>
                  <a:pt x="262" y="299"/>
                </a:lnTo>
                <a:lnTo>
                  <a:pt x="262" y="296"/>
                </a:lnTo>
                <a:lnTo>
                  <a:pt x="259" y="296"/>
                </a:lnTo>
                <a:lnTo>
                  <a:pt x="259" y="294"/>
                </a:lnTo>
                <a:lnTo>
                  <a:pt x="257" y="296"/>
                </a:lnTo>
                <a:lnTo>
                  <a:pt x="255" y="296"/>
                </a:lnTo>
                <a:lnTo>
                  <a:pt x="257" y="294"/>
                </a:lnTo>
                <a:lnTo>
                  <a:pt x="255" y="296"/>
                </a:lnTo>
                <a:lnTo>
                  <a:pt x="254" y="294"/>
                </a:lnTo>
                <a:lnTo>
                  <a:pt x="255" y="294"/>
                </a:lnTo>
                <a:lnTo>
                  <a:pt x="254" y="294"/>
                </a:lnTo>
                <a:lnTo>
                  <a:pt x="252" y="294"/>
                </a:lnTo>
                <a:lnTo>
                  <a:pt x="252" y="293"/>
                </a:lnTo>
                <a:lnTo>
                  <a:pt x="254" y="291"/>
                </a:lnTo>
                <a:lnTo>
                  <a:pt x="254" y="289"/>
                </a:lnTo>
                <a:lnTo>
                  <a:pt x="252" y="289"/>
                </a:lnTo>
                <a:lnTo>
                  <a:pt x="250" y="289"/>
                </a:lnTo>
                <a:lnTo>
                  <a:pt x="248" y="289"/>
                </a:lnTo>
                <a:lnTo>
                  <a:pt x="247" y="291"/>
                </a:lnTo>
                <a:lnTo>
                  <a:pt x="245" y="291"/>
                </a:lnTo>
                <a:lnTo>
                  <a:pt x="243" y="294"/>
                </a:lnTo>
                <a:lnTo>
                  <a:pt x="242" y="294"/>
                </a:lnTo>
                <a:lnTo>
                  <a:pt x="243" y="296"/>
                </a:lnTo>
                <a:lnTo>
                  <a:pt x="240" y="296"/>
                </a:lnTo>
                <a:lnTo>
                  <a:pt x="238" y="296"/>
                </a:lnTo>
                <a:lnTo>
                  <a:pt x="237" y="296"/>
                </a:lnTo>
                <a:lnTo>
                  <a:pt x="235" y="296"/>
                </a:lnTo>
                <a:lnTo>
                  <a:pt x="231" y="299"/>
                </a:lnTo>
                <a:lnTo>
                  <a:pt x="230" y="299"/>
                </a:lnTo>
                <a:lnTo>
                  <a:pt x="230" y="301"/>
                </a:lnTo>
                <a:lnTo>
                  <a:pt x="226" y="303"/>
                </a:lnTo>
                <a:lnTo>
                  <a:pt x="225" y="303"/>
                </a:lnTo>
                <a:lnTo>
                  <a:pt x="223" y="303"/>
                </a:lnTo>
                <a:lnTo>
                  <a:pt x="223" y="305"/>
                </a:lnTo>
                <a:lnTo>
                  <a:pt x="221" y="306"/>
                </a:lnTo>
                <a:lnTo>
                  <a:pt x="223" y="308"/>
                </a:lnTo>
                <a:lnTo>
                  <a:pt x="226" y="308"/>
                </a:lnTo>
                <a:lnTo>
                  <a:pt x="228" y="308"/>
                </a:lnTo>
                <a:lnTo>
                  <a:pt x="230" y="308"/>
                </a:lnTo>
                <a:lnTo>
                  <a:pt x="231" y="310"/>
                </a:lnTo>
                <a:lnTo>
                  <a:pt x="233" y="310"/>
                </a:lnTo>
                <a:lnTo>
                  <a:pt x="233" y="311"/>
                </a:lnTo>
                <a:lnTo>
                  <a:pt x="231" y="313"/>
                </a:lnTo>
                <a:lnTo>
                  <a:pt x="230" y="313"/>
                </a:lnTo>
                <a:lnTo>
                  <a:pt x="230" y="315"/>
                </a:lnTo>
                <a:lnTo>
                  <a:pt x="233" y="316"/>
                </a:lnTo>
                <a:lnTo>
                  <a:pt x="233" y="320"/>
                </a:lnTo>
                <a:lnTo>
                  <a:pt x="235" y="320"/>
                </a:lnTo>
                <a:lnTo>
                  <a:pt x="235" y="323"/>
                </a:lnTo>
                <a:lnTo>
                  <a:pt x="238" y="325"/>
                </a:lnTo>
                <a:lnTo>
                  <a:pt x="240" y="325"/>
                </a:lnTo>
                <a:lnTo>
                  <a:pt x="242" y="327"/>
                </a:lnTo>
                <a:lnTo>
                  <a:pt x="243" y="327"/>
                </a:lnTo>
                <a:lnTo>
                  <a:pt x="245" y="327"/>
                </a:lnTo>
                <a:lnTo>
                  <a:pt x="247" y="325"/>
                </a:lnTo>
                <a:lnTo>
                  <a:pt x="247" y="323"/>
                </a:lnTo>
                <a:lnTo>
                  <a:pt x="243" y="322"/>
                </a:lnTo>
                <a:lnTo>
                  <a:pt x="242" y="322"/>
                </a:lnTo>
                <a:lnTo>
                  <a:pt x="243" y="322"/>
                </a:lnTo>
                <a:lnTo>
                  <a:pt x="245" y="320"/>
                </a:lnTo>
                <a:lnTo>
                  <a:pt x="247" y="320"/>
                </a:lnTo>
                <a:lnTo>
                  <a:pt x="248" y="322"/>
                </a:lnTo>
                <a:lnTo>
                  <a:pt x="247" y="323"/>
                </a:lnTo>
                <a:lnTo>
                  <a:pt x="248" y="325"/>
                </a:lnTo>
                <a:lnTo>
                  <a:pt x="247" y="325"/>
                </a:lnTo>
                <a:lnTo>
                  <a:pt x="250" y="327"/>
                </a:lnTo>
                <a:lnTo>
                  <a:pt x="248" y="328"/>
                </a:lnTo>
                <a:lnTo>
                  <a:pt x="252" y="328"/>
                </a:lnTo>
                <a:lnTo>
                  <a:pt x="254" y="328"/>
                </a:lnTo>
                <a:lnTo>
                  <a:pt x="257" y="330"/>
                </a:lnTo>
                <a:lnTo>
                  <a:pt x="257" y="332"/>
                </a:lnTo>
                <a:lnTo>
                  <a:pt x="255" y="333"/>
                </a:lnTo>
                <a:lnTo>
                  <a:pt x="254" y="335"/>
                </a:lnTo>
                <a:lnTo>
                  <a:pt x="252" y="335"/>
                </a:lnTo>
                <a:lnTo>
                  <a:pt x="250" y="335"/>
                </a:lnTo>
                <a:lnTo>
                  <a:pt x="247" y="335"/>
                </a:lnTo>
                <a:lnTo>
                  <a:pt x="245" y="337"/>
                </a:lnTo>
                <a:lnTo>
                  <a:pt x="243" y="337"/>
                </a:lnTo>
                <a:lnTo>
                  <a:pt x="242" y="339"/>
                </a:lnTo>
                <a:lnTo>
                  <a:pt x="243" y="339"/>
                </a:lnTo>
                <a:lnTo>
                  <a:pt x="242" y="340"/>
                </a:lnTo>
                <a:lnTo>
                  <a:pt x="243" y="340"/>
                </a:lnTo>
                <a:lnTo>
                  <a:pt x="245" y="342"/>
                </a:lnTo>
                <a:lnTo>
                  <a:pt x="242" y="342"/>
                </a:lnTo>
                <a:lnTo>
                  <a:pt x="240" y="342"/>
                </a:lnTo>
                <a:lnTo>
                  <a:pt x="240" y="344"/>
                </a:lnTo>
                <a:lnTo>
                  <a:pt x="240" y="345"/>
                </a:lnTo>
                <a:lnTo>
                  <a:pt x="240" y="347"/>
                </a:lnTo>
                <a:lnTo>
                  <a:pt x="237" y="345"/>
                </a:lnTo>
                <a:lnTo>
                  <a:pt x="238" y="344"/>
                </a:lnTo>
                <a:lnTo>
                  <a:pt x="237" y="345"/>
                </a:lnTo>
                <a:lnTo>
                  <a:pt x="235" y="344"/>
                </a:lnTo>
                <a:lnTo>
                  <a:pt x="237" y="344"/>
                </a:lnTo>
                <a:lnTo>
                  <a:pt x="235" y="342"/>
                </a:lnTo>
                <a:lnTo>
                  <a:pt x="233" y="344"/>
                </a:lnTo>
                <a:lnTo>
                  <a:pt x="231" y="340"/>
                </a:lnTo>
                <a:lnTo>
                  <a:pt x="233" y="340"/>
                </a:lnTo>
                <a:lnTo>
                  <a:pt x="235" y="337"/>
                </a:lnTo>
                <a:lnTo>
                  <a:pt x="237" y="337"/>
                </a:lnTo>
                <a:lnTo>
                  <a:pt x="235" y="335"/>
                </a:lnTo>
                <a:lnTo>
                  <a:pt x="233" y="335"/>
                </a:lnTo>
                <a:lnTo>
                  <a:pt x="231" y="335"/>
                </a:lnTo>
                <a:lnTo>
                  <a:pt x="230" y="333"/>
                </a:lnTo>
                <a:lnTo>
                  <a:pt x="228" y="335"/>
                </a:lnTo>
                <a:lnTo>
                  <a:pt x="226" y="335"/>
                </a:lnTo>
                <a:lnTo>
                  <a:pt x="225" y="332"/>
                </a:lnTo>
                <a:lnTo>
                  <a:pt x="223" y="332"/>
                </a:lnTo>
                <a:lnTo>
                  <a:pt x="221" y="332"/>
                </a:lnTo>
                <a:lnTo>
                  <a:pt x="223" y="332"/>
                </a:lnTo>
                <a:lnTo>
                  <a:pt x="221" y="332"/>
                </a:lnTo>
                <a:lnTo>
                  <a:pt x="218" y="333"/>
                </a:lnTo>
                <a:lnTo>
                  <a:pt x="216" y="333"/>
                </a:lnTo>
                <a:lnTo>
                  <a:pt x="216" y="332"/>
                </a:lnTo>
                <a:lnTo>
                  <a:pt x="214" y="330"/>
                </a:lnTo>
                <a:lnTo>
                  <a:pt x="213" y="328"/>
                </a:lnTo>
                <a:lnTo>
                  <a:pt x="211" y="330"/>
                </a:lnTo>
                <a:lnTo>
                  <a:pt x="209" y="332"/>
                </a:lnTo>
                <a:lnTo>
                  <a:pt x="211" y="333"/>
                </a:lnTo>
                <a:lnTo>
                  <a:pt x="211" y="335"/>
                </a:lnTo>
                <a:lnTo>
                  <a:pt x="211" y="337"/>
                </a:lnTo>
                <a:lnTo>
                  <a:pt x="213" y="339"/>
                </a:lnTo>
                <a:lnTo>
                  <a:pt x="213" y="340"/>
                </a:lnTo>
                <a:lnTo>
                  <a:pt x="214" y="340"/>
                </a:lnTo>
                <a:lnTo>
                  <a:pt x="214" y="344"/>
                </a:lnTo>
                <a:lnTo>
                  <a:pt x="216" y="344"/>
                </a:lnTo>
                <a:lnTo>
                  <a:pt x="218" y="345"/>
                </a:lnTo>
                <a:lnTo>
                  <a:pt x="218" y="347"/>
                </a:lnTo>
                <a:lnTo>
                  <a:pt x="220" y="347"/>
                </a:lnTo>
                <a:lnTo>
                  <a:pt x="220" y="349"/>
                </a:lnTo>
                <a:lnTo>
                  <a:pt x="221" y="350"/>
                </a:lnTo>
                <a:lnTo>
                  <a:pt x="221" y="352"/>
                </a:lnTo>
                <a:lnTo>
                  <a:pt x="223" y="352"/>
                </a:lnTo>
                <a:lnTo>
                  <a:pt x="225" y="354"/>
                </a:lnTo>
                <a:lnTo>
                  <a:pt x="225" y="356"/>
                </a:lnTo>
                <a:lnTo>
                  <a:pt x="226" y="356"/>
                </a:lnTo>
                <a:lnTo>
                  <a:pt x="225" y="357"/>
                </a:lnTo>
                <a:lnTo>
                  <a:pt x="225" y="359"/>
                </a:lnTo>
                <a:lnTo>
                  <a:pt x="226" y="361"/>
                </a:lnTo>
                <a:lnTo>
                  <a:pt x="226" y="362"/>
                </a:lnTo>
                <a:lnTo>
                  <a:pt x="230" y="361"/>
                </a:lnTo>
                <a:lnTo>
                  <a:pt x="230" y="362"/>
                </a:lnTo>
                <a:lnTo>
                  <a:pt x="231" y="362"/>
                </a:lnTo>
                <a:lnTo>
                  <a:pt x="231" y="364"/>
                </a:lnTo>
                <a:lnTo>
                  <a:pt x="230" y="364"/>
                </a:lnTo>
                <a:lnTo>
                  <a:pt x="233" y="366"/>
                </a:lnTo>
                <a:lnTo>
                  <a:pt x="233" y="368"/>
                </a:lnTo>
                <a:lnTo>
                  <a:pt x="233" y="369"/>
                </a:lnTo>
                <a:lnTo>
                  <a:pt x="233" y="371"/>
                </a:lnTo>
                <a:lnTo>
                  <a:pt x="235" y="373"/>
                </a:lnTo>
                <a:lnTo>
                  <a:pt x="237" y="374"/>
                </a:lnTo>
                <a:lnTo>
                  <a:pt x="237" y="376"/>
                </a:lnTo>
                <a:lnTo>
                  <a:pt x="238" y="378"/>
                </a:lnTo>
                <a:lnTo>
                  <a:pt x="237" y="378"/>
                </a:lnTo>
                <a:lnTo>
                  <a:pt x="238" y="379"/>
                </a:lnTo>
                <a:lnTo>
                  <a:pt x="240" y="381"/>
                </a:lnTo>
                <a:lnTo>
                  <a:pt x="242" y="383"/>
                </a:lnTo>
                <a:lnTo>
                  <a:pt x="240" y="383"/>
                </a:lnTo>
                <a:lnTo>
                  <a:pt x="243" y="383"/>
                </a:lnTo>
                <a:lnTo>
                  <a:pt x="242" y="385"/>
                </a:lnTo>
                <a:lnTo>
                  <a:pt x="242" y="388"/>
                </a:lnTo>
                <a:lnTo>
                  <a:pt x="240" y="386"/>
                </a:lnTo>
                <a:lnTo>
                  <a:pt x="238" y="388"/>
                </a:lnTo>
                <a:lnTo>
                  <a:pt x="240" y="390"/>
                </a:lnTo>
                <a:lnTo>
                  <a:pt x="240" y="391"/>
                </a:lnTo>
                <a:lnTo>
                  <a:pt x="240" y="393"/>
                </a:lnTo>
                <a:lnTo>
                  <a:pt x="240" y="395"/>
                </a:lnTo>
                <a:lnTo>
                  <a:pt x="242" y="396"/>
                </a:lnTo>
                <a:lnTo>
                  <a:pt x="243" y="398"/>
                </a:lnTo>
                <a:lnTo>
                  <a:pt x="245" y="398"/>
                </a:lnTo>
                <a:lnTo>
                  <a:pt x="247" y="398"/>
                </a:lnTo>
                <a:lnTo>
                  <a:pt x="248" y="400"/>
                </a:lnTo>
                <a:lnTo>
                  <a:pt x="247" y="403"/>
                </a:lnTo>
                <a:lnTo>
                  <a:pt x="250" y="403"/>
                </a:lnTo>
                <a:lnTo>
                  <a:pt x="250" y="405"/>
                </a:lnTo>
                <a:lnTo>
                  <a:pt x="252" y="405"/>
                </a:lnTo>
                <a:lnTo>
                  <a:pt x="252" y="407"/>
                </a:lnTo>
                <a:lnTo>
                  <a:pt x="248" y="407"/>
                </a:lnTo>
                <a:lnTo>
                  <a:pt x="248" y="408"/>
                </a:lnTo>
                <a:lnTo>
                  <a:pt x="245" y="408"/>
                </a:lnTo>
                <a:lnTo>
                  <a:pt x="243" y="405"/>
                </a:lnTo>
                <a:lnTo>
                  <a:pt x="243" y="403"/>
                </a:lnTo>
                <a:lnTo>
                  <a:pt x="242" y="402"/>
                </a:lnTo>
                <a:lnTo>
                  <a:pt x="240" y="402"/>
                </a:lnTo>
                <a:lnTo>
                  <a:pt x="238" y="403"/>
                </a:lnTo>
                <a:lnTo>
                  <a:pt x="237" y="402"/>
                </a:lnTo>
                <a:lnTo>
                  <a:pt x="235" y="400"/>
                </a:lnTo>
                <a:lnTo>
                  <a:pt x="233" y="398"/>
                </a:lnTo>
                <a:lnTo>
                  <a:pt x="231" y="398"/>
                </a:lnTo>
                <a:lnTo>
                  <a:pt x="231" y="396"/>
                </a:lnTo>
                <a:lnTo>
                  <a:pt x="231" y="395"/>
                </a:lnTo>
                <a:lnTo>
                  <a:pt x="230" y="395"/>
                </a:lnTo>
                <a:lnTo>
                  <a:pt x="228" y="393"/>
                </a:lnTo>
                <a:lnTo>
                  <a:pt x="228" y="395"/>
                </a:lnTo>
                <a:lnTo>
                  <a:pt x="226" y="395"/>
                </a:lnTo>
                <a:lnTo>
                  <a:pt x="226" y="391"/>
                </a:lnTo>
                <a:lnTo>
                  <a:pt x="225" y="388"/>
                </a:lnTo>
                <a:lnTo>
                  <a:pt x="225" y="386"/>
                </a:lnTo>
                <a:lnTo>
                  <a:pt x="223" y="385"/>
                </a:lnTo>
                <a:lnTo>
                  <a:pt x="221" y="385"/>
                </a:lnTo>
                <a:lnTo>
                  <a:pt x="218" y="386"/>
                </a:lnTo>
                <a:lnTo>
                  <a:pt x="216" y="386"/>
                </a:lnTo>
                <a:lnTo>
                  <a:pt x="214" y="386"/>
                </a:lnTo>
                <a:lnTo>
                  <a:pt x="213" y="388"/>
                </a:lnTo>
                <a:lnTo>
                  <a:pt x="211" y="390"/>
                </a:lnTo>
                <a:lnTo>
                  <a:pt x="213" y="391"/>
                </a:lnTo>
                <a:lnTo>
                  <a:pt x="211" y="393"/>
                </a:lnTo>
                <a:lnTo>
                  <a:pt x="209" y="395"/>
                </a:lnTo>
                <a:lnTo>
                  <a:pt x="209" y="396"/>
                </a:lnTo>
                <a:lnTo>
                  <a:pt x="211" y="396"/>
                </a:lnTo>
                <a:lnTo>
                  <a:pt x="213" y="398"/>
                </a:lnTo>
                <a:lnTo>
                  <a:pt x="211" y="398"/>
                </a:lnTo>
                <a:lnTo>
                  <a:pt x="209" y="396"/>
                </a:lnTo>
                <a:lnTo>
                  <a:pt x="209" y="398"/>
                </a:lnTo>
                <a:lnTo>
                  <a:pt x="211" y="400"/>
                </a:lnTo>
                <a:lnTo>
                  <a:pt x="211" y="402"/>
                </a:lnTo>
                <a:lnTo>
                  <a:pt x="209" y="402"/>
                </a:lnTo>
                <a:lnTo>
                  <a:pt x="208" y="402"/>
                </a:lnTo>
                <a:lnTo>
                  <a:pt x="208" y="403"/>
                </a:lnTo>
                <a:lnTo>
                  <a:pt x="209" y="405"/>
                </a:lnTo>
                <a:lnTo>
                  <a:pt x="209" y="408"/>
                </a:lnTo>
                <a:lnTo>
                  <a:pt x="211" y="410"/>
                </a:lnTo>
                <a:lnTo>
                  <a:pt x="211" y="413"/>
                </a:lnTo>
                <a:lnTo>
                  <a:pt x="211" y="415"/>
                </a:lnTo>
                <a:lnTo>
                  <a:pt x="213" y="417"/>
                </a:lnTo>
                <a:lnTo>
                  <a:pt x="211" y="419"/>
                </a:lnTo>
                <a:lnTo>
                  <a:pt x="211" y="417"/>
                </a:lnTo>
                <a:lnTo>
                  <a:pt x="211" y="415"/>
                </a:lnTo>
                <a:lnTo>
                  <a:pt x="209" y="413"/>
                </a:lnTo>
                <a:lnTo>
                  <a:pt x="208" y="413"/>
                </a:lnTo>
                <a:lnTo>
                  <a:pt x="206" y="412"/>
                </a:lnTo>
                <a:lnTo>
                  <a:pt x="206" y="413"/>
                </a:lnTo>
                <a:lnTo>
                  <a:pt x="204" y="412"/>
                </a:lnTo>
                <a:lnTo>
                  <a:pt x="203" y="410"/>
                </a:lnTo>
                <a:lnTo>
                  <a:pt x="203" y="407"/>
                </a:lnTo>
                <a:lnTo>
                  <a:pt x="204" y="408"/>
                </a:lnTo>
                <a:lnTo>
                  <a:pt x="204" y="405"/>
                </a:lnTo>
                <a:lnTo>
                  <a:pt x="203" y="405"/>
                </a:lnTo>
                <a:lnTo>
                  <a:pt x="204" y="403"/>
                </a:lnTo>
                <a:lnTo>
                  <a:pt x="203" y="403"/>
                </a:lnTo>
                <a:lnTo>
                  <a:pt x="203" y="402"/>
                </a:lnTo>
                <a:lnTo>
                  <a:pt x="201" y="402"/>
                </a:lnTo>
                <a:lnTo>
                  <a:pt x="203" y="400"/>
                </a:lnTo>
                <a:lnTo>
                  <a:pt x="201" y="400"/>
                </a:lnTo>
                <a:lnTo>
                  <a:pt x="203" y="396"/>
                </a:lnTo>
                <a:lnTo>
                  <a:pt x="199" y="396"/>
                </a:lnTo>
                <a:lnTo>
                  <a:pt x="199" y="395"/>
                </a:lnTo>
                <a:lnTo>
                  <a:pt x="197" y="391"/>
                </a:lnTo>
                <a:lnTo>
                  <a:pt x="196" y="391"/>
                </a:lnTo>
                <a:lnTo>
                  <a:pt x="196" y="390"/>
                </a:lnTo>
                <a:lnTo>
                  <a:pt x="192" y="388"/>
                </a:lnTo>
                <a:lnTo>
                  <a:pt x="192" y="386"/>
                </a:lnTo>
                <a:lnTo>
                  <a:pt x="191" y="385"/>
                </a:lnTo>
                <a:lnTo>
                  <a:pt x="189" y="383"/>
                </a:lnTo>
                <a:lnTo>
                  <a:pt x="187" y="385"/>
                </a:lnTo>
                <a:lnTo>
                  <a:pt x="184" y="383"/>
                </a:lnTo>
                <a:lnTo>
                  <a:pt x="186" y="383"/>
                </a:lnTo>
                <a:lnTo>
                  <a:pt x="186" y="379"/>
                </a:lnTo>
                <a:lnTo>
                  <a:pt x="186" y="378"/>
                </a:lnTo>
                <a:lnTo>
                  <a:pt x="184" y="376"/>
                </a:lnTo>
                <a:lnTo>
                  <a:pt x="182" y="376"/>
                </a:lnTo>
                <a:lnTo>
                  <a:pt x="180" y="376"/>
                </a:lnTo>
                <a:lnTo>
                  <a:pt x="179" y="376"/>
                </a:lnTo>
                <a:lnTo>
                  <a:pt x="177" y="378"/>
                </a:lnTo>
                <a:lnTo>
                  <a:pt x="175" y="378"/>
                </a:lnTo>
                <a:lnTo>
                  <a:pt x="174" y="379"/>
                </a:lnTo>
                <a:lnTo>
                  <a:pt x="172" y="381"/>
                </a:lnTo>
                <a:lnTo>
                  <a:pt x="172" y="383"/>
                </a:lnTo>
                <a:lnTo>
                  <a:pt x="174" y="385"/>
                </a:lnTo>
                <a:lnTo>
                  <a:pt x="174" y="386"/>
                </a:lnTo>
                <a:lnTo>
                  <a:pt x="174" y="390"/>
                </a:lnTo>
                <a:lnTo>
                  <a:pt x="174" y="391"/>
                </a:lnTo>
                <a:lnTo>
                  <a:pt x="175" y="393"/>
                </a:lnTo>
                <a:lnTo>
                  <a:pt x="177" y="393"/>
                </a:lnTo>
                <a:lnTo>
                  <a:pt x="175" y="395"/>
                </a:lnTo>
                <a:lnTo>
                  <a:pt x="175" y="396"/>
                </a:lnTo>
                <a:lnTo>
                  <a:pt x="174" y="398"/>
                </a:lnTo>
                <a:lnTo>
                  <a:pt x="172" y="400"/>
                </a:lnTo>
                <a:lnTo>
                  <a:pt x="172" y="398"/>
                </a:lnTo>
                <a:lnTo>
                  <a:pt x="170" y="396"/>
                </a:lnTo>
                <a:lnTo>
                  <a:pt x="169" y="395"/>
                </a:lnTo>
                <a:lnTo>
                  <a:pt x="165" y="395"/>
                </a:lnTo>
                <a:lnTo>
                  <a:pt x="165" y="396"/>
                </a:lnTo>
                <a:lnTo>
                  <a:pt x="163" y="395"/>
                </a:lnTo>
                <a:lnTo>
                  <a:pt x="162" y="395"/>
                </a:lnTo>
                <a:lnTo>
                  <a:pt x="160" y="393"/>
                </a:lnTo>
                <a:lnTo>
                  <a:pt x="160" y="391"/>
                </a:lnTo>
                <a:lnTo>
                  <a:pt x="160" y="390"/>
                </a:lnTo>
                <a:lnTo>
                  <a:pt x="160" y="388"/>
                </a:lnTo>
                <a:lnTo>
                  <a:pt x="160" y="386"/>
                </a:lnTo>
                <a:lnTo>
                  <a:pt x="158" y="385"/>
                </a:lnTo>
                <a:lnTo>
                  <a:pt x="157" y="386"/>
                </a:lnTo>
                <a:lnTo>
                  <a:pt x="158" y="385"/>
                </a:lnTo>
                <a:lnTo>
                  <a:pt x="157" y="381"/>
                </a:lnTo>
                <a:lnTo>
                  <a:pt x="155" y="381"/>
                </a:lnTo>
                <a:lnTo>
                  <a:pt x="153" y="379"/>
                </a:lnTo>
                <a:lnTo>
                  <a:pt x="152" y="378"/>
                </a:lnTo>
                <a:lnTo>
                  <a:pt x="152" y="376"/>
                </a:lnTo>
                <a:lnTo>
                  <a:pt x="152" y="374"/>
                </a:lnTo>
                <a:lnTo>
                  <a:pt x="150" y="371"/>
                </a:lnTo>
                <a:lnTo>
                  <a:pt x="150" y="369"/>
                </a:lnTo>
                <a:lnTo>
                  <a:pt x="152" y="368"/>
                </a:lnTo>
                <a:lnTo>
                  <a:pt x="153" y="366"/>
                </a:lnTo>
                <a:lnTo>
                  <a:pt x="155" y="364"/>
                </a:lnTo>
                <a:lnTo>
                  <a:pt x="155" y="361"/>
                </a:lnTo>
                <a:lnTo>
                  <a:pt x="155" y="359"/>
                </a:lnTo>
                <a:lnTo>
                  <a:pt x="155" y="356"/>
                </a:lnTo>
                <a:lnTo>
                  <a:pt x="153" y="354"/>
                </a:lnTo>
                <a:lnTo>
                  <a:pt x="152" y="352"/>
                </a:lnTo>
                <a:lnTo>
                  <a:pt x="150" y="349"/>
                </a:lnTo>
                <a:lnTo>
                  <a:pt x="148" y="347"/>
                </a:lnTo>
                <a:lnTo>
                  <a:pt x="146" y="345"/>
                </a:lnTo>
                <a:lnTo>
                  <a:pt x="145" y="344"/>
                </a:lnTo>
                <a:lnTo>
                  <a:pt x="143" y="342"/>
                </a:lnTo>
                <a:lnTo>
                  <a:pt x="140" y="340"/>
                </a:lnTo>
                <a:lnTo>
                  <a:pt x="138" y="340"/>
                </a:lnTo>
                <a:lnTo>
                  <a:pt x="135" y="339"/>
                </a:lnTo>
                <a:lnTo>
                  <a:pt x="133" y="337"/>
                </a:lnTo>
                <a:lnTo>
                  <a:pt x="131" y="337"/>
                </a:lnTo>
                <a:lnTo>
                  <a:pt x="129" y="340"/>
                </a:lnTo>
                <a:lnTo>
                  <a:pt x="129" y="337"/>
                </a:lnTo>
                <a:lnTo>
                  <a:pt x="129" y="335"/>
                </a:lnTo>
                <a:lnTo>
                  <a:pt x="129" y="333"/>
                </a:lnTo>
                <a:lnTo>
                  <a:pt x="128" y="332"/>
                </a:lnTo>
                <a:lnTo>
                  <a:pt x="126" y="330"/>
                </a:lnTo>
                <a:lnTo>
                  <a:pt x="126" y="328"/>
                </a:lnTo>
                <a:lnTo>
                  <a:pt x="123" y="328"/>
                </a:lnTo>
                <a:lnTo>
                  <a:pt x="121" y="327"/>
                </a:lnTo>
                <a:lnTo>
                  <a:pt x="119" y="327"/>
                </a:lnTo>
                <a:lnTo>
                  <a:pt x="118" y="327"/>
                </a:lnTo>
                <a:lnTo>
                  <a:pt x="116" y="327"/>
                </a:lnTo>
                <a:lnTo>
                  <a:pt x="116" y="325"/>
                </a:lnTo>
                <a:lnTo>
                  <a:pt x="116" y="322"/>
                </a:lnTo>
                <a:lnTo>
                  <a:pt x="116" y="320"/>
                </a:lnTo>
                <a:lnTo>
                  <a:pt x="118" y="320"/>
                </a:lnTo>
                <a:lnTo>
                  <a:pt x="119" y="320"/>
                </a:lnTo>
                <a:lnTo>
                  <a:pt x="121" y="318"/>
                </a:lnTo>
                <a:lnTo>
                  <a:pt x="123" y="316"/>
                </a:lnTo>
                <a:lnTo>
                  <a:pt x="124" y="313"/>
                </a:lnTo>
                <a:lnTo>
                  <a:pt x="124" y="315"/>
                </a:lnTo>
                <a:lnTo>
                  <a:pt x="126" y="313"/>
                </a:lnTo>
                <a:lnTo>
                  <a:pt x="124" y="313"/>
                </a:lnTo>
                <a:lnTo>
                  <a:pt x="124" y="311"/>
                </a:lnTo>
                <a:lnTo>
                  <a:pt x="126" y="310"/>
                </a:lnTo>
                <a:lnTo>
                  <a:pt x="126" y="308"/>
                </a:lnTo>
                <a:lnTo>
                  <a:pt x="126" y="306"/>
                </a:lnTo>
                <a:lnTo>
                  <a:pt x="128" y="305"/>
                </a:lnTo>
                <a:lnTo>
                  <a:pt x="128" y="303"/>
                </a:lnTo>
                <a:lnTo>
                  <a:pt x="126" y="301"/>
                </a:lnTo>
                <a:lnTo>
                  <a:pt x="126" y="298"/>
                </a:lnTo>
                <a:lnTo>
                  <a:pt x="129" y="299"/>
                </a:lnTo>
                <a:lnTo>
                  <a:pt x="131" y="298"/>
                </a:lnTo>
                <a:lnTo>
                  <a:pt x="133" y="299"/>
                </a:lnTo>
                <a:lnTo>
                  <a:pt x="136" y="301"/>
                </a:lnTo>
                <a:lnTo>
                  <a:pt x="138" y="301"/>
                </a:lnTo>
                <a:lnTo>
                  <a:pt x="141" y="301"/>
                </a:lnTo>
                <a:lnTo>
                  <a:pt x="141" y="299"/>
                </a:lnTo>
                <a:lnTo>
                  <a:pt x="145" y="299"/>
                </a:lnTo>
                <a:lnTo>
                  <a:pt x="145" y="298"/>
                </a:lnTo>
                <a:lnTo>
                  <a:pt x="146" y="294"/>
                </a:lnTo>
                <a:lnTo>
                  <a:pt x="146" y="293"/>
                </a:lnTo>
                <a:lnTo>
                  <a:pt x="146" y="289"/>
                </a:lnTo>
                <a:lnTo>
                  <a:pt x="148" y="288"/>
                </a:lnTo>
                <a:lnTo>
                  <a:pt x="152" y="286"/>
                </a:lnTo>
                <a:lnTo>
                  <a:pt x="152" y="284"/>
                </a:lnTo>
                <a:lnTo>
                  <a:pt x="153" y="286"/>
                </a:lnTo>
                <a:lnTo>
                  <a:pt x="155" y="286"/>
                </a:lnTo>
                <a:lnTo>
                  <a:pt x="158" y="284"/>
                </a:lnTo>
                <a:lnTo>
                  <a:pt x="160" y="286"/>
                </a:lnTo>
                <a:lnTo>
                  <a:pt x="162" y="286"/>
                </a:lnTo>
                <a:lnTo>
                  <a:pt x="162" y="288"/>
                </a:lnTo>
                <a:lnTo>
                  <a:pt x="165" y="288"/>
                </a:lnTo>
                <a:lnTo>
                  <a:pt x="165" y="289"/>
                </a:lnTo>
                <a:lnTo>
                  <a:pt x="167" y="288"/>
                </a:lnTo>
                <a:lnTo>
                  <a:pt x="169" y="289"/>
                </a:lnTo>
                <a:lnTo>
                  <a:pt x="170" y="291"/>
                </a:lnTo>
                <a:lnTo>
                  <a:pt x="174" y="291"/>
                </a:lnTo>
                <a:lnTo>
                  <a:pt x="174" y="293"/>
                </a:lnTo>
                <a:lnTo>
                  <a:pt x="177" y="293"/>
                </a:lnTo>
                <a:lnTo>
                  <a:pt x="180" y="293"/>
                </a:lnTo>
                <a:lnTo>
                  <a:pt x="180" y="291"/>
                </a:lnTo>
                <a:lnTo>
                  <a:pt x="182" y="293"/>
                </a:lnTo>
                <a:lnTo>
                  <a:pt x="184" y="294"/>
                </a:lnTo>
                <a:lnTo>
                  <a:pt x="187" y="294"/>
                </a:lnTo>
                <a:lnTo>
                  <a:pt x="191" y="293"/>
                </a:lnTo>
                <a:lnTo>
                  <a:pt x="194" y="294"/>
                </a:lnTo>
                <a:lnTo>
                  <a:pt x="196" y="294"/>
                </a:lnTo>
                <a:lnTo>
                  <a:pt x="197" y="296"/>
                </a:lnTo>
                <a:lnTo>
                  <a:pt x="199" y="296"/>
                </a:lnTo>
                <a:lnTo>
                  <a:pt x="201" y="296"/>
                </a:lnTo>
                <a:lnTo>
                  <a:pt x="201" y="298"/>
                </a:lnTo>
                <a:lnTo>
                  <a:pt x="204" y="298"/>
                </a:lnTo>
                <a:lnTo>
                  <a:pt x="206" y="299"/>
                </a:lnTo>
                <a:lnTo>
                  <a:pt x="208" y="299"/>
                </a:lnTo>
                <a:lnTo>
                  <a:pt x="209" y="303"/>
                </a:lnTo>
                <a:lnTo>
                  <a:pt x="211" y="303"/>
                </a:lnTo>
                <a:lnTo>
                  <a:pt x="213" y="303"/>
                </a:lnTo>
                <a:lnTo>
                  <a:pt x="214" y="303"/>
                </a:lnTo>
                <a:lnTo>
                  <a:pt x="216" y="303"/>
                </a:lnTo>
                <a:lnTo>
                  <a:pt x="218" y="303"/>
                </a:lnTo>
                <a:lnTo>
                  <a:pt x="218" y="301"/>
                </a:lnTo>
                <a:lnTo>
                  <a:pt x="220" y="301"/>
                </a:lnTo>
                <a:lnTo>
                  <a:pt x="220" y="299"/>
                </a:lnTo>
                <a:lnTo>
                  <a:pt x="216" y="298"/>
                </a:lnTo>
                <a:lnTo>
                  <a:pt x="214" y="298"/>
                </a:lnTo>
                <a:lnTo>
                  <a:pt x="213" y="298"/>
                </a:lnTo>
                <a:lnTo>
                  <a:pt x="211" y="298"/>
                </a:lnTo>
                <a:lnTo>
                  <a:pt x="213" y="294"/>
                </a:lnTo>
                <a:lnTo>
                  <a:pt x="214" y="294"/>
                </a:lnTo>
                <a:lnTo>
                  <a:pt x="216" y="294"/>
                </a:lnTo>
                <a:lnTo>
                  <a:pt x="216" y="293"/>
                </a:lnTo>
                <a:lnTo>
                  <a:pt x="220" y="293"/>
                </a:lnTo>
                <a:lnTo>
                  <a:pt x="221" y="294"/>
                </a:lnTo>
                <a:lnTo>
                  <a:pt x="221" y="293"/>
                </a:lnTo>
                <a:lnTo>
                  <a:pt x="223" y="293"/>
                </a:lnTo>
                <a:lnTo>
                  <a:pt x="226" y="293"/>
                </a:lnTo>
                <a:lnTo>
                  <a:pt x="228" y="291"/>
                </a:lnTo>
                <a:lnTo>
                  <a:pt x="231" y="288"/>
                </a:lnTo>
                <a:lnTo>
                  <a:pt x="230" y="286"/>
                </a:lnTo>
                <a:lnTo>
                  <a:pt x="228" y="288"/>
                </a:lnTo>
                <a:lnTo>
                  <a:pt x="228" y="286"/>
                </a:lnTo>
                <a:lnTo>
                  <a:pt x="231" y="286"/>
                </a:lnTo>
                <a:lnTo>
                  <a:pt x="231" y="284"/>
                </a:lnTo>
                <a:lnTo>
                  <a:pt x="230" y="284"/>
                </a:lnTo>
                <a:lnTo>
                  <a:pt x="228" y="284"/>
                </a:lnTo>
                <a:lnTo>
                  <a:pt x="225" y="284"/>
                </a:lnTo>
                <a:lnTo>
                  <a:pt x="226" y="282"/>
                </a:lnTo>
                <a:lnTo>
                  <a:pt x="225" y="282"/>
                </a:lnTo>
                <a:lnTo>
                  <a:pt x="223" y="282"/>
                </a:lnTo>
                <a:lnTo>
                  <a:pt x="223" y="284"/>
                </a:lnTo>
                <a:lnTo>
                  <a:pt x="221" y="284"/>
                </a:lnTo>
                <a:lnTo>
                  <a:pt x="220" y="284"/>
                </a:lnTo>
                <a:lnTo>
                  <a:pt x="221" y="284"/>
                </a:lnTo>
                <a:lnTo>
                  <a:pt x="220" y="282"/>
                </a:lnTo>
                <a:lnTo>
                  <a:pt x="216" y="282"/>
                </a:lnTo>
                <a:lnTo>
                  <a:pt x="214" y="282"/>
                </a:lnTo>
                <a:lnTo>
                  <a:pt x="213" y="284"/>
                </a:lnTo>
                <a:lnTo>
                  <a:pt x="214" y="284"/>
                </a:lnTo>
                <a:lnTo>
                  <a:pt x="216" y="284"/>
                </a:lnTo>
                <a:lnTo>
                  <a:pt x="213" y="284"/>
                </a:lnTo>
                <a:lnTo>
                  <a:pt x="213" y="286"/>
                </a:lnTo>
                <a:lnTo>
                  <a:pt x="211" y="282"/>
                </a:lnTo>
                <a:lnTo>
                  <a:pt x="209" y="282"/>
                </a:lnTo>
                <a:lnTo>
                  <a:pt x="208" y="284"/>
                </a:lnTo>
                <a:lnTo>
                  <a:pt x="206" y="284"/>
                </a:lnTo>
                <a:lnTo>
                  <a:pt x="204" y="284"/>
                </a:lnTo>
                <a:lnTo>
                  <a:pt x="204" y="282"/>
                </a:lnTo>
                <a:lnTo>
                  <a:pt x="206" y="281"/>
                </a:lnTo>
                <a:lnTo>
                  <a:pt x="203" y="279"/>
                </a:lnTo>
                <a:lnTo>
                  <a:pt x="201" y="279"/>
                </a:lnTo>
                <a:lnTo>
                  <a:pt x="199" y="279"/>
                </a:lnTo>
                <a:lnTo>
                  <a:pt x="197" y="277"/>
                </a:lnTo>
                <a:lnTo>
                  <a:pt x="199" y="276"/>
                </a:lnTo>
                <a:lnTo>
                  <a:pt x="197" y="276"/>
                </a:lnTo>
                <a:lnTo>
                  <a:pt x="196" y="274"/>
                </a:lnTo>
                <a:lnTo>
                  <a:pt x="194" y="276"/>
                </a:lnTo>
                <a:lnTo>
                  <a:pt x="196" y="276"/>
                </a:lnTo>
                <a:lnTo>
                  <a:pt x="196" y="277"/>
                </a:lnTo>
                <a:lnTo>
                  <a:pt x="194" y="276"/>
                </a:lnTo>
                <a:lnTo>
                  <a:pt x="194" y="277"/>
                </a:lnTo>
                <a:lnTo>
                  <a:pt x="192" y="279"/>
                </a:lnTo>
                <a:lnTo>
                  <a:pt x="194" y="279"/>
                </a:lnTo>
                <a:lnTo>
                  <a:pt x="194" y="282"/>
                </a:lnTo>
                <a:lnTo>
                  <a:pt x="192" y="282"/>
                </a:lnTo>
                <a:lnTo>
                  <a:pt x="191" y="281"/>
                </a:lnTo>
                <a:lnTo>
                  <a:pt x="189" y="279"/>
                </a:lnTo>
                <a:lnTo>
                  <a:pt x="191" y="277"/>
                </a:lnTo>
                <a:lnTo>
                  <a:pt x="189" y="277"/>
                </a:lnTo>
                <a:lnTo>
                  <a:pt x="187" y="276"/>
                </a:lnTo>
                <a:lnTo>
                  <a:pt x="186" y="274"/>
                </a:lnTo>
                <a:lnTo>
                  <a:pt x="184" y="272"/>
                </a:lnTo>
                <a:lnTo>
                  <a:pt x="182" y="272"/>
                </a:lnTo>
                <a:lnTo>
                  <a:pt x="182" y="274"/>
                </a:lnTo>
                <a:lnTo>
                  <a:pt x="180" y="276"/>
                </a:lnTo>
                <a:lnTo>
                  <a:pt x="182" y="277"/>
                </a:lnTo>
                <a:lnTo>
                  <a:pt x="182" y="279"/>
                </a:lnTo>
                <a:lnTo>
                  <a:pt x="182" y="281"/>
                </a:lnTo>
                <a:lnTo>
                  <a:pt x="180" y="279"/>
                </a:lnTo>
                <a:lnTo>
                  <a:pt x="179" y="281"/>
                </a:lnTo>
                <a:lnTo>
                  <a:pt x="177" y="279"/>
                </a:lnTo>
                <a:lnTo>
                  <a:pt x="177" y="281"/>
                </a:lnTo>
                <a:lnTo>
                  <a:pt x="174" y="279"/>
                </a:lnTo>
                <a:lnTo>
                  <a:pt x="174" y="281"/>
                </a:lnTo>
                <a:lnTo>
                  <a:pt x="174" y="279"/>
                </a:lnTo>
                <a:lnTo>
                  <a:pt x="172" y="282"/>
                </a:lnTo>
                <a:lnTo>
                  <a:pt x="170" y="282"/>
                </a:lnTo>
                <a:lnTo>
                  <a:pt x="170" y="281"/>
                </a:lnTo>
                <a:lnTo>
                  <a:pt x="169" y="281"/>
                </a:lnTo>
                <a:lnTo>
                  <a:pt x="167" y="281"/>
                </a:lnTo>
                <a:lnTo>
                  <a:pt x="165" y="281"/>
                </a:lnTo>
                <a:lnTo>
                  <a:pt x="163" y="279"/>
                </a:lnTo>
                <a:lnTo>
                  <a:pt x="162" y="279"/>
                </a:lnTo>
                <a:lnTo>
                  <a:pt x="160" y="279"/>
                </a:lnTo>
                <a:lnTo>
                  <a:pt x="158" y="279"/>
                </a:lnTo>
                <a:lnTo>
                  <a:pt x="157" y="279"/>
                </a:lnTo>
                <a:lnTo>
                  <a:pt x="155" y="281"/>
                </a:lnTo>
                <a:lnTo>
                  <a:pt x="153" y="282"/>
                </a:lnTo>
                <a:lnTo>
                  <a:pt x="152" y="282"/>
                </a:lnTo>
                <a:lnTo>
                  <a:pt x="150" y="281"/>
                </a:lnTo>
                <a:lnTo>
                  <a:pt x="148" y="282"/>
                </a:lnTo>
                <a:lnTo>
                  <a:pt x="148" y="284"/>
                </a:lnTo>
                <a:lnTo>
                  <a:pt x="148" y="286"/>
                </a:lnTo>
                <a:lnTo>
                  <a:pt x="145" y="286"/>
                </a:lnTo>
                <a:lnTo>
                  <a:pt x="143" y="286"/>
                </a:lnTo>
                <a:lnTo>
                  <a:pt x="140" y="286"/>
                </a:lnTo>
                <a:lnTo>
                  <a:pt x="138" y="288"/>
                </a:lnTo>
                <a:lnTo>
                  <a:pt x="136" y="288"/>
                </a:lnTo>
                <a:lnTo>
                  <a:pt x="135" y="289"/>
                </a:lnTo>
                <a:lnTo>
                  <a:pt x="133" y="291"/>
                </a:lnTo>
                <a:lnTo>
                  <a:pt x="129" y="289"/>
                </a:lnTo>
                <a:lnTo>
                  <a:pt x="128" y="289"/>
                </a:lnTo>
                <a:lnTo>
                  <a:pt x="128" y="288"/>
                </a:lnTo>
                <a:lnTo>
                  <a:pt x="126" y="286"/>
                </a:lnTo>
                <a:lnTo>
                  <a:pt x="124" y="286"/>
                </a:lnTo>
                <a:lnTo>
                  <a:pt x="124" y="284"/>
                </a:lnTo>
                <a:lnTo>
                  <a:pt x="124" y="281"/>
                </a:lnTo>
                <a:lnTo>
                  <a:pt x="123" y="281"/>
                </a:lnTo>
                <a:lnTo>
                  <a:pt x="121" y="279"/>
                </a:lnTo>
                <a:lnTo>
                  <a:pt x="119" y="279"/>
                </a:lnTo>
                <a:lnTo>
                  <a:pt x="123" y="281"/>
                </a:lnTo>
                <a:lnTo>
                  <a:pt x="123" y="282"/>
                </a:lnTo>
                <a:lnTo>
                  <a:pt x="124" y="284"/>
                </a:lnTo>
                <a:lnTo>
                  <a:pt x="124" y="286"/>
                </a:lnTo>
                <a:lnTo>
                  <a:pt x="126" y="286"/>
                </a:lnTo>
                <a:lnTo>
                  <a:pt x="128" y="288"/>
                </a:lnTo>
                <a:lnTo>
                  <a:pt x="128" y="289"/>
                </a:lnTo>
                <a:lnTo>
                  <a:pt x="128" y="288"/>
                </a:lnTo>
                <a:lnTo>
                  <a:pt x="126" y="286"/>
                </a:lnTo>
                <a:lnTo>
                  <a:pt x="124" y="286"/>
                </a:lnTo>
                <a:lnTo>
                  <a:pt x="124" y="284"/>
                </a:lnTo>
                <a:lnTo>
                  <a:pt x="123" y="282"/>
                </a:lnTo>
                <a:lnTo>
                  <a:pt x="123" y="286"/>
                </a:lnTo>
                <a:lnTo>
                  <a:pt x="121" y="288"/>
                </a:lnTo>
                <a:lnTo>
                  <a:pt x="121" y="291"/>
                </a:lnTo>
                <a:lnTo>
                  <a:pt x="121" y="289"/>
                </a:lnTo>
                <a:lnTo>
                  <a:pt x="121" y="288"/>
                </a:lnTo>
                <a:lnTo>
                  <a:pt x="119" y="288"/>
                </a:lnTo>
                <a:lnTo>
                  <a:pt x="119" y="289"/>
                </a:lnTo>
                <a:lnTo>
                  <a:pt x="118" y="291"/>
                </a:lnTo>
                <a:lnTo>
                  <a:pt x="118" y="293"/>
                </a:lnTo>
                <a:lnTo>
                  <a:pt x="119" y="293"/>
                </a:lnTo>
                <a:lnTo>
                  <a:pt x="121" y="293"/>
                </a:lnTo>
                <a:lnTo>
                  <a:pt x="118" y="293"/>
                </a:lnTo>
                <a:lnTo>
                  <a:pt x="116" y="293"/>
                </a:lnTo>
                <a:lnTo>
                  <a:pt x="114" y="294"/>
                </a:lnTo>
                <a:lnTo>
                  <a:pt x="112" y="294"/>
                </a:lnTo>
                <a:lnTo>
                  <a:pt x="112" y="291"/>
                </a:lnTo>
                <a:lnTo>
                  <a:pt x="111" y="291"/>
                </a:lnTo>
                <a:lnTo>
                  <a:pt x="111" y="289"/>
                </a:lnTo>
                <a:lnTo>
                  <a:pt x="109" y="289"/>
                </a:lnTo>
                <a:lnTo>
                  <a:pt x="109" y="288"/>
                </a:lnTo>
                <a:lnTo>
                  <a:pt x="111" y="289"/>
                </a:lnTo>
                <a:lnTo>
                  <a:pt x="111" y="288"/>
                </a:lnTo>
                <a:lnTo>
                  <a:pt x="111" y="286"/>
                </a:lnTo>
                <a:lnTo>
                  <a:pt x="112" y="286"/>
                </a:lnTo>
                <a:lnTo>
                  <a:pt x="111" y="286"/>
                </a:lnTo>
                <a:lnTo>
                  <a:pt x="111" y="284"/>
                </a:lnTo>
                <a:lnTo>
                  <a:pt x="109" y="284"/>
                </a:lnTo>
                <a:lnTo>
                  <a:pt x="109" y="282"/>
                </a:lnTo>
                <a:lnTo>
                  <a:pt x="107" y="281"/>
                </a:lnTo>
                <a:lnTo>
                  <a:pt x="109" y="281"/>
                </a:lnTo>
                <a:lnTo>
                  <a:pt x="107" y="281"/>
                </a:lnTo>
                <a:lnTo>
                  <a:pt x="107" y="277"/>
                </a:lnTo>
                <a:lnTo>
                  <a:pt x="106" y="281"/>
                </a:lnTo>
                <a:lnTo>
                  <a:pt x="104" y="281"/>
                </a:lnTo>
                <a:lnTo>
                  <a:pt x="102" y="279"/>
                </a:lnTo>
                <a:lnTo>
                  <a:pt x="104" y="279"/>
                </a:lnTo>
                <a:lnTo>
                  <a:pt x="102" y="277"/>
                </a:lnTo>
                <a:lnTo>
                  <a:pt x="104" y="277"/>
                </a:lnTo>
                <a:lnTo>
                  <a:pt x="104" y="274"/>
                </a:lnTo>
                <a:lnTo>
                  <a:pt x="102" y="274"/>
                </a:lnTo>
                <a:lnTo>
                  <a:pt x="102" y="272"/>
                </a:lnTo>
                <a:lnTo>
                  <a:pt x="101" y="271"/>
                </a:lnTo>
                <a:lnTo>
                  <a:pt x="101" y="269"/>
                </a:lnTo>
                <a:lnTo>
                  <a:pt x="99" y="269"/>
                </a:lnTo>
                <a:lnTo>
                  <a:pt x="97" y="269"/>
                </a:lnTo>
                <a:lnTo>
                  <a:pt x="95" y="267"/>
                </a:lnTo>
                <a:lnTo>
                  <a:pt x="94" y="265"/>
                </a:lnTo>
                <a:lnTo>
                  <a:pt x="94" y="264"/>
                </a:lnTo>
                <a:lnTo>
                  <a:pt x="94" y="262"/>
                </a:lnTo>
                <a:lnTo>
                  <a:pt x="92" y="260"/>
                </a:lnTo>
                <a:lnTo>
                  <a:pt x="90" y="262"/>
                </a:lnTo>
                <a:lnTo>
                  <a:pt x="89" y="264"/>
                </a:lnTo>
                <a:lnTo>
                  <a:pt x="87" y="265"/>
                </a:lnTo>
                <a:lnTo>
                  <a:pt x="87" y="262"/>
                </a:lnTo>
                <a:lnTo>
                  <a:pt x="85" y="262"/>
                </a:lnTo>
                <a:lnTo>
                  <a:pt x="85" y="259"/>
                </a:lnTo>
                <a:lnTo>
                  <a:pt x="84" y="259"/>
                </a:lnTo>
                <a:lnTo>
                  <a:pt x="84" y="260"/>
                </a:lnTo>
                <a:lnTo>
                  <a:pt x="84" y="259"/>
                </a:lnTo>
                <a:lnTo>
                  <a:pt x="85" y="257"/>
                </a:lnTo>
                <a:lnTo>
                  <a:pt x="84" y="259"/>
                </a:lnTo>
                <a:lnTo>
                  <a:pt x="85" y="257"/>
                </a:lnTo>
                <a:lnTo>
                  <a:pt x="89" y="257"/>
                </a:lnTo>
                <a:lnTo>
                  <a:pt x="87" y="257"/>
                </a:lnTo>
                <a:lnTo>
                  <a:pt x="87" y="255"/>
                </a:lnTo>
                <a:lnTo>
                  <a:pt x="84" y="254"/>
                </a:lnTo>
                <a:lnTo>
                  <a:pt x="85" y="250"/>
                </a:lnTo>
                <a:lnTo>
                  <a:pt x="87" y="252"/>
                </a:lnTo>
                <a:lnTo>
                  <a:pt x="89" y="254"/>
                </a:lnTo>
                <a:lnTo>
                  <a:pt x="90" y="252"/>
                </a:lnTo>
                <a:lnTo>
                  <a:pt x="90" y="250"/>
                </a:lnTo>
                <a:lnTo>
                  <a:pt x="90" y="252"/>
                </a:lnTo>
                <a:lnTo>
                  <a:pt x="92" y="252"/>
                </a:lnTo>
                <a:lnTo>
                  <a:pt x="90" y="252"/>
                </a:lnTo>
                <a:lnTo>
                  <a:pt x="94" y="252"/>
                </a:lnTo>
                <a:lnTo>
                  <a:pt x="94" y="250"/>
                </a:lnTo>
                <a:lnTo>
                  <a:pt x="95" y="250"/>
                </a:lnTo>
                <a:lnTo>
                  <a:pt x="97" y="250"/>
                </a:lnTo>
                <a:lnTo>
                  <a:pt x="97" y="252"/>
                </a:lnTo>
                <a:lnTo>
                  <a:pt x="99" y="250"/>
                </a:lnTo>
                <a:lnTo>
                  <a:pt x="99" y="252"/>
                </a:lnTo>
                <a:lnTo>
                  <a:pt x="102" y="254"/>
                </a:lnTo>
                <a:lnTo>
                  <a:pt x="104" y="255"/>
                </a:lnTo>
                <a:lnTo>
                  <a:pt x="104" y="252"/>
                </a:lnTo>
                <a:lnTo>
                  <a:pt x="104" y="250"/>
                </a:lnTo>
                <a:lnTo>
                  <a:pt x="107" y="252"/>
                </a:lnTo>
                <a:lnTo>
                  <a:pt x="109" y="254"/>
                </a:lnTo>
                <a:lnTo>
                  <a:pt x="107" y="250"/>
                </a:lnTo>
                <a:lnTo>
                  <a:pt x="106" y="250"/>
                </a:lnTo>
                <a:lnTo>
                  <a:pt x="106" y="247"/>
                </a:lnTo>
                <a:lnTo>
                  <a:pt x="106" y="245"/>
                </a:lnTo>
                <a:lnTo>
                  <a:pt x="106" y="243"/>
                </a:lnTo>
                <a:lnTo>
                  <a:pt x="104" y="242"/>
                </a:lnTo>
                <a:lnTo>
                  <a:pt x="101" y="242"/>
                </a:lnTo>
                <a:lnTo>
                  <a:pt x="101" y="243"/>
                </a:lnTo>
                <a:lnTo>
                  <a:pt x="101" y="242"/>
                </a:lnTo>
                <a:lnTo>
                  <a:pt x="99" y="243"/>
                </a:lnTo>
                <a:lnTo>
                  <a:pt x="101" y="243"/>
                </a:lnTo>
                <a:lnTo>
                  <a:pt x="99" y="243"/>
                </a:lnTo>
                <a:lnTo>
                  <a:pt x="101" y="243"/>
                </a:lnTo>
                <a:lnTo>
                  <a:pt x="99" y="243"/>
                </a:lnTo>
                <a:lnTo>
                  <a:pt x="97" y="245"/>
                </a:lnTo>
                <a:lnTo>
                  <a:pt x="95" y="243"/>
                </a:lnTo>
                <a:lnTo>
                  <a:pt x="94" y="243"/>
                </a:lnTo>
                <a:lnTo>
                  <a:pt x="94" y="242"/>
                </a:lnTo>
                <a:lnTo>
                  <a:pt x="90" y="242"/>
                </a:lnTo>
                <a:lnTo>
                  <a:pt x="90" y="243"/>
                </a:lnTo>
                <a:lnTo>
                  <a:pt x="92" y="243"/>
                </a:lnTo>
                <a:lnTo>
                  <a:pt x="94" y="245"/>
                </a:lnTo>
                <a:lnTo>
                  <a:pt x="94" y="243"/>
                </a:lnTo>
                <a:lnTo>
                  <a:pt x="94" y="245"/>
                </a:lnTo>
                <a:lnTo>
                  <a:pt x="92" y="243"/>
                </a:lnTo>
                <a:lnTo>
                  <a:pt x="89" y="245"/>
                </a:lnTo>
                <a:lnTo>
                  <a:pt x="89" y="242"/>
                </a:lnTo>
                <a:lnTo>
                  <a:pt x="87" y="242"/>
                </a:lnTo>
                <a:lnTo>
                  <a:pt x="87" y="240"/>
                </a:lnTo>
                <a:lnTo>
                  <a:pt x="87" y="238"/>
                </a:lnTo>
                <a:lnTo>
                  <a:pt x="85" y="240"/>
                </a:lnTo>
                <a:lnTo>
                  <a:pt x="85" y="242"/>
                </a:lnTo>
                <a:lnTo>
                  <a:pt x="84" y="242"/>
                </a:lnTo>
                <a:lnTo>
                  <a:pt x="87" y="242"/>
                </a:lnTo>
                <a:lnTo>
                  <a:pt x="85" y="243"/>
                </a:lnTo>
                <a:lnTo>
                  <a:pt x="87" y="243"/>
                </a:lnTo>
                <a:lnTo>
                  <a:pt x="89" y="245"/>
                </a:lnTo>
                <a:lnTo>
                  <a:pt x="87" y="245"/>
                </a:lnTo>
                <a:lnTo>
                  <a:pt x="87" y="243"/>
                </a:lnTo>
                <a:lnTo>
                  <a:pt x="85" y="243"/>
                </a:lnTo>
                <a:lnTo>
                  <a:pt x="84" y="245"/>
                </a:lnTo>
                <a:lnTo>
                  <a:pt x="84" y="247"/>
                </a:lnTo>
                <a:lnTo>
                  <a:pt x="85" y="248"/>
                </a:lnTo>
                <a:lnTo>
                  <a:pt x="85" y="247"/>
                </a:lnTo>
                <a:lnTo>
                  <a:pt x="87" y="248"/>
                </a:lnTo>
                <a:lnTo>
                  <a:pt x="89" y="248"/>
                </a:lnTo>
                <a:lnTo>
                  <a:pt x="89" y="250"/>
                </a:lnTo>
                <a:lnTo>
                  <a:pt x="85" y="248"/>
                </a:lnTo>
                <a:lnTo>
                  <a:pt x="85" y="250"/>
                </a:lnTo>
                <a:lnTo>
                  <a:pt x="84" y="248"/>
                </a:lnTo>
                <a:lnTo>
                  <a:pt x="85" y="250"/>
                </a:lnTo>
                <a:lnTo>
                  <a:pt x="84" y="252"/>
                </a:lnTo>
                <a:lnTo>
                  <a:pt x="82" y="250"/>
                </a:lnTo>
                <a:lnTo>
                  <a:pt x="80" y="248"/>
                </a:lnTo>
                <a:lnTo>
                  <a:pt x="82" y="247"/>
                </a:lnTo>
                <a:lnTo>
                  <a:pt x="80" y="245"/>
                </a:lnTo>
                <a:lnTo>
                  <a:pt x="80" y="243"/>
                </a:lnTo>
                <a:lnTo>
                  <a:pt x="78" y="242"/>
                </a:lnTo>
                <a:lnTo>
                  <a:pt x="77" y="242"/>
                </a:lnTo>
                <a:lnTo>
                  <a:pt x="73" y="240"/>
                </a:lnTo>
                <a:lnTo>
                  <a:pt x="72" y="238"/>
                </a:lnTo>
                <a:lnTo>
                  <a:pt x="70" y="237"/>
                </a:lnTo>
                <a:lnTo>
                  <a:pt x="67" y="235"/>
                </a:lnTo>
                <a:lnTo>
                  <a:pt x="67" y="233"/>
                </a:lnTo>
                <a:lnTo>
                  <a:pt x="65" y="231"/>
                </a:lnTo>
                <a:lnTo>
                  <a:pt x="67" y="230"/>
                </a:lnTo>
                <a:lnTo>
                  <a:pt x="65" y="231"/>
                </a:lnTo>
                <a:lnTo>
                  <a:pt x="63" y="230"/>
                </a:lnTo>
                <a:lnTo>
                  <a:pt x="63" y="231"/>
                </a:lnTo>
                <a:lnTo>
                  <a:pt x="61" y="230"/>
                </a:lnTo>
                <a:lnTo>
                  <a:pt x="58" y="231"/>
                </a:lnTo>
                <a:lnTo>
                  <a:pt x="58" y="230"/>
                </a:lnTo>
                <a:lnTo>
                  <a:pt x="56" y="230"/>
                </a:lnTo>
                <a:lnTo>
                  <a:pt x="55" y="228"/>
                </a:lnTo>
                <a:lnTo>
                  <a:pt x="53" y="225"/>
                </a:lnTo>
                <a:lnTo>
                  <a:pt x="55" y="225"/>
                </a:lnTo>
                <a:lnTo>
                  <a:pt x="51" y="223"/>
                </a:lnTo>
                <a:lnTo>
                  <a:pt x="50" y="220"/>
                </a:lnTo>
                <a:lnTo>
                  <a:pt x="51" y="220"/>
                </a:lnTo>
                <a:lnTo>
                  <a:pt x="53" y="220"/>
                </a:lnTo>
                <a:lnTo>
                  <a:pt x="51" y="218"/>
                </a:lnTo>
                <a:lnTo>
                  <a:pt x="50" y="216"/>
                </a:lnTo>
                <a:lnTo>
                  <a:pt x="51" y="218"/>
                </a:lnTo>
                <a:lnTo>
                  <a:pt x="51" y="216"/>
                </a:lnTo>
                <a:lnTo>
                  <a:pt x="50" y="214"/>
                </a:lnTo>
                <a:lnTo>
                  <a:pt x="50" y="216"/>
                </a:lnTo>
                <a:lnTo>
                  <a:pt x="46" y="216"/>
                </a:lnTo>
                <a:lnTo>
                  <a:pt x="46" y="214"/>
                </a:lnTo>
                <a:lnTo>
                  <a:pt x="48" y="214"/>
                </a:lnTo>
                <a:lnTo>
                  <a:pt x="44" y="214"/>
                </a:lnTo>
                <a:lnTo>
                  <a:pt x="46" y="213"/>
                </a:lnTo>
                <a:lnTo>
                  <a:pt x="46" y="211"/>
                </a:lnTo>
                <a:lnTo>
                  <a:pt x="44" y="211"/>
                </a:lnTo>
                <a:lnTo>
                  <a:pt x="46" y="209"/>
                </a:lnTo>
                <a:lnTo>
                  <a:pt x="46" y="208"/>
                </a:lnTo>
                <a:lnTo>
                  <a:pt x="44" y="208"/>
                </a:lnTo>
                <a:lnTo>
                  <a:pt x="43" y="206"/>
                </a:lnTo>
                <a:lnTo>
                  <a:pt x="41" y="206"/>
                </a:lnTo>
                <a:lnTo>
                  <a:pt x="39" y="204"/>
                </a:lnTo>
                <a:lnTo>
                  <a:pt x="38" y="206"/>
                </a:lnTo>
                <a:lnTo>
                  <a:pt x="36" y="204"/>
                </a:lnTo>
                <a:lnTo>
                  <a:pt x="38" y="204"/>
                </a:lnTo>
                <a:lnTo>
                  <a:pt x="41" y="204"/>
                </a:lnTo>
                <a:lnTo>
                  <a:pt x="43" y="206"/>
                </a:lnTo>
                <a:lnTo>
                  <a:pt x="44" y="206"/>
                </a:lnTo>
                <a:lnTo>
                  <a:pt x="46" y="206"/>
                </a:lnTo>
                <a:lnTo>
                  <a:pt x="48" y="206"/>
                </a:lnTo>
                <a:lnTo>
                  <a:pt x="48" y="202"/>
                </a:lnTo>
                <a:lnTo>
                  <a:pt x="50" y="204"/>
                </a:lnTo>
                <a:lnTo>
                  <a:pt x="50" y="202"/>
                </a:lnTo>
                <a:lnTo>
                  <a:pt x="51" y="201"/>
                </a:lnTo>
                <a:lnTo>
                  <a:pt x="53" y="199"/>
                </a:lnTo>
                <a:lnTo>
                  <a:pt x="51" y="197"/>
                </a:lnTo>
                <a:lnTo>
                  <a:pt x="51" y="196"/>
                </a:lnTo>
                <a:lnTo>
                  <a:pt x="50" y="194"/>
                </a:lnTo>
                <a:lnTo>
                  <a:pt x="51" y="194"/>
                </a:lnTo>
                <a:lnTo>
                  <a:pt x="53" y="194"/>
                </a:lnTo>
                <a:lnTo>
                  <a:pt x="55" y="196"/>
                </a:lnTo>
                <a:lnTo>
                  <a:pt x="56" y="192"/>
                </a:lnTo>
                <a:lnTo>
                  <a:pt x="56" y="191"/>
                </a:lnTo>
                <a:lnTo>
                  <a:pt x="55" y="189"/>
                </a:lnTo>
                <a:lnTo>
                  <a:pt x="55" y="187"/>
                </a:lnTo>
                <a:lnTo>
                  <a:pt x="53" y="185"/>
                </a:lnTo>
                <a:lnTo>
                  <a:pt x="51" y="185"/>
                </a:lnTo>
                <a:lnTo>
                  <a:pt x="51" y="184"/>
                </a:lnTo>
                <a:lnTo>
                  <a:pt x="50" y="182"/>
                </a:lnTo>
                <a:lnTo>
                  <a:pt x="50" y="180"/>
                </a:lnTo>
                <a:lnTo>
                  <a:pt x="53" y="180"/>
                </a:lnTo>
                <a:lnTo>
                  <a:pt x="55" y="180"/>
                </a:lnTo>
                <a:lnTo>
                  <a:pt x="53" y="179"/>
                </a:lnTo>
                <a:lnTo>
                  <a:pt x="55" y="177"/>
                </a:lnTo>
                <a:lnTo>
                  <a:pt x="55" y="175"/>
                </a:lnTo>
                <a:lnTo>
                  <a:pt x="56" y="174"/>
                </a:lnTo>
                <a:lnTo>
                  <a:pt x="58" y="174"/>
                </a:lnTo>
                <a:lnTo>
                  <a:pt x="60" y="172"/>
                </a:lnTo>
                <a:lnTo>
                  <a:pt x="61" y="174"/>
                </a:lnTo>
                <a:lnTo>
                  <a:pt x="63" y="174"/>
                </a:lnTo>
                <a:lnTo>
                  <a:pt x="65" y="174"/>
                </a:lnTo>
                <a:lnTo>
                  <a:pt x="65" y="172"/>
                </a:lnTo>
                <a:lnTo>
                  <a:pt x="68" y="170"/>
                </a:lnTo>
                <a:lnTo>
                  <a:pt x="68" y="168"/>
                </a:lnTo>
                <a:lnTo>
                  <a:pt x="68" y="167"/>
                </a:lnTo>
                <a:lnTo>
                  <a:pt x="67" y="165"/>
                </a:lnTo>
                <a:lnTo>
                  <a:pt x="67" y="163"/>
                </a:lnTo>
                <a:lnTo>
                  <a:pt x="68" y="163"/>
                </a:lnTo>
                <a:lnTo>
                  <a:pt x="70" y="162"/>
                </a:lnTo>
                <a:lnTo>
                  <a:pt x="68" y="158"/>
                </a:lnTo>
                <a:lnTo>
                  <a:pt x="68" y="157"/>
                </a:lnTo>
                <a:lnTo>
                  <a:pt x="68" y="155"/>
                </a:lnTo>
                <a:lnTo>
                  <a:pt x="70" y="153"/>
                </a:lnTo>
                <a:lnTo>
                  <a:pt x="72" y="151"/>
                </a:lnTo>
                <a:lnTo>
                  <a:pt x="70" y="148"/>
                </a:lnTo>
                <a:lnTo>
                  <a:pt x="72" y="146"/>
                </a:lnTo>
                <a:lnTo>
                  <a:pt x="70" y="146"/>
                </a:lnTo>
                <a:lnTo>
                  <a:pt x="72" y="145"/>
                </a:lnTo>
                <a:lnTo>
                  <a:pt x="73" y="141"/>
                </a:lnTo>
                <a:lnTo>
                  <a:pt x="75" y="143"/>
                </a:lnTo>
                <a:lnTo>
                  <a:pt x="77" y="141"/>
                </a:lnTo>
                <a:lnTo>
                  <a:pt x="78" y="143"/>
                </a:lnTo>
                <a:lnTo>
                  <a:pt x="78" y="141"/>
                </a:lnTo>
                <a:lnTo>
                  <a:pt x="80" y="140"/>
                </a:lnTo>
                <a:lnTo>
                  <a:pt x="78" y="138"/>
                </a:lnTo>
                <a:lnTo>
                  <a:pt x="80" y="136"/>
                </a:lnTo>
                <a:lnTo>
                  <a:pt x="84" y="134"/>
                </a:lnTo>
                <a:lnTo>
                  <a:pt x="82" y="131"/>
                </a:lnTo>
                <a:lnTo>
                  <a:pt x="84" y="131"/>
                </a:lnTo>
                <a:lnTo>
                  <a:pt x="82" y="129"/>
                </a:lnTo>
                <a:lnTo>
                  <a:pt x="82" y="128"/>
                </a:lnTo>
                <a:lnTo>
                  <a:pt x="82" y="126"/>
                </a:lnTo>
                <a:lnTo>
                  <a:pt x="80" y="124"/>
                </a:lnTo>
                <a:lnTo>
                  <a:pt x="78" y="123"/>
                </a:lnTo>
                <a:lnTo>
                  <a:pt x="77" y="121"/>
                </a:lnTo>
                <a:lnTo>
                  <a:pt x="75" y="121"/>
                </a:lnTo>
                <a:lnTo>
                  <a:pt x="77" y="119"/>
                </a:lnTo>
                <a:lnTo>
                  <a:pt x="77" y="117"/>
                </a:lnTo>
                <a:lnTo>
                  <a:pt x="77" y="116"/>
                </a:lnTo>
                <a:lnTo>
                  <a:pt x="77" y="114"/>
                </a:lnTo>
                <a:lnTo>
                  <a:pt x="80" y="114"/>
                </a:lnTo>
                <a:lnTo>
                  <a:pt x="84" y="114"/>
                </a:lnTo>
                <a:lnTo>
                  <a:pt x="85" y="112"/>
                </a:lnTo>
                <a:lnTo>
                  <a:pt x="87" y="111"/>
                </a:lnTo>
                <a:lnTo>
                  <a:pt x="89" y="111"/>
                </a:lnTo>
                <a:lnTo>
                  <a:pt x="90" y="111"/>
                </a:lnTo>
                <a:lnTo>
                  <a:pt x="90" y="112"/>
                </a:lnTo>
                <a:lnTo>
                  <a:pt x="94" y="111"/>
                </a:lnTo>
                <a:lnTo>
                  <a:pt x="95" y="109"/>
                </a:lnTo>
                <a:lnTo>
                  <a:pt x="97" y="107"/>
                </a:lnTo>
                <a:lnTo>
                  <a:pt x="99" y="107"/>
                </a:lnTo>
                <a:lnTo>
                  <a:pt x="99" y="106"/>
                </a:lnTo>
                <a:lnTo>
                  <a:pt x="101" y="107"/>
                </a:lnTo>
                <a:lnTo>
                  <a:pt x="102" y="106"/>
                </a:lnTo>
                <a:lnTo>
                  <a:pt x="104" y="106"/>
                </a:lnTo>
                <a:lnTo>
                  <a:pt x="107" y="107"/>
                </a:lnTo>
                <a:lnTo>
                  <a:pt x="107" y="109"/>
                </a:lnTo>
                <a:lnTo>
                  <a:pt x="109" y="109"/>
                </a:lnTo>
                <a:lnTo>
                  <a:pt x="111" y="106"/>
                </a:lnTo>
                <a:lnTo>
                  <a:pt x="112" y="106"/>
                </a:lnTo>
                <a:lnTo>
                  <a:pt x="112" y="102"/>
                </a:lnTo>
                <a:lnTo>
                  <a:pt x="114" y="102"/>
                </a:lnTo>
                <a:lnTo>
                  <a:pt x="118" y="102"/>
                </a:lnTo>
                <a:lnTo>
                  <a:pt x="119" y="100"/>
                </a:lnTo>
                <a:lnTo>
                  <a:pt x="119" y="99"/>
                </a:lnTo>
                <a:lnTo>
                  <a:pt x="121" y="97"/>
                </a:lnTo>
                <a:lnTo>
                  <a:pt x="123" y="95"/>
                </a:lnTo>
                <a:lnTo>
                  <a:pt x="123" y="94"/>
                </a:lnTo>
                <a:lnTo>
                  <a:pt x="124" y="94"/>
                </a:lnTo>
                <a:lnTo>
                  <a:pt x="123" y="90"/>
                </a:lnTo>
                <a:lnTo>
                  <a:pt x="124" y="89"/>
                </a:lnTo>
                <a:lnTo>
                  <a:pt x="126" y="87"/>
                </a:lnTo>
                <a:lnTo>
                  <a:pt x="129" y="85"/>
                </a:lnTo>
                <a:lnTo>
                  <a:pt x="129" y="83"/>
                </a:lnTo>
                <a:lnTo>
                  <a:pt x="131" y="85"/>
                </a:lnTo>
                <a:lnTo>
                  <a:pt x="135" y="85"/>
                </a:lnTo>
                <a:lnTo>
                  <a:pt x="136" y="83"/>
                </a:lnTo>
                <a:lnTo>
                  <a:pt x="138" y="82"/>
                </a:lnTo>
                <a:lnTo>
                  <a:pt x="141" y="82"/>
                </a:lnTo>
                <a:lnTo>
                  <a:pt x="143" y="82"/>
                </a:lnTo>
                <a:lnTo>
                  <a:pt x="145" y="82"/>
                </a:lnTo>
                <a:lnTo>
                  <a:pt x="145" y="83"/>
                </a:lnTo>
                <a:lnTo>
                  <a:pt x="148" y="82"/>
                </a:lnTo>
                <a:lnTo>
                  <a:pt x="150" y="83"/>
                </a:lnTo>
                <a:lnTo>
                  <a:pt x="152" y="83"/>
                </a:lnTo>
                <a:lnTo>
                  <a:pt x="153" y="83"/>
                </a:lnTo>
                <a:lnTo>
                  <a:pt x="155" y="82"/>
                </a:lnTo>
                <a:lnTo>
                  <a:pt x="157" y="82"/>
                </a:lnTo>
                <a:lnTo>
                  <a:pt x="158" y="82"/>
                </a:lnTo>
                <a:lnTo>
                  <a:pt x="160" y="80"/>
                </a:lnTo>
                <a:lnTo>
                  <a:pt x="160" y="78"/>
                </a:lnTo>
                <a:lnTo>
                  <a:pt x="160" y="77"/>
                </a:lnTo>
                <a:lnTo>
                  <a:pt x="162" y="77"/>
                </a:lnTo>
                <a:lnTo>
                  <a:pt x="163" y="78"/>
                </a:lnTo>
                <a:lnTo>
                  <a:pt x="165" y="78"/>
                </a:lnTo>
                <a:lnTo>
                  <a:pt x="167" y="77"/>
                </a:lnTo>
                <a:lnTo>
                  <a:pt x="167" y="75"/>
                </a:lnTo>
                <a:lnTo>
                  <a:pt x="165" y="73"/>
                </a:lnTo>
                <a:lnTo>
                  <a:pt x="165" y="72"/>
                </a:lnTo>
                <a:lnTo>
                  <a:pt x="165" y="70"/>
                </a:lnTo>
                <a:lnTo>
                  <a:pt x="165" y="68"/>
                </a:lnTo>
                <a:lnTo>
                  <a:pt x="165" y="66"/>
                </a:lnTo>
                <a:lnTo>
                  <a:pt x="167" y="65"/>
                </a:lnTo>
                <a:lnTo>
                  <a:pt x="169" y="65"/>
                </a:lnTo>
                <a:lnTo>
                  <a:pt x="170" y="63"/>
                </a:lnTo>
                <a:lnTo>
                  <a:pt x="174" y="63"/>
                </a:lnTo>
                <a:lnTo>
                  <a:pt x="177" y="63"/>
                </a:lnTo>
                <a:lnTo>
                  <a:pt x="179" y="63"/>
                </a:lnTo>
                <a:lnTo>
                  <a:pt x="180" y="63"/>
                </a:lnTo>
                <a:lnTo>
                  <a:pt x="182" y="63"/>
                </a:lnTo>
                <a:lnTo>
                  <a:pt x="184" y="63"/>
                </a:lnTo>
                <a:lnTo>
                  <a:pt x="186" y="61"/>
                </a:lnTo>
                <a:lnTo>
                  <a:pt x="187" y="61"/>
                </a:lnTo>
                <a:lnTo>
                  <a:pt x="189" y="60"/>
                </a:lnTo>
                <a:lnTo>
                  <a:pt x="189" y="58"/>
                </a:lnTo>
                <a:lnTo>
                  <a:pt x="191" y="56"/>
                </a:lnTo>
                <a:lnTo>
                  <a:pt x="192" y="55"/>
                </a:lnTo>
                <a:lnTo>
                  <a:pt x="194" y="55"/>
                </a:lnTo>
                <a:lnTo>
                  <a:pt x="196" y="58"/>
                </a:lnTo>
                <a:lnTo>
                  <a:pt x="196" y="56"/>
                </a:lnTo>
                <a:lnTo>
                  <a:pt x="197" y="55"/>
                </a:lnTo>
                <a:lnTo>
                  <a:pt x="199" y="53"/>
                </a:lnTo>
                <a:lnTo>
                  <a:pt x="203" y="53"/>
                </a:lnTo>
                <a:lnTo>
                  <a:pt x="204" y="53"/>
                </a:lnTo>
                <a:lnTo>
                  <a:pt x="206" y="55"/>
                </a:lnTo>
                <a:lnTo>
                  <a:pt x="208" y="53"/>
                </a:lnTo>
                <a:lnTo>
                  <a:pt x="208" y="55"/>
                </a:lnTo>
                <a:lnTo>
                  <a:pt x="211" y="53"/>
                </a:lnTo>
                <a:lnTo>
                  <a:pt x="211" y="51"/>
                </a:lnTo>
                <a:lnTo>
                  <a:pt x="214" y="51"/>
                </a:lnTo>
                <a:lnTo>
                  <a:pt x="216" y="51"/>
                </a:lnTo>
                <a:lnTo>
                  <a:pt x="218" y="49"/>
                </a:lnTo>
                <a:lnTo>
                  <a:pt x="218" y="48"/>
                </a:lnTo>
                <a:lnTo>
                  <a:pt x="220" y="48"/>
                </a:lnTo>
                <a:lnTo>
                  <a:pt x="221" y="46"/>
                </a:lnTo>
                <a:lnTo>
                  <a:pt x="223" y="46"/>
                </a:lnTo>
                <a:lnTo>
                  <a:pt x="223" y="43"/>
                </a:lnTo>
                <a:lnTo>
                  <a:pt x="225" y="46"/>
                </a:lnTo>
                <a:lnTo>
                  <a:pt x="226" y="46"/>
                </a:lnTo>
                <a:lnTo>
                  <a:pt x="228" y="46"/>
                </a:lnTo>
                <a:lnTo>
                  <a:pt x="230" y="43"/>
                </a:lnTo>
                <a:lnTo>
                  <a:pt x="231" y="44"/>
                </a:lnTo>
                <a:lnTo>
                  <a:pt x="231" y="43"/>
                </a:lnTo>
                <a:lnTo>
                  <a:pt x="231" y="41"/>
                </a:lnTo>
                <a:lnTo>
                  <a:pt x="230" y="39"/>
                </a:lnTo>
                <a:lnTo>
                  <a:pt x="231" y="37"/>
                </a:lnTo>
                <a:lnTo>
                  <a:pt x="235" y="37"/>
                </a:lnTo>
                <a:lnTo>
                  <a:pt x="237" y="37"/>
                </a:lnTo>
                <a:lnTo>
                  <a:pt x="238" y="36"/>
                </a:lnTo>
                <a:lnTo>
                  <a:pt x="240" y="34"/>
                </a:lnTo>
                <a:lnTo>
                  <a:pt x="242" y="34"/>
                </a:lnTo>
                <a:lnTo>
                  <a:pt x="243" y="36"/>
                </a:lnTo>
                <a:lnTo>
                  <a:pt x="243" y="37"/>
                </a:lnTo>
                <a:lnTo>
                  <a:pt x="245" y="36"/>
                </a:lnTo>
                <a:lnTo>
                  <a:pt x="247" y="36"/>
                </a:lnTo>
                <a:lnTo>
                  <a:pt x="248" y="34"/>
                </a:lnTo>
                <a:lnTo>
                  <a:pt x="252" y="36"/>
                </a:lnTo>
                <a:lnTo>
                  <a:pt x="252" y="32"/>
                </a:lnTo>
                <a:lnTo>
                  <a:pt x="254" y="31"/>
                </a:lnTo>
                <a:lnTo>
                  <a:pt x="255" y="32"/>
                </a:lnTo>
                <a:lnTo>
                  <a:pt x="257" y="36"/>
                </a:lnTo>
                <a:lnTo>
                  <a:pt x="259" y="37"/>
                </a:lnTo>
                <a:lnTo>
                  <a:pt x="260" y="41"/>
                </a:lnTo>
                <a:lnTo>
                  <a:pt x="264" y="39"/>
                </a:lnTo>
                <a:lnTo>
                  <a:pt x="264" y="41"/>
                </a:lnTo>
                <a:lnTo>
                  <a:pt x="264" y="39"/>
                </a:lnTo>
                <a:lnTo>
                  <a:pt x="267" y="39"/>
                </a:lnTo>
                <a:lnTo>
                  <a:pt x="269" y="41"/>
                </a:lnTo>
                <a:lnTo>
                  <a:pt x="269" y="43"/>
                </a:lnTo>
                <a:lnTo>
                  <a:pt x="272" y="44"/>
                </a:lnTo>
                <a:lnTo>
                  <a:pt x="272" y="43"/>
                </a:lnTo>
                <a:lnTo>
                  <a:pt x="272" y="41"/>
                </a:lnTo>
                <a:lnTo>
                  <a:pt x="272" y="39"/>
                </a:lnTo>
                <a:lnTo>
                  <a:pt x="274" y="39"/>
                </a:lnTo>
                <a:lnTo>
                  <a:pt x="277" y="37"/>
                </a:lnTo>
                <a:lnTo>
                  <a:pt x="279" y="39"/>
                </a:lnTo>
                <a:lnTo>
                  <a:pt x="281" y="39"/>
                </a:lnTo>
                <a:lnTo>
                  <a:pt x="284" y="39"/>
                </a:lnTo>
                <a:lnTo>
                  <a:pt x="286" y="41"/>
                </a:lnTo>
                <a:lnTo>
                  <a:pt x="289" y="41"/>
                </a:lnTo>
                <a:lnTo>
                  <a:pt x="293" y="43"/>
                </a:lnTo>
                <a:lnTo>
                  <a:pt x="294" y="43"/>
                </a:lnTo>
                <a:lnTo>
                  <a:pt x="296" y="46"/>
                </a:lnTo>
                <a:lnTo>
                  <a:pt x="299" y="46"/>
                </a:lnTo>
                <a:lnTo>
                  <a:pt x="301" y="44"/>
                </a:lnTo>
                <a:lnTo>
                  <a:pt x="303" y="43"/>
                </a:lnTo>
                <a:lnTo>
                  <a:pt x="306" y="43"/>
                </a:lnTo>
                <a:lnTo>
                  <a:pt x="308" y="39"/>
                </a:lnTo>
                <a:lnTo>
                  <a:pt x="311" y="41"/>
                </a:lnTo>
                <a:lnTo>
                  <a:pt x="311" y="37"/>
                </a:lnTo>
                <a:lnTo>
                  <a:pt x="315" y="37"/>
                </a:lnTo>
                <a:lnTo>
                  <a:pt x="316" y="36"/>
                </a:lnTo>
                <a:lnTo>
                  <a:pt x="318" y="36"/>
                </a:lnTo>
                <a:lnTo>
                  <a:pt x="320" y="37"/>
                </a:lnTo>
                <a:lnTo>
                  <a:pt x="320" y="36"/>
                </a:lnTo>
                <a:lnTo>
                  <a:pt x="322" y="34"/>
                </a:lnTo>
                <a:lnTo>
                  <a:pt x="323" y="34"/>
                </a:lnTo>
                <a:lnTo>
                  <a:pt x="325" y="32"/>
                </a:lnTo>
                <a:lnTo>
                  <a:pt x="328" y="32"/>
                </a:lnTo>
                <a:lnTo>
                  <a:pt x="328" y="34"/>
                </a:lnTo>
                <a:lnTo>
                  <a:pt x="332" y="32"/>
                </a:lnTo>
                <a:lnTo>
                  <a:pt x="333" y="32"/>
                </a:lnTo>
                <a:lnTo>
                  <a:pt x="335" y="31"/>
                </a:lnTo>
                <a:lnTo>
                  <a:pt x="337" y="29"/>
                </a:lnTo>
                <a:lnTo>
                  <a:pt x="339" y="29"/>
                </a:lnTo>
                <a:lnTo>
                  <a:pt x="340" y="27"/>
                </a:lnTo>
                <a:lnTo>
                  <a:pt x="342" y="26"/>
                </a:lnTo>
                <a:lnTo>
                  <a:pt x="342" y="22"/>
                </a:lnTo>
                <a:lnTo>
                  <a:pt x="344" y="20"/>
                </a:lnTo>
                <a:lnTo>
                  <a:pt x="342" y="20"/>
                </a:lnTo>
                <a:lnTo>
                  <a:pt x="340" y="19"/>
                </a:lnTo>
                <a:lnTo>
                  <a:pt x="340" y="17"/>
                </a:lnTo>
                <a:lnTo>
                  <a:pt x="342" y="15"/>
                </a:lnTo>
                <a:lnTo>
                  <a:pt x="340" y="14"/>
                </a:lnTo>
                <a:lnTo>
                  <a:pt x="339" y="14"/>
                </a:lnTo>
                <a:lnTo>
                  <a:pt x="339" y="10"/>
                </a:lnTo>
                <a:lnTo>
                  <a:pt x="337" y="9"/>
                </a:lnTo>
                <a:lnTo>
                  <a:pt x="335" y="9"/>
                </a:lnTo>
                <a:lnTo>
                  <a:pt x="333" y="9"/>
                </a:lnTo>
                <a:lnTo>
                  <a:pt x="333" y="7"/>
                </a:lnTo>
                <a:lnTo>
                  <a:pt x="332" y="5"/>
                </a:lnTo>
                <a:lnTo>
                  <a:pt x="333" y="3"/>
                </a:lnTo>
                <a:lnTo>
                  <a:pt x="335" y="3"/>
                </a:lnTo>
                <a:lnTo>
                  <a:pt x="335" y="2"/>
                </a:lnTo>
                <a:lnTo>
                  <a:pt x="337" y="0"/>
                </a:lnTo>
                <a:lnTo>
                  <a:pt x="339" y="0"/>
                </a:lnTo>
                <a:lnTo>
                  <a:pt x="340" y="0"/>
                </a:lnTo>
                <a:lnTo>
                  <a:pt x="342" y="0"/>
                </a:lnTo>
                <a:lnTo>
                  <a:pt x="344" y="2"/>
                </a:lnTo>
                <a:lnTo>
                  <a:pt x="345" y="0"/>
                </a:lnTo>
                <a:lnTo>
                  <a:pt x="347" y="0"/>
                </a:lnTo>
                <a:close/>
                <a:moveTo>
                  <a:pt x="294" y="454"/>
                </a:moveTo>
                <a:lnTo>
                  <a:pt x="296" y="456"/>
                </a:lnTo>
                <a:lnTo>
                  <a:pt x="294" y="456"/>
                </a:lnTo>
                <a:lnTo>
                  <a:pt x="296" y="458"/>
                </a:lnTo>
                <a:lnTo>
                  <a:pt x="296" y="459"/>
                </a:lnTo>
                <a:lnTo>
                  <a:pt x="296" y="461"/>
                </a:lnTo>
                <a:lnTo>
                  <a:pt x="298" y="461"/>
                </a:lnTo>
                <a:lnTo>
                  <a:pt x="298" y="464"/>
                </a:lnTo>
                <a:lnTo>
                  <a:pt x="301" y="464"/>
                </a:lnTo>
                <a:lnTo>
                  <a:pt x="303" y="464"/>
                </a:lnTo>
                <a:lnTo>
                  <a:pt x="306" y="464"/>
                </a:lnTo>
                <a:lnTo>
                  <a:pt x="310" y="464"/>
                </a:lnTo>
                <a:lnTo>
                  <a:pt x="310" y="463"/>
                </a:lnTo>
                <a:lnTo>
                  <a:pt x="313" y="463"/>
                </a:lnTo>
                <a:lnTo>
                  <a:pt x="313" y="459"/>
                </a:lnTo>
                <a:lnTo>
                  <a:pt x="315" y="459"/>
                </a:lnTo>
                <a:lnTo>
                  <a:pt x="313" y="458"/>
                </a:lnTo>
                <a:lnTo>
                  <a:pt x="315" y="458"/>
                </a:lnTo>
                <a:lnTo>
                  <a:pt x="316" y="456"/>
                </a:lnTo>
                <a:lnTo>
                  <a:pt x="318" y="456"/>
                </a:lnTo>
                <a:lnTo>
                  <a:pt x="320" y="456"/>
                </a:lnTo>
                <a:lnTo>
                  <a:pt x="322" y="458"/>
                </a:lnTo>
                <a:lnTo>
                  <a:pt x="322" y="459"/>
                </a:lnTo>
                <a:lnTo>
                  <a:pt x="322" y="463"/>
                </a:lnTo>
                <a:lnTo>
                  <a:pt x="320" y="463"/>
                </a:lnTo>
                <a:lnTo>
                  <a:pt x="316" y="463"/>
                </a:lnTo>
                <a:lnTo>
                  <a:pt x="315" y="463"/>
                </a:lnTo>
                <a:lnTo>
                  <a:pt x="315" y="464"/>
                </a:lnTo>
                <a:lnTo>
                  <a:pt x="316" y="464"/>
                </a:lnTo>
                <a:lnTo>
                  <a:pt x="318" y="466"/>
                </a:lnTo>
                <a:lnTo>
                  <a:pt x="320" y="464"/>
                </a:lnTo>
                <a:lnTo>
                  <a:pt x="323" y="466"/>
                </a:lnTo>
                <a:lnTo>
                  <a:pt x="325" y="464"/>
                </a:lnTo>
                <a:lnTo>
                  <a:pt x="327" y="464"/>
                </a:lnTo>
                <a:lnTo>
                  <a:pt x="327" y="466"/>
                </a:lnTo>
                <a:lnTo>
                  <a:pt x="327" y="468"/>
                </a:lnTo>
                <a:lnTo>
                  <a:pt x="328" y="470"/>
                </a:lnTo>
                <a:lnTo>
                  <a:pt x="328" y="471"/>
                </a:lnTo>
                <a:lnTo>
                  <a:pt x="330" y="471"/>
                </a:lnTo>
                <a:lnTo>
                  <a:pt x="333" y="471"/>
                </a:lnTo>
                <a:lnTo>
                  <a:pt x="335" y="470"/>
                </a:lnTo>
                <a:lnTo>
                  <a:pt x="337" y="470"/>
                </a:lnTo>
                <a:lnTo>
                  <a:pt x="340" y="470"/>
                </a:lnTo>
                <a:lnTo>
                  <a:pt x="340" y="468"/>
                </a:lnTo>
                <a:lnTo>
                  <a:pt x="342" y="468"/>
                </a:lnTo>
                <a:lnTo>
                  <a:pt x="345" y="468"/>
                </a:lnTo>
                <a:lnTo>
                  <a:pt x="347" y="466"/>
                </a:lnTo>
                <a:lnTo>
                  <a:pt x="349" y="464"/>
                </a:lnTo>
                <a:lnTo>
                  <a:pt x="350" y="463"/>
                </a:lnTo>
                <a:lnTo>
                  <a:pt x="352" y="461"/>
                </a:lnTo>
                <a:lnTo>
                  <a:pt x="356" y="461"/>
                </a:lnTo>
                <a:lnTo>
                  <a:pt x="357" y="461"/>
                </a:lnTo>
                <a:lnTo>
                  <a:pt x="359" y="463"/>
                </a:lnTo>
                <a:lnTo>
                  <a:pt x="361" y="461"/>
                </a:lnTo>
                <a:lnTo>
                  <a:pt x="362" y="461"/>
                </a:lnTo>
                <a:lnTo>
                  <a:pt x="364" y="459"/>
                </a:lnTo>
                <a:lnTo>
                  <a:pt x="366" y="461"/>
                </a:lnTo>
                <a:lnTo>
                  <a:pt x="367" y="461"/>
                </a:lnTo>
                <a:lnTo>
                  <a:pt x="369" y="458"/>
                </a:lnTo>
                <a:lnTo>
                  <a:pt x="369" y="459"/>
                </a:lnTo>
                <a:lnTo>
                  <a:pt x="371" y="458"/>
                </a:lnTo>
                <a:lnTo>
                  <a:pt x="373" y="459"/>
                </a:lnTo>
                <a:lnTo>
                  <a:pt x="373" y="461"/>
                </a:lnTo>
                <a:lnTo>
                  <a:pt x="374" y="463"/>
                </a:lnTo>
                <a:lnTo>
                  <a:pt x="376" y="463"/>
                </a:lnTo>
                <a:lnTo>
                  <a:pt x="378" y="463"/>
                </a:lnTo>
                <a:lnTo>
                  <a:pt x="381" y="461"/>
                </a:lnTo>
                <a:lnTo>
                  <a:pt x="379" y="463"/>
                </a:lnTo>
                <a:lnTo>
                  <a:pt x="383" y="461"/>
                </a:lnTo>
                <a:lnTo>
                  <a:pt x="383" y="463"/>
                </a:lnTo>
                <a:lnTo>
                  <a:pt x="384" y="463"/>
                </a:lnTo>
                <a:lnTo>
                  <a:pt x="386" y="461"/>
                </a:lnTo>
                <a:lnTo>
                  <a:pt x="390" y="461"/>
                </a:lnTo>
                <a:lnTo>
                  <a:pt x="393" y="459"/>
                </a:lnTo>
                <a:lnTo>
                  <a:pt x="395" y="459"/>
                </a:lnTo>
                <a:lnTo>
                  <a:pt x="395" y="461"/>
                </a:lnTo>
                <a:lnTo>
                  <a:pt x="396" y="463"/>
                </a:lnTo>
                <a:lnTo>
                  <a:pt x="398" y="463"/>
                </a:lnTo>
                <a:lnTo>
                  <a:pt x="400" y="461"/>
                </a:lnTo>
                <a:lnTo>
                  <a:pt x="403" y="459"/>
                </a:lnTo>
                <a:lnTo>
                  <a:pt x="405" y="459"/>
                </a:lnTo>
                <a:lnTo>
                  <a:pt x="407" y="458"/>
                </a:lnTo>
                <a:lnTo>
                  <a:pt x="408" y="456"/>
                </a:lnTo>
                <a:lnTo>
                  <a:pt x="410" y="456"/>
                </a:lnTo>
                <a:lnTo>
                  <a:pt x="412" y="456"/>
                </a:lnTo>
                <a:lnTo>
                  <a:pt x="413" y="454"/>
                </a:lnTo>
                <a:lnTo>
                  <a:pt x="415" y="454"/>
                </a:lnTo>
                <a:lnTo>
                  <a:pt x="417" y="454"/>
                </a:lnTo>
                <a:lnTo>
                  <a:pt x="417" y="456"/>
                </a:lnTo>
                <a:lnTo>
                  <a:pt x="415" y="458"/>
                </a:lnTo>
                <a:lnTo>
                  <a:pt x="415" y="461"/>
                </a:lnTo>
                <a:lnTo>
                  <a:pt x="417" y="463"/>
                </a:lnTo>
                <a:lnTo>
                  <a:pt x="415" y="464"/>
                </a:lnTo>
                <a:lnTo>
                  <a:pt x="415" y="466"/>
                </a:lnTo>
                <a:lnTo>
                  <a:pt x="415" y="468"/>
                </a:lnTo>
                <a:lnTo>
                  <a:pt x="417" y="468"/>
                </a:lnTo>
                <a:lnTo>
                  <a:pt x="417" y="470"/>
                </a:lnTo>
                <a:lnTo>
                  <a:pt x="418" y="470"/>
                </a:lnTo>
                <a:lnTo>
                  <a:pt x="420" y="470"/>
                </a:lnTo>
                <a:lnTo>
                  <a:pt x="422" y="471"/>
                </a:lnTo>
                <a:lnTo>
                  <a:pt x="424" y="468"/>
                </a:lnTo>
                <a:lnTo>
                  <a:pt x="424" y="466"/>
                </a:lnTo>
                <a:lnTo>
                  <a:pt x="425" y="464"/>
                </a:lnTo>
                <a:lnTo>
                  <a:pt x="429" y="463"/>
                </a:lnTo>
                <a:lnTo>
                  <a:pt x="430" y="463"/>
                </a:lnTo>
                <a:lnTo>
                  <a:pt x="432" y="461"/>
                </a:lnTo>
                <a:lnTo>
                  <a:pt x="432" y="459"/>
                </a:lnTo>
                <a:lnTo>
                  <a:pt x="435" y="458"/>
                </a:lnTo>
                <a:lnTo>
                  <a:pt x="435" y="459"/>
                </a:lnTo>
                <a:lnTo>
                  <a:pt x="437" y="459"/>
                </a:lnTo>
                <a:lnTo>
                  <a:pt x="437" y="458"/>
                </a:lnTo>
                <a:lnTo>
                  <a:pt x="439" y="459"/>
                </a:lnTo>
                <a:lnTo>
                  <a:pt x="441" y="459"/>
                </a:lnTo>
                <a:lnTo>
                  <a:pt x="442" y="459"/>
                </a:lnTo>
                <a:lnTo>
                  <a:pt x="442" y="458"/>
                </a:lnTo>
                <a:lnTo>
                  <a:pt x="444" y="454"/>
                </a:lnTo>
                <a:lnTo>
                  <a:pt x="444" y="453"/>
                </a:lnTo>
                <a:lnTo>
                  <a:pt x="446" y="453"/>
                </a:lnTo>
                <a:lnTo>
                  <a:pt x="447" y="453"/>
                </a:lnTo>
                <a:lnTo>
                  <a:pt x="446" y="451"/>
                </a:lnTo>
                <a:lnTo>
                  <a:pt x="447" y="451"/>
                </a:lnTo>
                <a:lnTo>
                  <a:pt x="446" y="449"/>
                </a:lnTo>
                <a:lnTo>
                  <a:pt x="447" y="449"/>
                </a:lnTo>
                <a:lnTo>
                  <a:pt x="447" y="451"/>
                </a:lnTo>
                <a:lnTo>
                  <a:pt x="447" y="453"/>
                </a:lnTo>
                <a:lnTo>
                  <a:pt x="446" y="454"/>
                </a:lnTo>
                <a:lnTo>
                  <a:pt x="447" y="456"/>
                </a:lnTo>
                <a:lnTo>
                  <a:pt x="447" y="458"/>
                </a:lnTo>
                <a:lnTo>
                  <a:pt x="449" y="458"/>
                </a:lnTo>
                <a:lnTo>
                  <a:pt x="451" y="458"/>
                </a:lnTo>
                <a:lnTo>
                  <a:pt x="451" y="459"/>
                </a:lnTo>
                <a:lnTo>
                  <a:pt x="449" y="459"/>
                </a:lnTo>
                <a:lnTo>
                  <a:pt x="449" y="461"/>
                </a:lnTo>
                <a:lnTo>
                  <a:pt x="449" y="464"/>
                </a:lnTo>
                <a:lnTo>
                  <a:pt x="449" y="466"/>
                </a:lnTo>
                <a:lnTo>
                  <a:pt x="449" y="468"/>
                </a:lnTo>
                <a:lnTo>
                  <a:pt x="447" y="470"/>
                </a:lnTo>
                <a:lnTo>
                  <a:pt x="446" y="473"/>
                </a:lnTo>
                <a:lnTo>
                  <a:pt x="444" y="473"/>
                </a:lnTo>
                <a:lnTo>
                  <a:pt x="442" y="475"/>
                </a:lnTo>
                <a:lnTo>
                  <a:pt x="441" y="475"/>
                </a:lnTo>
                <a:lnTo>
                  <a:pt x="441" y="473"/>
                </a:lnTo>
                <a:lnTo>
                  <a:pt x="439" y="473"/>
                </a:lnTo>
                <a:lnTo>
                  <a:pt x="437" y="475"/>
                </a:lnTo>
                <a:lnTo>
                  <a:pt x="435" y="475"/>
                </a:lnTo>
                <a:lnTo>
                  <a:pt x="434" y="473"/>
                </a:lnTo>
                <a:lnTo>
                  <a:pt x="432" y="475"/>
                </a:lnTo>
                <a:lnTo>
                  <a:pt x="430" y="475"/>
                </a:lnTo>
                <a:lnTo>
                  <a:pt x="429" y="475"/>
                </a:lnTo>
                <a:lnTo>
                  <a:pt x="427" y="476"/>
                </a:lnTo>
                <a:lnTo>
                  <a:pt x="425" y="476"/>
                </a:lnTo>
                <a:lnTo>
                  <a:pt x="424" y="478"/>
                </a:lnTo>
                <a:lnTo>
                  <a:pt x="420" y="478"/>
                </a:lnTo>
                <a:lnTo>
                  <a:pt x="420" y="480"/>
                </a:lnTo>
                <a:lnTo>
                  <a:pt x="417" y="478"/>
                </a:lnTo>
                <a:lnTo>
                  <a:pt x="415" y="480"/>
                </a:lnTo>
                <a:lnTo>
                  <a:pt x="412" y="480"/>
                </a:lnTo>
                <a:lnTo>
                  <a:pt x="408" y="483"/>
                </a:lnTo>
                <a:lnTo>
                  <a:pt x="407" y="483"/>
                </a:lnTo>
                <a:lnTo>
                  <a:pt x="403" y="483"/>
                </a:lnTo>
                <a:lnTo>
                  <a:pt x="401" y="485"/>
                </a:lnTo>
                <a:lnTo>
                  <a:pt x="398" y="483"/>
                </a:lnTo>
                <a:lnTo>
                  <a:pt x="396" y="485"/>
                </a:lnTo>
                <a:lnTo>
                  <a:pt x="393" y="487"/>
                </a:lnTo>
                <a:lnTo>
                  <a:pt x="393" y="488"/>
                </a:lnTo>
                <a:lnTo>
                  <a:pt x="390" y="490"/>
                </a:lnTo>
                <a:lnTo>
                  <a:pt x="388" y="490"/>
                </a:lnTo>
                <a:lnTo>
                  <a:pt x="386" y="490"/>
                </a:lnTo>
                <a:lnTo>
                  <a:pt x="383" y="492"/>
                </a:lnTo>
                <a:lnTo>
                  <a:pt x="379" y="492"/>
                </a:lnTo>
                <a:lnTo>
                  <a:pt x="379" y="493"/>
                </a:lnTo>
                <a:lnTo>
                  <a:pt x="376" y="495"/>
                </a:lnTo>
                <a:lnTo>
                  <a:pt x="374" y="493"/>
                </a:lnTo>
                <a:lnTo>
                  <a:pt x="373" y="495"/>
                </a:lnTo>
                <a:lnTo>
                  <a:pt x="371" y="495"/>
                </a:lnTo>
                <a:lnTo>
                  <a:pt x="367" y="495"/>
                </a:lnTo>
                <a:lnTo>
                  <a:pt x="366" y="497"/>
                </a:lnTo>
                <a:lnTo>
                  <a:pt x="364" y="497"/>
                </a:lnTo>
                <a:lnTo>
                  <a:pt x="362" y="497"/>
                </a:lnTo>
                <a:lnTo>
                  <a:pt x="362" y="495"/>
                </a:lnTo>
                <a:lnTo>
                  <a:pt x="362" y="492"/>
                </a:lnTo>
                <a:lnTo>
                  <a:pt x="362" y="490"/>
                </a:lnTo>
                <a:lnTo>
                  <a:pt x="361" y="488"/>
                </a:lnTo>
                <a:lnTo>
                  <a:pt x="361" y="487"/>
                </a:lnTo>
                <a:lnTo>
                  <a:pt x="357" y="485"/>
                </a:lnTo>
                <a:lnTo>
                  <a:pt x="354" y="487"/>
                </a:lnTo>
                <a:lnTo>
                  <a:pt x="352" y="487"/>
                </a:lnTo>
                <a:lnTo>
                  <a:pt x="350" y="487"/>
                </a:lnTo>
                <a:lnTo>
                  <a:pt x="349" y="487"/>
                </a:lnTo>
                <a:lnTo>
                  <a:pt x="347" y="485"/>
                </a:lnTo>
                <a:lnTo>
                  <a:pt x="344" y="483"/>
                </a:lnTo>
                <a:lnTo>
                  <a:pt x="342" y="485"/>
                </a:lnTo>
                <a:lnTo>
                  <a:pt x="340" y="483"/>
                </a:lnTo>
                <a:lnTo>
                  <a:pt x="339" y="483"/>
                </a:lnTo>
                <a:lnTo>
                  <a:pt x="339" y="481"/>
                </a:lnTo>
                <a:lnTo>
                  <a:pt x="337" y="483"/>
                </a:lnTo>
                <a:lnTo>
                  <a:pt x="333" y="483"/>
                </a:lnTo>
                <a:lnTo>
                  <a:pt x="332" y="485"/>
                </a:lnTo>
                <a:lnTo>
                  <a:pt x="328" y="485"/>
                </a:lnTo>
                <a:lnTo>
                  <a:pt x="327" y="483"/>
                </a:lnTo>
                <a:lnTo>
                  <a:pt x="325" y="485"/>
                </a:lnTo>
                <a:lnTo>
                  <a:pt x="323" y="485"/>
                </a:lnTo>
                <a:lnTo>
                  <a:pt x="320" y="487"/>
                </a:lnTo>
                <a:lnTo>
                  <a:pt x="318" y="487"/>
                </a:lnTo>
                <a:lnTo>
                  <a:pt x="316" y="487"/>
                </a:lnTo>
                <a:lnTo>
                  <a:pt x="315" y="485"/>
                </a:lnTo>
                <a:lnTo>
                  <a:pt x="311" y="485"/>
                </a:lnTo>
                <a:lnTo>
                  <a:pt x="310" y="485"/>
                </a:lnTo>
                <a:lnTo>
                  <a:pt x="308" y="485"/>
                </a:lnTo>
                <a:lnTo>
                  <a:pt x="306" y="485"/>
                </a:lnTo>
                <a:lnTo>
                  <a:pt x="305" y="485"/>
                </a:lnTo>
                <a:lnTo>
                  <a:pt x="303" y="485"/>
                </a:lnTo>
                <a:lnTo>
                  <a:pt x="301" y="487"/>
                </a:lnTo>
                <a:lnTo>
                  <a:pt x="299" y="487"/>
                </a:lnTo>
                <a:lnTo>
                  <a:pt x="298" y="487"/>
                </a:lnTo>
                <a:lnTo>
                  <a:pt x="296" y="488"/>
                </a:lnTo>
                <a:lnTo>
                  <a:pt x="294" y="487"/>
                </a:lnTo>
                <a:lnTo>
                  <a:pt x="294" y="488"/>
                </a:lnTo>
                <a:lnTo>
                  <a:pt x="291" y="488"/>
                </a:lnTo>
                <a:lnTo>
                  <a:pt x="289" y="487"/>
                </a:lnTo>
                <a:lnTo>
                  <a:pt x="286" y="487"/>
                </a:lnTo>
                <a:lnTo>
                  <a:pt x="288" y="487"/>
                </a:lnTo>
                <a:lnTo>
                  <a:pt x="286" y="485"/>
                </a:lnTo>
                <a:lnTo>
                  <a:pt x="288" y="483"/>
                </a:lnTo>
                <a:lnTo>
                  <a:pt x="286" y="481"/>
                </a:lnTo>
                <a:lnTo>
                  <a:pt x="286" y="478"/>
                </a:lnTo>
                <a:lnTo>
                  <a:pt x="286" y="476"/>
                </a:lnTo>
                <a:lnTo>
                  <a:pt x="288" y="475"/>
                </a:lnTo>
                <a:lnTo>
                  <a:pt x="286" y="473"/>
                </a:lnTo>
                <a:lnTo>
                  <a:pt x="288" y="471"/>
                </a:lnTo>
                <a:lnTo>
                  <a:pt x="286" y="470"/>
                </a:lnTo>
                <a:lnTo>
                  <a:pt x="286" y="466"/>
                </a:lnTo>
                <a:lnTo>
                  <a:pt x="286" y="464"/>
                </a:lnTo>
                <a:lnTo>
                  <a:pt x="286" y="463"/>
                </a:lnTo>
                <a:lnTo>
                  <a:pt x="286" y="461"/>
                </a:lnTo>
                <a:lnTo>
                  <a:pt x="286" y="459"/>
                </a:lnTo>
                <a:lnTo>
                  <a:pt x="288" y="461"/>
                </a:lnTo>
                <a:lnTo>
                  <a:pt x="286" y="463"/>
                </a:lnTo>
                <a:lnTo>
                  <a:pt x="288" y="464"/>
                </a:lnTo>
                <a:lnTo>
                  <a:pt x="288" y="468"/>
                </a:lnTo>
                <a:lnTo>
                  <a:pt x="289" y="468"/>
                </a:lnTo>
                <a:lnTo>
                  <a:pt x="291" y="470"/>
                </a:lnTo>
                <a:lnTo>
                  <a:pt x="293" y="468"/>
                </a:lnTo>
                <a:lnTo>
                  <a:pt x="294" y="468"/>
                </a:lnTo>
                <a:lnTo>
                  <a:pt x="294" y="464"/>
                </a:lnTo>
                <a:lnTo>
                  <a:pt x="294" y="463"/>
                </a:lnTo>
                <a:lnTo>
                  <a:pt x="293" y="461"/>
                </a:lnTo>
                <a:lnTo>
                  <a:pt x="293" y="458"/>
                </a:lnTo>
                <a:lnTo>
                  <a:pt x="293" y="456"/>
                </a:lnTo>
                <a:lnTo>
                  <a:pt x="293" y="454"/>
                </a:lnTo>
                <a:lnTo>
                  <a:pt x="294" y="454"/>
                </a:lnTo>
                <a:close/>
                <a:moveTo>
                  <a:pt x="223" y="221"/>
                </a:moveTo>
                <a:lnTo>
                  <a:pt x="226" y="223"/>
                </a:lnTo>
                <a:lnTo>
                  <a:pt x="228" y="223"/>
                </a:lnTo>
                <a:lnTo>
                  <a:pt x="230" y="226"/>
                </a:lnTo>
                <a:lnTo>
                  <a:pt x="231" y="226"/>
                </a:lnTo>
                <a:lnTo>
                  <a:pt x="231" y="230"/>
                </a:lnTo>
                <a:lnTo>
                  <a:pt x="233" y="230"/>
                </a:lnTo>
                <a:lnTo>
                  <a:pt x="233" y="231"/>
                </a:lnTo>
                <a:lnTo>
                  <a:pt x="235" y="233"/>
                </a:lnTo>
                <a:lnTo>
                  <a:pt x="238" y="235"/>
                </a:lnTo>
                <a:lnTo>
                  <a:pt x="242" y="237"/>
                </a:lnTo>
                <a:lnTo>
                  <a:pt x="243" y="237"/>
                </a:lnTo>
                <a:lnTo>
                  <a:pt x="243" y="238"/>
                </a:lnTo>
                <a:lnTo>
                  <a:pt x="243" y="237"/>
                </a:lnTo>
                <a:lnTo>
                  <a:pt x="245" y="238"/>
                </a:lnTo>
                <a:lnTo>
                  <a:pt x="247" y="238"/>
                </a:lnTo>
                <a:lnTo>
                  <a:pt x="248" y="237"/>
                </a:lnTo>
                <a:lnTo>
                  <a:pt x="252" y="238"/>
                </a:lnTo>
                <a:lnTo>
                  <a:pt x="254" y="240"/>
                </a:lnTo>
                <a:lnTo>
                  <a:pt x="255" y="240"/>
                </a:lnTo>
                <a:lnTo>
                  <a:pt x="257" y="240"/>
                </a:lnTo>
                <a:lnTo>
                  <a:pt x="259" y="242"/>
                </a:lnTo>
                <a:lnTo>
                  <a:pt x="260" y="240"/>
                </a:lnTo>
                <a:lnTo>
                  <a:pt x="264" y="242"/>
                </a:lnTo>
                <a:lnTo>
                  <a:pt x="265" y="240"/>
                </a:lnTo>
                <a:lnTo>
                  <a:pt x="267" y="240"/>
                </a:lnTo>
                <a:lnTo>
                  <a:pt x="269" y="238"/>
                </a:lnTo>
                <a:lnTo>
                  <a:pt x="271" y="240"/>
                </a:lnTo>
                <a:lnTo>
                  <a:pt x="271" y="238"/>
                </a:lnTo>
                <a:lnTo>
                  <a:pt x="272" y="238"/>
                </a:lnTo>
                <a:lnTo>
                  <a:pt x="274" y="238"/>
                </a:lnTo>
                <a:lnTo>
                  <a:pt x="276" y="240"/>
                </a:lnTo>
                <a:lnTo>
                  <a:pt x="274" y="242"/>
                </a:lnTo>
                <a:lnTo>
                  <a:pt x="274" y="243"/>
                </a:lnTo>
                <a:lnTo>
                  <a:pt x="277" y="245"/>
                </a:lnTo>
                <a:lnTo>
                  <a:pt x="279" y="247"/>
                </a:lnTo>
                <a:lnTo>
                  <a:pt x="281" y="247"/>
                </a:lnTo>
                <a:lnTo>
                  <a:pt x="281" y="250"/>
                </a:lnTo>
                <a:lnTo>
                  <a:pt x="279" y="250"/>
                </a:lnTo>
                <a:lnTo>
                  <a:pt x="281" y="254"/>
                </a:lnTo>
                <a:lnTo>
                  <a:pt x="281" y="255"/>
                </a:lnTo>
                <a:lnTo>
                  <a:pt x="282" y="255"/>
                </a:lnTo>
                <a:lnTo>
                  <a:pt x="281" y="255"/>
                </a:lnTo>
                <a:lnTo>
                  <a:pt x="281" y="257"/>
                </a:lnTo>
                <a:lnTo>
                  <a:pt x="282" y="259"/>
                </a:lnTo>
                <a:lnTo>
                  <a:pt x="282" y="260"/>
                </a:lnTo>
                <a:lnTo>
                  <a:pt x="284" y="262"/>
                </a:lnTo>
                <a:lnTo>
                  <a:pt x="286" y="264"/>
                </a:lnTo>
                <a:lnTo>
                  <a:pt x="288" y="267"/>
                </a:lnTo>
                <a:lnTo>
                  <a:pt x="286" y="269"/>
                </a:lnTo>
                <a:lnTo>
                  <a:pt x="288" y="271"/>
                </a:lnTo>
                <a:lnTo>
                  <a:pt x="291" y="271"/>
                </a:lnTo>
                <a:lnTo>
                  <a:pt x="293" y="272"/>
                </a:lnTo>
                <a:lnTo>
                  <a:pt x="296" y="271"/>
                </a:lnTo>
                <a:lnTo>
                  <a:pt x="298" y="272"/>
                </a:lnTo>
                <a:lnTo>
                  <a:pt x="299" y="272"/>
                </a:lnTo>
                <a:lnTo>
                  <a:pt x="303" y="271"/>
                </a:lnTo>
                <a:lnTo>
                  <a:pt x="305" y="271"/>
                </a:lnTo>
                <a:lnTo>
                  <a:pt x="306" y="269"/>
                </a:lnTo>
                <a:lnTo>
                  <a:pt x="306" y="271"/>
                </a:lnTo>
                <a:lnTo>
                  <a:pt x="306" y="274"/>
                </a:lnTo>
                <a:lnTo>
                  <a:pt x="306" y="276"/>
                </a:lnTo>
                <a:lnTo>
                  <a:pt x="308" y="276"/>
                </a:lnTo>
                <a:lnTo>
                  <a:pt x="308" y="279"/>
                </a:lnTo>
                <a:lnTo>
                  <a:pt x="308" y="281"/>
                </a:lnTo>
                <a:lnTo>
                  <a:pt x="308" y="282"/>
                </a:lnTo>
                <a:lnTo>
                  <a:pt x="306" y="282"/>
                </a:lnTo>
                <a:lnTo>
                  <a:pt x="305" y="284"/>
                </a:lnTo>
                <a:lnTo>
                  <a:pt x="305" y="286"/>
                </a:lnTo>
                <a:lnTo>
                  <a:pt x="303" y="284"/>
                </a:lnTo>
                <a:lnTo>
                  <a:pt x="301" y="282"/>
                </a:lnTo>
                <a:lnTo>
                  <a:pt x="299" y="281"/>
                </a:lnTo>
                <a:lnTo>
                  <a:pt x="298" y="282"/>
                </a:lnTo>
                <a:lnTo>
                  <a:pt x="298" y="284"/>
                </a:lnTo>
                <a:lnTo>
                  <a:pt x="299" y="284"/>
                </a:lnTo>
                <a:lnTo>
                  <a:pt x="298" y="286"/>
                </a:lnTo>
                <a:lnTo>
                  <a:pt x="294" y="284"/>
                </a:lnTo>
                <a:lnTo>
                  <a:pt x="294" y="282"/>
                </a:lnTo>
                <a:lnTo>
                  <a:pt x="293" y="282"/>
                </a:lnTo>
                <a:lnTo>
                  <a:pt x="293" y="281"/>
                </a:lnTo>
                <a:lnTo>
                  <a:pt x="293" y="279"/>
                </a:lnTo>
                <a:lnTo>
                  <a:pt x="291" y="279"/>
                </a:lnTo>
                <a:lnTo>
                  <a:pt x="291" y="277"/>
                </a:lnTo>
                <a:lnTo>
                  <a:pt x="289" y="277"/>
                </a:lnTo>
                <a:lnTo>
                  <a:pt x="286" y="279"/>
                </a:lnTo>
                <a:lnTo>
                  <a:pt x="286" y="276"/>
                </a:lnTo>
                <a:lnTo>
                  <a:pt x="284" y="276"/>
                </a:lnTo>
                <a:lnTo>
                  <a:pt x="286" y="272"/>
                </a:lnTo>
                <a:lnTo>
                  <a:pt x="284" y="272"/>
                </a:lnTo>
                <a:lnTo>
                  <a:pt x="284" y="271"/>
                </a:lnTo>
                <a:lnTo>
                  <a:pt x="281" y="269"/>
                </a:lnTo>
                <a:lnTo>
                  <a:pt x="281" y="271"/>
                </a:lnTo>
                <a:lnTo>
                  <a:pt x="279" y="271"/>
                </a:lnTo>
                <a:lnTo>
                  <a:pt x="281" y="269"/>
                </a:lnTo>
                <a:lnTo>
                  <a:pt x="281" y="267"/>
                </a:lnTo>
                <a:lnTo>
                  <a:pt x="281" y="265"/>
                </a:lnTo>
                <a:lnTo>
                  <a:pt x="279" y="265"/>
                </a:lnTo>
                <a:lnTo>
                  <a:pt x="279" y="269"/>
                </a:lnTo>
                <a:lnTo>
                  <a:pt x="277" y="265"/>
                </a:lnTo>
                <a:lnTo>
                  <a:pt x="279" y="265"/>
                </a:lnTo>
                <a:lnTo>
                  <a:pt x="277" y="264"/>
                </a:lnTo>
                <a:lnTo>
                  <a:pt x="276" y="264"/>
                </a:lnTo>
                <a:lnTo>
                  <a:pt x="272" y="264"/>
                </a:lnTo>
                <a:lnTo>
                  <a:pt x="274" y="262"/>
                </a:lnTo>
                <a:lnTo>
                  <a:pt x="274" y="260"/>
                </a:lnTo>
                <a:lnTo>
                  <a:pt x="274" y="259"/>
                </a:lnTo>
                <a:lnTo>
                  <a:pt x="272" y="259"/>
                </a:lnTo>
                <a:lnTo>
                  <a:pt x="271" y="259"/>
                </a:lnTo>
                <a:lnTo>
                  <a:pt x="269" y="260"/>
                </a:lnTo>
                <a:lnTo>
                  <a:pt x="267" y="260"/>
                </a:lnTo>
                <a:lnTo>
                  <a:pt x="265" y="260"/>
                </a:lnTo>
                <a:lnTo>
                  <a:pt x="262" y="260"/>
                </a:lnTo>
                <a:lnTo>
                  <a:pt x="260" y="260"/>
                </a:lnTo>
                <a:lnTo>
                  <a:pt x="260" y="262"/>
                </a:lnTo>
                <a:lnTo>
                  <a:pt x="259" y="262"/>
                </a:lnTo>
                <a:lnTo>
                  <a:pt x="255" y="262"/>
                </a:lnTo>
                <a:lnTo>
                  <a:pt x="255" y="260"/>
                </a:lnTo>
                <a:lnTo>
                  <a:pt x="252" y="262"/>
                </a:lnTo>
                <a:lnTo>
                  <a:pt x="250" y="262"/>
                </a:lnTo>
                <a:lnTo>
                  <a:pt x="248" y="260"/>
                </a:lnTo>
                <a:lnTo>
                  <a:pt x="248" y="259"/>
                </a:lnTo>
                <a:lnTo>
                  <a:pt x="247" y="260"/>
                </a:lnTo>
                <a:lnTo>
                  <a:pt x="247" y="257"/>
                </a:lnTo>
                <a:lnTo>
                  <a:pt x="248" y="257"/>
                </a:lnTo>
                <a:lnTo>
                  <a:pt x="248" y="255"/>
                </a:lnTo>
                <a:lnTo>
                  <a:pt x="248" y="254"/>
                </a:lnTo>
                <a:lnTo>
                  <a:pt x="247" y="252"/>
                </a:lnTo>
                <a:lnTo>
                  <a:pt x="243" y="250"/>
                </a:lnTo>
                <a:lnTo>
                  <a:pt x="242" y="252"/>
                </a:lnTo>
                <a:lnTo>
                  <a:pt x="242" y="250"/>
                </a:lnTo>
                <a:lnTo>
                  <a:pt x="240" y="250"/>
                </a:lnTo>
                <a:lnTo>
                  <a:pt x="240" y="248"/>
                </a:lnTo>
                <a:lnTo>
                  <a:pt x="237" y="247"/>
                </a:lnTo>
                <a:lnTo>
                  <a:pt x="235" y="245"/>
                </a:lnTo>
                <a:lnTo>
                  <a:pt x="233" y="245"/>
                </a:lnTo>
                <a:lnTo>
                  <a:pt x="230" y="243"/>
                </a:lnTo>
                <a:lnTo>
                  <a:pt x="228" y="240"/>
                </a:lnTo>
                <a:lnTo>
                  <a:pt x="226" y="240"/>
                </a:lnTo>
                <a:lnTo>
                  <a:pt x="223" y="238"/>
                </a:lnTo>
                <a:lnTo>
                  <a:pt x="220" y="237"/>
                </a:lnTo>
                <a:lnTo>
                  <a:pt x="216" y="237"/>
                </a:lnTo>
                <a:lnTo>
                  <a:pt x="214" y="238"/>
                </a:lnTo>
                <a:lnTo>
                  <a:pt x="211" y="237"/>
                </a:lnTo>
                <a:lnTo>
                  <a:pt x="211" y="235"/>
                </a:lnTo>
                <a:lnTo>
                  <a:pt x="208" y="235"/>
                </a:lnTo>
                <a:lnTo>
                  <a:pt x="206" y="237"/>
                </a:lnTo>
                <a:lnTo>
                  <a:pt x="208" y="237"/>
                </a:lnTo>
                <a:lnTo>
                  <a:pt x="209" y="238"/>
                </a:lnTo>
                <a:lnTo>
                  <a:pt x="208" y="238"/>
                </a:lnTo>
                <a:lnTo>
                  <a:pt x="206" y="240"/>
                </a:lnTo>
                <a:lnTo>
                  <a:pt x="203" y="240"/>
                </a:lnTo>
                <a:lnTo>
                  <a:pt x="201" y="242"/>
                </a:lnTo>
                <a:lnTo>
                  <a:pt x="201" y="240"/>
                </a:lnTo>
                <a:lnTo>
                  <a:pt x="201" y="238"/>
                </a:lnTo>
                <a:lnTo>
                  <a:pt x="204" y="237"/>
                </a:lnTo>
                <a:lnTo>
                  <a:pt x="206" y="235"/>
                </a:lnTo>
                <a:lnTo>
                  <a:pt x="208" y="233"/>
                </a:lnTo>
                <a:lnTo>
                  <a:pt x="209" y="233"/>
                </a:lnTo>
                <a:lnTo>
                  <a:pt x="211" y="231"/>
                </a:lnTo>
                <a:lnTo>
                  <a:pt x="211" y="230"/>
                </a:lnTo>
                <a:lnTo>
                  <a:pt x="213" y="230"/>
                </a:lnTo>
                <a:lnTo>
                  <a:pt x="213" y="228"/>
                </a:lnTo>
                <a:lnTo>
                  <a:pt x="214" y="225"/>
                </a:lnTo>
                <a:lnTo>
                  <a:pt x="216" y="225"/>
                </a:lnTo>
                <a:lnTo>
                  <a:pt x="218" y="225"/>
                </a:lnTo>
                <a:lnTo>
                  <a:pt x="220" y="223"/>
                </a:lnTo>
                <a:lnTo>
                  <a:pt x="223" y="221"/>
                </a:lnTo>
                <a:close/>
                <a:moveTo>
                  <a:pt x="384" y="162"/>
                </a:moveTo>
                <a:lnTo>
                  <a:pt x="384" y="165"/>
                </a:lnTo>
                <a:lnTo>
                  <a:pt x="388" y="165"/>
                </a:lnTo>
                <a:lnTo>
                  <a:pt x="390" y="165"/>
                </a:lnTo>
                <a:lnTo>
                  <a:pt x="390" y="167"/>
                </a:lnTo>
                <a:lnTo>
                  <a:pt x="388" y="167"/>
                </a:lnTo>
                <a:lnTo>
                  <a:pt x="388" y="168"/>
                </a:lnTo>
                <a:lnTo>
                  <a:pt x="388" y="170"/>
                </a:lnTo>
                <a:lnTo>
                  <a:pt x="390" y="170"/>
                </a:lnTo>
                <a:lnTo>
                  <a:pt x="391" y="172"/>
                </a:lnTo>
                <a:lnTo>
                  <a:pt x="393" y="172"/>
                </a:lnTo>
                <a:lnTo>
                  <a:pt x="395" y="175"/>
                </a:lnTo>
                <a:lnTo>
                  <a:pt x="398" y="175"/>
                </a:lnTo>
                <a:lnTo>
                  <a:pt x="398" y="177"/>
                </a:lnTo>
                <a:lnTo>
                  <a:pt x="400" y="179"/>
                </a:lnTo>
                <a:lnTo>
                  <a:pt x="400" y="180"/>
                </a:lnTo>
                <a:lnTo>
                  <a:pt x="403" y="182"/>
                </a:lnTo>
                <a:lnTo>
                  <a:pt x="405" y="185"/>
                </a:lnTo>
                <a:lnTo>
                  <a:pt x="401" y="185"/>
                </a:lnTo>
                <a:lnTo>
                  <a:pt x="400" y="185"/>
                </a:lnTo>
                <a:lnTo>
                  <a:pt x="400" y="184"/>
                </a:lnTo>
                <a:lnTo>
                  <a:pt x="398" y="184"/>
                </a:lnTo>
                <a:lnTo>
                  <a:pt x="400" y="182"/>
                </a:lnTo>
                <a:lnTo>
                  <a:pt x="398" y="180"/>
                </a:lnTo>
                <a:lnTo>
                  <a:pt x="396" y="179"/>
                </a:lnTo>
                <a:lnTo>
                  <a:pt x="395" y="179"/>
                </a:lnTo>
                <a:lnTo>
                  <a:pt x="393" y="180"/>
                </a:lnTo>
                <a:lnTo>
                  <a:pt x="395" y="182"/>
                </a:lnTo>
                <a:lnTo>
                  <a:pt x="396" y="184"/>
                </a:lnTo>
                <a:lnTo>
                  <a:pt x="398" y="185"/>
                </a:lnTo>
                <a:lnTo>
                  <a:pt x="400" y="185"/>
                </a:lnTo>
                <a:lnTo>
                  <a:pt x="400" y="187"/>
                </a:lnTo>
                <a:lnTo>
                  <a:pt x="401" y="187"/>
                </a:lnTo>
                <a:lnTo>
                  <a:pt x="400" y="189"/>
                </a:lnTo>
                <a:lnTo>
                  <a:pt x="398" y="189"/>
                </a:lnTo>
                <a:lnTo>
                  <a:pt x="395" y="191"/>
                </a:lnTo>
                <a:lnTo>
                  <a:pt x="393" y="191"/>
                </a:lnTo>
                <a:lnTo>
                  <a:pt x="391" y="191"/>
                </a:lnTo>
                <a:lnTo>
                  <a:pt x="390" y="191"/>
                </a:lnTo>
                <a:lnTo>
                  <a:pt x="386" y="191"/>
                </a:lnTo>
                <a:lnTo>
                  <a:pt x="384" y="189"/>
                </a:lnTo>
                <a:lnTo>
                  <a:pt x="381" y="191"/>
                </a:lnTo>
                <a:lnTo>
                  <a:pt x="379" y="191"/>
                </a:lnTo>
                <a:lnTo>
                  <a:pt x="378" y="189"/>
                </a:lnTo>
                <a:lnTo>
                  <a:pt x="376" y="187"/>
                </a:lnTo>
                <a:lnTo>
                  <a:pt x="374" y="187"/>
                </a:lnTo>
                <a:lnTo>
                  <a:pt x="376" y="185"/>
                </a:lnTo>
                <a:lnTo>
                  <a:pt x="378" y="185"/>
                </a:lnTo>
                <a:lnTo>
                  <a:pt x="379" y="184"/>
                </a:lnTo>
                <a:lnTo>
                  <a:pt x="379" y="182"/>
                </a:lnTo>
                <a:lnTo>
                  <a:pt x="381" y="182"/>
                </a:lnTo>
                <a:lnTo>
                  <a:pt x="383" y="180"/>
                </a:lnTo>
                <a:lnTo>
                  <a:pt x="384" y="179"/>
                </a:lnTo>
                <a:lnTo>
                  <a:pt x="384" y="177"/>
                </a:lnTo>
                <a:lnTo>
                  <a:pt x="383" y="177"/>
                </a:lnTo>
                <a:lnTo>
                  <a:pt x="381" y="175"/>
                </a:lnTo>
                <a:lnTo>
                  <a:pt x="379" y="177"/>
                </a:lnTo>
                <a:lnTo>
                  <a:pt x="378" y="177"/>
                </a:lnTo>
                <a:lnTo>
                  <a:pt x="378" y="180"/>
                </a:lnTo>
                <a:lnTo>
                  <a:pt x="376" y="182"/>
                </a:lnTo>
                <a:lnTo>
                  <a:pt x="376" y="185"/>
                </a:lnTo>
                <a:lnTo>
                  <a:pt x="374" y="184"/>
                </a:lnTo>
                <a:lnTo>
                  <a:pt x="374" y="187"/>
                </a:lnTo>
                <a:lnTo>
                  <a:pt x="373" y="187"/>
                </a:lnTo>
                <a:lnTo>
                  <a:pt x="373" y="185"/>
                </a:lnTo>
                <a:lnTo>
                  <a:pt x="369" y="185"/>
                </a:lnTo>
                <a:lnTo>
                  <a:pt x="367" y="187"/>
                </a:lnTo>
                <a:lnTo>
                  <a:pt x="366" y="185"/>
                </a:lnTo>
                <a:lnTo>
                  <a:pt x="364" y="185"/>
                </a:lnTo>
                <a:lnTo>
                  <a:pt x="362" y="184"/>
                </a:lnTo>
                <a:lnTo>
                  <a:pt x="361" y="184"/>
                </a:lnTo>
                <a:lnTo>
                  <a:pt x="359" y="182"/>
                </a:lnTo>
                <a:lnTo>
                  <a:pt x="361" y="182"/>
                </a:lnTo>
                <a:lnTo>
                  <a:pt x="361" y="179"/>
                </a:lnTo>
                <a:lnTo>
                  <a:pt x="359" y="179"/>
                </a:lnTo>
                <a:lnTo>
                  <a:pt x="359" y="177"/>
                </a:lnTo>
                <a:lnTo>
                  <a:pt x="361" y="175"/>
                </a:lnTo>
                <a:lnTo>
                  <a:pt x="362" y="175"/>
                </a:lnTo>
                <a:lnTo>
                  <a:pt x="361" y="174"/>
                </a:lnTo>
                <a:lnTo>
                  <a:pt x="364" y="175"/>
                </a:lnTo>
                <a:lnTo>
                  <a:pt x="366" y="174"/>
                </a:lnTo>
                <a:lnTo>
                  <a:pt x="367" y="174"/>
                </a:lnTo>
                <a:lnTo>
                  <a:pt x="369" y="172"/>
                </a:lnTo>
                <a:lnTo>
                  <a:pt x="371" y="172"/>
                </a:lnTo>
                <a:lnTo>
                  <a:pt x="371" y="170"/>
                </a:lnTo>
                <a:lnTo>
                  <a:pt x="373" y="170"/>
                </a:lnTo>
                <a:lnTo>
                  <a:pt x="374" y="168"/>
                </a:lnTo>
                <a:lnTo>
                  <a:pt x="376" y="168"/>
                </a:lnTo>
                <a:lnTo>
                  <a:pt x="374" y="165"/>
                </a:lnTo>
                <a:lnTo>
                  <a:pt x="376" y="165"/>
                </a:lnTo>
                <a:lnTo>
                  <a:pt x="378" y="163"/>
                </a:lnTo>
                <a:lnTo>
                  <a:pt x="379" y="163"/>
                </a:lnTo>
                <a:lnTo>
                  <a:pt x="383" y="163"/>
                </a:lnTo>
                <a:lnTo>
                  <a:pt x="383" y="162"/>
                </a:lnTo>
                <a:lnTo>
                  <a:pt x="384" y="162"/>
                </a:lnTo>
                <a:close/>
                <a:moveTo>
                  <a:pt x="537" y="342"/>
                </a:moveTo>
                <a:lnTo>
                  <a:pt x="539" y="344"/>
                </a:lnTo>
                <a:lnTo>
                  <a:pt x="539" y="345"/>
                </a:lnTo>
                <a:lnTo>
                  <a:pt x="541" y="347"/>
                </a:lnTo>
                <a:lnTo>
                  <a:pt x="539" y="349"/>
                </a:lnTo>
                <a:lnTo>
                  <a:pt x="539" y="350"/>
                </a:lnTo>
                <a:lnTo>
                  <a:pt x="539" y="352"/>
                </a:lnTo>
                <a:lnTo>
                  <a:pt x="537" y="356"/>
                </a:lnTo>
                <a:lnTo>
                  <a:pt x="539" y="357"/>
                </a:lnTo>
                <a:lnTo>
                  <a:pt x="537" y="359"/>
                </a:lnTo>
                <a:lnTo>
                  <a:pt x="537" y="362"/>
                </a:lnTo>
                <a:lnTo>
                  <a:pt x="536" y="362"/>
                </a:lnTo>
                <a:lnTo>
                  <a:pt x="536" y="366"/>
                </a:lnTo>
                <a:lnTo>
                  <a:pt x="536" y="369"/>
                </a:lnTo>
                <a:lnTo>
                  <a:pt x="537" y="369"/>
                </a:lnTo>
                <a:lnTo>
                  <a:pt x="536" y="371"/>
                </a:lnTo>
                <a:lnTo>
                  <a:pt x="537" y="373"/>
                </a:lnTo>
                <a:lnTo>
                  <a:pt x="536" y="373"/>
                </a:lnTo>
                <a:lnTo>
                  <a:pt x="534" y="371"/>
                </a:lnTo>
                <a:lnTo>
                  <a:pt x="532" y="373"/>
                </a:lnTo>
                <a:lnTo>
                  <a:pt x="531" y="374"/>
                </a:lnTo>
                <a:lnTo>
                  <a:pt x="529" y="374"/>
                </a:lnTo>
                <a:lnTo>
                  <a:pt x="529" y="378"/>
                </a:lnTo>
                <a:lnTo>
                  <a:pt x="527" y="381"/>
                </a:lnTo>
                <a:lnTo>
                  <a:pt x="527" y="385"/>
                </a:lnTo>
                <a:lnTo>
                  <a:pt x="526" y="386"/>
                </a:lnTo>
                <a:lnTo>
                  <a:pt x="524" y="388"/>
                </a:lnTo>
                <a:lnTo>
                  <a:pt x="522" y="388"/>
                </a:lnTo>
                <a:lnTo>
                  <a:pt x="519" y="386"/>
                </a:lnTo>
                <a:lnTo>
                  <a:pt x="519" y="385"/>
                </a:lnTo>
                <a:lnTo>
                  <a:pt x="519" y="381"/>
                </a:lnTo>
                <a:lnTo>
                  <a:pt x="519" y="379"/>
                </a:lnTo>
                <a:lnTo>
                  <a:pt x="519" y="378"/>
                </a:lnTo>
                <a:lnTo>
                  <a:pt x="519" y="374"/>
                </a:lnTo>
                <a:lnTo>
                  <a:pt x="517" y="374"/>
                </a:lnTo>
                <a:lnTo>
                  <a:pt x="515" y="373"/>
                </a:lnTo>
                <a:lnTo>
                  <a:pt x="514" y="371"/>
                </a:lnTo>
                <a:lnTo>
                  <a:pt x="512" y="371"/>
                </a:lnTo>
                <a:lnTo>
                  <a:pt x="515" y="369"/>
                </a:lnTo>
                <a:lnTo>
                  <a:pt x="517" y="368"/>
                </a:lnTo>
                <a:lnTo>
                  <a:pt x="517" y="364"/>
                </a:lnTo>
                <a:lnTo>
                  <a:pt x="517" y="362"/>
                </a:lnTo>
                <a:lnTo>
                  <a:pt x="517" y="361"/>
                </a:lnTo>
                <a:lnTo>
                  <a:pt x="519" y="359"/>
                </a:lnTo>
                <a:lnTo>
                  <a:pt x="520" y="357"/>
                </a:lnTo>
                <a:lnTo>
                  <a:pt x="520" y="356"/>
                </a:lnTo>
                <a:lnTo>
                  <a:pt x="522" y="356"/>
                </a:lnTo>
                <a:lnTo>
                  <a:pt x="522" y="354"/>
                </a:lnTo>
                <a:lnTo>
                  <a:pt x="524" y="352"/>
                </a:lnTo>
                <a:lnTo>
                  <a:pt x="526" y="352"/>
                </a:lnTo>
                <a:lnTo>
                  <a:pt x="527" y="350"/>
                </a:lnTo>
                <a:lnTo>
                  <a:pt x="529" y="349"/>
                </a:lnTo>
                <a:lnTo>
                  <a:pt x="531" y="347"/>
                </a:lnTo>
                <a:lnTo>
                  <a:pt x="532" y="345"/>
                </a:lnTo>
                <a:lnTo>
                  <a:pt x="534" y="345"/>
                </a:lnTo>
                <a:lnTo>
                  <a:pt x="536" y="345"/>
                </a:lnTo>
                <a:lnTo>
                  <a:pt x="537" y="342"/>
                </a:lnTo>
                <a:close/>
                <a:moveTo>
                  <a:pt x="378" y="221"/>
                </a:moveTo>
                <a:lnTo>
                  <a:pt x="381" y="221"/>
                </a:lnTo>
                <a:lnTo>
                  <a:pt x="383" y="223"/>
                </a:lnTo>
                <a:lnTo>
                  <a:pt x="384" y="223"/>
                </a:lnTo>
                <a:lnTo>
                  <a:pt x="384" y="225"/>
                </a:lnTo>
                <a:lnTo>
                  <a:pt x="384" y="223"/>
                </a:lnTo>
                <a:lnTo>
                  <a:pt x="386" y="225"/>
                </a:lnTo>
                <a:lnTo>
                  <a:pt x="386" y="223"/>
                </a:lnTo>
                <a:lnTo>
                  <a:pt x="388" y="225"/>
                </a:lnTo>
                <a:lnTo>
                  <a:pt x="388" y="226"/>
                </a:lnTo>
                <a:lnTo>
                  <a:pt x="386" y="228"/>
                </a:lnTo>
                <a:lnTo>
                  <a:pt x="388" y="228"/>
                </a:lnTo>
                <a:lnTo>
                  <a:pt x="388" y="230"/>
                </a:lnTo>
                <a:lnTo>
                  <a:pt x="388" y="233"/>
                </a:lnTo>
                <a:lnTo>
                  <a:pt x="390" y="237"/>
                </a:lnTo>
                <a:lnTo>
                  <a:pt x="390" y="238"/>
                </a:lnTo>
                <a:lnTo>
                  <a:pt x="391" y="238"/>
                </a:lnTo>
                <a:lnTo>
                  <a:pt x="391" y="240"/>
                </a:lnTo>
                <a:lnTo>
                  <a:pt x="388" y="243"/>
                </a:lnTo>
                <a:lnTo>
                  <a:pt x="390" y="245"/>
                </a:lnTo>
                <a:lnTo>
                  <a:pt x="390" y="247"/>
                </a:lnTo>
                <a:lnTo>
                  <a:pt x="388" y="248"/>
                </a:lnTo>
                <a:lnTo>
                  <a:pt x="386" y="248"/>
                </a:lnTo>
                <a:lnTo>
                  <a:pt x="386" y="252"/>
                </a:lnTo>
                <a:lnTo>
                  <a:pt x="386" y="254"/>
                </a:lnTo>
                <a:lnTo>
                  <a:pt x="383" y="252"/>
                </a:lnTo>
                <a:lnTo>
                  <a:pt x="381" y="250"/>
                </a:lnTo>
                <a:lnTo>
                  <a:pt x="379" y="252"/>
                </a:lnTo>
                <a:lnTo>
                  <a:pt x="379" y="248"/>
                </a:lnTo>
                <a:lnTo>
                  <a:pt x="378" y="250"/>
                </a:lnTo>
                <a:lnTo>
                  <a:pt x="378" y="248"/>
                </a:lnTo>
                <a:lnTo>
                  <a:pt x="376" y="248"/>
                </a:lnTo>
                <a:lnTo>
                  <a:pt x="376" y="247"/>
                </a:lnTo>
                <a:lnTo>
                  <a:pt x="378" y="243"/>
                </a:lnTo>
                <a:lnTo>
                  <a:pt x="379" y="245"/>
                </a:lnTo>
                <a:lnTo>
                  <a:pt x="379" y="243"/>
                </a:lnTo>
                <a:lnTo>
                  <a:pt x="381" y="243"/>
                </a:lnTo>
                <a:lnTo>
                  <a:pt x="381" y="242"/>
                </a:lnTo>
                <a:lnTo>
                  <a:pt x="381" y="240"/>
                </a:lnTo>
                <a:lnTo>
                  <a:pt x="381" y="238"/>
                </a:lnTo>
                <a:lnTo>
                  <a:pt x="381" y="237"/>
                </a:lnTo>
                <a:lnTo>
                  <a:pt x="378" y="237"/>
                </a:lnTo>
                <a:lnTo>
                  <a:pt x="378" y="233"/>
                </a:lnTo>
                <a:lnTo>
                  <a:pt x="376" y="231"/>
                </a:lnTo>
                <a:lnTo>
                  <a:pt x="374" y="231"/>
                </a:lnTo>
                <a:lnTo>
                  <a:pt x="373" y="231"/>
                </a:lnTo>
                <a:lnTo>
                  <a:pt x="371" y="228"/>
                </a:lnTo>
                <a:lnTo>
                  <a:pt x="369" y="228"/>
                </a:lnTo>
                <a:lnTo>
                  <a:pt x="371" y="225"/>
                </a:lnTo>
                <a:lnTo>
                  <a:pt x="373" y="223"/>
                </a:lnTo>
                <a:lnTo>
                  <a:pt x="374" y="223"/>
                </a:lnTo>
                <a:lnTo>
                  <a:pt x="378" y="221"/>
                </a:lnTo>
                <a:close/>
                <a:moveTo>
                  <a:pt x="78" y="286"/>
                </a:moveTo>
                <a:lnTo>
                  <a:pt x="80" y="288"/>
                </a:lnTo>
                <a:lnTo>
                  <a:pt x="82" y="289"/>
                </a:lnTo>
                <a:lnTo>
                  <a:pt x="82" y="291"/>
                </a:lnTo>
                <a:lnTo>
                  <a:pt x="84" y="293"/>
                </a:lnTo>
                <a:lnTo>
                  <a:pt x="84" y="294"/>
                </a:lnTo>
                <a:lnTo>
                  <a:pt x="84" y="298"/>
                </a:lnTo>
                <a:lnTo>
                  <a:pt x="82" y="298"/>
                </a:lnTo>
                <a:lnTo>
                  <a:pt x="84" y="299"/>
                </a:lnTo>
                <a:lnTo>
                  <a:pt x="85" y="301"/>
                </a:lnTo>
                <a:lnTo>
                  <a:pt x="87" y="299"/>
                </a:lnTo>
                <a:lnTo>
                  <a:pt x="87" y="301"/>
                </a:lnTo>
                <a:lnTo>
                  <a:pt x="89" y="301"/>
                </a:lnTo>
                <a:lnTo>
                  <a:pt x="90" y="303"/>
                </a:lnTo>
                <a:lnTo>
                  <a:pt x="92" y="306"/>
                </a:lnTo>
                <a:lnTo>
                  <a:pt x="94" y="306"/>
                </a:lnTo>
                <a:lnTo>
                  <a:pt x="94" y="308"/>
                </a:lnTo>
                <a:lnTo>
                  <a:pt x="95" y="308"/>
                </a:lnTo>
                <a:lnTo>
                  <a:pt x="95" y="310"/>
                </a:lnTo>
                <a:lnTo>
                  <a:pt x="97" y="310"/>
                </a:lnTo>
                <a:lnTo>
                  <a:pt x="97" y="313"/>
                </a:lnTo>
                <a:lnTo>
                  <a:pt x="95" y="315"/>
                </a:lnTo>
                <a:lnTo>
                  <a:pt x="94" y="313"/>
                </a:lnTo>
                <a:lnTo>
                  <a:pt x="94" y="315"/>
                </a:lnTo>
                <a:lnTo>
                  <a:pt x="90" y="315"/>
                </a:lnTo>
                <a:lnTo>
                  <a:pt x="89" y="313"/>
                </a:lnTo>
                <a:lnTo>
                  <a:pt x="87" y="311"/>
                </a:lnTo>
                <a:lnTo>
                  <a:pt x="85" y="311"/>
                </a:lnTo>
                <a:lnTo>
                  <a:pt x="84" y="313"/>
                </a:lnTo>
                <a:lnTo>
                  <a:pt x="80" y="313"/>
                </a:lnTo>
                <a:lnTo>
                  <a:pt x="78" y="311"/>
                </a:lnTo>
                <a:lnTo>
                  <a:pt x="77" y="310"/>
                </a:lnTo>
                <a:lnTo>
                  <a:pt x="77" y="308"/>
                </a:lnTo>
                <a:lnTo>
                  <a:pt x="78" y="308"/>
                </a:lnTo>
                <a:lnTo>
                  <a:pt x="77" y="306"/>
                </a:lnTo>
                <a:lnTo>
                  <a:pt x="75" y="303"/>
                </a:lnTo>
                <a:lnTo>
                  <a:pt x="75" y="301"/>
                </a:lnTo>
                <a:lnTo>
                  <a:pt x="73" y="303"/>
                </a:lnTo>
                <a:lnTo>
                  <a:pt x="75" y="305"/>
                </a:lnTo>
                <a:lnTo>
                  <a:pt x="75" y="306"/>
                </a:lnTo>
                <a:lnTo>
                  <a:pt x="75" y="310"/>
                </a:lnTo>
                <a:lnTo>
                  <a:pt x="73" y="310"/>
                </a:lnTo>
                <a:lnTo>
                  <a:pt x="72" y="311"/>
                </a:lnTo>
                <a:lnTo>
                  <a:pt x="72" y="310"/>
                </a:lnTo>
                <a:lnTo>
                  <a:pt x="70" y="310"/>
                </a:lnTo>
                <a:lnTo>
                  <a:pt x="70" y="308"/>
                </a:lnTo>
                <a:lnTo>
                  <a:pt x="70" y="306"/>
                </a:lnTo>
                <a:lnTo>
                  <a:pt x="70" y="303"/>
                </a:lnTo>
                <a:lnTo>
                  <a:pt x="72" y="303"/>
                </a:lnTo>
                <a:lnTo>
                  <a:pt x="72" y="301"/>
                </a:lnTo>
                <a:lnTo>
                  <a:pt x="72" y="299"/>
                </a:lnTo>
                <a:lnTo>
                  <a:pt x="72" y="298"/>
                </a:lnTo>
                <a:lnTo>
                  <a:pt x="72" y="296"/>
                </a:lnTo>
                <a:lnTo>
                  <a:pt x="72" y="298"/>
                </a:lnTo>
                <a:lnTo>
                  <a:pt x="73" y="296"/>
                </a:lnTo>
                <a:lnTo>
                  <a:pt x="73" y="298"/>
                </a:lnTo>
                <a:lnTo>
                  <a:pt x="75" y="298"/>
                </a:lnTo>
                <a:lnTo>
                  <a:pt x="75" y="299"/>
                </a:lnTo>
                <a:lnTo>
                  <a:pt x="77" y="298"/>
                </a:lnTo>
                <a:lnTo>
                  <a:pt x="78" y="296"/>
                </a:lnTo>
                <a:lnTo>
                  <a:pt x="78" y="294"/>
                </a:lnTo>
                <a:lnTo>
                  <a:pt x="78" y="293"/>
                </a:lnTo>
                <a:lnTo>
                  <a:pt x="78" y="289"/>
                </a:lnTo>
                <a:lnTo>
                  <a:pt x="77" y="288"/>
                </a:lnTo>
                <a:lnTo>
                  <a:pt x="78" y="286"/>
                </a:lnTo>
                <a:close/>
                <a:moveTo>
                  <a:pt x="26" y="196"/>
                </a:moveTo>
                <a:lnTo>
                  <a:pt x="27" y="197"/>
                </a:lnTo>
                <a:lnTo>
                  <a:pt x="31" y="199"/>
                </a:lnTo>
                <a:lnTo>
                  <a:pt x="31" y="197"/>
                </a:lnTo>
                <a:lnTo>
                  <a:pt x="33" y="199"/>
                </a:lnTo>
                <a:lnTo>
                  <a:pt x="31" y="202"/>
                </a:lnTo>
                <a:lnTo>
                  <a:pt x="29" y="202"/>
                </a:lnTo>
                <a:lnTo>
                  <a:pt x="27" y="204"/>
                </a:lnTo>
                <a:lnTo>
                  <a:pt x="26" y="206"/>
                </a:lnTo>
                <a:lnTo>
                  <a:pt x="27" y="208"/>
                </a:lnTo>
                <a:lnTo>
                  <a:pt x="27" y="209"/>
                </a:lnTo>
                <a:lnTo>
                  <a:pt x="27" y="208"/>
                </a:lnTo>
                <a:lnTo>
                  <a:pt x="29" y="209"/>
                </a:lnTo>
                <a:lnTo>
                  <a:pt x="31" y="209"/>
                </a:lnTo>
                <a:lnTo>
                  <a:pt x="33" y="209"/>
                </a:lnTo>
                <a:lnTo>
                  <a:pt x="33" y="211"/>
                </a:lnTo>
                <a:lnTo>
                  <a:pt x="31" y="211"/>
                </a:lnTo>
                <a:lnTo>
                  <a:pt x="33" y="213"/>
                </a:lnTo>
                <a:lnTo>
                  <a:pt x="33" y="214"/>
                </a:lnTo>
                <a:lnTo>
                  <a:pt x="33" y="216"/>
                </a:lnTo>
                <a:lnTo>
                  <a:pt x="34" y="220"/>
                </a:lnTo>
                <a:lnTo>
                  <a:pt x="34" y="221"/>
                </a:lnTo>
                <a:lnTo>
                  <a:pt x="36" y="221"/>
                </a:lnTo>
                <a:lnTo>
                  <a:pt x="38" y="221"/>
                </a:lnTo>
                <a:lnTo>
                  <a:pt x="39" y="223"/>
                </a:lnTo>
                <a:lnTo>
                  <a:pt x="41" y="221"/>
                </a:lnTo>
                <a:lnTo>
                  <a:pt x="41" y="220"/>
                </a:lnTo>
                <a:lnTo>
                  <a:pt x="43" y="221"/>
                </a:lnTo>
                <a:lnTo>
                  <a:pt x="44" y="223"/>
                </a:lnTo>
                <a:lnTo>
                  <a:pt x="43" y="223"/>
                </a:lnTo>
                <a:lnTo>
                  <a:pt x="44" y="223"/>
                </a:lnTo>
                <a:lnTo>
                  <a:pt x="44" y="225"/>
                </a:lnTo>
                <a:lnTo>
                  <a:pt x="44" y="226"/>
                </a:lnTo>
                <a:lnTo>
                  <a:pt x="43" y="226"/>
                </a:lnTo>
                <a:lnTo>
                  <a:pt x="41" y="226"/>
                </a:lnTo>
                <a:lnTo>
                  <a:pt x="39" y="225"/>
                </a:lnTo>
                <a:lnTo>
                  <a:pt x="38" y="225"/>
                </a:lnTo>
                <a:lnTo>
                  <a:pt x="36" y="225"/>
                </a:lnTo>
                <a:lnTo>
                  <a:pt x="34" y="223"/>
                </a:lnTo>
                <a:lnTo>
                  <a:pt x="33" y="223"/>
                </a:lnTo>
                <a:lnTo>
                  <a:pt x="31" y="223"/>
                </a:lnTo>
                <a:lnTo>
                  <a:pt x="29" y="220"/>
                </a:lnTo>
                <a:lnTo>
                  <a:pt x="29" y="218"/>
                </a:lnTo>
                <a:lnTo>
                  <a:pt x="29" y="216"/>
                </a:lnTo>
                <a:lnTo>
                  <a:pt x="27" y="214"/>
                </a:lnTo>
                <a:lnTo>
                  <a:pt x="26" y="213"/>
                </a:lnTo>
                <a:lnTo>
                  <a:pt x="24" y="213"/>
                </a:lnTo>
                <a:lnTo>
                  <a:pt x="24" y="211"/>
                </a:lnTo>
                <a:lnTo>
                  <a:pt x="22" y="211"/>
                </a:lnTo>
                <a:lnTo>
                  <a:pt x="21" y="209"/>
                </a:lnTo>
                <a:lnTo>
                  <a:pt x="21" y="208"/>
                </a:lnTo>
                <a:lnTo>
                  <a:pt x="17" y="208"/>
                </a:lnTo>
                <a:lnTo>
                  <a:pt x="17" y="206"/>
                </a:lnTo>
                <a:lnTo>
                  <a:pt x="17" y="204"/>
                </a:lnTo>
                <a:lnTo>
                  <a:pt x="16" y="206"/>
                </a:lnTo>
                <a:lnTo>
                  <a:pt x="16" y="204"/>
                </a:lnTo>
                <a:lnTo>
                  <a:pt x="14" y="202"/>
                </a:lnTo>
                <a:lnTo>
                  <a:pt x="16" y="202"/>
                </a:lnTo>
                <a:lnTo>
                  <a:pt x="16" y="201"/>
                </a:lnTo>
                <a:lnTo>
                  <a:pt x="17" y="199"/>
                </a:lnTo>
                <a:lnTo>
                  <a:pt x="19" y="199"/>
                </a:lnTo>
                <a:lnTo>
                  <a:pt x="21" y="199"/>
                </a:lnTo>
                <a:lnTo>
                  <a:pt x="22" y="199"/>
                </a:lnTo>
                <a:lnTo>
                  <a:pt x="24" y="199"/>
                </a:lnTo>
                <a:lnTo>
                  <a:pt x="24" y="197"/>
                </a:lnTo>
                <a:lnTo>
                  <a:pt x="26" y="196"/>
                </a:lnTo>
                <a:close/>
                <a:moveTo>
                  <a:pt x="325" y="129"/>
                </a:moveTo>
                <a:lnTo>
                  <a:pt x="327" y="131"/>
                </a:lnTo>
                <a:lnTo>
                  <a:pt x="325" y="133"/>
                </a:lnTo>
                <a:lnTo>
                  <a:pt x="323" y="134"/>
                </a:lnTo>
                <a:lnTo>
                  <a:pt x="323" y="138"/>
                </a:lnTo>
                <a:lnTo>
                  <a:pt x="323" y="140"/>
                </a:lnTo>
                <a:lnTo>
                  <a:pt x="322" y="140"/>
                </a:lnTo>
                <a:lnTo>
                  <a:pt x="323" y="141"/>
                </a:lnTo>
                <a:lnTo>
                  <a:pt x="323" y="143"/>
                </a:lnTo>
                <a:lnTo>
                  <a:pt x="325" y="145"/>
                </a:lnTo>
                <a:lnTo>
                  <a:pt x="323" y="145"/>
                </a:lnTo>
                <a:lnTo>
                  <a:pt x="325" y="146"/>
                </a:lnTo>
                <a:lnTo>
                  <a:pt x="322" y="146"/>
                </a:lnTo>
                <a:lnTo>
                  <a:pt x="320" y="145"/>
                </a:lnTo>
                <a:lnTo>
                  <a:pt x="318" y="145"/>
                </a:lnTo>
                <a:lnTo>
                  <a:pt x="318" y="143"/>
                </a:lnTo>
                <a:lnTo>
                  <a:pt x="316" y="143"/>
                </a:lnTo>
                <a:lnTo>
                  <a:pt x="318" y="141"/>
                </a:lnTo>
                <a:lnTo>
                  <a:pt x="318" y="140"/>
                </a:lnTo>
                <a:lnTo>
                  <a:pt x="316" y="138"/>
                </a:lnTo>
                <a:lnTo>
                  <a:pt x="316" y="140"/>
                </a:lnTo>
                <a:lnTo>
                  <a:pt x="315" y="141"/>
                </a:lnTo>
                <a:lnTo>
                  <a:pt x="316" y="141"/>
                </a:lnTo>
                <a:lnTo>
                  <a:pt x="315" y="141"/>
                </a:lnTo>
                <a:lnTo>
                  <a:pt x="313" y="143"/>
                </a:lnTo>
                <a:lnTo>
                  <a:pt x="316" y="145"/>
                </a:lnTo>
                <a:lnTo>
                  <a:pt x="316" y="146"/>
                </a:lnTo>
                <a:lnTo>
                  <a:pt x="313" y="148"/>
                </a:lnTo>
                <a:lnTo>
                  <a:pt x="313" y="146"/>
                </a:lnTo>
                <a:lnTo>
                  <a:pt x="313" y="148"/>
                </a:lnTo>
                <a:lnTo>
                  <a:pt x="311" y="146"/>
                </a:lnTo>
                <a:lnTo>
                  <a:pt x="313" y="145"/>
                </a:lnTo>
                <a:lnTo>
                  <a:pt x="313" y="143"/>
                </a:lnTo>
                <a:lnTo>
                  <a:pt x="311" y="145"/>
                </a:lnTo>
                <a:lnTo>
                  <a:pt x="310" y="145"/>
                </a:lnTo>
                <a:lnTo>
                  <a:pt x="310" y="146"/>
                </a:lnTo>
                <a:lnTo>
                  <a:pt x="308" y="146"/>
                </a:lnTo>
                <a:lnTo>
                  <a:pt x="306" y="146"/>
                </a:lnTo>
                <a:lnTo>
                  <a:pt x="308" y="145"/>
                </a:lnTo>
                <a:lnTo>
                  <a:pt x="306" y="145"/>
                </a:lnTo>
                <a:lnTo>
                  <a:pt x="308" y="143"/>
                </a:lnTo>
                <a:lnTo>
                  <a:pt x="306" y="143"/>
                </a:lnTo>
                <a:lnTo>
                  <a:pt x="306" y="140"/>
                </a:lnTo>
                <a:lnTo>
                  <a:pt x="305" y="136"/>
                </a:lnTo>
                <a:lnTo>
                  <a:pt x="308" y="134"/>
                </a:lnTo>
                <a:lnTo>
                  <a:pt x="310" y="133"/>
                </a:lnTo>
                <a:lnTo>
                  <a:pt x="311" y="134"/>
                </a:lnTo>
                <a:lnTo>
                  <a:pt x="313" y="133"/>
                </a:lnTo>
                <a:lnTo>
                  <a:pt x="315" y="133"/>
                </a:lnTo>
                <a:lnTo>
                  <a:pt x="316" y="133"/>
                </a:lnTo>
                <a:lnTo>
                  <a:pt x="316" y="134"/>
                </a:lnTo>
                <a:lnTo>
                  <a:pt x="318" y="136"/>
                </a:lnTo>
                <a:lnTo>
                  <a:pt x="320" y="134"/>
                </a:lnTo>
                <a:lnTo>
                  <a:pt x="322" y="134"/>
                </a:lnTo>
                <a:lnTo>
                  <a:pt x="320" y="133"/>
                </a:lnTo>
                <a:lnTo>
                  <a:pt x="322" y="131"/>
                </a:lnTo>
                <a:lnTo>
                  <a:pt x="322" y="129"/>
                </a:lnTo>
                <a:lnTo>
                  <a:pt x="323" y="131"/>
                </a:lnTo>
                <a:lnTo>
                  <a:pt x="323" y="129"/>
                </a:lnTo>
                <a:lnTo>
                  <a:pt x="325" y="128"/>
                </a:lnTo>
                <a:lnTo>
                  <a:pt x="325" y="129"/>
                </a:lnTo>
                <a:close/>
                <a:moveTo>
                  <a:pt x="432" y="267"/>
                </a:moveTo>
                <a:lnTo>
                  <a:pt x="434" y="267"/>
                </a:lnTo>
                <a:lnTo>
                  <a:pt x="435" y="267"/>
                </a:lnTo>
                <a:lnTo>
                  <a:pt x="437" y="267"/>
                </a:lnTo>
                <a:lnTo>
                  <a:pt x="439" y="267"/>
                </a:lnTo>
                <a:lnTo>
                  <a:pt x="442" y="267"/>
                </a:lnTo>
                <a:lnTo>
                  <a:pt x="444" y="269"/>
                </a:lnTo>
                <a:lnTo>
                  <a:pt x="446" y="269"/>
                </a:lnTo>
                <a:lnTo>
                  <a:pt x="444" y="265"/>
                </a:lnTo>
                <a:lnTo>
                  <a:pt x="446" y="267"/>
                </a:lnTo>
                <a:lnTo>
                  <a:pt x="446" y="265"/>
                </a:lnTo>
                <a:lnTo>
                  <a:pt x="446" y="267"/>
                </a:lnTo>
                <a:lnTo>
                  <a:pt x="447" y="265"/>
                </a:lnTo>
                <a:lnTo>
                  <a:pt x="449" y="265"/>
                </a:lnTo>
                <a:lnTo>
                  <a:pt x="447" y="267"/>
                </a:lnTo>
                <a:lnTo>
                  <a:pt x="449" y="269"/>
                </a:lnTo>
                <a:lnTo>
                  <a:pt x="451" y="269"/>
                </a:lnTo>
                <a:lnTo>
                  <a:pt x="451" y="271"/>
                </a:lnTo>
                <a:lnTo>
                  <a:pt x="449" y="271"/>
                </a:lnTo>
                <a:lnTo>
                  <a:pt x="446" y="272"/>
                </a:lnTo>
                <a:lnTo>
                  <a:pt x="446" y="274"/>
                </a:lnTo>
                <a:lnTo>
                  <a:pt x="442" y="274"/>
                </a:lnTo>
                <a:lnTo>
                  <a:pt x="442" y="276"/>
                </a:lnTo>
                <a:lnTo>
                  <a:pt x="442" y="277"/>
                </a:lnTo>
                <a:lnTo>
                  <a:pt x="441" y="277"/>
                </a:lnTo>
                <a:lnTo>
                  <a:pt x="439" y="279"/>
                </a:lnTo>
                <a:lnTo>
                  <a:pt x="437" y="279"/>
                </a:lnTo>
                <a:lnTo>
                  <a:pt x="435" y="276"/>
                </a:lnTo>
                <a:lnTo>
                  <a:pt x="434" y="276"/>
                </a:lnTo>
                <a:lnTo>
                  <a:pt x="432" y="274"/>
                </a:lnTo>
                <a:lnTo>
                  <a:pt x="430" y="276"/>
                </a:lnTo>
                <a:lnTo>
                  <a:pt x="427" y="276"/>
                </a:lnTo>
                <a:lnTo>
                  <a:pt x="427" y="277"/>
                </a:lnTo>
                <a:lnTo>
                  <a:pt x="425" y="279"/>
                </a:lnTo>
                <a:lnTo>
                  <a:pt x="424" y="277"/>
                </a:lnTo>
                <a:lnTo>
                  <a:pt x="424" y="276"/>
                </a:lnTo>
                <a:lnTo>
                  <a:pt x="424" y="272"/>
                </a:lnTo>
                <a:lnTo>
                  <a:pt x="427" y="272"/>
                </a:lnTo>
                <a:lnTo>
                  <a:pt x="427" y="269"/>
                </a:lnTo>
                <a:lnTo>
                  <a:pt x="429" y="269"/>
                </a:lnTo>
                <a:lnTo>
                  <a:pt x="430" y="267"/>
                </a:lnTo>
                <a:lnTo>
                  <a:pt x="432" y="267"/>
                </a:lnTo>
                <a:close/>
                <a:moveTo>
                  <a:pt x="374" y="325"/>
                </a:moveTo>
                <a:lnTo>
                  <a:pt x="374" y="327"/>
                </a:lnTo>
                <a:lnTo>
                  <a:pt x="376" y="327"/>
                </a:lnTo>
                <a:lnTo>
                  <a:pt x="378" y="328"/>
                </a:lnTo>
                <a:lnTo>
                  <a:pt x="379" y="330"/>
                </a:lnTo>
                <a:lnTo>
                  <a:pt x="379" y="333"/>
                </a:lnTo>
                <a:lnTo>
                  <a:pt x="378" y="333"/>
                </a:lnTo>
                <a:lnTo>
                  <a:pt x="379" y="335"/>
                </a:lnTo>
                <a:lnTo>
                  <a:pt x="379" y="339"/>
                </a:lnTo>
                <a:lnTo>
                  <a:pt x="378" y="339"/>
                </a:lnTo>
                <a:lnTo>
                  <a:pt x="379" y="340"/>
                </a:lnTo>
                <a:lnTo>
                  <a:pt x="378" y="342"/>
                </a:lnTo>
                <a:lnTo>
                  <a:pt x="376" y="344"/>
                </a:lnTo>
                <a:lnTo>
                  <a:pt x="374" y="345"/>
                </a:lnTo>
                <a:lnTo>
                  <a:pt x="373" y="347"/>
                </a:lnTo>
                <a:lnTo>
                  <a:pt x="371" y="345"/>
                </a:lnTo>
                <a:lnTo>
                  <a:pt x="371" y="344"/>
                </a:lnTo>
                <a:lnTo>
                  <a:pt x="369" y="344"/>
                </a:lnTo>
                <a:lnTo>
                  <a:pt x="369" y="342"/>
                </a:lnTo>
                <a:lnTo>
                  <a:pt x="367" y="340"/>
                </a:lnTo>
                <a:lnTo>
                  <a:pt x="367" y="339"/>
                </a:lnTo>
                <a:lnTo>
                  <a:pt x="366" y="337"/>
                </a:lnTo>
                <a:lnTo>
                  <a:pt x="364" y="337"/>
                </a:lnTo>
                <a:lnTo>
                  <a:pt x="364" y="335"/>
                </a:lnTo>
                <a:lnTo>
                  <a:pt x="366" y="335"/>
                </a:lnTo>
                <a:lnTo>
                  <a:pt x="366" y="333"/>
                </a:lnTo>
                <a:lnTo>
                  <a:pt x="367" y="332"/>
                </a:lnTo>
                <a:lnTo>
                  <a:pt x="371" y="330"/>
                </a:lnTo>
                <a:lnTo>
                  <a:pt x="371" y="328"/>
                </a:lnTo>
                <a:lnTo>
                  <a:pt x="371" y="327"/>
                </a:lnTo>
                <a:lnTo>
                  <a:pt x="374" y="325"/>
                </a:lnTo>
                <a:close/>
                <a:moveTo>
                  <a:pt x="92" y="323"/>
                </a:moveTo>
                <a:lnTo>
                  <a:pt x="94" y="325"/>
                </a:lnTo>
                <a:lnTo>
                  <a:pt x="95" y="327"/>
                </a:lnTo>
                <a:lnTo>
                  <a:pt x="95" y="328"/>
                </a:lnTo>
                <a:lnTo>
                  <a:pt x="97" y="330"/>
                </a:lnTo>
                <a:lnTo>
                  <a:pt x="101" y="330"/>
                </a:lnTo>
                <a:lnTo>
                  <a:pt x="102" y="330"/>
                </a:lnTo>
                <a:lnTo>
                  <a:pt x="106" y="332"/>
                </a:lnTo>
                <a:lnTo>
                  <a:pt x="106" y="333"/>
                </a:lnTo>
                <a:lnTo>
                  <a:pt x="107" y="333"/>
                </a:lnTo>
                <a:lnTo>
                  <a:pt x="109" y="335"/>
                </a:lnTo>
                <a:lnTo>
                  <a:pt x="111" y="335"/>
                </a:lnTo>
                <a:lnTo>
                  <a:pt x="111" y="339"/>
                </a:lnTo>
                <a:lnTo>
                  <a:pt x="111" y="337"/>
                </a:lnTo>
                <a:lnTo>
                  <a:pt x="109" y="337"/>
                </a:lnTo>
                <a:lnTo>
                  <a:pt x="107" y="337"/>
                </a:lnTo>
                <a:lnTo>
                  <a:pt x="107" y="335"/>
                </a:lnTo>
                <a:lnTo>
                  <a:pt x="104" y="337"/>
                </a:lnTo>
                <a:lnTo>
                  <a:pt x="102" y="340"/>
                </a:lnTo>
                <a:lnTo>
                  <a:pt x="104" y="342"/>
                </a:lnTo>
                <a:lnTo>
                  <a:pt x="102" y="344"/>
                </a:lnTo>
                <a:lnTo>
                  <a:pt x="101" y="342"/>
                </a:lnTo>
                <a:lnTo>
                  <a:pt x="99" y="340"/>
                </a:lnTo>
                <a:lnTo>
                  <a:pt x="97" y="339"/>
                </a:lnTo>
                <a:lnTo>
                  <a:pt x="95" y="339"/>
                </a:lnTo>
                <a:lnTo>
                  <a:pt x="94" y="337"/>
                </a:lnTo>
                <a:lnTo>
                  <a:pt x="92" y="335"/>
                </a:lnTo>
                <a:lnTo>
                  <a:pt x="92" y="333"/>
                </a:lnTo>
                <a:lnTo>
                  <a:pt x="90" y="333"/>
                </a:lnTo>
                <a:lnTo>
                  <a:pt x="89" y="330"/>
                </a:lnTo>
                <a:lnTo>
                  <a:pt x="90" y="327"/>
                </a:lnTo>
                <a:lnTo>
                  <a:pt x="92" y="325"/>
                </a:lnTo>
                <a:lnTo>
                  <a:pt x="92" y="323"/>
                </a:lnTo>
                <a:close/>
                <a:moveTo>
                  <a:pt x="272" y="83"/>
                </a:moveTo>
                <a:lnTo>
                  <a:pt x="274" y="85"/>
                </a:lnTo>
                <a:lnTo>
                  <a:pt x="276" y="83"/>
                </a:lnTo>
                <a:lnTo>
                  <a:pt x="277" y="85"/>
                </a:lnTo>
                <a:lnTo>
                  <a:pt x="279" y="85"/>
                </a:lnTo>
                <a:lnTo>
                  <a:pt x="279" y="87"/>
                </a:lnTo>
                <a:lnTo>
                  <a:pt x="279" y="89"/>
                </a:lnTo>
                <a:lnTo>
                  <a:pt x="281" y="89"/>
                </a:lnTo>
                <a:lnTo>
                  <a:pt x="281" y="90"/>
                </a:lnTo>
                <a:lnTo>
                  <a:pt x="279" y="90"/>
                </a:lnTo>
                <a:lnTo>
                  <a:pt x="281" y="94"/>
                </a:lnTo>
                <a:lnTo>
                  <a:pt x="281" y="95"/>
                </a:lnTo>
                <a:lnTo>
                  <a:pt x="279" y="95"/>
                </a:lnTo>
                <a:lnTo>
                  <a:pt x="277" y="97"/>
                </a:lnTo>
                <a:lnTo>
                  <a:pt x="276" y="99"/>
                </a:lnTo>
                <a:lnTo>
                  <a:pt x="274" y="99"/>
                </a:lnTo>
                <a:lnTo>
                  <a:pt x="272" y="99"/>
                </a:lnTo>
                <a:lnTo>
                  <a:pt x="271" y="97"/>
                </a:lnTo>
                <a:lnTo>
                  <a:pt x="267" y="97"/>
                </a:lnTo>
                <a:lnTo>
                  <a:pt x="267" y="94"/>
                </a:lnTo>
                <a:lnTo>
                  <a:pt x="267" y="92"/>
                </a:lnTo>
                <a:lnTo>
                  <a:pt x="267" y="90"/>
                </a:lnTo>
                <a:lnTo>
                  <a:pt x="267" y="89"/>
                </a:lnTo>
                <a:lnTo>
                  <a:pt x="267" y="87"/>
                </a:lnTo>
                <a:lnTo>
                  <a:pt x="269" y="87"/>
                </a:lnTo>
                <a:lnTo>
                  <a:pt x="269" y="85"/>
                </a:lnTo>
                <a:lnTo>
                  <a:pt x="271" y="83"/>
                </a:lnTo>
                <a:lnTo>
                  <a:pt x="272" y="83"/>
                </a:lnTo>
                <a:close/>
                <a:moveTo>
                  <a:pt x="320" y="279"/>
                </a:moveTo>
                <a:lnTo>
                  <a:pt x="320" y="281"/>
                </a:lnTo>
                <a:lnTo>
                  <a:pt x="323" y="281"/>
                </a:lnTo>
                <a:lnTo>
                  <a:pt x="323" y="282"/>
                </a:lnTo>
                <a:lnTo>
                  <a:pt x="323" y="284"/>
                </a:lnTo>
                <a:lnTo>
                  <a:pt x="327" y="284"/>
                </a:lnTo>
                <a:lnTo>
                  <a:pt x="330" y="284"/>
                </a:lnTo>
                <a:lnTo>
                  <a:pt x="330" y="282"/>
                </a:lnTo>
                <a:lnTo>
                  <a:pt x="330" y="284"/>
                </a:lnTo>
                <a:lnTo>
                  <a:pt x="332" y="286"/>
                </a:lnTo>
                <a:lnTo>
                  <a:pt x="330" y="288"/>
                </a:lnTo>
                <a:lnTo>
                  <a:pt x="332" y="288"/>
                </a:lnTo>
                <a:lnTo>
                  <a:pt x="333" y="289"/>
                </a:lnTo>
                <a:lnTo>
                  <a:pt x="333" y="291"/>
                </a:lnTo>
                <a:lnTo>
                  <a:pt x="332" y="293"/>
                </a:lnTo>
                <a:lnTo>
                  <a:pt x="335" y="293"/>
                </a:lnTo>
                <a:lnTo>
                  <a:pt x="335" y="296"/>
                </a:lnTo>
                <a:lnTo>
                  <a:pt x="333" y="298"/>
                </a:lnTo>
                <a:lnTo>
                  <a:pt x="332" y="298"/>
                </a:lnTo>
                <a:lnTo>
                  <a:pt x="330" y="296"/>
                </a:lnTo>
                <a:lnTo>
                  <a:pt x="328" y="294"/>
                </a:lnTo>
                <a:lnTo>
                  <a:pt x="327" y="293"/>
                </a:lnTo>
                <a:lnTo>
                  <a:pt x="325" y="293"/>
                </a:lnTo>
                <a:lnTo>
                  <a:pt x="325" y="291"/>
                </a:lnTo>
                <a:lnTo>
                  <a:pt x="323" y="291"/>
                </a:lnTo>
                <a:lnTo>
                  <a:pt x="323" y="289"/>
                </a:lnTo>
                <a:lnTo>
                  <a:pt x="322" y="289"/>
                </a:lnTo>
                <a:lnTo>
                  <a:pt x="320" y="288"/>
                </a:lnTo>
                <a:lnTo>
                  <a:pt x="318" y="288"/>
                </a:lnTo>
                <a:lnTo>
                  <a:pt x="316" y="286"/>
                </a:lnTo>
                <a:lnTo>
                  <a:pt x="315" y="284"/>
                </a:lnTo>
                <a:lnTo>
                  <a:pt x="315" y="282"/>
                </a:lnTo>
                <a:lnTo>
                  <a:pt x="316" y="281"/>
                </a:lnTo>
                <a:lnTo>
                  <a:pt x="318" y="279"/>
                </a:lnTo>
                <a:lnTo>
                  <a:pt x="320" y="279"/>
                </a:lnTo>
                <a:close/>
                <a:moveTo>
                  <a:pt x="209" y="140"/>
                </a:moveTo>
                <a:lnTo>
                  <a:pt x="211" y="140"/>
                </a:lnTo>
                <a:lnTo>
                  <a:pt x="213" y="143"/>
                </a:lnTo>
                <a:lnTo>
                  <a:pt x="214" y="143"/>
                </a:lnTo>
                <a:lnTo>
                  <a:pt x="216" y="145"/>
                </a:lnTo>
                <a:lnTo>
                  <a:pt x="218" y="146"/>
                </a:lnTo>
                <a:lnTo>
                  <a:pt x="220" y="148"/>
                </a:lnTo>
                <a:lnTo>
                  <a:pt x="221" y="150"/>
                </a:lnTo>
                <a:lnTo>
                  <a:pt x="223" y="150"/>
                </a:lnTo>
                <a:lnTo>
                  <a:pt x="226" y="151"/>
                </a:lnTo>
                <a:lnTo>
                  <a:pt x="230" y="151"/>
                </a:lnTo>
                <a:lnTo>
                  <a:pt x="231" y="151"/>
                </a:lnTo>
                <a:lnTo>
                  <a:pt x="233" y="155"/>
                </a:lnTo>
                <a:lnTo>
                  <a:pt x="235" y="153"/>
                </a:lnTo>
                <a:lnTo>
                  <a:pt x="237" y="155"/>
                </a:lnTo>
                <a:lnTo>
                  <a:pt x="235" y="155"/>
                </a:lnTo>
                <a:lnTo>
                  <a:pt x="233" y="155"/>
                </a:lnTo>
                <a:lnTo>
                  <a:pt x="231" y="157"/>
                </a:lnTo>
                <a:lnTo>
                  <a:pt x="228" y="157"/>
                </a:lnTo>
                <a:lnTo>
                  <a:pt x="226" y="155"/>
                </a:lnTo>
                <a:lnTo>
                  <a:pt x="225" y="155"/>
                </a:lnTo>
                <a:lnTo>
                  <a:pt x="221" y="155"/>
                </a:lnTo>
                <a:lnTo>
                  <a:pt x="220" y="153"/>
                </a:lnTo>
                <a:lnTo>
                  <a:pt x="218" y="155"/>
                </a:lnTo>
                <a:lnTo>
                  <a:pt x="216" y="155"/>
                </a:lnTo>
                <a:lnTo>
                  <a:pt x="214" y="157"/>
                </a:lnTo>
                <a:lnTo>
                  <a:pt x="214" y="153"/>
                </a:lnTo>
                <a:lnTo>
                  <a:pt x="214" y="151"/>
                </a:lnTo>
                <a:lnTo>
                  <a:pt x="213" y="150"/>
                </a:lnTo>
                <a:lnTo>
                  <a:pt x="213" y="148"/>
                </a:lnTo>
                <a:lnTo>
                  <a:pt x="209" y="146"/>
                </a:lnTo>
                <a:lnTo>
                  <a:pt x="211" y="145"/>
                </a:lnTo>
                <a:lnTo>
                  <a:pt x="209" y="143"/>
                </a:lnTo>
                <a:lnTo>
                  <a:pt x="209" y="140"/>
                </a:lnTo>
                <a:close/>
                <a:moveTo>
                  <a:pt x="82" y="259"/>
                </a:moveTo>
                <a:lnTo>
                  <a:pt x="84" y="259"/>
                </a:lnTo>
                <a:lnTo>
                  <a:pt x="84" y="260"/>
                </a:lnTo>
                <a:lnTo>
                  <a:pt x="85" y="262"/>
                </a:lnTo>
                <a:lnTo>
                  <a:pt x="85" y="265"/>
                </a:lnTo>
                <a:lnTo>
                  <a:pt x="85" y="267"/>
                </a:lnTo>
                <a:lnTo>
                  <a:pt x="84" y="271"/>
                </a:lnTo>
                <a:lnTo>
                  <a:pt x="85" y="271"/>
                </a:lnTo>
                <a:lnTo>
                  <a:pt x="85" y="269"/>
                </a:lnTo>
                <a:lnTo>
                  <a:pt x="85" y="271"/>
                </a:lnTo>
                <a:lnTo>
                  <a:pt x="85" y="272"/>
                </a:lnTo>
                <a:lnTo>
                  <a:pt x="87" y="274"/>
                </a:lnTo>
                <a:lnTo>
                  <a:pt x="85" y="274"/>
                </a:lnTo>
                <a:lnTo>
                  <a:pt x="85" y="276"/>
                </a:lnTo>
                <a:lnTo>
                  <a:pt x="84" y="274"/>
                </a:lnTo>
                <a:lnTo>
                  <a:pt x="84" y="276"/>
                </a:lnTo>
                <a:lnTo>
                  <a:pt x="82" y="276"/>
                </a:lnTo>
                <a:lnTo>
                  <a:pt x="82" y="279"/>
                </a:lnTo>
                <a:lnTo>
                  <a:pt x="82" y="277"/>
                </a:lnTo>
                <a:lnTo>
                  <a:pt x="80" y="277"/>
                </a:lnTo>
                <a:lnTo>
                  <a:pt x="78" y="276"/>
                </a:lnTo>
                <a:lnTo>
                  <a:pt x="78" y="277"/>
                </a:lnTo>
                <a:lnTo>
                  <a:pt x="78" y="279"/>
                </a:lnTo>
                <a:lnTo>
                  <a:pt x="77" y="281"/>
                </a:lnTo>
                <a:lnTo>
                  <a:pt x="77" y="279"/>
                </a:lnTo>
                <a:lnTo>
                  <a:pt x="77" y="277"/>
                </a:lnTo>
                <a:lnTo>
                  <a:pt x="77" y="276"/>
                </a:lnTo>
                <a:lnTo>
                  <a:pt x="77" y="274"/>
                </a:lnTo>
                <a:lnTo>
                  <a:pt x="77" y="272"/>
                </a:lnTo>
                <a:lnTo>
                  <a:pt x="77" y="271"/>
                </a:lnTo>
                <a:lnTo>
                  <a:pt x="77" y="267"/>
                </a:lnTo>
                <a:lnTo>
                  <a:pt x="78" y="264"/>
                </a:lnTo>
                <a:lnTo>
                  <a:pt x="80" y="260"/>
                </a:lnTo>
                <a:lnTo>
                  <a:pt x="82" y="260"/>
                </a:lnTo>
                <a:lnTo>
                  <a:pt x="82" y="259"/>
                </a:lnTo>
                <a:close/>
                <a:moveTo>
                  <a:pt x="492" y="400"/>
                </a:moveTo>
                <a:lnTo>
                  <a:pt x="493" y="400"/>
                </a:lnTo>
                <a:lnTo>
                  <a:pt x="493" y="403"/>
                </a:lnTo>
                <a:lnTo>
                  <a:pt x="492" y="405"/>
                </a:lnTo>
                <a:lnTo>
                  <a:pt x="493" y="407"/>
                </a:lnTo>
                <a:lnTo>
                  <a:pt x="492" y="410"/>
                </a:lnTo>
                <a:lnTo>
                  <a:pt x="493" y="412"/>
                </a:lnTo>
                <a:lnTo>
                  <a:pt x="492" y="413"/>
                </a:lnTo>
                <a:lnTo>
                  <a:pt x="492" y="417"/>
                </a:lnTo>
                <a:lnTo>
                  <a:pt x="493" y="417"/>
                </a:lnTo>
                <a:lnTo>
                  <a:pt x="495" y="419"/>
                </a:lnTo>
                <a:lnTo>
                  <a:pt x="497" y="420"/>
                </a:lnTo>
                <a:lnTo>
                  <a:pt x="497" y="424"/>
                </a:lnTo>
                <a:lnTo>
                  <a:pt x="498" y="424"/>
                </a:lnTo>
                <a:lnTo>
                  <a:pt x="498" y="425"/>
                </a:lnTo>
                <a:lnTo>
                  <a:pt x="497" y="425"/>
                </a:lnTo>
                <a:lnTo>
                  <a:pt x="497" y="427"/>
                </a:lnTo>
                <a:lnTo>
                  <a:pt x="495" y="427"/>
                </a:lnTo>
                <a:lnTo>
                  <a:pt x="495" y="430"/>
                </a:lnTo>
                <a:lnTo>
                  <a:pt x="497" y="430"/>
                </a:lnTo>
                <a:lnTo>
                  <a:pt x="495" y="432"/>
                </a:lnTo>
                <a:lnTo>
                  <a:pt x="495" y="430"/>
                </a:lnTo>
                <a:lnTo>
                  <a:pt x="493" y="430"/>
                </a:lnTo>
                <a:lnTo>
                  <a:pt x="490" y="429"/>
                </a:lnTo>
                <a:lnTo>
                  <a:pt x="492" y="427"/>
                </a:lnTo>
                <a:lnTo>
                  <a:pt x="490" y="424"/>
                </a:lnTo>
                <a:lnTo>
                  <a:pt x="490" y="422"/>
                </a:lnTo>
                <a:lnTo>
                  <a:pt x="488" y="420"/>
                </a:lnTo>
                <a:lnTo>
                  <a:pt x="486" y="419"/>
                </a:lnTo>
                <a:lnTo>
                  <a:pt x="488" y="417"/>
                </a:lnTo>
                <a:lnTo>
                  <a:pt x="490" y="415"/>
                </a:lnTo>
                <a:lnTo>
                  <a:pt x="488" y="412"/>
                </a:lnTo>
                <a:lnTo>
                  <a:pt x="490" y="410"/>
                </a:lnTo>
                <a:lnTo>
                  <a:pt x="490" y="408"/>
                </a:lnTo>
                <a:lnTo>
                  <a:pt x="490" y="407"/>
                </a:lnTo>
                <a:lnTo>
                  <a:pt x="490" y="403"/>
                </a:lnTo>
                <a:lnTo>
                  <a:pt x="488" y="403"/>
                </a:lnTo>
                <a:lnTo>
                  <a:pt x="490" y="403"/>
                </a:lnTo>
                <a:lnTo>
                  <a:pt x="492" y="402"/>
                </a:lnTo>
                <a:lnTo>
                  <a:pt x="492" y="400"/>
                </a:lnTo>
                <a:close/>
                <a:moveTo>
                  <a:pt x="478" y="325"/>
                </a:moveTo>
                <a:lnTo>
                  <a:pt x="480" y="323"/>
                </a:lnTo>
                <a:lnTo>
                  <a:pt x="481" y="327"/>
                </a:lnTo>
                <a:lnTo>
                  <a:pt x="480" y="327"/>
                </a:lnTo>
                <a:lnTo>
                  <a:pt x="478" y="328"/>
                </a:lnTo>
                <a:lnTo>
                  <a:pt x="476" y="328"/>
                </a:lnTo>
                <a:lnTo>
                  <a:pt x="475" y="330"/>
                </a:lnTo>
                <a:lnTo>
                  <a:pt x="473" y="332"/>
                </a:lnTo>
                <a:lnTo>
                  <a:pt x="471" y="335"/>
                </a:lnTo>
                <a:lnTo>
                  <a:pt x="469" y="337"/>
                </a:lnTo>
                <a:lnTo>
                  <a:pt x="466" y="337"/>
                </a:lnTo>
                <a:lnTo>
                  <a:pt x="464" y="337"/>
                </a:lnTo>
                <a:lnTo>
                  <a:pt x="463" y="339"/>
                </a:lnTo>
                <a:lnTo>
                  <a:pt x="463" y="342"/>
                </a:lnTo>
                <a:lnTo>
                  <a:pt x="463" y="344"/>
                </a:lnTo>
                <a:lnTo>
                  <a:pt x="459" y="342"/>
                </a:lnTo>
                <a:lnTo>
                  <a:pt x="459" y="340"/>
                </a:lnTo>
                <a:lnTo>
                  <a:pt x="459" y="339"/>
                </a:lnTo>
                <a:lnTo>
                  <a:pt x="461" y="337"/>
                </a:lnTo>
                <a:lnTo>
                  <a:pt x="463" y="337"/>
                </a:lnTo>
                <a:lnTo>
                  <a:pt x="464" y="335"/>
                </a:lnTo>
                <a:lnTo>
                  <a:pt x="464" y="333"/>
                </a:lnTo>
                <a:lnTo>
                  <a:pt x="466" y="330"/>
                </a:lnTo>
                <a:lnTo>
                  <a:pt x="468" y="330"/>
                </a:lnTo>
                <a:lnTo>
                  <a:pt x="469" y="327"/>
                </a:lnTo>
                <a:lnTo>
                  <a:pt x="471" y="327"/>
                </a:lnTo>
                <a:lnTo>
                  <a:pt x="473" y="325"/>
                </a:lnTo>
                <a:lnTo>
                  <a:pt x="475" y="325"/>
                </a:lnTo>
                <a:lnTo>
                  <a:pt x="476" y="323"/>
                </a:lnTo>
                <a:lnTo>
                  <a:pt x="478" y="325"/>
                </a:lnTo>
                <a:close/>
                <a:moveTo>
                  <a:pt x="238" y="413"/>
                </a:moveTo>
                <a:lnTo>
                  <a:pt x="240" y="415"/>
                </a:lnTo>
                <a:lnTo>
                  <a:pt x="242" y="417"/>
                </a:lnTo>
                <a:lnTo>
                  <a:pt x="242" y="419"/>
                </a:lnTo>
                <a:lnTo>
                  <a:pt x="245" y="419"/>
                </a:lnTo>
                <a:lnTo>
                  <a:pt x="248" y="420"/>
                </a:lnTo>
                <a:lnTo>
                  <a:pt x="248" y="422"/>
                </a:lnTo>
                <a:lnTo>
                  <a:pt x="248" y="424"/>
                </a:lnTo>
                <a:lnTo>
                  <a:pt x="247" y="424"/>
                </a:lnTo>
                <a:lnTo>
                  <a:pt x="247" y="427"/>
                </a:lnTo>
                <a:lnTo>
                  <a:pt x="248" y="429"/>
                </a:lnTo>
                <a:lnTo>
                  <a:pt x="247" y="430"/>
                </a:lnTo>
                <a:lnTo>
                  <a:pt x="245" y="430"/>
                </a:lnTo>
                <a:lnTo>
                  <a:pt x="243" y="430"/>
                </a:lnTo>
                <a:lnTo>
                  <a:pt x="242" y="429"/>
                </a:lnTo>
                <a:lnTo>
                  <a:pt x="240" y="429"/>
                </a:lnTo>
                <a:lnTo>
                  <a:pt x="238" y="427"/>
                </a:lnTo>
                <a:lnTo>
                  <a:pt x="238" y="425"/>
                </a:lnTo>
                <a:lnTo>
                  <a:pt x="238" y="424"/>
                </a:lnTo>
                <a:lnTo>
                  <a:pt x="238" y="420"/>
                </a:lnTo>
                <a:lnTo>
                  <a:pt x="237" y="419"/>
                </a:lnTo>
                <a:lnTo>
                  <a:pt x="237" y="415"/>
                </a:lnTo>
                <a:lnTo>
                  <a:pt x="237" y="413"/>
                </a:lnTo>
                <a:lnTo>
                  <a:pt x="238" y="413"/>
                </a:lnTo>
                <a:close/>
                <a:moveTo>
                  <a:pt x="412" y="281"/>
                </a:moveTo>
                <a:lnTo>
                  <a:pt x="412" y="282"/>
                </a:lnTo>
                <a:lnTo>
                  <a:pt x="412" y="286"/>
                </a:lnTo>
                <a:lnTo>
                  <a:pt x="410" y="286"/>
                </a:lnTo>
                <a:lnTo>
                  <a:pt x="410" y="288"/>
                </a:lnTo>
                <a:lnTo>
                  <a:pt x="408" y="288"/>
                </a:lnTo>
                <a:lnTo>
                  <a:pt x="408" y="289"/>
                </a:lnTo>
                <a:lnTo>
                  <a:pt x="407" y="289"/>
                </a:lnTo>
                <a:lnTo>
                  <a:pt x="407" y="291"/>
                </a:lnTo>
                <a:lnTo>
                  <a:pt x="405" y="293"/>
                </a:lnTo>
                <a:lnTo>
                  <a:pt x="403" y="293"/>
                </a:lnTo>
                <a:lnTo>
                  <a:pt x="401" y="293"/>
                </a:lnTo>
                <a:lnTo>
                  <a:pt x="400" y="294"/>
                </a:lnTo>
                <a:lnTo>
                  <a:pt x="398" y="296"/>
                </a:lnTo>
                <a:lnTo>
                  <a:pt x="398" y="298"/>
                </a:lnTo>
                <a:lnTo>
                  <a:pt x="396" y="298"/>
                </a:lnTo>
                <a:lnTo>
                  <a:pt x="393" y="298"/>
                </a:lnTo>
                <a:lnTo>
                  <a:pt x="393" y="296"/>
                </a:lnTo>
                <a:lnTo>
                  <a:pt x="395" y="293"/>
                </a:lnTo>
                <a:lnTo>
                  <a:pt x="396" y="291"/>
                </a:lnTo>
                <a:lnTo>
                  <a:pt x="396" y="289"/>
                </a:lnTo>
                <a:lnTo>
                  <a:pt x="398" y="288"/>
                </a:lnTo>
                <a:lnTo>
                  <a:pt x="401" y="288"/>
                </a:lnTo>
                <a:lnTo>
                  <a:pt x="405" y="288"/>
                </a:lnTo>
                <a:lnTo>
                  <a:pt x="405" y="286"/>
                </a:lnTo>
                <a:lnTo>
                  <a:pt x="407" y="284"/>
                </a:lnTo>
                <a:lnTo>
                  <a:pt x="408" y="282"/>
                </a:lnTo>
                <a:lnTo>
                  <a:pt x="410" y="282"/>
                </a:lnTo>
                <a:lnTo>
                  <a:pt x="412" y="281"/>
                </a:lnTo>
                <a:close/>
                <a:moveTo>
                  <a:pt x="289" y="213"/>
                </a:moveTo>
                <a:lnTo>
                  <a:pt x="291" y="214"/>
                </a:lnTo>
                <a:lnTo>
                  <a:pt x="293" y="214"/>
                </a:lnTo>
                <a:lnTo>
                  <a:pt x="294" y="216"/>
                </a:lnTo>
                <a:lnTo>
                  <a:pt x="296" y="218"/>
                </a:lnTo>
                <a:lnTo>
                  <a:pt x="294" y="220"/>
                </a:lnTo>
                <a:lnTo>
                  <a:pt x="296" y="220"/>
                </a:lnTo>
                <a:lnTo>
                  <a:pt x="298" y="220"/>
                </a:lnTo>
                <a:lnTo>
                  <a:pt x="301" y="221"/>
                </a:lnTo>
                <a:lnTo>
                  <a:pt x="303" y="223"/>
                </a:lnTo>
                <a:lnTo>
                  <a:pt x="303" y="225"/>
                </a:lnTo>
                <a:lnTo>
                  <a:pt x="301" y="226"/>
                </a:lnTo>
                <a:lnTo>
                  <a:pt x="299" y="225"/>
                </a:lnTo>
                <a:lnTo>
                  <a:pt x="299" y="226"/>
                </a:lnTo>
                <a:lnTo>
                  <a:pt x="298" y="225"/>
                </a:lnTo>
                <a:lnTo>
                  <a:pt x="296" y="226"/>
                </a:lnTo>
                <a:lnTo>
                  <a:pt x="294" y="226"/>
                </a:lnTo>
                <a:lnTo>
                  <a:pt x="296" y="225"/>
                </a:lnTo>
                <a:lnTo>
                  <a:pt x="296" y="221"/>
                </a:lnTo>
                <a:lnTo>
                  <a:pt x="294" y="223"/>
                </a:lnTo>
                <a:lnTo>
                  <a:pt x="293" y="221"/>
                </a:lnTo>
                <a:lnTo>
                  <a:pt x="293" y="223"/>
                </a:lnTo>
                <a:lnTo>
                  <a:pt x="293" y="221"/>
                </a:lnTo>
                <a:lnTo>
                  <a:pt x="291" y="221"/>
                </a:lnTo>
                <a:lnTo>
                  <a:pt x="289" y="220"/>
                </a:lnTo>
                <a:lnTo>
                  <a:pt x="288" y="221"/>
                </a:lnTo>
                <a:lnTo>
                  <a:pt x="288" y="218"/>
                </a:lnTo>
                <a:lnTo>
                  <a:pt x="289" y="218"/>
                </a:lnTo>
                <a:lnTo>
                  <a:pt x="288" y="216"/>
                </a:lnTo>
                <a:lnTo>
                  <a:pt x="288" y="214"/>
                </a:lnTo>
                <a:lnTo>
                  <a:pt x="289" y="213"/>
                </a:lnTo>
                <a:close/>
                <a:moveTo>
                  <a:pt x="337" y="298"/>
                </a:moveTo>
                <a:lnTo>
                  <a:pt x="340" y="298"/>
                </a:lnTo>
                <a:lnTo>
                  <a:pt x="340" y="299"/>
                </a:lnTo>
                <a:lnTo>
                  <a:pt x="342" y="299"/>
                </a:lnTo>
                <a:lnTo>
                  <a:pt x="344" y="299"/>
                </a:lnTo>
                <a:lnTo>
                  <a:pt x="345" y="299"/>
                </a:lnTo>
                <a:lnTo>
                  <a:pt x="347" y="299"/>
                </a:lnTo>
                <a:lnTo>
                  <a:pt x="350" y="299"/>
                </a:lnTo>
                <a:lnTo>
                  <a:pt x="350" y="301"/>
                </a:lnTo>
                <a:lnTo>
                  <a:pt x="352" y="299"/>
                </a:lnTo>
                <a:lnTo>
                  <a:pt x="352" y="303"/>
                </a:lnTo>
                <a:lnTo>
                  <a:pt x="350" y="305"/>
                </a:lnTo>
                <a:lnTo>
                  <a:pt x="352" y="306"/>
                </a:lnTo>
                <a:lnTo>
                  <a:pt x="349" y="306"/>
                </a:lnTo>
                <a:lnTo>
                  <a:pt x="347" y="306"/>
                </a:lnTo>
                <a:lnTo>
                  <a:pt x="345" y="306"/>
                </a:lnTo>
                <a:lnTo>
                  <a:pt x="344" y="305"/>
                </a:lnTo>
                <a:lnTo>
                  <a:pt x="342" y="305"/>
                </a:lnTo>
                <a:lnTo>
                  <a:pt x="340" y="303"/>
                </a:lnTo>
                <a:lnTo>
                  <a:pt x="339" y="303"/>
                </a:lnTo>
                <a:lnTo>
                  <a:pt x="339" y="301"/>
                </a:lnTo>
                <a:lnTo>
                  <a:pt x="335" y="299"/>
                </a:lnTo>
                <a:lnTo>
                  <a:pt x="337" y="299"/>
                </a:lnTo>
                <a:lnTo>
                  <a:pt x="337" y="298"/>
                </a:lnTo>
                <a:close/>
                <a:moveTo>
                  <a:pt x="357" y="333"/>
                </a:moveTo>
                <a:lnTo>
                  <a:pt x="357" y="335"/>
                </a:lnTo>
                <a:lnTo>
                  <a:pt x="359" y="335"/>
                </a:lnTo>
                <a:lnTo>
                  <a:pt x="359" y="333"/>
                </a:lnTo>
                <a:lnTo>
                  <a:pt x="359" y="332"/>
                </a:lnTo>
                <a:lnTo>
                  <a:pt x="361" y="333"/>
                </a:lnTo>
                <a:lnTo>
                  <a:pt x="361" y="335"/>
                </a:lnTo>
                <a:lnTo>
                  <a:pt x="359" y="337"/>
                </a:lnTo>
                <a:lnTo>
                  <a:pt x="361" y="340"/>
                </a:lnTo>
                <a:lnTo>
                  <a:pt x="361" y="342"/>
                </a:lnTo>
                <a:lnTo>
                  <a:pt x="359" y="344"/>
                </a:lnTo>
                <a:lnTo>
                  <a:pt x="357" y="345"/>
                </a:lnTo>
                <a:lnTo>
                  <a:pt x="356" y="345"/>
                </a:lnTo>
                <a:lnTo>
                  <a:pt x="354" y="345"/>
                </a:lnTo>
                <a:lnTo>
                  <a:pt x="352" y="344"/>
                </a:lnTo>
                <a:lnTo>
                  <a:pt x="352" y="342"/>
                </a:lnTo>
                <a:lnTo>
                  <a:pt x="352" y="340"/>
                </a:lnTo>
                <a:lnTo>
                  <a:pt x="354" y="339"/>
                </a:lnTo>
                <a:lnTo>
                  <a:pt x="352" y="339"/>
                </a:lnTo>
                <a:lnTo>
                  <a:pt x="354" y="335"/>
                </a:lnTo>
                <a:lnTo>
                  <a:pt x="356" y="333"/>
                </a:lnTo>
                <a:lnTo>
                  <a:pt x="357" y="333"/>
                </a:lnTo>
                <a:close/>
                <a:moveTo>
                  <a:pt x="325" y="94"/>
                </a:moveTo>
                <a:lnTo>
                  <a:pt x="327" y="94"/>
                </a:lnTo>
                <a:lnTo>
                  <a:pt x="328" y="94"/>
                </a:lnTo>
                <a:lnTo>
                  <a:pt x="330" y="94"/>
                </a:lnTo>
                <a:lnTo>
                  <a:pt x="332" y="94"/>
                </a:lnTo>
                <a:lnTo>
                  <a:pt x="332" y="95"/>
                </a:lnTo>
                <a:lnTo>
                  <a:pt x="333" y="97"/>
                </a:lnTo>
                <a:lnTo>
                  <a:pt x="332" y="99"/>
                </a:lnTo>
                <a:lnTo>
                  <a:pt x="330" y="99"/>
                </a:lnTo>
                <a:lnTo>
                  <a:pt x="328" y="100"/>
                </a:lnTo>
                <a:lnTo>
                  <a:pt x="327" y="100"/>
                </a:lnTo>
                <a:lnTo>
                  <a:pt x="325" y="100"/>
                </a:lnTo>
                <a:lnTo>
                  <a:pt x="323" y="100"/>
                </a:lnTo>
                <a:lnTo>
                  <a:pt x="320" y="99"/>
                </a:lnTo>
                <a:lnTo>
                  <a:pt x="318" y="97"/>
                </a:lnTo>
                <a:lnTo>
                  <a:pt x="320" y="97"/>
                </a:lnTo>
                <a:lnTo>
                  <a:pt x="322" y="95"/>
                </a:lnTo>
                <a:lnTo>
                  <a:pt x="322" y="94"/>
                </a:lnTo>
                <a:lnTo>
                  <a:pt x="325" y="94"/>
                </a:lnTo>
                <a:close/>
                <a:moveTo>
                  <a:pt x="318" y="369"/>
                </a:moveTo>
                <a:lnTo>
                  <a:pt x="318" y="371"/>
                </a:lnTo>
                <a:lnTo>
                  <a:pt x="320" y="371"/>
                </a:lnTo>
                <a:lnTo>
                  <a:pt x="322" y="369"/>
                </a:lnTo>
                <a:lnTo>
                  <a:pt x="325" y="369"/>
                </a:lnTo>
                <a:lnTo>
                  <a:pt x="323" y="371"/>
                </a:lnTo>
                <a:lnTo>
                  <a:pt x="325" y="373"/>
                </a:lnTo>
                <a:lnTo>
                  <a:pt x="325" y="374"/>
                </a:lnTo>
                <a:lnTo>
                  <a:pt x="325" y="376"/>
                </a:lnTo>
                <a:lnTo>
                  <a:pt x="323" y="374"/>
                </a:lnTo>
                <a:lnTo>
                  <a:pt x="322" y="376"/>
                </a:lnTo>
                <a:lnTo>
                  <a:pt x="320" y="376"/>
                </a:lnTo>
                <a:lnTo>
                  <a:pt x="320" y="378"/>
                </a:lnTo>
                <a:lnTo>
                  <a:pt x="318" y="378"/>
                </a:lnTo>
                <a:lnTo>
                  <a:pt x="316" y="378"/>
                </a:lnTo>
                <a:lnTo>
                  <a:pt x="315" y="379"/>
                </a:lnTo>
                <a:lnTo>
                  <a:pt x="313" y="379"/>
                </a:lnTo>
                <a:lnTo>
                  <a:pt x="313" y="376"/>
                </a:lnTo>
                <a:lnTo>
                  <a:pt x="313" y="374"/>
                </a:lnTo>
                <a:lnTo>
                  <a:pt x="313" y="371"/>
                </a:lnTo>
                <a:lnTo>
                  <a:pt x="315" y="373"/>
                </a:lnTo>
                <a:lnTo>
                  <a:pt x="316" y="373"/>
                </a:lnTo>
                <a:lnTo>
                  <a:pt x="316" y="374"/>
                </a:lnTo>
                <a:lnTo>
                  <a:pt x="320" y="374"/>
                </a:lnTo>
                <a:lnTo>
                  <a:pt x="322" y="374"/>
                </a:lnTo>
                <a:lnTo>
                  <a:pt x="320" y="373"/>
                </a:lnTo>
                <a:lnTo>
                  <a:pt x="318" y="373"/>
                </a:lnTo>
                <a:lnTo>
                  <a:pt x="316" y="371"/>
                </a:lnTo>
                <a:lnTo>
                  <a:pt x="316" y="369"/>
                </a:lnTo>
                <a:lnTo>
                  <a:pt x="318" y="369"/>
                </a:lnTo>
                <a:close/>
                <a:moveTo>
                  <a:pt x="299" y="306"/>
                </a:moveTo>
                <a:lnTo>
                  <a:pt x="303" y="306"/>
                </a:lnTo>
                <a:lnTo>
                  <a:pt x="305" y="308"/>
                </a:lnTo>
                <a:lnTo>
                  <a:pt x="303" y="308"/>
                </a:lnTo>
                <a:lnTo>
                  <a:pt x="303" y="310"/>
                </a:lnTo>
                <a:lnTo>
                  <a:pt x="303" y="311"/>
                </a:lnTo>
                <a:lnTo>
                  <a:pt x="301" y="313"/>
                </a:lnTo>
                <a:lnTo>
                  <a:pt x="301" y="315"/>
                </a:lnTo>
                <a:lnTo>
                  <a:pt x="299" y="316"/>
                </a:lnTo>
                <a:lnTo>
                  <a:pt x="298" y="318"/>
                </a:lnTo>
                <a:lnTo>
                  <a:pt x="298" y="316"/>
                </a:lnTo>
                <a:lnTo>
                  <a:pt x="298" y="313"/>
                </a:lnTo>
                <a:lnTo>
                  <a:pt x="296" y="313"/>
                </a:lnTo>
                <a:lnTo>
                  <a:pt x="296" y="311"/>
                </a:lnTo>
                <a:lnTo>
                  <a:pt x="298" y="310"/>
                </a:lnTo>
                <a:lnTo>
                  <a:pt x="298" y="308"/>
                </a:lnTo>
                <a:lnTo>
                  <a:pt x="299" y="306"/>
                </a:lnTo>
                <a:close/>
                <a:moveTo>
                  <a:pt x="405" y="339"/>
                </a:moveTo>
                <a:lnTo>
                  <a:pt x="407" y="339"/>
                </a:lnTo>
                <a:lnTo>
                  <a:pt x="407" y="340"/>
                </a:lnTo>
                <a:lnTo>
                  <a:pt x="410" y="340"/>
                </a:lnTo>
                <a:lnTo>
                  <a:pt x="408" y="340"/>
                </a:lnTo>
                <a:lnTo>
                  <a:pt x="405" y="342"/>
                </a:lnTo>
                <a:lnTo>
                  <a:pt x="403" y="342"/>
                </a:lnTo>
                <a:lnTo>
                  <a:pt x="403" y="345"/>
                </a:lnTo>
                <a:lnTo>
                  <a:pt x="401" y="345"/>
                </a:lnTo>
                <a:lnTo>
                  <a:pt x="400" y="347"/>
                </a:lnTo>
                <a:lnTo>
                  <a:pt x="400" y="349"/>
                </a:lnTo>
                <a:lnTo>
                  <a:pt x="398" y="350"/>
                </a:lnTo>
                <a:lnTo>
                  <a:pt x="396" y="350"/>
                </a:lnTo>
                <a:lnTo>
                  <a:pt x="395" y="352"/>
                </a:lnTo>
                <a:lnTo>
                  <a:pt x="395" y="354"/>
                </a:lnTo>
                <a:lnTo>
                  <a:pt x="393" y="352"/>
                </a:lnTo>
                <a:lnTo>
                  <a:pt x="391" y="352"/>
                </a:lnTo>
                <a:lnTo>
                  <a:pt x="393" y="352"/>
                </a:lnTo>
                <a:lnTo>
                  <a:pt x="393" y="350"/>
                </a:lnTo>
                <a:lnTo>
                  <a:pt x="395" y="350"/>
                </a:lnTo>
                <a:lnTo>
                  <a:pt x="395" y="349"/>
                </a:lnTo>
                <a:lnTo>
                  <a:pt x="398" y="349"/>
                </a:lnTo>
                <a:lnTo>
                  <a:pt x="396" y="349"/>
                </a:lnTo>
                <a:lnTo>
                  <a:pt x="398" y="347"/>
                </a:lnTo>
                <a:lnTo>
                  <a:pt x="396" y="347"/>
                </a:lnTo>
                <a:lnTo>
                  <a:pt x="398" y="345"/>
                </a:lnTo>
                <a:lnTo>
                  <a:pt x="400" y="345"/>
                </a:lnTo>
                <a:lnTo>
                  <a:pt x="401" y="344"/>
                </a:lnTo>
                <a:lnTo>
                  <a:pt x="403" y="342"/>
                </a:lnTo>
                <a:lnTo>
                  <a:pt x="401" y="340"/>
                </a:lnTo>
                <a:lnTo>
                  <a:pt x="405" y="339"/>
                </a:lnTo>
                <a:close/>
                <a:moveTo>
                  <a:pt x="452" y="316"/>
                </a:moveTo>
                <a:lnTo>
                  <a:pt x="454" y="316"/>
                </a:lnTo>
                <a:lnTo>
                  <a:pt x="456" y="318"/>
                </a:lnTo>
                <a:lnTo>
                  <a:pt x="456" y="316"/>
                </a:lnTo>
                <a:lnTo>
                  <a:pt x="458" y="318"/>
                </a:lnTo>
                <a:lnTo>
                  <a:pt x="459" y="320"/>
                </a:lnTo>
                <a:lnTo>
                  <a:pt x="461" y="320"/>
                </a:lnTo>
                <a:lnTo>
                  <a:pt x="463" y="320"/>
                </a:lnTo>
                <a:lnTo>
                  <a:pt x="461" y="323"/>
                </a:lnTo>
                <a:lnTo>
                  <a:pt x="463" y="323"/>
                </a:lnTo>
                <a:lnTo>
                  <a:pt x="459" y="325"/>
                </a:lnTo>
                <a:lnTo>
                  <a:pt x="459" y="327"/>
                </a:lnTo>
                <a:lnTo>
                  <a:pt x="458" y="327"/>
                </a:lnTo>
                <a:lnTo>
                  <a:pt x="454" y="325"/>
                </a:lnTo>
                <a:lnTo>
                  <a:pt x="456" y="323"/>
                </a:lnTo>
                <a:lnTo>
                  <a:pt x="456" y="320"/>
                </a:lnTo>
                <a:lnTo>
                  <a:pt x="458" y="320"/>
                </a:lnTo>
                <a:lnTo>
                  <a:pt x="456" y="318"/>
                </a:lnTo>
                <a:lnTo>
                  <a:pt x="454" y="320"/>
                </a:lnTo>
                <a:lnTo>
                  <a:pt x="454" y="318"/>
                </a:lnTo>
                <a:lnTo>
                  <a:pt x="451" y="318"/>
                </a:lnTo>
                <a:lnTo>
                  <a:pt x="452" y="316"/>
                </a:lnTo>
                <a:close/>
                <a:moveTo>
                  <a:pt x="367" y="357"/>
                </a:moveTo>
                <a:lnTo>
                  <a:pt x="369" y="359"/>
                </a:lnTo>
                <a:lnTo>
                  <a:pt x="371" y="359"/>
                </a:lnTo>
                <a:lnTo>
                  <a:pt x="371" y="361"/>
                </a:lnTo>
                <a:lnTo>
                  <a:pt x="374" y="362"/>
                </a:lnTo>
                <a:lnTo>
                  <a:pt x="373" y="364"/>
                </a:lnTo>
                <a:lnTo>
                  <a:pt x="374" y="366"/>
                </a:lnTo>
                <a:lnTo>
                  <a:pt x="373" y="366"/>
                </a:lnTo>
                <a:lnTo>
                  <a:pt x="373" y="368"/>
                </a:lnTo>
                <a:lnTo>
                  <a:pt x="371" y="366"/>
                </a:lnTo>
                <a:lnTo>
                  <a:pt x="367" y="364"/>
                </a:lnTo>
                <a:lnTo>
                  <a:pt x="367" y="362"/>
                </a:lnTo>
                <a:lnTo>
                  <a:pt x="364" y="362"/>
                </a:lnTo>
                <a:lnTo>
                  <a:pt x="366" y="362"/>
                </a:lnTo>
                <a:lnTo>
                  <a:pt x="366" y="361"/>
                </a:lnTo>
                <a:lnTo>
                  <a:pt x="364" y="359"/>
                </a:lnTo>
                <a:lnTo>
                  <a:pt x="366" y="359"/>
                </a:lnTo>
                <a:lnTo>
                  <a:pt x="367" y="357"/>
                </a:lnTo>
                <a:close/>
                <a:moveTo>
                  <a:pt x="308" y="318"/>
                </a:moveTo>
                <a:lnTo>
                  <a:pt x="308" y="322"/>
                </a:lnTo>
                <a:lnTo>
                  <a:pt x="310" y="322"/>
                </a:lnTo>
                <a:lnTo>
                  <a:pt x="311" y="323"/>
                </a:lnTo>
                <a:lnTo>
                  <a:pt x="311" y="325"/>
                </a:lnTo>
                <a:lnTo>
                  <a:pt x="310" y="325"/>
                </a:lnTo>
                <a:lnTo>
                  <a:pt x="311" y="327"/>
                </a:lnTo>
                <a:lnTo>
                  <a:pt x="310" y="328"/>
                </a:lnTo>
                <a:lnTo>
                  <a:pt x="310" y="330"/>
                </a:lnTo>
                <a:lnTo>
                  <a:pt x="308" y="332"/>
                </a:lnTo>
                <a:lnTo>
                  <a:pt x="306" y="332"/>
                </a:lnTo>
                <a:lnTo>
                  <a:pt x="306" y="328"/>
                </a:lnTo>
                <a:lnTo>
                  <a:pt x="308" y="327"/>
                </a:lnTo>
                <a:lnTo>
                  <a:pt x="306" y="327"/>
                </a:lnTo>
                <a:lnTo>
                  <a:pt x="306" y="323"/>
                </a:lnTo>
                <a:lnTo>
                  <a:pt x="305" y="325"/>
                </a:lnTo>
                <a:lnTo>
                  <a:pt x="306" y="325"/>
                </a:lnTo>
                <a:lnTo>
                  <a:pt x="305" y="323"/>
                </a:lnTo>
                <a:lnTo>
                  <a:pt x="306" y="320"/>
                </a:lnTo>
                <a:lnTo>
                  <a:pt x="308" y="318"/>
                </a:lnTo>
                <a:close/>
                <a:moveTo>
                  <a:pt x="238" y="206"/>
                </a:moveTo>
                <a:lnTo>
                  <a:pt x="240" y="208"/>
                </a:lnTo>
                <a:lnTo>
                  <a:pt x="242" y="209"/>
                </a:lnTo>
                <a:lnTo>
                  <a:pt x="243" y="209"/>
                </a:lnTo>
                <a:lnTo>
                  <a:pt x="245" y="209"/>
                </a:lnTo>
                <a:lnTo>
                  <a:pt x="245" y="211"/>
                </a:lnTo>
                <a:lnTo>
                  <a:pt x="247" y="209"/>
                </a:lnTo>
                <a:lnTo>
                  <a:pt x="248" y="209"/>
                </a:lnTo>
                <a:lnTo>
                  <a:pt x="248" y="213"/>
                </a:lnTo>
                <a:lnTo>
                  <a:pt x="247" y="214"/>
                </a:lnTo>
                <a:lnTo>
                  <a:pt x="245" y="213"/>
                </a:lnTo>
                <a:lnTo>
                  <a:pt x="242" y="214"/>
                </a:lnTo>
                <a:lnTo>
                  <a:pt x="242" y="213"/>
                </a:lnTo>
                <a:lnTo>
                  <a:pt x="242" y="211"/>
                </a:lnTo>
                <a:lnTo>
                  <a:pt x="240" y="211"/>
                </a:lnTo>
                <a:lnTo>
                  <a:pt x="240" y="209"/>
                </a:lnTo>
                <a:lnTo>
                  <a:pt x="238" y="209"/>
                </a:lnTo>
                <a:lnTo>
                  <a:pt x="237" y="208"/>
                </a:lnTo>
                <a:lnTo>
                  <a:pt x="238" y="206"/>
                </a:lnTo>
                <a:close/>
                <a:moveTo>
                  <a:pt x="84" y="284"/>
                </a:moveTo>
                <a:lnTo>
                  <a:pt x="85" y="284"/>
                </a:lnTo>
                <a:lnTo>
                  <a:pt x="85" y="286"/>
                </a:lnTo>
                <a:lnTo>
                  <a:pt x="87" y="286"/>
                </a:lnTo>
                <a:lnTo>
                  <a:pt x="87" y="288"/>
                </a:lnTo>
                <a:lnTo>
                  <a:pt x="87" y="289"/>
                </a:lnTo>
                <a:lnTo>
                  <a:pt x="87" y="293"/>
                </a:lnTo>
                <a:lnTo>
                  <a:pt x="89" y="293"/>
                </a:lnTo>
                <a:lnTo>
                  <a:pt x="87" y="293"/>
                </a:lnTo>
                <a:lnTo>
                  <a:pt x="89" y="291"/>
                </a:lnTo>
                <a:lnTo>
                  <a:pt x="90" y="293"/>
                </a:lnTo>
                <a:lnTo>
                  <a:pt x="90" y="294"/>
                </a:lnTo>
                <a:lnTo>
                  <a:pt x="92" y="296"/>
                </a:lnTo>
                <a:lnTo>
                  <a:pt x="90" y="298"/>
                </a:lnTo>
                <a:lnTo>
                  <a:pt x="89" y="296"/>
                </a:lnTo>
                <a:lnTo>
                  <a:pt x="87" y="294"/>
                </a:lnTo>
                <a:lnTo>
                  <a:pt x="85" y="294"/>
                </a:lnTo>
                <a:lnTo>
                  <a:pt x="85" y="291"/>
                </a:lnTo>
                <a:lnTo>
                  <a:pt x="84" y="289"/>
                </a:lnTo>
                <a:lnTo>
                  <a:pt x="84" y="288"/>
                </a:lnTo>
                <a:lnTo>
                  <a:pt x="82" y="286"/>
                </a:lnTo>
                <a:lnTo>
                  <a:pt x="84" y="286"/>
                </a:lnTo>
                <a:lnTo>
                  <a:pt x="84" y="284"/>
                </a:lnTo>
                <a:close/>
                <a:moveTo>
                  <a:pt x="247" y="293"/>
                </a:moveTo>
                <a:lnTo>
                  <a:pt x="250" y="293"/>
                </a:lnTo>
                <a:lnTo>
                  <a:pt x="250" y="294"/>
                </a:lnTo>
                <a:lnTo>
                  <a:pt x="252" y="294"/>
                </a:lnTo>
                <a:lnTo>
                  <a:pt x="250" y="294"/>
                </a:lnTo>
                <a:lnTo>
                  <a:pt x="254" y="296"/>
                </a:lnTo>
                <a:lnTo>
                  <a:pt x="252" y="296"/>
                </a:lnTo>
                <a:lnTo>
                  <a:pt x="252" y="298"/>
                </a:lnTo>
                <a:lnTo>
                  <a:pt x="250" y="298"/>
                </a:lnTo>
                <a:lnTo>
                  <a:pt x="250" y="299"/>
                </a:lnTo>
                <a:lnTo>
                  <a:pt x="248" y="299"/>
                </a:lnTo>
                <a:lnTo>
                  <a:pt x="247" y="301"/>
                </a:lnTo>
                <a:lnTo>
                  <a:pt x="243" y="301"/>
                </a:lnTo>
                <a:lnTo>
                  <a:pt x="243" y="298"/>
                </a:lnTo>
                <a:lnTo>
                  <a:pt x="245" y="299"/>
                </a:lnTo>
                <a:lnTo>
                  <a:pt x="247" y="298"/>
                </a:lnTo>
                <a:lnTo>
                  <a:pt x="248" y="296"/>
                </a:lnTo>
                <a:lnTo>
                  <a:pt x="248" y="294"/>
                </a:lnTo>
                <a:lnTo>
                  <a:pt x="247" y="296"/>
                </a:lnTo>
                <a:lnTo>
                  <a:pt x="245" y="296"/>
                </a:lnTo>
                <a:lnTo>
                  <a:pt x="245" y="294"/>
                </a:lnTo>
                <a:lnTo>
                  <a:pt x="243" y="294"/>
                </a:lnTo>
                <a:lnTo>
                  <a:pt x="247" y="294"/>
                </a:lnTo>
                <a:lnTo>
                  <a:pt x="247" y="293"/>
                </a:lnTo>
                <a:close/>
                <a:moveTo>
                  <a:pt x="430" y="354"/>
                </a:moveTo>
                <a:lnTo>
                  <a:pt x="432" y="354"/>
                </a:lnTo>
                <a:lnTo>
                  <a:pt x="434" y="356"/>
                </a:lnTo>
                <a:lnTo>
                  <a:pt x="435" y="357"/>
                </a:lnTo>
                <a:lnTo>
                  <a:pt x="437" y="357"/>
                </a:lnTo>
                <a:lnTo>
                  <a:pt x="435" y="357"/>
                </a:lnTo>
                <a:lnTo>
                  <a:pt x="432" y="359"/>
                </a:lnTo>
                <a:lnTo>
                  <a:pt x="430" y="359"/>
                </a:lnTo>
                <a:lnTo>
                  <a:pt x="430" y="362"/>
                </a:lnTo>
                <a:lnTo>
                  <a:pt x="432" y="364"/>
                </a:lnTo>
                <a:lnTo>
                  <a:pt x="429" y="364"/>
                </a:lnTo>
                <a:lnTo>
                  <a:pt x="427" y="364"/>
                </a:lnTo>
                <a:lnTo>
                  <a:pt x="425" y="362"/>
                </a:lnTo>
                <a:lnTo>
                  <a:pt x="425" y="361"/>
                </a:lnTo>
                <a:lnTo>
                  <a:pt x="424" y="359"/>
                </a:lnTo>
                <a:lnTo>
                  <a:pt x="427" y="359"/>
                </a:lnTo>
                <a:lnTo>
                  <a:pt x="429" y="361"/>
                </a:lnTo>
                <a:lnTo>
                  <a:pt x="430" y="357"/>
                </a:lnTo>
                <a:lnTo>
                  <a:pt x="432" y="359"/>
                </a:lnTo>
                <a:lnTo>
                  <a:pt x="432" y="357"/>
                </a:lnTo>
                <a:lnTo>
                  <a:pt x="432" y="356"/>
                </a:lnTo>
                <a:lnTo>
                  <a:pt x="430" y="356"/>
                </a:lnTo>
                <a:lnTo>
                  <a:pt x="430" y="354"/>
                </a:lnTo>
                <a:close/>
                <a:moveTo>
                  <a:pt x="359" y="306"/>
                </a:moveTo>
                <a:lnTo>
                  <a:pt x="361" y="310"/>
                </a:lnTo>
                <a:lnTo>
                  <a:pt x="361" y="306"/>
                </a:lnTo>
                <a:lnTo>
                  <a:pt x="364" y="306"/>
                </a:lnTo>
                <a:lnTo>
                  <a:pt x="364" y="308"/>
                </a:lnTo>
                <a:lnTo>
                  <a:pt x="366" y="308"/>
                </a:lnTo>
                <a:lnTo>
                  <a:pt x="366" y="310"/>
                </a:lnTo>
                <a:lnTo>
                  <a:pt x="362" y="311"/>
                </a:lnTo>
                <a:lnTo>
                  <a:pt x="362" y="313"/>
                </a:lnTo>
                <a:lnTo>
                  <a:pt x="362" y="311"/>
                </a:lnTo>
                <a:lnTo>
                  <a:pt x="361" y="313"/>
                </a:lnTo>
                <a:lnTo>
                  <a:pt x="359" y="313"/>
                </a:lnTo>
                <a:lnTo>
                  <a:pt x="357" y="315"/>
                </a:lnTo>
                <a:lnTo>
                  <a:pt x="357" y="313"/>
                </a:lnTo>
                <a:lnTo>
                  <a:pt x="357" y="311"/>
                </a:lnTo>
                <a:lnTo>
                  <a:pt x="359" y="313"/>
                </a:lnTo>
                <a:lnTo>
                  <a:pt x="359" y="311"/>
                </a:lnTo>
                <a:lnTo>
                  <a:pt x="357" y="308"/>
                </a:lnTo>
                <a:lnTo>
                  <a:pt x="359" y="306"/>
                </a:lnTo>
                <a:close/>
                <a:moveTo>
                  <a:pt x="332" y="311"/>
                </a:moveTo>
                <a:lnTo>
                  <a:pt x="335" y="311"/>
                </a:lnTo>
                <a:lnTo>
                  <a:pt x="337" y="313"/>
                </a:lnTo>
                <a:lnTo>
                  <a:pt x="337" y="315"/>
                </a:lnTo>
                <a:lnTo>
                  <a:pt x="337" y="316"/>
                </a:lnTo>
                <a:lnTo>
                  <a:pt x="339" y="318"/>
                </a:lnTo>
                <a:lnTo>
                  <a:pt x="339" y="320"/>
                </a:lnTo>
                <a:lnTo>
                  <a:pt x="337" y="320"/>
                </a:lnTo>
                <a:lnTo>
                  <a:pt x="333" y="322"/>
                </a:lnTo>
                <a:lnTo>
                  <a:pt x="333" y="320"/>
                </a:lnTo>
                <a:lnTo>
                  <a:pt x="332" y="320"/>
                </a:lnTo>
                <a:lnTo>
                  <a:pt x="333" y="318"/>
                </a:lnTo>
                <a:lnTo>
                  <a:pt x="332" y="318"/>
                </a:lnTo>
                <a:lnTo>
                  <a:pt x="335" y="316"/>
                </a:lnTo>
                <a:lnTo>
                  <a:pt x="333" y="315"/>
                </a:lnTo>
                <a:lnTo>
                  <a:pt x="333" y="313"/>
                </a:lnTo>
                <a:lnTo>
                  <a:pt x="332" y="311"/>
                </a:lnTo>
                <a:close/>
                <a:moveTo>
                  <a:pt x="250" y="308"/>
                </a:moveTo>
                <a:lnTo>
                  <a:pt x="254" y="308"/>
                </a:lnTo>
                <a:lnTo>
                  <a:pt x="255" y="308"/>
                </a:lnTo>
                <a:lnTo>
                  <a:pt x="254" y="310"/>
                </a:lnTo>
                <a:lnTo>
                  <a:pt x="254" y="311"/>
                </a:lnTo>
                <a:lnTo>
                  <a:pt x="254" y="315"/>
                </a:lnTo>
                <a:lnTo>
                  <a:pt x="252" y="316"/>
                </a:lnTo>
                <a:lnTo>
                  <a:pt x="250" y="315"/>
                </a:lnTo>
                <a:lnTo>
                  <a:pt x="250" y="313"/>
                </a:lnTo>
                <a:lnTo>
                  <a:pt x="248" y="313"/>
                </a:lnTo>
                <a:lnTo>
                  <a:pt x="247" y="310"/>
                </a:lnTo>
                <a:lnTo>
                  <a:pt x="248" y="310"/>
                </a:lnTo>
                <a:lnTo>
                  <a:pt x="250" y="308"/>
                </a:lnTo>
                <a:close/>
                <a:moveTo>
                  <a:pt x="325" y="347"/>
                </a:moveTo>
                <a:lnTo>
                  <a:pt x="328" y="349"/>
                </a:lnTo>
                <a:lnTo>
                  <a:pt x="330" y="349"/>
                </a:lnTo>
                <a:lnTo>
                  <a:pt x="330" y="350"/>
                </a:lnTo>
                <a:lnTo>
                  <a:pt x="332" y="350"/>
                </a:lnTo>
                <a:lnTo>
                  <a:pt x="333" y="352"/>
                </a:lnTo>
                <a:lnTo>
                  <a:pt x="333" y="354"/>
                </a:lnTo>
                <a:lnTo>
                  <a:pt x="332" y="354"/>
                </a:lnTo>
                <a:lnTo>
                  <a:pt x="332" y="357"/>
                </a:lnTo>
                <a:lnTo>
                  <a:pt x="330" y="356"/>
                </a:lnTo>
                <a:lnTo>
                  <a:pt x="328" y="354"/>
                </a:lnTo>
                <a:lnTo>
                  <a:pt x="327" y="352"/>
                </a:lnTo>
                <a:lnTo>
                  <a:pt x="328" y="350"/>
                </a:lnTo>
                <a:lnTo>
                  <a:pt x="327" y="350"/>
                </a:lnTo>
                <a:lnTo>
                  <a:pt x="325" y="349"/>
                </a:lnTo>
                <a:lnTo>
                  <a:pt x="327" y="349"/>
                </a:lnTo>
                <a:lnTo>
                  <a:pt x="325" y="347"/>
                </a:lnTo>
                <a:close/>
                <a:moveTo>
                  <a:pt x="378" y="378"/>
                </a:moveTo>
                <a:lnTo>
                  <a:pt x="379" y="379"/>
                </a:lnTo>
                <a:lnTo>
                  <a:pt x="381" y="381"/>
                </a:lnTo>
                <a:lnTo>
                  <a:pt x="383" y="383"/>
                </a:lnTo>
                <a:lnTo>
                  <a:pt x="383" y="385"/>
                </a:lnTo>
                <a:lnTo>
                  <a:pt x="384" y="386"/>
                </a:lnTo>
                <a:lnTo>
                  <a:pt x="381" y="388"/>
                </a:lnTo>
                <a:lnTo>
                  <a:pt x="378" y="388"/>
                </a:lnTo>
                <a:lnTo>
                  <a:pt x="376" y="388"/>
                </a:lnTo>
                <a:lnTo>
                  <a:pt x="378" y="386"/>
                </a:lnTo>
                <a:lnTo>
                  <a:pt x="379" y="386"/>
                </a:lnTo>
                <a:lnTo>
                  <a:pt x="381" y="385"/>
                </a:lnTo>
                <a:lnTo>
                  <a:pt x="379" y="381"/>
                </a:lnTo>
                <a:lnTo>
                  <a:pt x="378" y="379"/>
                </a:lnTo>
                <a:lnTo>
                  <a:pt x="376" y="379"/>
                </a:lnTo>
                <a:lnTo>
                  <a:pt x="376" y="378"/>
                </a:lnTo>
                <a:lnTo>
                  <a:pt x="378" y="378"/>
                </a:lnTo>
                <a:close/>
                <a:moveTo>
                  <a:pt x="315" y="337"/>
                </a:moveTo>
                <a:lnTo>
                  <a:pt x="318" y="339"/>
                </a:lnTo>
                <a:lnTo>
                  <a:pt x="316" y="340"/>
                </a:lnTo>
                <a:lnTo>
                  <a:pt x="318" y="342"/>
                </a:lnTo>
                <a:lnTo>
                  <a:pt x="316" y="342"/>
                </a:lnTo>
                <a:lnTo>
                  <a:pt x="318" y="344"/>
                </a:lnTo>
                <a:lnTo>
                  <a:pt x="316" y="345"/>
                </a:lnTo>
                <a:lnTo>
                  <a:pt x="316" y="344"/>
                </a:lnTo>
                <a:lnTo>
                  <a:pt x="315" y="344"/>
                </a:lnTo>
                <a:lnTo>
                  <a:pt x="311" y="345"/>
                </a:lnTo>
                <a:lnTo>
                  <a:pt x="313" y="344"/>
                </a:lnTo>
                <a:lnTo>
                  <a:pt x="311" y="342"/>
                </a:lnTo>
                <a:lnTo>
                  <a:pt x="313" y="340"/>
                </a:lnTo>
                <a:lnTo>
                  <a:pt x="315" y="339"/>
                </a:lnTo>
                <a:lnTo>
                  <a:pt x="315" y="337"/>
                </a:lnTo>
                <a:close/>
                <a:moveTo>
                  <a:pt x="255" y="196"/>
                </a:moveTo>
                <a:lnTo>
                  <a:pt x="255" y="197"/>
                </a:lnTo>
                <a:lnTo>
                  <a:pt x="257" y="197"/>
                </a:lnTo>
                <a:lnTo>
                  <a:pt x="257" y="199"/>
                </a:lnTo>
                <a:lnTo>
                  <a:pt x="257" y="202"/>
                </a:lnTo>
                <a:lnTo>
                  <a:pt x="255" y="202"/>
                </a:lnTo>
                <a:lnTo>
                  <a:pt x="255" y="204"/>
                </a:lnTo>
                <a:lnTo>
                  <a:pt x="254" y="208"/>
                </a:lnTo>
                <a:lnTo>
                  <a:pt x="250" y="209"/>
                </a:lnTo>
                <a:lnTo>
                  <a:pt x="250" y="208"/>
                </a:lnTo>
                <a:lnTo>
                  <a:pt x="254" y="206"/>
                </a:lnTo>
                <a:lnTo>
                  <a:pt x="252" y="204"/>
                </a:lnTo>
                <a:lnTo>
                  <a:pt x="254" y="202"/>
                </a:lnTo>
                <a:lnTo>
                  <a:pt x="254" y="201"/>
                </a:lnTo>
                <a:lnTo>
                  <a:pt x="254" y="199"/>
                </a:lnTo>
                <a:lnTo>
                  <a:pt x="255" y="199"/>
                </a:lnTo>
                <a:lnTo>
                  <a:pt x="255" y="196"/>
                </a:lnTo>
                <a:close/>
                <a:moveTo>
                  <a:pt x="486" y="432"/>
                </a:moveTo>
                <a:lnTo>
                  <a:pt x="486" y="434"/>
                </a:lnTo>
                <a:lnTo>
                  <a:pt x="485" y="436"/>
                </a:lnTo>
                <a:lnTo>
                  <a:pt x="483" y="437"/>
                </a:lnTo>
                <a:lnTo>
                  <a:pt x="481" y="437"/>
                </a:lnTo>
                <a:lnTo>
                  <a:pt x="481" y="439"/>
                </a:lnTo>
                <a:lnTo>
                  <a:pt x="478" y="439"/>
                </a:lnTo>
                <a:lnTo>
                  <a:pt x="478" y="437"/>
                </a:lnTo>
                <a:lnTo>
                  <a:pt x="480" y="436"/>
                </a:lnTo>
                <a:lnTo>
                  <a:pt x="480" y="434"/>
                </a:lnTo>
                <a:lnTo>
                  <a:pt x="483" y="434"/>
                </a:lnTo>
                <a:lnTo>
                  <a:pt x="485" y="432"/>
                </a:lnTo>
                <a:lnTo>
                  <a:pt x="486" y="432"/>
                </a:lnTo>
                <a:close/>
                <a:moveTo>
                  <a:pt x="488" y="352"/>
                </a:moveTo>
                <a:lnTo>
                  <a:pt x="490" y="354"/>
                </a:lnTo>
                <a:lnTo>
                  <a:pt x="490" y="356"/>
                </a:lnTo>
                <a:lnTo>
                  <a:pt x="492" y="356"/>
                </a:lnTo>
                <a:lnTo>
                  <a:pt x="492" y="357"/>
                </a:lnTo>
                <a:lnTo>
                  <a:pt x="492" y="356"/>
                </a:lnTo>
                <a:lnTo>
                  <a:pt x="493" y="357"/>
                </a:lnTo>
                <a:lnTo>
                  <a:pt x="495" y="356"/>
                </a:lnTo>
                <a:lnTo>
                  <a:pt x="495" y="357"/>
                </a:lnTo>
                <a:lnTo>
                  <a:pt x="492" y="359"/>
                </a:lnTo>
                <a:lnTo>
                  <a:pt x="490" y="357"/>
                </a:lnTo>
                <a:lnTo>
                  <a:pt x="490" y="359"/>
                </a:lnTo>
                <a:lnTo>
                  <a:pt x="488" y="356"/>
                </a:lnTo>
                <a:lnTo>
                  <a:pt x="488" y="357"/>
                </a:lnTo>
                <a:lnTo>
                  <a:pt x="485" y="357"/>
                </a:lnTo>
                <a:lnTo>
                  <a:pt x="485" y="356"/>
                </a:lnTo>
                <a:lnTo>
                  <a:pt x="485" y="354"/>
                </a:lnTo>
                <a:lnTo>
                  <a:pt x="486" y="354"/>
                </a:lnTo>
                <a:lnTo>
                  <a:pt x="488" y="352"/>
                </a:lnTo>
                <a:close/>
                <a:moveTo>
                  <a:pt x="512" y="335"/>
                </a:moveTo>
                <a:lnTo>
                  <a:pt x="512" y="337"/>
                </a:lnTo>
                <a:lnTo>
                  <a:pt x="514" y="337"/>
                </a:lnTo>
                <a:lnTo>
                  <a:pt x="515" y="335"/>
                </a:lnTo>
                <a:lnTo>
                  <a:pt x="514" y="337"/>
                </a:lnTo>
                <a:lnTo>
                  <a:pt x="515" y="335"/>
                </a:lnTo>
                <a:lnTo>
                  <a:pt x="515" y="337"/>
                </a:lnTo>
                <a:lnTo>
                  <a:pt x="515" y="339"/>
                </a:lnTo>
                <a:lnTo>
                  <a:pt x="517" y="340"/>
                </a:lnTo>
                <a:lnTo>
                  <a:pt x="515" y="342"/>
                </a:lnTo>
                <a:lnTo>
                  <a:pt x="514" y="342"/>
                </a:lnTo>
                <a:lnTo>
                  <a:pt x="514" y="340"/>
                </a:lnTo>
                <a:lnTo>
                  <a:pt x="512" y="340"/>
                </a:lnTo>
                <a:lnTo>
                  <a:pt x="512" y="339"/>
                </a:lnTo>
                <a:lnTo>
                  <a:pt x="510" y="340"/>
                </a:lnTo>
                <a:lnTo>
                  <a:pt x="509" y="337"/>
                </a:lnTo>
                <a:lnTo>
                  <a:pt x="510" y="339"/>
                </a:lnTo>
                <a:lnTo>
                  <a:pt x="510" y="335"/>
                </a:lnTo>
                <a:lnTo>
                  <a:pt x="512" y="335"/>
                </a:lnTo>
                <a:close/>
                <a:moveTo>
                  <a:pt x="446" y="310"/>
                </a:moveTo>
                <a:lnTo>
                  <a:pt x="447" y="310"/>
                </a:lnTo>
                <a:lnTo>
                  <a:pt x="447" y="311"/>
                </a:lnTo>
                <a:lnTo>
                  <a:pt x="449" y="311"/>
                </a:lnTo>
                <a:lnTo>
                  <a:pt x="449" y="313"/>
                </a:lnTo>
                <a:lnTo>
                  <a:pt x="451" y="315"/>
                </a:lnTo>
                <a:lnTo>
                  <a:pt x="451" y="316"/>
                </a:lnTo>
                <a:lnTo>
                  <a:pt x="449" y="316"/>
                </a:lnTo>
                <a:lnTo>
                  <a:pt x="447" y="315"/>
                </a:lnTo>
                <a:lnTo>
                  <a:pt x="449" y="315"/>
                </a:lnTo>
                <a:lnTo>
                  <a:pt x="449" y="313"/>
                </a:lnTo>
                <a:lnTo>
                  <a:pt x="447" y="315"/>
                </a:lnTo>
                <a:lnTo>
                  <a:pt x="446" y="315"/>
                </a:lnTo>
                <a:lnTo>
                  <a:pt x="447" y="313"/>
                </a:lnTo>
                <a:lnTo>
                  <a:pt x="446" y="313"/>
                </a:lnTo>
                <a:lnTo>
                  <a:pt x="444" y="311"/>
                </a:lnTo>
                <a:lnTo>
                  <a:pt x="444" y="310"/>
                </a:lnTo>
                <a:lnTo>
                  <a:pt x="446" y="310"/>
                </a:lnTo>
                <a:lnTo>
                  <a:pt x="444" y="310"/>
                </a:lnTo>
                <a:lnTo>
                  <a:pt x="446" y="310"/>
                </a:lnTo>
                <a:close/>
                <a:moveTo>
                  <a:pt x="230" y="208"/>
                </a:moveTo>
                <a:lnTo>
                  <a:pt x="233" y="209"/>
                </a:lnTo>
                <a:lnTo>
                  <a:pt x="233" y="211"/>
                </a:lnTo>
                <a:lnTo>
                  <a:pt x="233" y="209"/>
                </a:lnTo>
                <a:lnTo>
                  <a:pt x="231" y="211"/>
                </a:lnTo>
                <a:lnTo>
                  <a:pt x="231" y="213"/>
                </a:lnTo>
                <a:lnTo>
                  <a:pt x="230" y="213"/>
                </a:lnTo>
                <a:lnTo>
                  <a:pt x="226" y="213"/>
                </a:lnTo>
                <a:lnTo>
                  <a:pt x="226" y="211"/>
                </a:lnTo>
                <a:lnTo>
                  <a:pt x="230" y="209"/>
                </a:lnTo>
                <a:lnTo>
                  <a:pt x="230" y="208"/>
                </a:lnTo>
                <a:close/>
                <a:moveTo>
                  <a:pt x="260" y="337"/>
                </a:moveTo>
                <a:lnTo>
                  <a:pt x="259" y="339"/>
                </a:lnTo>
                <a:lnTo>
                  <a:pt x="257" y="339"/>
                </a:lnTo>
                <a:lnTo>
                  <a:pt x="257" y="340"/>
                </a:lnTo>
                <a:lnTo>
                  <a:pt x="254" y="342"/>
                </a:lnTo>
                <a:lnTo>
                  <a:pt x="252" y="344"/>
                </a:lnTo>
                <a:lnTo>
                  <a:pt x="250" y="344"/>
                </a:lnTo>
                <a:lnTo>
                  <a:pt x="250" y="342"/>
                </a:lnTo>
                <a:lnTo>
                  <a:pt x="254" y="340"/>
                </a:lnTo>
                <a:lnTo>
                  <a:pt x="255" y="339"/>
                </a:lnTo>
                <a:lnTo>
                  <a:pt x="257" y="337"/>
                </a:lnTo>
                <a:lnTo>
                  <a:pt x="260" y="337"/>
                </a:lnTo>
                <a:close/>
                <a:moveTo>
                  <a:pt x="310" y="167"/>
                </a:moveTo>
                <a:lnTo>
                  <a:pt x="311" y="167"/>
                </a:lnTo>
                <a:lnTo>
                  <a:pt x="311" y="170"/>
                </a:lnTo>
                <a:lnTo>
                  <a:pt x="310" y="172"/>
                </a:lnTo>
                <a:lnTo>
                  <a:pt x="310" y="174"/>
                </a:lnTo>
                <a:lnTo>
                  <a:pt x="308" y="172"/>
                </a:lnTo>
                <a:lnTo>
                  <a:pt x="308" y="170"/>
                </a:lnTo>
                <a:lnTo>
                  <a:pt x="308" y="167"/>
                </a:lnTo>
                <a:lnTo>
                  <a:pt x="310" y="167"/>
                </a:lnTo>
                <a:close/>
                <a:moveTo>
                  <a:pt x="361" y="364"/>
                </a:moveTo>
                <a:lnTo>
                  <a:pt x="361" y="366"/>
                </a:lnTo>
                <a:lnTo>
                  <a:pt x="361" y="368"/>
                </a:lnTo>
                <a:lnTo>
                  <a:pt x="359" y="368"/>
                </a:lnTo>
                <a:lnTo>
                  <a:pt x="359" y="369"/>
                </a:lnTo>
                <a:lnTo>
                  <a:pt x="357" y="371"/>
                </a:lnTo>
                <a:lnTo>
                  <a:pt x="356" y="371"/>
                </a:lnTo>
                <a:lnTo>
                  <a:pt x="356" y="369"/>
                </a:lnTo>
                <a:lnTo>
                  <a:pt x="357" y="368"/>
                </a:lnTo>
                <a:lnTo>
                  <a:pt x="359" y="364"/>
                </a:lnTo>
                <a:lnTo>
                  <a:pt x="361" y="364"/>
                </a:lnTo>
                <a:close/>
                <a:moveTo>
                  <a:pt x="476" y="345"/>
                </a:moveTo>
                <a:lnTo>
                  <a:pt x="478" y="347"/>
                </a:lnTo>
                <a:lnTo>
                  <a:pt x="478" y="349"/>
                </a:lnTo>
                <a:lnTo>
                  <a:pt x="475" y="349"/>
                </a:lnTo>
                <a:lnTo>
                  <a:pt x="475" y="350"/>
                </a:lnTo>
                <a:lnTo>
                  <a:pt x="473" y="349"/>
                </a:lnTo>
                <a:lnTo>
                  <a:pt x="473" y="347"/>
                </a:lnTo>
                <a:lnTo>
                  <a:pt x="476" y="345"/>
                </a:lnTo>
                <a:close/>
                <a:moveTo>
                  <a:pt x="354" y="226"/>
                </a:moveTo>
                <a:lnTo>
                  <a:pt x="356" y="226"/>
                </a:lnTo>
                <a:lnTo>
                  <a:pt x="357" y="226"/>
                </a:lnTo>
                <a:lnTo>
                  <a:pt x="357" y="228"/>
                </a:lnTo>
                <a:lnTo>
                  <a:pt x="357" y="231"/>
                </a:lnTo>
                <a:lnTo>
                  <a:pt x="356" y="231"/>
                </a:lnTo>
                <a:lnTo>
                  <a:pt x="354" y="230"/>
                </a:lnTo>
                <a:lnTo>
                  <a:pt x="352" y="228"/>
                </a:lnTo>
                <a:lnTo>
                  <a:pt x="354" y="226"/>
                </a:lnTo>
                <a:close/>
                <a:moveTo>
                  <a:pt x="400" y="379"/>
                </a:moveTo>
                <a:lnTo>
                  <a:pt x="403" y="381"/>
                </a:lnTo>
                <a:lnTo>
                  <a:pt x="405" y="381"/>
                </a:lnTo>
                <a:lnTo>
                  <a:pt x="403" y="381"/>
                </a:lnTo>
                <a:lnTo>
                  <a:pt x="401" y="383"/>
                </a:lnTo>
                <a:lnTo>
                  <a:pt x="398" y="383"/>
                </a:lnTo>
                <a:lnTo>
                  <a:pt x="400" y="379"/>
                </a:lnTo>
                <a:close/>
                <a:moveTo>
                  <a:pt x="325" y="362"/>
                </a:moveTo>
                <a:lnTo>
                  <a:pt x="327" y="364"/>
                </a:lnTo>
                <a:lnTo>
                  <a:pt x="327" y="366"/>
                </a:lnTo>
                <a:lnTo>
                  <a:pt x="325" y="368"/>
                </a:lnTo>
                <a:lnTo>
                  <a:pt x="323" y="368"/>
                </a:lnTo>
                <a:lnTo>
                  <a:pt x="322" y="366"/>
                </a:lnTo>
                <a:lnTo>
                  <a:pt x="322" y="364"/>
                </a:lnTo>
                <a:lnTo>
                  <a:pt x="325" y="362"/>
                </a:lnTo>
                <a:close/>
                <a:moveTo>
                  <a:pt x="350" y="342"/>
                </a:moveTo>
                <a:lnTo>
                  <a:pt x="350" y="344"/>
                </a:lnTo>
                <a:lnTo>
                  <a:pt x="350" y="345"/>
                </a:lnTo>
                <a:lnTo>
                  <a:pt x="350" y="347"/>
                </a:lnTo>
                <a:lnTo>
                  <a:pt x="352" y="350"/>
                </a:lnTo>
                <a:lnTo>
                  <a:pt x="349" y="347"/>
                </a:lnTo>
                <a:lnTo>
                  <a:pt x="347" y="347"/>
                </a:lnTo>
                <a:lnTo>
                  <a:pt x="347" y="345"/>
                </a:lnTo>
                <a:lnTo>
                  <a:pt x="349" y="344"/>
                </a:lnTo>
                <a:lnTo>
                  <a:pt x="350" y="342"/>
                </a:lnTo>
                <a:close/>
                <a:moveTo>
                  <a:pt x="429" y="299"/>
                </a:moveTo>
                <a:lnTo>
                  <a:pt x="429" y="301"/>
                </a:lnTo>
                <a:lnTo>
                  <a:pt x="432" y="303"/>
                </a:lnTo>
                <a:lnTo>
                  <a:pt x="429" y="301"/>
                </a:lnTo>
                <a:lnTo>
                  <a:pt x="429" y="305"/>
                </a:lnTo>
                <a:lnTo>
                  <a:pt x="430" y="305"/>
                </a:lnTo>
                <a:lnTo>
                  <a:pt x="430" y="306"/>
                </a:lnTo>
                <a:lnTo>
                  <a:pt x="430" y="308"/>
                </a:lnTo>
                <a:lnTo>
                  <a:pt x="429" y="308"/>
                </a:lnTo>
                <a:lnTo>
                  <a:pt x="429" y="306"/>
                </a:lnTo>
                <a:lnTo>
                  <a:pt x="427" y="305"/>
                </a:lnTo>
                <a:lnTo>
                  <a:pt x="429" y="303"/>
                </a:lnTo>
                <a:lnTo>
                  <a:pt x="427" y="301"/>
                </a:lnTo>
                <a:lnTo>
                  <a:pt x="429" y="301"/>
                </a:lnTo>
                <a:lnTo>
                  <a:pt x="429" y="299"/>
                </a:lnTo>
                <a:close/>
                <a:moveTo>
                  <a:pt x="323" y="509"/>
                </a:moveTo>
                <a:lnTo>
                  <a:pt x="327" y="509"/>
                </a:lnTo>
                <a:lnTo>
                  <a:pt x="327" y="512"/>
                </a:lnTo>
                <a:lnTo>
                  <a:pt x="328" y="512"/>
                </a:lnTo>
                <a:lnTo>
                  <a:pt x="328" y="514"/>
                </a:lnTo>
                <a:lnTo>
                  <a:pt x="327" y="514"/>
                </a:lnTo>
                <a:lnTo>
                  <a:pt x="325" y="512"/>
                </a:lnTo>
                <a:lnTo>
                  <a:pt x="323" y="512"/>
                </a:lnTo>
                <a:lnTo>
                  <a:pt x="322" y="510"/>
                </a:lnTo>
                <a:lnTo>
                  <a:pt x="323" y="509"/>
                </a:lnTo>
                <a:close/>
                <a:moveTo>
                  <a:pt x="344" y="373"/>
                </a:moveTo>
                <a:lnTo>
                  <a:pt x="347" y="373"/>
                </a:lnTo>
                <a:lnTo>
                  <a:pt x="349" y="373"/>
                </a:lnTo>
                <a:lnTo>
                  <a:pt x="350" y="374"/>
                </a:lnTo>
                <a:lnTo>
                  <a:pt x="347" y="376"/>
                </a:lnTo>
                <a:lnTo>
                  <a:pt x="345" y="374"/>
                </a:lnTo>
                <a:lnTo>
                  <a:pt x="344" y="374"/>
                </a:lnTo>
                <a:lnTo>
                  <a:pt x="344" y="373"/>
                </a:lnTo>
                <a:lnTo>
                  <a:pt x="342" y="373"/>
                </a:lnTo>
                <a:lnTo>
                  <a:pt x="344" y="373"/>
                </a:lnTo>
                <a:close/>
                <a:moveTo>
                  <a:pt x="422" y="281"/>
                </a:moveTo>
                <a:lnTo>
                  <a:pt x="422" y="282"/>
                </a:lnTo>
                <a:lnTo>
                  <a:pt x="422" y="284"/>
                </a:lnTo>
                <a:lnTo>
                  <a:pt x="424" y="284"/>
                </a:lnTo>
                <a:lnTo>
                  <a:pt x="424" y="286"/>
                </a:lnTo>
                <a:lnTo>
                  <a:pt x="422" y="288"/>
                </a:lnTo>
                <a:lnTo>
                  <a:pt x="424" y="289"/>
                </a:lnTo>
                <a:lnTo>
                  <a:pt x="422" y="291"/>
                </a:lnTo>
                <a:lnTo>
                  <a:pt x="422" y="288"/>
                </a:lnTo>
                <a:lnTo>
                  <a:pt x="420" y="289"/>
                </a:lnTo>
                <a:lnTo>
                  <a:pt x="420" y="288"/>
                </a:lnTo>
                <a:lnTo>
                  <a:pt x="420" y="289"/>
                </a:lnTo>
                <a:lnTo>
                  <a:pt x="420" y="288"/>
                </a:lnTo>
                <a:lnTo>
                  <a:pt x="420" y="286"/>
                </a:lnTo>
                <a:lnTo>
                  <a:pt x="422" y="286"/>
                </a:lnTo>
                <a:lnTo>
                  <a:pt x="422" y="284"/>
                </a:lnTo>
                <a:lnTo>
                  <a:pt x="420" y="282"/>
                </a:lnTo>
                <a:lnTo>
                  <a:pt x="422" y="281"/>
                </a:lnTo>
                <a:close/>
                <a:moveTo>
                  <a:pt x="507" y="366"/>
                </a:moveTo>
                <a:lnTo>
                  <a:pt x="507" y="368"/>
                </a:lnTo>
                <a:lnTo>
                  <a:pt x="505" y="369"/>
                </a:lnTo>
                <a:lnTo>
                  <a:pt x="505" y="368"/>
                </a:lnTo>
                <a:lnTo>
                  <a:pt x="503" y="368"/>
                </a:lnTo>
                <a:lnTo>
                  <a:pt x="502" y="369"/>
                </a:lnTo>
                <a:lnTo>
                  <a:pt x="502" y="368"/>
                </a:lnTo>
                <a:lnTo>
                  <a:pt x="503" y="368"/>
                </a:lnTo>
                <a:lnTo>
                  <a:pt x="507" y="366"/>
                </a:lnTo>
                <a:close/>
                <a:moveTo>
                  <a:pt x="262" y="191"/>
                </a:moveTo>
                <a:lnTo>
                  <a:pt x="260" y="192"/>
                </a:lnTo>
                <a:lnTo>
                  <a:pt x="262" y="191"/>
                </a:lnTo>
                <a:lnTo>
                  <a:pt x="264" y="194"/>
                </a:lnTo>
                <a:lnTo>
                  <a:pt x="262" y="196"/>
                </a:lnTo>
                <a:lnTo>
                  <a:pt x="260" y="194"/>
                </a:lnTo>
                <a:lnTo>
                  <a:pt x="262" y="194"/>
                </a:lnTo>
                <a:lnTo>
                  <a:pt x="260" y="194"/>
                </a:lnTo>
                <a:lnTo>
                  <a:pt x="260" y="191"/>
                </a:lnTo>
                <a:lnTo>
                  <a:pt x="262" y="191"/>
                </a:lnTo>
                <a:close/>
                <a:moveTo>
                  <a:pt x="99" y="271"/>
                </a:moveTo>
                <a:lnTo>
                  <a:pt x="97" y="274"/>
                </a:lnTo>
                <a:lnTo>
                  <a:pt x="95" y="274"/>
                </a:lnTo>
                <a:lnTo>
                  <a:pt x="95" y="276"/>
                </a:lnTo>
                <a:lnTo>
                  <a:pt x="94" y="276"/>
                </a:lnTo>
                <a:lnTo>
                  <a:pt x="95" y="274"/>
                </a:lnTo>
                <a:lnTo>
                  <a:pt x="95" y="271"/>
                </a:lnTo>
                <a:lnTo>
                  <a:pt x="99" y="271"/>
                </a:lnTo>
                <a:close/>
                <a:moveTo>
                  <a:pt x="254" y="323"/>
                </a:moveTo>
                <a:lnTo>
                  <a:pt x="254" y="327"/>
                </a:lnTo>
                <a:lnTo>
                  <a:pt x="255" y="327"/>
                </a:lnTo>
                <a:lnTo>
                  <a:pt x="255" y="328"/>
                </a:lnTo>
                <a:lnTo>
                  <a:pt x="252" y="328"/>
                </a:lnTo>
                <a:lnTo>
                  <a:pt x="254" y="328"/>
                </a:lnTo>
                <a:lnTo>
                  <a:pt x="250" y="327"/>
                </a:lnTo>
                <a:lnTo>
                  <a:pt x="254" y="325"/>
                </a:lnTo>
                <a:lnTo>
                  <a:pt x="254" y="323"/>
                </a:lnTo>
                <a:close/>
                <a:moveTo>
                  <a:pt x="48" y="235"/>
                </a:moveTo>
                <a:lnTo>
                  <a:pt x="50" y="237"/>
                </a:lnTo>
                <a:lnTo>
                  <a:pt x="51" y="238"/>
                </a:lnTo>
                <a:lnTo>
                  <a:pt x="53" y="240"/>
                </a:lnTo>
                <a:lnTo>
                  <a:pt x="50" y="240"/>
                </a:lnTo>
                <a:lnTo>
                  <a:pt x="48" y="238"/>
                </a:lnTo>
                <a:lnTo>
                  <a:pt x="48" y="235"/>
                </a:lnTo>
                <a:close/>
                <a:moveTo>
                  <a:pt x="89" y="271"/>
                </a:moveTo>
                <a:lnTo>
                  <a:pt x="90" y="271"/>
                </a:lnTo>
                <a:lnTo>
                  <a:pt x="90" y="272"/>
                </a:lnTo>
                <a:lnTo>
                  <a:pt x="89" y="272"/>
                </a:lnTo>
                <a:lnTo>
                  <a:pt x="89" y="274"/>
                </a:lnTo>
                <a:lnTo>
                  <a:pt x="90" y="276"/>
                </a:lnTo>
                <a:lnTo>
                  <a:pt x="92" y="276"/>
                </a:lnTo>
                <a:lnTo>
                  <a:pt x="89" y="276"/>
                </a:lnTo>
                <a:lnTo>
                  <a:pt x="87" y="274"/>
                </a:lnTo>
                <a:lnTo>
                  <a:pt x="87" y="271"/>
                </a:lnTo>
                <a:lnTo>
                  <a:pt x="89" y="271"/>
                </a:lnTo>
                <a:close/>
                <a:moveTo>
                  <a:pt x="237" y="347"/>
                </a:moveTo>
                <a:lnTo>
                  <a:pt x="240" y="349"/>
                </a:lnTo>
                <a:lnTo>
                  <a:pt x="240" y="350"/>
                </a:lnTo>
                <a:lnTo>
                  <a:pt x="238" y="350"/>
                </a:lnTo>
                <a:lnTo>
                  <a:pt x="237" y="350"/>
                </a:lnTo>
                <a:lnTo>
                  <a:pt x="235" y="349"/>
                </a:lnTo>
                <a:lnTo>
                  <a:pt x="237" y="347"/>
                </a:lnTo>
                <a:close/>
                <a:moveTo>
                  <a:pt x="264" y="444"/>
                </a:moveTo>
                <a:lnTo>
                  <a:pt x="264" y="446"/>
                </a:lnTo>
                <a:lnTo>
                  <a:pt x="265" y="444"/>
                </a:lnTo>
                <a:lnTo>
                  <a:pt x="265" y="446"/>
                </a:lnTo>
                <a:lnTo>
                  <a:pt x="267" y="447"/>
                </a:lnTo>
                <a:lnTo>
                  <a:pt x="267" y="449"/>
                </a:lnTo>
                <a:lnTo>
                  <a:pt x="265" y="447"/>
                </a:lnTo>
                <a:lnTo>
                  <a:pt x="264" y="446"/>
                </a:lnTo>
                <a:lnTo>
                  <a:pt x="264" y="444"/>
                </a:lnTo>
                <a:close/>
                <a:moveTo>
                  <a:pt x="492" y="395"/>
                </a:moveTo>
                <a:lnTo>
                  <a:pt x="492" y="396"/>
                </a:lnTo>
                <a:lnTo>
                  <a:pt x="493" y="398"/>
                </a:lnTo>
                <a:lnTo>
                  <a:pt x="493" y="400"/>
                </a:lnTo>
                <a:lnTo>
                  <a:pt x="492" y="400"/>
                </a:lnTo>
                <a:lnTo>
                  <a:pt x="490" y="398"/>
                </a:lnTo>
                <a:lnTo>
                  <a:pt x="490" y="395"/>
                </a:lnTo>
                <a:lnTo>
                  <a:pt x="492" y="395"/>
                </a:lnTo>
                <a:close/>
                <a:moveTo>
                  <a:pt x="288" y="303"/>
                </a:moveTo>
                <a:lnTo>
                  <a:pt x="288" y="305"/>
                </a:lnTo>
                <a:lnTo>
                  <a:pt x="288" y="306"/>
                </a:lnTo>
                <a:lnTo>
                  <a:pt x="288" y="308"/>
                </a:lnTo>
                <a:lnTo>
                  <a:pt x="288" y="311"/>
                </a:lnTo>
                <a:lnTo>
                  <a:pt x="286" y="308"/>
                </a:lnTo>
                <a:lnTo>
                  <a:pt x="288" y="306"/>
                </a:lnTo>
                <a:lnTo>
                  <a:pt x="288" y="305"/>
                </a:lnTo>
                <a:lnTo>
                  <a:pt x="288" y="303"/>
                </a:lnTo>
                <a:close/>
                <a:moveTo>
                  <a:pt x="376" y="350"/>
                </a:moveTo>
                <a:lnTo>
                  <a:pt x="376" y="352"/>
                </a:lnTo>
                <a:lnTo>
                  <a:pt x="373" y="354"/>
                </a:lnTo>
                <a:lnTo>
                  <a:pt x="374" y="352"/>
                </a:lnTo>
                <a:lnTo>
                  <a:pt x="376" y="350"/>
                </a:lnTo>
                <a:close/>
                <a:moveTo>
                  <a:pt x="238" y="403"/>
                </a:moveTo>
                <a:lnTo>
                  <a:pt x="240" y="407"/>
                </a:lnTo>
                <a:lnTo>
                  <a:pt x="240" y="408"/>
                </a:lnTo>
                <a:lnTo>
                  <a:pt x="238" y="407"/>
                </a:lnTo>
                <a:lnTo>
                  <a:pt x="237" y="408"/>
                </a:lnTo>
                <a:lnTo>
                  <a:pt x="237" y="407"/>
                </a:lnTo>
                <a:lnTo>
                  <a:pt x="238" y="403"/>
                </a:lnTo>
                <a:close/>
                <a:moveTo>
                  <a:pt x="322" y="305"/>
                </a:moveTo>
                <a:lnTo>
                  <a:pt x="323" y="308"/>
                </a:lnTo>
                <a:lnTo>
                  <a:pt x="322" y="308"/>
                </a:lnTo>
                <a:lnTo>
                  <a:pt x="320" y="308"/>
                </a:lnTo>
                <a:lnTo>
                  <a:pt x="318" y="308"/>
                </a:lnTo>
                <a:lnTo>
                  <a:pt x="320" y="308"/>
                </a:lnTo>
                <a:lnTo>
                  <a:pt x="322" y="305"/>
                </a:lnTo>
                <a:close/>
                <a:moveTo>
                  <a:pt x="328" y="366"/>
                </a:moveTo>
                <a:lnTo>
                  <a:pt x="330" y="366"/>
                </a:lnTo>
                <a:lnTo>
                  <a:pt x="332" y="368"/>
                </a:lnTo>
                <a:lnTo>
                  <a:pt x="330" y="369"/>
                </a:lnTo>
                <a:lnTo>
                  <a:pt x="328" y="368"/>
                </a:lnTo>
                <a:lnTo>
                  <a:pt x="327" y="366"/>
                </a:lnTo>
                <a:lnTo>
                  <a:pt x="328" y="366"/>
                </a:lnTo>
                <a:close/>
                <a:moveTo>
                  <a:pt x="291" y="282"/>
                </a:moveTo>
                <a:lnTo>
                  <a:pt x="293" y="284"/>
                </a:lnTo>
                <a:lnTo>
                  <a:pt x="289" y="286"/>
                </a:lnTo>
                <a:lnTo>
                  <a:pt x="289" y="284"/>
                </a:lnTo>
                <a:lnTo>
                  <a:pt x="289" y="282"/>
                </a:lnTo>
                <a:lnTo>
                  <a:pt x="291" y="282"/>
                </a:lnTo>
                <a:close/>
                <a:moveTo>
                  <a:pt x="439" y="301"/>
                </a:moveTo>
                <a:lnTo>
                  <a:pt x="441" y="303"/>
                </a:lnTo>
                <a:lnTo>
                  <a:pt x="442" y="303"/>
                </a:lnTo>
                <a:lnTo>
                  <a:pt x="442" y="305"/>
                </a:lnTo>
                <a:lnTo>
                  <a:pt x="441" y="305"/>
                </a:lnTo>
                <a:lnTo>
                  <a:pt x="441" y="303"/>
                </a:lnTo>
                <a:lnTo>
                  <a:pt x="439" y="303"/>
                </a:lnTo>
                <a:lnTo>
                  <a:pt x="439" y="301"/>
                </a:lnTo>
                <a:close/>
                <a:moveTo>
                  <a:pt x="384" y="345"/>
                </a:moveTo>
                <a:lnTo>
                  <a:pt x="386" y="345"/>
                </a:lnTo>
                <a:lnTo>
                  <a:pt x="386" y="347"/>
                </a:lnTo>
                <a:lnTo>
                  <a:pt x="384" y="347"/>
                </a:lnTo>
                <a:lnTo>
                  <a:pt x="383" y="347"/>
                </a:lnTo>
                <a:lnTo>
                  <a:pt x="384" y="345"/>
                </a:lnTo>
                <a:close/>
                <a:moveTo>
                  <a:pt x="257" y="201"/>
                </a:moveTo>
                <a:lnTo>
                  <a:pt x="259" y="202"/>
                </a:lnTo>
                <a:lnTo>
                  <a:pt x="259" y="201"/>
                </a:lnTo>
                <a:lnTo>
                  <a:pt x="259" y="204"/>
                </a:lnTo>
                <a:lnTo>
                  <a:pt x="259" y="206"/>
                </a:lnTo>
                <a:lnTo>
                  <a:pt x="257" y="206"/>
                </a:lnTo>
                <a:lnTo>
                  <a:pt x="257" y="204"/>
                </a:lnTo>
                <a:lnTo>
                  <a:pt x="259" y="202"/>
                </a:lnTo>
                <a:lnTo>
                  <a:pt x="257" y="201"/>
                </a:lnTo>
                <a:lnTo>
                  <a:pt x="257" y="199"/>
                </a:lnTo>
                <a:lnTo>
                  <a:pt x="257" y="201"/>
                </a:lnTo>
                <a:close/>
                <a:moveTo>
                  <a:pt x="468" y="322"/>
                </a:moveTo>
                <a:lnTo>
                  <a:pt x="469" y="322"/>
                </a:lnTo>
                <a:lnTo>
                  <a:pt x="469" y="323"/>
                </a:lnTo>
                <a:lnTo>
                  <a:pt x="471" y="323"/>
                </a:lnTo>
                <a:lnTo>
                  <a:pt x="468" y="325"/>
                </a:lnTo>
                <a:lnTo>
                  <a:pt x="466" y="323"/>
                </a:lnTo>
                <a:lnTo>
                  <a:pt x="468" y="322"/>
                </a:lnTo>
                <a:close/>
                <a:moveTo>
                  <a:pt x="390" y="223"/>
                </a:moveTo>
                <a:lnTo>
                  <a:pt x="391" y="223"/>
                </a:lnTo>
                <a:lnTo>
                  <a:pt x="393" y="225"/>
                </a:lnTo>
                <a:lnTo>
                  <a:pt x="393" y="223"/>
                </a:lnTo>
                <a:lnTo>
                  <a:pt x="393" y="225"/>
                </a:lnTo>
                <a:lnTo>
                  <a:pt x="390" y="225"/>
                </a:lnTo>
                <a:lnTo>
                  <a:pt x="390" y="223"/>
                </a:lnTo>
                <a:close/>
                <a:moveTo>
                  <a:pt x="352" y="313"/>
                </a:moveTo>
                <a:lnTo>
                  <a:pt x="354" y="313"/>
                </a:lnTo>
                <a:lnTo>
                  <a:pt x="354" y="316"/>
                </a:lnTo>
                <a:lnTo>
                  <a:pt x="356" y="315"/>
                </a:lnTo>
                <a:lnTo>
                  <a:pt x="356" y="316"/>
                </a:lnTo>
                <a:lnTo>
                  <a:pt x="354" y="316"/>
                </a:lnTo>
                <a:lnTo>
                  <a:pt x="354" y="318"/>
                </a:lnTo>
                <a:lnTo>
                  <a:pt x="354" y="315"/>
                </a:lnTo>
                <a:lnTo>
                  <a:pt x="352" y="315"/>
                </a:lnTo>
                <a:lnTo>
                  <a:pt x="350" y="313"/>
                </a:lnTo>
                <a:lnTo>
                  <a:pt x="352" y="313"/>
                </a:lnTo>
                <a:close/>
                <a:moveTo>
                  <a:pt x="451" y="288"/>
                </a:moveTo>
                <a:lnTo>
                  <a:pt x="452" y="289"/>
                </a:lnTo>
                <a:lnTo>
                  <a:pt x="451" y="288"/>
                </a:lnTo>
                <a:lnTo>
                  <a:pt x="449" y="291"/>
                </a:lnTo>
                <a:lnTo>
                  <a:pt x="447" y="289"/>
                </a:lnTo>
                <a:lnTo>
                  <a:pt x="451" y="288"/>
                </a:lnTo>
                <a:close/>
                <a:moveTo>
                  <a:pt x="248" y="340"/>
                </a:moveTo>
                <a:lnTo>
                  <a:pt x="248" y="342"/>
                </a:lnTo>
                <a:lnTo>
                  <a:pt x="245" y="342"/>
                </a:lnTo>
                <a:lnTo>
                  <a:pt x="247" y="340"/>
                </a:lnTo>
                <a:lnTo>
                  <a:pt x="248" y="342"/>
                </a:lnTo>
                <a:lnTo>
                  <a:pt x="248" y="340"/>
                </a:lnTo>
                <a:close/>
                <a:moveTo>
                  <a:pt x="391" y="327"/>
                </a:moveTo>
                <a:lnTo>
                  <a:pt x="391" y="328"/>
                </a:lnTo>
                <a:lnTo>
                  <a:pt x="393" y="328"/>
                </a:lnTo>
                <a:lnTo>
                  <a:pt x="393" y="330"/>
                </a:lnTo>
                <a:lnTo>
                  <a:pt x="390" y="330"/>
                </a:lnTo>
                <a:lnTo>
                  <a:pt x="388" y="328"/>
                </a:lnTo>
                <a:lnTo>
                  <a:pt x="390" y="328"/>
                </a:lnTo>
                <a:lnTo>
                  <a:pt x="390" y="327"/>
                </a:lnTo>
                <a:lnTo>
                  <a:pt x="391" y="327"/>
                </a:lnTo>
                <a:close/>
                <a:moveTo>
                  <a:pt x="167" y="398"/>
                </a:moveTo>
                <a:lnTo>
                  <a:pt x="167" y="400"/>
                </a:lnTo>
                <a:lnTo>
                  <a:pt x="167" y="402"/>
                </a:lnTo>
                <a:lnTo>
                  <a:pt x="165" y="402"/>
                </a:lnTo>
                <a:lnTo>
                  <a:pt x="165" y="398"/>
                </a:lnTo>
                <a:lnTo>
                  <a:pt x="167" y="398"/>
                </a:lnTo>
                <a:close/>
                <a:moveTo>
                  <a:pt x="243" y="315"/>
                </a:moveTo>
                <a:lnTo>
                  <a:pt x="245" y="315"/>
                </a:lnTo>
                <a:lnTo>
                  <a:pt x="243" y="316"/>
                </a:lnTo>
                <a:lnTo>
                  <a:pt x="242" y="316"/>
                </a:lnTo>
                <a:lnTo>
                  <a:pt x="243" y="315"/>
                </a:lnTo>
                <a:close/>
                <a:moveTo>
                  <a:pt x="383" y="453"/>
                </a:moveTo>
                <a:lnTo>
                  <a:pt x="384" y="453"/>
                </a:lnTo>
                <a:lnTo>
                  <a:pt x="384" y="456"/>
                </a:lnTo>
                <a:lnTo>
                  <a:pt x="383" y="454"/>
                </a:lnTo>
                <a:lnTo>
                  <a:pt x="381" y="454"/>
                </a:lnTo>
                <a:lnTo>
                  <a:pt x="383" y="453"/>
                </a:lnTo>
                <a:close/>
                <a:moveTo>
                  <a:pt x="265" y="184"/>
                </a:moveTo>
                <a:lnTo>
                  <a:pt x="267" y="187"/>
                </a:lnTo>
                <a:lnTo>
                  <a:pt x="265" y="189"/>
                </a:lnTo>
                <a:lnTo>
                  <a:pt x="264" y="189"/>
                </a:lnTo>
                <a:lnTo>
                  <a:pt x="265" y="187"/>
                </a:lnTo>
                <a:lnTo>
                  <a:pt x="265" y="184"/>
                </a:lnTo>
                <a:close/>
                <a:moveTo>
                  <a:pt x="0" y="197"/>
                </a:moveTo>
                <a:lnTo>
                  <a:pt x="4" y="196"/>
                </a:lnTo>
                <a:lnTo>
                  <a:pt x="0" y="199"/>
                </a:lnTo>
                <a:lnTo>
                  <a:pt x="0" y="197"/>
                </a:lnTo>
                <a:close/>
                <a:moveTo>
                  <a:pt x="418" y="286"/>
                </a:moveTo>
                <a:lnTo>
                  <a:pt x="420" y="288"/>
                </a:lnTo>
                <a:lnTo>
                  <a:pt x="418" y="289"/>
                </a:lnTo>
                <a:lnTo>
                  <a:pt x="418" y="288"/>
                </a:lnTo>
                <a:lnTo>
                  <a:pt x="417" y="289"/>
                </a:lnTo>
                <a:lnTo>
                  <a:pt x="418" y="286"/>
                </a:lnTo>
                <a:close/>
                <a:moveTo>
                  <a:pt x="162" y="396"/>
                </a:moveTo>
                <a:lnTo>
                  <a:pt x="163" y="396"/>
                </a:lnTo>
                <a:lnTo>
                  <a:pt x="162" y="398"/>
                </a:lnTo>
                <a:lnTo>
                  <a:pt x="162" y="400"/>
                </a:lnTo>
                <a:lnTo>
                  <a:pt x="162" y="398"/>
                </a:lnTo>
                <a:lnTo>
                  <a:pt x="162" y="396"/>
                </a:lnTo>
                <a:close/>
                <a:moveTo>
                  <a:pt x="619" y="342"/>
                </a:moveTo>
                <a:lnTo>
                  <a:pt x="621" y="342"/>
                </a:lnTo>
                <a:lnTo>
                  <a:pt x="622" y="345"/>
                </a:lnTo>
                <a:lnTo>
                  <a:pt x="619" y="345"/>
                </a:lnTo>
                <a:lnTo>
                  <a:pt x="619" y="342"/>
                </a:lnTo>
                <a:close/>
                <a:moveTo>
                  <a:pt x="429" y="327"/>
                </a:moveTo>
                <a:lnTo>
                  <a:pt x="430" y="328"/>
                </a:lnTo>
                <a:lnTo>
                  <a:pt x="429" y="328"/>
                </a:lnTo>
                <a:lnTo>
                  <a:pt x="427" y="328"/>
                </a:lnTo>
                <a:lnTo>
                  <a:pt x="429" y="328"/>
                </a:lnTo>
                <a:lnTo>
                  <a:pt x="427" y="328"/>
                </a:lnTo>
                <a:lnTo>
                  <a:pt x="429" y="327"/>
                </a:lnTo>
                <a:close/>
                <a:moveTo>
                  <a:pt x="374" y="381"/>
                </a:moveTo>
                <a:lnTo>
                  <a:pt x="376" y="385"/>
                </a:lnTo>
                <a:lnTo>
                  <a:pt x="374" y="383"/>
                </a:lnTo>
                <a:lnTo>
                  <a:pt x="374" y="381"/>
                </a:lnTo>
                <a:close/>
                <a:moveTo>
                  <a:pt x="305" y="369"/>
                </a:moveTo>
                <a:lnTo>
                  <a:pt x="308" y="369"/>
                </a:lnTo>
                <a:lnTo>
                  <a:pt x="308" y="371"/>
                </a:lnTo>
                <a:lnTo>
                  <a:pt x="306" y="373"/>
                </a:lnTo>
                <a:lnTo>
                  <a:pt x="305" y="369"/>
                </a:lnTo>
                <a:close/>
                <a:moveTo>
                  <a:pt x="451" y="371"/>
                </a:moveTo>
                <a:lnTo>
                  <a:pt x="452" y="371"/>
                </a:lnTo>
                <a:lnTo>
                  <a:pt x="454" y="373"/>
                </a:lnTo>
                <a:lnTo>
                  <a:pt x="451" y="373"/>
                </a:lnTo>
                <a:lnTo>
                  <a:pt x="451" y="371"/>
                </a:lnTo>
                <a:close/>
                <a:moveTo>
                  <a:pt x="376" y="347"/>
                </a:moveTo>
                <a:lnTo>
                  <a:pt x="379" y="347"/>
                </a:lnTo>
                <a:lnTo>
                  <a:pt x="379" y="350"/>
                </a:lnTo>
                <a:lnTo>
                  <a:pt x="378" y="350"/>
                </a:lnTo>
                <a:lnTo>
                  <a:pt x="376" y="347"/>
                </a:lnTo>
                <a:close/>
                <a:moveTo>
                  <a:pt x="347" y="349"/>
                </a:moveTo>
                <a:lnTo>
                  <a:pt x="349" y="349"/>
                </a:lnTo>
                <a:lnTo>
                  <a:pt x="347" y="350"/>
                </a:lnTo>
                <a:lnTo>
                  <a:pt x="345" y="349"/>
                </a:lnTo>
                <a:lnTo>
                  <a:pt x="347" y="349"/>
                </a:lnTo>
                <a:close/>
                <a:moveTo>
                  <a:pt x="510" y="362"/>
                </a:moveTo>
                <a:lnTo>
                  <a:pt x="512" y="361"/>
                </a:lnTo>
                <a:lnTo>
                  <a:pt x="514" y="364"/>
                </a:lnTo>
                <a:lnTo>
                  <a:pt x="510" y="364"/>
                </a:lnTo>
                <a:lnTo>
                  <a:pt x="510" y="362"/>
                </a:lnTo>
                <a:close/>
                <a:moveTo>
                  <a:pt x="240" y="123"/>
                </a:moveTo>
                <a:lnTo>
                  <a:pt x="240" y="124"/>
                </a:lnTo>
                <a:lnTo>
                  <a:pt x="242" y="126"/>
                </a:lnTo>
                <a:lnTo>
                  <a:pt x="240" y="126"/>
                </a:lnTo>
                <a:lnTo>
                  <a:pt x="238" y="124"/>
                </a:lnTo>
                <a:lnTo>
                  <a:pt x="240" y="123"/>
                </a:lnTo>
                <a:close/>
                <a:moveTo>
                  <a:pt x="437" y="296"/>
                </a:moveTo>
                <a:lnTo>
                  <a:pt x="439" y="296"/>
                </a:lnTo>
                <a:lnTo>
                  <a:pt x="439" y="299"/>
                </a:lnTo>
                <a:lnTo>
                  <a:pt x="437" y="299"/>
                </a:lnTo>
                <a:lnTo>
                  <a:pt x="437" y="296"/>
                </a:lnTo>
                <a:close/>
                <a:moveTo>
                  <a:pt x="265" y="208"/>
                </a:moveTo>
                <a:lnTo>
                  <a:pt x="267" y="208"/>
                </a:lnTo>
                <a:lnTo>
                  <a:pt x="269" y="211"/>
                </a:lnTo>
                <a:lnTo>
                  <a:pt x="267" y="211"/>
                </a:lnTo>
                <a:lnTo>
                  <a:pt x="265" y="208"/>
                </a:lnTo>
                <a:close/>
                <a:moveTo>
                  <a:pt x="415" y="458"/>
                </a:moveTo>
                <a:lnTo>
                  <a:pt x="417" y="458"/>
                </a:lnTo>
                <a:lnTo>
                  <a:pt x="417" y="461"/>
                </a:lnTo>
                <a:lnTo>
                  <a:pt x="415" y="461"/>
                </a:lnTo>
                <a:lnTo>
                  <a:pt x="415" y="458"/>
                </a:lnTo>
                <a:close/>
                <a:moveTo>
                  <a:pt x="99" y="274"/>
                </a:moveTo>
                <a:lnTo>
                  <a:pt x="97" y="277"/>
                </a:lnTo>
                <a:lnTo>
                  <a:pt x="97" y="279"/>
                </a:lnTo>
                <a:lnTo>
                  <a:pt x="97" y="277"/>
                </a:lnTo>
                <a:lnTo>
                  <a:pt x="99" y="274"/>
                </a:lnTo>
                <a:close/>
                <a:moveTo>
                  <a:pt x="381" y="342"/>
                </a:moveTo>
                <a:lnTo>
                  <a:pt x="383" y="342"/>
                </a:lnTo>
                <a:lnTo>
                  <a:pt x="383" y="344"/>
                </a:lnTo>
                <a:lnTo>
                  <a:pt x="381" y="344"/>
                </a:lnTo>
                <a:lnTo>
                  <a:pt x="381" y="342"/>
                </a:lnTo>
                <a:close/>
                <a:moveTo>
                  <a:pt x="109" y="284"/>
                </a:moveTo>
                <a:lnTo>
                  <a:pt x="111" y="288"/>
                </a:lnTo>
                <a:lnTo>
                  <a:pt x="109" y="288"/>
                </a:lnTo>
                <a:lnTo>
                  <a:pt x="109" y="284"/>
                </a:lnTo>
                <a:close/>
                <a:moveTo>
                  <a:pt x="418" y="488"/>
                </a:moveTo>
                <a:lnTo>
                  <a:pt x="422" y="488"/>
                </a:lnTo>
                <a:lnTo>
                  <a:pt x="420" y="490"/>
                </a:lnTo>
                <a:lnTo>
                  <a:pt x="418" y="488"/>
                </a:lnTo>
                <a:close/>
                <a:moveTo>
                  <a:pt x="452" y="322"/>
                </a:moveTo>
                <a:lnTo>
                  <a:pt x="454" y="322"/>
                </a:lnTo>
                <a:lnTo>
                  <a:pt x="454" y="323"/>
                </a:lnTo>
                <a:lnTo>
                  <a:pt x="452" y="323"/>
                </a:lnTo>
                <a:lnTo>
                  <a:pt x="452" y="322"/>
                </a:lnTo>
                <a:close/>
                <a:moveTo>
                  <a:pt x="512" y="333"/>
                </a:moveTo>
                <a:lnTo>
                  <a:pt x="514" y="332"/>
                </a:lnTo>
                <a:lnTo>
                  <a:pt x="514" y="333"/>
                </a:lnTo>
                <a:lnTo>
                  <a:pt x="512" y="333"/>
                </a:lnTo>
                <a:close/>
                <a:moveTo>
                  <a:pt x="471" y="342"/>
                </a:moveTo>
                <a:lnTo>
                  <a:pt x="473" y="342"/>
                </a:lnTo>
                <a:lnTo>
                  <a:pt x="473" y="344"/>
                </a:lnTo>
                <a:lnTo>
                  <a:pt x="471" y="345"/>
                </a:lnTo>
                <a:lnTo>
                  <a:pt x="471" y="342"/>
                </a:lnTo>
                <a:close/>
                <a:moveTo>
                  <a:pt x="291" y="223"/>
                </a:moveTo>
                <a:lnTo>
                  <a:pt x="293" y="223"/>
                </a:lnTo>
                <a:lnTo>
                  <a:pt x="293" y="225"/>
                </a:lnTo>
                <a:lnTo>
                  <a:pt x="291" y="225"/>
                </a:lnTo>
                <a:lnTo>
                  <a:pt x="291" y="223"/>
                </a:lnTo>
                <a:close/>
                <a:moveTo>
                  <a:pt x="92" y="282"/>
                </a:moveTo>
                <a:lnTo>
                  <a:pt x="94" y="282"/>
                </a:lnTo>
                <a:lnTo>
                  <a:pt x="94" y="284"/>
                </a:lnTo>
                <a:lnTo>
                  <a:pt x="92" y="284"/>
                </a:lnTo>
                <a:lnTo>
                  <a:pt x="92" y="282"/>
                </a:lnTo>
                <a:close/>
                <a:moveTo>
                  <a:pt x="85" y="279"/>
                </a:moveTo>
                <a:lnTo>
                  <a:pt x="87" y="279"/>
                </a:lnTo>
                <a:lnTo>
                  <a:pt x="87" y="281"/>
                </a:lnTo>
                <a:lnTo>
                  <a:pt x="85" y="281"/>
                </a:lnTo>
                <a:lnTo>
                  <a:pt x="85" y="279"/>
                </a:lnTo>
                <a:close/>
                <a:moveTo>
                  <a:pt x="418" y="332"/>
                </a:moveTo>
                <a:lnTo>
                  <a:pt x="420" y="330"/>
                </a:lnTo>
                <a:lnTo>
                  <a:pt x="420" y="332"/>
                </a:lnTo>
                <a:lnTo>
                  <a:pt x="418" y="333"/>
                </a:lnTo>
                <a:lnTo>
                  <a:pt x="418" y="332"/>
                </a:lnTo>
                <a:close/>
                <a:moveTo>
                  <a:pt x="350" y="231"/>
                </a:moveTo>
                <a:lnTo>
                  <a:pt x="352" y="231"/>
                </a:lnTo>
                <a:lnTo>
                  <a:pt x="350" y="233"/>
                </a:lnTo>
                <a:lnTo>
                  <a:pt x="350" y="231"/>
                </a:lnTo>
                <a:close/>
                <a:moveTo>
                  <a:pt x="274" y="187"/>
                </a:moveTo>
                <a:lnTo>
                  <a:pt x="276" y="187"/>
                </a:lnTo>
                <a:lnTo>
                  <a:pt x="276" y="189"/>
                </a:lnTo>
                <a:lnTo>
                  <a:pt x="274" y="189"/>
                </a:lnTo>
                <a:lnTo>
                  <a:pt x="274" y="187"/>
                </a:lnTo>
                <a:close/>
                <a:moveTo>
                  <a:pt x="111" y="293"/>
                </a:moveTo>
                <a:lnTo>
                  <a:pt x="112" y="296"/>
                </a:lnTo>
                <a:lnTo>
                  <a:pt x="111" y="296"/>
                </a:lnTo>
                <a:lnTo>
                  <a:pt x="111" y="293"/>
                </a:lnTo>
                <a:close/>
                <a:moveTo>
                  <a:pt x="277" y="325"/>
                </a:moveTo>
                <a:lnTo>
                  <a:pt x="279" y="323"/>
                </a:lnTo>
                <a:lnTo>
                  <a:pt x="281" y="327"/>
                </a:lnTo>
                <a:lnTo>
                  <a:pt x="277" y="327"/>
                </a:lnTo>
                <a:lnTo>
                  <a:pt x="277" y="325"/>
                </a:lnTo>
                <a:close/>
                <a:moveTo>
                  <a:pt x="444" y="478"/>
                </a:moveTo>
                <a:lnTo>
                  <a:pt x="446" y="478"/>
                </a:lnTo>
                <a:lnTo>
                  <a:pt x="446" y="480"/>
                </a:lnTo>
                <a:lnTo>
                  <a:pt x="444" y="480"/>
                </a:lnTo>
                <a:lnTo>
                  <a:pt x="444" y="478"/>
                </a:lnTo>
                <a:close/>
                <a:moveTo>
                  <a:pt x="282" y="223"/>
                </a:moveTo>
                <a:lnTo>
                  <a:pt x="284" y="223"/>
                </a:lnTo>
                <a:lnTo>
                  <a:pt x="286" y="225"/>
                </a:lnTo>
                <a:lnTo>
                  <a:pt x="284" y="225"/>
                </a:lnTo>
                <a:lnTo>
                  <a:pt x="282" y="223"/>
                </a:lnTo>
                <a:close/>
                <a:moveTo>
                  <a:pt x="379" y="345"/>
                </a:moveTo>
                <a:lnTo>
                  <a:pt x="381" y="345"/>
                </a:lnTo>
                <a:lnTo>
                  <a:pt x="383" y="347"/>
                </a:lnTo>
                <a:lnTo>
                  <a:pt x="379" y="347"/>
                </a:lnTo>
                <a:lnTo>
                  <a:pt x="379" y="345"/>
                </a:lnTo>
                <a:close/>
                <a:moveTo>
                  <a:pt x="459" y="298"/>
                </a:moveTo>
                <a:lnTo>
                  <a:pt x="461" y="299"/>
                </a:lnTo>
                <a:lnTo>
                  <a:pt x="459" y="301"/>
                </a:lnTo>
                <a:lnTo>
                  <a:pt x="459" y="298"/>
                </a:lnTo>
                <a:close/>
                <a:moveTo>
                  <a:pt x="291" y="281"/>
                </a:moveTo>
                <a:lnTo>
                  <a:pt x="293" y="281"/>
                </a:lnTo>
                <a:lnTo>
                  <a:pt x="293" y="282"/>
                </a:lnTo>
                <a:lnTo>
                  <a:pt x="291" y="282"/>
                </a:lnTo>
                <a:lnTo>
                  <a:pt x="291" y="281"/>
                </a:lnTo>
                <a:close/>
                <a:moveTo>
                  <a:pt x="53" y="240"/>
                </a:moveTo>
                <a:lnTo>
                  <a:pt x="55" y="240"/>
                </a:lnTo>
                <a:lnTo>
                  <a:pt x="55" y="242"/>
                </a:lnTo>
                <a:lnTo>
                  <a:pt x="53" y="242"/>
                </a:lnTo>
                <a:lnTo>
                  <a:pt x="53" y="240"/>
                </a:lnTo>
                <a:close/>
                <a:moveTo>
                  <a:pt x="10" y="192"/>
                </a:moveTo>
                <a:lnTo>
                  <a:pt x="12" y="194"/>
                </a:lnTo>
                <a:lnTo>
                  <a:pt x="10" y="194"/>
                </a:lnTo>
                <a:lnTo>
                  <a:pt x="10" y="192"/>
                </a:lnTo>
                <a:close/>
                <a:moveTo>
                  <a:pt x="356" y="315"/>
                </a:moveTo>
                <a:lnTo>
                  <a:pt x="356" y="313"/>
                </a:lnTo>
                <a:lnTo>
                  <a:pt x="357" y="316"/>
                </a:lnTo>
                <a:lnTo>
                  <a:pt x="356" y="316"/>
                </a:lnTo>
                <a:lnTo>
                  <a:pt x="356" y="315"/>
                </a:lnTo>
                <a:close/>
                <a:moveTo>
                  <a:pt x="233" y="133"/>
                </a:moveTo>
                <a:lnTo>
                  <a:pt x="235" y="133"/>
                </a:lnTo>
                <a:lnTo>
                  <a:pt x="235" y="134"/>
                </a:lnTo>
                <a:lnTo>
                  <a:pt x="233" y="134"/>
                </a:lnTo>
                <a:lnTo>
                  <a:pt x="233" y="133"/>
                </a:lnTo>
                <a:close/>
                <a:moveTo>
                  <a:pt x="298" y="226"/>
                </a:moveTo>
                <a:lnTo>
                  <a:pt x="299" y="226"/>
                </a:lnTo>
                <a:lnTo>
                  <a:pt x="299" y="228"/>
                </a:lnTo>
                <a:lnTo>
                  <a:pt x="298" y="228"/>
                </a:lnTo>
                <a:lnTo>
                  <a:pt x="298" y="226"/>
                </a:lnTo>
                <a:close/>
                <a:moveTo>
                  <a:pt x="157" y="386"/>
                </a:moveTo>
                <a:lnTo>
                  <a:pt x="158" y="386"/>
                </a:lnTo>
                <a:lnTo>
                  <a:pt x="158" y="388"/>
                </a:lnTo>
                <a:lnTo>
                  <a:pt x="157" y="386"/>
                </a:lnTo>
                <a:close/>
                <a:moveTo>
                  <a:pt x="282" y="272"/>
                </a:moveTo>
                <a:lnTo>
                  <a:pt x="284" y="272"/>
                </a:lnTo>
                <a:lnTo>
                  <a:pt x="284" y="274"/>
                </a:lnTo>
                <a:lnTo>
                  <a:pt x="282" y="274"/>
                </a:lnTo>
                <a:lnTo>
                  <a:pt x="282" y="272"/>
                </a:lnTo>
                <a:close/>
                <a:moveTo>
                  <a:pt x="9" y="202"/>
                </a:moveTo>
                <a:lnTo>
                  <a:pt x="9" y="201"/>
                </a:lnTo>
                <a:lnTo>
                  <a:pt x="9" y="202"/>
                </a:lnTo>
                <a:close/>
                <a:moveTo>
                  <a:pt x="439" y="449"/>
                </a:moveTo>
                <a:lnTo>
                  <a:pt x="441" y="447"/>
                </a:lnTo>
                <a:lnTo>
                  <a:pt x="441" y="449"/>
                </a:lnTo>
                <a:lnTo>
                  <a:pt x="439" y="449"/>
                </a:lnTo>
                <a:close/>
                <a:moveTo>
                  <a:pt x="398" y="344"/>
                </a:moveTo>
                <a:lnTo>
                  <a:pt x="401" y="342"/>
                </a:lnTo>
                <a:lnTo>
                  <a:pt x="401" y="344"/>
                </a:lnTo>
                <a:lnTo>
                  <a:pt x="398" y="344"/>
                </a:lnTo>
                <a:close/>
                <a:moveTo>
                  <a:pt x="476" y="434"/>
                </a:moveTo>
                <a:lnTo>
                  <a:pt x="478" y="432"/>
                </a:lnTo>
                <a:lnTo>
                  <a:pt x="478" y="434"/>
                </a:lnTo>
                <a:lnTo>
                  <a:pt x="476" y="434"/>
                </a:lnTo>
                <a:close/>
                <a:moveTo>
                  <a:pt x="163" y="281"/>
                </a:moveTo>
                <a:lnTo>
                  <a:pt x="165" y="281"/>
                </a:lnTo>
                <a:lnTo>
                  <a:pt x="163" y="281"/>
                </a:lnTo>
                <a:close/>
                <a:moveTo>
                  <a:pt x="424" y="284"/>
                </a:moveTo>
                <a:lnTo>
                  <a:pt x="425" y="284"/>
                </a:lnTo>
                <a:lnTo>
                  <a:pt x="424" y="286"/>
                </a:lnTo>
                <a:lnTo>
                  <a:pt x="424" y="284"/>
                </a:lnTo>
                <a:close/>
                <a:moveTo>
                  <a:pt x="318" y="505"/>
                </a:moveTo>
                <a:lnTo>
                  <a:pt x="320" y="505"/>
                </a:lnTo>
                <a:lnTo>
                  <a:pt x="318" y="507"/>
                </a:lnTo>
                <a:lnTo>
                  <a:pt x="318" y="505"/>
                </a:lnTo>
                <a:close/>
                <a:moveTo>
                  <a:pt x="439" y="451"/>
                </a:moveTo>
                <a:lnTo>
                  <a:pt x="441" y="449"/>
                </a:lnTo>
                <a:lnTo>
                  <a:pt x="441" y="451"/>
                </a:lnTo>
                <a:lnTo>
                  <a:pt x="439" y="451"/>
                </a:lnTo>
                <a:close/>
                <a:moveTo>
                  <a:pt x="240" y="350"/>
                </a:moveTo>
                <a:lnTo>
                  <a:pt x="240" y="352"/>
                </a:lnTo>
                <a:lnTo>
                  <a:pt x="240" y="350"/>
                </a:lnTo>
                <a:close/>
                <a:moveTo>
                  <a:pt x="277" y="269"/>
                </a:moveTo>
                <a:lnTo>
                  <a:pt x="279" y="269"/>
                </a:lnTo>
                <a:lnTo>
                  <a:pt x="279" y="271"/>
                </a:lnTo>
                <a:lnTo>
                  <a:pt x="277" y="269"/>
                </a:lnTo>
                <a:close/>
                <a:moveTo>
                  <a:pt x="463" y="315"/>
                </a:moveTo>
                <a:lnTo>
                  <a:pt x="464" y="315"/>
                </a:lnTo>
                <a:lnTo>
                  <a:pt x="463" y="316"/>
                </a:lnTo>
                <a:lnTo>
                  <a:pt x="463" y="315"/>
                </a:lnTo>
                <a:close/>
                <a:moveTo>
                  <a:pt x="221" y="333"/>
                </a:moveTo>
                <a:lnTo>
                  <a:pt x="223" y="333"/>
                </a:lnTo>
                <a:lnTo>
                  <a:pt x="223" y="335"/>
                </a:lnTo>
                <a:lnTo>
                  <a:pt x="221" y="335"/>
                </a:lnTo>
                <a:lnTo>
                  <a:pt x="221" y="333"/>
                </a:lnTo>
                <a:close/>
                <a:moveTo>
                  <a:pt x="417" y="364"/>
                </a:moveTo>
                <a:lnTo>
                  <a:pt x="418" y="362"/>
                </a:lnTo>
                <a:lnTo>
                  <a:pt x="418" y="366"/>
                </a:lnTo>
                <a:lnTo>
                  <a:pt x="417" y="364"/>
                </a:lnTo>
                <a:close/>
                <a:moveTo>
                  <a:pt x="260" y="369"/>
                </a:moveTo>
                <a:lnTo>
                  <a:pt x="260" y="371"/>
                </a:lnTo>
                <a:lnTo>
                  <a:pt x="260" y="369"/>
                </a:lnTo>
                <a:close/>
                <a:moveTo>
                  <a:pt x="442" y="310"/>
                </a:moveTo>
                <a:lnTo>
                  <a:pt x="444" y="310"/>
                </a:lnTo>
                <a:lnTo>
                  <a:pt x="442" y="310"/>
                </a:lnTo>
                <a:close/>
                <a:moveTo>
                  <a:pt x="424" y="464"/>
                </a:moveTo>
                <a:lnTo>
                  <a:pt x="424" y="463"/>
                </a:lnTo>
                <a:lnTo>
                  <a:pt x="425" y="464"/>
                </a:lnTo>
                <a:lnTo>
                  <a:pt x="424" y="464"/>
                </a:lnTo>
                <a:close/>
                <a:moveTo>
                  <a:pt x="320" y="333"/>
                </a:moveTo>
                <a:lnTo>
                  <a:pt x="322" y="332"/>
                </a:lnTo>
                <a:lnTo>
                  <a:pt x="322" y="333"/>
                </a:lnTo>
                <a:lnTo>
                  <a:pt x="320" y="333"/>
                </a:lnTo>
                <a:close/>
                <a:moveTo>
                  <a:pt x="466" y="356"/>
                </a:moveTo>
                <a:lnTo>
                  <a:pt x="466" y="357"/>
                </a:lnTo>
                <a:lnTo>
                  <a:pt x="466" y="356"/>
                </a:lnTo>
                <a:close/>
                <a:moveTo>
                  <a:pt x="366" y="308"/>
                </a:moveTo>
                <a:lnTo>
                  <a:pt x="367" y="308"/>
                </a:lnTo>
                <a:lnTo>
                  <a:pt x="367" y="310"/>
                </a:lnTo>
                <a:lnTo>
                  <a:pt x="366" y="308"/>
                </a:lnTo>
                <a:close/>
                <a:moveTo>
                  <a:pt x="468" y="349"/>
                </a:moveTo>
                <a:lnTo>
                  <a:pt x="469" y="349"/>
                </a:lnTo>
                <a:lnTo>
                  <a:pt x="469" y="350"/>
                </a:lnTo>
                <a:lnTo>
                  <a:pt x="468" y="350"/>
                </a:lnTo>
                <a:lnTo>
                  <a:pt x="468" y="349"/>
                </a:lnTo>
                <a:close/>
                <a:moveTo>
                  <a:pt x="352" y="373"/>
                </a:moveTo>
                <a:lnTo>
                  <a:pt x="354" y="371"/>
                </a:lnTo>
                <a:lnTo>
                  <a:pt x="354" y="373"/>
                </a:lnTo>
                <a:lnTo>
                  <a:pt x="352" y="373"/>
                </a:lnTo>
                <a:close/>
                <a:moveTo>
                  <a:pt x="441" y="395"/>
                </a:moveTo>
                <a:lnTo>
                  <a:pt x="441" y="393"/>
                </a:lnTo>
                <a:lnTo>
                  <a:pt x="441" y="395"/>
                </a:lnTo>
                <a:close/>
                <a:moveTo>
                  <a:pt x="106" y="289"/>
                </a:moveTo>
                <a:lnTo>
                  <a:pt x="107" y="289"/>
                </a:lnTo>
                <a:lnTo>
                  <a:pt x="107" y="291"/>
                </a:lnTo>
                <a:lnTo>
                  <a:pt x="106" y="291"/>
                </a:lnTo>
                <a:lnTo>
                  <a:pt x="106" y="289"/>
                </a:lnTo>
                <a:close/>
                <a:moveTo>
                  <a:pt x="429" y="357"/>
                </a:moveTo>
                <a:lnTo>
                  <a:pt x="430" y="357"/>
                </a:lnTo>
                <a:lnTo>
                  <a:pt x="429" y="359"/>
                </a:lnTo>
                <a:lnTo>
                  <a:pt x="429" y="357"/>
                </a:lnTo>
                <a:close/>
                <a:moveTo>
                  <a:pt x="121" y="291"/>
                </a:moveTo>
                <a:lnTo>
                  <a:pt x="123" y="291"/>
                </a:lnTo>
                <a:lnTo>
                  <a:pt x="123" y="293"/>
                </a:lnTo>
                <a:lnTo>
                  <a:pt x="121" y="293"/>
                </a:lnTo>
                <a:lnTo>
                  <a:pt x="121" y="291"/>
                </a:lnTo>
                <a:close/>
                <a:moveTo>
                  <a:pt x="44" y="214"/>
                </a:moveTo>
                <a:lnTo>
                  <a:pt x="44" y="213"/>
                </a:lnTo>
                <a:lnTo>
                  <a:pt x="44" y="214"/>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cxnSp>
        <p:nvCxnSpPr>
          <p:cNvPr id="191" name="Straight Connector 190">
            <a:extLst>
              <a:ext uri="{FF2B5EF4-FFF2-40B4-BE49-F238E27FC236}">
                <a16:creationId xmlns:a16="http://schemas.microsoft.com/office/drawing/2014/main" id="{02FFE17C-6211-48DA-80AF-22EE6E6F8C2D}"/>
              </a:ext>
            </a:extLst>
          </p:cNvPr>
          <p:cNvCxnSpPr>
            <a:cxnSpLocks/>
          </p:cNvCxnSpPr>
          <p:nvPr/>
        </p:nvCxnSpPr>
        <p:spPr>
          <a:xfrm flipV="1">
            <a:off x="5541713" y="4127928"/>
            <a:ext cx="18894" cy="178099"/>
          </a:xfrm>
          <a:prstGeom prst="line">
            <a:avLst/>
          </a:prstGeom>
          <a:solidFill>
            <a:srgbClr val="D0D0D0"/>
          </a:solidFill>
          <a:ln w="6350" cap="flat">
            <a:solidFill>
              <a:schemeClr val="tx1">
                <a:lumMod val="25000"/>
                <a:lumOff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0CDA5F56-736F-4645-B434-4FA6E53528A6}"/>
              </a:ext>
            </a:extLst>
          </p:cNvPr>
          <p:cNvCxnSpPr>
            <a:cxnSpLocks/>
          </p:cNvCxnSpPr>
          <p:nvPr/>
        </p:nvCxnSpPr>
        <p:spPr>
          <a:xfrm flipV="1">
            <a:off x="5542760" y="4123562"/>
            <a:ext cx="18858" cy="177761"/>
          </a:xfrm>
          <a:prstGeom prst="line">
            <a:avLst/>
          </a:prstGeom>
          <a:solidFill>
            <a:srgbClr val="D0D0D0"/>
          </a:solidFill>
          <a:ln w="6350" cap="flat">
            <a:solidFill>
              <a:schemeClr val="tx1">
                <a:lumMod val="25000"/>
                <a:lumOff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3" name="Freeform 37">
            <a:extLst>
              <a:ext uri="{FF2B5EF4-FFF2-40B4-BE49-F238E27FC236}">
                <a16:creationId xmlns:a16="http://schemas.microsoft.com/office/drawing/2014/main" id="{61BD0B1F-3AB9-4564-AC88-D920692586B3}"/>
              </a:ext>
            </a:extLst>
          </p:cNvPr>
          <p:cNvSpPr>
            <a:spLocks noEditPoints="1"/>
          </p:cNvSpPr>
          <p:nvPr/>
        </p:nvSpPr>
        <p:spPr bwMode="gray">
          <a:xfrm>
            <a:off x="4188174" y="1273182"/>
            <a:ext cx="615845" cy="436669"/>
          </a:xfrm>
          <a:custGeom>
            <a:avLst/>
            <a:gdLst>
              <a:gd name="T0" fmla="*/ 205 w 226"/>
              <a:gd name="T1" fmla="*/ 19 h 153"/>
              <a:gd name="T2" fmla="*/ 193 w 226"/>
              <a:gd name="T3" fmla="*/ 36 h 153"/>
              <a:gd name="T4" fmla="*/ 180 w 226"/>
              <a:gd name="T5" fmla="*/ 56 h 153"/>
              <a:gd name="T6" fmla="*/ 195 w 226"/>
              <a:gd name="T7" fmla="*/ 78 h 153"/>
              <a:gd name="T8" fmla="*/ 207 w 226"/>
              <a:gd name="T9" fmla="*/ 90 h 153"/>
              <a:gd name="T10" fmla="*/ 217 w 226"/>
              <a:gd name="T11" fmla="*/ 102 h 153"/>
              <a:gd name="T12" fmla="*/ 222 w 226"/>
              <a:gd name="T13" fmla="*/ 114 h 153"/>
              <a:gd name="T14" fmla="*/ 216 w 226"/>
              <a:gd name="T15" fmla="*/ 131 h 153"/>
              <a:gd name="T16" fmla="*/ 197 w 226"/>
              <a:gd name="T17" fmla="*/ 134 h 153"/>
              <a:gd name="T18" fmla="*/ 187 w 226"/>
              <a:gd name="T19" fmla="*/ 146 h 153"/>
              <a:gd name="T20" fmla="*/ 166 w 226"/>
              <a:gd name="T21" fmla="*/ 133 h 153"/>
              <a:gd name="T22" fmla="*/ 148 w 226"/>
              <a:gd name="T23" fmla="*/ 126 h 153"/>
              <a:gd name="T24" fmla="*/ 132 w 226"/>
              <a:gd name="T25" fmla="*/ 119 h 153"/>
              <a:gd name="T26" fmla="*/ 124 w 226"/>
              <a:gd name="T27" fmla="*/ 119 h 153"/>
              <a:gd name="T28" fmla="*/ 105 w 226"/>
              <a:gd name="T29" fmla="*/ 133 h 153"/>
              <a:gd name="T30" fmla="*/ 100 w 226"/>
              <a:gd name="T31" fmla="*/ 119 h 153"/>
              <a:gd name="T32" fmla="*/ 97 w 226"/>
              <a:gd name="T33" fmla="*/ 104 h 153"/>
              <a:gd name="T34" fmla="*/ 85 w 226"/>
              <a:gd name="T35" fmla="*/ 114 h 153"/>
              <a:gd name="T36" fmla="*/ 71 w 226"/>
              <a:gd name="T37" fmla="*/ 109 h 153"/>
              <a:gd name="T38" fmla="*/ 59 w 226"/>
              <a:gd name="T39" fmla="*/ 95 h 153"/>
              <a:gd name="T40" fmla="*/ 66 w 226"/>
              <a:gd name="T41" fmla="*/ 80 h 153"/>
              <a:gd name="T42" fmla="*/ 54 w 226"/>
              <a:gd name="T43" fmla="*/ 76 h 153"/>
              <a:gd name="T44" fmla="*/ 57 w 226"/>
              <a:gd name="T45" fmla="*/ 66 h 153"/>
              <a:gd name="T46" fmla="*/ 52 w 226"/>
              <a:gd name="T47" fmla="*/ 59 h 153"/>
              <a:gd name="T48" fmla="*/ 64 w 226"/>
              <a:gd name="T49" fmla="*/ 46 h 153"/>
              <a:gd name="T50" fmla="*/ 73 w 226"/>
              <a:gd name="T51" fmla="*/ 34 h 153"/>
              <a:gd name="T52" fmla="*/ 88 w 226"/>
              <a:gd name="T53" fmla="*/ 27 h 153"/>
              <a:gd name="T54" fmla="*/ 95 w 226"/>
              <a:gd name="T55" fmla="*/ 19 h 153"/>
              <a:gd name="T56" fmla="*/ 110 w 226"/>
              <a:gd name="T57" fmla="*/ 20 h 153"/>
              <a:gd name="T58" fmla="*/ 124 w 226"/>
              <a:gd name="T59" fmla="*/ 10 h 153"/>
              <a:gd name="T60" fmla="*/ 129 w 226"/>
              <a:gd name="T61" fmla="*/ 7 h 153"/>
              <a:gd name="T62" fmla="*/ 146 w 226"/>
              <a:gd name="T63" fmla="*/ 7 h 153"/>
              <a:gd name="T64" fmla="*/ 170 w 226"/>
              <a:gd name="T65" fmla="*/ 10 h 153"/>
              <a:gd name="T66" fmla="*/ 199 w 226"/>
              <a:gd name="T67" fmla="*/ 7 h 153"/>
              <a:gd name="T68" fmla="*/ 56 w 226"/>
              <a:gd name="T69" fmla="*/ 99 h 153"/>
              <a:gd name="T70" fmla="*/ 46 w 226"/>
              <a:gd name="T71" fmla="*/ 100 h 153"/>
              <a:gd name="T72" fmla="*/ 52 w 226"/>
              <a:gd name="T73" fmla="*/ 107 h 153"/>
              <a:gd name="T74" fmla="*/ 46 w 226"/>
              <a:gd name="T75" fmla="*/ 110 h 153"/>
              <a:gd name="T76" fmla="*/ 39 w 226"/>
              <a:gd name="T77" fmla="*/ 122 h 153"/>
              <a:gd name="T78" fmla="*/ 29 w 226"/>
              <a:gd name="T79" fmla="*/ 124 h 153"/>
              <a:gd name="T80" fmla="*/ 18 w 226"/>
              <a:gd name="T81" fmla="*/ 144 h 153"/>
              <a:gd name="T82" fmla="*/ 15 w 226"/>
              <a:gd name="T83" fmla="*/ 139 h 153"/>
              <a:gd name="T84" fmla="*/ 3 w 226"/>
              <a:gd name="T85" fmla="*/ 127 h 153"/>
              <a:gd name="T86" fmla="*/ 3 w 226"/>
              <a:gd name="T87" fmla="*/ 116 h 153"/>
              <a:gd name="T88" fmla="*/ 10 w 226"/>
              <a:gd name="T89" fmla="*/ 114 h 153"/>
              <a:gd name="T90" fmla="*/ 22 w 226"/>
              <a:gd name="T91" fmla="*/ 102 h 153"/>
              <a:gd name="T92" fmla="*/ 42 w 226"/>
              <a:gd name="T93" fmla="*/ 99 h 153"/>
              <a:gd name="T94" fmla="*/ 23 w 226"/>
              <a:gd name="T95" fmla="*/ 68 h 153"/>
              <a:gd name="T96" fmla="*/ 37 w 226"/>
              <a:gd name="T97" fmla="*/ 82 h 153"/>
              <a:gd name="T98" fmla="*/ 29 w 226"/>
              <a:gd name="T99" fmla="*/ 85 h 153"/>
              <a:gd name="T100" fmla="*/ 18 w 226"/>
              <a:gd name="T101" fmla="*/ 88 h 153"/>
              <a:gd name="T102" fmla="*/ 5 w 226"/>
              <a:gd name="T103" fmla="*/ 80 h 153"/>
              <a:gd name="T104" fmla="*/ 20 w 226"/>
              <a:gd name="T105" fmla="*/ 70 h 153"/>
              <a:gd name="T106" fmla="*/ 42 w 226"/>
              <a:gd name="T107" fmla="*/ 71 h 153"/>
              <a:gd name="T108" fmla="*/ 85 w 226"/>
              <a:gd name="T109" fmla="*/ 124 h 153"/>
              <a:gd name="T110" fmla="*/ 66 w 226"/>
              <a:gd name="T111" fmla="*/ 41 h 153"/>
              <a:gd name="T112" fmla="*/ 1 w 226"/>
              <a:gd name="T113" fmla="*/ 121 h 153"/>
              <a:gd name="T114" fmla="*/ 207 w 226"/>
              <a:gd name="T115" fmla="*/ 78 h 153"/>
              <a:gd name="T116" fmla="*/ 39 w 226"/>
              <a:gd name="T117" fmla="*/ 75 h 153"/>
              <a:gd name="T118" fmla="*/ 90 w 226"/>
              <a:gd name="T119" fmla="*/ 17 h 153"/>
              <a:gd name="T120" fmla="*/ 30 w 226"/>
              <a:gd name="T121" fmla="*/ 127 h 153"/>
              <a:gd name="T122" fmla="*/ 73 w 226"/>
              <a:gd name="T123" fmla="*/ 110 h 153"/>
              <a:gd name="T124" fmla="*/ 102 w 226"/>
              <a:gd name="T125" fmla="*/ 1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6" h="153">
                <a:moveTo>
                  <a:pt x="205" y="0"/>
                </a:moveTo>
                <a:lnTo>
                  <a:pt x="209" y="0"/>
                </a:lnTo>
                <a:lnTo>
                  <a:pt x="210" y="2"/>
                </a:lnTo>
                <a:lnTo>
                  <a:pt x="212" y="3"/>
                </a:lnTo>
                <a:lnTo>
                  <a:pt x="214" y="3"/>
                </a:lnTo>
                <a:lnTo>
                  <a:pt x="214" y="5"/>
                </a:lnTo>
                <a:lnTo>
                  <a:pt x="214" y="8"/>
                </a:lnTo>
                <a:lnTo>
                  <a:pt x="212" y="10"/>
                </a:lnTo>
                <a:lnTo>
                  <a:pt x="210" y="12"/>
                </a:lnTo>
                <a:lnTo>
                  <a:pt x="207" y="14"/>
                </a:lnTo>
                <a:lnTo>
                  <a:pt x="205" y="15"/>
                </a:lnTo>
                <a:lnTo>
                  <a:pt x="205" y="17"/>
                </a:lnTo>
                <a:lnTo>
                  <a:pt x="205" y="19"/>
                </a:lnTo>
                <a:lnTo>
                  <a:pt x="205" y="20"/>
                </a:lnTo>
                <a:lnTo>
                  <a:pt x="205" y="22"/>
                </a:lnTo>
                <a:lnTo>
                  <a:pt x="204" y="24"/>
                </a:lnTo>
                <a:lnTo>
                  <a:pt x="204" y="27"/>
                </a:lnTo>
                <a:lnTo>
                  <a:pt x="204" y="29"/>
                </a:lnTo>
                <a:lnTo>
                  <a:pt x="204" y="31"/>
                </a:lnTo>
                <a:lnTo>
                  <a:pt x="204" y="32"/>
                </a:lnTo>
                <a:lnTo>
                  <a:pt x="204" y="34"/>
                </a:lnTo>
                <a:lnTo>
                  <a:pt x="202" y="34"/>
                </a:lnTo>
                <a:lnTo>
                  <a:pt x="199" y="34"/>
                </a:lnTo>
                <a:lnTo>
                  <a:pt x="197" y="34"/>
                </a:lnTo>
                <a:lnTo>
                  <a:pt x="195" y="36"/>
                </a:lnTo>
                <a:lnTo>
                  <a:pt x="193" y="36"/>
                </a:lnTo>
                <a:lnTo>
                  <a:pt x="190" y="37"/>
                </a:lnTo>
                <a:lnTo>
                  <a:pt x="188" y="37"/>
                </a:lnTo>
                <a:lnTo>
                  <a:pt x="187" y="39"/>
                </a:lnTo>
                <a:lnTo>
                  <a:pt x="185" y="39"/>
                </a:lnTo>
                <a:lnTo>
                  <a:pt x="183" y="41"/>
                </a:lnTo>
                <a:lnTo>
                  <a:pt x="182" y="42"/>
                </a:lnTo>
                <a:lnTo>
                  <a:pt x="180" y="44"/>
                </a:lnTo>
                <a:lnTo>
                  <a:pt x="180" y="48"/>
                </a:lnTo>
                <a:lnTo>
                  <a:pt x="178" y="49"/>
                </a:lnTo>
                <a:lnTo>
                  <a:pt x="178" y="51"/>
                </a:lnTo>
                <a:lnTo>
                  <a:pt x="178" y="53"/>
                </a:lnTo>
                <a:lnTo>
                  <a:pt x="180" y="54"/>
                </a:lnTo>
                <a:lnTo>
                  <a:pt x="180" y="56"/>
                </a:lnTo>
                <a:lnTo>
                  <a:pt x="183" y="56"/>
                </a:lnTo>
                <a:lnTo>
                  <a:pt x="185" y="58"/>
                </a:lnTo>
                <a:lnTo>
                  <a:pt x="187" y="59"/>
                </a:lnTo>
                <a:lnTo>
                  <a:pt x="188" y="59"/>
                </a:lnTo>
                <a:lnTo>
                  <a:pt x="188" y="61"/>
                </a:lnTo>
                <a:lnTo>
                  <a:pt x="190" y="63"/>
                </a:lnTo>
                <a:lnTo>
                  <a:pt x="192" y="65"/>
                </a:lnTo>
                <a:lnTo>
                  <a:pt x="192" y="68"/>
                </a:lnTo>
                <a:lnTo>
                  <a:pt x="193" y="70"/>
                </a:lnTo>
                <a:lnTo>
                  <a:pt x="193" y="71"/>
                </a:lnTo>
                <a:lnTo>
                  <a:pt x="195" y="75"/>
                </a:lnTo>
                <a:lnTo>
                  <a:pt x="195" y="76"/>
                </a:lnTo>
                <a:lnTo>
                  <a:pt x="195" y="78"/>
                </a:lnTo>
                <a:lnTo>
                  <a:pt x="197" y="80"/>
                </a:lnTo>
                <a:lnTo>
                  <a:pt x="199" y="80"/>
                </a:lnTo>
                <a:lnTo>
                  <a:pt x="199" y="78"/>
                </a:lnTo>
                <a:lnTo>
                  <a:pt x="200" y="78"/>
                </a:lnTo>
                <a:lnTo>
                  <a:pt x="202" y="80"/>
                </a:lnTo>
                <a:lnTo>
                  <a:pt x="204" y="80"/>
                </a:lnTo>
                <a:lnTo>
                  <a:pt x="202" y="82"/>
                </a:lnTo>
                <a:lnTo>
                  <a:pt x="204" y="82"/>
                </a:lnTo>
                <a:lnTo>
                  <a:pt x="204" y="83"/>
                </a:lnTo>
                <a:lnTo>
                  <a:pt x="204" y="85"/>
                </a:lnTo>
                <a:lnTo>
                  <a:pt x="205" y="87"/>
                </a:lnTo>
                <a:lnTo>
                  <a:pt x="207" y="88"/>
                </a:lnTo>
                <a:lnTo>
                  <a:pt x="207" y="90"/>
                </a:lnTo>
                <a:lnTo>
                  <a:pt x="209" y="92"/>
                </a:lnTo>
                <a:lnTo>
                  <a:pt x="209" y="93"/>
                </a:lnTo>
                <a:lnTo>
                  <a:pt x="210" y="95"/>
                </a:lnTo>
                <a:lnTo>
                  <a:pt x="212" y="97"/>
                </a:lnTo>
                <a:lnTo>
                  <a:pt x="214" y="97"/>
                </a:lnTo>
                <a:lnTo>
                  <a:pt x="214" y="99"/>
                </a:lnTo>
                <a:lnTo>
                  <a:pt x="216" y="100"/>
                </a:lnTo>
                <a:lnTo>
                  <a:pt x="214" y="102"/>
                </a:lnTo>
                <a:lnTo>
                  <a:pt x="216" y="104"/>
                </a:lnTo>
                <a:lnTo>
                  <a:pt x="217" y="105"/>
                </a:lnTo>
                <a:lnTo>
                  <a:pt x="217" y="102"/>
                </a:lnTo>
                <a:lnTo>
                  <a:pt x="217" y="104"/>
                </a:lnTo>
                <a:lnTo>
                  <a:pt x="217" y="102"/>
                </a:lnTo>
                <a:lnTo>
                  <a:pt x="219" y="102"/>
                </a:lnTo>
                <a:lnTo>
                  <a:pt x="219" y="105"/>
                </a:lnTo>
                <a:lnTo>
                  <a:pt x="219" y="107"/>
                </a:lnTo>
                <a:lnTo>
                  <a:pt x="221" y="107"/>
                </a:lnTo>
                <a:lnTo>
                  <a:pt x="221" y="109"/>
                </a:lnTo>
                <a:lnTo>
                  <a:pt x="222" y="109"/>
                </a:lnTo>
                <a:lnTo>
                  <a:pt x="224" y="109"/>
                </a:lnTo>
                <a:lnTo>
                  <a:pt x="226" y="109"/>
                </a:lnTo>
                <a:lnTo>
                  <a:pt x="226" y="110"/>
                </a:lnTo>
                <a:lnTo>
                  <a:pt x="226" y="112"/>
                </a:lnTo>
                <a:lnTo>
                  <a:pt x="224" y="114"/>
                </a:lnTo>
                <a:lnTo>
                  <a:pt x="222" y="112"/>
                </a:lnTo>
                <a:lnTo>
                  <a:pt x="222" y="114"/>
                </a:lnTo>
                <a:lnTo>
                  <a:pt x="219" y="114"/>
                </a:lnTo>
                <a:lnTo>
                  <a:pt x="217" y="116"/>
                </a:lnTo>
                <a:lnTo>
                  <a:pt x="217" y="117"/>
                </a:lnTo>
                <a:lnTo>
                  <a:pt x="216" y="119"/>
                </a:lnTo>
                <a:lnTo>
                  <a:pt x="217" y="121"/>
                </a:lnTo>
                <a:lnTo>
                  <a:pt x="219" y="122"/>
                </a:lnTo>
                <a:lnTo>
                  <a:pt x="217" y="124"/>
                </a:lnTo>
                <a:lnTo>
                  <a:pt x="217" y="122"/>
                </a:lnTo>
                <a:lnTo>
                  <a:pt x="216" y="124"/>
                </a:lnTo>
                <a:lnTo>
                  <a:pt x="214" y="126"/>
                </a:lnTo>
                <a:lnTo>
                  <a:pt x="214" y="127"/>
                </a:lnTo>
                <a:lnTo>
                  <a:pt x="214" y="131"/>
                </a:lnTo>
                <a:lnTo>
                  <a:pt x="216" y="131"/>
                </a:lnTo>
                <a:lnTo>
                  <a:pt x="214" y="133"/>
                </a:lnTo>
                <a:lnTo>
                  <a:pt x="212" y="134"/>
                </a:lnTo>
                <a:lnTo>
                  <a:pt x="214" y="134"/>
                </a:lnTo>
                <a:lnTo>
                  <a:pt x="214" y="136"/>
                </a:lnTo>
                <a:lnTo>
                  <a:pt x="216" y="138"/>
                </a:lnTo>
                <a:lnTo>
                  <a:pt x="212" y="138"/>
                </a:lnTo>
                <a:lnTo>
                  <a:pt x="210" y="138"/>
                </a:lnTo>
                <a:lnTo>
                  <a:pt x="209" y="138"/>
                </a:lnTo>
                <a:lnTo>
                  <a:pt x="207" y="138"/>
                </a:lnTo>
                <a:lnTo>
                  <a:pt x="205" y="138"/>
                </a:lnTo>
                <a:lnTo>
                  <a:pt x="202" y="136"/>
                </a:lnTo>
                <a:lnTo>
                  <a:pt x="199" y="136"/>
                </a:lnTo>
                <a:lnTo>
                  <a:pt x="197" y="134"/>
                </a:lnTo>
                <a:lnTo>
                  <a:pt x="195" y="136"/>
                </a:lnTo>
                <a:lnTo>
                  <a:pt x="195" y="138"/>
                </a:lnTo>
                <a:lnTo>
                  <a:pt x="193" y="139"/>
                </a:lnTo>
                <a:lnTo>
                  <a:pt x="193" y="141"/>
                </a:lnTo>
                <a:lnTo>
                  <a:pt x="192" y="139"/>
                </a:lnTo>
                <a:lnTo>
                  <a:pt x="192" y="141"/>
                </a:lnTo>
                <a:lnTo>
                  <a:pt x="188" y="141"/>
                </a:lnTo>
                <a:lnTo>
                  <a:pt x="190" y="141"/>
                </a:lnTo>
                <a:lnTo>
                  <a:pt x="188" y="144"/>
                </a:lnTo>
                <a:lnTo>
                  <a:pt x="188" y="146"/>
                </a:lnTo>
                <a:lnTo>
                  <a:pt x="187" y="144"/>
                </a:lnTo>
                <a:lnTo>
                  <a:pt x="187" y="143"/>
                </a:lnTo>
                <a:lnTo>
                  <a:pt x="187" y="146"/>
                </a:lnTo>
                <a:lnTo>
                  <a:pt x="185" y="146"/>
                </a:lnTo>
                <a:lnTo>
                  <a:pt x="183" y="146"/>
                </a:lnTo>
                <a:lnTo>
                  <a:pt x="183" y="144"/>
                </a:lnTo>
                <a:lnTo>
                  <a:pt x="182" y="143"/>
                </a:lnTo>
                <a:lnTo>
                  <a:pt x="180" y="143"/>
                </a:lnTo>
                <a:lnTo>
                  <a:pt x="176" y="143"/>
                </a:lnTo>
                <a:lnTo>
                  <a:pt x="175" y="143"/>
                </a:lnTo>
                <a:lnTo>
                  <a:pt x="173" y="141"/>
                </a:lnTo>
                <a:lnTo>
                  <a:pt x="171" y="138"/>
                </a:lnTo>
                <a:lnTo>
                  <a:pt x="170" y="138"/>
                </a:lnTo>
                <a:lnTo>
                  <a:pt x="170" y="134"/>
                </a:lnTo>
                <a:lnTo>
                  <a:pt x="166" y="134"/>
                </a:lnTo>
                <a:lnTo>
                  <a:pt x="166" y="133"/>
                </a:lnTo>
                <a:lnTo>
                  <a:pt x="165" y="133"/>
                </a:lnTo>
                <a:lnTo>
                  <a:pt x="163" y="133"/>
                </a:lnTo>
                <a:lnTo>
                  <a:pt x="161" y="131"/>
                </a:lnTo>
                <a:lnTo>
                  <a:pt x="163" y="131"/>
                </a:lnTo>
                <a:lnTo>
                  <a:pt x="163" y="129"/>
                </a:lnTo>
                <a:lnTo>
                  <a:pt x="163" y="127"/>
                </a:lnTo>
                <a:lnTo>
                  <a:pt x="159" y="127"/>
                </a:lnTo>
                <a:lnTo>
                  <a:pt x="156" y="129"/>
                </a:lnTo>
                <a:lnTo>
                  <a:pt x="156" y="127"/>
                </a:lnTo>
                <a:lnTo>
                  <a:pt x="153" y="127"/>
                </a:lnTo>
                <a:lnTo>
                  <a:pt x="151" y="126"/>
                </a:lnTo>
                <a:lnTo>
                  <a:pt x="149" y="124"/>
                </a:lnTo>
                <a:lnTo>
                  <a:pt x="148" y="126"/>
                </a:lnTo>
                <a:lnTo>
                  <a:pt x="146" y="124"/>
                </a:lnTo>
                <a:lnTo>
                  <a:pt x="144" y="124"/>
                </a:lnTo>
                <a:lnTo>
                  <a:pt x="142" y="122"/>
                </a:lnTo>
                <a:lnTo>
                  <a:pt x="142" y="124"/>
                </a:lnTo>
                <a:lnTo>
                  <a:pt x="142" y="122"/>
                </a:lnTo>
                <a:lnTo>
                  <a:pt x="141" y="122"/>
                </a:lnTo>
                <a:lnTo>
                  <a:pt x="139" y="122"/>
                </a:lnTo>
                <a:lnTo>
                  <a:pt x="137" y="122"/>
                </a:lnTo>
                <a:lnTo>
                  <a:pt x="139" y="121"/>
                </a:lnTo>
                <a:lnTo>
                  <a:pt x="137" y="121"/>
                </a:lnTo>
                <a:lnTo>
                  <a:pt x="136" y="119"/>
                </a:lnTo>
                <a:lnTo>
                  <a:pt x="134" y="121"/>
                </a:lnTo>
                <a:lnTo>
                  <a:pt x="132" y="119"/>
                </a:lnTo>
                <a:lnTo>
                  <a:pt x="131" y="117"/>
                </a:lnTo>
                <a:lnTo>
                  <a:pt x="131" y="119"/>
                </a:lnTo>
                <a:lnTo>
                  <a:pt x="132" y="121"/>
                </a:lnTo>
                <a:lnTo>
                  <a:pt x="132" y="122"/>
                </a:lnTo>
                <a:lnTo>
                  <a:pt x="131" y="124"/>
                </a:lnTo>
                <a:lnTo>
                  <a:pt x="129" y="122"/>
                </a:lnTo>
                <a:lnTo>
                  <a:pt x="131" y="122"/>
                </a:lnTo>
                <a:lnTo>
                  <a:pt x="129" y="121"/>
                </a:lnTo>
                <a:lnTo>
                  <a:pt x="129" y="119"/>
                </a:lnTo>
                <a:lnTo>
                  <a:pt x="127" y="117"/>
                </a:lnTo>
                <a:lnTo>
                  <a:pt x="127" y="119"/>
                </a:lnTo>
                <a:lnTo>
                  <a:pt x="125" y="119"/>
                </a:lnTo>
                <a:lnTo>
                  <a:pt x="124" y="119"/>
                </a:lnTo>
                <a:lnTo>
                  <a:pt x="122" y="122"/>
                </a:lnTo>
                <a:lnTo>
                  <a:pt x="122" y="124"/>
                </a:lnTo>
                <a:lnTo>
                  <a:pt x="120" y="124"/>
                </a:lnTo>
                <a:lnTo>
                  <a:pt x="119" y="124"/>
                </a:lnTo>
                <a:lnTo>
                  <a:pt x="117" y="127"/>
                </a:lnTo>
                <a:lnTo>
                  <a:pt x="115" y="127"/>
                </a:lnTo>
                <a:lnTo>
                  <a:pt x="112" y="127"/>
                </a:lnTo>
                <a:lnTo>
                  <a:pt x="112" y="129"/>
                </a:lnTo>
                <a:lnTo>
                  <a:pt x="110" y="131"/>
                </a:lnTo>
                <a:lnTo>
                  <a:pt x="108" y="131"/>
                </a:lnTo>
                <a:lnTo>
                  <a:pt x="108" y="133"/>
                </a:lnTo>
                <a:lnTo>
                  <a:pt x="107" y="131"/>
                </a:lnTo>
                <a:lnTo>
                  <a:pt x="105" y="133"/>
                </a:lnTo>
                <a:lnTo>
                  <a:pt x="103" y="134"/>
                </a:lnTo>
                <a:lnTo>
                  <a:pt x="103" y="138"/>
                </a:lnTo>
                <a:lnTo>
                  <a:pt x="102" y="139"/>
                </a:lnTo>
                <a:lnTo>
                  <a:pt x="100" y="138"/>
                </a:lnTo>
                <a:lnTo>
                  <a:pt x="100" y="136"/>
                </a:lnTo>
                <a:lnTo>
                  <a:pt x="100" y="134"/>
                </a:lnTo>
                <a:lnTo>
                  <a:pt x="100" y="133"/>
                </a:lnTo>
                <a:lnTo>
                  <a:pt x="100" y="131"/>
                </a:lnTo>
                <a:lnTo>
                  <a:pt x="102" y="129"/>
                </a:lnTo>
                <a:lnTo>
                  <a:pt x="102" y="126"/>
                </a:lnTo>
                <a:lnTo>
                  <a:pt x="102" y="124"/>
                </a:lnTo>
                <a:lnTo>
                  <a:pt x="100" y="122"/>
                </a:lnTo>
                <a:lnTo>
                  <a:pt x="100" y="119"/>
                </a:lnTo>
                <a:lnTo>
                  <a:pt x="100" y="117"/>
                </a:lnTo>
                <a:lnTo>
                  <a:pt x="98" y="117"/>
                </a:lnTo>
                <a:lnTo>
                  <a:pt x="100" y="116"/>
                </a:lnTo>
                <a:lnTo>
                  <a:pt x="98" y="116"/>
                </a:lnTo>
                <a:lnTo>
                  <a:pt x="100" y="112"/>
                </a:lnTo>
                <a:lnTo>
                  <a:pt x="98" y="112"/>
                </a:lnTo>
                <a:lnTo>
                  <a:pt x="100" y="110"/>
                </a:lnTo>
                <a:lnTo>
                  <a:pt x="102" y="110"/>
                </a:lnTo>
                <a:lnTo>
                  <a:pt x="102" y="109"/>
                </a:lnTo>
                <a:lnTo>
                  <a:pt x="102" y="105"/>
                </a:lnTo>
                <a:lnTo>
                  <a:pt x="100" y="105"/>
                </a:lnTo>
                <a:lnTo>
                  <a:pt x="100" y="104"/>
                </a:lnTo>
                <a:lnTo>
                  <a:pt x="97" y="104"/>
                </a:lnTo>
                <a:lnTo>
                  <a:pt x="97" y="102"/>
                </a:lnTo>
                <a:lnTo>
                  <a:pt x="95" y="102"/>
                </a:lnTo>
                <a:lnTo>
                  <a:pt x="93" y="104"/>
                </a:lnTo>
                <a:lnTo>
                  <a:pt x="91" y="104"/>
                </a:lnTo>
                <a:lnTo>
                  <a:pt x="91" y="105"/>
                </a:lnTo>
                <a:lnTo>
                  <a:pt x="91" y="107"/>
                </a:lnTo>
                <a:lnTo>
                  <a:pt x="91" y="110"/>
                </a:lnTo>
                <a:lnTo>
                  <a:pt x="91" y="112"/>
                </a:lnTo>
                <a:lnTo>
                  <a:pt x="91" y="110"/>
                </a:lnTo>
                <a:lnTo>
                  <a:pt x="90" y="112"/>
                </a:lnTo>
                <a:lnTo>
                  <a:pt x="88" y="112"/>
                </a:lnTo>
                <a:lnTo>
                  <a:pt x="86" y="116"/>
                </a:lnTo>
                <a:lnTo>
                  <a:pt x="85" y="114"/>
                </a:lnTo>
                <a:lnTo>
                  <a:pt x="83" y="112"/>
                </a:lnTo>
                <a:lnTo>
                  <a:pt x="81" y="110"/>
                </a:lnTo>
                <a:lnTo>
                  <a:pt x="81" y="112"/>
                </a:lnTo>
                <a:lnTo>
                  <a:pt x="80" y="110"/>
                </a:lnTo>
                <a:lnTo>
                  <a:pt x="78" y="110"/>
                </a:lnTo>
                <a:lnTo>
                  <a:pt x="78" y="112"/>
                </a:lnTo>
                <a:lnTo>
                  <a:pt x="76" y="110"/>
                </a:lnTo>
                <a:lnTo>
                  <a:pt x="74" y="109"/>
                </a:lnTo>
                <a:lnTo>
                  <a:pt x="74" y="110"/>
                </a:lnTo>
                <a:lnTo>
                  <a:pt x="71" y="109"/>
                </a:lnTo>
                <a:lnTo>
                  <a:pt x="73" y="110"/>
                </a:lnTo>
                <a:lnTo>
                  <a:pt x="71" y="110"/>
                </a:lnTo>
                <a:lnTo>
                  <a:pt x="71" y="109"/>
                </a:lnTo>
                <a:lnTo>
                  <a:pt x="69" y="105"/>
                </a:lnTo>
                <a:lnTo>
                  <a:pt x="68" y="105"/>
                </a:lnTo>
                <a:lnTo>
                  <a:pt x="68" y="102"/>
                </a:lnTo>
                <a:lnTo>
                  <a:pt x="66" y="99"/>
                </a:lnTo>
                <a:lnTo>
                  <a:pt x="66" y="100"/>
                </a:lnTo>
                <a:lnTo>
                  <a:pt x="63" y="99"/>
                </a:lnTo>
                <a:lnTo>
                  <a:pt x="63" y="97"/>
                </a:lnTo>
                <a:lnTo>
                  <a:pt x="63" y="99"/>
                </a:lnTo>
                <a:lnTo>
                  <a:pt x="63" y="95"/>
                </a:lnTo>
                <a:lnTo>
                  <a:pt x="61" y="97"/>
                </a:lnTo>
                <a:lnTo>
                  <a:pt x="59" y="97"/>
                </a:lnTo>
                <a:lnTo>
                  <a:pt x="61" y="95"/>
                </a:lnTo>
                <a:lnTo>
                  <a:pt x="59" y="95"/>
                </a:lnTo>
                <a:lnTo>
                  <a:pt x="59" y="93"/>
                </a:lnTo>
                <a:lnTo>
                  <a:pt x="57" y="90"/>
                </a:lnTo>
                <a:lnTo>
                  <a:pt x="57" y="88"/>
                </a:lnTo>
                <a:lnTo>
                  <a:pt x="57" y="87"/>
                </a:lnTo>
                <a:lnTo>
                  <a:pt x="61" y="87"/>
                </a:lnTo>
                <a:lnTo>
                  <a:pt x="57" y="85"/>
                </a:lnTo>
                <a:lnTo>
                  <a:pt x="61" y="85"/>
                </a:lnTo>
                <a:lnTo>
                  <a:pt x="63" y="83"/>
                </a:lnTo>
                <a:lnTo>
                  <a:pt x="63" y="85"/>
                </a:lnTo>
                <a:lnTo>
                  <a:pt x="63" y="83"/>
                </a:lnTo>
                <a:lnTo>
                  <a:pt x="64" y="83"/>
                </a:lnTo>
                <a:lnTo>
                  <a:pt x="66" y="82"/>
                </a:lnTo>
                <a:lnTo>
                  <a:pt x="66" y="80"/>
                </a:lnTo>
                <a:lnTo>
                  <a:pt x="63" y="82"/>
                </a:lnTo>
                <a:lnTo>
                  <a:pt x="61" y="82"/>
                </a:lnTo>
                <a:lnTo>
                  <a:pt x="59" y="83"/>
                </a:lnTo>
                <a:lnTo>
                  <a:pt x="57" y="82"/>
                </a:lnTo>
                <a:lnTo>
                  <a:pt x="54" y="83"/>
                </a:lnTo>
                <a:lnTo>
                  <a:pt x="56" y="82"/>
                </a:lnTo>
                <a:lnTo>
                  <a:pt x="54" y="82"/>
                </a:lnTo>
                <a:lnTo>
                  <a:pt x="56" y="82"/>
                </a:lnTo>
                <a:lnTo>
                  <a:pt x="56" y="80"/>
                </a:lnTo>
                <a:lnTo>
                  <a:pt x="57" y="80"/>
                </a:lnTo>
                <a:lnTo>
                  <a:pt x="57" y="78"/>
                </a:lnTo>
                <a:lnTo>
                  <a:pt x="56" y="78"/>
                </a:lnTo>
                <a:lnTo>
                  <a:pt x="54" y="76"/>
                </a:lnTo>
                <a:lnTo>
                  <a:pt x="52" y="75"/>
                </a:lnTo>
                <a:lnTo>
                  <a:pt x="54" y="75"/>
                </a:lnTo>
                <a:lnTo>
                  <a:pt x="52" y="75"/>
                </a:lnTo>
                <a:lnTo>
                  <a:pt x="52" y="71"/>
                </a:lnTo>
                <a:lnTo>
                  <a:pt x="54" y="71"/>
                </a:lnTo>
                <a:lnTo>
                  <a:pt x="56" y="71"/>
                </a:lnTo>
                <a:lnTo>
                  <a:pt x="54" y="70"/>
                </a:lnTo>
                <a:lnTo>
                  <a:pt x="56" y="70"/>
                </a:lnTo>
                <a:lnTo>
                  <a:pt x="57" y="70"/>
                </a:lnTo>
                <a:lnTo>
                  <a:pt x="57" y="68"/>
                </a:lnTo>
                <a:lnTo>
                  <a:pt x="59" y="68"/>
                </a:lnTo>
                <a:lnTo>
                  <a:pt x="59" y="66"/>
                </a:lnTo>
                <a:lnTo>
                  <a:pt x="57" y="66"/>
                </a:lnTo>
                <a:lnTo>
                  <a:pt x="59" y="68"/>
                </a:lnTo>
                <a:lnTo>
                  <a:pt x="56" y="66"/>
                </a:lnTo>
                <a:lnTo>
                  <a:pt x="56" y="68"/>
                </a:lnTo>
                <a:lnTo>
                  <a:pt x="56" y="70"/>
                </a:lnTo>
                <a:lnTo>
                  <a:pt x="56" y="68"/>
                </a:lnTo>
                <a:lnTo>
                  <a:pt x="54" y="68"/>
                </a:lnTo>
                <a:lnTo>
                  <a:pt x="52" y="68"/>
                </a:lnTo>
                <a:lnTo>
                  <a:pt x="51" y="68"/>
                </a:lnTo>
                <a:lnTo>
                  <a:pt x="51" y="66"/>
                </a:lnTo>
                <a:lnTo>
                  <a:pt x="51" y="65"/>
                </a:lnTo>
                <a:lnTo>
                  <a:pt x="51" y="61"/>
                </a:lnTo>
                <a:lnTo>
                  <a:pt x="52" y="61"/>
                </a:lnTo>
                <a:lnTo>
                  <a:pt x="52" y="59"/>
                </a:lnTo>
                <a:lnTo>
                  <a:pt x="54" y="61"/>
                </a:lnTo>
                <a:lnTo>
                  <a:pt x="52" y="58"/>
                </a:lnTo>
                <a:lnTo>
                  <a:pt x="52" y="56"/>
                </a:lnTo>
                <a:lnTo>
                  <a:pt x="51" y="54"/>
                </a:lnTo>
                <a:lnTo>
                  <a:pt x="51" y="51"/>
                </a:lnTo>
                <a:lnTo>
                  <a:pt x="54" y="51"/>
                </a:lnTo>
                <a:lnTo>
                  <a:pt x="56" y="49"/>
                </a:lnTo>
                <a:lnTo>
                  <a:pt x="57" y="49"/>
                </a:lnTo>
                <a:lnTo>
                  <a:pt x="59" y="48"/>
                </a:lnTo>
                <a:lnTo>
                  <a:pt x="57" y="46"/>
                </a:lnTo>
                <a:lnTo>
                  <a:pt x="59" y="46"/>
                </a:lnTo>
                <a:lnTo>
                  <a:pt x="61" y="44"/>
                </a:lnTo>
                <a:lnTo>
                  <a:pt x="64" y="46"/>
                </a:lnTo>
                <a:lnTo>
                  <a:pt x="66" y="44"/>
                </a:lnTo>
                <a:lnTo>
                  <a:pt x="69" y="42"/>
                </a:lnTo>
                <a:lnTo>
                  <a:pt x="71" y="44"/>
                </a:lnTo>
                <a:lnTo>
                  <a:pt x="71" y="42"/>
                </a:lnTo>
                <a:lnTo>
                  <a:pt x="71" y="41"/>
                </a:lnTo>
                <a:lnTo>
                  <a:pt x="68" y="39"/>
                </a:lnTo>
                <a:lnTo>
                  <a:pt x="68" y="36"/>
                </a:lnTo>
                <a:lnTo>
                  <a:pt x="69" y="36"/>
                </a:lnTo>
                <a:lnTo>
                  <a:pt x="71" y="37"/>
                </a:lnTo>
                <a:lnTo>
                  <a:pt x="74" y="39"/>
                </a:lnTo>
                <a:lnTo>
                  <a:pt x="74" y="37"/>
                </a:lnTo>
                <a:lnTo>
                  <a:pt x="74" y="36"/>
                </a:lnTo>
                <a:lnTo>
                  <a:pt x="73" y="34"/>
                </a:lnTo>
                <a:lnTo>
                  <a:pt x="74" y="34"/>
                </a:lnTo>
                <a:lnTo>
                  <a:pt x="76" y="34"/>
                </a:lnTo>
                <a:lnTo>
                  <a:pt x="78" y="32"/>
                </a:lnTo>
                <a:lnTo>
                  <a:pt x="78" y="29"/>
                </a:lnTo>
                <a:lnTo>
                  <a:pt x="80" y="27"/>
                </a:lnTo>
                <a:lnTo>
                  <a:pt x="81" y="27"/>
                </a:lnTo>
                <a:lnTo>
                  <a:pt x="83" y="29"/>
                </a:lnTo>
                <a:lnTo>
                  <a:pt x="85" y="29"/>
                </a:lnTo>
                <a:lnTo>
                  <a:pt x="85" y="27"/>
                </a:lnTo>
                <a:lnTo>
                  <a:pt x="86" y="29"/>
                </a:lnTo>
                <a:lnTo>
                  <a:pt x="88" y="29"/>
                </a:lnTo>
                <a:lnTo>
                  <a:pt x="90" y="27"/>
                </a:lnTo>
                <a:lnTo>
                  <a:pt x="88" y="27"/>
                </a:lnTo>
                <a:lnTo>
                  <a:pt x="90" y="27"/>
                </a:lnTo>
                <a:lnTo>
                  <a:pt x="90" y="25"/>
                </a:lnTo>
                <a:lnTo>
                  <a:pt x="90" y="27"/>
                </a:lnTo>
                <a:lnTo>
                  <a:pt x="93" y="27"/>
                </a:lnTo>
                <a:lnTo>
                  <a:pt x="91" y="27"/>
                </a:lnTo>
                <a:lnTo>
                  <a:pt x="93" y="27"/>
                </a:lnTo>
                <a:lnTo>
                  <a:pt x="95" y="25"/>
                </a:lnTo>
                <a:lnTo>
                  <a:pt x="95" y="24"/>
                </a:lnTo>
                <a:lnTo>
                  <a:pt x="91" y="22"/>
                </a:lnTo>
                <a:lnTo>
                  <a:pt x="91" y="20"/>
                </a:lnTo>
                <a:lnTo>
                  <a:pt x="91" y="19"/>
                </a:lnTo>
                <a:lnTo>
                  <a:pt x="93" y="19"/>
                </a:lnTo>
                <a:lnTo>
                  <a:pt x="95" y="19"/>
                </a:lnTo>
                <a:lnTo>
                  <a:pt x="97" y="20"/>
                </a:lnTo>
                <a:lnTo>
                  <a:pt x="97" y="22"/>
                </a:lnTo>
                <a:lnTo>
                  <a:pt x="98" y="22"/>
                </a:lnTo>
                <a:lnTo>
                  <a:pt x="100" y="22"/>
                </a:lnTo>
                <a:lnTo>
                  <a:pt x="102" y="22"/>
                </a:lnTo>
                <a:lnTo>
                  <a:pt x="103" y="20"/>
                </a:lnTo>
                <a:lnTo>
                  <a:pt x="105" y="22"/>
                </a:lnTo>
                <a:lnTo>
                  <a:pt x="105" y="20"/>
                </a:lnTo>
                <a:lnTo>
                  <a:pt x="103" y="19"/>
                </a:lnTo>
                <a:lnTo>
                  <a:pt x="105" y="19"/>
                </a:lnTo>
                <a:lnTo>
                  <a:pt x="107" y="20"/>
                </a:lnTo>
                <a:lnTo>
                  <a:pt x="108" y="19"/>
                </a:lnTo>
                <a:lnTo>
                  <a:pt x="110" y="20"/>
                </a:lnTo>
                <a:lnTo>
                  <a:pt x="114" y="20"/>
                </a:lnTo>
                <a:lnTo>
                  <a:pt x="115" y="19"/>
                </a:lnTo>
                <a:lnTo>
                  <a:pt x="115" y="17"/>
                </a:lnTo>
                <a:lnTo>
                  <a:pt x="119" y="17"/>
                </a:lnTo>
                <a:lnTo>
                  <a:pt x="119" y="15"/>
                </a:lnTo>
                <a:lnTo>
                  <a:pt x="117" y="14"/>
                </a:lnTo>
                <a:lnTo>
                  <a:pt x="117" y="12"/>
                </a:lnTo>
                <a:lnTo>
                  <a:pt x="115" y="10"/>
                </a:lnTo>
                <a:lnTo>
                  <a:pt x="115" y="8"/>
                </a:lnTo>
                <a:lnTo>
                  <a:pt x="117" y="10"/>
                </a:lnTo>
                <a:lnTo>
                  <a:pt x="120" y="12"/>
                </a:lnTo>
                <a:lnTo>
                  <a:pt x="122" y="12"/>
                </a:lnTo>
                <a:lnTo>
                  <a:pt x="124" y="10"/>
                </a:lnTo>
                <a:lnTo>
                  <a:pt x="122" y="8"/>
                </a:lnTo>
                <a:lnTo>
                  <a:pt x="122" y="7"/>
                </a:lnTo>
                <a:lnTo>
                  <a:pt x="120" y="7"/>
                </a:lnTo>
                <a:lnTo>
                  <a:pt x="122" y="5"/>
                </a:lnTo>
                <a:lnTo>
                  <a:pt x="122" y="7"/>
                </a:lnTo>
                <a:lnTo>
                  <a:pt x="122" y="5"/>
                </a:lnTo>
                <a:lnTo>
                  <a:pt x="124" y="7"/>
                </a:lnTo>
                <a:lnTo>
                  <a:pt x="125" y="8"/>
                </a:lnTo>
                <a:lnTo>
                  <a:pt x="125" y="10"/>
                </a:lnTo>
                <a:lnTo>
                  <a:pt x="127" y="12"/>
                </a:lnTo>
                <a:lnTo>
                  <a:pt x="129" y="10"/>
                </a:lnTo>
                <a:lnTo>
                  <a:pt x="127" y="7"/>
                </a:lnTo>
                <a:lnTo>
                  <a:pt x="129" y="7"/>
                </a:lnTo>
                <a:lnTo>
                  <a:pt x="131" y="8"/>
                </a:lnTo>
                <a:lnTo>
                  <a:pt x="132" y="8"/>
                </a:lnTo>
                <a:lnTo>
                  <a:pt x="132" y="7"/>
                </a:lnTo>
                <a:lnTo>
                  <a:pt x="131" y="5"/>
                </a:lnTo>
                <a:lnTo>
                  <a:pt x="132" y="7"/>
                </a:lnTo>
                <a:lnTo>
                  <a:pt x="134" y="5"/>
                </a:lnTo>
                <a:lnTo>
                  <a:pt x="136" y="7"/>
                </a:lnTo>
                <a:lnTo>
                  <a:pt x="137" y="7"/>
                </a:lnTo>
                <a:lnTo>
                  <a:pt x="139" y="7"/>
                </a:lnTo>
                <a:lnTo>
                  <a:pt x="141" y="7"/>
                </a:lnTo>
                <a:lnTo>
                  <a:pt x="142" y="7"/>
                </a:lnTo>
                <a:lnTo>
                  <a:pt x="144" y="8"/>
                </a:lnTo>
                <a:lnTo>
                  <a:pt x="146" y="7"/>
                </a:lnTo>
                <a:lnTo>
                  <a:pt x="149" y="8"/>
                </a:lnTo>
                <a:lnTo>
                  <a:pt x="151" y="8"/>
                </a:lnTo>
                <a:lnTo>
                  <a:pt x="151" y="10"/>
                </a:lnTo>
                <a:lnTo>
                  <a:pt x="154" y="8"/>
                </a:lnTo>
                <a:lnTo>
                  <a:pt x="154" y="5"/>
                </a:lnTo>
                <a:lnTo>
                  <a:pt x="156" y="5"/>
                </a:lnTo>
                <a:lnTo>
                  <a:pt x="159" y="7"/>
                </a:lnTo>
                <a:lnTo>
                  <a:pt x="161" y="8"/>
                </a:lnTo>
                <a:lnTo>
                  <a:pt x="163" y="8"/>
                </a:lnTo>
                <a:lnTo>
                  <a:pt x="165" y="8"/>
                </a:lnTo>
                <a:lnTo>
                  <a:pt x="166" y="10"/>
                </a:lnTo>
                <a:lnTo>
                  <a:pt x="168" y="10"/>
                </a:lnTo>
                <a:lnTo>
                  <a:pt x="170" y="10"/>
                </a:lnTo>
                <a:lnTo>
                  <a:pt x="171" y="10"/>
                </a:lnTo>
                <a:lnTo>
                  <a:pt x="175" y="10"/>
                </a:lnTo>
                <a:lnTo>
                  <a:pt x="175" y="8"/>
                </a:lnTo>
                <a:lnTo>
                  <a:pt x="178" y="8"/>
                </a:lnTo>
                <a:lnTo>
                  <a:pt x="182" y="7"/>
                </a:lnTo>
                <a:lnTo>
                  <a:pt x="183" y="7"/>
                </a:lnTo>
                <a:lnTo>
                  <a:pt x="185" y="7"/>
                </a:lnTo>
                <a:lnTo>
                  <a:pt x="188" y="7"/>
                </a:lnTo>
                <a:lnTo>
                  <a:pt x="192" y="7"/>
                </a:lnTo>
                <a:lnTo>
                  <a:pt x="195" y="7"/>
                </a:lnTo>
                <a:lnTo>
                  <a:pt x="195" y="5"/>
                </a:lnTo>
                <a:lnTo>
                  <a:pt x="197" y="5"/>
                </a:lnTo>
                <a:lnTo>
                  <a:pt x="199" y="7"/>
                </a:lnTo>
                <a:lnTo>
                  <a:pt x="200" y="5"/>
                </a:lnTo>
                <a:lnTo>
                  <a:pt x="202" y="5"/>
                </a:lnTo>
                <a:lnTo>
                  <a:pt x="204" y="5"/>
                </a:lnTo>
                <a:lnTo>
                  <a:pt x="204" y="3"/>
                </a:lnTo>
                <a:lnTo>
                  <a:pt x="205" y="2"/>
                </a:lnTo>
                <a:lnTo>
                  <a:pt x="205" y="0"/>
                </a:lnTo>
                <a:close/>
                <a:moveTo>
                  <a:pt x="47" y="90"/>
                </a:moveTo>
                <a:lnTo>
                  <a:pt x="49" y="92"/>
                </a:lnTo>
                <a:lnTo>
                  <a:pt x="51" y="92"/>
                </a:lnTo>
                <a:lnTo>
                  <a:pt x="52" y="92"/>
                </a:lnTo>
                <a:lnTo>
                  <a:pt x="52" y="95"/>
                </a:lnTo>
                <a:lnTo>
                  <a:pt x="56" y="97"/>
                </a:lnTo>
                <a:lnTo>
                  <a:pt x="56" y="99"/>
                </a:lnTo>
                <a:lnTo>
                  <a:pt x="56" y="100"/>
                </a:lnTo>
                <a:lnTo>
                  <a:pt x="56" y="102"/>
                </a:lnTo>
                <a:lnTo>
                  <a:pt x="54" y="102"/>
                </a:lnTo>
                <a:lnTo>
                  <a:pt x="54" y="100"/>
                </a:lnTo>
                <a:lnTo>
                  <a:pt x="52" y="99"/>
                </a:lnTo>
                <a:lnTo>
                  <a:pt x="52" y="100"/>
                </a:lnTo>
                <a:lnTo>
                  <a:pt x="51" y="100"/>
                </a:lnTo>
                <a:lnTo>
                  <a:pt x="51" y="102"/>
                </a:lnTo>
                <a:lnTo>
                  <a:pt x="51" y="100"/>
                </a:lnTo>
                <a:lnTo>
                  <a:pt x="49" y="102"/>
                </a:lnTo>
                <a:lnTo>
                  <a:pt x="49" y="100"/>
                </a:lnTo>
                <a:lnTo>
                  <a:pt x="47" y="99"/>
                </a:lnTo>
                <a:lnTo>
                  <a:pt x="46" y="100"/>
                </a:lnTo>
                <a:lnTo>
                  <a:pt x="47" y="102"/>
                </a:lnTo>
                <a:lnTo>
                  <a:pt x="47" y="104"/>
                </a:lnTo>
                <a:lnTo>
                  <a:pt x="49" y="102"/>
                </a:lnTo>
                <a:lnTo>
                  <a:pt x="51" y="104"/>
                </a:lnTo>
                <a:lnTo>
                  <a:pt x="52" y="104"/>
                </a:lnTo>
                <a:lnTo>
                  <a:pt x="52" y="105"/>
                </a:lnTo>
                <a:lnTo>
                  <a:pt x="54" y="104"/>
                </a:lnTo>
                <a:lnTo>
                  <a:pt x="54" y="105"/>
                </a:lnTo>
                <a:lnTo>
                  <a:pt x="54" y="107"/>
                </a:lnTo>
                <a:lnTo>
                  <a:pt x="54" y="105"/>
                </a:lnTo>
                <a:lnTo>
                  <a:pt x="51" y="105"/>
                </a:lnTo>
                <a:lnTo>
                  <a:pt x="51" y="107"/>
                </a:lnTo>
                <a:lnTo>
                  <a:pt x="52" y="107"/>
                </a:lnTo>
                <a:lnTo>
                  <a:pt x="51" y="109"/>
                </a:lnTo>
                <a:lnTo>
                  <a:pt x="51" y="107"/>
                </a:lnTo>
                <a:lnTo>
                  <a:pt x="49" y="107"/>
                </a:lnTo>
                <a:lnTo>
                  <a:pt x="51" y="105"/>
                </a:lnTo>
                <a:lnTo>
                  <a:pt x="49" y="105"/>
                </a:lnTo>
                <a:lnTo>
                  <a:pt x="49" y="107"/>
                </a:lnTo>
                <a:lnTo>
                  <a:pt x="49" y="105"/>
                </a:lnTo>
                <a:lnTo>
                  <a:pt x="47" y="107"/>
                </a:lnTo>
                <a:lnTo>
                  <a:pt x="49" y="107"/>
                </a:lnTo>
                <a:lnTo>
                  <a:pt x="47" y="109"/>
                </a:lnTo>
                <a:lnTo>
                  <a:pt x="47" y="110"/>
                </a:lnTo>
                <a:lnTo>
                  <a:pt x="47" y="109"/>
                </a:lnTo>
                <a:lnTo>
                  <a:pt x="46" y="110"/>
                </a:lnTo>
                <a:lnTo>
                  <a:pt x="47" y="112"/>
                </a:lnTo>
                <a:lnTo>
                  <a:pt x="46" y="112"/>
                </a:lnTo>
                <a:lnTo>
                  <a:pt x="46" y="114"/>
                </a:lnTo>
                <a:lnTo>
                  <a:pt x="44" y="114"/>
                </a:lnTo>
                <a:lnTo>
                  <a:pt x="42" y="114"/>
                </a:lnTo>
                <a:lnTo>
                  <a:pt x="42" y="116"/>
                </a:lnTo>
                <a:lnTo>
                  <a:pt x="42" y="117"/>
                </a:lnTo>
                <a:lnTo>
                  <a:pt x="42" y="119"/>
                </a:lnTo>
                <a:lnTo>
                  <a:pt x="40" y="119"/>
                </a:lnTo>
                <a:lnTo>
                  <a:pt x="39" y="119"/>
                </a:lnTo>
                <a:lnTo>
                  <a:pt x="40" y="119"/>
                </a:lnTo>
                <a:lnTo>
                  <a:pt x="39" y="121"/>
                </a:lnTo>
                <a:lnTo>
                  <a:pt x="39" y="122"/>
                </a:lnTo>
                <a:lnTo>
                  <a:pt x="35" y="122"/>
                </a:lnTo>
                <a:lnTo>
                  <a:pt x="34" y="122"/>
                </a:lnTo>
                <a:lnTo>
                  <a:pt x="34" y="124"/>
                </a:lnTo>
                <a:lnTo>
                  <a:pt x="35" y="124"/>
                </a:lnTo>
                <a:lnTo>
                  <a:pt x="37" y="126"/>
                </a:lnTo>
                <a:lnTo>
                  <a:pt x="35" y="126"/>
                </a:lnTo>
                <a:lnTo>
                  <a:pt x="34" y="126"/>
                </a:lnTo>
                <a:lnTo>
                  <a:pt x="32" y="127"/>
                </a:lnTo>
                <a:lnTo>
                  <a:pt x="32" y="124"/>
                </a:lnTo>
                <a:lnTo>
                  <a:pt x="30" y="127"/>
                </a:lnTo>
                <a:lnTo>
                  <a:pt x="30" y="126"/>
                </a:lnTo>
                <a:lnTo>
                  <a:pt x="29" y="127"/>
                </a:lnTo>
                <a:lnTo>
                  <a:pt x="29" y="124"/>
                </a:lnTo>
                <a:lnTo>
                  <a:pt x="29" y="127"/>
                </a:lnTo>
                <a:lnTo>
                  <a:pt x="27" y="126"/>
                </a:lnTo>
                <a:lnTo>
                  <a:pt x="25" y="127"/>
                </a:lnTo>
                <a:lnTo>
                  <a:pt x="23" y="127"/>
                </a:lnTo>
                <a:lnTo>
                  <a:pt x="23" y="129"/>
                </a:lnTo>
                <a:lnTo>
                  <a:pt x="22" y="129"/>
                </a:lnTo>
                <a:lnTo>
                  <a:pt x="20" y="129"/>
                </a:lnTo>
                <a:lnTo>
                  <a:pt x="18" y="133"/>
                </a:lnTo>
                <a:lnTo>
                  <a:pt x="20" y="134"/>
                </a:lnTo>
                <a:lnTo>
                  <a:pt x="20" y="138"/>
                </a:lnTo>
                <a:lnTo>
                  <a:pt x="18" y="139"/>
                </a:lnTo>
                <a:lnTo>
                  <a:pt x="20" y="141"/>
                </a:lnTo>
                <a:lnTo>
                  <a:pt x="18" y="144"/>
                </a:lnTo>
                <a:lnTo>
                  <a:pt x="20" y="146"/>
                </a:lnTo>
                <a:lnTo>
                  <a:pt x="18" y="146"/>
                </a:lnTo>
                <a:lnTo>
                  <a:pt x="17" y="148"/>
                </a:lnTo>
                <a:lnTo>
                  <a:pt x="15" y="151"/>
                </a:lnTo>
                <a:lnTo>
                  <a:pt x="13" y="151"/>
                </a:lnTo>
                <a:lnTo>
                  <a:pt x="13" y="150"/>
                </a:lnTo>
                <a:lnTo>
                  <a:pt x="12" y="150"/>
                </a:lnTo>
                <a:lnTo>
                  <a:pt x="12" y="148"/>
                </a:lnTo>
                <a:lnTo>
                  <a:pt x="13" y="146"/>
                </a:lnTo>
                <a:lnTo>
                  <a:pt x="13" y="144"/>
                </a:lnTo>
                <a:lnTo>
                  <a:pt x="13" y="143"/>
                </a:lnTo>
                <a:lnTo>
                  <a:pt x="13" y="139"/>
                </a:lnTo>
                <a:lnTo>
                  <a:pt x="15" y="139"/>
                </a:lnTo>
                <a:lnTo>
                  <a:pt x="17" y="141"/>
                </a:lnTo>
                <a:lnTo>
                  <a:pt x="17" y="138"/>
                </a:lnTo>
                <a:lnTo>
                  <a:pt x="18" y="134"/>
                </a:lnTo>
                <a:lnTo>
                  <a:pt x="15" y="134"/>
                </a:lnTo>
                <a:lnTo>
                  <a:pt x="15" y="133"/>
                </a:lnTo>
                <a:lnTo>
                  <a:pt x="13" y="133"/>
                </a:lnTo>
                <a:lnTo>
                  <a:pt x="12" y="133"/>
                </a:lnTo>
                <a:lnTo>
                  <a:pt x="12" y="131"/>
                </a:lnTo>
                <a:lnTo>
                  <a:pt x="8" y="129"/>
                </a:lnTo>
                <a:lnTo>
                  <a:pt x="5" y="129"/>
                </a:lnTo>
                <a:lnTo>
                  <a:pt x="5" y="127"/>
                </a:lnTo>
                <a:lnTo>
                  <a:pt x="3" y="129"/>
                </a:lnTo>
                <a:lnTo>
                  <a:pt x="3" y="127"/>
                </a:lnTo>
                <a:lnTo>
                  <a:pt x="1" y="126"/>
                </a:lnTo>
                <a:lnTo>
                  <a:pt x="5" y="126"/>
                </a:lnTo>
                <a:lnTo>
                  <a:pt x="3" y="122"/>
                </a:lnTo>
                <a:lnTo>
                  <a:pt x="5" y="124"/>
                </a:lnTo>
                <a:lnTo>
                  <a:pt x="6" y="124"/>
                </a:lnTo>
                <a:lnTo>
                  <a:pt x="5" y="121"/>
                </a:lnTo>
                <a:lnTo>
                  <a:pt x="8" y="122"/>
                </a:lnTo>
                <a:lnTo>
                  <a:pt x="8" y="121"/>
                </a:lnTo>
                <a:lnTo>
                  <a:pt x="6" y="121"/>
                </a:lnTo>
                <a:lnTo>
                  <a:pt x="8" y="121"/>
                </a:lnTo>
                <a:lnTo>
                  <a:pt x="6" y="119"/>
                </a:lnTo>
                <a:lnTo>
                  <a:pt x="5" y="117"/>
                </a:lnTo>
                <a:lnTo>
                  <a:pt x="3" y="116"/>
                </a:lnTo>
                <a:lnTo>
                  <a:pt x="3" y="114"/>
                </a:lnTo>
                <a:lnTo>
                  <a:pt x="1" y="114"/>
                </a:lnTo>
                <a:lnTo>
                  <a:pt x="0" y="114"/>
                </a:lnTo>
                <a:lnTo>
                  <a:pt x="0" y="112"/>
                </a:lnTo>
                <a:lnTo>
                  <a:pt x="3" y="114"/>
                </a:lnTo>
                <a:lnTo>
                  <a:pt x="3" y="112"/>
                </a:lnTo>
                <a:lnTo>
                  <a:pt x="3" y="110"/>
                </a:lnTo>
                <a:lnTo>
                  <a:pt x="5" y="110"/>
                </a:lnTo>
                <a:lnTo>
                  <a:pt x="6" y="110"/>
                </a:lnTo>
                <a:lnTo>
                  <a:pt x="8" y="114"/>
                </a:lnTo>
                <a:lnTo>
                  <a:pt x="10" y="116"/>
                </a:lnTo>
                <a:lnTo>
                  <a:pt x="12" y="116"/>
                </a:lnTo>
                <a:lnTo>
                  <a:pt x="10" y="114"/>
                </a:lnTo>
                <a:lnTo>
                  <a:pt x="10" y="112"/>
                </a:lnTo>
                <a:lnTo>
                  <a:pt x="12" y="110"/>
                </a:lnTo>
                <a:lnTo>
                  <a:pt x="13" y="109"/>
                </a:lnTo>
                <a:lnTo>
                  <a:pt x="13" y="107"/>
                </a:lnTo>
                <a:lnTo>
                  <a:pt x="15" y="109"/>
                </a:lnTo>
                <a:lnTo>
                  <a:pt x="15" y="110"/>
                </a:lnTo>
                <a:lnTo>
                  <a:pt x="17" y="110"/>
                </a:lnTo>
                <a:lnTo>
                  <a:pt x="17" y="107"/>
                </a:lnTo>
                <a:lnTo>
                  <a:pt x="15" y="104"/>
                </a:lnTo>
                <a:lnTo>
                  <a:pt x="17" y="105"/>
                </a:lnTo>
                <a:lnTo>
                  <a:pt x="18" y="104"/>
                </a:lnTo>
                <a:lnTo>
                  <a:pt x="20" y="104"/>
                </a:lnTo>
                <a:lnTo>
                  <a:pt x="22" y="102"/>
                </a:lnTo>
                <a:lnTo>
                  <a:pt x="23" y="100"/>
                </a:lnTo>
                <a:lnTo>
                  <a:pt x="23" y="99"/>
                </a:lnTo>
                <a:lnTo>
                  <a:pt x="25" y="99"/>
                </a:lnTo>
                <a:lnTo>
                  <a:pt x="27" y="100"/>
                </a:lnTo>
                <a:lnTo>
                  <a:pt x="29" y="102"/>
                </a:lnTo>
                <a:lnTo>
                  <a:pt x="30" y="100"/>
                </a:lnTo>
                <a:lnTo>
                  <a:pt x="32" y="102"/>
                </a:lnTo>
                <a:lnTo>
                  <a:pt x="32" y="99"/>
                </a:lnTo>
                <a:lnTo>
                  <a:pt x="34" y="97"/>
                </a:lnTo>
                <a:lnTo>
                  <a:pt x="35" y="99"/>
                </a:lnTo>
                <a:lnTo>
                  <a:pt x="35" y="97"/>
                </a:lnTo>
                <a:lnTo>
                  <a:pt x="39" y="97"/>
                </a:lnTo>
                <a:lnTo>
                  <a:pt x="42" y="99"/>
                </a:lnTo>
                <a:lnTo>
                  <a:pt x="44" y="99"/>
                </a:lnTo>
                <a:lnTo>
                  <a:pt x="44" y="100"/>
                </a:lnTo>
                <a:lnTo>
                  <a:pt x="47" y="100"/>
                </a:lnTo>
                <a:lnTo>
                  <a:pt x="47" y="99"/>
                </a:lnTo>
                <a:lnTo>
                  <a:pt x="44" y="99"/>
                </a:lnTo>
                <a:lnTo>
                  <a:pt x="44" y="97"/>
                </a:lnTo>
                <a:lnTo>
                  <a:pt x="46" y="95"/>
                </a:lnTo>
                <a:lnTo>
                  <a:pt x="46" y="93"/>
                </a:lnTo>
                <a:lnTo>
                  <a:pt x="46" y="92"/>
                </a:lnTo>
                <a:lnTo>
                  <a:pt x="47" y="90"/>
                </a:lnTo>
                <a:close/>
                <a:moveTo>
                  <a:pt x="20" y="66"/>
                </a:moveTo>
                <a:lnTo>
                  <a:pt x="22" y="66"/>
                </a:lnTo>
                <a:lnTo>
                  <a:pt x="23" y="68"/>
                </a:lnTo>
                <a:lnTo>
                  <a:pt x="23" y="70"/>
                </a:lnTo>
                <a:lnTo>
                  <a:pt x="25" y="71"/>
                </a:lnTo>
                <a:lnTo>
                  <a:pt x="27" y="71"/>
                </a:lnTo>
                <a:lnTo>
                  <a:pt x="30" y="71"/>
                </a:lnTo>
                <a:lnTo>
                  <a:pt x="32" y="73"/>
                </a:lnTo>
                <a:lnTo>
                  <a:pt x="34" y="71"/>
                </a:lnTo>
                <a:lnTo>
                  <a:pt x="34" y="75"/>
                </a:lnTo>
                <a:lnTo>
                  <a:pt x="37" y="76"/>
                </a:lnTo>
                <a:lnTo>
                  <a:pt x="39" y="78"/>
                </a:lnTo>
                <a:lnTo>
                  <a:pt x="39" y="80"/>
                </a:lnTo>
                <a:lnTo>
                  <a:pt x="40" y="82"/>
                </a:lnTo>
                <a:lnTo>
                  <a:pt x="39" y="82"/>
                </a:lnTo>
                <a:lnTo>
                  <a:pt x="37" y="82"/>
                </a:lnTo>
                <a:lnTo>
                  <a:pt x="35" y="82"/>
                </a:lnTo>
                <a:lnTo>
                  <a:pt x="37" y="83"/>
                </a:lnTo>
                <a:lnTo>
                  <a:pt x="35" y="82"/>
                </a:lnTo>
                <a:lnTo>
                  <a:pt x="35" y="83"/>
                </a:lnTo>
                <a:lnTo>
                  <a:pt x="34" y="83"/>
                </a:lnTo>
                <a:lnTo>
                  <a:pt x="32" y="83"/>
                </a:lnTo>
                <a:lnTo>
                  <a:pt x="34" y="83"/>
                </a:lnTo>
                <a:lnTo>
                  <a:pt x="34" y="85"/>
                </a:lnTo>
                <a:lnTo>
                  <a:pt x="32" y="87"/>
                </a:lnTo>
                <a:lnTo>
                  <a:pt x="32" y="88"/>
                </a:lnTo>
                <a:lnTo>
                  <a:pt x="32" y="87"/>
                </a:lnTo>
                <a:lnTo>
                  <a:pt x="30" y="87"/>
                </a:lnTo>
                <a:lnTo>
                  <a:pt x="29" y="85"/>
                </a:lnTo>
                <a:lnTo>
                  <a:pt x="30" y="87"/>
                </a:lnTo>
                <a:lnTo>
                  <a:pt x="32" y="83"/>
                </a:lnTo>
                <a:lnTo>
                  <a:pt x="30" y="85"/>
                </a:lnTo>
                <a:lnTo>
                  <a:pt x="29" y="87"/>
                </a:lnTo>
                <a:lnTo>
                  <a:pt x="29" y="88"/>
                </a:lnTo>
                <a:lnTo>
                  <a:pt x="29" y="92"/>
                </a:lnTo>
                <a:lnTo>
                  <a:pt x="27" y="93"/>
                </a:lnTo>
                <a:lnTo>
                  <a:pt x="23" y="95"/>
                </a:lnTo>
                <a:lnTo>
                  <a:pt x="22" y="93"/>
                </a:lnTo>
                <a:lnTo>
                  <a:pt x="20" y="93"/>
                </a:lnTo>
                <a:lnTo>
                  <a:pt x="22" y="92"/>
                </a:lnTo>
                <a:lnTo>
                  <a:pt x="20" y="90"/>
                </a:lnTo>
                <a:lnTo>
                  <a:pt x="18" y="88"/>
                </a:lnTo>
                <a:lnTo>
                  <a:pt x="18" y="87"/>
                </a:lnTo>
                <a:lnTo>
                  <a:pt x="18" y="85"/>
                </a:lnTo>
                <a:lnTo>
                  <a:pt x="17" y="83"/>
                </a:lnTo>
                <a:lnTo>
                  <a:pt x="15" y="82"/>
                </a:lnTo>
                <a:lnTo>
                  <a:pt x="13" y="83"/>
                </a:lnTo>
                <a:lnTo>
                  <a:pt x="12" y="82"/>
                </a:lnTo>
                <a:lnTo>
                  <a:pt x="12" y="83"/>
                </a:lnTo>
                <a:lnTo>
                  <a:pt x="10" y="83"/>
                </a:lnTo>
                <a:lnTo>
                  <a:pt x="8" y="83"/>
                </a:lnTo>
                <a:lnTo>
                  <a:pt x="6" y="82"/>
                </a:lnTo>
                <a:lnTo>
                  <a:pt x="3" y="82"/>
                </a:lnTo>
                <a:lnTo>
                  <a:pt x="3" y="80"/>
                </a:lnTo>
                <a:lnTo>
                  <a:pt x="5" y="80"/>
                </a:lnTo>
                <a:lnTo>
                  <a:pt x="8" y="80"/>
                </a:lnTo>
                <a:lnTo>
                  <a:pt x="10" y="78"/>
                </a:lnTo>
                <a:lnTo>
                  <a:pt x="12" y="78"/>
                </a:lnTo>
                <a:lnTo>
                  <a:pt x="13" y="78"/>
                </a:lnTo>
                <a:lnTo>
                  <a:pt x="15" y="78"/>
                </a:lnTo>
                <a:lnTo>
                  <a:pt x="15" y="76"/>
                </a:lnTo>
                <a:lnTo>
                  <a:pt x="17" y="76"/>
                </a:lnTo>
                <a:lnTo>
                  <a:pt x="17" y="75"/>
                </a:lnTo>
                <a:lnTo>
                  <a:pt x="18" y="75"/>
                </a:lnTo>
                <a:lnTo>
                  <a:pt x="17" y="71"/>
                </a:lnTo>
                <a:lnTo>
                  <a:pt x="18" y="71"/>
                </a:lnTo>
                <a:lnTo>
                  <a:pt x="20" y="71"/>
                </a:lnTo>
                <a:lnTo>
                  <a:pt x="20" y="70"/>
                </a:lnTo>
                <a:lnTo>
                  <a:pt x="20" y="66"/>
                </a:lnTo>
                <a:close/>
                <a:moveTo>
                  <a:pt x="42" y="66"/>
                </a:moveTo>
                <a:lnTo>
                  <a:pt x="44" y="66"/>
                </a:lnTo>
                <a:lnTo>
                  <a:pt x="46" y="68"/>
                </a:lnTo>
                <a:lnTo>
                  <a:pt x="47" y="65"/>
                </a:lnTo>
                <a:lnTo>
                  <a:pt x="47" y="66"/>
                </a:lnTo>
                <a:lnTo>
                  <a:pt x="51" y="68"/>
                </a:lnTo>
                <a:lnTo>
                  <a:pt x="49" y="70"/>
                </a:lnTo>
                <a:lnTo>
                  <a:pt x="47" y="70"/>
                </a:lnTo>
                <a:lnTo>
                  <a:pt x="47" y="71"/>
                </a:lnTo>
                <a:lnTo>
                  <a:pt x="44" y="70"/>
                </a:lnTo>
                <a:lnTo>
                  <a:pt x="44" y="71"/>
                </a:lnTo>
                <a:lnTo>
                  <a:pt x="42" y="71"/>
                </a:lnTo>
                <a:lnTo>
                  <a:pt x="44" y="71"/>
                </a:lnTo>
                <a:lnTo>
                  <a:pt x="42" y="71"/>
                </a:lnTo>
                <a:lnTo>
                  <a:pt x="40" y="68"/>
                </a:lnTo>
                <a:lnTo>
                  <a:pt x="40" y="66"/>
                </a:lnTo>
                <a:lnTo>
                  <a:pt x="42" y="66"/>
                </a:lnTo>
                <a:close/>
                <a:moveTo>
                  <a:pt x="81" y="19"/>
                </a:moveTo>
                <a:lnTo>
                  <a:pt x="83" y="19"/>
                </a:lnTo>
                <a:lnTo>
                  <a:pt x="83" y="22"/>
                </a:lnTo>
                <a:lnTo>
                  <a:pt x="81" y="22"/>
                </a:lnTo>
                <a:lnTo>
                  <a:pt x="80" y="20"/>
                </a:lnTo>
                <a:lnTo>
                  <a:pt x="81" y="19"/>
                </a:lnTo>
                <a:close/>
                <a:moveTo>
                  <a:pt x="83" y="122"/>
                </a:moveTo>
                <a:lnTo>
                  <a:pt x="85" y="124"/>
                </a:lnTo>
                <a:lnTo>
                  <a:pt x="83" y="126"/>
                </a:lnTo>
                <a:lnTo>
                  <a:pt x="81" y="124"/>
                </a:lnTo>
                <a:lnTo>
                  <a:pt x="81" y="122"/>
                </a:lnTo>
                <a:lnTo>
                  <a:pt x="83" y="122"/>
                </a:lnTo>
                <a:close/>
                <a:moveTo>
                  <a:pt x="66" y="39"/>
                </a:moveTo>
                <a:lnTo>
                  <a:pt x="68" y="41"/>
                </a:lnTo>
                <a:lnTo>
                  <a:pt x="66" y="42"/>
                </a:lnTo>
                <a:lnTo>
                  <a:pt x="66" y="41"/>
                </a:lnTo>
                <a:lnTo>
                  <a:pt x="64" y="41"/>
                </a:lnTo>
                <a:lnTo>
                  <a:pt x="64" y="39"/>
                </a:lnTo>
                <a:lnTo>
                  <a:pt x="66" y="39"/>
                </a:lnTo>
                <a:close/>
                <a:moveTo>
                  <a:pt x="64" y="41"/>
                </a:moveTo>
                <a:lnTo>
                  <a:pt x="66" y="41"/>
                </a:lnTo>
                <a:lnTo>
                  <a:pt x="66" y="42"/>
                </a:lnTo>
                <a:lnTo>
                  <a:pt x="64" y="42"/>
                </a:lnTo>
                <a:lnTo>
                  <a:pt x="63" y="41"/>
                </a:lnTo>
                <a:lnTo>
                  <a:pt x="64" y="41"/>
                </a:lnTo>
                <a:close/>
                <a:moveTo>
                  <a:pt x="59" y="150"/>
                </a:moveTo>
                <a:lnTo>
                  <a:pt x="61" y="151"/>
                </a:lnTo>
                <a:lnTo>
                  <a:pt x="61" y="153"/>
                </a:lnTo>
                <a:lnTo>
                  <a:pt x="59" y="153"/>
                </a:lnTo>
                <a:lnTo>
                  <a:pt x="59" y="150"/>
                </a:lnTo>
                <a:close/>
                <a:moveTo>
                  <a:pt x="5" y="119"/>
                </a:moveTo>
                <a:lnTo>
                  <a:pt x="5" y="121"/>
                </a:lnTo>
                <a:lnTo>
                  <a:pt x="3" y="121"/>
                </a:lnTo>
                <a:lnTo>
                  <a:pt x="1" y="121"/>
                </a:lnTo>
                <a:lnTo>
                  <a:pt x="0" y="121"/>
                </a:lnTo>
                <a:lnTo>
                  <a:pt x="3" y="121"/>
                </a:lnTo>
                <a:lnTo>
                  <a:pt x="3" y="119"/>
                </a:lnTo>
                <a:lnTo>
                  <a:pt x="5" y="119"/>
                </a:lnTo>
                <a:close/>
                <a:moveTo>
                  <a:pt x="29" y="131"/>
                </a:moveTo>
                <a:lnTo>
                  <a:pt x="30" y="133"/>
                </a:lnTo>
                <a:lnTo>
                  <a:pt x="29" y="134"/>
                </a:lnTo>
                <a:lnTo>
                  <a:pt x="27" y="133"/>
                </a:lnTo>
                <a:lnTo>
                  <a:pt x="29" y="131"/>
                </a:lnTo>
                <a:close/>
                <a:moveTo>
                  <a:pt x="207" y="78"/>
                </a:moveTo>
                <a:lnTo>
                  <a:pt x="205" y="80"/>
                </a:lnTo>
                <a:lnTo>
                  <a:pt x="204" y="78"/>
                </a:lnTo>
                <a:lnTo>
                  <a:pt x="207" y="78"/>
                </a:lnTo>
                <a:close/>
                <a:moveTo>
                  <a:pt x="97" y="12"/>
                </a:moveTo>
                <a:lnTo>
                  <a:pt x="98" y="12"/>
                </a:lnTo>
                <a:lnTo>
                  <a:pt x="100" y="14"/>
                </a:lnTo>
                <a:lnTo>
                  <a:pt x="98" y="14"/>
                </a:lnTo>
                <a:lnTo>
                  <a:pt x="98" y="15"/>
                </a:lnTo>
                <a:lnTo>
                  <a:pt x="98" y="14"/>
                </a:lnTo>
                <a:lnTo>
                  <a:pt x="97" y="12"/>
                </a:lnTo>
                <a:close/>
                <a:moveTo>
                  <a:pt x="46" y="48"/>
                </a:moveTo>
                <a:lnTo>
                  <a:pt x="47" y="48"/>
                </a:lnTo>
                <a:lnTo>
                  <a:pt x="47" y="49"/>
                </a:lnTo>
                <a:lnTo>
                  <a:pt x="46" y="48"/>
                </a:lnTo>
                <a:close/>
                <a:moveTo>
                  <a:pt x="37" y="75"/>
                </a:moveTo>
                <a:lnTo>
                  <a:pt x="39" y="75"/>
                </a:lnTo>
                <a:lnTo>
                  <a:pt x="39" y="76"/>
                </a:lnTo>
                <a:lnTo>
                  <a:pt x="37" y="76"/>
                </a:lnTo>
                <a:lnTo>
                  <a:pt x="37" y="75"/>
                </a:lnTo>
                <a:close/>
                <a:moveTo>
                  <a:pt x="54" y="78"/>
                </a:moveTo>
                <a:lnTo>
                  <a:pt x="56" y="78"/>
                </a:lnTo>
                <a:lnTo>
                  <a:pt x="56" y="80"/>
                </a:lnTo>
                <a:lnTo>
                  <a:pt x="54" y="80"/>
                </a:lnTo>
                <a:lnTo>
                  <a:pt x="54" y="78"/>
                </a:lnTo>
                <a:close/>
                <a:moveTo>
                  <a:pt x="90" y="17"/>
                </a:moveTo>
                <a:lnTo>
                  <a:pt x="91" y="17"/>
                </a:lnTo>
                <a:lnTo>
                  <a:pt x="91" y="19"/>
                </a:lnTo>
                <a:lnTo>
                  <a:pt x="90" y="19"/>
                </a:lnTo>
                <a:lnTo>
                  <a:pt x="90" y="17"/>
                </a:lnTo>
                <a:close/>
                <a:moveTo>
                  <a:pt x="40" y="95"/>
                </a:moveTo>
                <a:lnTo>
                  <a:pt x="42" y="95"/>
                </a:lnTo>
                <a:lnTo>
                  <a:pt x="40" y="95"/>
                </a:lnTo>
                <a:close/>
                <a:moveTo>
                  <a:pt x="85" y="116"/>
                </a:moveTo>
                <a:lnTo>
                  <a:pt x="86" y="116"/>
                </a:lnTo>
                <a:lnTo>
                  <a:pt x="88" y="117"/>
                </a:lnTo>
                <a:lnTo>
                  <a:pt x="86" y="117"/>
                </a:lnTo>
                <a:lnTo>
                  <a:pt x="85" y="116"/>
                </a:lnTo>
                <a:close/>
                <a:moveTo>
                  <a:pt x="30" y="127"/>
                </a:moveTo>
                <a:lnTo>
                  <a:pt x="32" y="127"/>
                </a:lnTo>
                <a:lnTo>
                  <a:pt x="32" y="129"/>
                </a:lnTo>
                <a:lnTo>
                  <a:pt x="30" y="129"/>
                </a:lnTo>
                <a:lnTo>
                  <a:pt x="30" y="127"/>
                </a:lnTo>
                <a:close/>
                <a:moveTo>
                  <a:pt x="37" y="83"/>
                </a:moveTo>
                <a:lnTo>
                  <a:pt x="39" y="83"/>
                </a:lnTo>
                <a:lnTo>
                  <a:pt x="39" y="85"/>
                </a:lnTo>
                <a:lnTo>
                  <a:pt x="37" y="83"/>
                </a:lnTo>
                <a:close/>
                <a:moveTo>
                  <a:pt x="40" y="82"/>
                </a:moveTo>
                <a:lnTo>
                  <a:pt x="40" y="83"/>
                </a:lnTo>
                <a:lnTo>
                  <a:pt x="40" y="82"/>
                </a:lnTo>
                <a:close/>
                <a:moveTo>
                  <a:pt x="105" y="15"/>
                </a:moveTo>
                <a:lnTo>
                  <a:pt x="107" y="15"/>
                </a:lnTo>
                <a:lnTo>
                  <a:pt x="105" y="15"/>
                </a:lnTo>
                <a:close/>
                <a:moveTo>
                  <a:pt x="73" y="110"/>
                </a:moveTo>
                <a:lnTo>
                  <a:pt x="73" y="112"/>
                </a:lnTo>
                <a:lnTo>
                  <a:pt x="73" y="110"/>
                </a:lnTo>
                <a:close/>
                <a:moveTo>
                  <a:pt x="51" y="71"/>
                </a:moveTo>
                <a:lnTo>
                  <a:pt x="51" y="73"/>
                </a:lnTo>
                <a:lnTo>
                  <a:pt x="51" y="71"/>
                </a:lnTo>
                <a:close/>
                <a:moveTo>
                  <a:pt x="27" y="133"/>
                </a:moveTo>
                <a:lnTo>
                  <a:pt x="29" y="134"/>
                </a:lnTo>
                <a:lnTo>
                  <a:pt x="27" y="134"/>
                </a:lnTo>
                <a:lnTo>
                  <a:pt x="27" y="133"/>
                </a:lnTo>
                <a:close/>
                <a:moveTo>
                  <a:pt x="124" y="3"/>
                </a:moveTo>
                <a:lnTo>
                  <a:pt x="125" y="3"/>
                </a:lnTo>
                <a:lnTo>
                  <a:pt x="124" y="3"/>
                </a:lnTo>
                <a:close/>
                <a:moveTo>
                  <a:pt x="102" y="14"/>
                </a:moveTo>
                <a:lnTo>
                  <a:pt x="102" y="15"/>
                </a:lnTo>
                <a:lnTo>
                  <a:pt x="102" y="14"/>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14" name="Freeform: Shape 113">
            <a:extLst>
              <a:ext uri="{FF2B5EF4-FFF2-40B4-BE49-F238E27FC236}">
                <a16:creationId xmlns:a16="http://schemas.microsoft.com/office/drawing/2014/main" id="{0BE6DF4C-0CB2-4929-A29B-987225F75048}"/>
              </a:ext>
            </a:extLst>
          </p:cNvPr>
          <p:cNvSpPr/>
          <p:nvPr/>
        </p:nvSpPr>
        <p:spPr>
          <a:xfrm>
            <a:off x="2686820" y="2672652"/>
            <a:ext cx="564498" cy="803620"/>
          </a:xfrm>
          <a:custGeom>
            <a:avLst/>
            <a:gdLst>
              <a:gd name="connsiteX0" fmla="*/ 0 w 1569720"/>
              <a:gd name="connsiteY0" fmla="*/ 0 h 2133600"/>
              <a:gd name="connsiteX1" fmla="*/ 53340 w 1569720"/>
              <a:gd name="connsiteY1" fmla="*/ 7620 h 2133600"/>
              <a:gd name="connsiteX2" fmla="*/ 76200 w 1569720"/>
              <a:gd name="connsiteY2" fmla="*/ 15240 h 2133600"/>
              <a:gd name="connsiteX3" fmla="*/ 106680 w 1569720"/>
              <a:gd name="connsiteY3" fmla="*/ 53340 h 2133600"/>
              <a:gd name="connsiteX4" fmla="*/ 137160 w 1569720"/>
              <a:gd name="connsiteY4" fmla="*/ 76200 h 2133600"/>
              <a:gd name="connsiteX5" fmla="*/ 152400 w 1569720"/>
              <a:gd name="connsiteY5" fmla="*/ 106680 h 2133600"/>
              <a:gd name="connsiteX6" fmla="*/ 182880 w 1569720"/>
              <a:gd name="connsiteY6" fmla="*/ 160020 h 2133600"/>
              <a:gd name="connsiteX7" fmla="*/ 190500 w 1569720"/>
              <a:gd name="connsiteY7" fmla="*/ 182880 h 2133600"/>
              <a:gd name="connsiteX8" fmla="*/ 213360 w 1569720"/>
              <a:gd name="connsiteY8" fmla="*/ 213360 h 2133600"/>
              <a:gd name="connsiteX9" fmla="*/ 228600 w 1569720"/>
              <a:gd name="connsiteY9" fmla="*/ 236220 h 2133600"/>
              <a:gd name="connsiteX10" fmla="*/ 251460 w 1569720"/>
              <a:gd name="connsiteY10" fmla="*/ 274320 h 2133600"/>
              <a:gd name="connsiteX11" fmla="*/ 327660 w 1569720"/>
              <a:gd name="connsiteY11" fmla="*/ 320040 h 2133600"/>
              <a:gd name="connsiteX12" fmla="*/ 342900 w 1569720"/>
              <a:gd name="connsiteY12" fmla="*/ 365760 h 2133600"/>
              <a:gd name="connsiteX13" fmla="*/ 358140 w 1569720"/>
              <a:gd name="connsiteY13" fmla="*/ 388620 h 2133600"/>
              <a:gd name="connsiteX14" fmla="*/ 373380 w 1569720"/>
              <a:gd name="connsiteY14" fmla="*/ 419100 h 2133600"/>
              <a:gd name="connsiteX15" fmla="*/ 396240 w 1569720"/>
              <a:gd name="connsiteY15" fmla="*/ 464820 h 2133600"/>
              <a:gd name="connsiteX16" fmla="*/ 403860 w 1569720"/>
              <a:gd name="connsiteY16" fmla="*/ 510540 h 2133600"/>
              <a:gd name="connsiteX17" fmla="*/ 449580 w 1569720"/>
              <a:gd name="connsiteY17" fmla="*/ 571500 h 2133600"/>
              <a:gd name="connsiteX18" fmla="*/ 464820 w 1569720"/>
              <a:gd name="connsiteY18" fmla="*/ 640080 h 2133600"/>
              <a:gd name="connsiteX19" fmla="*/ 457200 w 1569720"/>
              <a:gd name="connsiteY19" fmla="*/ 861060 h 2133600"/>
              <a:gd name="connsiteX20" fmla="*/ 449580 w 1569720"/>
              <a:gd name="connsiteY20" fmla="*/ 891540 h 2133600"/>
              <a:gd name="connsiteX21" fmla="*/ 403860 w 1569720"/>
              <a:gd name="connsiteY21" fmla="*/ 944880 h 2133600"/>
              <a:gd name="connsiteX22" fmla="*/ 320040 w 1569720"/>
              <a:gd name="connsiteY22" fmla="*/ 1021080 h 2133600"/>
              <a:gd name="connsiteX23" fmla="*/ 274320 w 1569720"/>
              <a:gd name="connsiteY23" fmla="*/ 1036320 h 2133600"/>
              <a:gd name="connsiteX24" fmla="*/ 220980 w 1569720"/>
              <a:gd name="connsiteY24" fmla="*/ 1059180 h 2133600"/>
              <a:gd name="connsiteX25" fmla="*/ 198120 w 1569720"/>
              <a:gd name="connsiteY25" fmla="*/ 1082040 h 2133600"/>
              <a:gd name="connsiteX26" fmla="*/ 106680 w 1569720"/>
              <a:gd name="connsiteY26" fmla="*/ 1120140 h 2133600"/>
              <a:gd name="connsiteX27" fmla="*/ 76200 w 1569720"/>
              <a:gd name="connsiteY27" fmla="*/ 1150620 h 2133600"/>
              <a:gd name="connsiteX28" fmla="*/ 38100 w 1569720"/>
              <a:gd name="connsiteY28" fmla="*/ 1196340 h 2133600"/>
              <a:gd name="connsiteX29" fmla="*/ 22860 w 1569720"/>
              <a:gd name="connsiteY29" fmla="*/ 1295400 h 2133600"/>
              <a:gd name="connsiteX30" fmla="*/ 15240 w 1569720"/>
              <a:gd name="connsiteY30" fmla="*/ 1348740 h 2133600"/>
              <a:gd name="connsiteX31" fmla="*/ 0 w 1569720"/>
              <a:gd name="connsiteY31" fmla="*/ 1379220 h 2133600"/>
              <a:gd name="connsiteX32" fmla="*/ 7620 w 1569720"/>
              <a:gd name="connsiteY32" fmla="*/ 1447800 h 2133600"/>
              <a:gd name="connsiteX33" fmla="*/ 15240 w 1569720"/>
              <a:gd name="connsiteY33" fmla="*/ 1470660 h 2133600"/>
              <a:gd name="connsiteX34" fmla="*/ 45720 w 1569720"/>
              <a:gd name="connsiteY34" fmla="*/ 1485900 h 2133600"/>
              <a:gd name="connsiteX35" fmla="*/ 106680 w 1569720"/>
              <a:gd name="connsiteY35" fmla="*/ 1508760 h 2133600"/>
              <a:gd name="connsiteX36" fmla="*/ 137160 w 1569720"/>
              <a:gd name="connsiteY36" fmla="*/ 1539240 h 2133600"/>
              <a:gd name="connsiteX37" fmla="*/ 152400 w 1569720"/>
              <a:gd name="connsiteY37" fmla="*/ 1584960 h 2133600"/>
              <a:gd name="connsiteX38" fmla="*/ 167640 w 1569720"/>
              <a:gd name="connsiteY38" fmla="*/ 1615440 h 2133600"/>
              <a:gd name="connsiteX39" fmla="*/ 182880 w 1569720"/>
              <a:gd name="connsiteY39" fmla="*/ 1638300 h 2133600"/>
              <a:gd name="connsiteX40" fmla="*/ 243840 w 1569720"/>
              <a:gd name="connsiteY40" fmla="*/ 1653540 h 2133600"/>
              <a:gd name="connsiteX41" fmla="*/ 289560 w 1569720"/>
              <a:gd name="connsiteY41" fmla="*/ 1668780 h 2133600"/>
              <a:gd name="connsiteX42" fmla="*/ 312420 w 1569720"/>
              <a:gd name="connsiteY42" fmla="*/ 1699260 h 2133600"/>
              <a:gd name="connsiteX43" fmla="*/ 342900 w 1569720"/>
              <a:gd name="connsiteY43" fmla="*/ 1836420 h 2133600"/>
              <a:gd name="connsiteX44" fmla="*/ 365760 w 1569720"/>
              <a:gd name="connsiteY44" fmla="*/ 1935480 h 2133600"/>
              <a:gd name="connsiteX45" fmla="*/ 434340 w 1569720"/>
              <a:gd name="connsiteY45" fmla="*/ 1973580 h 2133600"/>
              <a:gd name="connsiteX46" fmla="*/ 472440 w 1569720"/>
              <a:gd name="connsiteY46" fmla="*/ 1988820 h 2133600"/>
              <a:gd name="connsiteX47" fmla="*/ 495300 w 1569720"/>
              <a:gd name="connsiteY47" fmla="*/ 1996440 h 2133600"/>
              <a:gd name="connsiteX48" fmla="*/ 617220 w 1569720"/>
              <a:gd name="connsiteY48" fmla="*/ 2004060 h 2133600"/>
              <a:gd name="connsiteX49" fmla="*/ 861060 w 1569720"/>
              <a:gd name="connsiteY49" fmla="*/ 1988820 h 2133600"/>
              <a:gd name="connsiteX50" fmla="*/ 929640 w 1569720"/>
              <a:gd name="connsiteY50" fmla="*/ 2011680 h 2133600"/>
              <a:gd name="connsiteX51" fmla="*/ 967740 w 1569720"/>
              <a:gd name="connsiteY51" fmla="*/ 2042160 h 2133600"/>
              <a:gd name="connsiteX52" fmla="*/ 1043940 w 1569720"/>
              <a:gd name="connsiteY52" fmla="*/ 2057400 h 2133600"/>
              <a:gd name="connsiteX53" fmla="*/ 1143000 w 1569720"/>
              <a:gd name="connsiteY53" fmla="*/ 2095500 h 2133600"/>
              <a:gd name="connsiteX54" fmla="*/ 1165860 w 1569720"/>
              <a:gd name="connsiteY54" fmla="*/ 2103120 h 2133600"/>
              <a:gd name="connsiteX55" fmla="*/ 1310640 w 1569720"/>
              <a:gd name="connsiteY55" fmla="*/ 2133600 h 2133600"/>
              <a:gd name="connsiteX56" fmla="*/ 1516380 w 1569720"/>
              <a:gd name="connsiteY56" fmla="*/ 2125980 h 2133600"/>
              <a:gd name="connsiteX57" fmla="*/ 1531620 w 1569720"/>
              <a:gd name="connsiteY57" fmla="*/ 2103120 h 2133600"/>
              <a:gd name="connsiteX58" fmla="*/ 1562100 w 1569720"/>
              <a:gd name="connsiteY58" fmla="*/ 2057400 h 2133600"/>
              <a:gd name="connsiteX59" fmla="*/ 1569720 w 1569720"/>
              <a:gd name="connsiteY59" fmla="*/ 2057400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569720" h="2133600">
                <a:moveTo>
                  <a:pt x="0" y="0"/>
                </a:moveTo>
                <a:cubicBezTo>
                  <a:pt x="17780" y="2540"/>
                  <a:pt x="35728" y="4098"/>
                  <a:pt x="53340" y="7620"/>
                </a:cubicBezTo>
                <a:cubicBezTo>
                  <a:pt x="61216" y="9195"/>
                  <a:pt x="70102" y="10013"/>
                  <a:pt x="76200" y="15240"/>
                </a:cubicBezTo>
                <a:cubicBezTo>
                  <a:pt x="88549" y="25824"/>
                  <a:pt x="95180" y="41840"/>
                  <a:pt x="106680" y="53340"/>
                </a:cubicBezTo>
                <a:cubicBezTo>
                  <a:pt x="115660" y="62320"/>
                  <a:pt x="127000" y="68580"/>
                  <a:pt x="137160" y="76200"/>
                </a:cubicBezTo>
                <a:cubicBezTo>
                  <a:pt x="142240" y="86360"/>
                  <a:pt x="146961" y="96708"/>
                  <a:pt x="152400" y="106680"/>
                </a:cubicBezTo>
                <a:cubicBezTo>
                  <a:pt x="162206" y="124658"/>
                  <a:pt x="173722" y="141704"/>
                  <a:pt x="182880" y="160020"/>
                </a:cubicBezTo>
                <a:cubicBezTo>
                  <a:pt x="186472" y="167204"/>
                  <a:pt x="186515" y="175906"/>
                  <a:pt x="190500" y="182880"/>
                </a:cubicBezTo>
                <a:cubicBezTo>
                  <a:pt x="196801" y="193907"/>
                  <a:pt x="205978" y="203026"/>
                  <a:pt x="213360" y="213360"/>
                </a:cubicBezTo>
                <a:cubicBezTo>
                  <a:pt x="218683" y="220812"/>
                  <a:pt x="223746" y="228454"/>
                  <a:pt x="228600" y="236220"/>
                </a:cubicBezTo>
                <a:cubicBezTo>
                  <a:pt x="236450" y="248779"/>
                  <a:pt x="240987" y="263847"/>
                  <a:pt x="251460" y="274320"/>
                </a:cubicBezTo>
                <a:cubicBezTo>
                  <a:pt x="269850" y="292710"/>
                  <a:pt x="303608" y="308014"/>
                  <a:pt x="327660" y="320040"/>
                </a:cubicBezTo>
                <a:cubicBezTo>
                  <a:pt x="332740" y="335280"/>
                  <a:pt x="336376" y="351080"/>
                  <a:pt x="342900" y="365760"/>
                </a:cubicBezTo>
                <a:cubicBezTo>
                  <a:pt x="346619" y="374129"/>
                  <a:pt x="353596" y="380669"/>
                  <a:pt x="358140" y="388620"/>
                </a:cubicBezTo>
                <a:cubicBezTo>
                  <a:pt x="363776" y="398483"/>
                  <a:pt x="368905" y="408659"/>
                  <a:pt x="373380" y="419100"/>
                </a:cubicBezTo>
                <a:cubicBezTo>
                  <a:pt x="392309" y="463267"/>
                  <a:pt x="366952" y="420889"/>
                  <a:pt x="396240" y="464820"/>
                </a:cubicBezTo>
                <a:cubicBezTo>
                  <a:pt x="398780" y="480060"/>
                  <a:pt x="396950" y="496721"/>
                  <a:pt x="403860" y="510540"/>
                </a:cubicBezTo>
                <a:cubicBezTo>
                  <a:pt x="415219" y="533258"/>
                  <a:pt x="449580" y="571500"/>
                  <a:pt x="449580" y="571500"/>
                </a:cubicBezTo>
                <a:cubicBezTo>
                  <a:pt x="452519" y="583255"/>
                  <a:pt x="464820" y="630406"/>
                  <a:pt x="464820" y="640080"/>
                </a:cubicBezTo>
                <a:cubicBezTo>
                  <a:pt x="464820" y="713784"/>
                  <a:pt x="461659" y="787491"/>
                  <a:pt x="457200" y="861060"/>
                </a:cubicBezTo>
                <a:cubicBezTo>
                  <a:pt x="456566" y="871514"/>
                  <a:pt x="453833" y="881970"/>
                  <a:pt x="449580" y="891540"/>
                </a:cubicBezTo>
                <a:cubicBezTo>
                  <a:pt x="425774" y="945103"/>
                  <a:pt x="436714" y="916719"/>
                  <a:pt x="403860" y="944880"/>
                </a:cubicBezTo>
                <a:cubicBezTo>
                  <a:pt x="368447" y="975234"/>
                  <a:pt x="365341" y="993202"/>
                  <a:pt x="320040" y="1021080"/>
                </a:cubicBezTo>
                <a:cubicBezTo>
                  <a:pt x="306359" y="1029499"/>
                  <a:pt x="287686" y="1027409"/>
                  <a:pt x="274320" y="1036320"/>
                </a:cubicBezTo>
                <a:cubicBezTo>
                  <a:pt x="242746" y="1057369"/>
                  <a:pt x="260345" y="1049339"/>
                  <a:pt x="220980" y="1059180"/>
                </a:cubicBezTo>
                <a:cubicBezTo>
                  <a:pt x="213360" y="1066800"/>
                  <a:pt x="207629" y="1076969"/>
                  <a:pt x="198120" y="1082040"/>
                </a:cubicBezTo>
                <a:cubicBezTo>
                  <a:pt x="168985" y="1097579"/>
                  <a:pt x="106680" y="1120140"/>
                  <a:pt x="106680" y="1120140"/>
                </a:cubicBezTo>
                <a:cubicBezTo>
                  <a:pt x="96520" y="1130300"/>
                  <a:pt x="84821" y="1139125"/>
                  <a:pt x="76200" y="1150620"/>
                </a:cubicBezTo>
                <a:cubicBezTo>
                  <a:pt x="37529" y="1202182"/>
                  <a:pt x="86000" y="1164406"/>
                  <a:pt x="38100" y="1196340"/>
                </a:cubicBezTo>
                <a:cubicBezTo>
                  <a:pt x="25297" y="1260356"/>
                  <a:pt x="33932" y="1212362"/>
                  <a:pt x="22860" y="1295400"/>
                </a:cubicBezTo>
                <a:cubicBezTo>
                  <a:pt x="20486" y="1313203"/>
                  <a:pt x="19966" y="1331412"/>
                  <a:pt x="15240" y="1348740"/>
                </a:cubicBezTo>
                <a:cubicBezTo>
                  <a:pt x="12251" y="1359699"/>
                  <a:pt x="5080" y="1369060"/>
                  <a:pt x="0" y="1379220"/>
                </a:cubicBezTo>
                <a:cubicBezTo>
                  <a:pt x="2540" y="1402080"/>
                  <a:pt x="3839" y="1425112"/>
                  <a:pt x="7620" y="1447800"/>
                </a:cubicBezTo>
                <a:cubicBezTo>
                  <a:pt x="8940" y="1455723"/>
                  <a:pt x="9560" y="1464980"/>
                  <a:pt x="15240" y="1470660"/>
                </a:cubicBezTo>
                <a:cubicBezTo>
                  <a:pt x="23272" y="1478692"/>
                  <a:pt x="35857" y="1480264"/>
                  <a:pt x="45720" y="1485900"/>
                </a:cubicBezTo>
                <a:cubicBezTo>
                  <a:pt x="87981" y="1510049"/>
                  <a:pt x="47403" y="1496905"/>
                  <a:pt x="106680" y="1508760"/>
                </a:cubicBezTo>
                <a:cubicBezTo>
                  <a:pt x="116840" y="1518920"/>
                  <a:pt x="129768" y="1526919"/>
                  <a:pt x="137160" y="1539240"/>
                </a:cubicBezTo>
                <a:cubicBezTo>
                  <a:pt x="145425" y="1553015"/>
                  <a:pt x="146434" y="1570045"/>
                  <a:pt x="152400" y="1584960"/>
                </a:cubicBezTo>
                <a:cubicBezTo>
                  <a:pt x="156619" y="1595507"/>
                  <a:pt x="162004" y="1605577"/>
                  <a:pt x="167640" y="1615440"/>
                </a:cubicBezTo>
                <a:cubicBezTo>
                  <a:pt x="172184" y="1623391"/>
                  <a:pt x="174689" y="1634204"/>
                  <a:pt x="182880" y="1638300"/>
                </a:cubicBezTo>
                <a:cubicBezTo>
                  <a:pt x="201614" y="1647667"/>
                  <a:pt x="223701" y="1647786"/>
                  <a:pt x="243840" y="1653540"/>
                </a:cubicBezTo>
                <a:cubicBezTo>
                  <a:pt x="259286" y="1657953"/>
                  <a:pt x="289560" y="1668780"/>
                  <a:pt x="289560" y="1668780"/>
                </a:cubicBezTo>
                <a:cubicBezTo>
                  <a:pt x="297180" y="1678940"/>
                  <a:pt x="305689" y="1688490"/>
                  <a:pt x="312420" y="1699260"/>
                </a:cubicBezTo>
                <a:cubicBezTo>
                  <a:pt x="340935" y="1744885"/>
                  <a:pt x="334873" y="1772203"/>
                  <a:pt x="342900" y="1836420"/>
                </a:cubicBezTo>
                <a:cubicBezTo>
                  <a:pt x="345376" y="1856229"/>
                  <a:pt x="347484" y="1914919"/>
                  <a:pt x="365760" y="1935480"/>
                </a:cubicBezTo>
                <a:cubicBezTo>
                  <a:pt x="391236" y="1964141"/>
                  <a:pt x="405912" y="1962919"/>
                  <a:pt x="434340" y="1973580"/>
                </a:cubicBezTo>
                <a:cubicBezTo>
                  <a:pt x="447147" y="1978383"/>
                  <a:pt x="459633" y="1984017"/>
                  <a:pt x="472440" y="1988820"/>
                </a:cubicBezTo>
                <a:cubicBezTo>
                  <a:pt x="479961" y="1991640"/>
                  <a:pt x="487312" y="1995599"/>
                  <a:pt x="495300" y="1996440"/>
                </a:cubicBezTo>
                <a:cubicBezTo>
                  <a:pt x="535796" y="2000703"/>
                  <a:pt x="576580" y="2001520"/>
                  <a:pt x="617220" y="2004060"/>
                </a:cubicBezTo>
                <a:cubicBezTo>
                  <a:pt x="698500" y="1998980"/>
                  <a:pt x="779651" y="1991020"/>
                  <a:pt x="861060" y="1988820"/>
                </a:cubicBezTo>
                <a:cubicBezTo>
                  <a:pt x="882661" y="1988236"/>
                  <a:pt x="911815" y="1999797"/>
                  <a:pt x="929640" y="2011680"/>
                </a:cubicBezTo>
                <a:cubicBezTo>
                  <a:pt x="943172" y="2020702"/>
                  <a:pt x="953523" y="2034262"/>
                  <a:pt x="967740" y="2042160"/>
                </a:cubicBezTo>
                <a:cubicBezTo>
                  <a:pt x="977483" y="2047573"/>
                  <a:pt x="1040595" y="2056843"/>
                  <a:pt x="1043940" y="2057400"/>
                </a:cubicBezTo>
                <a:cubicBezTo>
                  <a:pt x="1076960" y="2070100"/>
                  <a:pt x="1109437" y="2084312"/>
                  <a:pt x="1143000" y="2095500"/>
                </a:cubicBezTo>
                <a:cubicBezTo>
                  <a:pt x="1150620" y="2098040"/>
                  <a:pt x="1158099" y="2101050"/>
                  <a:pt x="1165860" y="2103120"/>
                </a:cubicBezTo>
                <a:cubicBezTo>
                  <a:pt x="1260069" y="2128243"/>
                  <a:pt x="1234575" y="2122734"/>
                  <a:pt x="1310640" y="2133600"/>
                </a:cubicBezTo>
                <a:cubicBezTo>
                  <a:pt x="1379220" y="2131060"/>
                  <a:pt x="1448397" y="2135357"/>
                  <a:pt x="1516380" y="2125980"/>
                </a:cubicBezTo>
                <a:cubicBezTo>
                  <a:pt x="1525452" y="2124729"/>
                  <a:pt x="1527524" y="2111311"/>
                  <a:pt x="1531620" y="2103120"/>
                </a:cubicBezTo>
                <a:cubicBezTo>
                  <a:pt x="1547216" y="2071929"/>
                  <a:pt x="1527432" y="2083401"/>
                  <a:pt x="1562100" y="2057400"/>
                </a:cubicBezTo>
                <a:cubicBezTo>
                  <a:pt x="1564132" y="2055876"/>
                  <a:pt x="1567180" y="2057400"/>
                  <a:pt x="1569720" y="2057400"/>
                </a:cubicBezTo>
              </a:path>
            </a:pathLst>
          </a:custGeom>
          <a:no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srgbClr val="05363D"/>
              </a:solidFill>
              <a:effectLst/>
              <a:uLnTx/>
              <a:uFillTx/>
              <a:latin typeface="Bahnschrift" panose="020B0502040204020203" pitchFamily="34" charset="0"/>
              <a:sym typeface="Bahnschrift" panose="020B0502040204020203" pitchFamily="34" charset="0"/>
            </a:endParaRPr>
          </a:p>
        </p:txBody>
      </p:sp>
      <p:grpSp>
        <p:nvGrpSpPr>
          <p:cNvPr id="154" name="Group 153">
            <a:extLst>
              <a:ext uri="{FF2B5EF4-FFF2-40B4-BE49-F238E27FC236}">
                <a16:creationId xmlns:a16="http://schemas.microsoft.com/office/drawing/2014/main" id="{4784B8BC-83F9-46A9-A77E-E427D5052944}"/>
              </a:ext>
            </a:extLst>
          </p:cNvPr>
          <p:cNvGrpSpPr/>
          <p:nvPr/>
        </p:nvGrpSpPr>
        <p:grpSpPr>
          <a:xfrm>
            <a:off x="3169739" y="4121429"/>
            <a:ext cx="901331" cy="1801689"/>
            <a:chOff x="3806590" y="4274048"/>
            <a:chExt cx="1035995" cy="1977222"/>
          </a:xfrm>
        </p:grpSpPr>
        <p:sp>
          <p:nvSpPr>
            <p:cNvPr id="156" name="Freeform: Shape 155">
              <a:extLst>
                <a:ext uri="{FF2B5EF4-FFF2-40B4-BE49-F238E27FC236}">
                  <a16:creationId xmlns:a16="http://schemas.microsoft.com/office/drawing/2014/main" id="{0E756CB9-AF8D-458F-BE6C-764E453FCA02}"/>
                </a:ext>
              </a:extLst>
            </p:cNvPr>
            <p:cNvSpPr/>
            <p:nvPr/>
          </p:nvSpPr>
          <p:spPr>
            <a:xfrm>
              <a:off x="3825551" y="4525210"/>
              <a:ext cx="1017034" cy="1726060"/>
            </a:xfrm>
            <a:custGeom>
              <a:avLst/>
              <a:gdLst>
                <a:gd name="connsiteX0" fmla="*/ 0 w 1104900"/>
                <a:gd name="connsiteY0" fmla="*/ 0 h 2133600"/>
                <a:gd name="connsiteX1" fmla="*/ 0 w 1104900"/>
                <a:gd name="connsiteY1" fmla="*/ 0 h 2133600"/>
                <a:gd name="connsiteX2" fmla="*/ 9525 w 1104900"/>
                <a:gd name="connsiteY2" fmla="*/ 25400 h 2133600"/>
                <a:gd name="connsiteX3" fmla="*/ 12700 w 1104900"/>
                <a:gd name="connsiteY3" fmla="*/ 44450 h 2133600"/>
                <a:gd name="connsiteX4" fmla="*/ 15875 w 1104900"/>
                <a:gd name="connsiteY4" fmla="*/ 57150 h 2133600"/>
                <a:gd name="connsiteX5" fmla="*/ 22225 w 1104900"/>
                <a:gd name="connsiteY5" fmla="*/ 127000 h 2133600"/>
                <a:gd name="connsiteX6" fmla="*/ 28575 w 1104900"/>
                <a:gd name="connsiteY6" fmla="*/ 146050 h 2133600"/>
                <a:gd name="connsiteX7" fmla="*/ 38100 w 1104900"/>
                <a:gd name="connsiteY7" fmla="*/ 165100 h 2133600"/>
                <a:gd name="connsiteX8" fmla="*/ 50800 w 1104900"/>
                <a:gd name="connsiteY8" fmla="*/ 184150 h 2133600"/>
                <a:gd name="connsiteX9" fmla="*/ 57150 w 1104900"/>
                <a:gd name="connsiteY9" fmla="*/ 193675 h 2133600"/>
                <a:gd name="connsiteX10" fmla="*/ 66675 w 1104900"/>
                <a:gd name="connsiteY10" fmla="*/ 225425 h 2133600"/>
                <a:gd name="connsiteX11" fmla="*/ 73025 w 1104900"/>
                <a:gd name="connsiteY11" fmla="*/ 234950 h 2133600"/>
                <a:gd name="connsiteX12" fmla="*/ 73025 w 1104900"/>
                <a:gd name="connsiteY12" fmla="*/ 307975 h 2133600"/>
                <a:gd name="connsiteX13" fmla="*/ 66675 w 1104900"/>
                <a:gd name="connsiteY13" fmla="*/ 327025 h 2133600"/>
                <a:gd name="connsiteX14" fmla="*/ 60325 w 1104900"/>
                <a:gd name="connsiteY14" fmla="*/ 358775 h 2133600"/>
                <a:gd name="connsiteX15" fmla="*/ 63500 w 1104900"/>
                <a:gd name="connsiteY15" fmla="*/ 412750 h 2133600"/>
                <a:gd name="connsiteX16" fmla="*/ 69850 w 1104900"/>
                <a:gd name="connsiteY16" fmla="*/ 434975 h 2133600"/>
                <a:gd name="connsiteX17" fmla="*/ 76200 w 1104900"/>
                <a:gd name="connsiteY17" fmla="*/ 476250 h 2133600"/>
                <a:gd name="connsiteX18" fmla="*/ 79375 w 1104900"/>
                <a:gd name="connsiteY18" fmla="*/ 536575 h 2133600"/>
                <a:gd name="connsiteX19" fmla="*/ 85725 w 1104900"/>
                <a:gd name="connsiteY19" fmla="*/ 555625 h 2133600"/>
                <a:gd name="connsiteX20" fmla="*/ 88900 w 1104900"/>
                <a:gd name="connsiteY20" fmla="*/ 568325 h 2133600"/>
                <a:gd name="connsiteX21" fmla="*/ 95250 w 1104900"/>
                <a:gd name="connsiteY21" fmla="*/ 587375 h 2133600"/>
                <a:gd name="connsiteX22" fmla="*/ 98425 w 1104900"/>
                <a:gd name="connsiteY22" fmla="*/ 600075 h 2133600"/>
                <a:gd name="connsiteX23" fmla="*/ 104775 w 1104900"/>
                <a:gd name="connsiteY23" fmla="*/ 609600 h 2133600"/>
                <a:gd name="connsiteX24" fmla="*/ 111125 w 1104900"/>
                <a:gd name="connsiteY24" fmla="*/ 631825 h 2133600"/>
                <a:gd name="connsiteX25" fmla="*/ 117475 w 1104900"/>
                <a:gd name="connsiteY25" fmla="*/ 641350 h 2133600"/>
                <a:gd name="connsiteX26" fmla="*/ 127000 w 1104900"/>
                <a:gd name="connsiteY26" fmla="*/ 650875 h 2133600"/>
                <a:gd name="connsiteX27" fmla="*/ 139700 w 1104900"/>
                <a:gd name="connsiteY27" fmla="*/ 654050 h 2133600"/>
                <a:gd name="connsiteX28" fmla="*/ 152400 w 1104900"/>
                <a:gd name="connsiteY28" fmla="*/ 676275 h 2133600"/>
                <a:gd name="connsiteX29" fmla="*/ 133350 w 1104900"/>
                <a:gd name="connsiteY29" fmla="*/ 688975 h 2133600"/>
                <a:gd name="connsiteX30" fmla="*/ 130175 w 1104900"/>
                <a:gd name="connsiteY30" fmla="*/ 698500 h 2133600"/>
                <a:gd name="connsiteX31" fmla="*/ 136525 w 1104900"/>
                <a:gd name="connsiteY31" fmla="*/ 733425 h 2133600"/>
                <a:gd name="connsiteX32" fmla="*/ 142875 w 1104900"/>
                <a:gd name="connsiteY32" fmla="*/ 742950 h 2133600"/>
                <a:gd name="connsiteX33" fmla="*/ 152400 w 1104900"/>
                <a:gd name="connsiteY33" fmla="*/ 746125 h 2133600"/>
                <a:gd name="connsiteX34" fmla="*/ 171450 w 1104900"/>
                <a:gd name="connsiteY34" fmla="*/ 765175 h 2133600"/>
                <a:gd name="connsiteX35" fmla="*/ 184150 w 1104900"/>
                <a:gd name="connsiteY35" fmla="*/ 784225 h 2133600"/>
                <a:gd name="connsiteX36" fmla="*/ 203200 w 1104900"/>
                <a:gd name="connsiteY36" fmla="*/ 800100 h 2133600"/>
                <a:gd name="connsiteX37" fmla="*/ 231775 w 1104900"/>
                <a:gd name="connsiteY37" fmla="*/ 825500 h 2133600"/>
                <a:gd name="connsiteX38" fmla="*/ 247650 w 1104900"/>
                <a:gd name="connsiteY38" fmla="*/ 844550 h 2133600"/>
                <a:gd name="connsiteX39" fmla="*/ 254000 w 1104900"/>
                <a:gd name="connsiteY39" fmla="*/ 854075 h 2133600"/>
                <a:gd name="connsiteX40" fmla="*/ 266700 w 1104900"/>
                <a:gd name="connsiteY40" fmla="*/ 860425 h 2133600"/>
                <a:gd name="connsiteX41" fmla="*/ 282575 w 1104900"/>
                <a:gd name="connsiteY41" fmla="*/ 873125 h 2133600"/>
                <a:gd name="connsiteX42" fmla="*/ 311150 w 1104900"/>
                <a:gd name="connsiteY42" fmla="*/ 889000 h 2133600"/>
                <a:gd name="connsiteX43" fmla="*/ 330200 w 1104900"/>
                <a:gd name="connsiteY43" fmla="*/ 908050 h 2133600"/>
                <a:gd name="connsiteX44" fmla="*/ 336550 w 1104900"/>
                <a:gd name="connsiteY44" fmla="*/ 927100 h 2133600"/>
                <a:gd name="connsiteX45" fmla="*/ 342900 w 1104900"/>
                <a:gd name="connsiteY45" fmla="*/ 952500 h 2133600"/>
                <a:gd name="connsiteX46" fmla="*/ 349250 w 1104900"/>
                <a:gd name="connsiteY46" fmla="*/ 962025 h 2133600"/>
                <a:gd name="connsiteX47" fmla="*/ 352425 w 1104900"/>
                <a:gd name="connsiteY47" fmla="*/ 971550 h 2133600"/>
                <a:gd name="connsiteX48" fmla="*/ 365125 w 1104900"/>
                <a:gd name="connsiteY48" fmla="*/ 990600 h 2133600"/>
                <a:gd name="connsiteX49" fmla="*/ 374650 w 1104900"/>
                <a:gd name="connsiteY49" fmla="*/ 1009650 h 2133600"/>
                <a:gd name="connsiteX50" fmla="*/ 403225 w 1104900"/>
                <a:gd name="connsiteY50" fmla="*/ 1031875 h 2133600"/>
                <a:gd name="connsiteX51" fmla="*/ 422275 w 1104900"/>
                <a:gd name="connsiteY51" fmla="*/ 1038225 h 2133600"/>
                <a:gd name="connsiteX52" fmla="*/ 431800 w 1104900"/>
                <a:gd name="connsiteY52" fmla="*/ 1041400 h 2133600"/>
                <a:gd name="connsiteX53" fmla="*/ 460375 w 1104900"/>
                <a:gd name="connsiteY53" fmla="*/ 1054100 h 2133600"/>
                <a:gd name="connsiteX54" fmla="*/ 469900 w 1104900"/>
                <a:gd name="connsiteY54" fmla="*/ 1057275 h 2133600"/>
                <a:gd name="connsiteX55" fmla="*/ 571500 w 1104900"/>
                <a:gd name="connsiteY55" fmla="*/ 1060450 h 2133600"/>
                <a:gd name="connsiteX56" fmla="*/ 581025 w 1104900"/>
                <a:gd name="connsiteY56" fmla="*/ 1063625 h 2133600"/>
                <a:gd name="connsiteX57" fmla="*/ 593725 w 1104900"/>
                <a:gd name="connsiteY57" fmla="*/ 1066800 h 2133600"/>
                <a:gd name="connsiteX58" fmla="*/ 615950 w 1104900"/>
                <a:gd name="connsiteY58" fmla="*/ 1082675 h 2133600"/>
                <a:gd name="connsiteX59" fmla="*/ 635000 w 1104900"/>
                <a:gd name="connsiteY59" fmla="*/ 1085850 h 2133600"/>
                <a:gd name="connsiteX60" fmla="*/ 679450 w 1104900"/>
                <a:gd name="connsiteY60" fmla="*/ 1146175 h 2133600"/>
                <a:gd name="connsiteX61" fmla="*/ 768350 w 1104900"/>
                <a:gd name="connsiteY61" fmla="*/ 1158875 h 2133600"/>
                <a:gd name="connsiteX62" fmla="*/ 781050 w 1104900"/>
                <a:gd name="connsiteY62" fmla="*/ 1168400 h 2133600"/>
                <a:gd name="connsiteX63" fmla="*/ 803275 w 1104900"/>
                <a:gd name="connsiteY63" fmla="*/ 1193800 h 2133600"/>
                <a:gd name="connsiteX64" fmla="*/ 809625 w 1104900"/>
                <a:gd name="connsiteY64" fmla="*/ 1212850 h 2133600"/>
                <a:gd name="connsiteX65" fmla="*/ 812800 w 1104900"/>
                <a:gd name="connsiteY65" fmla="*/ 1222375 h 2133600"/>
                <a:gd name="connsiteX66" fmla="*/ 819150 w 1104900"/>
                <a:gd name="connsiteY66" fmla="*/ 1231900 h 2133600"/>
                <a:gd name="connsiteX67" fmla="*/ 822325 w 1104900"/>
                <a:gd name="connsiteY67" fmla="*/ 1241425 h 2133600"/>
                <a:gd name="connsiteX68" fmla="*/ 841375 w 1104900"/>
                <a:gd name="connsiteY68" fmla="*/ 1257300 h 2133600"/>
                <a:gd name="connsiteX69" fmla="*/ 857250 w 1104900"/>
                <a:gd name="connsiteY69" fmla="*/ 1276350 h 2133600"/>
                <a:gd name="connsiteX70" fmla="*/ 869950 w 1104900"/>
                <a:gd name="connsiteY70" fmla="*/ 1295400 h 2133600"/>
                <a:gd name="connsiteX71" fmla="*/ 879475 w 1104900"/>
                <a:gd name="connsiteY71" fmla="*/ 1304925 h 2133600"/>
                <a:gd name="connsiteX72" fmla="*/ 892175 w 1104900"/>
                <a:gd name="connsiteY72" fmla="*/ 1323975 h 2133600"/>
                <a:gd name="connsiteX73" fmla="*/ 898525 w 1104900"/>
                <a:gd name="connsiteY73" fmla="*/ 1333500 h 2133600"/>
                <a:gd name="connsiteX74" fmla="*/ 920750 w 1104900"/>
                <a:gd name="connsiteY74" fmla="*/ 1349375 h 2133600"/>
                <a:gd name="connsiteX75" fmla="*/ 939800 w 1104900"/>
                <a:gd name="connsiteY75" fmla="*/ 1362075 h 2133600"/>
                <a:gd name="connsiteX76" fmla="*/ 946150 w 1104900"/>
                <a:gd name="connsiteY76" fmla="*/ 1371600 h 2133600"/>
                <a:gd name="connsiteX77" fmla="*/ 965200 w 1104900"/>
                <a:gd name="connsiteY77" fmla="*/ 1387475 h 2133600"/>
                <a:gd name="connsiteX78" fmla="*/ 968375 w 1104900"/>
                <a:gd name="connsiteY78" fmla="*/ 1416050 h 2133600"/>
                <a:gd name="connsiteX79" fmla="*/ 984250 w 1104900"/>
                <a:gd name="connsiteY79" fmla="*/ 1444625 h 2133600"/>
                <a:gd name="connsiteX80" fmla="*/ 1000125 w 1104900"/>
                <a:gd name="connsiteY80" fmla="*/ 1460500 h 2133600"/>
                <a:gd name="connsiteX81" fmla="*/ 1003300 w 1104900"/>
                <a:gd name="connsiteY81" fmla="*/ 1470025 h 2133600"/>
                <a:gd name="connsiteX82" fmla="*/ 1016000 w 1104900"/>
                <a:gd name="connsiteY82" fmla="*/ 1489075 h 2133600"/>
                <a:gd name="connsiteX83" fmla="*/ 1019175 w 1104900"/>
                <a:gd name="connsiteY83" fmla="*/ 1498600 h 2133600"/>
                <a:gd name="connsiteX84" fmla="*/ 1031875 w 1104900"/>
                <a:gd name="connsiteY84" fmla="*/ 1517650 h 2133600"/>
                <a:gd name="connsiteX85" fmla="*/ 1038225 w 1104900"/>
                <a:gd name="connsiteY85" fmla="*/ 1527175 h 2133600"/>
                <a:gd name="connsiteX86" fmla="*/ 1050925 w 1104900"/>
                <a:gd name="connsiteY86" fmla="*/ 1546225 h 2133600"/>
                <a:gd name="connsiteX87" fmla="*/ 1057275 w 1104900"/>
                <a:gd name="connsiteY87" fmla="*/ 1555750 h 2133600"/>
                <a:gd name="connsiteX88" fmla="*/ 1054100 w 1104900"/>
                <a:gd name="connsiteY88" fmla="*/ 1568450 h 2133600"/>
                <a:gd name="connsiteX89" fmla="*/ 1044575 w 1104900"/>
                <a:gd name="connsiteY89" fmla="*/ 1571625 h 2133600"/>
                <a:gd name="connsiteX90" fmla="*/ 1022350 w 1104900"/>
                <a:gd name="connsiteY90" fmla="*/ 1574800 h 2133600"/>
                <a:gd name="connsiteX91" fmla="*/ 1022350 w 1104900"/>
                <a:gd name="connsiteY91" fmla="*/ 1609725 h 2133600"/>
                <a:gd name="connsiteX92" fmla="*/ 1025525 w 1104900"/>
                <a:gd name="connsiteY92" fmla="*/ 1625600 h 2133600"/>
                <a:gd name="connsiteX93" fmla="*/ 1047750 w 1104900"/>
                <a:gd name="connsiteY93" fmla="*/ 1654175 h 2133600"/>
                <a:gd name="connsiteX94" fmla="*/ 1057275 w 1104900"/>
                <a:gd name="connsiteY94" fmla="*/ 1660525 h 2133600"/>
                <a:gd name="connsiteX95" fmla="*/ 1076325 w 1104900"/>
                <a:gd name="connsiteY95" fmla="*/ 1666875 h 2133600"/>
                <a:gd name="connsiteX96" fmla="*/ 1095375 w 1104900"/>
                <a:gd name="connsiteY96" fmla="*/ 1676400 h 2133600"/>
                <a:gd name="connsiteX97" fmla="*/ 1104900 w 1104900"/>
                <a:gd name="connsiteY97" fmla="*/ 1682750 h 2133600"/>
                <a:gd name="connsiteX98" fmla="*/ 1101725 w 1104900"/>
                <a:gd name="connsiteY98" fmla="*/ 1692275 h 2133600"/>
                <a:gd name="connsiteX99" fmla="*/ 1092200 w 1104900"/>
                <a:gd name="connsiteY99" fmla="*/ 1695450 h 2133600"/>
                <a:gd name="connsiteX100" fmla="*/ 1076325 w 1104900"/>
                <a:gd name="connsiteY100" fmla="*/ 1698625 h 2133600"/>
                <a:gd name="connsiteX101" fmla="*/ 1047750 w 1104900"/>
                <a:gd name="connsiteY101" fmla="*/ 1711325 h 2133600"/>
                <a:gd name="connsiteX102" fmla="*/ 1028700 w 1104900"/>
                <a:gd name="connsiteY102" fmla="*/ 1720850 h 2133600"/>
                <a:gd name="connsiteX103" fmla="*/ 1016000 w 1104900"/>
                <a:gd name="connsiteY103" fmla="*/ 1743075 h 2133600"/>
                <a:gd name="connsiteX104" fmla="*/ 1012825 w 1104900"/>
                <a:gd name="connsiteY104" fmla="*/ 1787525 h 2133600"/>
                <a:gd name="connsiteX105" fmla="*/ 1006475 w 1104900"/>
                <a:gd name="connsiteY105" fmla="*/ 1816100 h 2133600"/>
                <a:gd name="connsiteX106" fmla="*/ 993775 w 1104900"/>
                <a:gd name="connsiteY106" fmla="*/ 1835150 h 2133600"/>
                <a:gd name="connsiteX107" fmla="*/ 990600 w 1104900"/>
                <a:gd name="connsiteY107" fmla="*/ 1844675 h 2133600"/>
                <a:gd name="connsiteX108" fmla="*/ 974725 w 1104900"/>
                <a:gd name="connsiteY108" fmla="*/ 1863725 h 2133600"/>
                <a:gd name="connsiteX109" fmla="*/ 946150 w 1104900"/>
                <a:gd name="connsiteY109" fmla="*/ 1879600 h 2133600"/>
                <a:gd name="connsiteX110" fmla="*/ 873125 w 1104900"/>
                <a:gd name="connsiteY110" fmla="*/ 1882775 h 2133600"/>
                <a:gd name="connsiteX111" fmla="*/ 841375 w 1104900"/>
                <a:gd name="connsiteY111" fmla="*/ 1892300 h 2133600"/>
                <a:gd name="connsiteX112" fmla="*/ 831850 w 1104900"/>
                <a:gd name="connsiteY112" fmla="*/ 1898650 h 2133600"/>
                <a:gd name="connsiteX113" fmla="*/ 809625 w 1104900"/>
                <a:gd name="connsiteY113" fmla="*/ 1927225 h 2133600"/>
                <a:gd name="connsiteX114" fmla="*/ 803275 w 1104900"/>
                <a:gd name="connsiteY114" fmla="*/ 1936750 h 2133600"/>
                <a:gd name="connsiteX115" fmla="*/ 784225 w 1104900"/>
                <a:gd name="connsiteY115" fmla="*/ 1946275 h 2133600"/>
                <a:gd name="connsiteX116" fmla="*/ 777875 w 1104900"/>
                <a:gd name="connsiteY116" fmla="*/ 1965325 h 2133600"/>
                <a:gd name="connsiteX117" fmla="*/ 774700 w 1104900"/>
                <a:gd name="connsiteY117" fmla="*/ 1974850 h 2133600"/>
                <a:gd name="connsiteX118" fmla="*/ 762000 w 1104900"/>
                <a:gd name="connsiteY118" fmla="*/ 1993900 h 2133600"/>
                <a:gd name="connsiteX119" fmla="*/ 755650 w 1104900"/>
                <a:gd name="connsiteY119" fmla="*/ 2003425 h 2133600"/>
                <a:gd name="connsiteX120" fmla="*/ 727075 w 1104900"/>
                <a:gd name="connsiteY120" fmla="*/ 2022475 h 2133600"/>
                <a:gd name="connsiteX121" fmla="*/ 717550 w 1104900"/>
                <a:gd name="connsiteY121" fmla="*/ 2028825 h 2133600"/>
                <a:gd name="connsiteX122" fmla="*/ 708025 w 1104900"/>
                <a:gd name="connsiteY122" fmla="*/ 2032000 h 2133600"/>
                <a:gd name="connsiteX123" fmla="*/ 692150 w 1104900"/>
                <a:gd name="connsiteY123" fmla="*/ 2047875 h 2133600"/>
                <a:gd name="connsiteX124" fmla="*/ 682625 w 1104900"/>
                <a:gd name="connsiteY124" fmla="*/ 2057400 h 2133600"/>
                <a:gd name="connsiteX125" fmla="*/ 673100 w 1104900"/>
                <a:gd name="connsiteY125" fmla="*/ 2060575 h 2133600"/>
                <a:gd name="connsiteX126" fmla="*/ 654050 w 1104900"/>
                <a:gd name="connsiteY126" fmla="*/ 2070100 h 2133600"/>
                <a:gd name="connsiteX127" fmla="*/ 635000 w 1104900"/>
                <a:gd name="connsiteY127" fmla="*/ 2085975 h 2133600"/>
                <a:gd name="connsiteX128" fmla="*/ 612775 w 1104900"/>
                <a:gd name="connsiteY128" fmla="*/ 2092325 h 2133600"/>
                <a:gd name="connsiteX129" fmla="*/ 593725 w 1104900"/>
                <a:gd name="connsiteY129" fmla="*/ 2101850 h 2133600"/>
                <a:gd name="connsiteX130" fmla="*/ 584200 w 1104900"/>
                <a:gd name="connsiteY130" fmla="*/ 2108200 h 2133600"/>
                <a:gd name="connsiteX131" fmla="*/ 571500 w 1104900"/>
                <a:gd name="connsiteY131" fmla="*/ 2114550 h 2133600"/>
                <a:gd name="connsiteX132" fmla="*/ 552450 w 1104900"/>
                <a:gd name="connsiteY132" fmla="*/ 2127250 h 2133600"/>
                <a:gd name="connsiteX133" fmla="*/ 530225 w 1104900"/>
                <a:gd name="connsiteY133" fmla="*/ 2133600 h 2133600"/>
                <a:gd name="connsiteX134" fmla="*/ 479425 w 1104900"/>
                <a:gd name="connsiteY134" fmla="*/ 2127250 h 2133600"/>
                <a:gd name="connsiteX135" fmla="*/ 457200 w 1104900"/>
                <a:gd name="connsiteY135" fmla="*/ 2111375 h 2133600"/>
                <a:gd name="connsiteX136" fmla="*/ 438150 w 1104900"/>
                <a:gd name="connsiteY136" fmla="*/ 2098675 h 2133600"/>
                <a:gd name="connsiteX137" fmla="*/ 415925 w 1104900"/>
                <a:gd name="connsiteY137" fmla="*/ 2092325 h 2133600"/>
                <a:gd name="connsiteX138" fmla="*/ 396875 w 1104900"/>
                <a:gd name="connsiteY138" fmla="*/ 2085975 h 2133600"/>
                <a:gd name="connsiteX139" fmla="*/ 390525 w 1104900"/>
                <a:gd name="connsiteY139" fmla="*/ 2076450 h 2133600"/>
                <a:gd name="connsiteX140" fmla="*/ 361950 w 1104900"/>
                <a:gd name="connsiteY140" fmla="*/ 2066925 h 2133600"/>
                <a:gd name="connsiteX141" fmla="*/ 352425 w 1104900"/>
                <a:gd name="connsiteY141" fmla="*/ 2063750 h 2133600"/>
                <a:gd name="connsiteX142" fmla="*/ 342900 w 1104900"/>
                <a:gd name="connsiteY142" fmla="*/ 2057400 h 2133600"/>
                <a:gd name="connsiteX143" fmla="*/ 314325 w 1104900"/>
                <a:gd name="connsiteY143" fmla="*/ 2054225 h 2133600"/>
                <a:gd name="connsiteX144" fmla="*/ 304800 w 1104900"/>
                <a:gd name="connsiteY144" fmla="*/ 2051050 h 2133600"/>
                <a:gd name="connsiteX145" fmla="*/ 250825 w 1104900"/>
                <a:gd name="connsiteY145" fmla="*/ 2054225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104900" h="2133600">
                  <a:moveTo>
                    <a:pt x="0" y="0"/>
                  </a:moveTo>
                  <a:lnTo>
                    <a:pt x="0" y="0"/>
                  </a:lnTo>
                  <a:cubicBezTo>
                    <a:pt x="3175" y="8467"/>
                    <a:pt x="7041" y="16706"/>
                    <a:pt x="9525" y="25400"/>
                  </a:cubicBezTo>
                  <a:cubicBezTo>
                    <a:pt x="11294" y="31590"/>
                    <a:pt x="11437" y="38137"/>
                    <a:pt x="12700" y="44450"/>
                  </a:cubicBezTo>
                  <a:cubicBezTo>
                    <a:pt x="13556" y="48729"/>
                    <a:pt x="14817" y="52917"/>
                    <a:pt x="15875" y="57150"/>
                  </a:cubicBezTo>
                  <a:cubicBezTo>
                    <a:pt x="16832" y="72458"/>
                    <a:pt x="17255" y="107119"/>
                    <a:pt x="22225" y="127000"/>
                  </a:cubicBezTo>
                  <a:cubicBezTo>
                    <a:pt x="23848" y="133494"/>
                    <a:pt x="24862" y="140481"/>
                    <a:pt x="28575" y="146050"/>
                  </a:cubicBezTo>
                  <a:cubicBezTo>
                    <a:pt x="56765" y="188335"/>
                    <a:pt x="16192" y="125665"/>
                    <a:pt x="38100" y="165100"/>
                  </a:cubicBezTo>
                  <a:cubicBezTo>
                    <a:pt x="41806" y="171771"/>
                    <a:pt x="46567" y="177800"/>
                    <a:pt x="50800" y="184150"/>
                  </a:cubicBezTo>
                  <a:lnTo>
                    <a:pt x="57150" y="193675"/>
                  </a:lnTo>
                  <a:cubicBezTo>
                    <a:pt x="58925" y="200774"/>
                    <a:pt x="63583" y="220787"/>
                    <a:pt x="66675" y="225425"/>
                  </a:cubicBezTo>
                  <a:lnTo>
                    <a:pt x="73025" y="234950"/>
                  </a:lnTo>
                  <a:cubicBezTo>
                    <a:pt x="77628" y="267172"/>
                    <a:pt x="78869" y="265120"/>
                    <a:pt x="73025" y="307975"/>
                  </a:cubicBezTo>
                  <a:cubicBezTo>
                    <a:pt x="72121" y="314607"/>
                    <a:pt x="67988" y="320461"/>
                    <a:pt x="66675" y="327025"/>
                  </a:cubicBezTo>
                  <a:lnTo>
                    <a:pt x="60325" y="358775"/>
                  </a:lnTo>
                  <a:cubicBezTo>
                    <a:pt x="61383" y="376767"/>
                    <a:pt x="61791" y="394808"/>
                    <a:pt x="63500" y="412750"/>
                  </a:cubicBezTo>
                  <a:cubicBezTo>
                    <a:pt x="64652" y="424851"/>
                    <a:pt x="67469" y="424260"/>
                    <a:pt x="69850" y="434975"/>
                  </a:cubicBezTo>
                  <a:cubicBezTo>
                    <a:pt x="71612" y="442905"/>
                    <a:pt x="75187" y="469160"/>
                    <a:pt x="76200" y="476250"/>
                  </a:cubicBezTo>
                  <a:cubicBezTo>
                    <a:pt x="77258" y="496358"/>
                    <a:pt x="76976" y="516582"/>
                    <a:pt x="79375" y="536575"/>
                  </a:cubicBezTo>
                  <a:cubicBezTo>
                    <a:pt x="80172" y="543221"/>
                    <a:pt x="84102" y="549131"/>
                    <a:pt x="85725" y="555625"/>
                  </a:cubicBezTo>
                  <a:cubicBezTo>
                    <a:pt x="86783" y="559858"/>
                    <a:pt x="87646" y="564145"/>
                    <a:pt x="88900" y="568325"/>
                  </a:cubicBezTo>
                  <a:cubicBezTo>
                    <a:pt x="90823" y="574736"/>
                    <a:pt x="93627" y="580881"/>
                    <a:pt x="95250" y="587375"/>
                  </a:cubicBezTo>
                  <a:cubicBezTo>
                    <a:pt x="96308" y="591608"/>
                    <a:pt x="96706" y="596064"/>
                    <a:pt x="98425" y="600075"/>
                  </a:cubicBezTo>
                  <a:cubicBezTo>
                    <a:pt x="99928" y="603582"/>
                    <a:pt x="102658" y="606425"/>
                    <a:pt x="104775" y="609600"/>
                  </a:cubicBezTo>
                  <a:cubicBezTo>
                    <a:pt x="105792" y="613669"/>
                    <a:pt x="108848" y="627270"/>
                    <a:pt x="111125" y="631825"/>
                  </a:cubicBezTo>
                  <a:cubicBezTo>
                    <a:pt x="112832" y="635238"/>
                    <a:pt x="115032" y="638419"/>
                    <a:pt x="117475" y="641350"/>
                  </a:cubicBezTo>
                  <a:cubicBezTo>
                    <a:pt x="120350" y="644799"/>
                    <a:pt x="123101" y="648647"/>
                    <a:pt x="127000" y="650875"/>
                  </a:cubicBezTo>
                  <a:cubicBezTo>
                    <a:pt x="130789" y="653040"/>
                    <a:pt x="135467" y="652992"/>
                    <a:pt x="139700" y="654050"/>
                  </a:cubicBezTo>
                  <a:cubicBezTo>
                    <a:pt x="142860" y="657210"/>
                    <a:pt x="157320" y="668403"/>
                    <a:pt x="152400" y="676275"/>
                  </a:cubicBezTo>
                  <a:cubicBezTo>
                    <a:pt x="148355" y="682747"/>
                    <a:pt x="133350" y="688975"/>
                    <a:pt x="133350" y="688975"/>
                  </a:cubicBezTo>
                  <a:cubicBezTo>
                    <a:pt x="132292" y="692150"/>
                    <a:pt x="130175" y="695153"/>
                    <a:pt x="130175" y="698500"/>
                  </a:cubicBezTo>
                  <a:cubicBezTo>
                    <a:pt x="130175" y="705067"/>
                    <a:pt x="132060" y="724495"/>
                    <a:pt x="136525" y="733425"/>
                  </a:cubicBezTo>
                  <a:cubicBezTo>
                    <a:pt x="138232" y="736838"/>
                    <a:pt x="139895" y="740566"/>
                    <a:pt x="142875" y="742950"/>
                  </a:cubicBezTo>
                  <a:cubicBezTo>
                    <a:pt x="145488" y="745041"/>
                    <a:pt x="149225" y="745067"/>
                    <a:pt x="152400" y="746125"/>
                  </a:cubicBezTo>
                  <a:cubicBezTo>
                    <a:pt x="158750" y="752475"/>
                    <a:pt x="166469" y="757703"/>
                    <a:pt x="171450" y="765175"/>
                  </a:cubicBezTo>
                  <a:cubicBezTo>
                    <a:pt x="175683" y="771525"/>
                    <a:pt x="177800" y="779992"/>
                    <a:pt x="184150" y="784225"/>
                  </a:cubicBezTo>
                  <a:cubicBezTo>
                    <a:pt x="207799" y="799991"/>
                    <a:pt x="178754" y="779728"/>
                    <a:pt x="203200" y="800100"/>
                  </a:cubicBezTo>
                  <a:cubicBezTo>
                    <a:pt x="217515" y="812029"/>
                    <a:pt x="216338" y="802344"/>
                    <a:pt x="231775" y="825500"/>
                  </a:cubicBezTo>
                  <a:cubicBezTo>
                    <a:pt x="247541" y="849149"/>
                    <a:pt x="227278" y="820104"/>
                    <a:pt x="247650" y="844550"/>
                  </a:cubicBezTo>
                  <a:cubicBezTo>
                    <a:pt x="250093" y="847481"/>
                    <a:pt x="251069" y="851632"/>
                    <a:pt x="254000" y="854075"/>
                  </a:cubicBezTo>
                  <a:cubicBezTo>
                    <a:pt x="257636" y="857105"/>
                    <a:pt x="262467" y="858308"/>
                    <a:pt x="266700" y="860425"/>
                  </a:cubicBezTo>
                  <a:cubicBezTo>
                    <a:pt x="278433" y="878024"/>
                    <a:pt x="266337" y="864104"/>
                    <a:pt x="282575" y="873125"/>
                  </a:cubicBezTo>
                  <a:cubicBezTo>
                    <a:pt x="315327" y="891321"/>
                    <a:pt x="289597" y="881816"/>
                    <a:pt x="311150" y="889000"/>
                  </a:cubicBezTo>
                  <a:cubicBezTo>
                    <a:pt x="317500" y="895350"/>
                    <a:pt x="327360" y="899531"/>
                    <a:pt x="330200" y="908050"/>
                  </a:cubicBezTo>
                  <a:cubicBezTo>
                    <a:pt x="332317" y="914400"/>
                    <a:pt x="335237" y="920536"/>
                    <a:pt x="336550" y="927100"/>
                  </a:cubicBezTo>
                  <a:cubicBezTo>
                    <a:pt x="337758" y="933138"/>
                    <a:pt x="339646" y="945991"/>
                    <a:pt x="342900" y="952500"/>
                  </a:cubicBezTo>
                  <a:cubicBezTo>
                    <a:pt x="344607" y="955913"/>
                    <a:pt x="347543" y="958612"/>
                    <a:pt x="349250" y="962025"/>
                  </a:cubicBezTo>
                  <a:cubicBezTo>
                    <a:pt x="350747" y="965018"/>
                    <a:pt x="350800" y="968624"/>
                    <a:pt x="352425" y="971550"/>
                  </a:cubicBezTo>
                  <a:cubicBezTo>
                    <a:pt x="356131" y="978221"/>
                    <a:pt x="362712" y="983360"/>
                    <a:pt x="365125" y="990600"/>
                  </a:cubicBezTo>
                  <a:cubicBezTo>
                    <a:pt x="368307" y="1000146"/>
                    <a:pt x="367811" y="1001444"/>
                    <a:pt x="374650" y="1009650"/>
                  </a:cubicBezTo>
                  <a:cubicBezTo>
                    <a:pt x="380972" y="1017236"/>
                    <a:pt x="395056" y="1029152"/>
                    <a:pt x="403225" y="1031875"/>
                  </a:cubicBezTo>
                  <a:lnTo>
                    <a:pt x="422275" y="1038225"/>
                  </a:lnTo>
                  <a:cubicBezTo>
                    <a:pt x="425450" y="1039283"/>
                    <a:pt x="429015" y="1039544"/>
                    <a:pt x="431800" y="1041400"/>
                  </a:cubicBezTo>
                  <a:cubicBezTo>
                    <a:pt x="446894" y="1051463"/>
                    <a:pt x="437705" y="1046543"/>
                    <a:pt x="460375" y="1054100"/>
                  </a:cubicBezTo>
                  <a:cubicBezTo>
                    <a:pt x="463550" y="1055158"/>
                    <a:pt x="466555" y="1057170"/>
                    <a:pt x="469900" y="1057275"/>
                  </a:cubicBezTo>
                  <a:lnTo>
                    <a:pt x="571500" y="1060450"/>
                  </a:lnTo>
                  <a:cubicBezTo>
                    <a:pt x="574675" y="1061508"/>
                    <a:pt x="577807" y="1062706"/>
                    <a:pt x="581025" y="1063625"/>
                  </a:cubicBezTo>
                  <a:cubicBezTo>
                    <a:pt x="585221" y="1064824"/>
                    <a:pt x="589714" y="1065081"/>
                    <a:pt x="593725" y="1066800"/>
                  </a:cubicBezTo>
                  <a:cubicBezTo>
                    <a:pt x="598639" y="1068906"/>
                    <a:pt x="612697" y="1080816"/>
                    <a:pt x="615950" y="1082675"/>
                  </a:cubicBezTo>
                  <a:cubicBezTo>
                    <a:pt x="623263" y="1086854"/>
                    <a:pt x="627084" y="1085850"/>
                    <a:pt x="635000" y="1085850"/>
                  </a:cubicBezTo>
                  <a:lnTo>
                    <a:pt x="679450" y="1146175"/>
                  </a:lnTo>
                  <a:cubicBezTo>
                    <a:pt x="738425" y="1158812"/>
                    <a:pt x="708785" y="1154620"/>
                    <a:pt x="768350" y="1158875"/>
                  </a:cubicBezTo>
                  <a:cubicBezTo>
                    <a:pt x="772583" y="1162050"/>
                    <a:pt x="777534" y="1164445"/>
                    <a:pt x="781050" y="1168400"/>
                  </a:cubicBezTo>
                  <a:cubicBezTo>
                    <a:pt x="807989" y="1198707"/>
                    <a:pt x="781339" y="1179176"/>
                    <a:pt x="803275" y="1193800"/>
                  </a:cubicBezTo>
                  <a:lnTo>
                    <a:pt x="809625" y="1212850"/>
                  </a:lnTo>
                  <a:cubicBezTo>
                    <a:pt x="810683" y="1216025"/>
                    <a:pt x="810944" y="1219590"/>
                    <a:pt x="812800" y="1222375"/>
                  </a:cubicBezTo>
                  <a:cubicBezTo>
                    <a:pt x="814917" y="1225550"/>
                    <a:pt x="817443" y="1228487"/>
                    <a:pt x="819150" y="1231900"/>
                  </a:cubicBezTo>
                  <a:cubicBezTo>
                    <a:pt x="820647" y="1234893"/>
                    <a:pt x="820469" y="1238640"/>
                    <a:pt x="822325" y="1241425"/>
                  </a:cubicBezTo>
                  <a:cubicBezTo>
                    <a:pt x="827214" y="1248759"/>
                    <a:pt x="834347" y="1252614"/>
                    <a:pt x="841375" y="1257300"/>
                  </a:cubicBezTo>
                  <a:cubicBezTo>
                    <a:pt x="864066" y="1291337"/>
                    <a:pt x="828729" y="1239680"/>
                    <a:pt x="857250" y="1276350"/>
                  </a:cubicBezTo>
                  <a:cubicBezTo>
                    <a:pt x="861935" y="1282374"/>
                    <a:pt x="864554" y="1290004"/>
                    <a:pt x="869950" y="1295400"/>
                  </a:cubicBezTo>
                  <a:cubicBezTo>
                    <a:pt x="873125" y="1298575"/>
                    <a:pt x="876718" y="1301381"/>
                    <a:pt x="879475" y="1304925"/>
                  </a:cubicBezTo>
                  <a:cubicBezTo>
                    <a:pt x="884160" y="1310949"/>
                    <a:pt x="887942" y="1317625"/>
                    <a:pt x="892175" y="1323975"/>
                  </a:cubicBezTo>
                  <a:cubicBezTo>
                    <a:pt x="894292" y="1327150"/>
                    <a:pt x="895350" y="1331383"/>
                    <a:pt x="898525" y="1333500"/>
                  </a:cubicBezTo>
                  <a:cubicBezTo>
                    <a:pt x="929492" y="1354145"/>
                    <a:pt x="881368" y="1321808"/>
                    <a:pt x="920750" y="1349375"/>
                  </a:cubicBezTo>
                  <a:cubicBezTo>
                    <a:pt x="927002" y="1353752"/>
                    <a:pt x="939800" y="1362075"/>
                    <a:pt x="939800" y="1362075"/>
                  </a:cubicBezTo>
                  <a:cubicBezTo>
                    <a:pt x="941917" y="1365250"/>
                    <a:pt x="943707" y="1368669"/>
                    <a:pt x="946150" y="1371600"/>
                  </a:cubicBezTo>
                  <a:cubicBezTo>
                    <a:pt x="953790" y="1380767"/>
                    <a:pt x="955834" y="1381231"/>
                    <a:pt x="965200" y="1387475"/>
                  </a:cubicBezTo>
                  <a:cubicBezTo>
                    <a:pt x="966258" y="1397000"/>
                    <a:pt x="966799" y="1406597"/>
                    <a:pt x="968375" y="1416050"/>
                  </a:cubicBezTo>
                  <a:cubicBezTo>
                    <a:pt x="970238" y="1427227"/>
                    <a:pt x="978189" y="1435534"/>
                    <a:pt x="984250" y="1444625"/>
                  </a:cubicBezTo>
                  <a:cubicBezTo>
                    <a:pt x="992717" y="1457325"/>
                    <a:pt x="987425" y="1452033"/>
                    <a:pt x="1000125" y="1460500"/>
                  </a:cubicBezTo>
                  <a:cubicBezTo>
                    <a:pt x="1001183" y="1463675"/>
                    <a:pt x="1001675" y="1467099"/>
                    <a:pt x="1003300" y="1470025"/>
                  </a:cubicBezTo>
                  <a:cubicBezTo>
                    <a:pt x="1007006" y="1476696"/>
                    <a:pt x="1013587" y="1481835"/>
                    <a:pt x="1016000" y="1489075"/>
                  </a:cubicBezTo>
                  <a:cubicBezTo>
                    <a:pt x="1017058" y="1492250"/>
                    <a:pt x="1017550" y="1495674"/>
                    <a:pt x="1019175" y="1498600"/>
                  </a:cubicBezTo>
                  <a:cubicBezTo>
                    <a:pt x="1022881" y="1505271"/>
                    <a:pt x="1027642" y="1511300"/>
                    <a:pt x="1031875" y="1517650"/>
                  </a:cubicBezTo>
                  <a:lnTo>
                    <a:pt x="1038225" y="1527175"/>
                  </a:lnTo>
                  <a:lnTo>
                    <a:pt x="1050925" y="1546225"/>
                  </a:lnTo>
                  <a:lnTo>
                    <a:pt x="1057275" y="1555750"/>
                  </a:lnTo>
                  <a:cubicBezTo>
                    <a:pt x="1056217" y="1559983"/>
                    <a:pt x="1056826" y="1565043"/>
                    <a:pt x="1054100" y="1568450"/>
                  </a:cubicBezTo>
                  <a:cubicBezTo>
                    <a:pt x="1052009" y="1571063"/>
                    <a:pt x="1047857" y="1570969"/>
                    <a:pt x="1044575" y="1571625"/>
                  </a:cubicBezTo>
                  <a:cubicBezTo>
                    <a:pt x="1037237" y="1573093"/>
                    <a:pt x="1029758" y="1573742"/>
                    <a:pt x="1022350" y="1574800"/>
                  </a:cubicBezTo>
                  <a:cubicBezTo>
                    <a:pt x="1016699" y="1591753"/>
                    <a:pt x="1018193" y="1582705"/>
                    <a:pt x="1022350" y="1609725"/>
                  </a:cubicBezTo>
                  <a:cubicBezTo>
                    <a:pt x="1023171" y="1615059"/>
                    <a:pt x="1023292" y="1620687"/>
                    <a:pt x="1025525" y="1625600"/>
                  </a:cubicBezTo>
                  <a:cubicBezTo>
                    <a:pt x="1029842" y="1635098"/>
                    <a:pt x="1039226" y="1647072"/>
                    <a:pt x="1047750" y="1654175"/>
                  </a:cubicBezTo>
                  <a:cubicBezTo>
                    <a:pt x="1050681" y="1656618"/>
                    <a:pt x="1053788" y="1658975"/>
                    <a:pt x="1057275" y="1660525"/>
                  </a:cubicBezTo>
                  <a:cubicBezTo>
                    <a:pt x="1063392" y="1663243"/>
                    <a:pt x="1070756" y="1663162"/>
                    <a:pt x="1076325" y="1666875"/>
                  </a:cubicBezTo>
                  <a:cubicBezTo>
                    <a:pt x="1103622" y="1685073"/>
                    <a:pt x="1069085" y="1663255"/>
                    <a:pt x="1095375" y="1676400"/>
                  </a:cubicBezTo>
                  <a:cubicBezTo>
                    <a:pt x="1098788" y="1678107"/>
                    <a:pt x="1101725" y="1680633"/>
                    <a:pt x="1104900" y="1682750"/>
                  </a:cubicBezTo>
                  <a:cubicBezTo>
                    <a:pt x="1103842" y="1685925"/>
                    <a:pt x="1104092" y="1689908"/>
                    <a:pt x="1101725" y="1692275"/>
                  </a:cubicBezTo>
                  <a:cubicBezTo>
                    <a:pt x="1099358" y="1694642"/>
                    <a:pt x="1095447" y="1694638"/>
                    <a:pt x="1092200" y="1695450"/>
                  </a:cubicBezTo>
                  <a:cubicBezTo>
                    <a:pt x="1086965" y="1696759"/>
                    <a:pt x="1081531" y="1697205"/>
                    <a:pt x="1076325" y="1698625"/>
                  </a:cubicBezTo>
                  <a:cubicBezTo>
                    <a:pt x="1040284" y="1708454"/>
                    <a:pt x="1070467" y="1699966"/>
                    <a:pt x="1047750" y="1711325"/>
                  </a:cubicBezTo>
                  <a:cubicBezTo>
                    <a:pt x="1021460" y="1724470"/>
                    <a:pt x="1055997" y="1702652"/>
                    <a:pt x="1028700" y="1720850"/>
                  </a:cubicBezTo>
                  <a:cubicBezTo>
                    <a:pt x="1025498" y="1725653"/>
                    <a:pt x="1016895" y="1737704"/>
                    <a:pt x="1016000" y="1743075"/>
                  </a:cubicBezTo>
                  <a:cubicBezTo>
                    <a:pt x="1013558" y="1757727"/>
                    <a:pt x="1014303" y="1772744"/>
                    <a:pt x="1012825" y="1787525"/>
                  </a:cubicBezTo>
                  <a:cubicBezTo>
                    <a:pt x="1012384" y="1791937"/>
                    <a:pt x="1009978" y="1809794"/>
                    <a:pt x="1006475" y="1816100"/>
                  </a:cubicBezTo>
                  <a:cubicBezTo>
                    <a:pt x="1002769" y="1822771"/>
                    <a:pt x="996188" y="1827910"/>
                    <a:pt x="993775" y="1835150"/>
                  </a:cubicBezTo>
                  <a:cubicBezTo>
                    <a:pt x="992717" y="1838325"/>
                    <a:pt x="992097" y="1841682"/>
                    <a:pt x="990600" y="1844675"/>
                  </a:cubicBezTo>
                  <a:cubicBezTo>
                    <a:pt x="987265" y="1851346"/>
                    <a:pt x="980470" y="1859257"/>
                    <a:pt x="974725" y="1863725"/>
                  </a:cubicBezTo>
                  <a:cubicBezTo>
                    <a:pt x="970339" y="1867137"/>
                    <a:pt x="955264" y="1878899"/>
                    <a:pt x="946150" y="1879600"/>
                  </a:cubicBezTo>
                  <a:cubicBezTo>
                    <a:pt x="921857" y="1881469"/>
                    <a:pt x="897467" y="1881717"/>
                    <a:pt x="873125" y="1882775"/>
                  </a:cubicBezTo>
                  <a:cubicBezTo>
                    <a:pt x="866026" y="1884550"/>
                    <a:pt x="846013" y="1889208"/>
                    <a:pt x="841375" y="1892300"/>
                  </a:cubicBezTo>
                  <a:cubicBezTo>
                    <a:pt x="838200" y="1894417"/>
                    <a:pt x="834781" y="1896207"/>
                    <a:pt x="831850" y="1898650"/>
                  </a:cubicBezTo>
                  <a:cubicBezTo>
                    <a:pt x="820659" y="1907976"/>
                    <a:pt x="818475" y="1913950"/>
                    <a:pt x="809625" y="1927225"/>
                  </a:cubicBezTo>
                  <a:cubicBezTo>
                    <a:pt x="807508" y="1930400"/>
                    <a:pt x="806895" y="1935543"/>
                    <a:pt x="803275" y="1936750"/>
                  </a:cubicBezTo>
                  <a:cubicBezTo>
                    <a:pt x="790130" y="1941132"/>
                    <a:pt x="796535" y="1938069"/>
                    <a:pt x="784225" y="1946275"/>
                  </a:cubicBezTo>
                  <a:lnTo>
                    <a:pt x="777875" y="1965325"/>
                  </a:lnTo>
                  <a:cubicBezTo>
                    <a:pt x="776817" y="1968500"/>
                    <a:pt x="776556" y="1972065"/>
                    <a:pt x="774700" y="1974850"/>
                  </a:cubicBezTo>
                  <a:lnTo>
                    <a:pt x="762000" y="1993900"/>
                  </a:lnTo>
                  <a:cubicBezTo>
                    <a:pt x="759883" y="1997075"/>
                    <a:pt x="758825" y="2001308"/>
                    <a:pt x="755650" y="2003425"/>
                  </a:cubicBezTo>
                  <a:lnTo>
                    <a:pt x="727075" y="2022475"/>
                  </a:lnTo>
                  <a:cubicBezTo>
                    <a:pt x="723900" y="2024592"/>
                    <a:pt x="721170" y="2027618"/>
                    <a:pt x="717550" y="2028825"/>
                  </a:cubicBezTo>
                  <a:lnTo>
                    <a:pt x="708025" y="2032000"/>
                  </a:lnTo>
                  <a:cubicBezTo>
                    <a:pt x="696383" y="2049463"/>
                    <a:pt x="708025" y="2034646"/>
                    <a:pt x="692150" y="2047875"/>
                  </a:cubicBezTo>
                  <a:cubicBezTo>
                    <a:pt x="688701" y="2050750"/>
                    <a:pt x="686361" y="2054909"/>
                    <a:pt x="682625" y="2057400"/>
                  </a:cubicBezTo>
                  <a:cubicBezTo>
                    <a:pt x="679840" y="2059256"/>
                    <a:pt x="676093" y="2059078"/>
                    <a:pt x="673100" y="2060575"/>
                  </a:cubicBezTo>
                  <a:cubicBezTo>
                    <a:pt x="648481" y="2072885"/>
                    <a:pt x="677991" y="2062120"/>
                    <a:pt x="654050" y="2070100"/>
                  </a:cubicBezTo>
                  <a:cubicBezTo>
                    <a:pt x="647028" y="2077122"/>
                    <a:pt x="643841" y="2081555"/>
                    <a:pt x="635000" y="2085975"/>
                  </a:cubicBezTo>
                  <a:cubicBezTo>
                    <a:pt x="630445" y="2088252"/>
                    <a:pt x="616844" y="2091308"/>
                    <a:pt x="612775" y="2092325"/>
                  </a:cubicBezTo>
                  <a:cubicBezTo>
                    <a:pt x="585478" y="2110523"/>
                    <a:pt x="620015" y="2088705"/>
                    <a:pt x="593725" y="2101850"/>
                  </a:cubicBezTo>
                  <a:cubicBezTo>
                    <a:pt x="590312" y="2103557"/>
                    <a:pt x="587513" y="2106307"/>
                    <a:pt x="584200" y="2108200"/>
                  </a:cubicBezTo>
                  <a:cubicBezTo>
                    <a:pt x="580091" y="2110548"/>
                    <a:pt x="575559" y="2112115"/>
                    <a:pt x="571500" y="2114550"/>
                  </a:cubicBezTo>
                  <a:cubicBezTo>
                    <a:pt x="564956" y="2118477"/>
                    <a:pt x="559854" y="2125399"/>
                    <a:pt x="552450" y="2127250"/>
                  </a:cubicBezTo>
                  <a:cubicBezTo>
                    <a:pt x="536503" y="2131237"/>
                    <a:pt x="543890" y="2129045"/>
                    <a:pt x="530225" y="2133600"/>
                  </a:cubicBezTo>
                  <a:cubicBezTo>
                    <a:pt x="522347" y="2132994"/>
                    <a:pt x="493132" y="2134103"/>
                    <a:pt x="479425" y="2127250"/>
                  </a:cubicBezTo>
                  <a:cubicBezTo>
                    <a:pt x="474264" y="2124669"/>
                    <a:pt x="460795" y="2113892"/>
                    <a:pt x="457200" y="2111375"/>
                  </a:cubicBezTo>
                  <a:cubicBezTo>
                    <a:pt x="450948" y="2106998"/>
                    <a:pt x="445390" y="2101088"/>
                    <a:pt x="438150" y="2098675"/>
                  </a:cubicBezTo>
                  <a:cubicBezTo>
                    <a:pt x="406139" y="2088005"/>
                    <a:pt x="455792" y="2104285"/>
                    <a:pt x="415925" y="2092325"/>
                  </a:cubicBezTo>
                  <a:cubicBezTo>
                    <a:pt x="409514" y="2090402"/>
                    <a:pt x="396875" y="2085975"/>
                    <a:pt x="396875" y="2085975"/>
                  </a:cubicBezTo>
                  <a:cubicBezTo>
                    <a:pt x="394758" y="2082800"/>
                    <a:pt x="393761" y="2078472"/>
                    <a:pt x="390525" y="2076450"/>
                  </a:cubicBezTo>
                  <a:lnTo>
                    <a:pt x="361950" y="2066925"/>
                  </a:lnTo>
                  <a:cubicBezTo>
                    <a:pt x="358775" y="2065867"/>
                    <a:pt x="355210" y="2065606"/>
                    <a:pt x="352425" y="2063750"/>
                  </a:cubicBezTo>
                  <a:cubicBezTo>
                    <a:pt x="349250" y="2061633"/>
                    <a:pt x="346602" y="2058325"/>
                    <a:pt x="342900" y="2057400"/>
                  </a:cubicBezTo>
                  <a:cubicBezTo>
                    <a:pt x="333603" y="2055076"/>
                    <a:pt x="323850" y="2055283"/>
                    <a:pt x="314325" y="2054225"/>
                  </a:cubicBezTo>
                  <a:cubicBezTo>
                    <a:pt x="311150" y="2053167"/>
                    <a:pt x="308147" y="2051050"/>
                    <a:pt x="304800" y="2051050"/>
                  </a:cubicBezTo>
                  <a:cubicBezTo>
                    <a:pt x="286777" y="2051050"/>
                    <a:pt x="250825" y="2054225"/>
                    <a:pt x="250825" y="2054225"/>
                  </a:cubicBezTo>
                </a:path>
              </a:pathLst>
            </a:custGeom>
            <a:ln w="38100" cap="flat">
              <a:solidFill>
                <a:srgbClr val="FFC000"/>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sp>
          <p:nvSpPr>
            <p:cNvPr id="157" name="Freeform: Shape 156">
              <a:extLst>
                <a:ext uri="{FF2B5EF4-FFF2-40B4-BE49-F238E27FC236}">
                  <a16:creationId xmlns:a16="http://schemas.microsoft.com/office/drawing/2014/main" id="{CF6B9617-C75E-4853-B474-C16A683C9243}"/>
                </a:ext>
              </a:extLst>
            </p:cNvPr>
            <p:cNvSpPr/>
            <p:nvPr/>
          </p:nvSpPr>
          <p:spPr>
            <a:xfrm>
              <a:off x="3806590" y="4274048"/>
              <a:ext cx="332815" cy="255993"/>
            </a:xfrm>
            <a:custGeom>
              <a:avLst/>
              <a:gdLst>
                <a:gd name="connsiteX0" fmla="*/ 0 w 444500"/>
                <a:gd name="connsiteY0" fmla="*/ 336567 h 336567"/>
                <a:gd name="connsiteX1" fmla="*/ 0 w 444500"/>
                <a:gd name="connsiteY1" fmla="*/ 336567 h 336567"/>
                <a:gd name="connsiteX2" fmla="*/ 31750 w 444500"/>
                <a:gd name="connsiteY2" fmla="*/ 307992 h 336567"/>
                <a:gd name="connsiteX3" fmla="*/ 38100 w 444500"/>
                <a:gd name="connsiteY3" fmla="*/ 298467 h 336567"/>
                <a:gd name="connsiteX4" fmla="*/ 44450 w 444500"/>
                <a:gd name="connsiteY4" fmla="*/ 285767 h 336567"/>
                <a:gd name="connsiteX5" fmla="*/ 53975 w 444500"/>
                <a:gd name="connsiteY5" fmla="*/ 279417 h 336567"/>
                <a:gd name="connsiteX6" fmla="*/ 63500 w 444500"/>
                <a:gd name="connsiteY6" fmla="*/ 269892 h 336567"/>
                <a:gd name="connsiteX7" fmla="*/ 73025 w 444500"/>
                <a:gd name="connsiteY7" fmla="*/ 266717 h 336567"/>
                <a:gd name="connsiteX8" fmla="*/ 92075 w 444500"/>
                <a:gd name="connsiteY8" fmla="*/ 254017 h 336567"/>
                <a:gd name="connsiteX9" fmla="*/ 101600 w 444500"/>
                <a:gd name="connsiteY9" fmla="*/ 250842 h 336567"/>
                <a:gd name="connsiteX10" fmla="*/ 120650 w 444500"/>
                <a:gd name="connsiteY10" fmla="*/ 238142 h 336567"/>
                <a:gd name="connsiteX11" fmla="*/ 139700 w 444500"/>
                <a:gd name="connsiteY11" fmla="*/ 225442 h 336567"/>
                <a:gd name="connsiteX12" fmla="*/ 149225 w 444500"/>
                <a:gd name="connsiteY12" fmla="*/ 219092 h 336567"/>
                <a:gd name="connsiteX13" fmla="*/ 158750 w 444500"/>
                <a:gd name="connsiteY13" fmla="*/ 215917 h 336567"/>
                <a:gd name="connsiteX14" fmla="*/ 165100 w 444500"/>
                <a:gd name="connsiteY14" fmla="*/ 206392 h 336567"/>
                <a:gd name="connsiteX15" fmla="*/ 174625 w 444500"/>
                <a:gd name="connsiteY15" fmla="*/ 203217 h 336567"/>
                <a:gd name="connsiteX16" fmla="*/ 184150 w 444500"/>
                <a:gd name="connsiteY16" fmla="*/ 196867 h 336567"/>
                <a:gd name="connsiteX17" fmla="*/ 193675 w 444500"/>
                <a:gd name="connsiteY17" fmla="*/ 193692 h 336567"/>
                <a:gd name="connsiteX18" fmla="*/ 203200 w 444500"/>
                <a:gd name="connsiteY18" fmla="*/ 187342 h 336567"/>
                <a:gd name="connsiteX19" fmla="*/ 225425 w 444500"/>
                <a:gd name="connsiteY19" fmla="*/ 168292 h 336567"/>
                <a:gd name="connsiteX20" fmla="*/ 234950 w 444500"/>
                <a:gd name="connsiteY20" fmla="*/ 149242 h 336567"/>
                <a:gd name="connsiteX21" fmla="*/ 241300 w 444500"/>
                <a:gd name="connsiteY21" fmla="*/ 139717 h 336567"/>
                <a:gd name="connsiteX22" fmla="*/ 254000 w 444500"/>
                <a:gd name="connsiteY22" fmla="*/ 107967 h 336567"/>
                <a:gd name="connsiteX23" fmla="*/ 273050 w 444500"/>
                <a:gd name="connsiteY23" fmla="*/ 95267 h 336567"/>
                <a:gd name="connsiteX24" fmla="*/ 282575 w 444500"/>
                <a:gd name="connsiteY24" fmla="*/ 88917 h 336567"/>
                <a:gd name="connsiteX25" fmla="*/ 298450 w 444500"/>
                <a:gd name="connsiteY25" fmla="*/ 66692 h 336567"/>
                <a:gd name="connsiteX26" fmla="*/ 307975 w 444500"/>
                <a:gd name="connsiteY26" fmla="*/ 38117 h 336567"/>
                <a:gd name="connsiteX27" fmla="*/ 311150 w 444500"/>
                <a:gd name="connsiteY27" fmla="*/ 28592 h 336567"/>
                <a:gd name="connsiteX28" fmla="*/ 320675 w 444500"/>
                <a:gd name="connsiteY28" fmla="*/ 22242 h 336567"/>
                <a:gd name="connsiteX29" fmla="*/ 342900 w 444500"/>
                <a:gd name="connsiteY29" fmla="*/ 15892 h 336567"/>
                <a:gd name="connsiteX30" fmla="*/ 393700 w 444500"/>
                <a:gd name="connsiteY30" fmla="*/ 9542 h 336567"/>
                <a:gd name="connsiteX31" fmla="*/ 419100 w 444500"/>
                <a:gd name="connsiteY31" fmla="*/ 6367 h 336567"/>
                <a:gd name="connsiteX32" fmla="*/ 444500 w 444500"/>
                <a:gd name="connsiteY32" fmla="*/ 17 h 336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44500" h="336567">
                  <a:moveTo>
                    <a:pt x="0" y="336567"/>
                  </a:moveTo>
                  <a:lnTo>
                    <a:pt x="0" y="336567"/>
                  </a:lnTo>
                  <a:cubicBezTo>
                    <a:pt x="4814" y="332441"/>
                    <a:pt x="24906" y="316204"/>
                    <a:pt x="31750" y="307992"/>
                  </a:cubicBezTo>
                  <a:cubicBezTo>
                    <a:pt x="34193" y="305061"/>
                    <a:pt x="36207" y="301780"/>
                    <a:pt x="38100" y="298467"/>
                  </a:cubicBezTo>
                  <a:cubicBezTo>
                    <a:pt x="40448" y="294358"/>
                    <a:pt x="41420" y="289403"/>
                    <a:pt x="44450" y="285767"/>
                  </a:cubicBezTo>
                  <a:cubicBezTo>
                    <a:pt x="46893" y="282836"/>
                    <a:pt x="51044" y="281860"/>
                    <a:pt x="53975" y="279417"/>
                  </a:cubicBezTo>
                  <a:cubicBezTo>
                    <a:pt x="57424" y="276542"/>
                    <a:pt x="59764" y="272383"/>
                    <a:pt x="63500" y="269892"/>
                  </a:cubicBezTo>
                  <a:cubicBezTo>
                    <a:pt x="66285" y="268036"/>
                    <a:pt x="70099" y="268342"/>
                    <a:pt x="73025" y="266717"/>
                  </a:cubicBezTo>
                  <a:cubicBezTo>
                    <a:pt x="79696" y="263011"/>
                    <a:pt x="84835" y="256430"/>
                    <a:pt x="92075" y="254017"/>
                  </a:cubicBezTo>
                  <a:cubicBezTo>
                    <a:pt x="95250" y="252959"/>
                    <a:pt x="98674" y="252467"/>
                    <a:pt x="101600" y="250842"/>
                  </a:cubicBezTo>
                  <a:cubicBezTo>
                    <a:pt x="108271" y="247136"/>
                    <a:pt x="114300" y="242375"/>
                    <a:pt x="120650" y="238142"/>
                  </a:cubicBezTo>
                  <a:lnTo>
                    <a:pt x="139700" y="225442"/>
                  </a:lnTo>
                  <a:cubicBezTo>
                    <a:pt x="142875" y="223325"/>
                    <a:pt x="145605" y="220299"/>
                    <a:pt x="149225" y="219092"/>
                  </a:cubicBezTo>
                  <a:lnTo>
                    <a:pt x="158750" y="215917"/>
                  </a:lnTo>
                  <a:cubicBezTo>
                    <a:pt x="160867" y="212742"/>
                    <a:pt x="162120" y="208776"/>
                    <a:pt x="165100" y="206392"/>
                  </a:cubicBezTo>
                  <a:cubicBezTo>
                    <a:pt x="167713" y="204301"/>
                    <a:pt x="171632" y="204714"/>
                    <a:pt x="174625" y="203217"/>
                  </a:cubicBezTo>
                  <a:cubicBezTo>
                    <a:pt x="178038" y="201510"/>
                    <a:pt x="180737" y="198574"/>
                    <a:pt x="184150" y="196867"/>
                  </a:cubicBezTo>
                  <a:cubicBezTo>
                    <a:pt x="187143" y="195370"/>
                    <a:pt x="190682" y="195189"/>
                    <a:pt x="193675" y="193692"/>
                  </a:cubicBezTo>
                  <a:cubicBezTo>
                    <a:pt x="197088" y="191985"/>
                    <a:pt x="200095" y="189560"/>
                    <a:pt x="203200" y="187342"/>
                  </a:cubicBezTo>
                  <a:cubicBezTo>
                    <a:pt x="211856" y="181159"/>
                    <a:pt x="218638" y="176437"/>
                    <a:pt x="225425" y="168292"/>
                  </a:cubicBezTo>
                  <a:cubicBezTo>
                    <a:pt x="236799" y="154643"/>
                    <a:pt x="227790" y="163561"/>
                    <a:pt x="234950" y="149242"/>
                  </a:cubicBezTo>
                  <a:cubicBezTo>
                    <a:pt x="236657" y="145829"/>
                    <a:pt x="239750" y="143204"/>
                    <a:pt x="241300" y="139717"/>
                  </a:cubicBezTo>
                  <a:cubicBezTo>
                    <a:pt x="243284" y="135253"/>
                    <a:pt x="248802" y="113165"/>
                    <a:pt x="254000" y="107967"/>
                  </a:cubicBezTo>
                  <a:cubicBezTo>
                    <a:pt x="259396" y="102571"/>
                    <a:pt x="266700" y="99500"/>
                    <a:pt x="273050" y="95267"/>
                  </a:cubicBezTo>
                  <a:cubicBezTo>
                    <a:pt x="276225" y="93150"/>
                    <a:pt x="280285" y="91970"/>
                    <a:pt x="282575" y="88917"/>
                  </a:cubicBezTo>
                  <a:cubicBezTo>
                    <a:pt x="283854" y="87211"/>
                    <a:pt x="296762" y="70491"/>
                    <a:pt x="298450" y="66692"/>
                  </a:cubicBezTo>
                  <a:lnTo>
                    <a:pt x="307975" y="38117"/>
                  </a:lnTo>
                  <a:cubicBezTo>
                    <a:pt x="309033" y="34942"/>
                    <a:pt x="308365" y="30448"/>
                    <a:pt x="311150" y="28592"/>
                  </a:cubicBezTo>
                  <a:cubicBezTo>
                    <a:pt x="314325" y="26475"/>
                    <a:pt x="317262" y="23949"/>
                    <a:pt x="320675" y="22242"/>
                  </a:cubicBezTo>
                  <a:cubicBezTo>
                    <a:pt x="324918" y="20121"/>
                    <a:pt x="339238" y="16706"/>
                    <a:pt x="342900" y="15892"/>
                  </a:cubicBezTo>
                  <a:cubicBezTo>
                    <a:pt x="367327" y="10464"/>
                    <a:pt x="359706" y="13120"/>
                    <a:pt x="393700" y="9542"/>
                  </a:cubicBezTo>
                  <a:cubicBezTo>
                    <a:pt x="402186" y="8649"/>
                    <a:pt x="410633" y="7425"/>
                    <a:pt x="419100" y="6367"/>
                  </a:cubicBezTo>
                  <a:cubicBezTo>
                    <a:pt x="440158" y="-652"/>
                    <a:pt x="431457" y="17"/>
                    <a:pt x="444500" y="17"/>
                  </a:cubicBezTo>
                </a:path>
              </a:pathLst>
            </a:custGeom>
            <a:ln w="38100" cap="flat">
              <a:solidFill>
                <a:srgbClr val="FFC000"/>
              </a:solidFill>
              <a:prstDash val="solid"/>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grpSp>
      <p:sp>
        <p:nvSpPr>
          <p:cNvPr id="155" name="Freeform: Shape 154">
            <a:extLst>
              <a:ext uri="{FF2B5EF4-FFF2-40B4-BE49-F238E27FC236}">
                <a16:creationId xmlns:a16="http://schemas.microsoft.com/office/drawing/2014/main" id="{24E1E87B-6145-4EEE-B25A-F7295C5F835A}"/>
              </a:ext>
            </a:extLst>
          </p:cNvPr>
          <p:cNvSpPr/>
          <p:nvPr/>
        </p:nvSpPr>
        <p:spPr>
          <a:xfrm>
            <a:off x="3377228" y="4071672"/>
            <a:ext cx="96201" cy="71970"/>
          </a:xfrm>
          <a:custGeom>
            <a:avLst/>
            <a:gdLst>
              <a:gd name="connsiteX0" fmla="*/ 0 w 113489"/>
              <a:gd name="connsiteY0" fmla="*/ 81064 h 81064"/>
              <a:gd name="connsiteX1" fmla="*/ 42153 w 113489"/>
              <a:gd name="connsiteY1" fmla="*/ 74579 h 81064"/>
              <a:gd name="connsiteX2" fmla="*/ 61608 w 113489"/>
              <a:gd name="connsiteY2" fmla="*/ 68094 h 81064"/>
              <a:gd name="connsiteX3" fmla="*/ 71336 w 113489"/>
              <a:gd name="connsiteY3" fmla="*/ 64851 h 81064"/>
              <a:gd name="connsiteX4" fmla="*/ 81064 w 113489"/>
              <a:gd name="connsiteY4" fmla="*/ 48638 h 81064"/>
              <a:gd name="connsiteX5" fmla="*/ 94034 w 113489"/>
              <a:gd name="connsiteY5" fmla="*/ 42153 h 81064"/>
              <a:gd name="connsiteX6" fmla="*/ 97276 w 113489"/>
              <a:gd name="connsiteY6" fmla="*/ 29183 h 81064"/>
              <a:gd name="connsiteX7" fmla="*/ 100519 w 113489"/>
              <a:gd name="connsiteY7" fmla="*/ 19455 h 81064"/>
              <a:gd name="connsiteX8" fmla="*/ 110247 w 113489"/>
              <a:gd name="connsiteY8" fmla="*/ 9728 h 81064"/>
              <a:gd name="connsiteX9" fmla="*/ 113489 w 113489"/>
              <a:gd name="connsiteY9" fmla="*/ 0 h 81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489" h="81064">
                <a:moveTo>
                  <a:pt x="0" y="81064"/>
                </a:moveTo>
                <a:cubicBezTo>
                  <a:pt x="14051" y="78902"/>
                  <a:pt x="28242" y="77508"/>
                  <a:pt x="42153" y="74579"/>
                </a:cubicBezTo>
                <a:cubicBezTo>
                  <a:pt x="48842" y="73171"/>
                  <a:pt x="55123" y="70256"/>
                  <a:pt x="61608" y="68094"/>
                </a:cubicBezTo>
                <a:lnTo>
                  <a:pt x="71336" y="64851"/>
                </a:lnTo>
                <a:cubicBezTo>
                  <a:pt x="74579" y="59447"/>
                  <a:pt x="76607" y="53095"/>
                  <a:pt x="81064" y="48638"/>
                </a:cubicBezTo>
                <a:cubicBezTo>
                  <a:pt x="84482" y="45220"/>
                  <a:pt x="90940" y="45866"/>
                  <a:pt x="94034" y="42153"/>
                </a:cubicBezTo>
                <a:cubicBezTo>
                  <a:pt x="96887" y="38729"/>
                  <a:pt x="96052" y="33468"/>
                  <a:pt x="97276" y="29183"/>
                </a:cubicBezTo>
                <a:cubicBezTo>
                  <a:pt x="98215" y="25896"/>
                  <a:pt x="98623" y="22299"/>
                  <a:pt x="100519" y="19455"/>
                </a:cubicBezTo>
                <a:cubicBezTo>
                  <a:pt x="103063" y="15640"/>
                  <a:pt x="107004" y="12970"/>
                  <a:pt x="110247" y="9728"/>
                </a:cubicBezTo>
                <a:lnTo>
                  <a:pt x="113489" y="0"/>
                </a:lnTo>
              </a:path>
            </a:pathLst>
          </a:custGeom>
          <a:noFill/>
          <a:ln w="38100" cap="sq">
            <a:solidFill>
              <a:srgbClr val="FFC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srgbClr val="05363D"/>
              </a:solidFill>
              <a:effectLst/>
              <a:uLnTx/>
              <a:uFillTx/>
              <a:latin typeface="Bahnschrift" panose="020B0502040204020203" pitchFamily="34" charset="0"/>
              <a:sym typeface="Bahnschrift" panose="020B0502040204020203" pitchFamily="34" charset="0"/>
            </a:endParaRPr>
          </a:p>
        </p:txBody>
      </p:sp>
      <p:cxnSp>
        <p:nvCxnSpPr>
          <p:cNvPr id="116" name="Straight Connector 115">
            <a:extLst>
              <a:ext uri="{FF2B5EF4-FFF2-40B4-BE49-F238E27FC236}">
                <a16:creationId xmlns:a16="http://schemas.microsoft.com/office/drawing/2014/main" id="{3B8D284C-7466-47B2-913F-1D4D33814E25}"/>
              </a:ext>
            </a:extLst>
          </p:cNvPr>
          <p:cNvCxnSpPr>
            <a:cxnSpLocks/>
            <a:stCxn id="188" idx="0"/>
          </p:cNvCxnSpPr>
          <p:nvPr/>
        </p:nvCxnSpPr>
        <p:spPr>
          <a:xfrm flipV="1">
            <a:off x="3885701" y="3391055"/>
            <a:ext cx="945568" cy="291860"/>
          </a:xfrm>
          <a:prstGeom prst="line">
            <a:avLst/>
          </a:prstGeom>
          <a:ln w="38100" cap="flat">
            <a:solidFill>
              <a:srgbClr val="00B05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9" name="Rectangle 118">
            <a:extLst>
              <a:ext uri="{FF2B5EF4-FFF2-40B4-BE49-F238E27FC236}">
                <a16:creationId xmlns:a16="http://schemas.microsoft.com/office/drawing/2014/main" id="{E57F379B-26F9-490C-919F-0AEF8CD4BAB3}"/>
              </a:ext>
            </a:extLst>
          </p:cNvPr>
          <p:cNvSpPr/>
          <p:nvPr/>
        </p:nvSpPr>
        <p:spPr>
          <a:xfrm rot="507766">
            <a:off x="5703066" y="3314866"/>
            <a:ext cx="75911" cy="45719"/>
          </a:xfrm>
          <a:prstGeom prst="rect">
            <a:avLst/>
          </a:prstGeom>
          <a:solidFill>
            <a:srgbClr val="EAEAE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b="0" i="0" u="none" strike="noStrike" kern="1200" cap="none" spc="0" normalizeH="0" baseline="0" noProof="0" dirty="0">
              <a:ln>
                <a:noFill/>
              </a:ln>
              <a:solidFill>
                <a:srgbClr val="FFFFFF"/>
              </a:solidFill>
              <a:effectLst/>
              <a:uLnTx/>
              <a:uFillTx/>
              <a:latin typeface="Bahnschrift" panose="020B0502040204020203" pitchFamily="34" charset="0"/>
              <a:sym typeface="Bahnschrift" panose="020B0502040204020203" pitchFamily="34" charset="0"/>
            </a:endParaRPr>
          </a:p>
        </p:txBody>
      </p:sp>
      <p:sp>
        <p:nvSpPr>
          <p:cNvPr id="122" name="Freeform: Shape 121">
            <a:extLst>
              <a:ext uri="{FF2B5EF4-FFF2-40B4-BE49-F238E27FC236}">
                <a16:creationId xmlns:a16="http://schemas.microsoft.com/office/drawing/2014/main" id="{8DF5C872-1424-4D0D-A1B3-3EBC63E0C273}"/>
              </a:ext>
            </a:extLst>
          </p:cNvPr>
          <p:cNvSpPr/>
          <p:nvPr/>
        </p:nvSpPr>
        <p:spPr>
          <a:xfrm rot="120000">
            <a:off x="2744991" y="5979343"/>
            <a:ext cx="357935" cy="444968"/>
          </a:xfrm>
          <a:custGeom>
            <a:avLst/>
            <a:gdLst>
              <a:gd name="connsiteX0" fmla="*/ 0 w 421481"/>
              <a:gd name="connsiteY0" fmla="*/ 452437 h 452437"/>
              <a:gd name="connsiteX1" fmla="*/ 121443 w 421481"/>
              <a:gd name="connsiteY1" fmla="*/ 350044 h 452437"/>
              <a:gd name="connsiteX2" fmla="*/ 169068 w 421481"/>
              <a:gd name="connsiteY2" fmla="*/ 335756 h 452437"/>
              <a:gd name="connsiteX3" fmla="*/ 285750 w 421481"/>
              <a:gd name="connsiteY3" fmla="*/ 161925 h 452437"/>
              <a:gd name="connsiteX4" fmla="*/ 381000 w 421481"/>
              <a:gd name="connsiteY4" fmla="*/ 88106 h 452437"/>
              <a:gd name="connsiteX5" fmla="*/ 421481 w 421481"/>
              <a:gd name="connsiteY5" fmla="*/ 0 h 452437"/>
              <a:gd name="connsiteX0" fmla="*/ 0 w 421481"/>
              <a:gd name="connsiteY0" fmla="*/ 452437 h 452437"/>
              <a:gd name="connsiteX1" fmla="*/ 92868 w 421481"/>
              <a:gd name="connsiteY1" fmla="*/ 376238 h 452437"/>
              <a:gd name="connsiteX2" fmla="*/ 169068 w 421481"/>
              <a:gd name="connsiteY2" fmla="*/ 335756 h 452437"/>
              <a:gd name="connsiteX3" fmla="*/ 285750 w 421481"/>
              <a:gd name="connsiteY3" fmla="*/ 161925 h 452437"/>
              <a:gd name="connsiteX4" fmla="*/ 381000 w 421481"/>
              <a:gd name="connsiteY4" fmla="*/ 88106 h 452437"/>
              <a:gd name="connsiteX5" fmla="*/ 421481 w 421481"/>
              <a:gd name="connsiteY5" fmla="*/ 0 h 452437"/>
              <a:gd name="connsiteX0" fmla="*/ 0 w 421481"/>
              <a:gd name="connsiteY0" fmla="*/ 452437 h 452437"/>
              <a:gd name="connsiteX1" fmla="*/ 92868 w 421481"/>
              <a:gd name="connsiteY1" fmla="*/ 376238 h 452437"/>
              <a:gd name="connsiteX2" fmla="*/ 176212 w 421481"/>
              <a:gd name="connsiteY2" fmla="*/ 326231 h 452437"/>
              <a:gd name="connsiteX3" fmla="*/ 285750 w 421481"/>
              <a:gd name="connsiteY3" fmla="*/ 161925 h 452437"/>
              <a:gd name="connsiteX4" fmla="*/ 381000 w 421481"/>
              <a:gd name="connsiteY4" fmla="*/ 88106 h 452437"/>
              <a:gd name="connsiteX5" fmla="*/ 421481 w 421481"/>
              <a:gd name="connsiteY5" fmla="*/ 0 h 452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1481" h="452437">
                <a:moveTo>
                  <a:pt x="0" y="452437"/>
                </a:moveTo>
                <a:cubicBezTo>
                  <a:pt x="46632" y="410964"/>
                  <a:pt x="63499" y="397272"/>
                  <a:pt x="92868" y="376238"/>
                </a:cubicBezTo>
                <a:cubicBezTo>
                  <a:pt x="122237" y="355204"/>
                  <a:pt x="144065" y="361950"/>
                  <a:pt x="176212" y="326231"/>
                </a:cubicBezTo>
                <a:cubicBezTo>
                  <a:pt x="208359" y="290512"/>
                  <a:pt x="251619" y="201612"/>
                  <a:pt x="285750" y="161925"/>
                </a:cubicBezTo>
                <a:cubicBezTo>
                  <a:pt x="319881" y="122238"/>
                  <a:pt x="358378" y="115093"/>
                  <a:pt x="381000" y="88106"/>
                </a:cubicBezTo>
                <a:cubicBezTo>
                  <a:pt x="403622" y="61118"/>
                  <a:pt x="412551" y="30559"/>
                  <a:pt x="421481" y="0"/>
                </a:cubicBezTo>
              </a:path>
            </a:pathLst>
          </a:custGeom>
          <a:noFill/>
          <a:ln w="38100" cap="sq">
            <a:solidFill>
              <a:srgbClr val="FFC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srgbClr val="FFFFFF"/>
              </a:solidFill>
              <a:effectLst/>
              <a:uLnTx/>
              <a:uFillTx/>
              <a:latin typeface="Bahnschrift" panose="020B0502040204020203" pitchFamily="34" charset="0"/>
              <a:sym typeface="Bahnschrift" panose="020B0502040204020203" pitchFamily="34" charset="0"/>
            </a:endParaRPr>
          </a:p>
        </p:txBody>
      </p:sp>
      <p:sp>
        <p:nvSpPr>
          <p:cNvPr id="123" name="Freeform: Shape 122">
            <a:extLst>
              <a:ext uri="{FF2B5EF4-FFF2-40B4-BE49-F238E27FC236}">
                <a16:creationId xmlns:a16="http://schemas.microsoft.com/office/drawing/2014/main" id="{A73B0388-AB79-46DD-9CBA-3A1295FD8346}"/>
              </a:ext>
            </a:extLst>
          </p:cNvPr>
          <p:cNvSpPr/>
          <p:nvPr/>
        </p:nvSpPr>
        <p:spPr>
          <a:xfrm rot="120000">
            <a:off x="3110854" y="5841628"/>
            <a:ext cx="284804" cy="132707"/>
          </a:xfrm>
          <a:custGeom>
            <a:avLst/>
            <a:gdLst>
              <a:gd name="connsiteX0" fmla="*/ 0 w 280988"/>
              <a:gd name="connsiteY0" fmla="*/ 126206 h 126206"/>
              <a:gd name="connsiteX1" fmla="*/ 45244 w 280988"/>
              <a:gd name="connsiteY1" fmla="*/ 66675 h 126206"/>
              <a:gd name="connsiteX2" fmla="*/ 183357 w 280988"/>
              <a:gd name="connsiteY2" fmla="*/ 40481 h 126206"/>
              <a:gd name="connsiteX3" fmla="*/ 280988 w 280988"/>
              <a:gd name="connsiteY3" fmla="*/ 0 h 126206"/>
              <a:gd name="connsiteX0" fmla="*/ 0 w 330449"/>
              <a:gd name="connsiteY0" fmla="*/ 132956 h 132956"/>
              <a:gd name="connsiteX1" fmla="*/ 45244 w 330449"/>
              <a:gd name="connsiteY1" fmla="*/ 73425 h 132956"/>
              <a:gd name="connsiteX2" fmla="*/ 183357 w 330449"/>
              <a:gd name="connsiteY2" fmla="*/ 47231 h 132956"/>
              <a:gd name="connsiteX3" fmla="*/ 330449 w 330449"/>
              <a:gd name="connsiteY3" fmla="*/ 0 h 132956"/>
            </a:gdLst>
            <a:ahLst/>
            <a:cxnLst>
              <a:cxn ang="0">
                <a:pos x="connsiteX0" y="connsiteY0"/>
              </a:cxn>
              <a:cxn ang="0">
                <a:pos x="connsiteX1" y="connsiteY1"/>
              </a:cxn>
              <a:cxn ang="0">
                <a:pos x="connsiteX2" y="connsiteY2"/>
              </a:cxn>
              <a:cxn ang="0">
                <a:pos x="connsiteX3" y="connsiteY3"/>
              </a:cxn>
            </a:cxnLst>
            <a:rect l="l" t="t" r="r" b="b"/>
            <a:pathLst>
              <a:path w="330449" h="132956">
                <a:moveTo>
                  <a:pt x="0" y="132956"/>
                </a:moveTo>
                <a:cubicBezTo>
                  <a:pt x="7342" y="110334"/>
                  <a:pt x="14685" y="87712"/>
                  <a:pt x="45244" y="73425"/>
                </a:cubicBezTo>
                <a:cubicBezTo>
                  <a:pt x="75803" y="59138"/>
                  <a:pt x="144066" y="58343"/>
                  <a:pt x="183357" y="47231"/>
                </a:cubicBezTo>
                <a:cubicBezTo>
                  <a:pt x="222648" y="36118"/>
                  <a:pt x="301279" y="14684"/>
                  <a:pt x="330449" y="0"/>
                </a:cubicBezTo>
              </a:path>
            </a:pathLst>
          </a:custGeom>
          <a:noFill/>
          <a:ln w="28575" cap="sq">
            <a:solidFill>
              <a:srgbClr val="FFC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srgbClr val="FFFFFF"/>
              </a:solidFill>
              <a:effectLst/>
              <a:uLnTx/>
              <a:uFillTx/>
              <a:latin typeface="Bahnschrift" panose="020B0502040204020203" pitchFamily="34" charset="0"/>
              <a:sym typeface="Bahnschrift" panose="020B0502040204020203" pitchFamily="34" charset="0"/>
            </a:endParaRPr>
          </a:p>
        </p:txBody>
      </p:sp>
      <p:sp>
        <p:nvSpPr>
          <p:cNvPr id="124" name="Freeform: Shape 123">
            <a:extLst>
              <a:ext uri="{FF2B5EF4-FFF2-40B4-BE49-F238E27FC236}">
                <a16:creationId xmlns:a16="http://schemas.microsoft.com/office/drawing/2014/main" id="{A1085B07-C9C0-430D-9BAB-E2E6D984FAC7}"/>
              </a:ext>
            </a:extLst>
          </p:cNvPr>
          <p:cNvSpPr/>
          <p:nvPr/>
        </p:nvSpPr>
        <p:spPr>
          <a:xfrm>
            <a:off x="2250054" y="6384628"/>
            <a:ext cx="503751" cy="276625"/>
          </a:xfrm>
          <a:custGeom>
            <a:avLst/>
            <a:gdLst>
              <a:gd name="connsiteX0" fmla="*/ 636104 w 636104"/>
              <a:gd name="connsiteY0" fmla="*/ 0 h 333507"/>
              <a:gd name="connsiteX1" fmla="*/ 611256 w 636104"/>
              <a:gd name="connsiteY1" fmla="*/ 14909 h 333507"/>
              <a:gd name="connsiteX2" fmla="*/ 596347 w 636104"/>
              <a:gd name="connsiteY2" fmla="*/ 24848 h 333507"/>
              <a:gd name="connsiteX3" fmla="*/ 586408 w 636104"/>
              <a:gd name="connsiteY3" fmla="*/ 39756 h 333507"/>
              <a:gd name="connsiteX4" fmla="*/ 561561 w 636104"/>
              <a:gd name="connsiteY4" fmla="*/ 64604 h 333507"/>
              <a:gd name="connsiteX5" fmla="*/ 551621 w 636104"/>
              <a:gd name="connsiteY5" fmla="*/ 74543 h 333507"/>
              <a:gd name="connsiteX6" fmla="*/ 516834 w 636104"/>
              <a:gd name="connsiteY6" fmla="*/ 89452 h 333507"/>
              <a:gd name="connsiteX7" fmla="*/ 501926 w 636104"/>
              <a:gd name="connsiteY7" fmla="*/ 104361 h 333507"/>
              <a:gd name="connsiteX8" fmla="*/ 467139 w 636104"/>
              <a:gd name="connsiteY8" fmla="*/ 119269 h 333507"/>
              <a:gd name="connsiteX9" fmla="*/ 427382 w 636104"/>
              <a:gd name="connsiteY9" fmla="*/ 149087 h 333507"/>
              <a:gd name="connsiteX10" fmla="*/ 387626 w 636104"/>
              <a:gd name="connsiteY10" fmla="*/ 168965 h 333507"/>
              <a:gd name="connsiteX11" fmla="*/ 372717 w 636104"/>
              <a:gd name="connsiteY11" fmla="*/ 173935 h 333507"/>
              <a:gd name="connsiteX12" fmla="*/ 337930 w 636104"/>
              <a:gd name="connsiteY12" fmla="*/ 188843 h 333507"/>
              <a:gd name="connsiteX13" fmla="*/ 327991 w 636104"/>
              <a:gd name="connsiteY13" fmla="*/ 198783 h 333507"/>
              <a:gd name="connsiteX14" fmla="*/ 293204 w 636104"/>
              <a:gd name="connsiteY14" fmla="*/ 218661 h 333507"/>
              <a:gd name="connsiteX15" fmla="*/ 263387 w 636104"/>
              <a:gd name="connsiteY15" fmla="*/ 228600 h 333507"/>
              <a:gd name="connsiteX16" fmla="*/ 248478 w 636104"/>
              <a:gd name="connsiteY16" fmla="*/ 233569 h 333507"/>
              <a:gd name="connsiteX17" fmla="*/ 223630 w 636104"/>
              <a:gd name="connsiteY17" fmla="*/ 238539 h 333507"/>
              <a:gd name="connsiteX18" fmla="*/ 208721 w 636104"/>
              <a:gd name="connsiteY18" fmla="*/ 243509 h 333507"/>
              <a:gd name="connsiteX19" fmla="*/ 173934 w 636104"/>
              <a:gd name="connsiteY19" fmla="*/ 253448 h 333507"/>
              <a:gd name="connsiteX20" fmla="*/ 129208 w 636104"/>
              <a:gd name="connsiteY20" fmla="*/ 268356 h 333507"/>
              <a:gd name="connsiteX21" fmla="*/ 99391 w 636104"/>
              <a:gd name="connsiteY21" fmla="*/ 278296 h 333507"/>
              <a:gd name="connsiteX22" fmla="*/ 84482 w 636104"/>
              <a:gd name="connsiteY22" fmla="*/ 283265 h 333507"/>
              <a:gd name="connsiteX23" fmla="*/ 39756 w 636104"/>
              <a:gd name="connsiteY23" fmla="*/ 308113 h 333507"/>
              <a:gd name="connsiteX24" fmla="*/ 9939 w 636104"/>
              <a:gd name="connsiteY24" fmla="*/ 332961 h 333507"/>
              <a:gd name="connsiteX25" fmla="*/ 0 w 636104"/>
              <a:gd name="connsiteY25" fmla="*/ 332961 h 333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36104" h="333507">
                <a:moveTo>
                  <a:pt x="636104" y="0"/>
                </a:moveTo>
                <a:cubicBezTo>
                  <a:pt x="627821" y="4970"/>
                  <a:pt x="619447" y="9790"/>
                  <a:pt x="611256" y="14909"/>
                </a:cubicBezTo>
                <a:cubicBezTo>
                  <a:pt x="606191" y="18075"/>
                  <a:pt x="600570" y="20625"/>
                  <a:pt x="596347" y="24848"/>
                </a:cubicBezTo>
                <a:cubicBezTo>
                  <a:pt x="592124" y="29071"/>
                  <a:pt x="590341" y="35261"/>
                  <a:pt x="586408" y="39756"/>
                </a:cubicBezTo>
                <a:cubicBezTo>
                  <a:pt x="578695" y="48571"/>
                  <a:pt x="569844" y="56321"/>
                  <a:pt x="561561" y="64604"/>
                </a:cubicBezTo>
                <a:cubicBezTo>
                  <a:pt x="558248" y="67917"/>
                  <a:pt x="555812" y="72447"/>
                  <a:pt x="551621" y="74543"/>
                </a:cubicBezTo>
                <a:cubicBezTo>
                  <a:pt x="527058" y="86826"/>
                  <a:pt x="538771" y="82141"/>
                  <a:pt x="516834" y="89452"/>
                </a:cubicBezTo>
                <a:cubicBezTo>
                  <a:pt x="511865" y="94422"/>
                  <a:pt x="508028" y="100874"/>
                  <a:pt x="501926" y="104361"/>
                </a:cubicBezTo>
                <a:cubicBezTo>
                  <a:pt x="453893" y="131808"/>
                  <a:pt x="507282" y="87152"/>
                  <a:pt x="467139" y="119269"/>
                </a:cubicBezTo>
                <a:cubicBezTo>
                  <a:pt x="443841" y="137908"/>
                  <a:pt x="473622" y="125967"/>
                  <a:pt x="427382" y="149087"/>
                </a:cubicBezTo>
                <a:cubicBezTo>
                  <a:pt x="414130" y="155713"/>
                  <a:pt x="401682" y="164279"/>
                  <a:pt x="387626" y="168965"/>
                </a:cubicBezTo>
                <a:cubicBezTo>
                  <a:pt x="382656" y="170622"/>
                  <a:pt x="377402" y="171592"/>
                  <a:pt x="372717" y="173935"/>
                </a:cubicBezTo>
                <a:cubicBezTo>
                  <a:pt x="338400" y="191093"/>
                  <a:pt x="379297" y="178502"/>
                  <a:pt x="337930" y="188843"/>
                </a:cubicBezTo>
                <a:cubicBezTo>
                  <a:pt x="334617" y="192156"/>
                  <a:pt x="331650" y="195856"/>
                  <a:pt x="327991" y="198783"/>
                </a:cubicBezTo>
                <a:cubicBezTo>
                  <a:pt x="319027" y="205954"/>
                  <a:pt x="303405" y="214581"/>
                  <a:pt x="293204" y="218661"/>
                </a:cubicBezTo>
                <a:cubicBezTo>
                  <a:pt x="283477" y="222552"/>
                  <a:pt x="273326" y="225287"/>
                  <a:pt x="263387" y="228600"/>
                </a:cubicBezTo>
                <a:cubicBezTo>
                  <a:pt x="258417" y="230256"/>
                  <a:pt x="253615" y="232542"/>
                  <a:pt x="248478" y="233569"/>
                </a:cubicBezTo>
                <a:cubicBezTo>
                  <a:pt x="240195" y="235226"/>
                  <a:pt x="231824" y="236490"/>
                  <a:pt x="223630" y="238539"/>
                </a:cubicBezTo>
                <a:cubicBezTo>
                  <a:pt x="218548" y="239810"/>
                  <a:pt x="213758" y="242070"/>
                  <a:pt x="208721" y="243509"/>
                </a:cubicBezTo>
                <a:cubicBezTo>
                  <a:pt x="196104" y="247114"/>
                  <a:pt x="185855" y="248339"/>
                  <a:pt x="173934" y="253448"/>
                </a:cubicBezTo>
                <a:cubicBezTo>
                  <a:pt x="120781" y="276228"/>
                  <a:pt x="190647" y="251600"/>
                  <a:pt x="129208" y="268356"/>
                </a:cubicBezTo>
                <a:cubicBezTo>
                  <a:pt x="119100" y="271113"/>
                  <a:pt x="109330" y="274983"/>
                  <a:pt x="99391" y="278296"/>
                </a:cubicBezTo>
                <a:lnTo>
                  <a:pt x="84482" y="283265"/>
                </a:lnTo>
                <a:cubicBezTo>
                  <a:pt x="50306" y="306049"/>
                  <a:pt x="65997" y="299365"/>
                  <a:pt x="39756" y="308113"/>
                </a:cubicBezTo>
                <a:cubicBezTo>
                  <a:pt x="31480" y="316389"/>
                  <a:pt x="21469" y="328349"/>
                  <a:pt x="9939" y="332961"/>
                </a:cubicBezTo>
                <a:cubicBezTo>
                  <a:pt x="6863" y="334191"/>
                  <a:pt x="3313" y="332961"/>
                  <a:pt x="0" y="332961"/>
                </a:cubicBezTo>
              </a:path>
            </a:pathLst>
          </a:custGeom>
          <a:noFill/>
          <a:ln w="38100" cap="sq">
            <a:solidFill>
              <a:srgbClr val="FFC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srgbClr val="FFFFFF"/>
              </a:solidFill>
              <a:effectLst/>
              <a:uLnTx/>
              <a:uFillTx/>
              <a:latin typeface="Bahnschrift" panose="020B0502040204020203" pitchFamily="34" charset="0"/>
              <a:sym typeface="Bahnschrift" panose="020B0502040204020203" pitchFamily="34" charset="0"/>
            </a:endParaRPr>
          </a:p>
        </p:txBody>
      </p:sp>
      <p:sp>
        <p:nvSpPr>
          <p:cNvPr id="125" name="Freeform 58">
            <a:extLst>
              <a:ext uri="{FF2B5EF4-FFF2-40B4-BE49-F238E27FC236}">
                <a16:creationId xmlns:a16="http://schemas.microsoft.com/office/drawing/2014/main" id="{DEE75864-E266-4DC2-99B9-C30F55FFBD1F}"/>
              </a:ext>
            </a:extLst>
          </p:cNvPr>
          <p:cNvSpPr>
            <a:spLocks/>
          </p:cNvSpPr>
          <p:nvPr/>
        </p:nvSpPr>
        <p:spPr bwMode="gray">
          <a:xfrm>
            <a:off x="3811093" y="3558447"/>
            <a:ext cx="833602" cy="619610"/>
          </a:xfrm>
          <a:custGeom>
            <a:avLst/>
            <a:gdLst>
              <a:gd name="T0" fmla="*/ 282 w 310"/>
              <a:gd name="T1" fmla="*/ 17 h 220"/>
              <a:gd name="T2" fmla="*/ 298 w 310"/>
              <a:gd name="T3" fmla="*/ 26 h 220"/>
              <a:gd name="T4" fmla="*/ 308 w 310"/>
              <a:gd name="T5" fmla="*/ 28 h 220"/>
              <a:gd name="T6" fmla="*/ 306 w 310"/>
              <a:gd name="T7" fmla="*/ 41 h 220"/>
              <a:gd name="T8" fmla="*/ 289 w 310"/>
              <a:gd name="T9" fmla="*/ 51 h 220"/>
              <a:gd name="T10" fmla="*/ 281 w 310"/>
              <a:gd name="T11" fmla="*/ 63 h 220"/>
              <a:gd name="T12" fmla="*/ 276 w 310"/>
              <a:gd name="T13" fmla="*/ 79 h 220"/>
              <a:gd name="T14" fmla="*/ 269 w 310"/>
              <a:gd name="T15" fmla="*/ 92 h 220"/>
              <a:gd name="T16" fmla="*/ 262 w 310"/>
              <a:gd name="T17" fmla="*/ 106 h 220"/>
              <a:gd name="T18" fmla="*/ 260 w 310"/>
              <a:gd name="T19" fmla="*/ 119 h 220"/>
              <a:gd name="T20" fmla="*/ 255 w 310"/>
              <a:gd name="T21" fmla="*/ 135 h 220"/>
              <a:gd name="T22" fmla="*/ 252 w 310"/>
              <a:gd name="T23" fmla="*/ 148 h 220"/>
              <a:gd name="T24" fmla="*/ 248 w 310"/>
              <a:gd name="T25" fmla="*/ 160 h 220"/>
              <a:gd name="T26" fmla="*/ 237 w 310"/>
              <a:gd name="T27" fmla="*/ 165 h 220"/>
              <a:gd name="T28" fmla="*/ 225 w 310"/>
              <a:gd name="T29" fmla="*/ 176 h 220"/>
              <a:gd name="T30" fmla="*/ 213 w 310"/>
              <a:gd name="T31" fmla="*/ 177 h 220"/>
              <a:gd name="T32" fmla="*/ 203 w 310"/>
              <a:gd name="T33" fmla="*/ 177 h 220"/>
              <a:gd name="T34" fmla="*/ 186 w 310"/>
              <a:gd name="T35" fmla="*/ 181 h 220"/>
              <a:gd name="T36" fmla="*/ 172 w 310"/>
              <a:gd name="T37" fmla="*/ 182 h 220"/>
              <a:gd name="T38" fmla="*/ 162 w 310"/>
              <a:gd name="T39" fmla="*/ 193 h 220"/>
              <a:gd name="T40" fmla="*/ 150 w 310"/>
              <a:gd name="T41" fmla="*/ 196 h 220"/>
              <a:gd name="T42" fmla="*/ 140 w 310"/>
              <a:gd name="T43" fmla="*/ 203 h 220"/>
              <a:gd name="T44" fmla="*/ 131 w 310"/>
              <a:gd name="T45" fmla="*/ 208 h 220"/>
              <a:gd name="T46" fmla="*/ 119 w 310"/>
              <a:gd name="T47" fmla="*/ 218 h 220"/>
              <a:gd name="T48" fmla="*/ 104 w 310"/>
              <a:gd name="T49" fmla="*/ 218 h 220"/>
              <a:gd name="T50" fmla="*/ 90 w 310"/>
              <a:gd name="T51" fmla="*/ 218 h 220"/>
              <a:gd name="T52" fmla="*/ 75 w 310"/>
              <a:gd name="T53" fmla="*/ 210 h 220"/>
              <a:gd name="T54" fmla="*/ 67 w 310"/>
              <a:gd name="T55" fmla="*/ 208 h 220"/>
              <a:gd name="T56" fmla="*/ 63 w 310"/>
              <a:gd name="T57" fmla="*/ 205 h 220"/>
              <a:gd name="T58" fmla="*/ 56 w 310"/>
              <a:gd name="T59" fmla="*/ 199 h 220"/>
              <a:gd name="T60" fmla="*/ 46 w 310"/>
              <a:gd name="T61" fmla="*/ 193 h 220"/>
              <a:gd name="T62" fmla="*/ 38 w 310"/>
              <a:gd name="T63" fmla="*/ 182 h 220"/>
              <a:gd name="T64" fmla="*/ 27 w 310"/>
              <a:gd name="T65" fmla="*/ 177 h 220"/>
              <a:gd name="T66" fmla="*/ 16 w 310"/>
              <a:gd name="T67" fmla="*/ 165 h 220"/>
              <a:gd name="T68" fmla="*/ 10 w 310"/>
              <a:gd name="T69" fmla="*/ 157 h 220"/>
              <a:gd name="T70" fmla="*/ 2 w 310"/>
              <a:gd name="T71" fmla="*/ 150 h 220"/>
              <a:gd name="T72" fmla="*/ 10 w 310"/>
              <a:gd name="T73" fmla="*/ 142 h 220"/>
              <a:gd name="T74" fmla="*/ 16 w 310"/>
              <a:gd name="T75" fmla="*/ 138 h 220"/>
              <a:gd name="T76" fmla="*/ 16 w 310"/>
              <a:gd name="T77" fmla="*/ 126 h 220"/>
              <a:gd name="T78" fmla="*/ 14 w 310"/>
              <a:gd name="T79" fmla="*/ 113 h 220"/>
              <a:gd name="T80" fmla="*/ 22 w 310"/>
              <a:gd name="T81" fmla="*/ 104 h 220"/>
              <a:gd name="T82" fmla="*/ 14 w 310"/>
              <a:gd name="T83" fmla="*/ 96 h 220"/>
              <a:gd name="T84" fmla="*/ 21 w 310"/>
              <a:gd name="T85" fmla="*/ 87 h 220"/>
              <a:gd name="T86" fmla="*/ 36 w 310"/>
              <a:gd name="T87" fmla="*/ 89 h 220"/>
              <a:gd name="T88" fmla="*/ 41 w 310"/>
              <a:gd name="T89" fmla="*/ 77 h 220"/>
              <a:gd name="T90" fmla="*/ 46 w 310"/>
              <a:gd name="T91" fmla="*/ 65 h 220"/>
              <a:gd name="T92" fmla="*/ 63 w 310"/>
              <a:gd name="T93" fmla="*/ 79 h 220"/>
              <a:gd name="T94" fmla="*/ 84 w 310"/>
              <a:gd name="T95" fmla="*/ 80 h 220"/>
              <a:gd name="T96" fmla="*/ 102 w 310"/>
              <a:gd name="T97" fmla="*/ 79 h 220"/>
              <a:gd name="T98" fmla="*/ 118 w 310"/>
              <a:gd name="T99" fmla="*/ 74 h 220"/>
              <a:gd name="T100" fmla="*/ 119 w 310"/>
              <a:gd name="T101" fmla="*/ 62 h 220"/>
              <a:gd name="T102" fmla="*/ 128 w 310"/>
              <a:gd name="T103" fmla="*/ 53 h 220"/>
              <a:gd name="T104" fmla="*/ 141 w 310"/>
              <a:gd name="T105" fmla="*/ 50 h 220"/>
              <a:gd name="T106" fmla="*/ 150 w 310"/>
              <a:gd name="T107" fmla="*/ 43 h 220"/>
              <a:gd name="T108" fmla="*/ 163 w 310"/>
              <a:gd name="T109" fmla="*/ 41 h 220"/>
              <a:gd name="T110" fmla="*/ 175 w 310"/>
              <a:gd name="T111" fmla="*/ 40 h 220"/>
              <a:gd name="T112" fmla="*/ 187 w 310"/>
              <a:gd name="T113" fmla="*/ 29 h 220"/>
              <a:gd name="T114" fmla="*/ 194 w 310"/>
              <a:gd name="T115" fmla="*/ 11 h 220"/>
              <a:gd name="T116" fmla="*/ 211 w 310"/>
              <a:gd name="T117" fmla="*/ 6 h 220"/>
              <a:gd name="T118" fmla="*/ 230 w 310"/>
              <a:gd name="T119" fmla="*/ 6 h 220"/>
              <a:gd name="T120" fmla="*/ 240 w 310"/>
              <a:gd name="T121" fmla="*/ 4 h 220"/>
              <a:gd name="T122" fmla="*/ 252 w 310"/>
              <a:gd name="T123" fmla="*/ 16 h 220"/>
              <a:gd name="T124" fmla="*/ 264 w 310"/>
              <a:gd name="T125" fmla="*/ 9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0" h="220">
                <a:moveTo>
                  <a:pt x="271" y="7"/>
                </a:moveTo>
                <a:lnTo>
                  <a:pt x="272" y="6"/>
                </a:lnTo>
                <a:lnTo>
                  <a:pt x="276" y="7"/>
                </a:lnTo>
                <a:lnTo>
                  <a:pt x="274" y="9"/>
                </a:lnTo>
                <a:lnTo>
                  <a:pt x="276" y="11"/>
                </a:lnTo>
                <a:lnTo>
                  <a:pt x="279" y="11"/>
                </a:lnTo>
                <a:lnTo>
                  <a:pt x="279" y="12"/>
                </a:lnTo>
                <a:lnTo>
                  <a:pt x="281" y="16"/>
                </a:lnTo>
                <a:lnTo>
                  <a:pt x="282" y="17"/>
                </a:lnTo>
                <a:lnTo>
                  <a:pt x="284" y="17"/>
                </a:lnTo>
                <a:lnTo>
                  <a:pt x="286" y="17"/>
                </a:lnTo>
                <a:lnTo>
                  <a:pt x="288" y="16"/>
                </a:lnTo>
                <a:lnTo>
                  <a:pt x="289" y="19"/>
                </a:lnTo>
                <a:lnTo>
                  <a:pt x="291" y="19"/>
                </a:lnTo>
                <a:lnTo>
                  <a:pt x="294" y="23"/>
                </a:lnTo>
                <a:lnTo>
                  <a:pt x="294" y="24"/>
                </a:lnTo>
                <a:lnTo>
                  <a:pt x="296" y="26"/>
                </a:lnTo>
                <a:lnTo>
                  <a:pt x="298" y="26"/>
                </a:lnTo>
                <a:lnTo>
                  <a:pt x="299" y="24"/>
                </a:lnTo>
                <a:lnTo>
                  <a:pt x="301" y="23"/>
                </a:lnTo>
                <a:lnTo>
                  <a:pt x="303" y="23"/>
                </a:lnTo>
                <a:lnTo>
                  <a:pt x="301" y="23"/>
                </a:lnTo>
                <a:lnTo>
                  <a:pt x="303" y="23"/>
                </a:lnTo>
                <a:lnTo>
                  <a:pt x="305" y="23"/>
                </a:lnTo>
                <a:lnTo>
                  <a:pt x="306" y="24"/>
                </a:lnTo>
                <a:lnTo>
                  <a:pt x="308" y="26"/>
                </a:lnTo>
                <a:lnTo>
                  <a:pt x="308" y="28"/>
                </a:lnTo>
                <a:lnTo>
                  <a:pt x="308" y="29"/>
                </a:lnTo>
                <a:lnTo>
                  <a:pt x="306" y="31"/>
                </a:lnTo>
                <a:lnTo>
                  <a:pt x="310" y="33"/>
                </a:lnTo>
                <a:lnTo>
                  <a:pt x="310" y="34"/>
                </a:lnTo>
                <a:lnTo>
                  <a:pt x="308" y="36"/>
                </a:lnTo>
                <a:lnTo>
                  <a:pt x="306" y="38"/>
                </a:lnTo>
                <a:lnTo>
                  <a:pt x="305" y="38"/>
                </a:lnTo>
                <a:lnTo>
                  <a:pt x="305" y="40"/>
                </a:lnTo>
                <a:lnTo>
                  <a:pt x="306" y="41"/>
                </a:lnTo>
                <a:lnTo>
                  <a:pt x="303" y="43"/>
                </a:lnTo>
                <a:lnTo>
                  <a:pt x="301" y="46"/>
                </a:lnTo>
                <a:lnTo>
                  <a:pt x="299" y="48"/>
                </a:lnTo>
                <a:lnTo>
                  <a:pt x="296" y="48"/>
                </a:lnTo>
                <a:lnTo>
                  <a:pt x="293" y="46"/>
                </a:lnTo>
                <a:lnTo>
                  <a:pt x="291" y="46"/>
                </a:lnTo>
                <a:lnTo>
                  <a:pt x="291" y="50"/>
                </a:lnTo>
                <a:lnTo>
                  <a:pt x="291" y="51"/>
                </a:lnTo>
                <a:lnTo>
                  <a:pt x="289" y="51"/>
                </a:lnTo>
                <a:lnTo>
                  <a:pt x="288" y="51"/>
                </a:lnTo>
                <a:lnTo>
                  <a:pt x="286" y="51"/>
                </a:lnTo>
                <a:lnTo>
                  <a:pt x="282" y="53"/>
                </a:lnTo>
                <a:lnTo>
                  <a:pt x="284" y="57"/>
                </a:lnTo>
                <a:lnTo>
                  <a:pt x="282" y="57"/>
                </a:lnTo>
                <a:lnTo>
                  <a:pt x="282" y="58"/>
                </a:lnTo>
                <a:lnTo>
                  <a:pt x="281" y="60"/>
                </a:lnTo>
                <a:lnTo>
                  <a:pt x="281" y="62"/>
                </a:lnTo>
                <a:lnTo>
                  <a:pt x="281" y="63"/>
                </a:lnTo>
                <a:lnTo>
                  <a:pt x="279" y="63"/>
                </a:lnTo>
                <a:lnTo>
                  <a:pt x="279" y="65"/>
                </a:lnTo>
                <a:lnTo>
                  <a:pt x="277" y="67"/>
                </a:lnTo>
                <a:lnTo>
                  <a:pt x="276" y="68"/>
                </a:lnTo>
                <a:lnTo>
                  <a:pt x="274" y="70"/>
                </a:lnTo>
                <a:lnTo>
                  <a:pt x="274" y="72"/>
                </a:lnTo>
                <a:lnTo>
                  <a:pt x="276" y="75"/>
                </a:lnTo>
                <a:lnTo>
                  <a:pt x="276" y="77"/>
                </a:lnTo>
                <a:lnTo>
                  <a:pt x="276" y="79"/>
                </a:lnTo>
                <a:lnTo>
                  <a:pt x="276" y="80"/>
                </a:lnTo>
                <a:lnTo>
                  <a:pt x="274" y="80"/>
                </a:lnTo>
                <a:lnTo>
                  <a:pt x="272" y="80"/>
                </a:lnTo>
                <a:lnTo>
                  <a:pt x="272" y="84"/>
                </a:lnTo>
                <a:lnTo>
                  <a:pt x="271" y="85"/>
                </a:lnTo>
                <a:lnTo>
                  <a:pt x="271" y="87"/>
                </a:lnTo>
                <a:lnTo>
                  <a:pt x="271" y="89"/>
                </a:lnTo>
                <a:lnTo>
                  <a:pt x="271" y="91"/>
                </a:lnTo>
                <a:lnTo>
                  <a:pt x="269" y="92"/>
                </a:lnTo>
                <a:lnTo>
                  <a:pt x="271" y="94"/>
                </a:lnTo>
                <a:lnTo>
                  <a:pt x="269" y="96"/>
                </a:lnTo>
                <a:lnTo>
                  <a:pt x="269" y="99"/>
                </a:lnTo>
                <a:lnTo>
                  <a:pt x="269" y="101"/>
                </a:lnTo>
                <a:lnTo>
                  <a:pt x="267" y="101"/>
                </a:lnTo>
                <a:lnTo>
                  <a:pt x="265" y="101"/>
                </a:lnTo>
                <a:lnTo>
                  <a:pt x="265" y="102"/>
                </a:lnTo>
                <a:lnTo>
                  <a:pt x="264" y="106"/>
                </a:lnTo>
                <a:lnTo>
                  <a:pt x="262" y="106"/>
                </a:lnTo>
                <a:lnTo>
                  <a:pt x="264" y="108"/>
                </a:lnTo>
                <a:lnTo>
                  <a:pt x="265" y="109"/>
                </a:lnTo>
                <a:lnTo>
                  <a:pt x="264" y="111"/>
                </a:lnTo>
                <a:lnTo>
                  <a:pt x="265" y="111"/>
                </a:lnTo>
                <a:lnTo>
                  <a:pt x="264" y="114"/>
                </a:lnTo>
                <a:lnTo>
                  <a:pt x="262" y="114"/>
                </a:lnTo>
                <a:lnTo>
                  <a:pt x="262" y="118"/>
                </a:lnTo>
                <a:lnTo>
                  <a:pt x="262" y="119"/>
                </a:lnTo>
                <a:lnTo>
                  <a:pt x="260" y="119"/>
                </a:lnTo>
                <a:lnTo>
                  <a:pt x="259" y="121"/>
                </a:lnTo>
                <a:lnTo>
                  <a:pt x="259" y="125"/>
                </a:lnTo>
                <a:lnTo>
                  <a:pt x="257" y="126"/>
                </a:lnTo>
                <a:lnTo>
                  <a:pt x="260" y="128"/>
                </a:lnTo>
                <a:lnTo>
                  <a:pt x="260" y="130"/>
                </a:lnTo>
                <a:lnTo>
                  <a:pt x="259" y="131"/>
                </a:lnTo>
                <a:lnTo>
                  <a:pt x="255" y="131"/>
                </a:lnTo>
                <a:lnTo>
                  <a:pt x="257" y="135"/>
                </a:lnTo>
                <a:lnTo>
                  <a:pt x="255" y="135"/>
                </a:lnTo>
                <a:lnTo>
                  <a:pt x="255" y="136"/>
                </a:lnTo>
                <a:lnTo>
                  <a:pt x="254" y="136"/>
                </a:lnTo>
                <a:lnTo>
                  <a:pt x="252" y="138"/>
                </a:lnTo>
                <a:lnTo>
                  <a:pt x="250" y="140"/>
                </a:lnTo>
                <a:lnTo>
                  <a:pt x="252" y="140"/>
                </a:lnTo>
                <a:lnTo>
                  <a:pt x="250" y="143"/>
                </a:lnTo>
                <a:lnTo>
                  <a:pt x="250" y="147"/>
                </a:lnTo>
                <a:lnTo>
                  <a:pt x="250" y="148"/>
                </a:lnTo>
                <a:lnTo>
                  <a:pt x="252" y="148"/>
                </a:lnTo>
                <a:lnTo>
                  <a:pt x="254" y="150"/>
                </a:lnTo>
                <a:lnTo>
                  <a:pt x="252" y="152"/>
                </a:lnTo>
                <a:lnTo>
                  <a:pt x="254" y="153"/>
                </a:lnTo>
                <a:lnTo>
                  <a:pt x="252" y="153"/>
                </a:lnTo>
                <a:lnTo>
                  <a:pt x="248" y="153"/>
                </a:lnTo>
                <a:lnTo>
                  <a:pt x="248" y="155"/>
                </a:lnTo>
                <a:lnTo>
                  <a:pt x="248" y="157"/>
                </a:lnTo>
                <a:lnTo>
                  <a:pt x="248" y="159"/>
                </a:lnTo>
                <a:lnTo>
                  <a:pt x="248" y="160"/>
                </a:lnTo>
                <a:lnTo>
                  <a:pt x="248" y="162"/>
                </a:lnTo>
                <a:lnTo>
                  <a:pt x="245" y="162"/>
                </a:lnTo>
                <a:lnTo>
                  <a:pt x="245" y="164"/>
                </a:lnTo>
                <a:lnTo>
                  <a:pt x="243" y="165"/>
                </a:lnTo>
                <a:lnTo>
                  <a:pt x="242" y="165"/>
                </a:lnTo>
                <a:lnTo>
                  <a:pt x="240" y="165"/>
                </a:lnTo>
                <a:lnTo>
                  <a:pt x="238" y="165"/>
                </a:lnTo>
                <a:lnTo>
                  <a:pt x="237" y="164"/>
                </a:lnTo>
                <a:lnTo>
                  <a:pt x="237" y="165"/>
                </a:lnTo>
                <a:lnTo>
                  <a:pt x="233" y="164"/>
                </a:lnTo>
                <a:lnTo>
                  <a:pt x="231" y="165"/>
                </a:lnTo>
                <a:lnTo>
                  <a:pt x="230" y="165"/>
                </a:lnTo>
                <a:lnTo>
                  <a:pt x="228" y="167"/>
                </a:lnTo>
                <a:lnTo>
                  <a:pt x="230" y="171"/>
                </a:lnTo>
                <a:lnTo>
                  <a:pt x="228" y="171"/>
                </a:lnTo>
                <a:lnTo>
                  <a:pt x="228" y="174"/>
                </a:lnTo>
                <a:lnTo>
                  <a:pt x="226" y="176"/>
                </a:lnTo>
                <a:lnTo>
                  <a:pt x="225" y="176"/>
                </a:lnTo>
                <a:lnTo>
                  <a:pt x="225" y="177"/>
                </a:lnTo>
                <a:lnTo>
                  <a:pt x="223" y="176"/>
                </a:lnTo>
                <a:lnTo>
                  <a:pt x="221" y="176"/>
                </a:lnTo>
                <a:lnTo>
                  <a:pt x="220" y="174"/>
                </a:lnTo>
                <a:lnTo>
                  <a:pt x="216" y="174"/>
                </a:lnTo>
                <a:lnTo>
                  <a:pt x="216" y="176"/>
                </a:lnTo>
                <a:lnTo>
                  <a:pt x="216" y="177"/>
                </a:lnTo>
                <a:lnTo>
                  <a:pt x="214" y="177"/>
                </a:lnTo>
                <a:lnTo>
                  <a:pt x="213" y="177"/>
                </a:lnTo>
                <a:lnTo>
                  <a:pt x="211" y="177"/>
                </a:lnTo>
                <a:lnTo>
                  <a:pt x="209" y="176"/>
                </a:lnTo>
                <a:lnTo>
                  <a:pt x="208" y="177"/>
                </a:lnTo>
                <a:lnTo>
                  <a:pt x="206" y="179"/>
                </a:lnTo>
                <a:lnTo>
                  <a:pt x="206" y="181"/>
                </a:lnTo>
                <a:lnTo>
                  <a:pt x="206" y="179"/>
                </a:lnTo>
                <a:lnTo>
                  <a:pt x="204" y="181"/>
                </a:lnTo>
                <a:lnTo>
                  <a:pt x="203" y="179"/>
                </a:lnTo>
                <a:lnTo>
                  <a:pt x="203" y="177"/>
                </a:lnTo>
                <a:lnTo>
                  <a:pt x="199" y="179"/>
                </a:lnTo>
                <a:lnTo>
                  <a:pt x="197" y="177"/>
                </a:lnTo>
                <a:lnTo>
                  <a:pt x="196" y="179"/>
                </a:lnTo>
                <a:lnTo>
                  <a:pt x="196" y="181"/>
                </a:lnTo>
                <a:lnTo>
                  <a:pt x="194" y="177"/>
                </a:lnTo>
                <a:lnTo>
                  <a:pt x="192" y="179"/>
                </a:lnTo>
                <a:lnTo>
                  <a:pt x="189" y="179"/>
                </a:lnTo>
                <a:lnTo>
                  <a:pt x="187" y="181"/>
                </a:lnTo>
                <a:lnTo>
                  <a:pt x="186" y="181"/>
                </a:lnTo>
                <a:lnTo>
                  <a:pt x="184" y="182"/>
                </a:lnTo>
                <a:lnTo>
                  <a:pt x="182" y="182"/>
                </a:lnTo>
                <a:lnTo>
                  <a:pt x="180" y="181"/>
                </a:lnTo>
                <a:lnTo>
                  <a:pt x="179" y="179"/>
                </a:lnTo>
                <a:lnTo>
                  <a:pt x="177" y="179"/>
                </a:lnTo>
                <a:lnTo>
                  <a:pt x="175" y="181"/>
                </a:lnTo>
                <a:lnTo>
                  <a:pt x="174" y="181"/>
                </a:lnTo>
                <a:lnTo>
                  <a:pt x="172" y="181"/>
                </a:lnTo>
                <a:lnTo>
                  <a:pt x="172" y="182"/>
                </a:lnTo>
                <a:lnTo>
                  <a:pt x="170" y="182"/>
                </a:lnTo>
                <a:lnTo>
                  <a:pt x="169" y="184"/>
                </a:lnTo>
                <a:lnTo>
                  <a:pt x="170" y="186"/>
                </a:lnTo>
                <a:lnTo>
                  <a:pt x="169" y="188"/>
                </a:lnTo>
                <a:lnTo>
                  <a:pt x="167" y="189"/>
                </a:lnTo>
                <a:lnTo>
                  <a:pt x="165" y="191"/>
                </a:lnTo>
                <a:lnTo>
                  <a:pt x="163" y="193"/>
                </a:lnTo>
                <a:lnTo>
                  <a:pt x="163" y="191"/>
                </a:lnTo>
                <a:lnTo>
                  <a:pt x="162" y="193"/>
                </a:lnTo>
                <a:lnTo>
                  <a:pt x="160" y="194"/>
                </a:lnTo>
                <a:lnTo>
                  <a:pt x="160" y="196"/>
                </a:lnTo>
                <a:lnTo>
                  <a:pt x="158" y="196"/>
                </a:lnTo>
                <a:lnTo>
                  <a:pt x="155" y="196"/>
                </a:lnTo>
                <a:lnTo>
                  <a:pt x="157" y="196"/>
                </a:lnTo>
                <a:lnTo>
                  <a:pt x="153" y="196"/>
                </a:lnTo>
                <a:lnTo>
                  <a:pt x="152" y="193"/>
                </a:lnTo>
                <a:lnTo>
                  <a:pt x="150" y="194"/>
                </a:lnTo>
                <a:lnTo>
                  <a:pt x="150" y="196"/>
                </a:lnTo>
                <a:lnTo>
                  <a:pt x="150" y="199"/>
                </a:lnTo>
                <a:lnTo>
                  <a:pt x="148" y="199"/>
                </a:lnTo>
                <a:lnTo>
                  <a:pt x="146" y="199"/>
                </a:lnTo>
                <a:lnTo>
                  <a:pt x="146" y="203"/>
                </a:lnTo>
                <a:lnTo>
                  <a:pt x="146" y="201"/>
                </a:lnTo>
                <a:lnTo>
                  <a:pt x="145" y="203"/>
                </a:lnTo>
                <a:lnTo>
                  <a:pt x="141" y="201"/>
                </a:lnTo>
                <a:lnTo>
                  <a:pt x="141" y="203"/>
                </a:lnTo>
                <a:lnTo>
                  <a:pt x="140" y="203"/>
                </a:lnTo>
                <a:lnTo>
                  <a:pt x="141" y="205"/>
                </a:lnTo>
                <a:lnTo>
                  <a:pt x="138" y="205"/>
                </a:lnTo>
                <a:lnTo>
                  <a:pt x="138" y="206"/>
                </a:lnTo>
                <a:lnTo>
                  <a:pt x="135" y="205"/>
                </a:lnTo>
                <a:lnTo>
                  <a:pt x="133" y="205"/>
                </a:lnTo>
                <a:lnTo>
                  <a:pt x="131" y="205"/>
                </a:lnTo>
                <a:lnTo>
                  <a:pt x="131" y="206"/>
                </a:lnTo>
                <a:lnTo>
                  <a:pt x="129" y="206"/>
                </a:lnTo>
                <a:lnTo>
                  <a:pt x="131" y="208"/>
                </a:lnTo>
                <a:lnTo>
                  <a:pt x="129" y="208"/>
                </a:lnTo>
                <a:lnTo>
                  <a:pt x="129" y="210"/>
                </a:lnTo>
                <a:lnTo>
                  <a:pt x="128" y="213"/>
                </a:lnTo>
                <a:lnTo>
                  <a:pt x="124" y="215"/>
                </a:lnTo>
                <a:lnTo>
                  <a:pt x="123" y="215"/>
                </a:lnTo>
                <a:lnTo>
                  <a:pt x="123" y="216"/>
                </a:lnTo>
                <a:lnTo>
                  <a:pt x="121" y="216"/>
                </a:lnTo>
                <a:lnTo>
                  <a:pt x="121" y="218"/>
                </a:lnTo>
                <a:lnTo>
                  <a:pt x="119" y="218"/>
                </a:lnTo>
                <a:lnTo>
                  <a:pt x="118" y="216"/>
                </a:lnTo>
                <a:lnTo>
                  <a:pt x="116" y="218"/>
                </a:lnTo>
                <a:lnTo>
                  <a:pt x="114" y="218"/>
                </a:lnTo>
                <a:lnTo>
                  <a:pt x="112" y="218"/>
                </a:lnTo>
                <a:lnTo>
                  <a:pt x="111" y="216"/>
                </a:lnTo>
                <a:lnTo>
                  <a:pt x="109" y="216"/>
                </a:lnTo>
                <a:lnTo>
                  <a:pt x="107" y="218"/>
                </a:lnTo>
                <a:lnTo>
                  <a:pt x="106" y="216"/>
                </a:lnTo>
                <a:lnTo>
                  <a:pt x="104" y="218"/>
                </a:lnTo>
                <a:lnTo>
                  <a:pt x="101" y="218"/>
                </a:lnTo>
                <a:lnTo>
                  <a:pt x="99" y="216"/>
                </a:lnTo>
                <a:lnTo>
                  <a:pt x="99" y="218"/>
                </a:lnTo>
                <a:lnTo>
                  <a:pt x="95" y="218"/>
                </a:lnTo>
                <a:lnTo>
                  <a:pt x="94" y="218"/>
                </a:lnTo>
                <a:lnTo>
                  <a:pt x="92" y="220"/>
                </a:lnTo>
                <a:lnTo>
                  <a:pt x="90" y="218"/>
                </a:lnTo>
                <a:lnTo>
                  <a:pt x="90" y="216"/>
                </a:lnTo>
                <a:lnTo>
                  <a:pt x="90" y="218"/>
                </a:lnTo>
                <a:lnTo>
                  <a:pt x="87" y="216"/>
                </a:lnTo>
                <a:lnTo>
                  <a:pt x="85" y="216"/>
                </a:lnTo>
                <a:lnTo>
                  <a:pt x="84" y="215"/>
                </a:lnTo>
                <a:lnTo>
                  <a:pt x="82" y="216"/>
                </a:lnTo>
                <a:lnTo>
                  <a:pt x="82" y="215"/>
                </a:lnTo>
                <a:lnTo>
                  <a:pt x="82" y="213"/>
                </a:lnTo>
                <a:lnTo>
                  <a:pt x="80" y="211"/>
                </a:lnTo>
                <a:lnTo>
                  <a:pt x="77" y="210"/>
                </a:lnTo>
                <a:lnTo>
                  <a:pt x="75" y="210"/>
                </a:lnTo>
                <a:lnTo>
                  <a:pt x="72" y="210"/>
                </a:lnTo>
                <a:lnTo>
                  <a:pt x="70" y="210"/>
                </a:lnTo>
                <a:lnTo>
                  <a:pt x="70" y="211"/>
                </a:lnTo>
                <a:lnTo>
                  <a:pt x="70" y="210"/>
                </a:lnTo>
                <a:lnTo>
                  <a:pt x="68" y="211"/>
                </a:lnTo>
                <a:lnTo>
                  <a:pt x="68" y="210"/>
                </a:lnTo>
                <a:lnTo>
                  <a:pt x="67" y="210"/>
                </a:lnTo>
                <a:lnTo>
                  <a:pt x="68" y="208"/>
                </a:lnTo>
                <a:lnTo>
                  <a:pt x="67" y="208"/>
                </a:lnTo>
                <a:lnTo>
                  <a:pt x="67" y="206"/>
                </a:lnTo>
                <a:lnTo>
                  <a:pt x="67" y="208"/>
                </a:lnTo>
                <a:lnTo>
                  <a:pt x="65" y="206"/>
                </a:lnTo>
                <a:lnTo>
                  <a:pt x="65" y="208"/>
                </a:lnTo>
                <a:lnTo>
                  <a:pt x="65" y="206"/>
                </a:lnTo>
                <a:lnTo>
                  <a:pt x="63" y="208"/>
                </a:lnTo>
                <a:lnTo>
                  <a:pt x="63" y="206"/>
                </a:lnTo>
                <a:lnTo>
                  <a:pt x="61" y="206"/>
                </a:lnTo>
                <a:lnTo>
                  <a:pt x="63" y="205"/>
                </a:lnTo>
                <a:lnTo>
                  <a:pt x="61" y="205"/>
                </a:lnTo>
                <a:lnTo>
                  <a:pt x="61" y="203"/>
                </a:lnTo>
                <a:lnTo>
                  <a:pt x="60" y="203"/>
                </a:lnTo>
                <a:lnTo>
                  <a:pt x="61" y="201"/>
                </a:lnTo>
                <a:lnTo>
                  <a:pt x="60" y="201"/>
                </a:lnTo>
                <a:lnTo>
                  <a:pt x="58" y="201"/>
                </a:lnTo>
                <a:lnTo>
                  <a:pt x="60" y="199"/>
                </a:lnTo>
                <a:lnTo>
                  <a:pt x="58" y="199"/>
                </a:lnTo>
                <a:lnTo>
                  <a:pt x="56" y="199"/>
                </a:lnTo>
                <a:lnTo>
                  <a:pt x="56" y="198"/>
                </a:lnTo>
                <a:lnTo>
                  <a:pt x="56" y="194"/>
                </a:lnTo>
                <a:lnTo>
                  <a:pt x="55" y="196"/>
                </a:lnTo>
                <a:lnTo>
                  <a:pt x="53" y="194"/>
                </a:lnTo>
                <a:lnTo>
                  <a:pt x="51" y="194"/>
                </a:lnTo>
                <a:lnTo>
                  <a:pt x="51" y="193"/>
                </a:lnTo>
                <a:lnTo>
                  <a:pt x="50" y="193"/>
                </a:lnTo>
                <a:lnTo>
                  <a:pt x="48" y="193"/>
                </a:lnTo>
                <a:lnTo>
                  <a:pt x="46" y="193"/>
                </a:lnTo>
                <a:lnTo>
                  <a:pt x="46" y="191"/>
                </a:lnTo>
                <a:lnTo>
                  <a:pt x="44" y="191"/>
                </a:lnTo>
                <a:lnTo>
                  <a:pt x="43" y="189"/>
                </a:lnTo>
                <a:lnTo>
                  <a:pt x="41" y="189"/>
                </a:lnTo>
                <a:lnTo>
                  <a:pt x="41" y="188"/>
                </a:lnTo>
                <a:lnTo>
                  <a:pt x="41" y="186"/>
                </a:lnTo>
                <a:lnTo>
                  <a:pt x="41" y="184"/>
                </a:lnTo>
                <a:lnTo>
                  <a:pt x="39" y="182"/>
                </a:lnTo>
                <a:lnTo>
                  <a:pt x="38" y="182"/>
                </a:lnTo>
                <a:lnTo>
                  <a:pt x="36" y="181"/>
                </a:lnTo>
                <a:lnTo>
                  <a:pt x="34" y="182"/>
                </a:lnTo>
                <a:lnTo>
                  <a:pt x="33" y="181"/>
                </a:lnTo>
                <a:lnTo>
                  <a:pt x="33" y="182"/>
                </a:lnTo>
                <a:lnTo>
                  <a:pt x="33" y="181"/>
                </a:lnTo>
                <a:lnTo>
                  <a:pt x="31" y="179"/>
                </a:lnTo>
                <a:lnTo>
                  <a:pt x="31" y="177"/>
                </a:lnTo>
                <a:lnTo>
                  <a:pt x="29" y="177"/>
                </a:lnTo>
                <a:lnTo>
                  <a:pt x="27" y="177"/>
                </a:lnTo>
                <a:lnTo>
                  <a:pt x="26" y="176"/>
                </a:lnTo>
                <a:lnTo>
                  <a:pt x="22" y="174"/>
                </a:lnTo>
                <a:lnTo>
                  <a:pt x="22" y="172"/>
                </a:lnTo>
                <a:lnTo>
                  <a:pt x="22" y="171"/>
                </a:lnTo>
                <a:lnTo>
                  <a:pt x="21" y="171"/>
                </a:lnTo>
                <a:lnTo>
                  <a:pt x="21" y="169"/>
                </a:lnTo>
                <a:lnTo>
                  <a:pt x="19" y="167"/>
                </a:lnTo>
                <a:lnTo>
                  <a:pt x="17" y="167"/>
                </a:lnTo>
                <a:lnTo>
                  <a:pt x="16" y="165"/>
                </a:lnTo>
                <a:lnTo>
                  <a:pt x="16" y="164"/>
                </a:lnTo>
                <a:lnTo>
                  <a:pt x="17" y="164"/>
                </a:lnTo>
                <a:lnTo>
                  <a:pt x="17" y="162"/>
                </a:lnTo>
                <a:lnTo>
                  <a:pt x="14" y="162"/>
                </a:lnTo>
                <a:lnTo>
                  <a:pt x="14" y="160"/>
                </a:lnTo>
                <a:lnTo>
                  <a:pt x="12" y="159"/>
                </a:lnTo>
                <a:lnTo>
                  <a:pt x="10" y="159"/>
                </a:lnTo>
                <a:lnTo>
                  <a:pt x="12" y="157"/>
                </a:lnTo>
                <a:lnTo>
                  <a:pt x="10" y="157"/>
                </a:lnTo>
                <a:lnTo>
                  <a:pt x="10" y="155"/>
                </a:lnTo>
                <a:lnTo>
                  <a:pt x="12" y="153"/>
                </a:lnTo>
                <a:lnTo>
                  <a:pt x="12" y="152"/>
                </a:lnTo>
                <a:lnTo>
                  <a:pt x="10" y="150"/>
                </a:lnTo>
                <a:lnTo>
                  <a:pt x="9" y="150"/>
                </a:lnTo>
                <a:lnTo>
                  <a:pt x="7" y="150"/>
                </a:lnTo>
                <a:lnTo>
                  <a:pt x="4" y="152"/>
                </a:lnTo>
                <a:lnTo>
                  <a:pt x="0" y="150"/>
                </a:lnTo>
                <a:lnTo>
                  <a:pt x="2" y="150"/>
                </a:lnTo>
                <a:lnTo>
                  <a:pt x="4" y="148"/>
                </a:lnTo>
                <a:lnTo>
                  <a:pt x="4" y="145"/>
                </a:lnTo>
                <a:lnTo>
                  <a:pt x="5" y="145"/>
                </a:lnTo>
                <a:lnTo>
                  <a:pt x="7" y="143"/>
                </a:lnTo>
                <a:lnTo>
                  <a:pt x="9" y="143"/>
                </a:lnTo>
                <a:lnTo>
                  <a:pt x="7" y="142"/>
                </a:lnTo>
                <a:lnTo>
                  <a:pt x="9" y="140"/>
                </a:lnTo>
                <a:lnTo>
                  <a:pt x="9" y="142"/>
                </a:lnTo>
                <a:lnTo>
                  <a:pt x="10" y="142"/>
                </a:lnTo>
                <a:lnTo>
                  <a:pt x="10" y="140"/>
                </a:lnTo>
                <a:lnTo>
                  <a:pt x="12" y="140"/>
                </a:lnTo>
                <a:lnTo>
                  <a:pt x="14" y="140"/>
                </a:lnTo>
                <a:lnTo>
                  <a:pt x="16" y="140"/>
                </a:lnTo>
                <a:lnTo>
                  <a:pt x="17" y="140"/>
                </a:lnTo>
                <a:lnTo>
                  <a:pt x="19" y="140"/>
                </a:lnTo>
                <a:lnTo>
                  <a:pt x="17" y="140"/>
                </a:lnTo>
                <a:lnTo>
                  <a:pt x="17" y="138"/>
                </a:lnTo>
                <a:lnTo>
                  <a:pt x="16" y="138"/>
                </a:lnTo>
                <a:lnTo>
                  <a:pt x="19" y="136"/>
                </a:lnTo>
                <a:lnTo>
                  <a:pt x="17" y="135"/>
                </a:lnTo>
                <a:lnTo>
                  <a:pt x="16" y="133"/>
                </a:lnTo>
                <a:lnTo>
                  <a:pt x="17" y="131"/>
                </a:lnTo>
                <a:lnTo>
                  <a:pt x="19" y="131"/>
                </a:lnTo>
                <a:lnTo>
                  <a:pt x="19" y="130"/>
                </a:lnTo>
                <a:lnTo>
                  <a:pt x="16" y="130"/>
                </a:lnTo>
                <a:lnTo>
                  <a:pt x="16" y="128"/>
                </a:lnTo>
                <a:lnTo>
                  <a:pt x="16" y="126"/>
                </a:lnTo>
                <a:lnTo>
                  <a:pt x="14" y="126"/>
                </a:lnTo>
                <a:lnTo>
                  <a:pt x="14" y="125"/>
                </a:lnTo>
                <a:lnTo>
                  <a:pt x="14" y="123"/>
                </a:lnTo>
                <a:lnTo>
                  <a:pt x="16" y="123"/>
                </a:lnTo>
                <a:lnTo>
                  <a:pt x="16" y="121"/>
                </a:lnTo>
                <a:lnTo>
                  <a:pt x="16" y="118"/>
                </a:lnTo>
                <a:lnTo>
                  <a:pt x="14" y="118"/>
                </a:lnTo>
                <a:lnTo>
                  <a:pt x="14" y="116"/>
                </a:lnTo>
                <a:lnTo>
                  <a:pt x="14" y="113"/>
                </a:lnTo>
                <a:lnTo>
                  <a:pt x="14" y="111"/>
                </a:lnTo>
                <a:lnTo>
                  <a:pt x="16" y="111"/>
                </a:lnTo>
                <a:lnTo>
                  <a:pt x="16" y="113"/>
                </a:lnTo>
                <a:lnTo>
                  <a:pt x="17" y="111"/>
                </a:lnTo>
                <a:lnTo>
                  <a:pt x="19" y="111"/>
                </a:lnTo>
                <a:lnTo>
                  <a:pt x="21" y="109"/>
                </a:lnTo>
                <a:lnTo>
                  <a:pt x="22" y="108"/>
                </a:lnTo>
                <a:lnTo>
                  <a:pt x="24" y="106"/>
                </a:lnTo>
                <a:lnTo>
                  <a:pt x="22" y="104"/>
                </a:lnTo>
                <a:lnTo>
                  <a:pt x="24" y="104"/>
                </a:lnTo>
                <a:lnTo>
                  <a:pt x="26" y="101"/>
                </a:lnTo>
                <a:lnTo>
                  <a:pt x="22" y="99"/>
                </a:lnTo>
                <a:lnTo>
                  <a:pt x="22" y="97"/>
                </a:lnTo>
                <a:lnTo>
                  <a:pt x="22" y="96"/>
                </a:lnTo>
                <a:lnTo>
                  <a:pt x="21" y="96"/>
                </a:lnTo>
                <a:lnTo>
                  <a:pt x="17" y="96"/>
                </a:lnTo>
                <a:lnTo>
                  <a:pt x="16" y="94"/>
                </a:lnTo>
                <a:lnTo>
                  <a:pt x="14" y="96"/>
                </a:lnTo>
                <a:lnTo>
                  <a:pt x="14" y="94"/>
                </a:lnTo>
                <a:lnTo>
                  <a:pt x="10" y="94"/>
                </a:lnTo>
                <a:lnTo>
                  <a:pt x="12" y="92"/>
                </a:lnTo>
                <a:lnTo>
                  <a:pt x="14" y="91"/>
                </a:lnTo>
                <a:lnTo>
                  <a:pt x="16" y="91"/>
                </a:lnTo>
                <a:lnTo>
                  <a:pt x="16" y="89"/>
                </a:lnTo>
                <a:lnTo>
                  <a:pt x="16" y="87"/>
                </a:lnTo>
                <a:lnTo>
                  <a:pt x="19" y="85"/>
                </a:lnTo>
                <a:lnTo>
                  <a:pt x="21" y="87"/>
                </a:lnTo>
                <a:lnTo>
                  <a:pt x="24" y="87"/>
                </a:lnTo>
                <a:lnTo>
                  <a:pt x="24" y="89"/>
                </a:lnTo>
                <a:lnTo>
                  <a:pt x="26" y="91"/>
                </a:lnTo>
                <a:lnTo>
                  <a:pt x="29" y="91"/>
                </a:lnTo>
                <a:lnTo>
                  <a:pt x="29" y="89"/>
                </a:lnTo>
                <a:lnTo>
                  <a:pt x="31" y="87"/>
                </a:lnTo>
                <a:lnTo>
                  <a:pt x="31" y="91"/>
                </a:lnTo>
                <a:lnTo>
                  <a:pt x="34" y="91"/>
                </a:lnTo>
                <a:lnTo>
                  <a:pt x="36" y="89"/>
                </a:lnTo>
                <a:lnTo>
                  <a:pt x="39" y="89"/>
                </a:lnTo>
                <a:lnTo>
                  <a:pt x="41" y="87"/>
                </a:lnTo>
                <a:lnTo>
                  <a:pt x="39" y="84"/>
                </a:lnTo>
                <a:lnTo>
                  <a:pt x="39" y="82"/>
                </a:lnTo>
                <a:lnTo>
                  <a:pt x="41" y="80"/>
                </a:lnTo>
                <a:lnTo>
                  <a:pt x="39" y="79"/>
                </a:lnTo>
                <a:lnTo>
                  <a:pt x="38" y="77"/>
                </a:lnTo>
                <a:lnTo>
                  <a:pt x="39" y="75"/>
                </a:lnTo>
                <a:lnTo>
                  <a:pt x="41" y="77"/>
                </a:lnTo>
                <a:lnTo>
                  <a:pt x="41" y="74"/>
                </a:lnTo>
                <a:lnTo>
                  <a:pt x="41" y="72"/>
                </a:lnTo>
                <a:lnTo>
                  <a:pt x="39" y="72"/>
                </a:lnTo>
                <a:lnTo>
                  <a:pt x="41" y="70"/>
                </a:lnTo>
                <a:lnTo>
                  <a:pt x="39" y="70"/>
                </a:lnTo>
                <a:lnTo>
                  <a:pt x="41" y="68"/>
                </a:lnTo>
                <a:lnTo>
                  <a:pt x="43" y="67"/>
                </a:lnTo>
                <a:lnTo>
                  <a:pt x="44" y="65"/>
                </a:lnTo>
                <a:lnTo>
                  <a:pt x="46" y="65"/>
                </a:lnTo>
                <a:lnTo>
                  <a:pt x="48" y="67"/>
                </a:lnTo>
                <a:lnTo>
                  <a:pt x="51" y="67"/>
                </a:lnTo>
                <a:lnTo>
                  <a:pt x="53" y="68"/>
                </a:lnTo>
                <a:lnTo>
                  <a:pt x="55" y="70"/>
                </a:lnTo>
                <a:lnTo>
                  <a:pt x="56" y="72"/>
                </a:lnTo>
                <a:lnTo>
                  <a:pt x="58" y="74"/>
                </a:lnTo>
                <a:lnTo>
                  <a:pt x="60" y="75"/>
                </a:lnTo>
                <a:lnTo>
                  <a:pt x="61" y="75"/>
                </a:lnTo>
                <a:lnTo>
                  <a:pt x="63" y="79"/>
                </a:lnTo>
                <a:lnTo>
                  <a:pt x="65" y="77"/>
                </a:lnTo>
                <a:lnTo>
                  <a:pt x="67" y="79"/>
                </a:lnTo>
                <a:lnTo>
                  <a:pt x="70" y="80"/>
                </a:lnTo>
                <a:lnTo>
                  <a:pt x="70" y="82"/>
                </a:lnTo>
                <a:lnTo>
                  <a:pt x="73" y="82"/>
                </a:lnTo>
                <a:lnTo>
                  <a:pt x="75" y="82"/>
                </a:lnTo>
                <a:lnTo>
                  <a:pt x="78" y="82"/>
                </a:lnTo>
                <a:lnTo>
                  <a:pt x="82" y="80"/>
                </a:lnTo>
                <a:lnTo>
                  <a:pt x="84" y="80"/>
                </a:lnTo>
                <a:lnTo>
                  <a:pt x="85" y="80"/>
                </a:lnTo>
                <a:lnTo>
                  <a:pt x="89" y="79"/>
                </a:lnTo>
                <a:lnTo>
                  <a:pt x="90" y="80"/>
                </a:lnTo>
                <a:lnTo>
                  <a:pt x="92" y="80"/>
                </a:lnTo>
                <a:lnTo>
                  <a:pt x="94" y="80"/>
                </a:lnTo>
                <a:lnTo>
                  <a:pt x="95" y="80"/>
                </a:lnTo>
                <a:lnTo>
                  <a:pt x="97" y="80"/>
                </a:lnTo>
                <a:lnTo>
                  <a:pt x="101" y="79"/>
                </a:lnTo>
                <a:lnTo>
                  <a:pt x="102" y="79"/>
                </a:lnTo>
                <a:lnTo>
                  <a:pt x="104" y="77"/>
                </a:lnTo>
                <a:lnTo>
                  <a:pt x="106" y="77"/>
                </a:lnTo>
                <a:lnTo>
                  <a:pt x="107" y="77"/>
                </a:lnTo>
                <a:lnTo>
                  <a:pt x="109" y="77"/>
                </a:lnTo>
                <a:lnTo>
                  <a:pt x="111" y="77"/>
                </a:lnTo>
                <a:lnTo>
                  <a:pt x="112" y="77"/>
                </a:lnTo>
                <a:lnTo>
                  <a:pt x="114" y="77"/>
                </a:lnTo>
                <a:lnTo>
                  <a:pt x="116" y="75"/>
                </a:lnTo>
                <a:lnTo>
                  <a:pt x="118" y="74"/>
                </a:lnTo>
                <a:lnTo>
                  <a:pt x="118" y="72"/>
                </a:lnTo>
                <a:lnTo>
                  <a:pt x="121" y="70"/>
                </a:lnTo>
                <a:lnTo>
                  <a:pt x="123" y="72"/>
                </a:lnTo>
                <a:lnTo>
                  <a:pt x="123" y="70"/>
                </a:lnTo>
                <a:lnTo>
                  <a:pt x="121" y="68"/>
                </a:lnTo>
                <a:lnTo>
                  <a:pt x="119" y="68"/>
                </a:lnTo>
                <a:lnTo>
                  <a:pt x="118" y="67"/>
                </a:lnTo>
                <a:lnTo>
                  <a:pt x="118" y="65"/>
                </a:lnTo>
                <a:lnTo>
                  <a:pt x="119" y="62"/>
                </a:lnTo>
                <a:lnTo>
                  <a:pt x="118" y="60"/>
                </a:lnTo>
                <a:lnTo>
                  <a:pt x="121" y="58"/>
                </a:lnTo>
                <a:lnTo>
                  <a:pt x="121" y="57"/>
                </a:lnTo>
                <a:lnTo>
                  <a:pt x="119" y="57"/>
                </a:lnTo>
                <a:lnTo>
                  <a:pt x="121" y="55"/>
                </a:lnTo>
                <a:lnTo>
                  <a:pt x="123" y="53"/>
                </a:lnTo>
                <a:lnTo>
                  <a:pt x="124" y="55"/>
                </a:lnTo>
                <a:lnTo>
                  <a:pt x="126" y="53"/>
                </a:lnTo>
                <a:lnTo>
                  <a:pt x="128" y="53"/>
                </a:lnTo>
                <a:lnTo>
                  <a:pt x="129" y="51"/>
                </a:lnTo>
                <a:lnTo>
                  <a:pt x="131" y="53"/>
                </a:lnTo>
                <a:lnTo>
                  <a:pt x="131" y="51"/>
                </a:lnTo>
                <a:lnTo>
                  <a:pt x="135" y="51"/>
                </a:lnTo>
                <a:lnTo>
                  <a:pt x="136" y="51"/>
                </a:lnTo>
                <a:lnTo>
                  <a:pt x="138" y="51"/>
                </a:lnTo>
                <a:lnTo>
                  <a:pt x="140" y="51"/>
                </a:lnTo>
                <a:lnTo>
                  <a:pt x="140" y="50"/>
                </a:lnTo>
                <a:lnTo>
                  <a:pt x="141" y="50"/>
                </a:lnTo>
                <a:lnTo>
                  <a:pt x="145" y="50"/>
                </a:lnTo>
                <a:lnTo>
                  <a:pt x="146" y="48"/>
                </a:lnTo>
                <a:lnTo>
                  <a:pt x="146" y="50"/>
                </a:lnTo>
                <a:lnTo>
                  <a:pt x="148" y="48"/>
                </a:lnTo>
                <a:lnTo>
                  <a:pt x="150" y="48"/>
                </a:lnTo>
                <a:lnTo>
                  <a:pt x="150" y="46"/>
                </a:lnTo>
                <a:lnTo>
                  <a:pt x="150" y="45"/>
                </a:lnTo>
                <a:lnTo>
                  <a:pt x="152" y="45"/>
                </a:lnTo>
                <a:lnTo>
                  <a:pt x="150" y="43"/>
                </a:lnTo>
                <a:lnTo>
                  <a:pt x="152" y="40"/>
                </a:lnTo>
                <a:lnTo>
                  <a:pt x="153" y="40"/>
                </a:lnTo>
                <a:lnTo>
                  <a:pt x="155" y="38"/>
                </a:lnTo>
                <a:lnTo>
                  <a:pt x="155" y="36"/>
                </a:lnTo>
                <a:lnTo>
                  <a:pt x="158" y="36"/>
                </a:lnTo>
                <a:lnTo>
                  <a:pt x="158" y="40"/>
                </a:lnTo>
                <a:lnTo>
                  <a:pt x="162" y="38"/>
                </a:lnTo>
                <a:lnTo>
                  <a:pt x="163" y="40"/>
                </a:lnTo>
                <a:lnTo>
                  <a:pt x="163" y="41"/>
                </a:lnTo>
                <a:lnTo>
                  <a:pt x="165" y="41"/>
                </a:lnTo>
                <a:lnTo>
                  <a:pt x="167" y="41"/>
                </a:lnTo>
                <a:lnTo>
                  <a:pt x="167" y="40"/>
                </a:lnTo>
                <a:lnTo>
                  <a:pt x="169" y="40"/>
                </a:lnTo>
                <a:lnTo>
                  <a:pt x="170" y="41"/>
                </a:lnTo>
                <a:lnTo>
                  <a:pt x="169" y="43"/>
                </a:lnTo>
                <a:lnTo>
                  <a:pt x="170" y="43"/>
                </a:lnTo>
                <a:lnTo>
                  <a:pt x="172" y="40"/>
                </a:lnTo>
                <a:lnTo>
                  <a:pt x="175" y="40"/>
                </a:lnTo>
                <a:lnTo>
                  <a:pt x="177" y="38"/>
                </a:lnTo>
                <a:lnTo>
                  <a:pt x="177" y="36"/>
                </a:lnTo>
                <a:lnTo>
                  <a:pt x="179" y="34"/>
                </a:lnTo>
                <a:lnTo>
                  <a:pt x="179" y="33"/>
                </a:lnTo>
                <a:lnTo>
                  <a:pt x="180" y="33"/>
                </a:lnTo>
                <a:lnTo>
                  <a:pt x="182" y="33"/>
                </a:lnTo>
                <a:lnTo>
                  <a:pt x="184" y="31"/>
                </a:lnTo>
                <a:lnTo>
                  <a:pt x="186" y="31"/>
                </a:lnTo>
                <a:lnTo>
                  <a:pt x="187" y="29"/>
                </a:lnTo>
                <a:lnTo>
                  <a:pt x="187" y="28"/>
                </a:lnTo>
                <a:lnTo>
                  <a:pt x="189" y="26"/>
                </a:lnTo>
                <a:lnTo>
                  <a:pt x="191" y="23"/>
                </a:lnTo>
                <a:lnTo>
                  <a:pt x="191" y="19"/>
                </a:lnTo>
                <a:lnTo>
                  <a:pt x="192" y="17"/>
                </a:lnTo>
                <a:lnTo>
                  <a:pt x="192" y="16"/>
                </a:lnTo>
                <a:lnTo>
                  <a:pt x="194" y="14"/>
                </a:lnTo>
                <a:lnTo>
                  <a:pt x="192" y="11"/>
                </a:lnTo>
                <a:lnTo>
                  <a:pt x="194" y="11"/>
                </a:lnTo>
                <a:lnTo>
                  <a:pt x="196" y="11"/>
                </a:lnTo>
                <a:lnTo>
                  <a:pt x="197" y="11"/>
                </a:lnTo>
                <a:lnTo>
                  <a:pt x="199" y="9"/>
                </a:lnTo>
                <a:lnTo>
                  <a:pt x="199" y="7"/>
                </a:lnTo>
                <a:lnTo>
                  <a:pt x="203" y="7"/>
                </a:lnTo>
                <a:lnTo>
                  <a:pt x="206" y="6"/>
                </a:lnTo>
                <a:lnTo>
                  <a:pt x="208" y="6"/>
                </a:lnTo>
                <a:lnTo>
                  <a:pt x="209" y="7"/>
                </a:lnTo>
                <a:lnTo>
                  <a:pt x="211" y="6"/>
                </a:lnTo>
                <a:lnTo>
                  <a:pt x="214" y="7"/>
                </a:lnTo>
                <a:lnTo>
                  <a:pt x="214" y="9"/>
                </a:lnTo>
                <a:lnTo>
                  <a:pt x="216" y="7"/>
                </a:lnTo>
                <a:lnTo>
                  <a:pt x="220" y="7"/>
                </a:lnTo>
                <a:lnTo>
                  <a:pt x="221" y="9"/>
                </a:lnTo>
                <a:lnTo>
                  <a:pt x="223" y="7"/>
                </a:lnTo>
                <a:lnTo>
                  <a:pt x="226" y="6"/>
                </a:lnTo>
                <a:lnTo>
                  <a:pt x="228" y="6"/>
                </a:lnTo>
                <a:lnTo>
                  <a:pt x="230" y="6"/>
                </a:lnTo>
                <a:lnTo>
                  <a:pt x="230" y="4"/>
                </a:lnTo>
                <a:lnTo>
                  <a:pt x="233" y="4"/>
                </a:lnTo>
                <a:lnTo>
                  <a:pt x="233" y="2"/>
                </a:lnTo>
                <a:lnTo>
                  <a:pt x="235" y="2"/>
                </a:lnTo>
                <a:lnTo>
                  <a:pt x="235" y="0"/>
                </a:lnTo>
                <a:lnTo>
                  <a:pt x="237" y="2"/>
                </a:lnTo>
                <a:lnTo>
                  <a:pt x="238" y="2"/>
                </a:lnTo>
                <a:lnTo>
                  <a:pt x="240" y="2"/>
                </a:lnTo>
                <a:lnTo>
                  <a:pt x="240" y="4"/>
                </a:lnTo>
                <a:lnTo>
                  <a:pt x="242" y="6"/>
                </a:lnTo>
                <a:lnTo>
                  <a:pt x="243" y="4"/>
                </a:lnTo>
                <a:lnTo>
                  <a:pt x="245" y="6"/>
                </a:lnTo>
                <a:lnTo>
                  <a:pt x="245" y="7"/>
                </a:lnTo>
                <a:lnTo>
                  <a:pt x="245" y="9"/>
                </a:lnTo>
                <a:lnTo>
                  <a:pt x="248" y="11"/>
                </a:lnTo>
                <a:lnTo>
                  <a:pt x="248" y="12"/>
                </a:lnTo>
                <a:lnTo>
                  <a:pt x="250" y="12"/>
                </a:lnTo>
                <a:lnTo>
                  <a:pt x="252" y="16"/>
                </a:lnTo>
                <a:lnTo>
                  <a:pt x="254" y="16"/>
                </a:lnTo>
                <a:lnTo>
                  <a:pt x="255" y="16"/>
                </a:lnTo>
                <a:lnTo>
                  <a:pt x="257" y="12"/>
                </a:lnTo>
                <a:lnTo>
                  <a:pt x="257" y="14"/>
                </a:lnTo>
                <a:lnTo>
                  <a:pt x="259" y="12"/>
                </a:lnTo>
                <a:lnTo>
                  <a:pt x="260" y="12"/>
                </a:lnTo>
                <a:lnTo>
                  <a:pt x="260" y="11"/>
                </a:lnTo>
                <a:lnTo>
                  <a:pt x="262" y="11"/>
                </a:lnTo>
                <a:lnTo>
                  <a:pt x="264" y="9"/>
                </a:lnTo>
                <a:lnTo>
                  <a:pt x="265" y="11"/>
                </a:lnTo>
                <a:lnTo>
                  <a:pt x="267" y="9"/>
                </a:lnTo>
                <a:lnTo>
                  <a:pt x="267" y="11"/>
                </a:lnTo>
                <a:lnTo>
                  <a:pt x="269" y="9"/>
                </a:lnTo>
                <a:lnTo>
                  <a:pt x="271" y="7"/>
                </a:lnTo>
                <a:close/>
              </a:path>
            </a:pathLst>
          </a:custGeom>
          <a:solidFill>
            <a:srgbClr val="E6E6E6"/>
          </a:solidFill>
          <a:ln w="6350">
            <a:solidFill>
              <a:schemeClr val="tx1">
                <a:lumMod val="25000"/>
                <a:lumOff val="75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22222"/>
              </a:solidFill>
              <a:effectLst/>
              <a:uLnTx/>
              <a:uFillTx/>
              <a:latin typeface="Bahnschrift" panose="020B0502040204020203" pitchFamily="34" charset="0"/>
              <a:sym typeface="Bahnschrift" panose="020B0502040204020203" pitchFamily="34" charset="0"/>
            </a:endParaRPr>
          </a:p>
        </p:txBody>
      </p:sp>
      <p:grpSp>
        <p:nvGrpSpPr>
          <p:cNvPr id="13" name="Group 12">
            <a:extLst>
              <a:ext uri="{FF2B5EF4-FFF2-40B4-BE49-F238E27FC236}">
                <a16:creationId xmlns:a16="http://schemas.microsoft.com/office/drawing/2014/main" id="{934C3048-46E2-431E-9400-C9804E7ED736}"/>
              </a:ext>
            </a:extLst>
          </p:cNvPr>
          <p:cNvGrpSpPr/>
          <p:nvPr/>
        </p:nvGrpSpPr>
        <p:grpSpPr>
          <a:xfrm>
            <a:off x="4015382" y="6383071"/>
            <a:ext cx="305521" cy="213328"/>
            <a:chOff x="1270526" y="5887375"/>
            <a:chExt cx="305521" cy="213328"/>
          </a:xfrm>
        </p:grpSpPr>
        <p:pic>
          <p:nvPicPr>
            <p:cNvPr id="152" name="Picture 151">
              <a:extLst>
                <a:ext uri="{FF2B5EF4-FFF2-40B4-BE49-F238E27FC236}">
                  <a16:creationId xmlns:a16="http://schemas.microsoft.com/office/drawing/2014/main" id="{1C234B97-67DA-4214-8BB3-71AFF6665A90}"/>
                </a:ext>
              </a:extLst>
            </p:cNvPr>
            <p:cNvPicPr>
              <a:picLocks/>
            </p:cNvPicPr>
            <p:nvPr/>
          </p:nvPicPr>
          <p:blipFill>
            <a:blip r:embed="rId16" cstate="screen">
              <a:extLst>
                <a:ext uri="{28A0092B-C50C-407E-A947-70E740481C1C}">
                  <a14:useLocalDpi xmlns:a14="http://schemas.microsoft.com/office/drawing/2010/main"/>
                </a:ext>
              </a:extLst>
            </a:blip>
            <a:stretch>
              <a:fillRect/>
            </a:stretch>
          </p:blipFill>
          <p:spPr>
            <a:xfrm>
              <a:off x="1270526" y="5887375"/>
              <a:ext cx="305521" cy="213328"/>
            </a:xfrm>
            <a:prstGeom prst="rect">
              <a:avLst/>
            </a:prstGeom>
            <a:ln w="6350">
              <a:solidFill>
                <a:srgbClr val="D0D0D0"/>
              </a:solidFill>
            </a:ln>
          </p:spPr>
        </p:pic>
        <p:pic>
          <p:nvPicPr>
            <p:cNvPr id="153" name="Picture 152">
              <a:extLst>
                <a:ext uri="{FF2B5EF4-FFF2-40B4-BE49-F238E27FC236}">
                  <a16:creationId xmlns:a16="http://schemas.microsoft.com/office/drawing/2014/main" id="{94ACF374-D7CE-484B-A20F-ABF82674791D}"/>
                </a:ext>
              </a:extLst>
            </p:cNvPr>
            <p:cNvPicPr>
              <a:picLocks/>
            </p:cNvPicPr>
            <p:nvPr/>
          </p:nvPicPr>
          <p:blipFill>
            <a:blip r:embed="rId17" cstate="screen">
              <a:extLst>
                <a:ext uri="{28A0092B-C50C-407E-A947-70E740481C1C}">
                  <a14:useLocalDpi xmlns:a14="http://schemas.microsoft.com/office/drawing/2010/main"/>
                </a:ext>
              </a:extLst>
            </a:blip>
            <a:stretch>
              <a:fillRect/>
            </a:stretch>
          </p:blipFill>
          <p:spPr>
            <a:xfrm>
              <a:off x="1270526" y="5887375"/>
              <a:ext cx="305521" cy="213328"/>
            </a:xfrm>
            <a:prstGeom prst="rtTriangle">
              <a:avLst/>
            </a:prstGeom>
            <a:ln w="6350">
              <a:solidFill>
                <a:srgbClr val="D0D0D0"/>
              </a:solidFill>
            </a:ln>
          </p:spPr>
        </p:pic>
      </p:grpSp>
      <p:pic>
        <p:nvPicPr>
          <p:cNvPr id="127" name="Picture 126">
            <a:extLst>
              <a:ext uri="{FF2B5EF4-FFF2-40B4-BE49-F238E27FC236}">
                <a16:creationId xmlns:a16="http://schemas.microsoft.com/office/drawing/2014/main" id="{99A2DBC9-6559-4AB1-84C4-B60523727316}"/>
              </a:ext>
            </a:extLst>
          </p:cNvPr>
          <p:cNvPicPr>
            <a:picLocks/>
          </p:cNvPicPr>
          <p:nvPr/>
        </p:nvPicPr>
        <p:blipFill>
          <a:blip r:embed="rId18" cstate="screen">
            <a:extLst>
              <a:ext uri="{28A0092B-C50C-407E-A947-70E740481C1C}">
                <a14:useLocalDpi xmlns:a14="http://schemas.microsoft.com/office/drawing/2010/main"/>
              </a:ext>
            </a:extLst>
          </a:blip>
          <a:stretch>
            <a:fillRect/>
          </a:stretch>
        </p:blipFill>
        <p:spPr>
          <a:xfrm>
            <a:off x="1821415" y="1925642"/>
            <a:ext cx="305521" cy="213328"/>
          </a:xfrm>
          <a:prstGeom prst="rect">
            <a:avLst/>
          </a:prstGeom>
          <a:ln w="6350">
            <a:solidFill>
              <a:srgbClr val="D0D0D0"/>
            </a:solidFill>
          </a:ln>
        </p:spPr>
      </p:pic>
      <p:pic>
        <p:nvPicPr>
          <p:cNvPr id="128" name="Picture 127">
            <a:extLst>
              <a:ext uri="{FF2B5EF4-FFF2-40B4-BE49-F238E27FC236}">
                <a16:creationId xmlns:a16="http://schemas.microsoft.com/office/drawing/2014/main" id="{FDBD0792-1497-4011-912B-64390A586C9F}"/>
              </a:ext>
            </a:extLst>
          </p:cNvPr>
          <p:cNvPicPr>
            <a:picLocks/>
          </p:cNvPicPr>
          <p:nvPr/>
        </p:nvPicPr>
        <p:blipFill>
          <a:blip r:embed="rId19" cstate="screen">
            <a:extLst>
              <a:ext uri="{28A0092B-C50C-407E-A947-70E740481C1C}">
                <a14:useLocalDpi xmlns:a14="http://schemas.microsoft.com/office/drawing/2010/main"/>
              </a:ext>
            </a:extLst>
          </a:blip>
          <a:stretch>
            <a:fillRect/>
          </a:stretch>
        </p:blipFill>
        <p:spPr>
          <a:xfrm>
            <a:off x="6481632" y="2702788"/>
            <a:ext cx="305521" cy="213328"/>
          </a:xfrm>
          <a:prstGeom prst="rect">
            <a:avLst/>
          </a:prstGeom>
          <a:ln w="6350">
            <a:solidFill>
              <a:srgbClr val="D0D0D0"/>
            </a:solidFill>
          </a:ln>
        </p:spPr>
      </p:pic>
      <p:sp>
        <p:nvSpPr>
          <p:cNvPr id="139" name="Freeform: Shape 138">
            <a:extLst>
              <a:ext uri="{FF2B5EF4-FFF2-40B4-BE49-F238E27FC236}">
                <a16:creationId xmlns:a16="http://schemas.microsoft.com/office/drawing/2014/main" id="{0361C6C3-ADE4-448F-80C7-BAF1AE5289B8}"/>
              </a:ext>
            </a:extLst>
          </p:cNvPr>
          <p:cNvSpPr/>
          <p:nvPr/>
        </p:nvSpPr>
        <p:spPr>
          <a:xfrm>
            <a:off x="2321023" y="3554866"/>
            <a:ext cx="358997" cy="488800"/>
          </a:xfrm>
          <a:custGeom>
            <a:avLst/>
            <a:gdLst>
              <a:gd name="connsiteX0" fmla="*/ 0 w 385011"/>
              <a:gd name="connsiteY0" fmla="*/ 500514 h 500514"/>
              <a:gd name="connsiteX1" fmla="*/ 9626 w 385011"/>
              <a:gd name="connsiteY1" fmla="*/ 356135 h 500514"/>
              <a:gd name="connsiteX2" fmla="*/ 19251 w 385011"/>
              <a:gd name="connsiteY2" fmla="*/ 308009 h 500514"/>
              <a:gd name="connsiteX3" fmla="*/ 77003 w 385011"/>
              <a:gd name="connsiteY3" fmla="*/ 250257 h 500514"/>
              <a:gd name="connsiteX4" fmla="*/ 134754 w 385011"/>
              <a:gd name="connsiteY4" fmla="*/ 182880 h 500514"/>
              <a:gd name="connsiteX5" fmla="*/ 231007 w 385011"/>
              <a:gd name="connsiteY5" fmla="*/ 86628 h 500514"/>
              <a:gd name="connsiteX6" fmla="*/ 250257 w 385011"/>
              <a:gd name="connsiteY6" fmla="*/ 57752 h 500514"/>
              <a:gd name="connsiteX7" fmla="*/ 288758 w 385011"/>
              <a:gd name="connsiteY7" fmla="*/ 38501 h 500514"/>
              <a:gd name="connsiteX8" fmla="*/ 356135 w 385011"/>
              <a:gd name="connsiteY8" fmla="*/ 19251 h 500514"/>
              <a:gd name="connsiteX9" fmla="*/ 385011 w 385011"/>
              <a:gd name="connsiteY9" fmla="*/ 0 h 500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5011" h="500514">
                <a:moveTo>
                  <a:pt x="0" y="500514"/>
                </a:moveTo>
                <a:cubicBezTo>
                  <a:pt x="3209" y="452388"/>
                  <a:pt x="4826" y="404129"/>
                  <a:pt x="9626" y="356135"/>
                </a:cubicBezTo>
                <a:cubicBezTo>
                  <a:pt x="11254" y="339857"/>
                  <a:pt x="12607" y="322959"/>
                  <a:pt x="19251" y="308009"/>
                </a:cubicBezTo>
                <a:cubicBezTo>
                  <a:pt x="34331" y="274078"/>
                  <a:pt x="49733" y="268438"/>
                  <a:pt x="77003" y="250257"/>
                </a:cubicBezTo>
                <a:cubicBezTo>
                  <a:pt x="120810" y="162641"/>
                  <a:pt x="65339" y="259236"/>
                  <a:pt x="134754" y="182880"/>
                </a:cubicBezTo>
                <a:cubicBezTo>
                  <a:pt x="226921" y="81497"/>
                  <a:pt x="152268" y="125996"/>
                  <a:pt x="231007" y="86628"/>
                </a:cubicBezTo>
                <a:cubicBezTo>
                  <a:pt x="237424" y="77003"/>
                  <a:pt x="241370" y="65158"/>
                  <a:pt x="250257" y="57752"/>
                </a:cubicBezTo>
                <a:cubicBezTo>
                  <a:pt x="261280" y="48566"/>
                  <a:pt x="275570" y="44153"/>
                  <a:pt x="288758" y="38501"/>
                </a:cubicBezTo>
                <a:cubicBezTo>
                  <a:pt x="308088" y="30217"/>
                  <a:pt x="336600" y="24135"/>
                  <a:pt x="356135" y="19251"/>
                </a:cubicBezTo>
                <a:lnTo>
                  <a:pt x="385011" y="0"/>
                </a:lnTo>
              </a:path>
            </a:pathLst>
          </a:custGeom>
          <a:noFill/>
          <a:ln w="12700" cap="sq">
            <a:solidFill>
              <a:srgbClr val="4D4D4D"/>
            </a:solid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srgbClr val="FFFFFF"/>
              </a:solidFill>
              <a:effectLst/>
              <a:uLnTx/>
              <a:uFillTx/>
              <a:latin typeface="Bahnschrift" panose="020B0502040204020203" pitchFamily="34" charset="0"/>
              <a:sym typeface="Bahnschrift" panose="020B0502040204020203" pitchFamily="34" charset="0"/>
            </a:endParaRPr>
          </a:p>
        </p:txBody>
      </p:sp>
      <p:sp>
        <p:nvSpPr>
          <p:cNvPr id="140" name="Freeform: Shape 139">
            <a:extLst>
              <a:ext uri="{FF2B5EF4-FFF2-40B4-BE49-F238E27FC236}">
                <a16:creationId xmlns:a16="http://schemas.microsoft.com/office/drawing/2014/main" id="{DBC314ED-F018-42ED-97DE-662B2998A062}"/>
              </a:ext>
            </a:extLst>
          </p:cNvPr>
          <p:cNvSpPr/>
          <p:nvPr/>
        </p:nvSpPr>
        <p:spPr>
          <a:xfrm>
            <a:off x="3801882" y="4917865"/>
            <a:ext cx="2665546" cy="1062199"/>
          </a:xfrm>
          <a:custGeom>
            <a:avLst/>
            <a:gdLst>
              <a:gd name="connsiteX0" fmla="*/ 2858703 w 2858703"/>
              <a:gd name="connsiteY0" fmla="*/ 1087655 h 1087655"/>
              <a:gd name="connsiteX1" fmla="*/ 2839453 w 2858703"/>
              <a:gd name="connsiteY1" fmla="*/ 1010653 h 1087655"/>
              <a:gd name="connsiteX2" fmla="*/ 2820202 w 2858703"/>
              <a:gd name="connsiteY2" fmla="*/ 981777 h 1087655"/>
              <a:gd name="connsiteX3" fmla="*/ 2791326 w 2858703"/>
              <a:gd name="connsiteY3" fmla="*/ 952901 h 1087655"/>
              <a:gd name="connsiteX4" fmla="*/ 2762450 w 2858703"/>
              <a:gd name="connsiteY4" fmla="*/ 895150 h 1087655"/>
              <a:gd name="connsiteX5" fmla="*/ 2733575 w 2858703"/>
              <a:gd name="connsiteY5" fmla="*/ 837398 h 1087655"/>
              <a:gd name="connsiteX6" fmla="*/ 2704699 w 2858703"/>
              <a:gd name="connsiteY6" fmla="*/ 750771 h 1087655"/>
              <a:gd name="connsiteX7" fmla="*/ 2685448 w 2858703"/>
              <a:gd name="connsiteY7" fmla="*/ 683394 h 1087655"/>
              <a:gd name="connsiteX8" fmla="*/ 2675823 w 2858703"/>
              <a:gd name="connsiteY8" fmla="*/ 644893 h 1087655"/>
              <a:gd name="connsiteX9" fmla="*/ 2656573 w 2858703"/>
              <a:gd name="connsiteY9" fmla="*/ 567891 h 1087655"/>
              <a:gd name="connsiteX10" fmla="*/ 2608446 w 2858703"/>
              <a:gd name="connsiteY10" fmla="*/ 471638 h 1087655"/>
              <a:gd name="connsiteX11" fmla="*/ 2579570 w 2858703"/>
              <a:gd name="connsiteY11" fmla="*/ 452388 h 1087655"/>
              <a:gd name="connsiteX12" fmla="*/ 2560320 w 2858703"/>
              <a:gd name="connsiteY12" fmla="*/ 413887 h 1087655"/>
              <a:gd name="connsiteX13" fmla="*/ 2521819 w 2858703"/>
              <a:gd name="connsiteY13" fmla="*/ 375386 h 1087655"/>
              <a:gd name="connsiteX14" fmla="*/ 2435191 w 2858703"/>
              <a:gd name="connsiteY14" fmla="*/ 336885 h 1087655"/>
              <a:gd name="connsiteX15" fmla="*/ 2387065 w 2858703"/>
              <a:gd name="connsiteY15" fmla="*/ 308009 h 1087655"/>
              <a:gd name="connsiteX16" fmla="*/ 2319688 w 2858703"/>
              <a:gd name="connsiteY16" fmla="*/ 279133 h 1087655"/>
              <a:gd name="connsiteX17" fmla="*/ 2281187 w 2858703"/>
              <a:gd name="connsiteY17" fmla="*/ 259882 h 1087655"/>
              <a:gd name="connsiteX18" fmla="*/ 2223436 w 2858703"/>
              <a:gd name="connsiteY18" fmla="*/ 250257 h 1087655"/>
              <a:gd name="connsiteX19" fmla="*/ 2194560 w 2858703"/>
              <a:gd name="connsiteY19" fmla="*/ 240632 h 1087655"/>
              <a:gd name="connsiteX20" fmla="*/ 2107933 w 2858703"/>
              <a:gd name="connsiteY20" fmla="*/ 182880 h 1087655"/>
              <a:gd name="connsiteX21" fmla="*/ 2059806 w 2858703"/>
              <a:gd name="connsiteY21" fmla="*/ 173255 h 1087655"/>
              <a:gd name="connsiteX22" fmla="*/ 2021305 w 2858703"/>
              <a:gd name="connsiteY22" fmla="*/ 144379 h 1087655"/>
              <a:gd name="connsiteX23" fmla="*/ 2002055 w 2858703"/>
              <a:gd name="connsiteY23" fmla="*/ 115504 h 1087655"/>
              <a:gd name="connsiteX24" fmla="*/ 1963554 w 2858703"/>
              <a:gd name="connsiteY24" fmla="*/ 96253 h 1087655"/>
              <a:gd name="connsiteX25" fmla="*/ 1896177 w 2858703"/>
              <a:gd name="connsiteY25" fmla="*/ 57752 h 1087655"/>
              <a:gd name="connsiteX26" fmla="*/ 1867301 w 2858703"/>
              <a:gd name="connsiteY26" fmla="*/ 48127 h 1087655"/>
              <a:gd name="connsiteX27" fmla="*/ 1722922 w 2858703"/>
              <a:gd name="connsiteY27" fmla="*/ 0 h 1087655"/>
              <a:gd name="connsiteX28" fmla="*/ 1309036 w 2858703"/>
              <a:gd name="connsiteY28" fmla="*/ 19251 h 1087655"/>
              <a:gd name="connsiteX29" fmla="*/ 1270535 w 2858703"/>
              <a:gd name="connsiteY29" fmla="*/ 57752 h 1087655"/>
              <a:gd name="connsiteX30" fmla="*/ 1203158 w 2858703"/>
              <a:gd name="connsiteY30" fmla="*/ 105878 h 1087655"/>
              <a:gd name="connsiteX31" fmla="*/ 1145406 w 2858703"/>
              <a:gd name="connsiteY31" fmla="*/ 125129 h 1087655"/>
              <a:gd name="connsiteX32" fmla="*/ 1116530 w 2858703"/>
              <a:gd name="connsiteY32" fmla="*/ 134754 h 1087655"/>
              <a:gd name="connsiteX33" fmla="*/ 1029903 w 2858703"/>
              <a:gd name="connsiteY33" fmla="*/ 182880 h 1087655"/>
              <a:gd name="connsiteX34" fmla="*/ 1001027 w 2858703"/>
              <a:gd name="connsiteY34" fmla="*/ 211756 h 1087655"/>
              <a:gd name="connsiteX35" fmla="*/ 952901 w 2858703"/>
              <a:gd name="connsiteY35" fmla="*/ 231007 h 1087655"/>
              <a:gd name="connsiteX36" fmla="*/ 885524 w 2858703"/>
              <a:gd name="connsiteY36" fmla="*/ 259882 h 1087655"/>
              <a:gd name="connsiteX37" fmla="*/ 798897 w 2858703"/>
              <a:gd name="connsiteY37" fmla="*/ 308009 h 1087655"/>
              <a:gd name="connsiteX38" fmla="*/ 760396 w 2858703"/>
              <a:gd name="connsiteY38" fmla="*/ 327259 h 1087655"/>
              <a:gd name="connsiteX39" fmla="*/ 654518 w 2858703"/>
              <a:gd name="connsiteY39" fmla="*/ 336885 h 1087655"/>
              <a:gd name="connsiteX40" fmla="*/ 587141 w 2858703"/>
              <a:gd name="connsiteY40" fmla="*/ 385011 h 1087655"/>
              <a:gd name="connsiteX41" fmla="*/ 558265 w 2858703"/>
              <a:gd name="connsiteY41" fmla="*/ 394636 h 1087655"/>
              <a:gd name="connsiteX42" fmla="*/ 433137 w 2858703"/>
              <a:gd name="connsiteY42" fmla="*/ 385011 h 1087655"/>
              <a:gd name="connsiteX43" fmla="*/ 413886 w 2858703"/>
              <a:gd name="connsiteY43" fmla="*/ 356135 h 1087655"/>
              <a:gd name="connsiteX44" fmla="*/ 385010 w 2858703"/>
              <a:gd name="connsiteY44" fmla="*/ 346510 h 1087655"/>
              <a:gd name="connsiteX45" fmla="*/ 375385 w 2858703"/>
              <a:gd name="connsiteY45" fmla="*/ 317634 h 1087655"/>
              <a:gd name="connsiteX46" fmla="*/ 327259 w 2858703"/>
              <a:gd name="connsiteY46" fmla="*/ 308009 h 1087655"/>
              <a:gd name="connsiteX47" fmla="*/ 231006 w 2858703"/>
              <a:gd name="connsiteY47" fmla="*/ 279133 h 1087655"/>
              <a:gd name="connsiteX48" fmla="*/ 0 w 2858703"/>
              <a:gd name="connsiteY48" fmla="*/ 308009 h 1087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858703" h="1087655">
                <a:moveTo>
                  <a:pt x="2858703" y="1087655"/>
                </a:moveTo>
                <a:cubicBezTo>
                  <a:pt x="2855043" y="1069352"/>
                  <a:pt x="2849318" y="1030383"/>
                  <a:pt x="2839453" y="1010653"/>
                </a:cubicBezTo>
                <a:cubicBezTo>
                  <a:pt x="2834280" y="1000306"/>
                  <a:pt x="2827608" y="990664"/>
                  <a:pt x="2820202" y="981777"/>
                </a:cubicBezTo>
                <a:cubicBezTo>
                  <a:pt x="2811488" y="971320"/>
                  <a:pt x="2800951" y="962526"/>
                  <a:pt x="2791326" y="952901"/>
                </a:cubicBezTo>
                <a:cubicBezTo>
                  <a:pt x="2767133" y="880321"/>
                  <a:pt x="2799769" y="969788"/>
                  <a:pt x="2762450" y="895150"/>
                </a:cubicBezTo>
                <a:cubicBezTo>
                  <a:pt x="2722595" y="815441"/>
                  <a:pt x="2788749" y="920162"/>
                  <a:pt x="2733575" y="837398"/>
                </a:cubicBezTo>
                <a:cubicBezTo>
                  <a:pt x="2710506" y="745130"/>
                  <a:pt x="2740946" y="859512"/>
                  <a:pt x="2704699" y="750771"/>
                </a:cubicBezTo>
                <a:cubicBezTo>
                  <a:pt x="2697313" y="728612"/>
                  <a:pt x="2691594" y="705929"/>
                  <a:pt x="2685448" y="683394"/>
                </a:cubicBezTo>
                <a:cubicBezTo>
                  <a:pt x="2681967" y="670632"/>
                  <a:pt x="2678693" y="657807"/>
                  <a:pt x="2675823" y="644893"/>
                </a:cubicBezTo>
                <a:cubicBezTo>
                  <a:pt x="2670242" y="619778"/>
                  <a:pt x="2667629" y="591846"/>
                  <a:pt x="2656573" y="567891"/>
                </a:cubicBezTo>
                <a:cubicBezTo>
                  <a:pt x="2641541" y="535321"/>
                  <a:pt x="2638293" y="491535"/>
                  <a:pt x="2608446" y="471638"/>
                </a:cubicBezTo>
                <a:lnTo>
                  <a:pt x="2579570" y="452388"/>
                </a:lnTo>
                <a:cubicBezTo>
                  <a:pt x="2573153" y="439554"/>
                  <a:pt x="2568929" y="425366"/>
                  <a:pt x="2560320" y="413887"/>
                </a:cubicBezTo>
                <a:cubicBezTo>
                  <a:pt x="2549430" y="399367"/>
                  <a:pt x="2536339" y="386276"/>
                  <a:pt x="2521819" y="375386"/>
                </a:cubicBezTo>
                <a:cubicBezTo>
                  <a:pt x="2501401" y="360073"/>
                  <a:pt x="2456256" y="347417"/>
                  <a:pt x="2435191" y="336885"/>
                </a:cubicBezTo>
                <a:cubicBezTo>
                  <a:pt x="2418458" y="328519"/>
                  <a:pt x="2403419" y="317095"/>
                  <a:pt x="2387065" y="308009"/>
                </a:cubicBezTo>
                <a:cubicBezTo>
                  <a:pt x="2315232" y="268101"/>
                  <a:pt x="2379329" y="304693"/>
                  <a:pt x="2319688" y="279133"/>
                </a:cubicBezTo>
                <a:cubicBezTo>
                  <a:pt x="2306500" y="273481"/>
                  <a:pt x="2294930" y="264005"/>
                  <a:pt x="2281187" y="259882"/>
                </a:cubicBezTo>
                <a:cubicBezTo>
                  <a:pt x="2262494" y="254274"/>
                  <a:pt x="2242487" y="254490"/>
                  <a:pt x="2223436" y="250257"/>
                </a:cubicBezTo>
                <a:cubicBezTo>
                  <a:pt x="2213532" y="248056"/>
                  <a:pt x="2204185" y="243840"/>
                  <a:pt x="2194560" y="240632"/>
                </a:cubicBezTo>
                <a:cubicBezTo>
                  <a:pt x="2171415" y="223273"/>
                  <a:pt x="2134453" y="193488"/>
                  <a:pt x="2107933" y="182880"/>
                </a:cubicBezTo>
                <a:cubicBezTo>
                  <a:pt x="2092743" y="176804"/>
                  <a:pt x="2075848" y="176463"/>
                  <a:pt x="2059806" y="173255"/>
                </a:cubicBezTo>
                <a:cubicBezTo>
                  <a:pt x="2046972" y="163630"/>
                  <a:pt x="2032649" y="155723"/>
                  <a:pt x="2021305" y="144379"/>
                </a:cubicBezTo>
                <a:cubicBezTo>
                  <a:pt x="2013125" y="136199"/>
                  <a:pt x="2010942" y="122910"/>
                  <a:pt x="2002055" y="115504"/>
                </a:cubicBezTo>
                <a:cubicBezTo>
                  <a:pt x="1991032" y="106318"/>
                  <a:pt x="1976151" y="103124"/>
                  <a:pt x="1963554" y="96253"/>
                </a:cubicBezTo>
                <a:cubicBezTo>
                  <a:pt x="1940845" y="83866"/>
                  <a:pt x="1919313" y="69320"/>
                  <a:pt x="1896177" y="57752"/>
                </a:cubicBezTo>
                <a:cubicBezTo>
                  <a:pt x="1887102" y="53215"/>
                  <a:pt x="1876771" y="51769"/>
                  <a:pt x="1867301" y="48127"/>
                </a:cubicBezTo>
                <a:cubicBezTo>
                  <a:pt x="1746569" y="1692"/>
                  <a:pt x="1809331" y="17283"/>
                  <a:pt x="1722922" y="0"/>
                </a:cubicBezTo>
                <a:lnTo>
                  <a:pt x="1309036" y="19251"/>
                </a:lnTo>
                <a:cubicBezTo>
                  <a:pt x="1259274" y="22496"/>
                  <a:pt x="1294629" y="28839"/>
                  <a:pt x="1270535" y="57752"/>
                </a:cubicBezTo>
                <a:cubicBezTo>
                  <a:pt x="1268442" y="60264"/>
                  <a:pt x="1212455" y="101746"/>
                  <a:pt x="1203158" y="105878"/>
                </a:cubicBezTo>
                <a:cubicBezTo>
                  <a:pt x="1184615" y="114119"/>
                  <a:pt x="1164657" y="118712"/>
                  <a:pt x="1145406" y="125129"/>
                </a:cubicBezTo>
                <a:lnTo>
                  <a:pt x="1116530" y="134754"/>
                </a:lnTo>
                <a:cubicBezTo>
                  <a:pt x="1049607" y="201679"/>
                  <a:pt x="1135899" y="123994"/>
                  <a:pt x="1029903" y="182880"/>
                </a:cubicBezTo>
                <a:cubicBezTo>
                  <a:pt x="1018004" y="189491"/>
                  <a:pt x="1012570" y="204541"/>
                  <a:pt x="1001027" y="211756"/>
                </a:cubicBezTo>
                <a:cubicBezTo>
                  <a:pt x="986375" y="220913"/>
                  <a:pt x="969079" y="224940"/>
                  <a:pt x="952901" y="231007"/>
                </a:cubicBezTo>
                <a:cubicBezTo>
                  <a:pt x="920151" y="243288"/>
                  <a:pt x="919328" y="238755"/>
                  <a:pt x="885524" y="259882"/>
                </a:cubicBezTo>
                <a:cubicBezTo>
                  <a:pt x="782573" y="324226"/>
                  <a:pt x="916445" y="255765"/>
                  <a:pt x="798897" y="308009"/>
                </a:cubicBezTo>
                <a:cubicBezTo>
                  <a:pt x="785785" y="313836"/>
                  <a:pt x="774466" y="324445"/>
                  <a:pt x="760396" y="327259"/>
                </a:cubicBezTo>
                <a:cubicBezTo>
                  <a:pt x="725646" y="334209"/>
                  <a:pt x="689811" y="333676"/>
                  <a:pt x="654518" y="336885"/>
                </a:cubicBezTo>
                <a:cubicBezTo>
                  <a:pt x="645803" y="343421"/>
                  <a:pt x="601211" y="377976"/>
                  <a:pt x="587141" y="385011"/>
                </a:cubicBezTo>
                <a:cubicBezTo>
                  <a:pt x="578066" y="389548"/>
                  <a:pt x="567890" y="391428"/>
                  <a:pt x="558265" y="394636"/>
                </a:cubicBezTo>
                <a:cubicBezTo>
                  <a:pt x="516556" y="391428"/>
                  <a:pt x="473557" y="395790"/>
                  <a:pt x="433137" y="385011"/>
                </a:cubicBezTo>
                <a:cubicBezTo>
                  <a:pt x="421959" y="382030"/>
                  <a:pt x="422919" y="363362"/>
                  <a:pt x="413886" y="356135"/>
                </a:cubicBezTo>
                <a:cubicBezTo>
                  <a:pt x="405963" y="349797"/>
                  <a:pt x="394635" y="349718"/>
                  <a:pt x="385010" y="346510"/>
                </a:cubicBezTo>
                <a:cubicBezTo>
                  <a:pt x="381802" y="336885"/>
                  <a:pt x="383827" y="323262"/>
                  <a:pt x="375385" y="317634"/>
                </a:cubicBezTo>
                <a:cubicBezTo>
                  <a:pt x="361773" y="308559"/>
                  <a:pt x="342779" y="313182"/>
                  <a:pt x="327259" y="308009"/>
                </a:cubicBezTo>
                <a:cubicBezTo>
                  <a:pt x="215346" y="270704"/>
                  <a:pt x="379021" y="303801"/>
                  <a:pt x="231006" y="279133"/>
                </a:cubicBezTo>
                <a:cubicBezTo>
                  <a:pt x="10185" y="289170"/>
                  <a:pt x="69212" y="238794"/>
                  <a:pt x="0" y="308009"/>
                </a:cubicBezTo>
              </a:path>
            </a:pathLst>
          </a:custGeom>
          <a:noFill/>
          <a:ln w="12700" cap="sq">
            <a:solidFill>
              <a:srgbClr val="4D4D4D"/>
            </a:solid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srgbClr val="FFFFFF"/>
              </a:solidFill>
              <a:effectLst/>
              <a:uLnTx/>
              <a:uFillTx/>
              <a:latin typeface="Bahnschrift" panose="020B0502040204020203" pitchFamily="34" charset="0"/>
              <a:sym typeface="Bahnschrift" panose="020B0502040204020203" pitchFamily="34" charset="0"/>
            </a:endParaRPr>
          </a:p>
        </p:txBody>
      </p:sp>
      <p:sp>
        <p:nvSpPr>
          <p:cNvPr id="141" name="Freeform: Shape 140">
            <a:extLst>
              <a:ext uri="{FF2B5EF4-FFF2-40B4-BE49-F238E27FC236}">
                <a16:creationId xmlns:a16="http://schemas.microsoft.com/office/drawing/2014/main" id="{984706FF-AE28-4C62-B96B-C1847DF41439}"/>
              </a:ext>
            </a:extLst>
          </p:cNvPr>
          <p:cNvSpPr/>
          <p:nvPr/>
        </p:nvSpPr>
        <p:spPr>
          <a:xfrm>
            <a:off x="3532635" y="3949666"/>
            <a:ext cx="296412" cy="413600"/>
          </a:xfrm>
          <a:custGeom>
            <a:avLst/>
            <a:gdLst>
              <a:gd name="connsiteX0" fmla="*/ 0 w 317891"/>
              <a:gd name="connsiteY0" fmla="*/ 423512 h 423512"/>
              <a:gd name="connsiteX1" fmla="*/ 57752 w 317891"/>
              <a:gd name="connsiteY1" fmla="*/ 413887 h 423512"/>
              <a:gd name="connsiteX2" fmla="*/ 86627 w 317891"/>
              <a:gd name="connsiteY2" fmla="*/ 394636 h 423512"/>
              <a:gd name="connsiteX3" fmla="*/ 144379 w 317891"/>
              <a:gd name="connsiteY3" fmla="*/ 365760 h 423512"/>
              <a:gd name="connsiteX4" fmla="*/ 231006 w 317891"/>
              <a:gd name="connsiteY4" fmla="*/ 317634 h 423512"/>
              <a:gd name="connsiteX5" fmla="*/ 250257 w 317891"/>
              <a:gd name="connsiteY5" fmla="*/ 288758 h 423512"/>
              <a:gd name="connsiteX6" fmla="*/ 288758 w 317891"/>
              <a:gd name="connsiteY6" fmla="*/ 221381 h 423512"/>
              <a:gd name="connsiteX7" fmla="*/ 298383 w 317891"/>
              <a:gd name="connsiteY7" fmla="*/ 163630 h 423512"/>
              <a:gd name="connsiteX8" fmla="*/ 317634 w 317891"/>
              <a:gd name="connsiteY8" fmla="*/ 96253 h 423512"/>
              <a:gd name="connsiteX9" fmla="*/ 279133 w 317891"/>
              <a:gd name="connsiteY9" fmla="*/ 9626 h 423512"/>
              <a:gd name="connsiteX10" fmla="*/ 250257 w 317891"/>
              <a:gd name="connsiteY10" fmla="*/ 0 h 42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7891" h="423512">
                <a:moveTo>
                  <a:pt x="0" y="423512"/>
                </a:moveTo>
                <a:cubicBezTo>
                  <a:pt x="19251" y="420304"/>
                  <a:pt x="39237" y="420059"/>
                  <a:pt x="57752" y="413887"/>
                </a:cubicBezTo>
                <a:cubicBezTo>
                  <a:pt x="68726" y="410229"/>
                  <a:pt x="76515" y="400254"/>
                  <a:pt x="86627" y="394636"/>
                </a:cubicBezTo>
                <a:cubicBezTo>
                  <a:pt x="105441" y="384183"/>
                  <a:pt x="125484" y="376066"/>
                  <a:pt x="144379" y="365760"/>
                </a:cubicBezTo>
                <a:cubicBezTo>
                  <a:pt x="277304" y="293255"/>
                  <a:pt x="120170" y="373050"/>
                  <a:pt x="231006" y="317634"/>
                </a:cubicBezTo>
                <a:cubicBezTo>
                  <a:pt x="237423" y="308009"/>
                  <a:pt x="244518" y="298802"/>
                  <a:pt x="250257" y="288758"/>
                </a:cubicBezTo>
                <a:cubicBezTo>
                  <a:pt x="299105" y="203274"/>
                  <a:pt x="241856" y="291733"/>
                  <a:pt x="288758" y="221381"/>
                </a:cubicBezTo>
                <a:cubicBezTo>
                  <a:pt x="291966" y="202131"/>
                  <a:pt x="293995" y="182646"/>
                  <a:pt x="298383" y="163630"/>
                </a:cubicBezTo>
                <a:cubicBezTo>
                  <a:pt x="303635" y="140870"/>
                  <a:pt x="315694" y="119530"/>
                  <a:pt x="317634" y="96253"/>
                </a:cubicBezTo>
                <a:cubicBezTo>
                  <a:pt x="320243" y="64944"/>
                  <a:pt x="302741" y="29300"/>
                  <a:pt x="279133" y="9626"/>
                </a:cubicBezTo>
                <a:cubicBezTo>
                  <a:pt x="271339" y="3131"/>
                  <a:pt x="259882" y="3209"/>
                  <a:pt x="250257" y="0"/>
                </a:cubicBezTo>
              </a:path>
            </a:pathLst>
          </a:custGeom>
          <a:noFill/>
          <a:ln w="12700" cap="sq">
            <a:solidFill>
              <a:srgbClr val="4D4D4D"/>
            </a:solid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srgbClr val="FFFFFF"/>
              </a:solidFill>
              <a:effectLst/>
              <a:uLnTx/>
              <a:uFillTx/>
              <a:latin typeface="Bahnschrift" panose="020B0502040204020203" pitchFamily="34" charset="0"/>
              <a:sym typeface="Bahnschrift" panose="020B0502040204020203" pitchFamily="34" charset="0"/>
            </a:endParaRPr>
          </a:p>
        </p:txBody>
      </p:sp>
      <p:sp>
        <p:nvSpPr>
          <p:cNvPr id="142" name="Freeform: Shape 141">
            <a:extLst>
              <a:ext uri="{FF2B5EF4-FFF2-40B4-BE49-F238E27FC236}">
                <a16:creationId xmlns:a16="http://schemas.microsoft.com/office/drawing/2014/main" id="{C408CB34-5BF2-4007-9102-885F6912B72A}"/>
              </a:ext>
            </a:extLst>
          </p:cNvPr>
          <p:cNvSpPr/>
          <p:nvPr/>
        </p:nvSpPr>
        <p:spPr>
          <a:xfrm>
            <a:off x="3433911" y="2066730"/>
            <a:ext cx="646193" cy="482338"/>
          </a:xfrm>
          <a:custGeom>
            <a:avLst/>
            <a:gdLst>
              <a:gd name="connsiteX0" fmla="*/ 0 w 693019"/>
              <a:gd name="connsiteY0" fmla="*/ 539015 h 539015"/>
              <a:gd name="connsiteX1" fmla="*/ 38501 w 693019"/>
              <a:gd name="connsiteY1" fmla="*/ 490889 h 539015"/>
              <a:gd name="connsiteX2" fmla="*/ 77002 w 693019"/>
              <a:gd name="connsiteY2" fmla="*/ 471638 h 539015"/>
              <a:gd name="connsiteX3" fmla="*/ 105878 w 693019"/>
              <a:gd name="connsiteY3" fmla="*/ 452388 h 539015"/>
              <a:gd name="connsiteX4" fmla="*/ 173255 w 693019"/>
              <a:gd name="connsiteY4" fmla="*/ 413887 h 539015"/>
              <a:gd name="connsiteX5" fmla="*/ 231006 w 693019"/>
              <a:gd name="connsiteY5" fmla="*/ 356135 h 539015"/>
              <a:gd name="connsiteX6" fmla="*/ 298383 w 693019"/>
              <a:gd name="connsiteY6" fmla="*/ 298383 h 539015"/>
              <a:gd name="connsiteX7" fmla="*/ 336884 w 693019"/>
              <a:gd name="connsiteY7" fmla="*/ 221381 h 539015"/>
              <a:gd name="connsiteX8" fmla="*/ 394636 w 693019"/>
              <a:gd name="connsiteY8" fmla="*/ 163630 h 539015"/>
              <a:gd name="connsiteX9" fmla="*/ 471638 w 693019"/>
              <a:gd name="connsiteY9" fmla="*/ 125129 h 539015"/>
              <a:gd name="connsiteX10" fmla="*/ 558265 w 693019"/>
              <a:gd name="connsiteY10" fmla="*/ 96253 h 539015"/>
              <a:gd name="connsiteX11" fmla="*/ 625642 w 693019"/>
              <a:gd name="connsiteY11" fmla="*/ 67377 h 539015"/>
              <a:gd name="connsiteX12" fmla="*/ 664143 w 693019"/>
              <a:gd name="connsiteY12" fmla="*/ 38501 h 539015"/>
              <a:gd name="connsiteX13" fmla="*/ 693019 w 693019"/>
              <a:gd name="connsiteY13" fmla="*/ 0 h 53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3019" h="539015">
                <a:moveTo>
                  <a:pt x="0" y="539015"/>
                </a:moveTo>
                <a:cubicBezTo>
                  <a:pt x="12834" y="522973"/>
                  <a:pt x="23040" y="504417"/>
                  <a:pt x="38501" y="490889"/>
                </a:cubicBezTo>
                <a:cubicBezTo>
                  <a:pt x="49299" y="481440"/>
                  <a:pt x="64544" y="478757"/>
                  <a:pt x="77002" y="471638"/>
                </a:cubicBezTo>
                <a:cubicBezTo>
                  <a:pt x="87046" y="465899"/>
                  <a:pt x="95834" y="458127"/>
                  <a:pt x="105878" y="452388"/>
                </a:cubicBezTo>
                <a:cubicBezTo>
                  <a:pt x="130273" y="438448"/>
                  <a:pt x="152154" y="432643"/>
                  <a:pt x="173255" y="413887"/>
                </a:cubicBezTo>
                <a:cubicBezTo>
                  <a:pt x="193603" y="395800"/>
                  <a:pt x="208354" y="371236"/>
                  <a:pt x="231006" y="356135"/>
                </a:cubicBezTo>
                <a:cubicBezTo>
                  <a:pt x="274984" y="326818"/>
                  <a:pt x="251702" y="345065"/>
                  <a:pt x="298383" y="298383"/>
                </a:cubicBezTo>
                <a:cubicBezTo>
                  <a:pt x="309302" y="265631"/>
                  <a:pt x="311316" y="252631"/>
                  <a:pt x="336884" y="221381"/>
                </a:cubicBezTo>
                <a:cubicBezTo>
                  <a:pt x="354123" y="200310"/>
                  <a:pt x="370286" y="175805"/>
                  <a:pt x="394636" y="163630"/>
                </a:cubicBezTo>
                <a:cubicBezTo>
                  <a:pt x="420303" y="150796"/>
                  <a:pt x="443798" y="132090"/>
                  <a:pt x="471638" y="125129"/>
                </a:cubicBezTo>
                <a:cubicBezTo>
                  <a:pt x="536154" y="108999"/>
                  <a:pt x="485771" y="123437"/>
                  <a:pt x="558265" y="96253"/>
                </a:cubicBezTo>
                <a:cubicBezTo>
                  <a:pt x="591016" y="83972"/>
                  <a:pt x="591837" y="88505"/>
                  <a:pt x="625642" y="67377"/>
                </a:cubicBezTo>
                <a:cubicBezTo>
                  <a:pt x="639246" y="58875"/>
                  <a:pt x="651309" y="48126"/>
                  <a:pt x="664143" y="38501"/>
                </a:cubicBezTo>
                <a:cubicBezTo>
                  <a:pt x="676038" y="2820"/>
                  <a:pt x="664695" y="14164"/>
                  <a:pt x="693019" y="0"/>
                </a:cubicBezTo>
              </a:path>
            </a:pathLst>
          </a:custGeom>
          <a:noFill/>
          <a:ln w="12700" cap="sq">
            <a:solidFill>
              <a:srgbClr val="4D4D4D"/>
            </a:solid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srgbClr val="FFFFFF"/>
              </a:solidFill>
              <a:effectLst/>
              <a:uLnTx/>
              <a:uFillTx/>
              <a:latin typeface="Bahnschrift" panose="020B0502040204020203" pitchFamily="34" charset="0"/>
              <a:sym typeface="Bahnschrift" panose="020B0502040204020203" pitchFamily="34" charset="0"/>
            </a:endParaRPr>
          </a:p>
        </p:txBody>
      </p:sp>
      <p:sp>
        <p:nvSpPr>
          <p:cNvPr id="143" name="Freeform: Shape 142">
            <a:extLst>
              <a:ext uri="{FF2B5EF4-FFF2-40B4-BE49-F238E27FC236}">
                <a16:creationId xmlns:a16="http://schemas.microsoft.com/office/drawing/2014/main" id="{EA10D87E-68B8-4090-86C9-BD5B20F009A0}"/>
              </a:ext>
            </a:extLst>
          </p:cNvPr>
          <p:cNvSpPr/>
          <p:nvPr/>
        </p:nvSpPr>
        <p:spPr>
          <a:xfrm>
            <a:off x="3837782" y="3789866"/>
            <a:ext cx="879541" cy="347800"/>
          </a:xfrm>
          <a:custGeom>
            <a:avLst/>
            <a:gdLst>
              <a:gd name="connsiteX0" fmla="*/ 943276 w 943276"/>
              <a:gd name="connsiteY0" fmla="*/ 356135 h 356135"/>
              <a:gd name="connsiteX1" fmla="*/ 924025 w 943276"/>
              <a:gd name="connsiteY1" fmla="*/ 308008 h 356135"/>
              <a:gd name="connsiteX2" fmla="*/ 875899 w 943276"/>
              <a:gd name="connsiteY2" fmla="*/ 240631 h 356135"/>
              <a:gd name="connsiteX3" fmla="*/ 847023 w 943276"/>
              <a:gd name="connsiteY3" fmla="*/ 192505 h 356135"/>
              <a:gd name="connsiteX4" fmla="*/ 779646 w 943276"/>
              <a:gd name="connsiteY4" fmla="*/ 134753 h 356135"/>
              <a:gd name="connsiteX5" fmla="*/ 750770 w 943276"/>
              <a:gd name="connsiteY5" fmla="*/ 115503 h 356135"/>
              <a:gd name="connsiteX6" fmla="*/ 712269 w 943276"/>
              <a:gd name="connsiteY6" fmla="*/ 105878 h 356135"/>
              <a:gd name="connsiteX7" fmla="*/ 683394 w 943276"/>
              <a:gd name="connsiteY7" fmla="*/ 96252 h 356135"/>
              <a:gd name="connsiteX8" fmla="*/ 115503 w 943276"/>
              <a:gd name="connsiteY8" fmla="*/ 86627 h 356135"/>
              <a:gd name="connsiteX9" fmla="*/ 57752 w 943276"/>
              <a:gd name="connsiteY9" fmla="*/ 48126 h 356135"/>
              <a:gd name="connsiteX10" fmla="*/ 0 w 943276"/>
              <a:gd name="connsiteY10" fmla="*/ 0 h 356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3276" h="356135">
                <a:moveTo>
                  <a:pt x="943276" y="356135"/>
                </a:moveTo>
                <a:cubicBezTo>
                  <a:pt x="936859" y="340093"/>
                  <a:pt x="931752" y="323462"/>
                  <a:pt x="924025" y="308008"/>
                </a:cubicBezTo>
                <a:cubicBezTo>
                  <a:pt x="915413" y="290784"/>
                  <a:pt x="884624" y="253718"/>
                  <a:pt x="875899" y="240631"/>
                </a:cubicBezTo>
                <a:cubicBezTo>
                  <a:pt x="865522" y="225065"/>
                  <a:pt x="858248" y="207471"/>
                  <a:pt x="847023" y="192505"/>
                </a:cubicBezTo>
                <a:cubicBezTo>
                  <a:pt x="830878" y="170979"/>
                  <a:pt x="800664" y="149766"/>
                  <a:pt x="779646" y="134753"/>
                </a:cubicBezTo>
                <a:cubicBezTo>
                  <a:pt x="770233" y="128029"/>
                  <a:pt x="761403" y="120060"/>
                  <a:pt x="750770" y="115503"/>
                </a:cubicBezTo>
                <a:cubicBezTo>
                  <a:pt x="738611" y="110292"/>
                  <a:pt x="724989" y="109512"/>
                  <a:pt x="712269" y="105878"/>
                </a:cubicBezTo>
                <a:cubicBezTo>
                  <a:pt x="702514" y="103091"/>
                  <a:pt x="693534" y="96579"/>
                  <a:pt x="683394" y="96252"/>
                </a:cubicBezTo>
                <a:cubicBezTo>
                  <a:pt x="494168" y="90148"/>
                  <a:pt x="304800" y="89835"/>
                  <a:pt x="115503" y="86627"/>
                </a:cubicBezTo>
                <a:cubicBezTo>
                  <a:pt x="14322" y="61332"/>
                  <a:pt x="129338" y="99258"/>
                  <a:pt x="57752" y="48126"/>
                </a:cubicBezTo>
                <a:cubicBezTo>
                  <a:pt x="-7708" y="1369"/>
                  <a:pt x="19735" y="59207"/>
                  <a:pt x="0" y="0"/>
                </a:cubicBezTo>
              </a:path>
            </a:pathLst>
          </a:custGeom>
          <a:noFill/>
          <a:ln w="12700" cap="sq">
            <a:solidFill>
              <a:srgbClr val="4D4D4D"/>
            </a:solid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srgbClr val="FFFFFF"/>
              </a:solidFill>
              <a:effectLst/>
              <a:uLnTx/>
              <a:uFillTx/>
              <a:latin typeface="Bahnschrift" panose="020B0502040204020203" pitchFamily="34" charset="0"/>
              <a:sym typeface="Bahnschrift" panose="020B0502040204020203" pitchFamily="34" charset="0"/>
            </a:endParaRPr>
          </a:p>
        </p:txBody>
      </p:sp>
      <p:sp>
        <p:nvSpPr>
          <p:cNvPr id="144" name="Freeform: Shape 143">
            <a:extLst>
              <a:ext uri="{FF2B5EF4-FFF2-40B4-BE49-F238E27FC236}">
                <a16:creationId xmlns:a16="http://schemas.microsoft.com/office/drawing/2014/main" id="{8AD64B72-3042-4B79-85DA-DBCE753330D4}"/>
              </a:ext>
            </a:extLst>
          </p:cNvPr>
          <p:cNvSpPr/>
          <p:nvPr/>
        </p:nvSpPr>
        <p:spPr>
          <a:xfrm>
            <a:off x="3432956" y="4259866"/>
            <a:ext cx="2854975" cy="2039442"/>
          </a:xfrm>
          <a:custGeom>
            <a:avLst/>
            <a:gdLst>
              <a:gd name="connsiteX0" fmla="*/ 3061859 w 3061859"/>
              <a:gd name="connsiteY0" fmla="*/ 1886552 h 2088317"/>
              <a:gd name="connsiteX1" fmla="*/ 2792351 w 3061859"/>
              <a:gd name="connsiteY1" fmla="*/ 1896177 h 2088317"/>
              <a:gd name="connsiteX2" fmla="*/ 2705724 w 3061859"/>
              <a:gd name="connsiteY2" fmla="*/ 1925053 h 2088317"/>
              <a:gd name="connsiteX3" fmla="*/ 2609471 w 3061859"/>
              <a:gd name="connsiteY3" fmla="*/ 1953928 h 2088317"/>
              <a:gd name="connsiteX4" fmla="*/ 2542095 w 3061859"/>
              <a:gd name="connsiteY4" fmla="*/ 1973179 h 2088317"/>
              <a:gd name="connsiteX5" fmla="*/ 2493968 w 3061859"/>
              <a:gd name="connsiteY5" fmla="*/ 1992429 h 2088317"/>
              <a:gd name="connsiteX6" fmla="*/ 2445842 w 3061859"/>
              <a:gd name="connsiteY6" fmla="*/ 2002055 h 2088317"/>
              <a:gd name="connsiteX7" fmla="*/ 2378465 w 3061859"/>
              <a:gd name="connsiteY7" fmla="*/ 2030930 h 2088317"/>
              <a:gd name="connsiteX8" fmla="*/ 2291838 w 3061859"/>
              <a:gd name="connsiteY8" fmla="*/ 2050181 h 2088317"/>
              <a:gd name="connsiteX9" fmla="*/ 1916452 w 3061859"/>
              <a:gd name="connsiteY9" fmla="*/ 2059806 h 2088317"/>
              <a:gd name="connsiteX10" fmla="*/ 1887577 w 3061859"/>
              <a:gd name="connsiteY10" fmla="*/ 2050181 h 2088317"/>
              <a:gd name="connsiteX11" fmla="*/ 1800949 w 3061859"/>
              <a:gd name="connsiteY11" fmla="*/ 2040556 h 2088317"/>
              <a:gd name="connsiteX12" fmla="*/ 1743198 w 3061859"/>
              <a:gd name="connsiteY12" fmla="*/ 2030930 h 2088317"/>
              <a:gd name="connsiteX13" fmla="*/ 1608444 w 3061859"/>
              <a:gd name="connsiteY13" fmla="*/ 2011680 h 2088317"/>
              <a:gd name="connsiteX14" fmla="*/ 1569943 w 3061859"/>
              <a:gd name="connsiteY14" fmla="*/ 1992429 h 2088317"/>
              <a:gd name="connsiteX15" fmla="*/ 1521817 w 3061859"/>
              <a:gd name="connsiteY15" fmla="*/ 1982804 h 2088317"/>
              <a:gd name="connsiteX16" fmla="*/ 1444815 w 3061859"/>
              <a:gd name="connsiteY16" fmla="*/ 1963554 h 2088317"/>
              <a:gd name="connsiteX17" fmla="*/ 1367812 w 3061859"/>
              <a:gd name="connsiteY17" fmla="*/ 1925053 h 2088317"/>
              <a:gd name="connsiteX18" fmla="*/ 1319686 w 3061859"/>
              <a:gd name="connsiteY18" fmla="*/ 1905802 h 2088317"/>
              <a:gd name="connsiteX19" fmla="*/ 1261935 w 3061859"/>
              <a:gd name="connsiteY19" fmla="*/ 1867301 h 2088317"/>
              <a:gd name="connsiteX20" fmla="*/ 1223434 w 3061859"/>
              <a:gd name="connsiteY20" fmla="*/ 1848050 h 2088317"/>
              <a:gd name="connsiteX21" fmla="*/ 1184932 w 3061859"/>
              <a:gd name="connsiteY21" fmla="*/ 1771048 h 2088317"/>
              <a:gd name="connsiteX22" fmla="*/ 1156057 w 3061859"/>
              <a:gd name="connsiteY22" fmla="*/ 1732547 h 2088317"/>
              <a:gd name="connsiteX23" fmla="*/ 1136806 w 3061859"/>
              <a:gd name="connsiteY23" fmla="*/ 1703672 h 2088317"/>
              <a:gd name="connsiteX24" fmla="*/ 1127181 w 3061859"/>
              <a:gd name="connsiteY24" fmla="*/ 1655545 h 2088317"/>
              <a:gd name="connsiteX25" fmla="*/ 1117556 w 3061859"/>
              <a:gd name="connsiteY25" fmla="*/ 1626669 h 2088317"/>
              <a:gd name="connsiteX26" fmla="*/ 1107930 w 3061859"/>
              <a:gd name="connsiteY26" fmla="*/ 1530417 h 2088317"/>
              <a:gd name="connsiteX27" fmla="*/ 1098305 w 3061859"/>
              <a:gd name="connsiteY27" fmla="*/ 1463040 h 2088317"/>
              <a:gd name="connsiteX28" fmla="*/ 1088680 w 3061859"/>
              <a:gd name="connsiteY28" fmla="*/ 1328286 h 2088317"/>
              <a:gd name="connsiteX29" fmla="*/ 1079055 w 3061859"/>
              <a:gd name="connsiteY29" fmla="*/ 1280160 h 2088317"/>
              <a:gd name="connsiteX30" fmla="*/ 1069429 w 3061859"/>
              <a:gd name="connsiteY30" fmla="*/ 1212783 h 2088317"/>
              <a:gd name="connsiteX31" fmla="*/ 1011678 w 3061859"/>
              <a:gd name="connsiteY31" fmla="*/ 1078029 h 2088317"/>
              <a:gd name="connsiteX32" fmla="*/ 982802 w 3061859"/>
              <a:gd name="connsiteY32" fmla="*/ 1068404 h 2088317"/>
              <a:gd name="connsiteX33" fmla="*/ 934676 w 3061859"/>
              <a:gd name="connsiteY33" fmla="*/ 991402 h 2088317"/>
              <a:gd name="connsiteX34" fmla="*/ 925050 w 3061859"/>
              <a:gd name="connsiteY34" fmla="*/ 962526 h 2088317"/>
              <a:gd name="connsiteX35" fmla="*/ 896175 w 3061859"/>
              <a:gd name="connsiteY35" fmla="*/ 943276 h 2088317"/>
              <a:gd name="connsiteX36" fmla="*/ 838423 w 3061859"/>
              <a:gd name="connsiteY36" fmla="*/ 895149 h 2088317"/>
              <a:gd name="connsiteX37" fmla="*/ 751796 w 3061859"/>
              <a:gd name="connsiteY37" fmla="*/ 808522 h 2088317"/>
              <a:gd name="connsiteX38" fmla="*/ 732545 w 3061859"/>
              <a:gd name="connsiteY38" fmla="*/ 779646 h 2088317"/>
              <a:gd name="connsiteX39" fmla="*/ 694044 w 3061859"/>
              <a:gd name="connsiteY39" fmla="*/ 760396 h 2088317"/>
              <a:gd name="connsiteX40" fmla="*/ 655543 w 3061859"/>
              <a:gd name="connsiteY40" fmla="*/ 731520 h 2088317"/>
              <a:gd name="connsiteX41" fmla="*/ 588166 w 3061859"/>
              <a:gd name="connsiteY41" fmla="*/ 673768 h 2088317"/>
              <a:gd name="connsiteX42" fmla="*/ 501539 w 3061859"/>
              <a:gd name="connsiteY42" fmla="*/ 587141 h 2088317"/>
              <a:gd name="connsiteX43" fmla="*/ 472663 w 3061859"/>
              <a:gd name="connsiteY43" fmla="*/ 577516 h 2088317"/>
              <a:gd name="connsiteX44" fmla="*/ 443787 w 3061859"/>
              <a:gd name="connsiteY44" fmla="*/ 558265 h 2088317"/>
              <a:gd name="connsiteX45" fmla="*/ 386036 w 3061859"/>
              <a:gd name="connsiteY45" fmla="*/ 529389 h 2088317"/>
              <a:gd name="connsiteX46" fmla="*/ 357160 w 3061859"/>
              <a:gd name="connsiteY46" fmla="*/ 500514 h 2088317"/>
              <a:gd name="connsiteX47" fmla="*/ 270532 w 3061859"/>
              <a:gd name="connsiteY47" fmla="*/ 442762 h 2088317"/>
              <a:gd name="connsiteX48" fmla="*/ 203156 w 3061859"/>
              <a:gd name="connsiteY48" fmla="*/ 394636 h 2088317"/>
              <a:gd name="connsiteX49" fmla="*/ 183905 w 3061859"/>
              <a:gd name="connsiteY49" fmla="*/ 365760 h 2088317"/>
              <a:gd name="connsiteX50" fmla="*/ 155029 w 3061859"/>
              <a:gd name="connsiteY50" fmla="*/ 336884 h 2088317"/>
              <a:gd name="connsiteX51" fmla="*/ 145404 w 3061859"/>
              <a:gd name="connsiteY51" fmla="*/ 308008 h 2088317"/>
              <a:gd name="connsiteX52" fmla="*/ 106903 w 3061859"/>
              <a:gd name="connsiteY52" fmla="*/ 279133 h 2088317"/>
              <a:gd name="connsiteX53" fmla="*/ 78027 w 3061859"/>
              <a:gd name="connsiteY53" fmla="*/ 250257 h 2088317"/>
              <a:gd name="connsiteX54" fmla="*/ 58777 w 3061859"/>
              <a:gd name="connsiteY54" fmla="*/ 211756 h 2088317"/>
              <a:gd name="connsiteX55" fmla="*/ 10650 w 3061859"/>
              <a:gd name="connsiteY55" fmla="*/ 134754 h 2088317"/>
              <a:gd name="connsiteX56" fmla="*/ 1025 w 3061859"/>
              <a:gd name="connsiteY56" fmla="*/ 0 h 208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061859" h="2088317">
                <a:moveTo>
                  <a:pt x="3061859" y="1886552"/>
                </a:moveTo>
                <a:cubicBezTo>
                  <a:pt x="2972023" y="1889760"/>
                  <a:pt x="2881724" y="1886515"/>
                  <a:pt x="2792351" y="1896177"/>
                </a:cubicBezTo>
                <a:cubicBezTo>
                  <a:pt x="2762090" y="1899448"/>
                  <a:pt x="2735253" y="1917671"/>
                  <a:pt x="2705724" y="1925053"/>
                </a:cubicBezTo>
                <a:cubicBezTo>
                  <a:pt x="2627180" y="1944689"/>
                  <a:pt x="2710999" y="1922688"/>
                  <a:pt x="2609471" y="1953928"/>
                </a:cubicBezTo>
                <a:cubicBezTo>
                  <a:pt x="2587146" y="1960797"/>
                  <a:pt x="2564254" y="1965793"/>
                  <a:pt x="2542095" y="1973179"/>
                </a:cubicBezTo>
                <a:cubicBezTo>
                  <a:pt x="2525704" y="1978643"/>
                  <a:pt x="2510517" y="1987464"/>
                  <a:pt x="2493968" y="1992429"/>
                </a:cubicBezTo>
                <a:cubicBezTo>
                  <a:pt x="2478298" y="1997130"/>
                  <a:pt x="2461713" y="1998087"/>
                  <a:pt x="2445842" y="2002055"/>
                </a:cubicBezTo>
                <a:cubicBezTo>
                  <a:pt x="2352577" y="2025372"/>
                  <a:pt x="2497850" y="1994196"/>
                  <a:pt x="2378465" y="2030930"/>
                </a:cubicBezTo>
                <a:cubicBezTo>
                  <a:pt x="2350193" y="2039629"/>
                  <a:pt x="2320714" y="2043764"/>
                  <a:pt x="2291838" y="2050181"/>
                </a:cubicBezTo>
                <a:cubicBezTo>
                  <a:pt x="2154810" y="2118697"/>
                  <a:pt x="2252389" y="2077487"/>
                  <a:pt x="1916452" y="2059806"/>
                </a:cubicBezTo>
                <a:cubicBezTo>
                  <a:pt x="1906320" y="2059273"/>
                  <a:pt x="1897585" y="2051849"/>
                  <a:pt x="1887577" y="2050181"/>
                </a:cubicBezTo>
                <a:cubicBezTo>
                  <a:pt x="1858919" y="2045405"/>
                  <a:pt x="1829748" y="2044396"/>
                  <a:pt x="1800949" y="2040556"/>
                </a:cubicBezTo>
                <a:cubicBezTo>
                  <a:pt x="1781604" y="2037977"/>
                  <a:pt x="1762543" y="2033509"/>
                  <a:pt x="1743198" y="2030930"/>
                </a:cubicBezTo>
                <a:cubicBezTo>
                  <a:pt x="1606000" y="2012636"/>
                  <a:pt x="1704379" y="2030867"/>
                  <a:pt x="1608444" y="2011680"/>
                </a:cubicBezTo>
                <a:cubicBezTo>
                  <a:pt x="1595610" y="2005263"/>
                  <a:pt x="1583555" y="1996966"/>
                  <a:pt x="1569943" y="1992429"/>
                </a:cubicBezTo>
                <a:cubicBezTo>
                  <a:pt x="1554423" y="1987256"/>
                  <a:pt x="1537758" y="1986483"/>
                  <a:pt x="1521817" y="1982804"/>
                </a:cubicBezTo>
                <a:cubicBezTo>
                  <a:pt x="1496037" y="1976855"/>
                  <a:pt x="1470482" y="1969971"/>
                  <a:pt x="1444815" y="1963554"/>
                </a:cubicBezTo>
                <a:cubicBezTo>
                  <a:pt x="1419147" y="1950720"/>
                  <a:pt x="1394457" y="1935711"/>
                  <a:pt x="1367812" y="1925053"/>
                </a:cubicBezTo>
                <a:cubicBezTo>
                  <a:pt x="1351770" y="1918636"/>
                  <a:pt x="1334854" y="1914076"/>
                  <a:pt x="1319686" y="1905802"/>
                </a:cubicBezTo>
                <a:cubicBezTo>
                  <a:pt x="1299375" y="1894723"/>
                  <a:pt x="1281774" y="1879205"/>
                  <a:pt x="1261935" y="1867301"/>
                </a:cubicBezTo>
                <a:cubicBezTo>
                  <a:pt x="1249631" y="1859919"/>
                  <a:pt x="1236268" y="1854467"/>
                  <a:pt x="1223434" y="1848050"/>
                </a:cubicBezTo>
                <a:cubicBezTo>
                  <a:pt x="1157828" y="1749646"/>
                  <a:pt x="1263400" y="1912293"/>
                  <a:pt x="1184932" y="1771048"/>
                </a:cubicBezTo>
                <a:cubicBezTo>
                  <a:pt x="1177141" y="1757025"/>
                  <a:pt x="1165381" y="1745601"/>
                  <a:pt x="1156057" y="1732547"/>
                </a:cubicBezTo>
                <a:cubicBezTo>
                  <a:pt x="1149333" y="1723134"/>
                  <a:pt x="1143223" y="1713297"/>
                  <a:pt x="1136806" y="1703672"/>
                </a:cubicBezTo>
                <a:cubicBezTo>
                  <a:pt x="1133598" y="1687630"/>
                  <a:pt x="1131149" y="1671417"/>
                  <a:pt x="1127181" y="1655545"/>
                </a:cubicBezTo>
                <a:cubicBezTo>
                  <a:pt x="1124720" y="1645702"/>
                  <a:pt x="1119099" y="1636697"/>
                  <a:pt x="1117556" y="1626669"/>
                </a:cubicBezTo>
                <a:cubicBezTo>
                  <a:pt x="1112653" y="1594800"/>
                  <a:pt x="1111698" y="1562440"/>
                  <a:pt x="1107930" y="1530417"/>
                </a:cubicBezTo>
                <a:cubicBezTo>
                  <a:pt x="1105279" y="1507885"/>
                  <a:pt x="1100456" y="1485625"/>
                  <a:pt x="1098305" y="1463040"/>
                </a:cubicBezTo>
                <a:cubicBezTo>
                  <a:pt x="1094036" y="1418210"/>
                  <a:pt x="1093394" y="1373071"/>
                  <a:pt x="1088680" y="1328286"/>
                </a:cubicBezTo>
                <a:cubicBezTo>
                  <a:pt x="1086967" y="1312016"/>
                  <a:pt x="1081745" y="1296297"/>
                  <a:pt x="1079055" y="1280160"/>
                </a:cubicBezTo>
                <a:cubicBezTo>
                  <a:pt x="1075325" y="1257782"/>
                  <a:pt x="1073610" y="1235081"/>
                  <a:pt x="1069429" y="1212783"/>
                </a:cubicBezTo>
                <a:cubicBezTo>
                  <a:pt x="1057336" y="1148287"/>
                  <a:pt x="1060591" y="1119955"/>
                  <a:pt x="1011678" y="1078029"/>
                </a:cubicBezTo>
                <a:cubicBezTo>
                  <a:pt x="1003975" y="1071426"/>
                  <a:pt x="992427" y="1071612"/>
                  <a:pt x="982802" y="1068404"/>
                </a:cubicBezTo>
                <a:cubicBezTo>
                  <a:pt x="963801" y="973398"/>
                  <a:pt x="992374" y="1060639"/>
                  <a:pt x="934676" y="991402"/>
                </a:cubicBezTo>
                <a:cubicBezTo>
                  <a:pt x="928181" y="983608"/>
                  <a:pt x="931388" y="970449"/>
                  <a:pt x="925050" y="962526"/>
                </a:cubicBezTo>
                <a:cubicBezTo>
                  <a:pt x="917824" y="953493"/>
                  <a:pt x="904355" y="951456"/>
                  <a:pt x="896175" y="943276"/>
                </a:cubicBezTo>
                <a:cubicBezTo>
                  <a:pt x="843729" y="890830"/>
                  <a:pt x="893574" y="913534"/>
                  <a:pt x="838423" y="895149"/>
                </a:cubicBezTo>
                <a:cubicBezTo>
                  <a:pt x="735754" y="766813"/>
                  <a:pt x="867299" y="924025"/>
                  <a:pt x="751796" y="808522"/>
                </a:cubicBezTo>
                <a:cubicBezTo>
                  <a:pt x="743616" y="800342"/>
                  <a:pt x="741432" y="787052"/>
                  <a:pt x="732545" y="779646"/>
                </a:cubicBezTo>
                <a:cubicBezTo>
                  <a:pt x="721522" y="770460"/>
                  <a:pt x="706211" y="768001"/>
                  <a:pt x="694044" y="760396"/>
                </a:cubicBezTo>
                <a:cubicBezTo>
                  <a:pt x="680440" y="751894"/>
                  <a:pt x="667616" y="742084"/>
                  <a:pt x="655543" y="731520"/>
                </a:cubicBezTo>
                <a:cubicBezTo>
                  <a:pt x="580853" y="666166"/>
                  <a:pt x="649996" y="714989"/>
                  <a:pt x="588166" y="673768"/>
                </a:cubicBezTo>
                <a:cubicBezTo>
                  <a:pt x="547694" y="613060"/>
                  <a:pt x="562707" y="617725"/>
                  <a:pt x="501539" y="587141"/>
                </a:cubicBezTo>
                <a:cubicBezTo>
                  <a:pt x="492464" y="582604"/>
                  <a:pt x="482288" y="580724"/>
                  <a:pt x="472663" y="577516"/>
                </a:cubicBezTo>
                <a:cubicBezTo>
                  <a:pt x="463038" y="571099"/>
                  <a:pt x="454134" y="563438"/>
                  <a:pt x="443787" y="558265"/>
                </a:cubicBezTo>
                <a:cubicBezTo>
                  <a:pt x="400372" y="536557"/>
                  <a:pt x="427417" y="563874"/>
                  <a:pt x="386036" y="529389"/>
                </a:cubicBezTo>
                <a:cubicBezTo>
                  <a:pt x="375579" y="520675"/>
                  <a:pt x="368050" y="508681"/>
                  <a:pt x="357160" y="500514"/>
                </a:cubicBezTo>
                <a:cubicBezTo>
                  <a:pt x="271017" y="435907"/>
                  <a:pt x="344805" y="506424"/>
                  <a:pt x="270532" y="442762"/>
                </a:cubicBezTo>
                <a:cubicBezTo>
                  <a:pt x="215900" y="395935"/>
                  <a:pt x="270287" y="428201"/>
                  <a:pt x="203156" y="394636"/>
                </a:cubicBezTo>
                <a:cubicBezTo>
                  <a:pt x="196739" y="385011"/>
                  <a:pt x="191311" y="374647"/>
                  <a:pt x="183905" y="365760"/>
                </a:cubicBezTo>
                <a:cubicBezTo>
                  <a:pt x="175191" y="355303"/>
                  <a:pt x="162580" y="348210"/>
                  <a:pt x="155029" y="336884"/>
                </a:cubicBezTo>
                <a:cubicBezTo>
                  <a:pt x="149401" y="328442"/>
                  <a:pt x="151899" y="315802"/>
                  <a:pt x="145404" y="308008"/>
                </a:cubicBezTo>
                <a:cubicBezTo>
                  <a:pt x="135134" y="295684"/>
                  <a:pt x="119083" y="289573"/>
                  <a:pt x="106903" y="279133"/>
                </a:cubicBezTo>
                <a:cubicBezTo>
                  <a:pt x="96568" y="270274"/>
                  <a:pt x="87652" y="259882"/>
                  <a:pt x="78027" y="250257"/>
                </a:cubicBezTo>
                <a:cubicBezTo>
                  <a:pt x="71610" y="237423"/>
                  <a:pt x="66382" y="223923"/>
                  <a:pt x="58777" y="211756"/>
                </a:cubicBezTo>
                <a:cubicBezTo>
                  <a:pt x="-3704" y="111786"/>
                  <a:pt x="59432" y="232316"/>
                  <a:pt x="10650" y="134754"/>
                </a:cubicBezTo>
                <a:cubicBezTo>
                  <a:pt x="-4638" y="58312"/>
                  <a:pt x="1025" y="102987"/>
                  <a:pt x="1025" y="0"/>
                </a:cubicBezTo>
              </a:path>
            </a:pathLst>
          </a:custGeom>
          <a:noFill/>
          <a:ln w="12700" cap="sq">
            <a:solidFill>
              <a:srgbClr val="4D4D4D"/>
            </a:solid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srgbClr val="FFFFFF"/>
              </a:solidFill>
              <a:effectLst/>
              <a:uLnTx/>
              <a:uFillTx/>
              <a:latin typeface="Bahnschrift" panose="020B0502040204020203" pitchFamily="34" charset="0"/>
              <a:sym typeface="Bahnschrift" panose="020B0502040204020203" pitchFamily="34" charset="0"/>
            </a:endParaRPr>
          </a:p>
        </p:txBody>
      </p:sp>
      <p:sp>
        <p:nvSpPr>
          <p:cNvPr id="145" name="Freeform: Shape 144">
            <a:extLst>
              <a:ext uri="{FF2B5EF4-FFF2-40B4-BE49-F238E27FC236}">
                <a16:creationId xmlns:a16="http://schemas.microsoft.com/office/drawing/2014/main" id="{F7115927-BC70-4907-93C1-59184EE58901}"/>
              </a:ext>
            </a:extLst>
          </p:cNvPr>
          <p:cNvSpPr/>
          <p:nvPr/>
        </p:nvSpPr>
        <p:spPr>
          <a:xfrm>
            <a:off x="2356924" y="2868667"/>
            <a:ext cx="403870" cy="197400"/>
          </a:xfrm>
          <a:custGeom>
            <a:avLst/>
            <a:gdLst>
              <a:gd name="connsiteX0" fmla="*/ 0 w 433136"/>
              <a:gd name="connsiteY0" fmla="*/ 0 h 202131"/>
              <a:gd name="connsiteX1" fmla="*/ 317633 w 433136"/>
              <a:gd name="connsiteY1" fmla="*/ 19251 h 202131"/>
              <a:gd name="connsiteX2" fmla="*/ 346509 w 433136"/>
              <a:gd name="connsiteY2" fmla="*/ 28876 h 202131"/>
              <a:gd name="connsiteX3" fmla="*/ 356134 w 433136"/>
              <a:gd name="connsiteY3" fmla="*/ 57752 h 202131"/>
              <a:gd name="connsiteX4" fmla="*/ 385010 w 433136"/>
              <a:gd name="connsiteY4" fmla="*/ 86627 h 202131"/>
              <a:gd name="connsiteX5" fmla="*/ 404261 w 433136"/>
              <a:gd name="connsiteY5" fmla="*/ 115503 h 202131"/>
              <a:gd name="connsiteX6" fmla="*/ 413886 w 433136"/>
              <a:gd name="connsiteY6" fmla="*/ 144379 h 202131"/>
              <a:gd name="connsiteX7" fmla="*/ 433136 w 433136"/>
              <a:gd name="connsiteY7" fmla="*/ 202131 h 202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3136" h="202131">
                <a:moveTo>
                  <a:pt x="0" y="0"/>
                </a:moveTo>
                <a:cubicBezTo>
                  <a:pt x="105878" y="6417"/>
                  <a:pt x="211927" y="10442"/>
                  <a:pt x="317633" y="19251"/>
                </a:cubicBezTo>
                <a:cubicBezTo>
                  <a:pt x="327744" y="20094"/>
                  <a:pt x="339335" y="21702"/>
                  <a:pt x="346509" y="28876"/>
                </a:cubicBezTo>
                <a:cubicBezTo>
                  <a:pt x="353683" y="36050"/>
                  <a:pt x="350506" y="49310"/>
                  <a:pt x="356134" y="57752"/>
                </a:cubicBezTo>
                <a:cubicBezTo>
                  <a:pt x="363685" y="69078"/>
                  <a:pt x="376296" y="76170"/>
                  <a:pt x="385010" y="86627"/>
                </a:cubicBezTo>
                <a:cubicBezTo>
                  <a:pt x="392416" y="95514"/>
                  <a:pt x="397844" y="105878"/>
                  <a:pt x="404261" y="115503"/>
                </a:cubicBezTo>
                <a:cubicBezTo>
                  <a:pt x="407469" y="125128"/>
                  <a:pt x="411425" y="134536"/>
                  <a:pt x="413886" y="144379"/>
                </a:cubicBezTo>
                <a:cubicBezTo>
                  <a:pt x="427906" y="200460"/>
                  <a:pt x="410971" y="179964"/>
                  <a:pt x="433136" y="202131"/>
                </a:cubicBezTo>
              </a:path>
            </a:pathLst>
          </a:custGeom>
          <a:noFill/>
          <a:ln w="12700" cap="sq">
            <a:solidFill>
              <a:srgbClr val="4D4D4D"/>
            </a:solid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srgbClr val="FFFFFF"/>
              </a:solidFill>
              <a:effectLst/>
              <a:uLnTx/>
              <a:uFillTx/>
              <a:latin typeface="Bahnschrift" panose="020B0502040204020203" pitchFamily="34" charset="0"/>
              <a:sym typeface="Bahnschrift" panose="020B0502040204020203" pitchFamily="34" charset="0"/>
            </a:endParaRPr>
          </a:p>
        </p:txBody>
      </p:sp>
      <p:sp>
        <p:nvSpPr>
          <p:cNvPr id="146" name="Freeform: Shape 145">
            <a:extLst>
              <a:ext uri="{FF2B5EF4-FFF2-40B4-BE49-F238E27FC236}">
                <a16:creationId xmlns:a16="http://schemas.microsoft.com/office/drawing/2014/main" id="{0EC3F636-C232-4A76-97D4-09F66B179BAB}"/>
              </a:ext>
            </a:extLst>
          </p:cNvPr>
          <p:cNvSpPr/>
          <p:nvPr/>
        </p:nvSpPr>
        <p:spPr>
          <a:xfrm>
            <a:off x="3236463" y="3413866"/>
            <a:ext cx="1068014" cy="122200"/>
          </a:xfrm>
          <a:custGeom>
            <a:avLst/>
            <a:gdLst>
              <a:gd name="connsiteX0" fmla="*/ 1145407 w 1145407"/>
              <a:gd name="connsiteY0" fmla="*/ 125129 h 125129"/>
              <a:gd name="connsiteX1" fmla="*/ 1049154 w 1145407"/>
              <a:gd name="connsiteY1" fmla="*/ 115503 h 125129"/>
              <a:gd name="connsiteX2" fmla="*/ 991402 w 1145407"/>
              <a:gd name="connsiteY2" fmla="*/ 96253 h 125129"/>
              <a:gd name="connsiteX3" fmla="*/ 962527 w 1145407"/>
              <a:gd name="connsiteY3" fmla="*/ 86628 h 125129"/>
              <a:gd name="connsiteX4" fmla="*/ 847023 w 1145407"/>
              <a:gd name="connsiteY4" fmla="*/ 67377 h 125129"/>
              <a:gd name="connsiteX5" fmla="*/ 760396 w 1145407"/>
              <a:gd name="connsiteY5" fmla="*/ 38501 h 125129"/>
              <a:gd name="connsiteX6" fmla="*/ 731520 w 1145407"/>
              <a:gd name="connsiteY6" fmla="*/ 28876 h 125129"/>
              <a:gd name="connsiteX7" fmla="*/ 596767 w 1145407"/>
              <a:gd name="connsiteY7" fmla="*/ 9626 h 125129"/>
              <a:gd name="connsiteX8" fmla="*/ 96253 w 1145407"/>
              <a:gd name="connsiteY8" fmla="*/ 0 h 125129"/>
              <a:gd name="connsiteX9" fmla="*/ 0 w 1145407"/>
              <a:gd name="connsiteY9" fmla="*/ 38501 h 125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5407" h="125129">
                <a:moveTo>
                  <a:pt x="1145407" y="125129"/>
                </a:moveTo>
                <a:cubicBezTo>
                  <a:pt x="1113323" y="121920"/>
                  <a:pt x="1080846" y="121445"/>
                  <a:pt x="1049154" y="115503"/>
                </a:cubicBezTo>
                <a:cubicBezTo>
                  <a:pt x="1029210" y="111763"/>
                  <a:pt x="1010653" y="102670"/>
                  <a:pt x="991402" y="96253"/>
                </a:cubicBezTo>
                <a:cubicBezTo>
                  <a:pt x="981777" y="93045"/>
                  <a:pt x="972535" y="88296"/>
                  <a:pt x="962527" y="86628"/>
                </a:cubicBezTo>
                <a:lnTo>
                  <a:pt x="847023" y="67377"/>
                </a:lnTo>
                <a:lnTo>
                  <a:pt x="760396" y="38501"/>
                </a:lnTo>
                <a:cubicBezTo>
                  <a:pt x="750771" y="35293"/>
                  <a:pt x="741528" y="30544"/>
                  <a:pt x="731520" y="28876"/>
                </a:cubicBezTo>
                <a:cubicBezTo>
                  <a:pt x="698238" y="23329"/>
                  <a:pt x="626883" y="10630"/>
                  <a:pt x="596767" y="9626"/>
                </a:cubicBezTo>
                <a:cubicBezTo>
                  <a:pt x="429991" y="4067"/>
                  <a:pt x="263091" y="3209"/>
                  <a:pt x="96253" y="0"/>
                </a:cubicBezTo>
                <a:cubicBezTo>
                  <a:pt x="10447" y="21452"/>
                  <a:pt x="37960" y="543"/>
                  <a:pt x="0" y="38501"/>
                </a:cubicBezTo>
              </a:path>
            </a:pathLst>
          </a:custGeom>
          <a:noFill/>
          <a:ln w="12700" cap="sq">
            <a:solidFill>
              <a:srgbClr val="4D4D4D"/>
            </a:solid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a:ln>
                <a:noFill/>
              </a:ln>
              <a:solidFill>
                <a:srgbClr val="FFFFFF"/>
              </a:solidFill>
              <a:effectLst/>
              <a:uLnTx/>
              <a:uFillTx/>
              <a:latin typeface="Bahnschrift" panose="020B0502040204020203" pitchFamily="34" charset="0"/>
              <a:sym typeface="Bahnschrift" panose="020B0502040204020203" pitchFamily="34" charset="0"/>
            </a:endParaRPr>
          </a:p>
        </p:txBody>
      </p:sp>
      <p:sp>
        <p:nvSpPr>
          <p:cNvPr id="198" name="TextBox 197">
            <a:extLst>
              <a:ext uri="{FF2B5EF4-FFF2-40B4-BE49-F238E27FC236}">
                <a16:creationId xmlns:a16="http://schemas.microsoft.com/office/drawing/2014/main" id="{ABB1ABC4-4B6D-488E-BA5B-D27C58B5290E}"/>
              </a:ext>
            </a:extLst>
          </p:cNvPr>
          <p:cNvSpPr txBox="1">
            <a:spLocks/>
          </p:cNvSpPr>
          <p:nvPr/>
        </p:nvSpPr>
        <p:spPr>
          <a:xfrm>
            <a:off x="3050743" y="6174319"/>
            <a:ext cx="919277" cy="422080"/>
          </a:xfrm>
          <a:prstGeom prst="rect">
            <a:avLst/>
          </a:prstGeom>
          <a:solidFill>
            <a:schemeClr val="bg2"/>
          </a:solidFill>
          <a:ln>
            <a:solidFill>
              <a:srgbClr val="FFC000"/>
            </a:solidFill>
          </a:ln>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222222"/>
              </a:buClr>
              <a:buSzPct val="100000"/>
              <a:buFont typeface="Segoe UI" panose="020B0502040204020203" pitchFamily="34" charset="0"/>
              <a:buChar char="​"/>
              <a:tabLst/>
              <a:defRPr/>
            </a:pP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rPr>
              <a:t>Nordafrika-Italien</a:t>
            </a:r>
          </a:p>
        </p:txBody>
      </p:sp>
      <p:sp>
        <p:nvSpPr>
          <p:cNvPr id="204" name="TextBox 203">
            <a:extLst>
              <a:ext uri="{FF2B5EF4-FFF2-40B4-BE49-F238E27FC236}">
                <a16:creationId xmlns:a16="http://schemas.microsoft.com/office/drawing/2014/main" id="{1A82FAE3-DEB5-4925-BDB8-01BEB2EEDEBA}"/>
              </a:ext>
            </a:extLst>
          </p:cNvPr>
          <p:cNvSpPr txBox="1">
            <a:spLocks/>
          </p:cNvSpPr>
          <p:nvPr/>
        </p:nvSpPr>
        <p:spPr>
          <a:xfrm>
            <a:off x="1821415" y="2179117"/>
            <a:ext cx="919277" cy="422080"/>
          </a:xfrm>
          <a:prstGeom prst="rect">
            <a:avLst/>
          </a:prstGeom>
          <a:solidFill>
            <a:schemeClr val="bg2"/>
          </a:solidFill>
          <a:ln w="12700">
            <a:solidFill>
              <a:schemeClr val="accent1"/>
            </a:solidFill>
          </a:ln>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de-DE" sz="1200" b="0" i="0" u="none" strike="noStrike" kern="1200" cap="none" spc="0" normalizeH="0" baseline="0" noProof="0" dirty="0">
                <a:ln>
                  <a:noFill/>
                </a:ln>
                <a:solidFill>
                  <a:schemeClr val="accent1"/>
                </a:solidFill>
                <a:effectLst/>
                <a:uLnTx/>
                <a:uFillTx/>
                <a:latin typeface="Bahnschrift" panose="020B0502040204020203" pitchFamily="34" charset="0"/>
                <a:sym typeface="Bahnschrift" panose="020B0502040204020203" pitchFamily="34" charset="0"/>
              </a:rPr>
              <a:t>Nordsee</a:t>
            </a:r>
          </a:p>
        </p:txBody>
      </p:sp>
      <p:sp>
        <p:nvSpPr>
          <p:cNvPr id="206" name="TextBox 205">
            <a:extLst>
              <a:ext uri="{FF2B5EF4-FFF2-40B4-BE49-F238E27FC236}">
                <a16:creationId xmlns:a16="http://schemas.microsoft.com/office/drawing/2014/main" id="{61B8B548-C1BB-4543-9512-A1329FC5CCB7}"/>
              </a:ext>
            </a:extLst>
          </p:cNvPr>
          <p:cNvSpPr txBox="1">
            <a:spLocks/>
          </p:cNvSpPr>
          <p:nvPr/>
        </p:nvSpPr>
        <p:spPr>
          <a:xfrm>
            <a:off x="6481632" y="2961825"/>
            <a:ext cx="919277" cy="422080"/>
          </a:xfrm>
          <a:prstGeom prst="rect">
            <a:avLst/>
          </a:prstGeom>
          <a:solidFill>
            <a:schemeClr val="bg2"/>
          </a:solidFill>
          <a:ln w="12700">
            <a:solidFill>
              <a:srgbClr val="00B050"/>
            </a:solidFill>
          </a:ln>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Tx/>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Arial" panose="020B0604020202020204" pitchFamily="34" charset="0"/>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222222"/>
              </a:buClr>
              <a:buSzPct val="100000"/>
              <a:buFont typeface="Segoe UI" panose="020B0502040204020203" pitchFamily="34" charset="0"/>
              <a:buChar char="​"/>
              <a:tabLst/>
              <a:defRPr/>
            </a:pPr>
            <a:r>
              <a:rPr kumimoji="0" lang="de-DE" sz="1200" b="1" i="0" u="none" strike="noStrike" kern="1200" cap="none" spc="0" normalizeH="0" baseline="0" noProof="0" dirty="0">
                <a:ln>
                  <a:noFill/>
                </a:ln>
                <a:solidFill>
                  <a:srgbClr val="00B050"/>
                </a:solidFill>
                <a:effectLst/>
                <a:uLnTx/>
                <a:uFillTx/>
                <a:latin typeface="Bahnschrift" panose="020B0502040204020203" pitchFamily="34" charset="0"/>
                <a:sym typeface="Bahnschrift" panose="020B0502040204020203" pitchFamily="34" charset="0"/>
              </a:rPr>
              <a:t>Ukraine-Slowakei</a:t>
            </a:r>
          </a:p>
        </p:txBody>
      </p:sp>
      <p:sp>
        <p:nvSpPr>
          <p:cNvPr id="10" name="Freeform: Shape 9">
            <a:extLst>
              <a:ext uri="{FF2B5EF4-FFF2-40B4-BE49-F238E27FC236}">
                <a16:creationId xmlns:a16="http://schemas.microsoft.com/office/drawing/2014/main" id="{14FBD398-CC29-82D6-8B69-8299E54E47D9}"/>
              </a:ext>
            </a:extLst>
          </p:cNvPr>
          <p:cNvSpPr/>
          <p:nvPr/>
        </p:nvSpPr>
        <p:spPr>
          <a:xfrm>
            <a:off x="3243385" y="3476588"/>
            <a:ext cx="249767" cy="221143"/>
          </a:xfrm>
          <a:custGeom>
            <a:avLst/>
            <a:gdLst>
              <a:gd name="connsiteX0" fmla="*/ 0 w 251883"/>
              <a:gd name="connsiteY0" fmla="*/ 0 h 259243"/>
              <a:gd name="connsiteX1" fmla="*/ 40217 w 251883"/>
              <a:gd name="connsiteY1" fmla="*/ 52916 h 259243"/>
              <a:gd name="connsiteX2" fmla="*/ 38100 w 251883"/>
              <a:gd name="connsiteY2" fmla="*/ 118533 h 259243"/>
              <a:gd name="connsiteX3" fmla="*/ 76200 w 251883"/>
              <a:gd name="connsiteY3" fmla="*/ 131233 h 259243"/>
              <a:gd name="connsiteX4" fmla="*/ 101600 w 251883"/>
              <a:gd name="connsiteY4" fmla="*/ 156633 h 259243"/>
              <a:gd name="connsiteX5" fmla="*/ 107950 w 251883"/>
              <a:gd name="connsiteY5" fmla="*/ 182033 h 259243"/>
              <a:gd name="connsiteX6" fmla="*/ 165100 w 251883"/>
              <a:gd name="connsiteY6" fmla="*/ 182033 h 259243"/>
              <a:gd name="connsiteX7" fmla="*/ 171450 w 251883"/>
              <a:gd name="connsiteY7" fmla="*/ 220133 h 259243"/>
              <a:gd name="connsiteX8" fmla="*/ 215900 w 251883"/>
              <a:gd name="connsiteY8" fmla="*/ 230716 h 259243"/>
              <a:gd name="connsiteX9" fmla="*/ 251883 w 251883"/>
              <a:gd name="connsiteY9" fmla="*/ 249766 h 259243"/>
              <a:gd name="connsiteX0" fmla="*/ 0 w 258233"/>
              <a:gd name="connsiteY0" fmla="*/ 0 h 246543"/>
              <a:gd name="connsiteX1" fmla="*/ 46567 w 258233"/>
              <a:gd name="connsiteY1" fmla="*/ 40216 h 246543"/>
              <a:gd name="connsiteX2" fmla="*/ 44450 w 258233"/>
              <a:gd name="connsiteY2" fmla="*/ 105833 h 246543"/>
              <a:gd name="connsiteX3" fmla="*/ 82550 w 258233"/>
              <a:gd name="connsiteY3" fmla="*/ 118533 h 246543"/>
              <a:gd name="connsiteX4" fmla="*/ 107950 w 258233"/>
              <a:gd name="connsiteY4" fmla="*/ 143933 h 246543"/>
              <a:gd name="connsiteX5" fmla="*/ 114300 w 258233"/>
              <a:gd name="connsiteY5" fmla="*/ 169333 h 246543"/>
              <a:gd name="connsiteX6" fmla="*/ 171450 w 258233"/>
              <a:gd name="connsiteY6" fmla="*/ 169333 h 246543"/>
              <a:gd name="connsiteX7" fmla="*/ 177800 w 258233"/>
              <a:gd name="connsiteY7" fmla="*/ 207433 h 246543"/>
              <a:gd name="connsiteX8" fmla="*/ 222250 w 258233"/>
              <a:gd name="connsiteY8" fmla="*/ 218016 h 246543"/>
              <a:gd name="connsiteX9" fmla="*/ 258233 w 258233"/>
              <a:gd name="connsiteY9" fmla="*/ 237066 h 246543"/>
              <a:gd name="connsiteX0" fmla="*/ 0 w 249767"/>
              <a:gd name="connsiteY0" fmla="*/ 0 h 221143"/>
              <a:gd name="connsiteX1" fmla="*/ 38101 w 249767"/>
              <a:gd name="connsiteY1" fmla="*/ 14816 h 221143"/>
              <a:gd name="connsiteX2" fmla="*/ 35984 w 249767"/>
              <a:gd name="connsiteY2" fmla="*/ 80433 h 221143"/>
              <a:gd name="connsiteX3" fmla="*/ 74084 w 249767"/>
              <a:gd name="connsiteY3" fmla="*/ 93133 h 221143"/>
              <a:gd name="connsiteX4" fmla="*/ 99484 w 249767"/>
              <a:gd name="connsiteY4" fmla="*/ 118533 h 221143"/>
              <a:gd name="connsiteX5" fmla="*/ 105834 w 249767"/>
              <a:gd name="connsiteY5" fmla="*/ 143933 h 221143"/>
              <a:gd name="connsiteX6" fmla="*/ 162984 w 249767"/>
              <a:gd name="connsiteY6" fmla="*/ 143933 h 221143"/>
              <a:gd name="connsiteX7" fmla="*/ 169334 w 249767"/>
              <a:gd name="connsiteY7" fmla="*/ 182033 h 221143"/>
              <a:gd name="connsiteX8" fmla="*/ 213784 w 249767"/>
              <a:gd name="connsiteY8" fmla="*/ 192616 h 221143"/>
              <a:gd name="connsiteX9" fmla="*/ 249767 w 249767"/>
              <a:gd name="connsiteY9" fmla="*/ 211666 h 221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767" h="221143">
                <a:moveTo>
                  <a:pt x="0" y="0"/>
                </a:moveTo>
                <a:cubicBezTo>
                  <a:pt x="16933" y="16580"/>
                  <a:pt x="32104" y="1411"/>
                  <a:pt x="38101" y="14816"/>
                </a:cubicBezTo>
                <a:cubicBezTo>
                  <a:pt x="44098" y="28221"/>
                  <a:pt x="29987" y="67380"/>
                  <a:pt x="35984" y="80433"/>
                </a:cubicBezTo>
                <a:cubicBezTo>
                  <a:pt x="41981" y="93486"/>
                  <a:pt x="63501" y="86783"/>
                  <a:pt x="74084" y="93133"/>
                </a:cubicBezTo>
                <a:cubicBezTo>
                  <a:pt x="84667" y="99483"/>
                  <a:pt x="94192" y="110066"/>
                  <a:pt x="99484" y="118533"/>
                </a:cubicBezTo>
                <a:cubicBezTo>
                  <a:pt x="104776" y="127000"/>
                  <a:pt x="95251" y="139700"/>
                  <a:pt x="105834" y="143933"/>
                </a:cubicBezTo>
                <a:cubicBezTo>
                  <a:pt x="116417" y="148166"/>
                  <a:pt x="152401" y="137583"/>
                  <a:pt x="162984" y="143933"/>
                </a:cubicBezTo>
                <a:cubicBezTo>
                  <a:pt x="173567" y="150283"/>
                  <a:pt x="160867" y="173919"/>
                  <a:pt x="169334" y="182033"/>
                </a:cubicBezTo>
                <a:cubicBezTo>
                  <a:pt x="177801" y="190147"/>
                  <a:pt x="200378" y="187677"/>
                  <a:pt x="213784" y="192616"/>
                </a:cubicBezTo>
                <a:cubicBezTo>
                  <a:pt x="227190" y="197555"/>
                  <a:pt x="215900" y="239535"/>
                  <a:pt x="249767" y="211666"/>
                </a:cubicBezTo>
              </a:path>
            </a:pathLst>
          </a:custGeom>
          <a:noFill/>
          <a:ln w="3810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5363D"/>
              </a:solidFill>
              <a:effectLst/>
              <a:uLnTx/>
              <a:uFillTx/>
              <a:latin typeface="Bahnschrift" panose="020B0502040204020203" pitchFamily="34" charset="0"/>
              <a:sym typeface="Bahnschrift" panose="020B0502040204020203" pitchFamily="34" charset="0"/>
            </a:endParaRPr>
          </a:p>
        </p:txBody>
      </p:sp>
      <p:sp>
        <p:nvSpPr>
          <p:cNvPr id="9" name="Foliennummernplatzhalter 2">
            <a:extLst>
              <a:ext uri="{FF2B5EF4-FFF2-40B4-BE49-F238E27FC236}">
                <a16:creationId xmlns:a16="http://schemas.microsoft.com/office/drawing/2014/main" id="{C44FC8E1-5789-94C4-D9DD-67203160452E}"/>
              </a:ext>
            </a:extLst>
          </p:cNvPr>
          <p:cNvSpPr>
            <a:spLocks noGrp="1"/>
          </p:cNvSpPr>
          <p:nvPr>
            <p:ph type="sldNum" sz="quarter" idx="10"/>
          </p:nvPr>
        </p:nvSpPr>
        <p:spPr>
          <a:xfrm>
            <a:off x="297888" y="6541542"/>
            <a:ext cx="4692569" cy="215444"/>
          </a:xfrm>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fld id="{ACDA101C-1C77-4D48-BD39-A39536584314}" type="slidenum">
              <a:rPr kumimoji="0" lang="de-AT" sz="800" b="0" i="0" u="none" strike="noStrike" kern="1200" cap="none" spc="0" normalizeH="0" baseline="0" noProof="0" smtClean="0">
                <a:ln>
                  <a:noFill/>
                </a:ln>
                <a:solidFill>
                  <a:prstClr val="white">
                    <a:lumMod val="50000"/>
                  </a:prstClr>
                </a:solidFill>
                <a:effectLst/>
                <a:uLnTx/>
                <a:uFillTx/>
              </a:rPr>
              <a:pPr marL="0" marR="0" lvl="0" indent="0" algn="l" defTabSz="914400" rtl="0" eaLnBrk="1" fontAlgn="base" latinLnBrk="0" hangingPunct="1">
                <a:lnSpc>
                  <a:spcPct val="100000"/>
                </a:lnSpc>
                <a:spcBef>
                  <a:spcPct val="0"/>
                </a:spcBef>
                <a:spcAft>
                  <a:spcPct val="0"/>
                </a:spcAft>
                <a:buClrTx/>
                <a:buSzTx/>
                <a:buFontTx/>
                <a:buNone/>
                <a:tabLst/>
                <a:defRPr/>
              </a:pPr>
              <a:t>27</a:t>
            </a:fld>
            <a:endParaRPr kumimoji="0" lang="de-AT" sz="800" b="0" i="0" u="none" strike="noStrike" kern="1200" cap="none" spc="0" normalizeH="0" baseline="0" noProof="0">
              <a:ln>
                <a:noFill/>
              </a:ln>
              <a:solidFill>
                <a:prstClr val="white">
                  <a:lumMod val="50000"/>
                </a:prstClr>
              </a:solidFill>
              <a:effectLst/>
              <a:uLnTx/>
              <a:uFillTx/>
            </a:endParaRPr>
          </a:p>
        </p:txBody>
      </p:sp>
    </p:spTree>
    <p:extLst>
      <p:ext uri="{BB962C8B-B14F-4D97-AF65-F5344CB8AC3E}">
        <p14:creationId xmlns:p14="http://schemas.microsoft.com/office/powerpoint/2010/main" val="19168772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3AC7524-B318-DC61-9164-741C2C1BDB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95" imgH="396" progId="TCLayout.ActiveDocument.1">
                  <p:embed/>
                </p:oleObj>
              </mc:Choice>
              <mc:Fallback>
                <p:oleObj name="think-cell Slide" r:id="rId27" imgW="395" imgH="396" progId="TCLayout.ActiveDocument.1">
                  <p:embed/>
                  <p:pic>
                    <p:nvPicPr>
                      <p:cNvPr id="6" name="think-cell data - do not delete" hidden="1">
                        <a:extLst>
                          <a:ext uri="{FF2B5EF4-FFF2-40B4-BE49-F238E27FC236}">
                            <a16:creationId xmlns:a16="http://schemas.microsoft.com/office/drawing/2014/main" id="{73AC7524-B318-DC61-9164-741C2C1BDBB8}"/>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7F9986C-8649-4B1B-A092-EF2F41B1BB2E}"/>
              </a:ext>
            </a:extLst>
          </p:cNvPr>
          <p:cNvSpPr/>
          <p:nvPr/>
        </p:nvSpPr>
        <p:spPr>
          <a:xfrm>
            <a:off x="0" y="2972846"/>
            <a:ext cx="12192000" cy="636052"/>
          </a:xfrm>
          <a:prstGeom prst="rect">
            <a:avLst/>
          </a:prstGeom>
          <a:solidFill>
            <a:srgbClr val="D0D0D0">
              <a:alpha val="63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Bahnschrift" panose="020B0502040204020203" pitchFamily="34" charset="0"/>
              <a:ea typeface="+mn-ea"/>
              <a:cs typeface="+mn-cs"/>
            </a:endParaRPr>
          </a:p>
        </p:txBody>
      </p:sp>
      <p:sp>
        <p:nvSpPr>
          <p:cNvPr id="2" name="2. Slide Title">
            <a:extLst>
              <a:ext uri="{FF2B5EF4-FFF2-40B4-BE49-F238E27FC236}">
                <a16:creationId xmlns:a16="http://schemas.microsoft.com/office/drawing/2014/main" id="{BE49A2F8-835C-4289-BF0A-91229715F9F6}"/>
              </a:ext>
            </a:extLst>
          </p:cNvPr>
          <p:cNvSpPr>
            <a:spLocks noGrp="1"/>
          </p:cNvSpPr>
          <p:nvPr>
            <p:ph type="title"/>
            <p:custDataLst>
              <p:tags r:id="rId2"/>
            </p:custDataLst>
          </p:nvPr>
        </p:nvSpPr>
        <p:spPr bwMode="gray">
          <a:xfrm>
            <a:off x="838799" y="91412"/>
            <a:ext cx="10351715" cy="1034129"/>
          </a:xfrm>
          <a:noFill/>
          <a:ln>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de-DE" dirty="0">
                <a:latin typeface="Bahnschrift" panose="020B0502040204020203" pitchFamily="34" charset="0"/>
              </a:rPr>
              <a:t>Über Baustein 4 hinaus – Österreich hat sehr gute Voraussetzungen, um die wettbewerbsfreundliche und zukunftssicherere Transformation zu ermöglichen</a:t>
            </a:r>
          </a:p>
        </p:txBody>
      </p:sp>
      <p:sp>
        <p:nvSpPr>
          <p:cNvPr id="81" name="Rectangle 80">
            <a:extLst>
              <a:ext uri="{FF2B5EF4-FFF2-40B4-BE49-F238E27FC236}">
                <a16:creationId xmlns:a16="http://schemas.microsoft.com/office/drawing/2014/main" id="{B1F9A95C-2974-4365-84F3-91815645A48C}"/>
              </a:ext>
            </a:extLst>
          </p:cNvPr>
          <p:cNvSpPr/>
          <p:nvPr/>
        </p:nvSpPr>
        <p:spPr>
          <a:xfrm>
            <a:off x="7526965" y="4737917"/>
            <a:ext cx="2537063" cy="17355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Bahnschrift" panose="020B0502040204020203" pitchFamily="34" charset="0"/>
              <a:ea typeface="+mn-ea"/>
              <a:cs typeface="+mn-cs"/>
            </a:endParaRPr>
          </a:p>
        </p:txBody>
      </p:sp>
      <p:sp>
        <p:nvSpPr>
          <p:cNvPr id="27" name="Freeform: Shape 26">
            <a:extLst>
              <a:ext uri="{FF2B5EF4-FFF2-40B4-BE49-F238E27FC236}">
                <a16:creationId xmlns:a16="http://schemas.microsoft.com/office/drawing/2014/main" id="{7A27CF25-A06F-77E6-1771-D3BEB6B62F06}"/>
              </a:ext>
            </a:extLst>
          </p:cNvPr>
          <p:cNvSpPr>
            <a:spLocks/>
          </p:cNvSpPr>
          <p:nvPr/>
        </p:nvSpPr>
        <p:spPr>
          <a:xfrm>
            <a:off x="838799" y="1209040"/>
            <a:ext cx="11002870" cy="5061130"/>
          </a:xfrm>
          <a:custGeom>
            <a:avLst/>
            <a:gdLst>
              <a:gd name="connsiteX0" fmla="*/ 2143284 w 11002870"/>
              <a:gd name="connsiteY0" fmla="*/ 0 h 5061130"/>
              <a:gd name="connsiteX1" fmla="*/ 6835522 w 11002870"/>
              <a:gd name="connsiteY1" fmla="*/ 0 h 5061130"/>
              <a:gd name="connsiteX2" fmla="*/ 6835522 w 11002870"/>
              <a:gd name="connsiteY2" fmla="*/ 1 h 5061130"/>
              <a:gd name="connsiteX3" fmla="*/ 11002870 w 11002870"/>
              <a:gd name="connsiteY3" fmla="*/ 1 h 5061130"/>
              <a:gd name="connsiteX4" fmla="*/ 11002870 w 11002870"/>
              <a:gd name="connsiteY4" fmla="*/ 5061130 h 5061130"/>
              <a:gd name="connsiteX5" fmla="*/ 7547228 w 11002870"/>
              <a:gd name="connsiteY5" fmla="*/ 5061130 h 5061130"/>
              <a:gd name="connsiteX6" fmla="*/ 6369248 w 11002870"/>
              <a:gd name="connsiteY6" fmla="*/ 5061130 h 5061130"/>
              <a:gd name="connsiteX7" fmla="*/ 6229857 w 11002870"/>
              <a:gd name="connsiteY7" fmla="*/ 5061130 h 5061130"/>
              <a:gd name="connsiteX8" fmla="*/ 6229857 w 11002870"/>
              <a:gd name="connsiteY8" fmla="*/ 1253209 h 5061130"/>
              <a:gd name="connsiteX9" fmla="*/ 2143284 w 11002870"/>
              <a:gd name="connsiteY9" fmla="*/ 1253209 h 5061130"/>
              <a:gd name="connsiteX10" fmla="*/ 2143284 w 11002870"/>
              <a:gd name="connsiteY10" fmla="*/ 828309 h 5061130"/>
              <a:gd name="connsiteX11" fmla="*/ 0 w 11002870"/>
              <a:gd name="connsiteY11" fmla="*/ 828309 h 5061130"/>
              <a:gd name="connsiteX12" fmla="*/ 0 w 11002870"/>
              <a:gd name="connsiteY12" fmla="*/ 1 h 5061130"/>
              <a:gd name="connsiteX13" fmla="*/ 2143284 w 11002870"/>
              <a:gd name="connsiteY13" fmla="*/ 1 h 5061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02870" h="5061130">
                <a:moveTo>
                  <a:pt x="2143284" y="0"/>
                </a:moveTo>
                <a:lnTo>
                  <a:pt x="6835522" y="0"/>
                </a:lnTo>
                <a:lnTo>
                  <a:pt x="6835522" y="1"/>
                </a:lnTo>
                <a:lnTo>
                  <a:pt x="11002870" y="1"/>
                </a:lnTo>
                <a:lnTo>
                  <a:pt x="11002870" y="5061130"/>
                </a:lnTo>
                <a:lnTo>
                  <a:pt x="7547228" y="5061130"/>
                </a:lnTo>
                <a:lnTo>
                  <a:pt x="6369248" y="5061130"/>
                </a:lnTo>
                <a:lnTo>
                  <a:pt x="6229857" y="5061130"/>
                </a:lnTo>
                <a:lnTo>
                  <a:pt x="6229857" y="1253209"/>
                </a:lnTo>
                <a:lnTo>
                  <a:pt x="2143284" y="1253209"/>
                </a:lnTo>
                <a:lnTo>
                  <a:pt x="2143284" y="828309"/>
                </a:lnTo>
                <a:lnTo>
                  <a:pt x="0" y="828309"/>
                </a:lnTo>
                <a:lnTo>
                  <a:pt x="0" y="1"/>
                </a:lnTo>
                <a:lnTo>
                  <a:pt x="2143284" y="1"/>
                </a:lnTo>
                <a:close/>
              </a:path>
            </a:pathLst>
          </a:custGeom>
          <a:solidFill>
            <a:schemeClr val="accent1">
              <a:lumMod val="20000"/>
              <a:lumOff val="80000"/>
            </a:schemeClr>
          </a:solidFill>
          <a:ln w="6350" cap="sq">
            <a:no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Bahnschrift" panose="020B0502040204020203" pitchFamily="34" charset="0"/>
              <a:ea typeface="+mn-ea"/>
              <a:cs typeface="+mn-cs"/>
            </a:endParaRPr>
          </a:p>
        </p:txBody>
      </p:sp>
      <p:grpSp>
        <p:nvGrpSpPr>
          <p:cNvPr id="1240113" name="Group 1240112">
            <a:extLst>
              <a:ext uri="{FF2B5EF4-FFF2-40B4-BE49-F238E27FC236}">
                <a16:creationId xmlns:a16="http://schemas.microsoft.com/office/drawing/2014/main" id="{EDF72817-47C3-47CE-A573-12A176CFDF0F}"/>
              </a:ext>
            </a:extLst>
          </p:cNvPr>
          <p:cNvGrpSpPr>
            <a:grpSpLocks/>
          </p:cNvGrpSpPr>
          <p:nvPr>
            <p:custDataLst>
              <p:tags r:id="rId3"/>
            </p:custDataLst>
          </p:nvPr>
        </p:nvGrpSpPr>
        <p:grpSpPr>
          <a:xfrm rot="1361419">
            <a:off x="7415168" y="4056777"/>
            <a:ext cx="2749438" cy="381996"/>
            <a:chOff x="8794329" y="4045031"/>
            <a:chExt cx="1059766" cy="381996"/>
          </a:xfrm>
        </p:grpSpPr>
        <p:sp>
          <p:nvSpPr>
            <p:cNvPr id="162" name="Freeform: Shape 161">
              <a:extLst>
                <a:ext uri="{FF2B5EF4-FFF2-40B4-BE49-F238E27FC236}">
                  <a16:creationId xmlns:a16="http://schemas.microsoft.com/office/drawing/2014/main" id="{B99AC273-3921-4C1C-AA1E-1A5EBC896A45}"/>
                </a:ext>
              </a:extLst>
            </p:cNvPr>
            <p:cNvSpPr/>
            <p:nvPr>
              <p:custDataLst>
                <p:tags r:id="rId23"/>
              </p:custDataLst>
            </p:nvPr>
          </p:nvSpPr>
          <p:spPr>
            <a:xfrm>
              <a:off x="8794329" y="4045031"/>
              <a:ext cx="1059766" cy="381996"/>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7049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7049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27049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27049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27049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27049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27049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27049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27049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976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9761 w 1828800"/>
                <a:gd name="connsiteY1" fmla="*/ 0 h 914400"/>
                <a:gd name="connsiteX2" fmla="*/ 1828800 w 1828800"/>
                <a:gd name="connsiteY2" fmla="*/ 457200 h 914400"/>
                <a:gd name="connsiteX3" fmla="*/ 17397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9761 w 1828800"/>
                <a:gd name="connsiteY1" fmla="*/ 0 h 914400"/>
                <a:gd name="connsiteX2" fmla="*/ 1828800 w 1828800"/>
                <a:gd name="connsiteY2" fmla="*/ 457200 h 914400"/>
                <a:gd name="connsiteX3" fmla="*/ 1739761 w 1828800"/>
                <a:gd name="connsiteY3" fmla="*/ 914400 h 914400"/>
                <a:gd name="connsiteX4" fmla="*/ 0 w 1828800"/>
                <a:gd name="connsiteY4" fmla="*/ 914400 h 914400"/>
                <a:gd name="connsiteX5" fmla="*/ 106496 w 1828800"/>
                <a:gd name="connsiteY5" fmla="*/ 457200 h 914400"/>
                <a:gd name="connsiteX0" fmla="*/ 0 w 1828800"/>
                <a:gd name="connsiteY0" fmla="*/ 0 h 914400"/>
                <a:gd name="connsiteX1" fmla="*/ 1722304 w 1828800"/>
                <a:gd name="connsiteY1" fmla="*/ 0 h 914400"/>
                <a:gd name="connsiteX2" fmla="*/ 1828800 w 1828800"/>
                <a:gd name="connsiteY2" fmla="*/ 457200 h 914400"/>
                <a:gd name="connsiteX3" fmla="*/ 1739761 w 1828800"/>
                <a:gd name="connsiteY3" fmla="*/ 914400 h 914400"/>
                <a:gd name="connsiteX4" fmla="*/ 0 w 1828800"/>
                <a:gd name="connsiteY4" fmla="*/ 914400 h 914400"/>
                <a:gd name="connsiteX5" fmla="*/ 106496 w 1828800"/>
                <a:gd name="connsiteY5" fmla="*/ 457200 h 914400"/>
                <a:gd name="connsiteX0" fmla="*/ 0 w 1828800"/>
                <a:gd name="connsiteY0" fmla="*/ 0 h 914400"/>
                <a:gd name="connsiteX1" fmla="*/ 1722304 w 1828800"/>
                <a:gd name="connsiteY1" fmla="*/ 0 h 914400"/>
                <a:gd name="connsiteX2" fmla="*/ 1828800 w 1828800"/>
                <a:gd name="connsiteY2" fmla="*/ 457200 h 914400"/>
                <a:gd name="connsiteX3" fmla="*/ 1722304 w 1828800"/>
                <a:gd name="connsiteY3" fmla="*/ 914400 h 914400"/>
                <a:gd name="connsiteX4" fmla="*/ 0 w 1828800"/>
                <a:gd name="connsiteY4" fmla="*/ 914400 h 914400"/>
                <a:gd name="connsiteX5" fmla="*/ 106496 w 1828800"/>
                <a:gd name="connsiteY5" fmla="*/ 457200 h 914400"/>
                <a:gd name="connsiteX0" fmla="*/ 0 w 1828800"/>
                <a:gd name="connsiteY0" fmla="*/ 0 h 914400"/>
                <a:gd name="connsiteX1" fmla="*/ 1722304 w 1828800"/>
                <a:gd name="connsiteY1" fmla="*/ 0 h 914400"/>
                <a:gd name="connsiteX2" fmla="*/ 1828800 w 1828800"/>
                <a:gd name="connsiteY2" fmla="*/ 457200 h 914400"/>
                <a:gd name="connsiteX3" fmla="*/ 172230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04 w 1828800"/>
                <a:gd name="connsiteY1" fmla="*/ 0 h 914400"/>
                <a:gd name="connsiteX2" fmla="*/ 1828800 w 1828800"/>
                <a:gd name="connsiteY2" fmla="*/ 457200 h 914400"/>
                <a:gd name="connsiteX3" fmla="*/ 172230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04 w 1828800"/>
                <a:gd name="connsiteY1" fmla="*/ 0 h 914400"/>
                <a:gd name="connsiteX2" fmla="*/ 1828800 w 1828800"/>
                <a:gd name="connsiteY2" fmla="*/ 457200 h 914400"/>
                <a:gd name="connsiteX3" fmla="*/ 172230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04 w 1828800"/>
                <a:gd name="connsiteY1" fmla="*/ 0 h 914400"/>
                <a:gd name="connsiteX2" fmla="*/ 1828800 w 1828800"/>
                <a:gd name="connsiteY2" fmla="*/ 457200 h 914400"/>
                <a:gd name="connsiteX3" fmla="*/ 172230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632 w 1828800"/>
                <a:gd name="connsiteY1" fmla="*/ 0 h 914400"/>
                <a:gd name="connsiteX2" fmla="*/ 1828800 w 1828800"/>
                <a:gd name="connsiteY2" fmla="*/ 457200 h 914400"/>
                <a:gd name="connsiteX3" fmla="*/ 172230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632 w 1828800"/>
                <a:gd name="connsiteY1" fmla="*/ 0 h 914400"/>
                <a:gd name="connsiteX2" fmla="*/ 1828800 w 1828800"/>
                <a:gd name="connsiteY2" fmla="*/ 457200 h 914400"/>
                <a:gd name="connsiteX3" fmla="*/ 176163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632 w 1828800"/>
                <a:gd name="connsiteY1" fmla="*/ 0 h 914400"/>
                <a:gd name="connsiteX2" fmla="*/ 1828800 w 1828800"/>
                <a:gd name="connsiteY2" fmla="*/ 457200 h 914400"/>
                <a:gd name="connsiteX3" fmla="*/ 1761632 w 1828800"/>
                <a:gd name="connsiteY3" fmla="*/ 914400 h 914400"/>
                <a:gd name="connsiteX4" fmla="*/ 0 w 1828800"/>
                <a:gd name="connsiteY4" fmla="*/ 914400 h 914400"/>
                <a:gd name="connsiteX5" fmla="*/ 70998 w 1828800"/>
                <a:gd name="connsiteY5" fmla="*/ 457200 h 914400"/>
                <a:gd name="connsiteX0" fmla="*/ 0 w 1828800"/>
                <a:gd name="connsiteY0" fmla="*/ 0 h 914400"/>
                <a:gd name="connsiteX1" fmla="*/ 1757801 w 1828800"/>
                <a:gd name="connsiteY1" fmla="*/ 0 h 914400"/>
                <a:gd name="connsiteX2" fmla="*/ 1828800 w 1828800"/>
                <a:gd name="connsiteY2" fmla="*/ 457200 h 914400"/>
                <a:gd name="connsiteX3" fmla="*/ 1761632 w 1828800"/>
                <a:gd name="connsiteY3" fmla="*/ 914400 h 914400"/>
                <a:gd name="connsiteX4" fmla="*/ 0 w 1828800"/>
                <a:gd name="connsiteY4" fmla="*/ 914400 h 914400"/>
                <a:gd name="connsiteX5" fmla="*/ 70998 w 1828800"/>
                <a:gd name="connsiteY5" fmla="*/ 457200 h 914400"/>
                <a:gd name="connsiteX0" fmla="*/ 0 w 1828800"/>
                <a:gd name="connsiteY0" fmla="*/ 0 h 914400"/>
                <a:gd name="connsiteX1" fmla="*/ 1757801 w 1828800"/>
                <a:gd name="connsiteY1" fmla="*/ 0 h 914400"/>
                <a:gd name="connsiteX2" fmla="*/ 1828800 w 1828800"/>
                <a:gd name="connsiteY2" fmla="*/ 457200 h 914400"/>
                <a:gd name="connsiteX3" fmla="*/ 1757801 w 1828800"/>
                <a:gd name="connsiteY3" fmla="*/ 914400 h 914400"/>
                <a:gd name="connsiteX4" fmla="*/ 0 w 1828800"/>
                <a:gd name="connsiteY4" fmla="*/ 914400 h 914400"/>
                <a:gd name="connsiteX5" fmla="*/ 70998 w 1828800"/>
                <a:gd name="connsiteY5" fmla="*/ 457200 h 914400"/>
                <a:gd name="connsiteX0" fmla="*/ 0 w 1828800"/>
                <a:gd name="connsiteY0" fmla="*/ 0 h 914400"/>
                <a:gd name="connsiteX1" fmla="*/ 1757801 w 1828800"/>
                <a:gd name="connsiteY1" fmla="*/ 0 h 914400"/>
                <a:gd name="connsiteX2" fmla="*/ 1828800 w 1828800"/>
                <a:gd name="connsiteY2" fmla="*/ 457200 h 914400"/>
                <a:gd name="connsiteX3" fmla="*/ 175780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7801 w 1828800"/>
                <a:gd name="connsiteY1" fmla="*/ 0 h 914400"/>
                <a:gd name="connsiteX2" fmla="*/ 1828800 w 1828800"/>
                <a:gd name="connsiteY2" fmla="*/ 457200 h 914400"/>
                <a:gd name="connsiteX3" fmla="*/ 175780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7801 w 1828800"/>
                <a:gd name="connsiteY1" fmla="*/ 0 h 914400"/>
                <a:gd name="connsiteX2" fmla="*/ 1828800 w 1828800"/>
                <a:gd name="connsiteY2" fmla="*/ 457200 h 914400"/>
                <a:gd name="connsiteX3" fmla="*/ 175780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7801 w 1828800"/>
                <a:gd name="connsiteY1" fmla="*/ 0 h 914400"/>
                <a:gd name="connsiteX2" fmla="*/ 1828800 w 1828800"/>
                <a:gd name="connsiteY2" fmla="*/ 457200 h 914400"/>
                <a:gd name="connsiteX3" fmla="*/ 1757801 w 1828800"/>
                <a:gd name="connsiteY3" fmla="*/ 914400 h 914400"/>
                <a:gd name="connsiteX4" fmla="*/ 0 w 1828800"/>
                <a:gd name="connsiteY4" fmla="*/ 914400 h 914400"/>
                <a:gd name="connsiteX5" fmla="*/ 73763 w 1828800"/>
                <a:gd name="connsiteY5" fmla="*/ 457200 h 914400"/>
                <a:gd name="connsiteX0" fmla="*/ 0 w 1828800"/>
                <a:gd name="connsiteY0" fmla="*/ 0 h 914400"/>
                <a:gd name="connsiteX1" fmla="*/ 1755037 w 1828800"/>
                <a:gd name="connsiteY1" fmla="*/ 0 h 914400"/>
                <a:gd name="connsiteX2" fmla="*/ 1828800 w 1828800"/>
                <a:gd name="connsiteY2" fmla="*/ 457200 h 914400"/>
                <a:gd name="connsiteX3" fmla="*/ 1757801 w 1828800"/>
                <a:gd name="connsiteY3" fmla="*/ 914400 h 914400"/>
                <a:gd name="connsiteX4" fmla="*/ 0 w 1828800"/>
                <a:gd name="connsiteY4" fmla="*/ 914400 h 914400"/>
                <a:gd name="connsiteX5" fmla="*/ 73763 w 1828800"/>
                <a:gd name="connsiteY5" fmla="*/ 457200 h 914400"/>
                <a:gd name="connsiteX0" fmla="*/ 0 w 1828800"/>
                <a:gd name="connsiteY0" fmla="*/ 0 h 914400"/>
                <a:gd name="connsiteX1" fmla="*/ 1755037 w 1828800"/>
                <a:gd name="connsiteY1" fmla="*/ 0 h 914400"/>
                <a:gd name="connsiteX2" fmla="*/ 1828800 w 1828800"/>
                <a:gd name="connsiteY2" fmla="*/ 457200 h 914400"/>
                <a:gd name="connsiteX3" fmla="*/ 1755037 w 1828800"/>
                <a:gd name="connsiteY3" fmla="*/ 914400 h 914400"/>
                <a:gd name="connsiteX4" fmla="*/ 0 w 1828800"/>
                <a:gd name="connsiteY4" fmla="*/ 914400 h 914400"/>
                <a:gd name="connsiteX5" fmla="*/ 73763 w 1828800"/>
                <a:gd name="connsiteY5" fmla="*/ 457200 h 914400"/>
                <a:gd name="connsiteX0" fmla="*/ 0 w 1828800"/>
                <a:gd name="connsiteY0" fmla="*/ 0 h 914400"/>
                <a:gd name="connsiteX1" fmla="*/ 1755037 w 1828800"/>
                <a:gd name="connsiteY1" fmla="*/ 0 h 914400"/>
                <a:gd name="connsiteX2" fmla="*/ 1828800 w 1828800"/>
                <a:gd name="connsiteY2" fmla="*/ 457200 h 914400"/>
                <a:gd name="connsiteX3" fmla="*/ 17550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5037 w 1828800"/>
                <a:gd name="connsiteY1" fmla="*/ 0 h 914400"/>
                <a:gd name="connsiteX2" fmla="*/ 1828800 w 1828800"/>
                <a:gd name="connsiteY2" fmla="*/ 457200 h 914400"/>
                <a:gd name="connsiteX3" fmla="*/ 17550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5037 w 1828800"/>
                <a:gd name="connsiteY1" fmla="*/ 0 h 914400"/>
                <a:gd name="connsiteX2" fmla="*/ 1828800 w 1828800"/>
                <a:gd name="connsiteY2" fmla="*/ 457200 h 914400"/>
                <a:gd name="connsiteX3" fmla="*/ 17550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5037 w 1828800"/>
                <a:gd name="connsiteY1" fmla="*/ 0 h 914400"/>
                <a:gd name="connsiteX2" fmla="*/ 1828800 w 1828800"/>
                <a:gd name="connsiteY2" fmla="*/ 457200 h 914400"/>
                <a:gd name="connsiteX3" fmla="*/ 17550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3863 w 1828800"/>
                <a:gd name="connsiteY1" fmla="*/ 0 h 914400"/>
                <a:gd name="connsiteX2" fmla="*/ 1828800 w 1828800"/>
                <a:gd name="connsiteY2" fmla="*/ 457200 h 914400"/>
                <a:gd name="connsiteX3" fmla="*/ 17550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3863 w 1828800"/>
                <a:gd name="connsiteY1" fmla="*/ 0 h 914400"/>
                <a:gd name="connsiteX2" fmla="*/ 1828800 w 1828800"/>
                <a:gd name="connsiteY2" fmla="*/ 457200 h 914400"/>
                <a:gd name="connsiteX3" fmla="*/ 17738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3863 w 1828800"/>
                <a:gd name="connsiteY1" fmla="*/ 0 h 914400"/>
                <a:gd name="connsiteX2" fmla="*/ 1828800 w 1828800"/>
                <a:gd name="connsiteY2" fmla="*/ 457200 h 914400"/>
                <a:gd name="connsiteX3" fmla="*/ 17738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8958 w 1828800"/>
                <a:gd name="connsiteY1" fmla="*/ 0 h 914400"/>
                <a:gd name="connsiteX2" fmla="*/ 1828800 w 1828800"/>
                <a:gd name="connsiteY2" fmla="*/ 457200 h 914400"/>
                <a:gd name="connsiteX3" fmla="*/ 17738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8958 w 1828800"/>
                <a:gd name="connsiteY1" fmla="*/ 0 h 914400"/>
                <a:gd name="connsiteX2" fmla="*/ 1828800 w 1828800"/>
                <a:gd name="connsiteY2" fmla="*/ 457200 h 914400"/>
                <a:gd name="connsiteX3" fmla="*/ 170895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8958 w 1828800"/>
                <a:gd name="connsiteY1" fmla="*/ 0 h 914400"/>
                <a:gd name="connsiteX2" fmla="*/ 1828800 w 1828800"/>
                <a:gd name="connsiteY2" fmla="*/ 457200 h 914400"/>
                <a:gd name="connsiteX3" fmla="*/ 1708958 w 1828800"/>
                <a:gd name="connsiteY3" fmla="*/ 914400 h 914400"/>
                <a:gd name="connsiteX4" fmla="*/ 0 w 1828800"/>
                <a:gd name="connsiteY4" fmla="*/ 914400 h 914400"/>
                <a:gd name="connsiteX5" fmla="*/ 119842 w 1828800"/>
                <a:gd name="connsiteY5" fmla="*/ 457200 h 914400"/>
                <a:gd name="connsiteX0" fmla="*/ 0 w 1828800"/>
                <a:gd name="connsiteY0" fmla="*/ 0 h 914400"/>
                <a:gd name="connsiteX1" fmla="*/ 1708958 w 1828800"/>
                <a:gd name="connsiteY1" fmla="*/ 0 h 914400"/>
                <a:gd name="connsiteX2" fmla="*/ 1828800 w 1828800"/>
                <a:gd name="connsiteY2" fmla="*/ 457200 h 914400"/>
                <a:gd name="connsiteX3" fmla="*/ 1708958 w 1828800"/>
                <a:gd name="connsiteY3" fmla="*/ 914400 h 914400"/>
                <a:gd name="connsiteX4" fmla="*/ 0 w 1828800"/>
                <a:gd name="connsiteY4" fmla="*/ 914400 h 914400"/>
                <a:gd name="connsiteX5" fmla="*/ 119842 w 1828800"/>
                <a:gd name="connsiteY5" fmla="*/ 457200 h 914400"/>
                <a:gd name="connsiteX0" fmla="*/ 0 w 1828800"/>
                <a:gd name="connsiteY0" fmla="*/ 0 h 914400"/>
                <a:gd name="connsiteX1" fmla="*/ 1708958 w 1828800"/>
                <a:gd name="connsiteY1" fmla="*/ 0 h 914400"/>
                <a:gd name="connsiteX2" fmla="*/ 1828800 w 1828800"/>
                <a:gd name="connsiteY2" fmla="*/ 457200 h 914400"/>
                <a:gd name="connsiteX3" fmla="*/ 1708958 w 1828800"/>
                <a:gd name="connsiteY3" fmla="*/ 914400 h 914400"/>
                <a:gd name="connsiteX4" fmla="*/ 0 w 1828800"/>
                <a:gd name="connsiteY4" fmla="*/ 914400 h 914400"/>
                <a:gd name="connsiteX5" fmla="*/ 119842 w 1828800"/>
                <a:gd name="connsiteY5" fmla="*/ 457200 h 914400"/>
                <a:gd name="connsiteX0" fmla="*/ 0 w 1828800"/>
                <a:gd name="connsiteY0" fmla="*/ 0 h 914400"/>
                <a:gd name="connsiteX1" fmla="*/ 1708958 w 1828800"/>
                <a:gd name="connsiteY1" fmla="*/ 0 h 914400"/>
                <a:gd name="connsiteX2" fmla="*/ 1828800 w 1828800"/>
                <a:gd name="connsiteY2" fmla="*/ 457200 h 914400"/>
                <a:gd name="connsiteX3" fmla="*/ 170895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8958 w 1828800"/>
                <a:gd name="connsiteY1" fmla="*/ 0 h 914400"/>
                <a:gd name="connsiteX2" fmla="*/ 1828800 w 1828800"/>
                <a:gd name="connsiteY2" fmla="*/ 457200 h 914400"/>
                <a:gd name="connsiteX3" fmla="*/ 170895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8958 w 1828800"/>
                <a:gd name="connsiteY1" fmla="*/ 0 h 914400"/>
                <a:gd name="connsiteX2" fmla="*/ 1828800 w 1828800"/>
                <a:gd name="connsiteY2" fmla="*/ 457200 h 914400"/>
                <a:gd name="connsiteX3" fmla="*/ 170895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8958 w 1828800"/>
                <a:gd name="connsiteY1" fmla="*/ 0 h 914400"/>
                <a:gd name="connsiteX2" fmla="*/ 1828800 w 1828800"/>
                <a:gd name="connsiteY2" fmla="*/ 457200 h 914400"/>
                <a:gd name="connsiteX3" fmla="*/ 1708958 w 1828800"/>
                <a:gd name="connsiteY3" fmla="*/ 914400 h 914400"/>
                <a:gd name="connsiteX4" fmla="*/ 0 w 1828800"/>
                <a:gd name="connsiteY4" fmla="*/ 914400 h 914400"/>
                <a:gd name="connsiteX5" fmla="*/ 118655 w 1828800"/>
                <a:gd name="connsiteY5" fmla="*/ 457200 h 914400"/>
                <a:gd name="connsiteX0" fmla="*/ 0 w 1828800"/>
                <a:gd name="connsiteY0" fmla="*/ 0 h 914400"/>
                <a:gd name="connsiteX1" fmla="*/ 1710145 w 1828800"/>
                <a:gd name="connsiteY1" fmla="*/ 0 h 914400"/>
                <a:gd name="connsiteX2" fmla="*/ 1828800 w 1828800"/>
                <a:gd name="connsiteY2" fmla="*/ 457200 h 914400"/>
                <a:gd name="connsiteX3" fmla="*/ 1708958 w 1828800"/>
                <a:gd name="connsiteY3" fmla="*/ 914400 h 914400"/>
                <a:gd name="connsiteX4" fmla="*/ 0 w 1828800"/>
                <a:gd name="connsiteY4" fmla="*/ 914400 h 914400"/>
                <a:gd name="connsiteX5" fmla="*/ 118655 w 1828800"/>
                <a:gd name="connsiteY5" fmla="*/ 457200 h 914400"/>
                <a:gd name="connsiteX0" fmla="*/ 0 w 1828800"/>
                <a:gd name="connsiteY0" fmla="*/ 0 h 914400"/>
                <a:gd name="connsiteX1" fmla="*/ 1710145 w 1828800"/>
                <a:gd name="connsiteY1" fmla="*/ 0 h 914400"/>
                <a:gd name="connsiteX2" fmla="*/ 1828800 w 1828800"/>
                <a:gd name="connsiteY2" fmla="*/ 457200 h 914400"/>
                <a:gd name="connsiteX3" fmla="*/ 1710145 w 1828800"/>
                <a:gd name="connsiteY3" fmla="*/ 914400 h 914400"/>
                <a:gd name="connsiteX4" fmla="*/ 0 w 1828800"/>
                <a:gd name="connsiteY4" fmla="*/ 914400 h 914400"/>
                <a:gd name="connsiteX5" fmla="*/ 118655 w 1828800"/>
                <a:gd name="connsiteY5" fmla="*/ 457200 h 914400"/>
                <a:gd name="connsiteX0" fmla="*/ 0 w 1828800"/>
                <a:gd name="connsiteY0" fmla="*/ 0 h 914400"/>
                <a:gd name="connsiteX1" fmla="*/ 1710145 w 1828800"/>
                <a:gd name="connsiteY1" fmla="*/ 0 h 914400"/>
                <a:gd name="connsiteX2" fmla="*/ 1828800 w 1828800"/>
                <a:gd name="connsiteY2" fmla="*/ 457200 h 914400"/>
                <a:gd name="connsiteX3" fmla="*/ 171014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10145 w 1828800"/>
                <a:gd name="connsiteY1" fmla="*/ 0 h 914400"/>
                <a:gd name="connsiteX2" fmla="*/ 1828800 w 1828800"/>
                <a:gd name="connsiteY2" fmla="*/ 457200 h 914400"/>
                <a:gd name="connsiteX3" fmla="*/ 171014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10145 w 1828800"/>
                <a:gd name="connsiteY1" fmla="*/ 0 h 914400"/>
                <a:gd name="connsiteX2" fmla="*/ 1828800 w 1828800"/>
                <a:gd name="connsiteY2" fmla="*/ 457200 h 914400"/>
                <a:gd name="connsiteX3" fmla="*/ 1710145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10145" y="0"/>
                  </a:lnTo>
                  <a:lnTo>
                    <a:pt x="1828800" y="457200"/>
                  </a:lnTo>
                  <a:lnTo>
                    <a:pt x="1710145" y="914400"/>
                  </a:lnTo>
                  <a:lnTo>
                    <a:pt x="0" y="914400"/>
                  </a:lnTo>
                  <a:lnTo>
                    <a:pt x="0" y="457200"/>
                  </a:lnTo>
                  <a:close/>
                </a:path>
              </a:pathLst>
            </a:cu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Bahnschrift" panose="020B0502040204020203" pitchFamily="34" charset="0"/>
                <a:ea typeface="+mn-ea"/>
                <a:cs typeface="+mn-cs"/>
              </a:endParaRPr>
            </a:p>
          </p:txBody>
        </p:sp>
        <p:sp>
          <p:nvSpPr>
            <p:cNvPr id="163" name="TextBox 162">
              <a:extLst>
                <a:ext uri="{FF2B5EF4-FFF2-40B4-BE49-F238E27FC236}">
                  <a16:creationId xmlns:a16="http://schemas.microsoft.com/office/drawing/2014/main" id="{1228945D-FB83-47B7-962D-26494A885611}"/>
                </a:ext>
              </a:extLst>
            </p:cNvPr>
            <p:cNvSpPr txBox="1"/>
            <p:nvPr>
              <p:custDataLst>
                <p:tags r:id="rId24"/>
              </p:custDataLst>
            </p:nvPr>
          </p:nvSpPr>
          <p:spPr>
            <a:xfrm>
              <a:off x="8857829" y="4071559"/>
              <a:ext cx="825104" cy="328941"/>
            </a:xfrm>
            <a:prstGeom prst="rect">
              <a:avLst/>
            </a:prstGeom>
            <a:solidFill>
              <a:schemeClr val="accent1"/>
            </a:solid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000" b="1" i="0" u="none" strike="noStrike" kern="1200" cap="none" spc="0" normalizeH="0" baseline="0" noProof="0" dirty="0" err="1">
                  <a:ln>
                    <a:noFill/>
                  </a:ln>
                  <a:solidFill>
                    <a:srgbClr val="FFFFFF"/>
                  </a:solidFill>
                  <a:effectLst/>
                  <a:uLnTx/>
                  <a:uFillTx/>
                  <a:latin typeface="Bahnschrift" panose="020B0502040204020203" pitchFamily="34" charset="0"/>
                  <a:ea typeface="+mn-ea"/>
                  <a:cs typeface="Arial" panose="020B0604020202020204" pitchFamily="34" charset="0"/>
                </a:rPr>
                <a:t>Recyclierte</a:t>
              </a:r>
              <a:r>
                <a:rPr kumimoji="0" lang="en-US" sz="1000" b="1" i="0" u="none" strike="noStrike" kern="1200" cap="none" spc="0" normalizeH="0" baseline="0" noProof="0" dirty="0">
                  <a:ln>
                    <a:noFill/>
                  </a:ln>
                  <a:solidFill>
                    <a:srgbClr val="FFFFFF"/>
                  </a:solidFill>
                  <a:effectLst/>
                  <a:uLnTx/>
                  <a:uFillTx/>
                  <a:latin typeface="Bahnschrift" panose="020B0502040204020203" pitchFamily="34" charset="0"/>
                  <a:ea typeface="+mn-ea"/>
                  <a:cs typeface="Arial" panose="020B0604020202020204" pitchFamily="34" charset="0"/>
                </a:rPr>
                <a:t> </a:t>
              </a:r>
              <a:r>
                <a:rPr kumimoji="0" lang="en-US" sz="1000" b="1" i="0" u="none" strike="noStrike" kern="1200" cap="none" spc="0" normalizeH="0" baseline="0" noProof="0" dirty="0" err="1">
                  <a:ln>
                    <a:noFill/>
                  </a:ln>
                  <a:solidFill>
                    <a:srgbClr val="FFFFFF"/>
                  </a:solidFill>
                  <a:effectLst/>
                  <a:uLnTx/>
                  <a:uFillTx/>
                  <a:latin typeface="Bahnschrift" panose="020B0502040204020203" pitchFamily="34" charset="0"/>
                  <a:ea typeface="+mn-ea"/>
                  <a:cs typeface="Arial" panose="020B0604020202020204" pitchFamily="34" charset="0"/>
                </a:rPr>
                <a:t>Monomere</a:t>
              </a:r>
              <a:endParaRPr kumimoji="0" lang="en-US" sz="1000" b="1" i="0" u="none" strike="noStrike" kern="1200" cap="none" spc="0" normalizeH="0" baseline="0" noProof="0" dirty="0">
                <a:ln>
                  <a:noFill/>
                </a:ln>
                <a:solidFill>
                  <a:srgbClr val="FFFFFF"/>
                </a:solidFill>
                <a:effectLst/>
                <a:uLnTx/>
                <a:uFillTx/>
                <a:latin typeface="Bahnschrift" panose="020B0502040204020203" pitchFamily="34" charset="0"/>
                <a:ea typeface="+mn-ea"/>
                <a:cs typeface="Arial" panose="020B0604020202020204" pitchFamily="34" charset="0"/>
              </a:endParaRPr>
            </a:p>
          </p:txBody>
        </p:sp>
      </p:grpSp>
      <p:pic>
        <p:nvPicPr>
          <p:cNvPr id="87" name="Picture 86">
            <a:extLst>
              <a:ext uri="{FF2B5EF4-FFF2-40B4-BE49-F238E27FC236}">
                <a16:creationId xmlns:a16="http://schemas.microsoft.com/office/drawing/2014/main" id="{C372252A-3EEE-4B68-81C9-E5ABB8BF7DD1}"/>
              </a:ext>
            </a:extLst>
          </p:cNvPr>
          <p:cNvPicPr>
            <a:picLocks/>
          </p:cNvPicPr>
          <p:nvPr/>
        </p:nvPicPr>
        <p:blipFill rotWithShape="1">
          <a:blip r:embed="rId29"/>
          <a:srcRect l="25392" r="25392"/>
          <a:stretch/>
        </p:blipFill>
        <p:spPr>
          <a:xfrm>
            <a:off x="3455479" y="1421011"/>
            <a:ext cx="937958" cy="937958"/>
          </a:xfrm>
          <a:prstGeom prst="ellipse">
            <a:avLst/>
          </a:prstGeom>
          <a:ln w="6350" cmpd="sng">
            <a:solidFill>
              <a:srgbClr val="D0D0D0"/>
            </a:solidFill>
          </a:ln>
        </p:spPr>
      </p:pic>
      <p:sp>
        <p:nvSpPr>
          <p:cNvPr id="55" name="Freeform: Shape 54">
            <a:extLst>
              <a:ext uri="{FF2B5EF4-FFF2-40B4-BE49-F238E27FC236}">
                <a16:creationId xmlns:a16="http://schemas.microsoft.com/office/drawing/2014/main" id="{4688CE17-9043-483A-884A-1723864638C7}"/>
              </a:ext>
            </a:extLst>
          </p:cNvPr>
          <p:cNvSpPr/>
          <p:nvPr/>
        </p:nvSpPr>
        <p:spPr bwMode="gray">
          <a:xfrm>
            <a:off x="1812107" y="2514600"/>
            <a:ext cx="5371583" cy="289805"/>
          </a:xfrm>
          <a:custGeom>
            <a:avLst/>
            <a:gdLst>
              <a:gd name="connsiteX0" fmla="*/ 0 w 4281487"/>
              <a:gd name="connsiteY0" fmla="*/ 228600 h 409575"/>
              <a:gd name="connsiteX1" fmla="*/ 0 w 4281487"/>
              <a:gd name="connsiteY1" fmla="*/ 0 h 409575"/>
              <a:gd name="connsiteX2" fmla="*/ 4281487 w 4281487"/>
              <a:gd name="connsiteY2" fmla="*/ 0 h 409575"/>
              <a:gd name="connsiteX3" fmla="*/ 4281487 w 4281487"/>
              <a:gd name="connsiteY3" fmla="*/ 409575 h 409575"/>
            </a:gdLst>
            <a:ahLst/>
            <a:cxnLst>
              <a:cxn ang="0">
                <a:pos x="connsiteX0" y="connsiteY0"/>
              </a:cxn>
              <a:cxn ang="0">
                <a:pos x="connsiteX1" y="connsiteY1"/>
              </a:cxn>
              <a:cxn ang="0">
                <a:pos x="connsiteX2" y="connsiteY2"/>
              </a:cxn>
              <a:cxn ang="0">
                <a:pos x="connsiteX3" y="connsiteY3"/>
              </a:cxn>
            </a:cxnLst>
            <a:rect l="l" t="t" r="r" b="b"/>
            <a:pathLst>
              <a:path w="4281487" h="409575">
                <a:moveTo>
                  <a:pt x="0" y="228600"/>
                </a:moveTo>
                <a:lnTo>
                  <a:pt x="0" y="0"/>
                </a:lnTo>
                <a:lnTo>
                  <a:pt x="4281487" y="0"/>
                </a:lnTo>
                <a:lnTo>
                  <a:pt x="4281487" y="409575"/>
                </a:lnTo>
              </a:path>
            </a:pathLst>
          </a:cu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Bahnschrift" panose="020B0502040204020203" pitchFamily="34" charset="0"/>
              <a:ea typeface="+mn-ea"/>
              <a:cs typeface="+mn-cs"/>
            </a:endParaRPr>
          </a:p>
        </p:txBody>
      </p:sp>
      <p:grpSp>
        <p:nvGrpSpPr>
          <p:cNvPr id="136" name="Group 135">
            <a:extLst>
              <a:ext uri="{FF2B5EF4-FFF2-40B4-BE49-F238E27FC236}">
                <a16:creationId xmlns:a16="http://schemas.microsoft.com/office/drawing/2014/main" id="{130B13BE-C6FD-441C-864E-52BC12DE4E1F}"/>
              </a:ext>
            </a:extLst>
          </p:cNvPr>
          <p:cNvGrpSpPr/>
          <p:nvPr/>
        </p:nvGrpSpPr>
        <p:grpSpPr>
          <a:xfrm flipH="1">
            <a:off x="4154655" y="2013760"/>
            <a:ext cx="244707" cy="619425"/>
            <a:chOff x="4542081" y="2276657"/>
            <a:chExt cx="190979" cy="483528"/>
          </a:xfrm>
        </p:grpSpPr>
        <p:sp>
          <p:nvSpPr>
            <p:cNvPr id="137" name="Freeform: Shape 136">
              <a:extLst>
                <a:ext uri="{FF2B5EF4-FFF2-40B4-BE49-F238E27FC236}">
                  <a16:creationId xmlns:a16="http://schemas.microsoft.com/office/drawing/2014/main" id="{5844E97A-9AED-4AB4-8D56-4D3473FE83EA}"/>
                </a:ext>
              </a:extLst>
            </p:cNvPr>
            <p:cNvSpPr/>
            <p:nvPr>
              <p:custDataLst>
                <p:tags r:id="rId21"/>
              </p:custDataLst>
            </p:nvPr>
          </p:nvSpPr>
          <p:spPr>
            <a:xfrm rot="17334734">
              <a:off x="4395807" y="2422931"/>
              <a:ext cx="483528" cy="190979"/>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2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2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2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58375 w 1828800"/>
                <a:gd name="connsiteY5" fmla="*/ 457202 h 914400"/>
                <a:gd name="connsiteX0" fmla="*/ 0 w 1828800"/>
                <a:gd name="connsiteY0" fmla="*/ 0 h 914400"/>
                <a:gd name="connsiteX1" fmla="*/ 177042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58375 w 1828800"/>
                <a:gd name="connsiteY5" fmla="*/ 457202 h 914400"/>
                <a:gd name="connsiteX0" fmla="*/ 0 w 1828800"/>
                <a:gd name="connsiteY0" fmla="*/ 0 h 914400"/>
                <a:gd name="connsiteX1" fmla="*/ 1770425 w 1828800"/>
                <a:gd name="connsiteY1" fmla="*/ 0 h 914400"/>
                <a:gd name="connsiteX2" fmla="*/ 1828800 w 1828800"/>
                <a:gd name="connsiteY2" fmla="*/ 457200 h 914400"/>
                <a:gd name="connsiteX3" fmla="*/ 1770425 w 1828800"/>
                <a:gd name="connsiteY3" fmla="*/ 914400 h 914400"/>
                <a:gd name="connsiteX4" fmla="*/ 0 w 1828800"/>
                <a:gd name="connsiteY4" fmla="*/ 914400 h 914400"/>
                <a:gd name="connsiteX5" fmla="*/ 58375 w 1828800"/>
                <a:gd name="connsiteY5" fmla="*/ 457202 h 914400"/>
                <a:gd name="connsiteX0" fmla="*/ 0 w 1828800"/>
                <a:gd name="connsiteY0" fmla="*/ 0 h 914400"/>
                <a:gd name="connsiteX1" fmla="*/ 1770425 w 1828800"/>
                <a:gd name="connsiteY1" fmla="*/ 0 h 914400"/>
                <a:gd name="connsiteX2" fmla="*/ 1828800 w 1828800"/>
                <a:gd name="connsiteY2" fmla="*/ 457200 h 914400"/>
                <a:gd name="connsiteX3" fmla="*/ 177042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042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56658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56658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56658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689236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689236 w 1828800"/>
                <a:gd name="connsiteY1" fmla="*/ 0 h 914400"/>
                <a:gd name="connsiteX2" fmla="*/ 1828800 w 1828800"/>
                <a:gd name="connsiteY2" fmla="*/ 457200 h 914400"/>
                <a:gd name="connsiteX3" fmla="*/ 1689236 w 1828800"/>
                <a:gd name="connsiteY3" fmla="*/ 914400 h 914400"/>
                <a:gd name="connsiteX4" fmla="*/ 0 w 1828800"/>
                <a:gd name="connsiteY4" fmla="*/ 914400 h 914400"/>
                <a:gd name="connsiteX5" fmla="*/ 0 w 1828800"/>
                <a:gd name="connsiteY5" fmla="*/ 457202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89236" y="0"/>
                  </a:lnTo>
                  <a:lnTo>
                    <a:pt x="1828800" y="457200"/>
                  </a:lnTo>
                  <a:lnTo>
                    <a:pt x="1689236" y="914400"/>
                  </a:lnTo>
                  <a:lnTo>
                    <a:pt x="0" y="914400"/>
                  </a:lnTo>
                  <a:lnTo>
                    <a:pt x="0" y="457202"/>
                  </a:lnTo>
                  <a:close/>
                </a:path>
              </a:pathLst>
            </a:cu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000" b="0" i="0" u="none" strike="noStrike" kern="1200" cap="none" spc="0" normalizeH="0" baseline="0" noProof="0" err="1">
                <a:ln>
                  <a:noFill/>
                </a:ln>
                <a:solidFill>
                  <a:srgbClr val="000000"/>
                </a:solidFill>
                <a:effectLst/>
                <a:uLnTx/>
                <a:uFillTx/>
                <a:latin typeface="Bahnschrift" panose="020B0502040204020203" pitchFamily="34" charset="0"/>
                <a:ea typeface="+mn-ea"/>
                <a:cs typeface="+mn-cs"/>
              </a:endParaRPr>
            </a:p>
          </p:txBody>
        </p:sp>
        <p:sp>
          <p:nvSpPr>
            <p:cNvPr id="138" name="TextBox 137">
              <a:extLst>
                <a:ext uri="{FF2B5EF4-FFF2-40B4-BE49-F238E27FC236}">
                  <a16:creationId xmlns:a16="http://schemas.microsoft.com/office/drawing/2014/main" id="{84C1C7CE-2F71-4445-B4F7-5DE4C0B686D6}"/>
                </a:ext>
              </a:extLst>
            </p:cNvPr>
            <p:cNvSpPr txBox="1"/>
            <p:nvPr>
              <p:custDataLst>
                <p:tags r:id="rId22"/>
              </p:custDataLst>
            </p:nvPr>
          </p:nvSpPr>
          <p:spPr>
            <a:xfrm rot="11901580">
              <a:off x="4542309" y="2347189"/>
              <a:ext cx="179515" cy="381098"/>
            </a:xfrm>
            <a:prstGeom prst="rect">
              <a:avLst/>
            </a:prstGeom>
          </p:spPr>
          <p:txBody>
            <a:bodyPr vert="vert"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tx1"/>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3pPr>
              <a:lvl4pPr marL="548640" lvl="3"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4pPr>
              <a:lvl5pPr marL="731520" lvl="4"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000" b="1" i="0" u="none" strike="noStrike" kern="1200" cap="none" spc="0" normalizeH="0" baseline="0" noProof="0" dirty="0">
                  <a:ln>
                    <a:noFill/>
                  </a:ln>
                  <a:solidFill>
                    <a:srgbClr val="FFFFFF"/>
                  </a:solidFill>
                  <a:effectLst/>
                  <a:uLnTx/>
                  <a:uFillTx/>
                  <a:latin typeface="Bahnschrift" panose="020B0502040204020203" pitchFamily="34" charset="0"/>
                  <a:ea typeface="+mn-ea"/>
                  <a:cs typeface="Arial" panose="020B0604020202020204" pitchFamily="34" charset="0"/>
                </a:rPr>
                <a:t>Gr. H</a:t>
              </a:r>
              <a:r>
                <a:rPr kumimoji="0" lang="en-US" sz="1000" b="1" i="0" u="none" strike="noStrike" kern="1200" cap="none" spc="0" normalizeH="0" baseline="-25000" noProof="0" dirty="0">
                  <a:ln>
                    <a:noFill/>
                  </a:ln>
                  <a:solidFill>
                    <a:srgbClr val="FFFFFF"/>
                  </a:solidFill>
                  <a:effectLst/>
                  <a:uLnTx/>
                  <a:uFillTx/>
                  <a:latin typeface="Bahnschrift" panose="020B0502040204020203" pitchFamily="34" charset="0"/>
                  <a:ea typeface="+mn-ea"/>
                  <a:cs typeface="Arial" panose="020B0604020202020204" pitchFamily="34" charset="0"/>
                </a:rPr>
                <a:t>2</a:t>
              </a:r>
            </a:p>
          </p:txBody>
        </p:sp>
      </p:grpSp>
      <p:pic>
        <p:nvPicPr>
          <p:cNvPr id="89" name="Picture 88">
            <a:extLst>
              <a:ext uri="{FF2B5EF4-FFF2-40B4-BE49-F238E27FC236}">
                <a16:creationId xmlns:a16="http://schemas.microsoft.com/office/drawing/2014/main" id="{6051EC9D-9A25-4CE8-8451-5DD9226D6C70}"/>
              </a:ext>
            </a:extLst>
          </p:cNvPr>
          <p:cNvPicPr>
            <a:picLocks/>
          </p:cNvPicPr>
          <p:nvPr/>
        </p:nvPicPr>
        <p:blipFill rotWithShape="1">
          <a:blip r:embed="rId30"/>
          <a:srcRect l="21875" r="21875"/>
          <a:stretch/>
        </p:blipFill>
        <p:spPr>
          <a:xfrm>
            <a:off x="4601664" y="1421011"/>
            <a:ext cx="937958" cy="937958"/>
          </a:xfrm>
          <a:prstGeom prst="ellipse">
            <a:avLst/>
          </a:prstGeom>
          <a:ln w="6350" cmpd="sng">
            <a:solidFill>
              <a:srgbClr val="D0D0D0"/>
            </a:solidFill>
          </a:ln>
        </p:spPr>
      </p:pic>
      <p:grpSp>
        <p:nvGrpSpPr>
          <p:cNvPr id="32" name="Group 31">
            <a:extLst>
              <a:ext uri="{FF2B5EF4-FFF2-40B4-BE49-F238E27FC236}">
                <a16:creationId xmlns:a16="http://schemas.microsoft.com/office/drawing/2014/main" id="{E11939A4-7A74-4571-85C0-8C1A6099ECC9}"/>
              </a:ext>
            </a:extLst>
          </p:cNvPr>
          <p:cNvGrpSpPr/>
          <p:nvPr/>
        </p:nvGrpSpPr>
        <p:grpSpPr>
          <a:xfrm>
            <a:off x="4605108" y="2013760"/>
            <a:ext cx="244707" cy="619425"/>
            <a:chOff x="4542081" y="2276657"/>
            <a:chExt cx="190979" cy="483528"/>
          </a:xfrm>
        </p:grpSpPr>
        <p:sp>
          <p:nvSpPr>
            <p:cNvPr id="93" name="Freeform: Shape 92">
              <a:extLst>
                <a:ext uri="{FF2B5EF4-FFF2-40B4-BE49-F238E27FC236}">
                  <a16:creationId xmlns:a16="http://schemas.microsoft.com/office/drawing/2014/main" id="{EB582F08-6594-4F9B-BC34-C96B72B01541}"/>
                </a:ext>
              </a:extLst>
            </p:cNvPr>
            <p:cNvSpPr/>
            <p:nvPr>
              <p:custDataLst>
                <p:tags r:id="rId19"/>
              </p:custDataLst>
            </p:nvPr>
          </p:nvSpPr>
          <p:spPr>
            <a:xfrm rot="17334734">
              <a:off x="4395807" y="2422931"/>
              <a:ext cx="483528" cy="190979"/>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2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2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2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58375 w 1828800"/>
                <a:gd name="connsiteY5" fmla="*/ 457202 h 914400"/>
                <a:gd name="connsiteX0" fmla="*/ 0 w 1828800"/>
                <a:gd name="connsiteY0" fmla="*/ 0 h 914400"/>
                <a:gd name="connsiteX1" fmla="*/ 177042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58375 w 1828800"/>
                <a:gd name="connsiteY5" fmla="*/ 457202 h 914400"/>
                <a:gd name="connsiteX0" fmla="*/ 0 w 1828800"/>
                <a:gd name="connsiteY0" fmla="*/ 0 h 914400"/>
                <a:gd name="connsiteX1" fmla="*/ 1770425 w 1828800"/>
                <a:gd name="connsiteY1" fmla="*/ 0 h 914400"/>
                <a:gd name="connsiteX2" fmla="*/ 1828800 w 1828800"/>
                <a:gd name="connsiteY2" fmla="*/ 457200 h 914400"/>
                <a:gd name="connsiteX3" fmla="*/ 1770425 w 1828800"/>
                <a:gd name="connsiteY3" fmla="*/ 914400 h 914400"/>
                <a:gd name="connsiteX4" fmla="*/ 0 w 1828800"/>
                <a:gd name="connsiteY4" fmla="*/ 914400 h 914400"/>
                <a:gd name="connsiteX5" fmla="*/ 58375 w 1828800"/>
                <a:gd name="connsiteY5" fmla="*/ 457202 h 914400"/>
                <a:gd name="connsiteX0" fmla="*/ 0 w 1828800"/>
                <a:gd name="connsiteY0" fmla="*/ 0 h 914400"/>
                <a:gd name="connsiteX1" fmla="*/ 1770425 w 1828800"/>
                <a:gd name="connsiteY1" fmla="*/ 0 h 914400"/>
                <a:gd name="connsiteX2" fmla="*/ 1828800 w 1828800"/>
                <a:gd name="connsiteY2" fmla="*/ 457200 h 914400"/>
                <a:gd name="connsiteX3" fmla="*/ 177042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042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56658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56658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56658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689236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689236 w 1828800"/>
                <a:gd name="connsiteY1" fmla="*/ 0 h 914400"/>
                <a:gd name="connsiteX2" fmla="*/ 1828800 w 1828800"/>
                <a:gd name="connsiteY2" fmla="*/ 457200 h 914400"/>
                <a:gd name="connsiteX3" fmla="*/ 1689236 w 1828800"/>
                <a:gd name="connsiteY3" fmla="*/ 914400 h 914400"/>
                <a:gd name="connsiteX4" fmla="*/ 0 w 1828800"/>
                <a:gd name="connsiteY4" fmla="*/ 914400 h 914400"/>
                <a:gd name="connsiteX5" fmla="*/ 0 w 1828800"/>
                <a:gd name="connsiteY5" fmla="*/ 457202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89236" y="0"/>
                  </a:lnTo>
                  <a:lnTo>
                    <a:pt x="1828800" y="457200"/>
                  </a:lnTo>
                  <a:lnTo>
                    <a:pt x="1689236" y="914400"/>
                  </a:lnTo>
                  <a:lnTo>
                    <a:pt x="0" y="914400"/>
                  </a:lnTo>
                  <a:lnTo>
                    <a:pt x="0" y="457202"/>
                  </a:lnTo>
                  <a:close/>
                </a:path>
              </a:pathLst>
            </a:cu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000" b="0" i="0" u="none" strike="noStrike" kern="1200" cap="none" spc="0" normalizeH="0" baseline="0" noProof="0" err="1">
                <a:ln>
                  <a:noFill/>
                </a:ln>
                <a:solidFill>
                  <a:srgbClr val="000000"/>
                </a:solidFill>
                <a:effectLst/>
                <a:uLnTx/>
                <a:uFillTx/>
                <a:latin typeface="Bahnschrift" panose="020B0502040204020203" pitchFamily="34" charset="0"/>
                <a:ea typeface="+mn-ea"/>
                <a:cs typeface="+mn-cs"/>
              </a:endParaRPr>
            </a:p>
          </p:txBody>
        </p:sp>
        <p:sp>
          <p:nvSpPr>
            <p:cNvPr id="95" name="TextBox 94">
              <a:extLst>
                <a:ext uri="{FF2B5EF4-FFF2-40B4-BE49-F238E27FC236}">
                  <a16:creationId xmlns:a16="http://schemas.microsoft.com/office/drawing/2014/main" id="{082A7661-11EE-4C0F-81B4-0EAB6B396C8A}"/>
                </a:ext>
              </a:extLst>
            </p:cNvPr>
            <p:cNvSpPr txBox="1"/>
            <p:nvPr>
              <p:custDataLst>
                <p:tags r:id="rId20"/>
              </p:custDataLst>
            </p:nvPr>
          </p:nvSpPr>
          <p:spPr>
            <a:xfrm rot="11901580">
              <a:off x="4542126" y="2346656"/>
              <a:ext cx="176663" cy="381098"/>
            </a:xfrm>
            <a:prstGeom prst="rect">
              <a:avLst/>
            </a:prstGeom>
          </p:spPr>
          <p:txBody>
            <a:bodyPr vert="vert"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tx1"/>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3pPr>
              <a:lvl4pPr marL="548640" lvl="3"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4pPr>
              <a:lvl5pPr marL="731520" lvl="4"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000" b="1" i="0" u="none" strike="noStrike" kern="1200" cap="none" spc="0" normalizeH="0" baseline="0" noProof="0" dirty="0">
                  <a:ln>
                    <a:noFill/>
                  </a:ln>
                  <a:solidFill>
                    <a:srgbClr val="FFFFFF"/>
                  </a:solidFill>
                  <a:effectLst/>
                  <a:uLnTx/>
                  <a:uFillTx/>
                  <a:latin typeface="Bahnschrift" panose="020B0502040204020203" pitchFamily="34" charset="0"/>
                  <a:ea typeface="+mn-ea"/>
                  <a:cs typeface="Arial" panose="020B0604020202020204" pitchFamily="34" charset="0"/>
                </a:rPr>
                <a:t>Gr. H</a:t>
              </a:r>
              <a:r>
                <a:rPr kumimoji="0" lang="en-US" sz="1000" b="1" i="0" u="none" strike="noStrike" kern="1200" cap="none" spc="0" normalizeH="0" baseline="-25000" noProof="0" dirty="0">
                  <a:ln>
                    <a:noFill/>
                  </a:ln>
                  <a:solidFill>
                    <a:srgbClr val="FFFFFF"/>
                  </a:solidFill>
                  <a:effectLst/>
                  <a:uLnTx/>
                  <a:uFillTx/>
                  <a:latin typeface="Bahnschrift" panose="020B0502040204020203" pitchFamily="34" charset="0"/>
                  <a:ea typeface="+mn-ea"/>
                  <a:cs typeface="Arial" panose="020B0604020202020204" pitchFamily="34" charset="0"/>
                </a:rPr>
                <a:t>2</a:t>
              </a:r>
            </a:p>
          </p:txBody>
        </p:sp>
      </p:grpSp>
      <p:sp>
        <p:nvSpPr>
          <p:cNvPr id="99" name="Freeform: Shape 98">
            <a:extLst>
              <a:ext uri="{FF2B5EF4-FFF2-40B4-BE49-F238E27FC236}">
                <a16:creationId xmlns:a16="http://schemas.microsoft.com/office/drawing/2014/main" id="{5FEFBD70-051C-47D9-9D7F-61A966B376CA}"/>
              </a:ext>
            </a:extLst>
          </p:cNvPr>
          <p:cNvSpPr/>
          <p:nvPr>
            <p:custDataLst>
              <p:tags r:id="rId4"/>
            </p:custDataLst>
          </p:nvPr>
        </p:nvSpPr>
        <p:spPr>
          <a:xfrm rot="13140458">
            <a:off x="5135792" y="2390165"/>
            <a:ext cx="1634187" cy="36052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2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2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2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58375 w 1828800"/>
              <a:gd name="connsiteY5" fmla="*/ 457202 h 914400"/>
              <a:gd name="connsiteX0" fmla="*/ 0 w 1828800"/>
              <a:gd name="connsiteY0" fmla="*/ 0 h 914400"/>
              <a:gd name="connsiteX1" fmla="*/ 177042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58375 w 1828800"/>
              <a:gd name="connsiteY5" fmla="*/ 457202 h 914400"/>
              <a:gd name="connsiteX0" fmla="*/ 0 w 1828800"/>
              <a:gd name="connsiteY0" fmla="*/ 0 h 914400"/>
              <a:gd name="connsiteX1" fmla="*/ 1770425 w 1828800"/>
              <a:gd name="connsiteY1" fmla="*/ 0 h 914400"/>
              <a:gd name="connsiteX2" fmla="*/ 1828800 w 1828800"/>
              <a:gd name="connsiteY2" fmla="*/ 457200 h 914400"/>
              <a:gd name="connsiteX3" fmla="*/ 1770425 w 1828800"/>
              <a:gd name="connsiteY3" fmla="*/ 914400 h 914400"/>
              <a:gd name="connsiteX4" fmla="*/ 0 w 1828800"/>
              <a:gd name="connsiteY4" fmla="*/ 914400 h 914400"/>
              <a:gd name="connsiteX5" fmla="*/ 58375 w 1828800"/>
              <a:gd name="connsiteY5" fmla="*/ 457202 h 914400"/>
              <a:gd name="connsiteX0" fmla="*/ 0 w 1828800"/>
              <a:gd name="connsiteY0" fmla="*/ 0 h 914400"/>
              <a:gd name="connsiteX1" fmla="*/ 1770425 w 1828800"/>
              <a:gd name="connsiteY1" fmla="*/ 0 h 914400"/>
              <a:gd name="connsiteX2" fmla="*/ 1828800 w 1828800"/>
              <a:gd name="connsiteY2" fmla="*/ 457200 h 914400"/>
              <a:gd name="connsiteX3" fmla="*/ 177042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042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56658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56658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56658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689236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689236 w 1828800"/>
              <a:gd name="connsiteY1" fmla="*/ 0 h 914400"/>
              <a:gd name="connsiteX2" fmla="*/ 1828800 w 1828800"/>
              <a:gd name="connsiteY2" fmla="*/ 457200 h 914400"/>
              <a:gd name="connsiteX3" fmla="*/ 1689236 w 1828800"/>
              <a:gd name="connsiteY3" fmla="*/ 914400 h 914400"/>
              <a:gd name="connsiteX4" fmla="*/ 0 w 1828800"/>
              <a:gd name="connsiteY4" fmla="*/ 914400 h 914400"/>
              <a:gd name="connsiteX5" fmla="*/ 0 w 1828800"/>
              <a:gd name="connsiteY5" fmla="*/ 457202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89236" y="0"/>
                </a:lnTo>
                <a:lnTo>
                  <a:pt x="1828800" y="457200"/>
                </a:lnTo>
                <a:lnTo>
                  <a:pt x="1689236" y="914400"/>
                </a:lnTo>
                <a:lnTo>
                  <a:pt x="0" y="914400"/>
                </a:lnTo>
                <a:lnTo>
                  <a:pt x="0" y="457202"/>
                </a:lnTo>
                <a:close/>
              </a:path>
            </a:pathLst>
          </a:cu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Bahnschrift" panose="020B0502040204020203" pitchFamily="34" charset="0"/>
              <a:ea typeface="+mn-ea"/>
              <a:cs typeface="+mn-cs"/>
            </a:endParaRPr>
          </a:p>
        </p:txBody>
      </p:sp>
      <p:sp>
        <p:nvSpPr>
          <p:cNvPr id="100" name="TextBox 99">
            <a:extLst>
              <a:ext uri="{FF2B5EF4-FFF2-40B4-BE49-F238E27FC236}">
                <a16:creationId xmlns:a16="http://schemas.microsoft.com/office/drawing/2014/main" id="{8167C82E-8A97-4CA0-85D1-5A9211E959E6}"/>
              </a:ext>
            </a:extLst>
          </p:cNvPr>
          <p:cNvSpPr txBox="1"/>
          <p:nvPr>
            <p:custDataLst>
              <p:tags r:id="rId5"/>
            </p:custDataLst>
          </p:nvPr>
        </p:nvSpPr>
        <p:spPr>
          <a:xfrm rot="18569385">
            <a:off x="5817846" y="1935456"/>
            <a:ext cx="153888" cy="1227753"/>
          </a:xfrm>
          <a:prstGeom prst="rect">
            <a:avLst/>
          </a:prstGeom>
        </p:spPr>
        <p:txBody>
          <a:bodyPr vert="vert"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tx1"/>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3pPr>
            <a:lvl4pPr marL="548640" lvl="3"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4pPr>
            <a:lvl5pPr marL="731520" lvl="4"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None/>
              <a:tabLst/>
              <a:defRPr/>
            </a:pPr>
            <a:r>
              <a:rPr kumimoji="0" lang="en-US" sz="1000" b="1" i="0" u="none" strike="noStrike" kern="1200" cap="none" spc="0" normalizeH="0" baseline="0" noProof="0" dirty="0" err="1">
                <a:ln>
                  <a:noFill/>
                </a:ln>
                <a:solidFill>
                  <a:srgbClr val="FFFFFF"/>
                </a:solidFill>
                <a:effectLst/>
                <a:uLnTx/>
                <a:uFillTx/>
                <a:latin typeface="Bahnschrift" panose="020B0502040204020203" pitchFamily="34" charset="0"/>
                <a:ea typeface="+mn-ea"/>
                <a:cs typeface="Arial" panose="020B0604020202020204" pitchFamily="34" charset="0"/>
              </a:rPr>
              <a:t>Biokraftstoff</a:t>
            </a:r>
            <a:endParaRPr kumimoji="0" lang="en-US" sz="1000" b="1" i="0" u="none" strike="noStrike" kern="1200" cap="none" spc="0" normalizeH="0" baseline="0" noProof="0" dirty="0">
              <a:ln>
                <a:noFill/>
              </a:ln>
              <a:solidFill>
                <a:srgbClr val="FFFFFF"/>
              </a:solidFill>
              <a:effectLst/>
              <a:uLnTx/>
              <a:uFillTx/>
              <a:latin typeface="Bahnschrift" panose="020B0502040204020203" pitchFamily="34" charset="0"/>
              <a:ea typeface="+mn-ea"/>
              <a:cs typeface="Arial" panose="020B0604020202020204" pitchFamily="34" charset="0"/>
            </a:endParaRPr>
          </a:p>
        </p:txBody>
      </p:sp>
      <p:pic>
        <p:nvPicPr>
          <p:cNvPr id="184" name="Picture 183">
            <a:extLst>
              <a:ext uri="{FF2B5EF4-FFF2-40B4-BE49-F238E27FC236}">
                <a16:creationId xmlns:a16="http://schemas.microsoft.com/office/drawing/2014/main" id="{24E78C9D-FD25-4F67-862B-2B3A48C1FEB7}"/>
              </a:ext>
            </a:extLst>
          </p:cNvPr>
          <p:cNvPicPr>
            <a:picLocks/>
          </p:cNvPicPr>
          <p:nvPr/>
        </p:nvPicPr>
        <p:blipFill rotWithShape="1">
          <a:blip r:embed="rId31"/>
          <a:srcRect l="13325" t="18138" r="38806" b="10113"/>
          <a:stretch/>
        </p:blipFill>
        <p:spPr>
          <a:xfrm>
            <a:off x="10163866" y="2586990"/>
            <a:ext cx="1407762" cy="1407762"/>
          </a:xfrm>
          <a:prstGeom prst="ellipse">
            <a:avLst/>
          </a:prstGeom>
          <a:ln w="6350" cmpd="sng">
            <a:solidFill>
              <a:srgbClr val="D0D0D0"/>
            </a:solidFill>
          </a:ln>
        </p:spPr>
      </p:pic>
      <p:sp>
        <p:nvSpPr>
          <p:cNvPr id="45" name="TextBox 44">
            <a:extLst>
              <a:ext uri="{FF2B5EF4-FFF2-40B4-BE49-F238E27FC236}">
                <a16:creationId xmlns:a16="http://schemas.microsoft.com/office/drawing/2014/main" id="{7B6EA2EC-CC0B-4DD2-A504-B3D8A3EF3BAD}"/>
              </a:ext>
            </a:extLst>
          </p:cNvPr>
          <p:cNvSpPr txBox="1">
            <a:spLocks/>
          </p:cNvSpPr>
          <p:nvPr/>
        </p:nvSpPr>
        <p:spPr bwMode="gray">
          <a:xfrm>
            <a:off x="10064028" y="1325685"/>
            <a:ext cx="1607438" cy="122341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tx1"/>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3pPr>
            <a:lvl4pPr marL="548640" lvl="3"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4pPr>
            <a:lvl5pPr marL="731520" lvl="4"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12D44"/>
              </a:buClr>
              <a:buSzPct val="100000"/>
              <a:buFont typeface="Segoe UI" panose="020B0502040204020203" pitchFamily="34" charset="0"/>
              <a:buChar char="​"/>
              <a:tabLst/>
              <a:defRPr/>
            </a:pP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Kohlenstoff-abscheidung</a:t>
            </a:r>
          </a:p>
          <a:p>
            <a:pPr marL="182880" marR="0" lvl="1" indent="-182880" algn="l" defTabSz="914400" rtl="0" eaLnBrk="1" fontAlgn="auto" latinLnBrk="0" hangingPunct="1">
              <a:lnSpc>
                <a:spcPct val="100000"/>
              </a:lnSpc>
              <a:spcBef>
                <a:spcPts val="0"/>
              </a:spcBef>
              <a:spcAft>
                <a:spcPts val="300"/>
              </a:spcAft>
              <a:buClr>
                <a:srgbClr val="012D44"/>
              </a:buClr>
              <a:buSzPct val="100000"/>
              <a:buFont typeface="Wingdings" panose="05000000000000000000" pitchFamily="2" charset="2"/>
              <a:buChar char=""/>
              <a:tabLst/>
              <a:defRPr/>
            </a:pPr>
            <a:r>
              <a:rPr kumimoji="0" lang="de-DE" sz="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Industrielle Punktquellen-abscheidung (z.B. Lafarge) und Lagerung/Nutzung (z.B. RAG) </a:t>
            </a:r>
          </a:p>
          <a:p>
            <a:pPr marL="182880" marR="0" lvl="1" indent="-182880" algn="l" defTabSz="914400" rtl="0" eaLnBrk="1" fontAlgn="auto" latinLnBrk="0" hangingPunct="1">
              <a:lnSpc>
                <a:spcPct val="100000"/>
              </a:lnSpc>
              <a:spcBef>
                <a:spcPts val="0"/>
              </a:spcBef>
              <a:spcAft>
                <a:spcPts val="300"/>
              </a:spcAft>
              <a:buClr>
                <a:srgbClr val="012D44"/>
              </a:buClr>
              <a:buSzPct val="100000"/>
              <a:buFont typeface="Wingdings" panose="05000000000000000000" pitchFamily="2" charset="2"/>
              <a:buChar char=""/>
              <a:tabLst/>
              <a:defRPr/>
            </a:pPr>
            <a:r>
              <a:rPr kumimoji="0" lang="de-DE" sz="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Biogene Punktquellen-abscheidung (z.B. Biogas)</a:t>
            </a:r>
          </a:p>
          <a:p>
            <a:pPr marL="182880" marR="0" lvl="1" indent="-182880" algn="l" defTabSz="914400" rtl="0" eaLnBrk="1" fontAlgn="auto" latinLnBrk="0" hangingPunct="1">
              <a:lnSpc>
                <a:spcPct val="100000"/>
              </a:lnSpc>
              <a:spcBef>
                <a:spcPts val="0"/>
              </a:spcBef>
              <a:spcAft>
                <a:spcPts val="300"/>
              </a:spcAft>
              <a:buClr>
                <a:srgbClr val="012D44"/>
              </a:buClr>
              <a:buSzPct val="100000"/>
              <a:buFont typeface="Wingdings" panose="05000000000000000000" pitchFamily="2" charset="2"/>
              <a:buChar char=""/>
              <a:tabLst/>
              <a:defRPr/>
            </a:pPr>
            <a:r>
              <a:rPr kumimoji="0" lang="de-DE" sz="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Direkte Luftabscheidung (DAC)</a:t>
            </a:r>
          </a:p>
        </p:txBody>
      </p:sp>
      <p:sp>
        <p:nvSpPr>
          <p:cNvPr id="247" name="TextBox 246">
            <a:extLst>
              <a:ext uri="{FF2B5EF4-FFF2-40B4-BE49-F238E27FC236}">
                <a16:creationId xmlns:a16="http://schemas.microsoft.com/office/drawing/2014/main" id="{9F847C02-F79C-4FBF-B3F2-CEAAD63E2B8C}"/>
              </a:ext>
            </a:extLst>
          </p:cNvPr>
          <p:cNvSpPr txBox="1"/>
          <p:nvPr/>
        </p:nvSpPr>
        <p:spPr bwMode="gray">
          <a:xfrm>
            <a:off x="3278843" y="2461216"/>
            <a:ext cx="492140" cy="123111"/>
          </a:xfrm>
          <a:prstGeom prst="rect">
            <a:avLst/>
          </a:prstGeom>
          <a:solidFill>
            <a:srgbClr val="FFFFFF"/>
          </a:solidFill>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800" b="0" i="0" u="none" strike="noStrike" kern="1200" cap="none" spc="0" normalizeH="0" baseline="0" noProof="0">
                <a:ln>
                  <a:noFill/>
                </a:ln>
                <a:solidFill>
                  <a:srgbClr val="000000"/>
                </a:solidFill>
                <a:effectLst/>
                <a:uLnTx/>
                <a:uFillTx/>
                <a:latin typeface="Bahnschrift" panose="020B0502040204020203" pitchFamily="34" charset="0"/>
                <a:ea typeface="+mn-ea"/>
                <a:cs typeface="Arial" panose="020B0604020202020204" pitchFamily="34" charset="0"/>
              </a:rPr>
              <a:t>Mit SOEC</a:t>
            </a:r>
            <a:r>
              <a:rPr kumimoji="0" lang="de-DE" sz="800" b="0" i="0" u="none" strike="noStrike" kern="1200" cap="none" spc="0" normalizeH="0" baseline="30000" noProof="0">
                <a:ln>
                  <a:noFill/>
                </a:ln>
                <a:solidFill>
                  <a:srgbClr val="000000"/>
                </a:solidFill>
                <a:effectLst/>
                <a:uLnTx/>
                <a:uFillTx/>
                <a:latin typeface="Bahnschrift" panose="020B0502040204020203" pitchFamily="34" charset="0"/>
                <a:ea typeface="+mn-ea"/>
                <a:cs typeface="Arial" panose="020B0604020202020204" pitchFamily="34" charset="0"/>
              </a:rPr>
              <a:t>1</a:t>
            </a:r>
            <a:endParaRPr kumimoji="0" lang="de-DE" sz="800" b="0" i="0" u="none" strike="noStrike" kern="1200" cap="none" spc="0" normalizeH="0" baseline="0" noProof="0">
              <a:ln>
                <a:noFill/>
              </a:ln>
              <a:solidFill>
                <a:srgbClr val="000000"/>
              </a:solidFill>
              <a:effectLst/>
              <a:uLnTx/>
              <a:uFillTx/>
              <a:latin typeface="Bahnschrift" panose="020B0502040204020203" pitchFamily="34" charset="0"/>
              <a:ea typeface="+mn-ea"/>
              <a:cs typeface="Arial" panose="020B0604020202020204" pitchFamily="34" charset="0"/>
            </a:endParaRPr>
          </a:p>
        </p:txBody>
      </p:sp>
      <p:grpSp>
        <p:nvGrpSpPr>
          <p:cNvPr id="31" name="Group 30">
            <a:extLst>
              <a:ext uri="{FF2B5EF4-FFF2-40B4-BE49-F238E27FC236}">
                <a16:creationId xmlns:a16="http://schemas.microsoft.com/office/drawing/2014/main" id="{BBEFA8DB-041F-46C5-9E0B-53C8EA1CCCA9}"/>
              </a:ext>
            </a:extLst>
          </p:cNvPr>
          <p:cNvGrpSpPr/>
          <p:nvPr/>
        </p:nvGrpSpPr>
        <p:grpSpPr>
          <a:xfrm>
            <a:off x="7784494" y="3093448"/>
            <a:ext cx="2190342" cy="366318"/>
            <a:chOff x="8390572" y="3220448"/>
            <a:chExt cx="1839208" cy="366318"/>
          </a:xfrm>
        </p:grpSpPr>
        <p:sp>
          <p:nvSpPr>
            <p:cNvPr id="256" name="Freeform: Shape 255">
              <a:extLst>
                <a:ext uri="{FF2B5EF4-FFF2-40B4-BE49-F238E27FC236}">
                  <a16:creationId xmlns:a16="http://schemas.microsoft.com/office/drawing/2014/main" id="{82055A88-771A-47E5-9EBF-06BE43D654B1}"/>
                </a:ext>
              </a:extLst>
            </p:cNvPr>
            <p:cNvSpPr/>
            <p:nvPr>
              <p:custDataLst>
                <p:tags r:id="rId17"/>
              </p:custDataLst>
            </p:nvPr>
          </p:nvSpPr>
          <p:spPr>
            <a:xfrm>
              <a:off x="8390572" y="3220448"/>
              <a:ext cx="1839208" cy="366318"/>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2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2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2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58375 w 1828800"/>
                <a:gd name="connsiteY5" fmla="*/ 457202 h 914400"/>
                <a:gd name="connsiteX0" fmla="*/ 0 w 1828800"/>
                <a:gd name="connsiteY0" fmla="*/ 0 h 914400"/>
                <a:gd name="connsiteX1" fmla="*/ 177042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58375 w 1828800"/>
                <a:gd name="connsiteY5" fmla="*/ 457202 h 914400"/>
                <a:gd name="connsiteX0" fmla="*/ 0 w 1828800"/>
                <a:gd name="connsiteY0" fmla="*/ 0 h 914400"/>
                <a:gd name="connsiteX1" fmla="*/ 1770425 w 1828800"/>
                <a:gd name="connsiteY1" fmla="*/ 0 h 914400"/>
                <a:gd name="connsiteX2" fmla="*/ 1828800 w 1828800"/>
                <a:gd name="connsiteY2" fmla="*/ 457200 h 914400"/>
                <a:gd name="connsiteX3" fmla="*/ 1770425 w 1828800"/>
                <a:gd name="connsiteY3" fmla="*/ 914400 h 914400"/>
                <a:gd name="connsiteX4" fmla="*/ 0 w 1828800"/>
                <a:gd name="connsiteY4" fmla="*/ 914400 h 914400"/>
                <a:gd name="connsiteX5" fmla="*/ 58375 w 1828800"/>
                <a:gd name="connsiteY5" fmla="*/ 457202 h 914400"/>
                <a:gd name="connsiteX0" fmla="*/ 0 w 1828800"/>
                <a:gd name="connsiteY0" fmla="*/ 0 h 914400"/>
                <a:gd name="connsiteX1" fmla="*/ 1770425 w 1828800"/>
                <a:gd name="connsiteY1" fmla="*/ 0 h 914400"/>
                <a:gd name="connsiteX2" fmla="*/ 1828800 w 1828800"/>
                <a:gd name="connsiteY2" fmla="*/ 457200 h 914400"/>
                <a:gd name="connsiteX3" fmla="*/ 177042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042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56658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56658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56658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0 w 1828800"/>
                <a:gd name="connsiteY5" fmla="*/ 457202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72142" y="0"/>
                  </a:lnTo>
                  <a:lnTo>
                    <a:pt x="1828800" y="457200"/>
                  </a:lnTo>
                  <a:lnTo>
                    <a:pt x="1772142" y="914400"/>
                  </a:lnTo>
                  <a:lnTo>
                    <a:pt x="0" y="914400"/>
                  </a:lnTo>
                  <a:lnTo>
                    <a:pt x="0" y="457202"/>
                  </a:lnTo>
                  <a:close/>
                </a:path>
              </a:pathLst>
            </a:cu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000" b="0" i="0" u="none" strike="noStrike" kern="1200" cap="none" spc="0" normalizeH="0" baseline="0" noProof="0">
                <a:ln>
                  <a:noFill/>
                </a:ln>
                <a:solidFill>
                  <a:srgbClr val="000000"/>
                </a:solidFill>
                <a:effectLst/>
                <a:uLnTx/>
                <a:uFillTx/>
                <a:latin typeface="Bahnschrift" panose="020B0502040204020203" pitchFamily="34" charset="0"/>
                <a:ea typeface="+mn-ea"/>
                <a:cs typeface="+mn-cs"/>
              </a:endParaRPr>
            </a:p>
          </p:txBody>
        </p:sp>
        <p:sp>
          <p:nvSpPr>
            <p:cNvPr id="257" name="TextBox 256">
              <a:extLst>
                <a:ext uri="{FF2B5EF4-FFF2-40B4-BE49-F238E27FC236}">
                  <a16:creationId xmlns:a16="http://schemas.microsoft.com/office/drawing/2014/main" id="{886EEB4D-824A-4B5D-BBA0-AD0E5604A00F}"/>
                </a:ext>
              </a:extLst>
            </p:cNvPr>
            <p:cNvSpPr txBox="1"/>
            <p:nvPr>
              <p:custDataLst>
                <p:tags r:id="rId18"/>
              </p:custDataLst>
            </p:nvPr>
          </p:nvSpPr>
          <p:spPr>
            <a:xfrm>
              <a:off x="8458624" y="3245886"/>
              <a:ext cx="1714175" cy="315441"/>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tx1"/>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3pPr>
              <a:lvl4pPr marL="548640" lvl="3"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4pPr>
              <a:lvl5pPr marL="731520" lvl="4"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de-DE" sz="1000" b="1" i="0" u="none" strike="noStrike" kern="1200" cap="none" spc="0" normalizeH="0" baseline="0" noProof="0" dirty="0">
                  <a:ln>
                    <a:noFill/>
                  </a:ln>
                  <a:solidFill>
                    <a:srgbClr val="FFFFFF"/>
                  </a:solidFill>
                  <a:effectLst/>
                  <a:uLnTx/>
                  <a:uFillTx/>
                  <a:latin typeface="Bahnschrift" panose="020B0502040204020203" pitchFamily="34" charset="0"/>
                  <a:ea typeface="+mn-ea"/>
                  <a:cs typeface="Arial" panose="020B0604020202020204" pitchFamily="34" charset="0"/>
                </a:rPr>
                <a:t>Grüner Flugzeugtreibstoff</a:t>
              </a:r>
            </a:p>
          </p:txBody>
        </p:sp>
      </p:grpSp>
      <p:pic>
        <p:nvPicPr>
          <p:cNvPr id="180" name="Picture 179">
            <a:extLst>
              <a:ext uri="{FF2B5EF4-FFF2-40B4-BE49-F238E27FC236}">
                <a16:creationId xmlns:a16="http://schemas.microsoft.com/office/drawing/2014/main" id="{A864D78E-4546-41BD-BD44-E21D9C0536BB}"/>
              </a:ext>
            </a:extLst>
          </p:cNvPr>
          <p:cNvPicPr>
            <a:picLocks/>
          </p:cNvPicPr>
          <p:nvPr/>
        </p:nvPicPr>
        <p:blipFill rotWithShape="1">
          <a:blip r:embed="rId32"/>
          <a:srcRect l="15888" t="3204" r="18074"/>
          <a:stretch/>
        </p:blipFill>
        <p:spPr>
          <a:xfrm>
            <a:off x="6459390" y="2586990"/>
            <a:ext cx="1407762" cy="1407762"/>
          </a:xfrm>
          <a:prstGeom prst="ellipse">
            <a:avLst/>
          </a:prstGeom>
          <a:ln w="6350" cmpd="sng">
            <a:solidFill>
              <a:srgbClr val="D0D0D0"/>
            </a:solidFill>
          </a:ln>
        </p:spPr>
      </p:pic>
      <p:sp>
        <p:nvSpPr>
          <p:cNvPr id="47" name="TextBox 46">
            <a:extLst>
              <a:ext uri="{FF2B5EF4-FFF2-40B4-BE49-F238E27FC236}">
                <a16:creationId xmlns:a16="http://schemas.microsoft.com/office/drawing/2014/main" id="{8E7411F0-E48F-4864-BD34-83E5DDC5BC53}"/>
              </a:ext>
            </a:extLst>
          </p:cNvPr>
          <p:cNvSpPr txBox="1"/>
          <p:nvPr/>
        </p:nvSpPr>
        <p:spPr bwMode="gray">
          <a:xfrm>
            <a:off x="7437336" y="1612218"/>
            <a:ext cx="1048652"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tx1"/>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3pPr>
            <a:lvl4pPr marL="548640" lvl="3"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4pPr>
            <a:lvl5pPr marL="731520" lvl="4"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12D44"/>
              </a:buClr>
              <a:buSzPct val="100000"/>
              <a:buFont typeface="Segoe UI" panose="020B0502040204020203" pitchFamily="34" charset="0"/>
              <a:buChar char="​"/>
              <a:tabLst/>
              <a:defRPr/>
            </a:pPr>
            <a:r>
              <a:rPr kumimoji="0" lang="de-DE" sz="8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C2PAT+</a:t>
            </a:r>
            <a:r>
              <a:rPr kumimoji="0" lang="de-DE" sz="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 Synthese von CO</a:t>
            </a:r>
            <a:r>
              <a:rPr kumimoji="0" lang="de-DE" sz="800" b="0" i="0" u="none" strike="noStrike" kern="1200" cap="none" spc="0" normalizeH="0" baseline="-25000" noProof="0" dirty="0">
                <a:ln>
                  <a:noFill/>
                </a:ln>
                <a:solidFill>
                  <a:srgbClr val="000000"/>
                </a:solidFill>
                <a:effectLst/>
                <a:uLnTx/>
                <a:uFillTx/>
                <a:latin typeface="Bahnschrift" panose="020B0502040204020203" pitchFamily="34" charset="0"/>
                <a:ea typeface="+mn-ea"/>
                <a:cs typeface="Arial" panose="020B0604020202020204" pitchFamily="34" charset="0"/>
              </a:rPr>
              <a:t>2</a:t>
            </a:r>
            <a:r>
              <a:rPr kumimoji="0" lang="de-DE" sz="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 Ausscheidung aus Zementwerk zu Kohlenwasserstoff</a:t>
            </a:r>
          </a:p>
        </p:txBody>
      </p:sp>
      <p:grpSp>
        <p:nvGrpSpPr>
          <p:cNvPr id="1240065" name="Group 1240064">
            <a:extLst>
              <a:ext uri="{FF2B5EF4-FFF2-40B4-BE49-F238E27FC236}">
                <a16:creationId xmlns:a16="http://schemas.microsoft.com/office/drawing/2014/main" id="{8580F79C-C0AF-4C95-B182-31E0AC665EA3}"/>
              </a:ext>
            </a:extLst>
          </p:cNvPr>
          <p:cNvGrpSpPr/>
          <p:nvPr/>
        </p:nvGrpSpPr>
        <p:grpSpPr>
          <a:xfrm>
            <a:off x="7563180" y="2459903"/>
            <a:ext cx="1209473" cy="440332"/>
            <a:chOff x="7945519" y="2586903"/>
            <a:chExt cx="1209473" cy="440332"/>
          </a:xfrm>
        </p:grpSpPr>
        <p:sp>
          <p:nvSpPr>
            <p:cNvPr id="201" name="Freeform: Shape 200">
              <a:extLst>
                <a:ext uri="{FF2B5EF4-FFF2-40B4-BE49-F238E27FC236}">
                  <a16:creationId xmlns:a16="http://schemas.microsoft.com/office/drawing/2014/main" id="{3FF87D3B-3781-49A0-A3AA-36BEA566562B}"/>
                </a:ext>
              </a:extLst>
            </p:cNvPr>
            <p:cNvSpPr/>
            <p:nvPr>
              <p:custDataLst>
                <p:tags r:id="rId15"/>
              </p:custDataLst>
            </p:nvPr>
          </p:nvSpPr>
          <p:spPr>
            <a:xfrm rot="19537403" flipH="1">
              <a:off x="7945519" y="2586903"/>
              <a:ext cx="1209473" cy="305256"/>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2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2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2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35369 w 1828800"/>
                <a:gd name="connsiteY5" fmla="*/ 457202 h 914400"/>
                <a:gd name="connsiteX0" fmla="*/ 0 w 1828800"/>
                <a:gd name="connsiteY0" fmla="*/ 0 h 914400"/>
                <a:gd name="connsiteX1" fmla="*/ 1693431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35369 w 1828800"/>
                <a:gd name="connsiteY5" fmla="*/ 457202 h 914400"/>
                <a:gd name="connsiteX0" fmla="*/ 0 w 1828800"/>
                <a:gd name="connsiteY0" fmla="*/ 0 h 914400"/>
                <a:gd name="connsiteX1" fmla="*/ 1693431 w 1828800"/>
                <a:gd name="connsiteY1" fmla="*/ 0 h 914400"/>
                <a:gd name="connsiteX2" fmla="*/ 1828800 w 1828800"/>
                <a:gd name="connsiteY2" fmla="*/ 457200 h 914400"/>
                <a:gd name="connsiteX3" fmla="*/ 1693431 w 1828800"/>
                <a:gd name="connsiteY3" fmla="*/ 914400 h 914400"/>
                <a:gd name="connsiteX4" fmla="*/ 0 w 1828800"/>
                <a:gd name="connsiteY4" fmla="*/ 914400 h 914400"/>
                <a:gd name="connsiteX5" fmla="*/ 135369 w 1828800"/>
                <a:gd name="connsiteY5" fmla="*/ 457202 h 914400"/>
                <a:gd name="connsiteX0" fmla="*/ 0 w 1828800"/>
                <a:gd name="connsiteY0" fmla="*/ 0 h 914400"/>
                <a:gd name="connsiteX1" fmla="*/ 1693431 w 1828800"/>
                <a:gd name="connsiteY1" fmla="*/ 0 h 914400"/>
                <a:gd name="connsiteX2" fmla="*/ 1828800 w 1828800"/>
                <a:gd name="connsiteY2" fmla="*/ 457200 h 914400"/>
                <a:gd name="connsiteX3" fmla="*/ 1693431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693431 w 1828800"/>
                <a:gd name="connsiteY1" fmla="*/ 0 h 914400"/>
                <a:gd name="connsiteX2" fmla="*/ 1828800 w 1828800"/>
                <a:gd name="connsiteY2" fmla="*/ 457200 h 914400"/>
                <a:gd name="connsiteX3" fmla="*/ 1693431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693431 w 1828800"/>
                <a:gd name="connsiteY1" fmla="*/ 0 h 914400"/>
                <a:gd name="connsiteX2" fmla="*/ 1828800 w 1828800"/>
                <a:gd name="connsiteY2" fmla="*/ 457200 h 914400"/>
                <a:gd name="connsiteX3" fmla="*/ 1693431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693431 w 1828800"/>
                <a:gd name="connsiteY1" fmla="*/ 0 h 914400"/>
                <a:gd name="connsiteX2" fmla="*/ 1828800 w 1828800"/>
                <a:gd name="connsiteY2" fmla="*/ 457200 h 914400"/>
                <a:gd name="connsiteX3" fmla="*/ 1693431 w 1828800"/>
                <a:gd name="connsiteY3" fmla="*/ 914400 h 914400"/>
                <a:gd name="connsiteX4" fmla="*/ 0 w 1828800"/>
                <a:gd name="connsiteY4" fmla="*/ 914400 h 914400"/>
                <a:gd name="connsiteX5" fmla="*/ 135369 w 1828800"/>
                <a:gd name="connsiteY5" fmla="*/ 457202 h 914400"/>
                <a:gd name="connsiteX0" fmla="*/ 0 w 1828800"/>
                <a:gd name="connsiteY0" fmla="*/ 0 h 914400"/>
                <a:gd name="connsiteX1" fmla="*/ 1693431 w 1828800"/>
                <a:gd name="connsiteY1" fmla="*/ 0 h 914400"/>
                <a:gd name="connsiteX2" fmla="*/ 1828800 w 1828800"/>
                <a:gd name="connsiteY2" fmla="*/ 457200 h 914400"/>
                <a:gd name="connsiteX3" fmla="*/ 1693431 w 1828800"/>
                <a:gd name="connsiteY3" fmla="*/ 914400 h 914400"/>
                <a:gd name="connsiteX4" fmla="*/ 0 w 1828800"/>
                <a:gd name="connsiteY4" fmla="*/ 914400 h 914400"/>
                <a:gd name="connsiteX5" fmla="*/ 135369 w 1828800"/>
                <a:gd name="connsiteY5" fmla="*/ 457202 h 914400"/>
                <a:gd name="connsiteX0" fmla="*/ 0 w 1828800"/>
                <a:gd name="connsiteY0" fmla="*/ 0 h 914400"/>
                <a:gd name="connsiteX1" fmla="*/ 1693431 w 1828800"/>
                <a:gd name="connsiteY1" fmla="*/ 0 h 914400"/>
                <a:gd name="connsiteX2" fmla="*/ 1828800 w 1828800"/>
                <a:gd name="connsiteY2" fmla="*/ 457200 h 914400"/>
                <a:gd name="connsiteX3" fmla="*/ 1693431 w 1828800"/>
                <a:gd name="connsiteY3" fmla="*/ 914400 h 914400"/>
                <a:gd name="connsiteX4" fmla="*/ 0 w 1828800"/>
                <a:gd name="connsiteY4" fmla="*/ 914400 h 914400"/>
                <a:gd name="connsiteX5" fmla="*/ 135369 w 1828800"/>
                <a:gd name="connsiteY5" fmla="*/ 457202 h 914400"/>
                <a:gd name="connsiteX0" fmla="*/ 0 w 1828800"/>
                <a:gd name="connsiteY0" fmla="*/ 0 h 914400"/>
                <a:gd name="connsiteX1" fmla="*/ 1693431 w 1828800"/>
                <a:gd name="connsiteY1" fmla="*/ 0 h 914400"/>
                <a:gd name="connsiteX2" fmla="*/ 1828800 w 1828800"/>
                <a:gd name="connsiteY2" fmla="*/ 457200 h 914400"/>
                <a:gd name="connsiteX3" fmla="*/ 1693431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673249 w 1828800"/>
                <a:gd name="connsiteY1" fmla="*/ 0 h 914400"/>
                <a:gd name="connsiteX2" fmla="*/ 1828800 w 1828800"/>
                <a:gd name="connsiteY2" fmla="*/ 457200 h 914400"/>
                <a:gd name="connsiteX3" fmla="*/ 1693431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673249 w 1828800"/>
                <a:gd name="connsiteY1" fmla="*/ 0 h 914400"/>
                <a:gd name="connsiteX2" fmla="*/ 1828800 w 1828800"/>
                <a:gd name="connsiteY2" fmla="*/ 457200 h 914400"/>
                <a:gd name="connsiteX3" fmla="*/ 1673249 w 1828800"/>
                <a:gd name="connsiteY3" fmla="*/ 914400 h 914400"/>
                <a:gd name="connsiteX4" fmla="*/ 0 w 1828800"/>
                <a:gd name="connsiteY4" fmla="*/ 914400 h 914400"/>
                <a:gd name="connsiteX5" fmla="*/ 0 w 1828800"/>
                <a:gd name="connsiteY5" fmla="*/ 457202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73249" y="0"/>
                  </a:lnTo>
                  <a:lnTo>
                    <a:pt x="1828800" y="457200"/>
                  </a:lnTo>
                  <a:lnTo>
                    <a:pt x="1673249" y="914400"/>
                  </a:lnTo>
                  <a:lnTo>
                    <a:pt x="0" y="914400"/>
                  </a:lnTo>
                  <a:lnTo>
                    <a:pt x="0" y="457202"/>
                  </a:lnTo>
                  <a:close/>
                </a:path>
              </a:pathLst>
            </a:cu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000" b="0" i="0" u="none" strike="noStrike" kern="1200" cap="none" spc="0" normalizeH="0" baseline="0" noProof="0" err="1">
                <a:ln>
                  <a:noFill/>
                </a:ln>
                <a:solidFill>
                  <a:srgbClr val="000000"/>
                </a:solidFill>
                <a:effectLst/>
                <a:uLnTx/>
                <a:uFillTx/>
                <a:latin typeface="Bahnschrift" panose="020B0502040204020203" pitchFamily="34" charset="0"/>
                <a:ea typeface="+mn-ea"/>
                <a:cs typeface="+mn-cs"/>
              </a:endParaRPr>
            </a:p>
          </p:txBody>
        </p:sp>
        <p:sp>
          <p:nvSpPr>
            <p:cNvPr id="202" name="TextBox 201">
              <a:extLst>
                <a:ext uri="{FF2B5EF4-FFF2-40B4-BE49-F238E27FC236}">
                  <a16:creationId xmlns:a16="http://schemas.microsoft.com/office/drawing/2014/main" id="{5C91BC05-9471-40E0-9721-695852983A71}"/>
                </a:ext>
              </a:extLst>
            </p:cNvPr>
            <p:cNvSpPr txBox="1"/>
            <p:nvPr>
              <p:custDataLst>
                <p:tags r:id="rId16"/>
              </p:custDataLst>
            </p:nvPr>
          </p:nvSpPr>
          <p:spPr>
            <a:xfrm rot="19351247" flipH="1">
              <a:off x="8082201" y="2764375"/>
              <a:ext cx="434789" cy="26286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tx1"/>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3pPr>
              <a:lvl4pPr marL="548640" lvl="3"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4pPr>
              <a:lvl5pPr marL="731520" lvl="4"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FFFFFF"/>
                  </a:solidFill>
                  <a:effectLst/>
                  <a:uLnTx/>
                  <a:uFillTx/>
                  <a:latin typeface="Bahnschrift" panose="020B0502040204020203" pitchFamily="34" charset="0"/>
                  <a:ea typeface="+mn-ea"/>
                  <a:cs typeface="Arial" panose="020B0604020202020204" pitchFamily="34" charset="0"/>
                </a:rPr>
                <a:t>CO</a:t>
              </a:r>
              <a:r>
                <a:rPr kumimoji="0" lang="en-US" sz="1000" b="1" i="0" u="none" strike="noStrike" kern="1200" cap="none" spc="0" normalizeH="0" baseline="-25000" noProof="0">
                  <a:ln>
                    <a:noFill/>
                  </a:ln>
                  <a:solidFill>
                    <a:srgbClr val="FFFFFF"/>
                  </a:solidFill>
                  <a:effectLst/>
                  <a:uLnTx/>
                  <a:uFillTx/>
                  <a:latin typeface="Bahnschrift" panose="020B0502040204020203" pitchFamily="34" charset="0"/>
                  <a:ea typeface="+mn-ea"/>
                  <a:cs typeface="Arial" panose="020B0604020202020204" pitchFamily="34" charset="0"/>
                </a:rPr>
                <a:t>2</a:t>
              </a:r>
            </a:p>
          </p:txBody>
        </p:sp>
      </p:grpSp>
      <p:sp>
        <p:nvSpPr>
          <p:cNvPr id="204" name="Freeform: Shape 203">
            <a:extLst>
              <a:ext uri="{FF2B5EF4-FFF2-40B4-BE49-F238E27FC236}">
                <a16:creationId xmlns:a16="http://schemas.microsoft.com/office/drawing/2014/main" id="{34E7F1D0-F90E-4FAF-BD4B-E5A7BC98F11D}"/>
              </a:ext>
            </a:extLst>
          </p:cNvPr>
          <p:cNvSpPr>
            <a:spLocks/>
          </p:cNvSpPr>
          <p:nvPr/>
        </p:nvSpPr>
        <p:spPr>
          <a:xfrm>
            <a:off x="6504585" y="3537673"/>
            <a:ext cx="1317371" cy="457544"/>
          </a:xfrm>
          <a:custGeom>
            <a:avLst/>
            <a:gdLst>
              <a:gd name="connsiteX0" fmla="*/ 0 w 1540509"/>
              <a:gd name="connsiteY0" fmla="*/ 0 h 535043"/>
              <a:gd name="connsiteX1" fmla="*/ 1540509 w 1540509"/>
              <a:gd name="connsiteY1" fmla="*/ 0 h 535043"/>
              <a:gd name="connsiteX2" fmla="*/ 1528677 w 1540509"/>
              <a:gd name="connsiteY2" fmla="*/ 32328 h 535043"/>
              <a:gd name="connsiteX3" fmla="*/ 854412 w 1540509"/>
              <a:gd name="connsiteY3" fmla="*/ 530795 h 535043"/>
              <a:gd name="connsiteX4" fmla="*/ 770274 w 1540509"/>
              <a:gd name="connsiteY4" fmla="*/ 535043 h 535043"/>
              <a:gd name="connsiteX5" fmla="*/ 770234 w 1540509"/>
              <a:gd name="connsiteY5" fmla="*/ 535043 h 535043"/>
              <a:gd name="connsiteX6" fmla="*/ 686096 w 1540509"/>
              <a:gd name="connsiteY6" fmla="*/ 530795 h 535043"/>
              <a:gd name="connsiteX7" fmla="*/ 11832 w 1540509"/>
              <a:gd name="connsiteY7" fmla="*/ 32328 h 535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0509" h="535043">
                <a:moveTo>
                  <a:pt x="0" y="0"/>
                </a:moveTo>
                <a:lnTo>
                  <a:pt x="1540509" y="0"/>
                </a:lnTo>
                <a:lnTo>
                  <a:pt x="1528677" y="32328"/>
                </a:lnTo>
                <a:cubicBezTo>
                  <a:pt x="1414135" y="303135"/>
                  <a:pt x="1158787" y="499884"/>
                  <a:pt x="854412" y="530795"/>
                </a:cubicBezTo>
                <a:lnTo>
                  <a:pt x="770274" y="535043"/>
                </a:lnTo>
                <a:lnTo>
                  <a:pt x="770234" y="535043"/>
                </a:lnTo>
                <a:lnTo>
                  <a:pt x="686096" y="530795"/>
                </a:lnTo>
                <a:cubicBezTo>
                  <a:pt x="381722" y="499884"/>
                  <a:pt x="126373" y="303135"/>
                  <a:pt x="11832" y="32328"/>
                </a:cubicBezTo>
                <a:close/>
              </a:path>
            </a:pathLst>
          </a:custGeom>
          <a:solidFill>
            <a:schemeClr val="bg1">
              <a:alpha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e-DE" sz="1000" b="1" i="0" u="none" strike="noStrike" kern="1200" cap="none" spc="0" normalizeH="0" baseline="0" noProof="0">
                <a:ln>
                  <a:noFill/>
                </a:ln>
                <a:solidFill>
                  <a:srgbClr val="000000"/>
                </a:solidFill>
                <a:effectLst/>
                <a:uLnTx/>
                <a:uFillTx/>
                <a:latin typeface="Bahnschrift" panose="020B0502040204020203" pitchFamily="34" charset="0"/>
                <a:ea typeface="+mn-ea"/>
                <a:cs typeface="+mn-cs"/>
              </a:rPr>
              <a:t>Raffineriestandort </a:t>
            </a:r>
            <a:br>
              <a:rPr kumimoji="0" lang="de-DE" sz="1000" b="1" i="0" u="none" strike="noStrike" kern="1200" cap="none" spc="0" normalizeH="0" baseline="0" noProof="0">
                <a:ln>
                  <a:noFill/>
                </a:ln>
                <a:solidFill>
                  <a:srgbClr val="000000"/>
                </a:solidFill>
                <a:effectLst/>
                <a:uLnTx/>
                <a:uFillTx/>
                <a:latin typeface="Bahnschrift" panose="020B0502040204020203" pitchFamily="34" charset="0"/>
                <a:ea typeface="+mn-ea"/>
                <a:cs typeface="+mn-cs"/>
              </a:rPr>
            </a:br>
            <a:r>
              <a:rPr kumimoji="0" lang="de-DE" sz="1000" b="1" i="0" u="none" strike="noStrike" kern="1200" cap="none" spc="0" normalizeH="0" baseline="0" noProof="0">
                <a:ln>
                  <a:noFill/>
                </a:ln>
                <a:solidFill>
                  <a:srgbClr val="000000"/>
                </a:solidFill>
                <a:effectLst/>
                <a:uLnTx/>
                <a:uFillTx/>
                <a:latin typeface="Bahnschrift" panose="020B0502040204020203" pitchFamily="34" charset="0"/>
                <a:ea typeface="+mn-ea"/>
                <a:cs typeface="+mn-cs"/>
              </a:rPr>
              <a:t>Schwechat</a:t>
            </a:r>
          </a:p>
        </p:txBody>
      </p:sp>
      <p:pic>
        <p:nvPicPr>
          <p:cNvPr id="183" name="Picture 8">
            <a:extLst>
              <a:ext uri="{FF2B5EF4-FFF2-40B4-BE49-F238E27FC236}">
                <a16:creationId xmlns:a16="http://schemas.microsoft.com/office/drawing/2014/main" id="{CFAC131E-58E5-40E0-8748-7428E2C58FFF}"/>
              </a:ext>
            </a:extLst>
          </p:cNvPr>
          <p:cNvPicPr>
            <a:picLocks noChangeArrowheads="1"/>
          </p:cNvPicPr>
          <p:nvPr/>
        </p:nvPicPr>
        <p:blipFill rotWithShape="1">
          <a:blip r:embed="rId33">
            <a:extLst>
              <a:ext uri="{28A0092B-C50C-407E-A947-70E740481C1C}">
                <a14:useLocalDpi xmlns:a14="http://schemas.microsoft.com/office/drawing/2010/main" val="0"/>
              </a:ext>
            </a:extLst>
          </a:blip>
          <a:srcRect/>
          <a:stretch/>
        </p:blipFill>
        <p:spPr bwMode="auto">
          <a:xfrm>
            <a:off x="8497045" y="1358713"/>
            <a:ext cx="1407762" cy="1407762"/>
          </a:xfrm>
          <a:prstGeom prst="ellipse">
            <a:avLst/>
          </a:prstGeom>
          <a:noFill/>
          <a:ln w="6350" cmpd="sng">
            <a:solidFill>
              <a:srgbClr val="D0D0D0"/>
            </a:solidFill>
          </a:ln>
          <a:extLst>
            <a:ext uri="{909E8E84-426E-40DD-AFC4-6F175D3DCCD1}">
              <a14:hiddenFill xmlns:a14="http://schemas.microsoft.com/office/drawing/2010/main">
                <a:solidFill>
                  <a:srgbClr val="FFFFFF"/>
                </a:solidFill>
              </a14:hiddenFill>
            </a:ext>
          </a:extLst>
        </p:spPr>
      </p:pic>
      <p:sp>
        <p:nvSpPr>
          <p:cNvPr id="91" name="TextBox 90">
            <a:extLst>
              <a:ext uri="{FF2B5EF4-FFF2-40B4-BE49-F238E27FC236}">
                <a16:creationId xmlns:a16="http://schemas.microsoft.com/office/drawing/2014/main" id="{5BE5A898-F94C-4D23-BB4E-7514B14BE92C}"/>
              </a:ext>
            </a:extLst>
          </p:cNvPr>
          <p:cNvSpPr txBox="1">
            <a:spLocks/>
          </p:cNvSpPr>
          <p:nvPr/>
        </p:nvSpPr>
        <p:spPr bwMode="gray">
          <a:xfrm>
            <a:off x="5616833" y="1525319"/>
            <a:ext cx="787455"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tx1"/>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3pPr>
            <a:lvl4pPr marL="548640" lvl="3"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4pPr>
            <a:lvl5pPr marL="731520" lvl="4"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12D44"/>
              </a:buClr>
              <a:buSzPct val="100000"/>
              <a:buFont typeface="Segoe UI" panose="020B0502040204020203" pitchFamily="34" charset="0"/>
              <a:buNone/>
              <a:tabLst/>
              <a:defRPr/>
            </a:pP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Transport</a:t>
            </a:r>
            <a:b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br>
            <a:r>
              <a:rPr kumimoji="0" lang="de-DE" sz="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H</a:t>
            </a:r>
            <a:r>
              <a:rPr kumimoji="0" lang="de-DE" sz="800" b="0" i="0" u="none" strike="noStrike" kern="1200" cap="none" spc="0" normalizeH="0" baseline="-25000" noProof="0" dirty="0">
                <a:ln>
                  <a:noFill/>
                </a:ln>
                <a:solidFill>
                  <a:srgbClr val="000000"/>
                </a:solidFill>
                <a:effectLst/>
                <a:uLnTx/>
                <a:uFillTx/>
                <a:latin typeface="Bahnschrift" panose="020B0502040204020203" pitchFamily="34" charset="0"/>
                <a:ea typeface="+mn-ea"/>
                <a:cs typeface="Arial" panose="020B0604020202020204" pitchFamily="34" charset="0"/>
              </a:rPr>
              <a:t>2</a:t>
            </a:r>
            <a:r>
              <a:rPr kumimoji="0" lang="de-DE" sz="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 oder Bio-/ </a:t>
            </a:r>
            <a:r>
              <a:rPr kumimoji="0" lang="de-DE" sz="800" b="0" i="0" u="none" strike="noStrike" kern="1200" cap="none" spc="0" normalizeH="0" baseline="0" noProof="0" dirty="0" err="1">
                <a:ln>
                  <a:noFill/>
                </a:ln>
                <a:solidFill>
                  <a:srgbClr val="000000"/>
                </a:solidFill>
                <a:effectLst/>
                <a:uLnTx/>
                <a:uFillTx/>
                <a:latin typeface="Bahnschrift" panose="020B0502040204020203" pitchFamily="34" charset="0"/>
                <a:ea typeface="+mn-ea"/>
                <a:cs typeface="Arial" panose="020B0604020202020204" pitchFamily="34" charset="0"/>
              </a:rPr>
              <a:t>Synfuels</a:t>
            </a:r>
            <a:r>
              <a:rPr kumimoji="0" lang="de-DE" sz="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 z.B. für Lastkraftwagen</a:t>
            </a: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endParaRPr>
          </a:p>
        </p:txBody>
      </p:sp>
      <p:pic>
        <p:nvPicPr>
          <p:cNvPr id="101" name="Picture 8" descr="New voestalpine corporate design - voestalpine">
            <a:extLst>
              <a:ext uri="{FF2B5EF4-FFF2-40B4-BE49-F238E27FC236}">
                <a16:creationId xmlns:a16="http://schemas.microsoft.com/office/drawing/2014/main" id="{5B36A006-8C8E-476E-AD38-567A49B25D77}"/>
              </a:ext>
            </a:extLst>
          </p:cNvPr>
          <p:cNvPicPr>
            <a:picLocks noChangeArrowheads="1"/>
          </p:cNvPicPr>
          <p:nvPr/>
        </p:nvPicPr>
        <p:blipFill rotWithShape="1">
          <a:blip r:embed="rId34">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896752" y="1539498"/>
            <a:ext cx="747676" cy="148959"/>
          </a:xfrm>
          <a:prstGeom prst="rect">
            <a:avLst/>
          </a:prstGeom>
          <a:noFill/>
          <a:extLst>
            <a:ext uri="{909E8E84-426E-40DD-AFC4-6F175D3DCCD1}">
              <a14:hiddenFill xmlns:a14="http://schemas.microsoft.com/office/drawing/2010/main">
                <a:solidFill>
                  <a:srgbClr val="FFFFFF"/>
                </a:solidFill>
              </a14:hiddenFill>
            </a:ext>
          </a:extLst>
        </p:spPr>
      </p:pic>
      <p:sp>
        <p:nvSpPr>
          <p:cNvPr id="84" name="TextBox 83">
            <a:extLst>
              <a:ext uri="{FF2B5EF4-FFF2-40B4-BE49-F238E27FC236}">
                <a16:creationId xmlns:a16="http://schemas.microsoft.com/office/drawing/2014/main" id="{D2E87EFA-6F8C-4447-A3B1-96F9724B4663}"/>
              </a:ext>
            </a:extLst>
          </p:cNvPr>
          <p:cNvSpPr txBox="1">
            <a:spLocks/>
          </p:cNvSpPr>
          <p:nvPr/>
        </p:nvSpPr>
        <p:spPr bwMode="gray">
          <a:xfrm>
            <a:off x="896752" y="1217810"/>
            <a:ext cx="2124519"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tx1"/>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3pPr>
            <a:lvl4pPr marL="548640" lvl="3"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4pPr>
            <a:lvl5pPr marL="731520" lvl="4"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12D44"/>
              </a:buClr>
              <a:buSzPct val="100000"/>
              <a:buFont typeface="Segoe UI" panose="020B0502040204020203" pitchFamily="34" charset="0"/>
              <a:buNone/>
              <a:tabLst/>
              <a:defRPr/>
            </a:pP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Grünstahl“ Herstellung</a:t>
            </a:r>
            <a:b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br>
            <a:r>
              <a:rPr kumimoji="0" lang="de-DE" sz="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H</a:t>
            </a:r>
            <a:r>
              <a:rPr kumimoji="0" lang="de-DE" sz="800" b="0" i="0" u="none" strike="noStrike" kern="1200" cap="none" spc="0" normalizeH="0" baseline="-25000" noProof="0" dirty="0">
                <a:ln>
                  <a:noFill/>
                </a:ln>
                <a:solidFill>
                  <a:srgbClr val="000000"/>
                </a:solidFill>
                <a:effectLst/>
                <a:uLnTx/>
                <a:uFillTx/>
                <a:latin typeface="Bahnschrift" panose="020B0502040204020203" pitchFamily="34" charset="0"/>
                <a:ea typeface="+mn-ea"/>
                <a:cs typeface="Arial" panose="020B0604020202020204" pitchFamily="34" charset="0"/>
              </a:rPr>
              <a:t>2</a:t>
            </a:r>
            <a:r>
              <a:rPr kumimoji="0" lang="de-DE" sz="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 Einsatz für emissionsfreien Stahl</a:t>
            </a: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endParaRPr>
          </a:p>
        </p:txBody>
      </p:sp>
      <p:sp>
        <p:nvSpPr>
          <p:cNvPr id="102" name="TextBox 101">
            <a:extLst>
              <a:ext uri="{FF2B5EF4-FFF2-40B4-BE49-F238E27FC236}">
                <a16:creationId xmlns:a16="http://schemas.microsoft.com/office/drawing/2014/main" id="{E01602EA-FAEC-43CC-92EB-284395654C68}"/>
              </a:ext>
            </a:extLst>
          </p:cNvPr>
          <p:cNvSpPr txBox="1">
            <a:spLocks/>
          </p:cNvSpPr>
          <p:nvPr/>
        </p:nvSpPr>
        <p:spPr bwMode="gray">
          <a:xfrm>
            <a:off x="896752" y="1716278"/>
            <a:ext cx="2124519"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tx1"/>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3pPr>
            <a:lvl4pPr marL="548640" lvl="3"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4pPr>
            <a:lvl5pPr marL="731520" lvl="4"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12D44"/>
              </a:buClr>
              <a:buSzPct val="100000"/>
              <a:buFont typeface="Segoe UI" panose="020B0502040204020203" pitchFamily="34" charset="0"/>
              <a:buChar char="​"/>
              <a:tabLst/>
              <a:defRPr/>
            </a:pPr>
            <a:r>
              <a:rPr kumimoji="0" lang="de-DE" sz="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Versuchsanlage in Leoben, Plan für komplett klimaneutrale Produktion bis 2050</a:t>
            </a:r>
          </a:p>
        </p:txBody>
      </p:sp>
      <p:cxnSp>
        <p:nvCxnSpPr>
          <p:cNvPr id="103" name="Straight Connector 102">
            <a:extLst>
              <a:ext uri="{FF2B5EF4-FFF2-40B4-BE49-F238E27FC236}">
                <a16:creationId xmlns:a16="http://schemas.microsoft.com/office/drawing/2014/main" id="{88AC5DE7-DA53-425D-BCD4-43E5D9BA13E4}"/>
              </a:ext>
            </a:extLst>
          </p:cNvPr>
          <p:cNvCxnSpPr>
            <a:cxnSpLocks/>
          </p:cNvCxnSpPr>
          <p:nvPr/>
        </p:nvCxnSpPr>
        <p:spPr>
          <a:xfrm>
            <a:off x="896752" y="1702368"/>
            <a:ext cx="212451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B173FEA4-844C-4AF6-A5AF-6E99060E1C6A}"/>
              </a:ext>
            </a:extLst>
          </p:cNvPr>
          <p:cNvSpPr txBox="1">
            <a:spLocks/>
          </p:cNvSpPr>
          <p:nvPr/>
        </p:nvSpPr>
        <p:spPr bwMode="gray">
          <a:xfrm>
            <a:off x="896752" y="2091855"/>
            <a:ext cx="1835826" cy="36933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tx1"/>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3pPr>
            <a:lvl4pPr marL="548640" lvl="3"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4pPr>
            <a:lvl5pPr marL="731520" lvl="4"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12D44"/>
              </a:buClr>
              <a:buSzPct val="100000"/>
              <a:buFont typeface="Segoe UI" panose="020B0502040204020203" pitchFamily="34" charset="0"/>
              <a:buNone/>
              <a:tabLst/>
              <a:defRPr/>
            </a:pP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Gas (und andere Fossile) als Brückentechnologien</a:t>
            </a: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endParaRPr>
          </a:p>
        </p:txBody>
      </p:sp>
      <p:sp>
        <p:nvSpPr>
          <p:cNvPr id="29" name="TextBox 28">
            <a:extLst>
              <a:ext uri="{FF2B5EF4-FFF2-40B4-BE49-F238E27FC236}">
                <a16:creationId xmlns:a16="http://schemas.microsoft.com/office/drawing/2014/main" id="{2B5102B2-499A-4CA0-BEA0-093062C2F357}"/>
              </a:ext>
            </a:extLst>
          </p:cNvPr>
          <p:cNvSpPr txBox="1">
            <a:spLocks/>
          </p:cNvSpPr>
          <p:nvPr/>
        </p:nvSpPr>
        <p:spPr bwMode="gray">
          <a:xfrm>
            <a:off x="2341501" y="4971990"/>
            <a:ext cx="2218426"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tx1"/>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3pPr>
            <a:lvl4pPr marL="548640" lvl="3"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4pPr>
            <a:lvl5pPr marL="731520" lvl="4"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12D44"/>
              </a:buClr>
              <a:buSzPct val="100000"/>
              <a:buFont typeface="Segoe UI" panose="020B0502040204020203" pitchFamily="34" charset="0"/>
              <a:buChar char="​"/>
              <a:tabLst/>
              <a:defRPr/>
            </a:pPr>
            <a:r>
              <a:rPr kumimoji="0" lang="de-DE" sz="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Größter Elektrolyseur in AT geplant, der ab 2026 stufenweise aus 300 MW Wind- und PV-Leistung bis zu 40.000 t H</a:t>
            </a:r>
            <a:r>
              <a:rPr kumimoji="0" lang="de-DE" sz="800" b="0" i="0" u="none" strike="noStrike" kern="1200" cap="none" spc="0" normalizeH="0" baseline="-25000" noProof="0" dirty="0">
                <a:ln>
                  <a:noFill/>
                </a:ln>
                <a:solidFill>
                  <a:srgbClr val="000000"/>
                </a:solidFill>
                <a:effectLst/>
                <a:uLnTx/>
                <a:uFillTx/>
                <a:latin typeface="Bahnschrift" panose="020B0502040204020203" pitchFamily="34" charset="0"/>
                <a:ea typeface="+mn-ea"/>
                <a:cs typeface="Arial" panose="020B0604020202020204" pitchFamily="34" charset="0"/>
              </a:rPr>
              <a:t>2</a:t>
            </a:r>
            <a:r>
              <a:rPr kumimoji="0" lang="de-DE" sz="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 produzieren soll</a:t>
            </a:r>
          </a:p>
        </p:txBody>
      </p:sp>
      <p:pic>
        <p:nvPicPr>
          <p:cNvPr id="26" name="Picture 25">
            <a:extLst>
              <a:ext uri="{FF2B5EF4-FFF2-40B4-BE49-F238E27FC236}">
                <a16:creationId xmlns:a16="http://schemas.microsoft.com/office/drawing/2014/main" id="{02BF22C7-2430-4C54-BCA5-845CCDC34D93}"/>
              </a:ext>
            </a:extLst>
          </p:cNvPr>
          <p:cNvPicPr>
            <a:picLocks noChangeAspect="1"/>
          </p:cNvPicPr>
          <p:nvPr/>
        </p:nvPicPr>
        <p:blipFill rotWithShape="1">
          <a:blip r:embed="rId35"/>
          <a:srcRect l="7874" t="79327" r="52916" b="11339"/>
          <a:stretch/>
        </p:blipFill>
        <p:spPr bwMode="gray">
          <a:xfrm>
            <a:off x="896752" y="4971990"/>
            <a:ext cx="575127" cy="130442"/>
          </a:xfrm>
          <a:prstGeom prst="rect">
            <a:avLst/>
          </a:prstGeom>
        </p:spPr>
      </p:pic>
      <p:pic>
        <p:nvPicPr>
          <p:cNvPr id="1187846" name="Picture 6" descr="upload.wikimedia.org/wikipedia/commons/d/d6/Ene...">
            <a:extLst>
              <a:ext uri="{FF2B5EF4-FFF2-40B4-BE49-F238E27FC236}">
                <a16:creationId xmlns:a16="http://schemas.microsoft.com/office/drawing/2014/main" id="{E0DCCC07-0515-4A33-9EC6-521289875BE6}"/>
              </a:ext>
            </a:extLst>
          </p:cNvPr>
          <p:cNvPicPr>
            <a:picLocks noChangeAspect="1" noChangeArrowheads="1"/>
          </p:cNvPicPr>
          <p:nvPr/>
        </p:nvPicPr>
        <p:blipFill rotWithShape="1">
          <a:blip r:embed="rId36">
            <a:extLst>
              <a:ext uri="{28A0092B-C50C-407E-A947-70E740481C1C}">
                <a14:useLocalDpi xmlns:a14="http://schemas.microsoft.com/office/drawing/2010/main" val="0"/>
              </a:ext>
            </a:extLst>
          </a:blip>
          <a:srcRect l="5803" t="22041" r="8489" b="29188"/>
          <a:stretch/>
        </p:blipFill>
        <p:spPr bwMode="gray">
          <a:xfrm>
            <a:off x="1378356" y="5111318"/>
            <a:ext cx="729829" cy="195797"/>
          </a:xfrm>
          <a:prstGeom prst="rect">
            <a:avLst/>
          </a:prstGeom>
          <a:noFill/>
          <a:extLst>
            <a:ext uri="{909E8E84-426E-40DD-AFC4-6F175D3DCCD1}">
              <a14:hiddenFill xmlns:a14="http://schemas.microsoft.com/office/drawing/2010/main">
                <a:solidFill>
                  <a:srgbClr val="FFFFFF"/>
                </a:solidFill>
              </a14:hiddenFill>
            </a:ext>
          </a:extLst>
        </p:spPr>
      </p:pic>
      <p:pic>
        <p:nvPicPr>
          <p:cNvPr id="305" name="Picture 12">
            <a:extLst>
              <a:ext uri="{FF2B5EF4-FFF2-40B4-BE49-F238E27FC236}">
                <a16:creationId xmlns:a16="http://schemas.microsoft.com/office/drawing/2014/main" id="{52A696F7-27E1-43EB-8126-B54A456FB16E}"/>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9449603" y="5704317"/>
            <a:ext cx="803712" cy="133115"/>
          </a:xfrm>
          <a:prstGeom prst="rect">
            <a:avLst/>
          </a:prstGeom>
          <a:noFill/>
          <a:extLst>
            <a:ext uri="{909E8E84-426E-40DD-AFC4-6F175D3DCCD1}">
              <a14:hiddenFill xmlns:a14="http://schemas.microsoft.com/office/drawing/2010/main">
                <a:solidFill>
                  <a:srgbClr val="FFFFFF"/>
                </a:solidFill>
              </a14:hiddenFill>
            </a:ext>
          </a:extLst>
        </p:spPr>
      </p:pic>
      <p:sp>
        <p:nvSpPr>
          <p:cNvPr id="341" name="TextBox 340">
            <a:extLst>
              <a:ext uri="{FF2B5EF4-FFF2-40B4-BE49-F238E27FC236}">
                <a16:creationId xmlns:a16="http://schemas.microsoft.com/office/drawing/2014/main" id="{5F80516B-3CD9-4E7C-9877-695C50AAADDA}"/>
              </a:ext>
            </a:extLst>
          </p:cNvPr>
          <p:cNvSpPr txBox="1">
            <a:spLocks/>
          </p:cNvSpPr>
          <p:nvPr/>
        </p:nvSpPr>
        <p:spPr bwMode="gray">
          <a:xfrm>
            <a:off x="9461666" y="5882117"/>
            <a:ext cx="2209800" cy="369332"/>
          </a:xfrm>
          <a:prstGeom prst="rect">
            <a:avLst/>
          </a:prstGeom>
        </p:spPr>
        <p:txBody>
          <a:bodyPr vert="horz" wrap="square" lIns="0" tIns="0" rIns="3600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de-DE" sz="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Produktion von grünen Kunstoffen mit Medizin- und Nahrungsmittelqualitätsgrad auf Basis von </a:t>
            </a:r>
            <a:r>
              <a:rPr kumimoji="0" lang="de-DE" sz="800" b="0" i="0" u="none" strike="noStrike" kern="1200" cap="none" spc="0" normalizeH="0" baseline="0" noProof="0" dirty="0" err="1">
                <a:ln>
                  <a:noFill/>
                </a:ln>
                <a:solidFill>
                  <a:srgbClr val="000000"/>
                </a:solidFill>
                <a:effectLst/>
                <a:uLnTx/>
                <a:uFillTx/>
                <a:latin typeface="Bahnschrift" panose="020B0502040204020203" pitchFamily="34" charset="0"/>
                <a:ea typeface="+mn-ea"/>
                <a:cs typeface="Arial" panose="020B0604020202020204" pitchFamily="34" charset="0"/>
              </a:rPr>
              <a:t>Reyclaten</a:t>
            </a:r>
            <a:endParaRPr kumimoji="0" lang="de-DE" sz="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DABCD231-8755-4C22-80F2-B99B1CCF96A2}"/>
              </a:ext>
            </a:extLst>
          </p:cNvPr>
          <p:cNvSpPr txBox="1"/>
          <p:nvPr/>
        </p:nvSpPr>
        <p:spPr bwMode="gray">
          <a:xfrm>
            <a:off x="7722403" y="5704317"/>
            <a:ext cx="1671085"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tx1"/>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3pPr>
            <a:lvl4pPr marL="548640" lvl="3"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4pPr>
            <a:lvl5pPr marL="731520" lvl="4"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12D44"/>
              </a:buClr>
              <a:buSzPct val="100000"/>
              <a:buFont typeface="Segoe UI" panose="020B0502040204020203" pitchFamily="34" charset="0"/>
              <a:buChar char="​"/>
              <a:tabLst/>
              <a:defRPr/>
            </a:pPr>
            <a:r>
              <a:rPr kumimoji="0" lang="de-DE" sz="800" b="1" i="0" u="none" strike="noStrike" kern="1200" cap="none" spc="0" normalizeH="0" baseline="0" noProof="0" dirty="0" err="1">
                <a:ln>
                  <a:noFill/>
                </a:ln>
                <a:solidFill>
                  <a:srgbClr val="000000"/>
                </a:solidFill>
                <a:effectLst/>
                <a:uLnTx/>
                <a:uFillTx/>
                <a:latin typeface="Bahnschrift" panose="020B0502040204020203" pitchFamily="34" charset="0"/>
                <a:ea typeface="+mn-ea"/>
                <a:cs typeface="Arial" panose="020B0604020202020204" pitchFamily="34" charset="0"/>
              </a:rPr>
              <a:t>ReOil</a:t>
            </a:r>
            <a:r>
              <a:rPr kumimoji="0" lang="de-DE" sz="8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a:t>
            </a:r>
            <a:r>
              <a:rPr kumimoji="0" lang="de-DE" sz="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 </a:t>
            </a:r>
            <a:br>
              <a:rPr kumimoji="0" lang="de-DE" sz="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br>
            <a:r>
              <a:rPr kumimoji="0" lang="de-DE" sz="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Kunststoffrecycling, wobei Input-stoffe für die Raffinerie erzeugt werden  </a:t>
            </a:r>
          </a:p>
        </p:txBody>
      </p:sp>
      <p:sp>
        <p:nvSpPr>
          <p:cNvPr id="325" name="TextBox 324">
            <a:extLst>
              <a:ext uri="{FF2B5EF4-FFF2-40B4-BE49-F238E27FC236}">
                <a16:creationId xmlns:a16="http://schemas.microsoft.com/office/drawing/2014/main" id="{77C736C5-C1B8-4830-81EF-A00A785AFC8B}"/>
              </a:ext>
            </a:extLst>
          </p:cNvPr>
          <p:cNvSpPr txBox="1">
            <a:spLocks/>
          </p:cNvSpPr>
          <p:nvPr/>
        </p:nvSpPr>
        <p:spPr bwMode="gray">
          <a:xfrm>
            <a:off x="9461666" y="5019567"/>
            <a:ext cx="2209800" cy="307777"/>
          </a:xfrm>
          <a:prstGeom prst="rect">
            <a:avLst/>
          </a:prstGeom>
        </p:spPr>
        <p:txBody>
          <a:bodyPr vert="horz" wrap="square" lIns="0" tIns="0" rIns="3600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Grüne Materialien</a:t>
            </a:r>
            <a:br>
              <a:rPr kumimoji="0" lang="de-DE" sz="16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br>
            <a:r>
              <a:rPr kumimoji="0" lang="de-DE" sz="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Chemieproduktion aus gr. Raffinerieprodukten</a:t>
            </a: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endParaRPr>
          </a:p>
        </p:txBody>
      </p:sp>
      <p:cxnSp>
        <p:nvCxnSpPr>
          <p:cNvPr id="326" name="Straight Connector 325">
            <a:extLst>
              <a:ext uri="{FF2B5EF4-FFF2-40B4-BE49-F238E27FC236}">
                <a16:creationId xmlns:a16="http://schemas.microsoft.com/office/drawing/2014/main" id="{5B6C2C66-245A-478F-B188-DFA92C32A6A1}"/>
              </a:ext>
            </a:extLst>
          </p:cNvPr>
          <p:cNvCxnSpPr>
            <a:cxnSpLocks/>
          </p:cNvCxnSpPr>
          <p:nvPr/>
        </p:nvCxnSpPr>
        <p:spPr>
          <a:xfrm>
            <a:off x="9461666" y="5670992"/>
            <a:ext cx="22098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9" name="TextBox 338">
            <a:extLst>
              <a:ext uri="{FF2B5EF4-FFF2-40B4-BE49-F238E27FC236}">
                <a16:creationId xmlns:a16="http://schemas.microsoft.com/office/drawing/2014/main" id="{4D4D07E4-AF88-4F12-9458-DAFA9C4A796E}"/>
              </a:ext>
            </a:extLst>
          </p:cNvPr>
          <p:cNvSpPr txBox="1">
            <a:spLocks/>
          </p:cNvSpPr>
          <p:nvPr/>
        </p:nvSpPr>
        <p:spPr>
          <a:xfrm>
            <a:off x="9461666" y="5496479"/>
            <a:ext cx="2209800" cy="15388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tx1"/>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3pPr>
            <a:lvl4pPr marL="548640" lvl="3"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4pPr>
            <a:lvl5pPr marL="731520" lvl="4"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000" b="1" i="0" u="none" strike="noStrike" kern="1200" cap="none" spc="0" normalizeH="0" baseline="0" noProof="0">
                <a:ln>
                  <a:noFill/>
                </a:ln>
                <a:solidFill>
                  <a:srgbClr val="000000"/>
                </a:solidFill>
                <a:effectLst/>
                <a:uLnTx/>
                <a:uFillTx/>
                <a:latin typeface="Bahnschrift" panose="020B0502040204020203" pitchFamily="34" charset="0"/>
                <a:ea typeface="+mn-ea"/>
                <a:cs typeface="Arial" panose="020B0604020202020204" pitchFamily="34" charset="0"/>
              </a:rPr>
              <a:t>Recycling-Kunststoffe</a:t>
            </a:r>
          </a:p>
        </p:txBody>
      </p:sp>
      <p:sp>
        <p:nvSpPr>
          <p:cNvPr id="253" name="TextBox 252">
            <a:extLst>
              <a:ext uri="{FF2B5EF4-FFF2-40B4-BE49-F238E27FC236}">
                <a16:creationId xmlns:a16="http://schemas.microsoft.com/office/drawing/2014/main" id="{C71A0367-AB6E-4294-B840-3CC5ADE4AF77}"/>
              </a:ext>
            </a:extLst>
          </p:cNvPr>
          <p:cNvSpPr txBox="1">
            <a:spLocks/>
          </p:cNvSpPr>
          <p:nvPr/>
        </p:nvSpPr>
        <p:spPr bwMode="gray">
          <a:xfrm>
            <a:off x="7183691" y="5019567"/>
            <a:ext cx="2209799" cy="430887"/>
          </a:xfrm>
          <a:prstGeom prst="rect">
            <a:avLst/>
          </a:prstGeom>
        </p:spPr>
        <p:txBody>
          <a:bodyPr vert="horz" wrap="square" lIns="0" tIns="0" rIns="3600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de-DE" sz="1200" b="1" i="0" u="none" strike="noStrike" kern="1200" cap="none" spc="0" normalizeH="0" baseline="0" noProof="0" dirty="0" err="1">
                <a:ln>
                  <a:noFill/>
                </a:ln>
                <a:solidFill>
                  <a:srgbClr val="000000"/>
                </a:solidFill>
                <a:effectLst/>
                <a:uLnTx/>
                <a:uFillTx/>
                <a:latin typeface="Bahnschrift" panose="020B0502040204020203" pitchFamily="34" charset="0"/>
                <a:ea typeface="+mn-ea"/>
                <a:cs typeface="Arial" panose="020B0604020202020204" pitchFamily="34" charset="0"/>
              </a:rPr>
              <a:t>Chemcycling</a:t>
            </a:r>
            <a:b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br>
            <a:r>
              <a:rPr kumimoji="0" lang="de-DE" sz="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Nutzung von Plastikrückständen als Ausgangsprodukt</a:t>
            </a: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endParaRPr>
          </a:p>
        </p:txBody>
      </p:sp>
      <p:cxnSp>
        <p:nvCxnSpPr>
          <p:cNvPr id="447" name="Straight Connector 446">
            <a:extLst>
              <a:ext uri="{FF2B5EF4-FFF2-40B4-BE49-F238E27FC236}">
                <a16:creationId xmlns:a16="http://schemas.microsoft.com/office/drawing/2014/main" id="{151A3C40-0E87-43EE-AA90-8CFC1D8F782C}"/>
              </a:ext>
            </a:extLst>
          </p:cNvPr>
          <p:cNvCxnSpPr>
            <a:cxnSpLocks/>
          </p:cNvCxnSpPr>
          <p:nvPr/>
        </p:nvCxnSpPr>
        <p:spPr>
          <a:xfrm>
            <a:off x="7183690" y="5670992"/>
            <a:ext cx="2209800"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40" name="TextBox 339">
            <a:extLst>
              <a:ext uri="{FF2B5EF4-FFF2-40B4-BE49-F238E27FC236}">
                <a16:creationId xmlns:a16="http://schemas.microsoft.com/office/drawing/2014/main" id="{16AFBD7C-7FC8-46FE-A263-67F79FF58DD1}"/>
              </a:ext>
            </a:extLst>
          </p:cNvPr>
          <p:cNvSpPr txBox="1">
            <a:spLocks/>
          </p:cNvSpPr>
          <p:nvPr/>
        </p:nvSpPr>
        <p:spPr>
          <a:xfrm>
            <a:off x="7183690" y="5496479"/>
            <a:ext cx="2209799"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tx1"/>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3pPr>
            <a:lvl4pPr marL="548640" lvl="3"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4pPr>
            <a:lvl5pPr marL="731520" lvl="4"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de-DE" sz="1000" b="1" i="0" u="none" strike="noStrike" kern="1200" cap="none" spc="0" normalizeH="0" baseline="0" noProof="0">
                <a:ln>
                  <a:noFill/>
                </a:ln>
                <a:solidFill>
                  <a:srgbClr val="000000"/>
                </a:solidFill>
                <a:effectLst/>
                <a:uLnTx/>
                <a:uFillTx/>
                <a:latin typeface="Bahnschrift" panose="020B0502040204020203" pitchFamily="34" charset="0"/>
                <a:ea typeface="+mn-ea"/>
                <a:cs typeface="Arial" panose="020B0604020202020204" pitchFamily="34" charset="0"/>
              </a:rPr>
              <a:t>Kunststoffrecycling</a:t>
            </a:r>
          </a:p>
        </p:txBody>
      </p:sp>
      <p:pic>
        <p:nvPicPr>
          <p:cNvPr id="250" name="Picture 68">
            <a:extLst>
              <a:ext uri="{FF2B5EF4-FFF2-40B4-BE49-F238E27FC236}">
                <a16:creationId xmlns:a16="http://schemas.microsoft.com/office/drawing/2014/main" id="{2AEFE9A0-AFD7-4B24-9EDB-44C73C992A31}"/>
              </a:ext>
            </a:extLst>
          </p:cNvPr>
          <p:cNvPicPr>
            <a:picLocks noChangeArrowheads="1"/>
          </p:cNvPicPr>
          <p:nvPr/>
        </p:nvPicPr>
        <p:blipFill>
          <a:blip r:embed="rId38">
            <a:extLst>
              <a:ext uri="{28A0092B-C50C-407E-A947-70E740481C1C}">
                <a14:useLocalDpi xmlns:a14="http://schemas.microsoft.com/office/drawing/2010/main" val="0"/>
              </a:ext>
            </a:extLst>
          </a:blip>
          <a:srcRect/>
          <a:stretch>
            <a:fillRect/>
          </a:stretch>
        </p:blipFill>
        <p:spPr bwMode="gray">
          <a:xfrm>
            <a:off x="7183690" y="5704317"/>
            <a:ext cx="327067" cy="231985"/>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12">
            <a:extLst>
              <a:ext uri="{FF2B5EF4-FFF2-40B4-BE49-F238E27FC236}">
                <a16:creationId xmlns:a16="http://schemas.microsoft.com/office/drawing/2014/main" id="{37657013-B086-4F0E-A3C5-88572BD48A02}"/>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7183690" y="5979615"/>
            <a:ext cx="460749" cy="76311"/>
          </a:xfrm>
          <a:prstGeom prst="rect">
            <a:avLst/>
          </a:prstGeom>
          <a:noFill/>
          <a:extLst>
            <a:ext uri="{909E8E84-426E-40DD-AFC4-6F175D3DCCD1}">
              <a14:hiddenFill xmlns:a14="http://schemas.microsoft.com/office/drawing/2010/main">
                <a:solidFill>
                  <a:srgbClr val="FFFFFF"/>
                </a:solidFill>
              </a14:hiddenFill>
            </a:ext>
          </a:extLst>
        </p:spPr>
      </p:pic>
      <p:pic>
        <p:nvPicPr>
          <p:cNvPr id="1240077" name="Picture 13" descr="Reclay Österreich">
            <a:extLst>
              <a:ext uri="{FF2B5EF4-FFF2-40B4-BE49-F238E27FC236}">
                <a16:creationId xmlns:a16="http://schemas.microsoft.com/office/drawing/2014/main" id="{852DA896-00F2-2156-7811-1272DA09BF84}"/>
              </a:ext>
            </a:extLst>
          </p:cNvPr>
          <p:cNvPicPr>
            <a:picLocks noChangeAspect="1" noChangeArrowheads="1"/>
          </p:cNvPicPr>
          <p:nvPr/>
        </p:nvPicPr>
        <p:blipFill rotWithShape="1">
          <a:blip r:embed="rId39">
            <a:extLst>
              <a:ext uri="{28A0092B-C50C-407E-A947-70E740481C1C}">
                <a14:useLocalDpi xmlns:a14="http://schemas.microsoft.com/office/drawing/2010/main" val="0"/>
              </a:ext>
            </a:extLst>
          </a:blip>
          <a:srcRect/>
          <a:stretch/>
        </p:blipFill>
        <p:spPr bwMode="auto">
          <a:xfrm>
            <a:off x="7183690" y="6092494"/>
            <a:ext cx="460749" cy="136914"/>
          </a:xfrm>
          <a:prstGeom prst="rect">
            <a:avLst/>
          </a:prstGeom>
          <a:noFill/>
          <a:extLst>
            <a:ext uri="{909E8E84-426E-40DD-AFC4-6F175D3DCCD1}">
              <a14:hiddenFill xmlns:a14="http://schemas.microsoft.com/office/drawing/2010/main">
                <a:solidFill>
                  <a:srgbClr val="FFFFFF"/>
                </a:solidFill>
              </a14:hiddenFill>
            </a:ext>
          </a:extLst>
        </p:spPr>
      </p:pic>
      <p:cxnSp>
        <p:nvCxnSpPr>
          <p:cNvPr id="1187866" name="Straight Connector 1187865">
            <a:extLst>
              <a:ext uri="{FF2B5EF4-FFF2-40B4-BE49-F238E27FC236}">
                <a16:creationId xmlns:a16="http://schemas.microsoft.com/office/drawing/2014/main" id="{7903C987-D791-451D-910B-6922A45A2DBA}"/>
              </a:ext>
            </a:extLst>
          </p:cNvPr>
          <p:cNvCxnSpPr>
            <a:cxnSpLocks/>
          </p:cNvCxnSpPr>
          <p:nvPr/>
        </p:nvCxnSpPr>
        <p:spPr>
          <a:xfrm>
            <a:off x="896752" y="4938665"/>
            <a:ext cx="366317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87766DA9-250A-4A52-A986-61D2B5617938}"/>
              </a:ext>
            </a:extLst>
          </p:cNvPr>
          <p:cNvSpPr txBox="1">
            <a:spLocks/>
          </p:cNvSpPr>
          <p:nvPr/>
        </p:nvSpPr>
        <p:spPr>
          <a:xfrm>
            <a:off x="896752" y="4764152"/>
            <a:ext cx="3663175" cy="15388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tx1"/>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3pPr>
            <a:lvl4pPr marL="548640" lvl="3"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4pPr>
            <a:lvl5pPr marL="731520" lvl="4"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0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Schon heute: H</a:t>
            </a:r>
            <a:r>
              <a:rPr kumimoji="0" lang="de-DE" sz="1000" b="1" i="0" u="none" strike="noStrike" kern="1200" cap="none" spc="0" normalizeH="0" baseline="-25000" noProof="0" dirty="0">
                <a:ln>
                  <a:noFill/>
                </a:ln>
                <a:solidFill>
                  <a:srgbClr val="000000"/>
                </a:solidFill>
                <a:effectLst/>
                <a:uLnTx/>
                <a:uFillTx/>
                <a:latin typeface="Bahnschrift" panose="020B0502040204020203" pitchFamily="34" charset="0"/>
                <a:ea typeface="+mn-ea"/>
                <a:cs typeface="Arial" panose="020B0604020202020204" pitchFamily="34" charset="0"/>
              </a:rPr>
              <a:t>2</a:t>
            </a:r>
            <a:r>
              <a:rPr kumimoji="0" lang="de-DE" sz="10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 in Österreich</a:t>
            </a:r>
          </a:p>
        </p:txBody>
      </p:sp>
      <p:sp>
        <p:nvSpPr>
          <p:cNvPr id="299" name="TextBox 298">
            <a:extLst>
              <a:ext uri="{FF2B5EF4-FFF2-40B4-BE49-F238E27FC236}">
                <a16:creationId xmlns:a16="http://schemas.microsoft.com/office/drawing/2014/main" id="{670E529F-50D7-487D-AA33-11564BF6DC4B}"/>
              </a:ext>
            </a:extLst>
          </p:cNvPr>
          <p:cNvSpPr txBox="1">
            <a:spLocks/>
          </p:cNvSpPr>
          <p:nvPr/>
        </p:nvSpPr>
        <p:spPr>
          <a:xfrm>
            <a:off x="896752" y="5361411"/>
            <a:ext cx="3663175" cy="15388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tx1"/>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3pPr>
            <a:lvl4pPr marL="548640" lvl="3"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4pPr>
            <a:lvl5pPr marL="731520" lvl="4"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0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Mittelfristig: H</a:t>
            </a:r>
            <a:r>
              <a:rPr kumimoji="0" lang="de-DE" sz="1000" b="1" i="0" u="none" strike="noStrike" kern="1200" cap="none" spc="0" normalizeH="0" baseline="-25000" noProof="0" dirty="0">
                <a:ln>
                  <a:noFill/>
                </a:ln>
                <a:solidFill>
                  <a:srgbClr val="000000"/>
                </a:solidFill>
                <a:effectLst/>
                <a:uLnTx/>
                <a:uFillTx/>
                <a:latin typeface="Bahnschrift" panose="020B0502040204020203" pitchFamily="34" charset="0"/>
                <a:ea typeface="+mn-ea"/>
                <a:cs typeface="Arial" panose="020B0604020202020204" pitchFamily="34" charset="0"/>
              </a:rPr>
              <a:t>2</a:t>
            </a:r>
            <a:r>
              <a:rPr kumimoji="0" lang="de-DE" sz="10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 Import und Beispiele industrielle Nutzer</a:t>
            </a:r>
          </a:p>
        </p:txBody>
      </p:sp>
      <p:cxnSp>
        <p:nvCxnSpPr>
          <p:cNvPr id="314" name="Straight Connector 313">
            <a:extLst>
              <a:ext uri="{FF2B5EF4-FFF2-40B4-BE49-F238E27FC236}">
                <a16:creationId xmlns:a16="http://schemas.microsoft.com/office/drawing/2014/main" id="{22911F4B-0F39-4309-B65E-5F6636774D3F}"/>
              </a:ext>
            </a:extLst>
          </p:cNvPr>
          <p:cNvCxnSpPr>
            <a:cxnSpLocks/>
          </p:cNvCxnSpPr>
          <p:nvPr/>
        </p:nvCxnSpPr>
        <p:spPr>
          <a:xfrm flipV="1">
            <a:off x="896752" y="5540699"/>
            <a:ext cx="366317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22CFCAD1-6869-4B5D-BCE0-822E00F50AF7}"/>
              </a:ext>
            </a:extLst>
          </p:cNvPr>
          <p:cNvSpPr txBox="1">
            <a:spLocks/>
          </p:cNvSpPr>
          <p:nvPr/>
        </p:nvSpPr>
        <p:spPr bwMode="gray">
          <a:xfrm>
            <a:off x="2341501" y="5569249"/>
            <a:ext cx="2218426"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tx1"/>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3pPr>
            <a:lvl4pPr marL="548640" lvl="3"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4pPr>
            <a:lvl5pPr marL="731520" lvl="4"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12D44"/>
              </a:buClr>
              <a:buSzPct val="100000"/>
              <a:buFont typeface="Segoe UI" panose="020B0502040204020203" pitchFamily="34" charset="0"/>
              <a:buNone/>
              <a:tabLst/>
              <a:defRPr/>
            </a:pPr>
            <a:r>
              <a:rPr kumimoji="0" lang="de-DE" sz="800" b="0" i="0" u="none" strike="noStrike" kern="1200" cap="none" spc="0" normalizeH="0" baseline="0" noProof="0" dirty="0" err="1">
                <a:ln>
                  <a:noFill/>
                </a:ln>
                <a:solidFill>
                  <a:srgbClr val="000000"/>
                </a:solidFill>
                <a:effectLst/>
                <a:uLnTx/>
                <a:uFillTx/>
                <a:latin typeface="Bahnschrift" panose="020B0502040204020203" pitchFamily="34" charset="0"/>
                <a:ea typeface="+mn-ea"/>
                <a:cs typeface="Arial" panose="020B0604020202020204" pitchFamily="34" charset="0"/>
              </a:rPr>
              <a:t>Großskalige</a:t>
            </a:r>
            <a:r>
              <a:rPr kumimoji="0" lang="de-DE" sz="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 H</a:t>
            </a:r>
            <a:r>
              <a:rPr kumimoji="0" lang="de-DE" sz="800" b="0" i="0" u="none" strike="noStrike" kern="1200" cap="none" spc="0" normalizeH="0" baseline="-25000" noProof="0" dirty="0">
                <a:ln>
                  <a:noFill/>
                </a:ln>
                <a:solidFill>
                  <a:srgbClr val="000000"/>
                </a:solidFill>
                <a:effectLst/>
                <a:uLnTx/>
                <a:uFillTx/>
                <a:latin typeface="Bahnschrift" panose="020B0502040204020203" pitchFamily="34" charset="0"/>
                <a:ea typeface="+mn-ea"/>
                <a:cs typeface="Arial" panose="020B0604020202020204" pitchFamily="34" charset="0"/>
              </a:rPr>
              <a:t>2</a:t>
            </a:r>
            <a:r>
              <a:rPr kumimoji="0" lang="de-DE" sz="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Pipelineimporte zu </a:t>
            </a:r>
            <a:r>
              <a:rPr kumimoji="0" lang="de-DE" sz="800" b="0" i="0" u="none" strike="noStrike" kern="1200" cap="none" spc="0" normalizeH="0" baseline="0" noProof="0" dirty="0" err="1">
                <a:ln>
                  <a:noFill/>
                </a:ln>
                <a:solidFill>
                  <a:srgbClr val="000000"/>
                </a:solidFill>
                <a:effectLst/>
                <a:uLnTx/>
                <a:uFillTx/>
                <a:latin typeface="Bahnschrift" panose="020B0502040204020203" pitchFamily="34" charset="0"/>
                <a:ea typeface="+mn-ea"/>
                <a:cs typeface="Arial" panose="020B0604020202020204" pitchFamily="34" charset="0"/>
              </a:rPr>
              <a:t>wettbe-werbsfähigen</a:t>
            </a:r>
            <a:r>
              <a:rPr kumimoji="0" lang="de-DE" sz="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 Kosten, v.a. aus Nordafrika und der Nordseeregion, etwa durch Kooperation von u.a. Verbund, OMV, Voestalpine</a:t>
            </a:r>
          </a:p>
        </p:txBody>
      </p:sp>
      <p:grpSp>
        <p:nvGrpSpPr>
          <p:cNvPr id="1240081" name="Group 1240080">
            <a:extLst>
              <a:ext uri="{FF2B5EF4-FFF2-40B4-BE49-F238E27FC236}">
                <a16:creationId xmlns:a16="http://schemas.microsoft.com/office/drawing/2014/main" id="{29782FB1-5D79-44CA-8196-D32852BC18CB}"/>
              </a:ext>
            </a:extLst>
          </p:cNvPr>
          <p:cNvGrpSpPr/>
          <p:nvPr/>
        </p:nvGrpSpPr>
        <p:grpSpPr>
          <a:xfrm>
            <a:off x="896752" y="5569249"/>
            <a:ext cx="1421737" cy="387260"/>
            <a:chOff x="554736" y="5578133"/>
            <a:chExt cx="1421737" cy="387260"/>
          </a:xfrm>
        </p:grpSpPr>
        <p:grpSp>
          <p:nvGrpSpPr>
            <p:cNvPr id="1240076" name="Group 1240075">
              <a:extLst>
                <a:ext uri="{FF2B5EF4-FFF2-40B4-BE49-F238E27FC236}">
                  <a16:creationId xmlns:a16="http://schemas.microsoft.com/office/drawing/2014/main" id="{81A619F0-472C-4976-96AC-41C8675A8B0C}"/>
                </a:ext>
              </a:extLst>
            </p:cNvPr>
            <p:cNvGrpSpPr/>
            <p:nvPr/>
          </p:nvGrpSpPr>
          <p:grpSpPr>
            <a:xfrm>
              <a:off x="554736" y="5578133"/>
              <a:ext cx="1421737" cy="387260"/>
              <a:chOff x="554736" y="5578133"/>
              <a:chExt cx="1421737" cy="387260"/>
            </a:xfrm>
          </p:grpSpPr>
          <p:pic>
            <p:nvPicPr>
              <p:cNvPr id="97" name="Picture 8" descr="New voestalpine corporate design - voestalpine">
                <a:extLst>
                  <a:ext uri="{FF2B5EF4-FFF2-40B4-BE49-F238E27FC236}">
                    <a16:creationId xmlns:a16="http://schemas.microsoft.com/office/drawing/2014/main" id="{53AA154A-F054-4247-A012-6AC6923EBC0C}"/>
                  </a:ext>
                </a:extLst>
              </p:cNvPr>
              <p:cNvPicPr>
                <a:picLocks noChangeArrowheads="1"/>
              </p:cNvPicPr>
              <p:nvPr/>
            </p:nvPicPr>
            <p:blipFill rotWithShape="1">
              <a:blip r:embed="rId34">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1228797" y="5578133"/>
                <a:ext cx="747676" cy="148959"/>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0" descr="OMV – Wikipedia">
                <a:extLst>
                  <a:ext uri="{FF2B5EF4-FFF2-40B4-BE49-F238E27FC236}">
                    <a16:creationId xmlns:a16="http://schemas.microsoft.com/office/drawing/2014/main" id="{ACF4E4B3-7477-48CD-858A-222D69D9FE44}"/>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601491" y="5750853"/>
                <a:ext cx="294547" cy="21454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2">
                <a:extLst>
                  <a:ext uri="{FF2B5EF4-FFF2-40B4-BE49-F238E27FC236}">
                    <a16:creationId xmlns:a16="http://schemas.microsoft.com/office/drawing/2014/main" id="{AA45A0D9-3BFD-4E0D-8F7E-03C54E562DF9}"/>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1036340" y="5793581"/>
                <a:ext cx="635645" cy="105279"/>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105">
                <a:extLst>
                  <a:ext uri="{FF2B5EF4-FFF2-40B4-BE49-F238E27FC236}">
                    <a16:creationId xmlns:a16="http://schemas.microsoft.com/office/drawing/2014/main" id="{40013D05-D39F-4B53-A793-1B755D6F90C9}"/>
                  </a:ext>
                </a:extLst>
              </p:cNvPr>
              <p:cNvPicPr>
                <a:picLocks noChangeAspect="1"/>
              </p:cNvPicPr>
              <p:nvPr/>
            </p:nvPicPr>
            <p:blipFill rotWithShape="1">
              <a:blip r:embed="rId35"/>
              <a:srcRect l="7874" t="79327" r="52916" b="11339"/>
              <a:stretch/>
            </p:blipFill>
            <p:spPr bwMode="gray">
              <a:xfrm>
                <a:off x="554736" y="5588334"/>
                <a:ext cx="575127" cy="130442"/>
              </a:xfrm>
              <a:prstGeom prst="rect">
                <a:avLst/>
              </a:prstGeom>
            </p:spPr>
          </p:pic>
        </p:grpSp>
        <p:grpSp>
          <p:nvGrpSpPr>
            <p:cNvPr id="57" name="Group 56">
              <a:extLst>
                <a:ext uri="{FF2B5EF4-FFF2-40B4-BE49-F238E27FC236}">
                  <a16:creationId xmlns:a16="http://schemas.microsoft.com/office/drawing/2014/main" id="{A648F1EB-0512-49C9-8158-B9503A80FEF8}"/>
                </a:ext>
              </a:extLst>
            </p:cNvPr>
            <p:cNvGrpSpPr/>
            <p:nvPr/>
          </p:nvGrpSpPr>
          <p:grpSpPr>
            <a:xfrm>
              <a:off x="1824649" y="5791559"/>
              <a:ext cx="151824" cy="151824"/>
              <a:chOff x="2291783" y="5791559"/>
              <a:chExt cx="151824" cy="151824"/>
            </a:xfrm>
          </p:grpSpPr>
          <p:sp>
            <p:nvSpPr>
              <p:cNvPr id="3" name="Oval 2">
                <a:extLst>
                  <a:ext uri="{FF2B5EF4-FFF2-40B4-BE49-F238E27FC236}">
                    <a16:creationId xmlns:a16="http://schemas.microsoft.com/office/drawing/2014/main" id="{0AB3D952-03AA-4CC7-AFD3-9F7344C7A097}"/>
                  </a:ext>
                </a:extLst>
              </p:cNvPr>
              <p:cNvSpPr/>
              <p:nvPr/>
            </p:nvSpPr>
            <p:spPr>
              <a:xfrm>
                <a:off x="2291783" y="5791559"/>
                <a:ext cx="151824" cy="151824"/>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Bahnschrift" panose="020B0502040204020203" pitchFamily="34" charset="0"/>
                  <a:ea typeface="+mn-ea"/>
                  <a:cs typeface="+mn-cs"/>
                </a:endParaRPr>
              </a:p>
            </p:txBody>
          </p:sp>
          <p:pic>
            <p:nvPicPr>
              <p:cNvPr id="7" name="Graphic 6">
                <a:extLst>
                  <a:ext uri="{FF2B5EF4-FFF2-40B4-BE49-F238E27FC236}">
                    <a16:creationId xmlns:a16="http://schemas.microsoft.com/office/drawing/2014/main" id="{5716FD10-B96C-4DA0-BB2F-746181CC81BA}"/>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2294700" y="5794476"/>
                <a:ext cx="145989" cy="145989"/>
              </a:xfrm>
              <a:prstGeom prst="rect">
                <a:avLst/>
              </a:prstGeom>
            </p:spPr>
          </p:pic>
        </p:grpSp>
      </p:grpSp>
      <p:sp>
        <p:nvSpPr>
          <p:cNvPr id="147" name="TextBox 146">
            <a:extLst>
              <a:ext uri="{FF2B5EF4-FFF2-40B4-BE49-F238E27FC236}">
                <a16:creationId xmlns:a16="http://schemas.microsoft.com/office/drawing/2014/main" id="{092EFCAD-5C10-4025-B547-738B0EF056A4}"/>
              </a:ext>
            </a:extLst>
          </p:cNvPr>
          <p:cNvSpPr txBox="1">
            <a:spLocks/>
          </p:cNvSpPr>
          <p:nvPr/>
        </p:nvSpPr>
        <p:spPr bwMode="gray">
          <a:xfrm>
            <a:off x="4772170" y="4242790"/>
            <a:ext cx="2225983" cy="430887"/>
          </a:xfrm>
          <a:prstGeom prst="rect">
            <a:avLst/>
          </a:prstGeom>
        </p:spPr>
        <p:txBody>
          <a:bodyPr vert="horz" wrap="square" lIns="0" tIns="0" rIns="3600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Kraftstoff-Synthese</a:t>
            </a:r>
            <a:b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br>
            <a:r>
              <a:rPr kumimoji="0" lang="de-DE" sz="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Produktion klimaneutraler Kraftstoffe z.B. aus Wasserstoff oder über Recycling</a:t>
            </a: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endParaRPr>
          </a:p>
        </p:txBody>
      </p:sp>
      <p:cxnSp>
        <p:nvCxnSpPr>
          <p:cNvPr id="148" name="Straight Connector 147">
            <a:extLst>
              <a:ext uri="{FF2B5EF4-FFF2-40B4-BE49-F238E27FC236}">
                <a16:creationId xmlns:a16="http://schemas.microsoft.com/office/drawing/2014/main" id="{DAEE4FA2-E6A6-426C-B435-2B30B8ADBEB9}"/>
              </a:ext>
            </a:extLst>
          </p:cNvPr>
          <p:cNvCxnSpPr>
            <a:cxnSpLocks/>
          </p:cNvCxnSpPr>
          <p:nvPr/>
        </p:nvCxnSpPr>
        <p:spPr>
          <a:xfrm>
            <a:off x="4772171" y="4938665"/>
            <a:ext cx="2225983"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9" name="TextBox 148">
            <a:extLst>
              <a:ext uri="{FF2B5EF4-FFF2-40B4-BE49-F238E27FC236}">
                <a16:creationId xmlns:a16="http://schemas.microsoft.com/office/drawing/2014/main" id="{62BB88F1-38C0-469D-B1B8-F8414B77520E}"/>
              </a:ext>
            </a:extLst>
          </p:cNvPr>
          <p:cNvSpPr txBox="1">
            <a:spLocks/>
          </p:cNvSpPr>
          <p:nvPr/>
        </p:nvSpPr>
        <p:spPr>
          <a:xfrm>
            <a:off x="4772170" y="4764152"/>
            <a:ext cx="2225983"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tx1"/>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3pPr>
            <a:lvl4pPr marL="548640" lvl="3"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4pPr>
            <a:lvl5pPr marL="731520" lvl="4"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000" b="1" i="0" u="none" strike="noStrike" kern="1200" cap="none" spc="0" normalizeH="0" baseline="0" noProof="0">
                <a:ln>
                  <a:noFill/>
                </a:ln>
                <a:solidFill>
                  <a:srgbClr val="000000"/>
                </a:solidFill>
                <a:effectLst/>
                <a:uLnTx/>
                <a:uFillTx/>
                <a:latin typeface="Bahnschrift" panose="020B0502040204020203" pitchFamily="34" charset="0"/>
                <a:ea typeface="+mn-ea"/>
                <a:cs typeface="Arial" panose="020B0604020202020204" pitchFamily="34" charset="0"/>
              </a:rPr>
              <a:t>Schon heute: Bio-Kraftstoffe</a:t>
            </a:r>
          </a:p>
        </p:txBody>
      </p:sp>
      <p:sp>
        <p:nvSpPr>
          <p:cNvPr id="150" name="TextBox 149">
            <a:extLst>
              <a:ext uri="{FF2B5EF4-FFF2-40B4-BE49-F238E27FC236}">
                <a16:creationId xmlns:a16="http://schemas.microsoft.com/office/drawing/2014/main" id="{B0D44107-D6D9-40A2-86A0-3C2F9F372662}"/>
              </a:ext>
            </a:extLst>
          </p:cNvPr>
          <p:cNvSpPr txBox="1">
            <a:spLocks/>
          </p:cNvSpPr>
          <p:nvPr/>
        </p:nvSpPr>
        <p:spPr bwMode="gray">
          <a:xfrm>
            <a:off x="4772170" y="4971990"/>
            <a:ext cx="2225983" cy="246221"/>
          </a:xfrm>
          <a:prstGeom prst="rect">
            <a:avLst/>
          </a:prstGeom>
        </p:spPr>
        <p:txBody>
          <a:bodyPr vert="horz" wrap="square" lIns="0" tIns="0" rIns="3600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de-DE" sz="800" b="0" i="0" u="none" strike="noStrike" kern="1200" cap="none" spc="-20" normalizeH="0" baseline="0" noProof="0">
                <a:ln>
                  <a:noFill/>
                </a:ln>
                <a:solidFill>
                  <a:srgbClr val="000000"/>
                </a:solidFill>
                <a:effectLst/>
                <a:uLnTx/>
                <a:uFillTx/>
                <a:latin typeface="Bahnschrift" panose="020B0502040204020203" pitchFamily="34" charset="0"/>
                <a:ea typeface="+mn-ea"/>
                <a:cs typeface="Arial" panose="020B0604020202020204" pitchFamily="34" charset="0"/>
              </a:rPr>
              <a:t>Gewinnung von Kraftstoffen aus Pflanzenöl und –abfällen (HVO), etwa für Blending in Diesel („E10“) </a:t>
            </a:r>
          </a:p>
        </p:txBody>
      </p:sp>
      <p:sp>
        <p:nvSpPr>
          <p:cNvPr id="151" name="TextBox 150">
            <a:extLst>
              <a:ext uri="{FF2B5EF4-FFF2-40B4-BE49-F238E27FC236}">
                <a16:creationId xmlns:a16="http://schemas.microsoft.com/office/drawing/2014/main" id="{3631465B-ED77-4CE6-B148-E95591E8B009}"/>
              </a:ext>
            </a:extLst>
          </p:cNvPr>
          <p:cNvSpPr txBox="1">
            <a:spLocks/>
          </p:cNvSpPr>
          <p:nvPr/>
        </p:nvSpPr>
        <p:spPr>
          <a:xfrm>
            <a:off x="4772170" y="5361411"/>
            <a:ext cx="2225983"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tx1"/>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3pPr>
            <a:lvl4pPr marL="548640" lvl="3"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4pPr>
            <a:lvl5pPr marL="731520" lvl="4"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0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Mittelfristig: Synthetische Kraftstoffe</a:t>
            </a:r>
          </a:p>
        </p:txBody>
      </p:sp>
      <p:sp>
        <p:nvSpPr>
          <p:cNvPr id="152" name="TextBox 151">
            <a:extLst>
              <a:ext uri="{FF2B5EF4-FFF2-40B4-BE49-F238E27FC236}">
                <a16:creationId xmlns:a16="http://schemas.microsoft.com/office/drawing/2014/main" id="{EEDC5338-4A0D-413B-A113-0A0F84491907}"/>
              </a:ext>
            </a:extLst>
          </p:cNvPr>
          <p:cNvSpPr txBox="1">
            <a:spLocks/>
          </p:cNvSpPr>
          <p:nvPr/>
        </p:nvSpPr>
        <p:spPr bwMode="gray">
          <a:xfrm>
            <a:off x="4772170" y="5569249"/>
            <a:ext cx="2225983" cy="246221"/>
          </a:xfrm>
          <a:prstGeom prst="rect">
            <a:avLst/>
          </a:prstGeom>
        </p:spPr>
        <p:txBody>
          <a:bodyPr vert="horz" wrap="square" lIns="0" tIns="0" rIns="3600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de-DE" sz="800" b="0" i="0" u="none" strike="noStrike" kern="1200" cap="none" spc="0" normalizeH="0" baseline="0" noProof="0">
                <a:ln>
                  <a:noFill/>
                </a:ln>
                <a:solidFill>
                  <a:srgbClr val="000000"/>
                </a:solidFill>
                <a:effectLst/>
                <a:uLnTx/>
                <a:uFillTx/>
                <a:latin typeface="Bahnschrift" panose="020B0502040204020203" pitchFamily="34" charset="0"/>
                <a:ea typeface="+mn-ea"/>
                <a:cs typeface="Arial" panose="020B0604020202020204" pitchFamily="34" charset="0"/>
              </a:rPr>
              <a:t>Gewinnung von Synfuels als Treibstoff in der Luftfahrt oder Transport</a:t>
            </a:r>
          </a:p>
        </p:txBody>
      </p:sp>
      <p:cxnSp>
        <p:nvCxnSpPr>
          <p:cNvPr id="153" name="Straight Connector 152">
            <a:extLst>
              <a:ext uri="{FF2B5EF4-FFF2-40B4-BE49-F238E27FC236}">
                <a16:creationId xmlns:a16="http://schemas.microsoft.com/office/drawing/2014/main" id="{0EE7FFF0-11D1-41DD-BFF0-D4EE1E0CCD26}"/>
              </a:ext>
            </a:extLst>
          </p:cNvPr>
          <p:cNvCxnSpPr>
            <a:cxnSpLocks/>
          </p:cNvCxnSpPr>
          <p:nvPr/>
        </p:nvCxnSpPr>
        <p:spPr>
          <a:xfrm>
            <a:off x="4772171" y="5535924"/>
            <a:ext cx="2225983"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786A27FA-A793-402E-8FFE-00CB0B9356CE}"/>
              </a:ext>
            </a:extLst>
          </p:cNvPr>
          <p:cNvCxnSpPr>
            <a:cxnSpLocks/>
          </p:cNvCxnSpPr>
          <p:nvPr/>
        </p:nvCxnSpPr>
        <p:spPr>
          <a:xfrm>
            <a:off x="4772171" y="5848795"/>
            <a:ext cx="2225983"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5" name="TextBox 154">
            <a:extLst>
              <a:ext uri="{FF2B5EF4-FFF2-40B4-BE49-F238E27FC236}">
                <a16:creationId xmlns:a16="http://schemas.microsoft.com/office/drawing/2014/main" id="{21345F7F-363E-47AC-B88E-CC34B6B96912}"/>
              </a:ext>
            </a:extLst>
          </p:cNvPr>
          <p:cNvSpPr txBox="1">
            <a:spLocks/>
          </p:cNvSpPr>
          <p:nvPr/>
        </p:nvSpPr>
        <p:spPr bwMode="gray">
          <a:xfrm>
            <a:off x="5363311" y="5882117"/>
            <a:ext cx="1634843"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tx1"/>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3pPr>
            <a:lvl4pPr marL="548640" lvl="3"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4pPr>
            <a:lvl5pPr marL="731520" lvl="4"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12D44"/>
              </a:buClr>
              <a:buSzPct val="100000"/>
              <a:buFont typeface="Segoe UI" panose="020B0502040204020203" pitchFamily="34" charset="0"/>
              <a:buNone/>
              <a:tabLst/>
              <a:defRPr/>
            </a:pPr>
            <a:r>
              <a:rPr kumimoji="0" lang="de-DE" sz="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Partnerschaft Lufthansa &amp; OMV zur Lieferung von 800 </a:t>
            </a:r>
            <a:r>
              <a:rPr kumimoji="0" lang="de-DE" sz="800" b="0" i="0" u="none" strike="noStrike" kern="1200" cap="none" spc="0" normalizeH="0" baseline="0" noProof="0" dirty="0" err="1">
                <a:ln>
                  <a:noFill/>
                </a:ln>
                <a:solidFill>
                  <a:srgbClr val="000000"/>
                </a:solidFill>
                <a:effectLst/>
                <a:uLnTx/>
                <a:uFillTx/>
                <a:latin typeface="Bahnschrift" panose="020B0502040204020203" pitchFamily="34" charset="0"/>
                <a:ea typeface="+mn-ea"/>
                <a:cs typeface="Arial" panose="020B0604020202020204" pitchFamily="34" charset="0"/>
              </a:rPr>
              <a:t>kt</a:t>
            </a:r>
            <a:r>
              <a:rPr kumimoji="0" lang="de-DE" sz="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 SAF (ca. 20% Verbrauch LH 2021) von 2023-2030</a:t>
            </a:r>
          </a:p>
        </p:txBody>
      </p:sp>
      <p:grpSp>
        <p:nvGrpSpPr>
          <p:cNvPr id="19" name="Group 18">
            <a:extLst>
              <a:ext uri="{FF2B5EF4-FFF2-40B4-BE49-F238E27FC236}">
                <a16:creationId xmlns:a16="http://schemas.microsoft.com/office/drawing/2014/main" id="{871026A9-AFDB-C04D-53E2-3EA0E8F31161}"/>
              </a:ext>
            </a:extLst>
          </p:cNvPr>
          <p:cNvGrpSpPr/>
          <p:nvPr/>
        </p:nvGrpSpPr>
        <p:grpSpPr>
          <a:xfrm>
            <a:off x="4772170" y="5882117"/>
            <a:ext cx="624056" cy="361488"/>
            <a:chOff x="4429390" y="5882117"/>
            <a:chExt cx="624056" cy="361488"/>
          </a:xfrm>
        </p:grpSpPr>
        <p:pic>
          <p:nvPicPr>
            <p:cNvPr id="156" name="Picture 68">
              <a:extLst>
                <a:ext uri="{FF2B5EF4-FFF2-40B4-BE49-F238E27FC236}">
                  <a16:creationId xmlns:a16="http://schemas.microsoft.com/office/drawing/2014/main" id="{A5097249-D3C6-47BE-AF05-0DB23545F35D}"/>
                </a:ext>
              </a:extLst>
            </p:cNvPr>
            <p:cNvPicPr>
              <a:picLocks noChangeArrowheads="1"/>
            </p:cNvPicPr>
            <p:nvPr/>
          </p:nvPicPr>
          <p:blipFill>
            <a:blip r:embed="rId38">
              <a:extLst>
                <a:ext uri="{28A0092B-C50C-407E-A947-70E740481C1C}">
                  <a14:useLocalDpi xmlns:a14="http://schemas.microsoft.com/office/drawing/2010/main" val="0"/>
                </a:ext>
              </a:extLst>
            </a:blip>
            <a:srcRect/>
            <a:stretch>
              <a:fillRect/>
            </a:stretch>
          </p:blipFill>
          <p:spPr bwMode="gray">
            <a:xfrm>
              <a:off x="4429390" y="5882117"/>
              <a:ext cx="253832" cy="180040"/>
            </a:xfrm>
            <a:prstGeom prst="rect">
              <a:avLst/>
            </a:prstGeom>
            <a:noFill/>
            <a:extLst>
              <a:ext uri="{909E8E84-426E-40DD-AFC4-6F175D3DCCD1}">
                <a14:hiddenFill xmlns:a14="http://schemas.microsoft.com/office/drawing/2010/main">
                  <a:solidFill>
                    <a:srgbClr val="FFFFFF"/>
                  </a:solidFill>
                </a14:hiddenFill>
              </a:ext>
            </a:extLst>
          </p:spPr>
        </p:pic>
        <p:pic>
          <p:nvPicPr>
            <p:cNvPr id="157" name="Picture 2" descr="Lufthansa Logo 2018">
              <a:extLst>
                <a:ext uri="{FF2B5EF4-FFF2-40B4-BE49-F238E27FC236}">
                  <a16:creationId xmlns:a16="http://schemas.microsoft.com/office/drawing/2014/main" id="{C3B6A6FE-B4A3-4880-AB3F-2F16E0B16A4B}"/>
                </a:ext>
              </a:extLst>
            </p:cNvPr>
            <p:cNvPicPr>
              <a:picLocks noChangeAspect="1" noChangeArrowheads="1"/>
            </p:cNvPicPr>
            <p:nvPr/>
          </p:nvPicPr>
          <p:blipFill rotWithShape="1">
            <a:blip r:embed="rId43">
              <a:extLst>
                <a:ext uri="{28A0092B-C50C-407E-A947-70E740481C1C}">
                  <a14:useLocalDpi xmlns:a14="http://schemas.microsoft.com/office/drawing/2010/main" val="0"/>
                </a:ext>
              </a:extLst>
            </a:blip>
            <a:srcRect r="81389"/>
            <a:stretch/>
          </p:blipFill>
          <p:spPr bwMode="gray">
            <a:xfrm>
              <a:off x="4789687" y="5882117"/>
              <a:ext cx="230844" cy="218352"/>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11" descr="Book now and discover the most beautiful destinations | Austrian Airlines">
              <a:extLst>
                <a:ext uri="{FF2B5EF4-FFF2-40B4-BE49-F238E27FC236}">
                  <a16:creationId xmlns:a16="http://schemas.microsoft.com/office/drawing/2014/main" id="{0626917D-F7AF-469B-83FE-F901AD348C2B}"/>
                </a:ext>
              </a:extLst>
            </p:cNvPr>
            <p:cNvPicPr>
              <a:picLocks noChangeAspect="1" noChangeArrowheads="1"/>
            </p:cNvPicPr>
            <p:nvPr/>
          </p:nvPicPr>
          <p:blipFill rotWithShape="1">
            <a:blip r:embed="rId44">
              <a:extLst>
                <a:ext uri="{28A0092B-C50C-407E-A947-70E740481C1C}">
                  <a14:useLocalDpi xmlns:a14="http://schemas.microsoft.com/office/drawing/2010/main" val="0"/>
                </a:ext>
              </a:extLst>
            </a:blip>
            <a:srcRect/>
            <a:stretch/>
          </p:blipFill>
          <p:spPr bwMode="auto">
            <a:xfrm>
              <a:off x="4429390" y="6128387"/>
              <a:ext cx="624056" cy="11521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3" name="Group 42">
            <a:extLst>
              <a:ext uri="{FF2B5EF4-FFF2-40B4-BE49-F238E27FC236}">
                <a16:creationId xmlns:a16="http://schemas.microsoft.com/office/drawing/2014/main" id="{97E6BD16-CBFF-47B6-B5C4-25D48A1F369C}"/>
              </a:ext>
            </a:extLst>
          </p:cNvPr>
          <p:cNvGrpSpPr/>
          <p:nvPr/>
        </p:nvGrpSpPr>
        <p:grpSpPr>
          <a:xfrm>
            <a:off x="4267073" y="3093448"/>
            <a:ext cx="2326848" cy="366318"/>
            <a:chOff x="5403559" y="3220448"/>
            <a:chExt cx="1467595" cy="366318"/>
          </a:xfrm>
        </p:grpSpPr>
        <p:sp>
          <p:nvSpPr>
            <p:cNvPr id="192" name="Freeform: Shape 191">
              <a:extLst>
                <a:ext uri="{FF2B5EF4-FFF2-40B4-BE49-F238E27FC236}">
                  <a16:creationId xmlns:a16="http://schemas.microsoft.com/office/drawing/2014/main" id="{538D174F-55B6-4458-87EA-053454A61E57}"/>
                </a:ext>
              </a:extLst>
            </p:cNvPr>
            <p:cNvSpPr/>
            <p:nvPr>
              <p:custDataLst>
                <p:tags r:id="rId13"/>
              </p:custDataLst>
            </p:nvPr>
          </p:nvSpPr>
          <p:spPr>
            <a:xfrm>
              <a:off x="5403559" y="3220448"/>
              <a:ext cx="1467595" cy="366318"/>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2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2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2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58375 w 1828800"/>
                <a:gd name="connsiteY5" fmla="*/ 457202 h 914400"/>
                <a:gd name="connsiteX0" fmla="*/ 0 w 1828800"/>
                <a:gd name="connsiteY0" fmla="*/ 0 h 914400"/>
                <a:gd name="connsiteX1" fmla="*/ 177042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58375 w 1828800"/>
                <a:gd name="connsiteY5" fmla="*/ 457202 h 914400"/>
                <a:gd name="connsiteX0" fmla="*/ 0 w 1828800"/>
                <a:gd name="connsiteY0" fmla="*/ 0 h 914400"/>
                <a:gd name="connsiteX1" fmla="*/ 1770425 w 1828800"/>
                <a:gd name="connsiteY1" fmla="*/ 0 h 914400"/>
                <a:gd name="connsiteX2" fmla="*/ 1828800 w 1828800"/>
                <a:gd name="connsiteY2" fmla="*/ 457200 h 914400"/>
                <a:gd name="connsiteX3" fmla="*/ 1770425 w 1828800"/>
                <a:gd name="connsiteY3" fmla="*/ 914400 h 914400"/>
                <a:gd name="connsiteX4" fmla="*/ 0 w 1828800"/>
                <a:gd name="connsiteY4" fmla="*/ 914400 h 914400"/>
                <a:gd name="connsiteX5" fmla="*/ 58375 w 1828800"/>
                <a:gd name="connsiteY5" fmla="*/ 457202 h 914400"/>
                <a:gd name="connsiteX0" fmla="*/ 0 w 1828800"/>
                <a:gd name="connsiteY0" fmla="*/ 0 h 914400"/>
                <a:gd name="connsiteX1" fmla="*/ 1770425 w 1828800"/>
                <a:gd name="connsiteY1" fmla="*/ 0 h 914400"/>
                <a:gd name="connsiteX2" fmla="*/ 1828800 w 1828800"/>
                <a:gd name="connsiteY2" fmla="*/ 457200 h 914400"/>
                <a:gd name="connsiteX3" fmla="*/ 177042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042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56658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56658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56658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0 w 1828800"/>
                <a:gd name="connsiteY5" fmla="*/ 457202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72142" y="0"/>
                  </a:lnTo>
                  <a:lnTo>
                    <a:pt x="1828800" y="457200"/>
                  </a:lnTo>
                  <a:lnTo>
                    <a:pt x="1772142" y="914400"/>
                  </a:lnTo>
                  <a:lnTo>
                    <a:pt x="0" y="914400"/>
                  </a:lnTo>
                  <a:lnTo>
                    <a:pt x="0" y="457202"/>
                  </a:lnTo>
                  <a:close/>
                </a:path>
              </a:pathLst>
            </a:cu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000" b="0" i="0" u="none" strike="noStrike" kern="1200" cap="none" spc="0" normalizeH="0" baseline="0" noProof="0" err="1">
                <a:ln>
                  <a:noFill/>
                </a:ln>
                <a:solidFill>
                  <a:srgbClr val="000000"/>
                </a:solidFill>
                <a:effectLst/>
                <a:uLnTx/>
                <a:uFillTx/>
                <a:latin typeface="Bahnschrift" panose="020B0502040204020203" pitchFamily="34" charset="0"/>
                <a:ea typeface="+mn-ea"/>
                <a:cs typeface="+mn-cs"/>
              </a:endParaRPr>
            </a:p>
          </p:txBody>
        </p:sp>
        <p:sp>
          <p:nvSpPr>
            <p:cNvPr id="193" name="TextBox 192">
              <a:extLst>
                <a:ext uri="{FF2B5EF4-FFF2-40B4-BE49-F238E27FC236}">
                  <a16:creationId xmlns:a16="http://schemas.microsoft.com/office/drawing/2014/main" id="{F939554E-826D-45D3-8405-BA3D21B857DF}"/>
                </a:ext>
              </a:extLst>
            </p:cNvPr>
            <p:cNvSpPr txBox="1"/>
            <p:nvPr>
              <p:custDataLst>
                <p:tags r:id="rId14"/>
              </p:custDataLst>
            </p:nvPr>
          </p:nvSpPr>
          <p:spPr>
            <a:xfrm>
              <a:off x="5457861" y="3245886"/>
              <a:ext cx="1367825" cy="315441"/>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tx1"/>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3pPr>
              <a:lvl4pPr marL="548640" lvl="3"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4pPr>
              <a:lvl5pPr marL="731520" lvl="4"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000" b="1" i="0" u="none" strike="noStrike" kern="1200" cap="none" spc="0" normalizeH="0" baseline="0" noProof="0" dirty="0">
                  <a:ln>
                    <a:noFill/>
                  </a:ln>
                  <a:solidFill>
                    <a:srgbClr val="FFFFFF"/>
                  </a:solidFill>
                  <a:effectLst/>
                  <a:uLnTx/>
                  <a:uFillTx/>
                  <a:latin typeface="Bahnschrift" panose="020B0502040204020203" pitchFamily="34" charset="0"/>
                  <a:ea typeface="+mn-ea"/>
                  <a:cs typeface="Arial" panose="020B0604020202020204" pitchFamily="34" charset="0"/>
                </a:rPr>
                <a:t>             “</a:t>
              </a:r>
              <a:r>
                <a:rPr kumimoji="0" lang="en-US" sz="1000" b="1" i="0" u="none" strike="noStrike" kern="1200" cap="none" spc="0" normalizeH="0" baseline="0" noProof="0" dirty="0" err="1">
                  <a:ln>
                    <a:noFill/>
                  </a:ln>
                  <a:solidFill>
                    <a:srgbClr val="FFFFFF"/>
                  </a:solidFill>
                  <a:effectLst/>
                  <a:uLnTx/>
                  <a:uFillTx/>
                  <a:latin typeface="Bahnschrift" panose="020B0502040204020203" pitchFamily="34" charset="0"/>
                  <a:ea typeface="+mn-ea"/>
                  <a:cs typeface="Arial" panose="020B0604020202020204" pitchFamily="34" charset="0"/>
                </a:rPr>
                <a:t>Grüner</a:t>
              </a:r>
              <a:r>
                <a:rPr kumimoji="0" lang="en-US" sz="1000" b="1" i="0" u="none" strike="noStrike" kern="1200" cap="none" spc="0" normalizeH="0" baseline="0" noProof="0" dirty="0">
                  <a:ln>
                    <a:noFill/>
                  </a:ln>
                  <a:solidFill>
                    <a:srgbClr val="FFFFFF"/>
                  </a:solidFill>
                  <a:effectLst/>
                  <a:uLnTx/>
                  <a:uFillTx/>
                  <a:latin typeface="Bahnschrift" panose="020B0502040204020203" pitchFamily="34" charset="0"/>
                  <a:ea typeface="+mn-ea"/>
                  <a:cs typeface="Arial" panose="020B0604020202020204" pitchFamily="34" charset="0"/>
                </a:rPr>
                <a:t>” H</a:t>
              </a:r>
              <a:r>
                <a:rPr kumimoji="0" lang="en-US" sz="1000" b="1" i="0" u="none" strike="noStrike" kern="1200" cap="none" spc="0" normalizeH="0" baseline="-25000" noProof="0" dirty="0">
                  <a:ln>
                    <a:noFill/>
                  </a:ln>
                  <a:solidFill>
                    <a:srgbClr val="FFFFFF"/>
                  </a:solidFill>
                  <a:effectLst/>
                  <a:uLnTx/>
                  <a:uFillTx/>
                  <a:latin typeface="Bahnschrift" panose="020B0502040204020203" pitchFamily="34" charset="0"/>
                  <a:ea typeface="+mn-ea"/>
                  <a:cs typeface="Arial" panose="020B0604020202020204" pitchFamily="34" charset="0"/>
                </a:rPr>
                <a:t>2</a:t>
              </a:r>
            </a:p>
          </p:txBody>
        </p:sp>
      </p:grpSp>
      <p:pic>
        <p:nvPicPr>
          <p:cNvPr id="182" name="Picture 181">
            <a:extLst>
              <a:ext uri="{FF2B5EF4-FFF2-40B4-BE49-F238E27FC236}">
                <a16:creationId xmlns:a16="http://schemas.microsoft.com/office/drawing/2014/main" id="{829872CF-A86C-4999-8A27-E3D648060CDC}"/>
              </a:ext>
            </a:extLst>
          </p:cNvPr>
          <p:cNvPicPr>
            <a:picLocks/>
          </p:cNvPicPr>
          <p:nvPr/>
        </p:nvPicPr>
        <p:blipFill rotWithShape="1">
          <a:blip r:embed="rId45"/>
          <a:srcRect l="6816" r="34070"/>
          <a:stretch/>
        </p:blipFill>
        <p:spPr>
          <a:xfrm>
            <a:off x="3785087" y="2586990"/>
            <a:ext cx="1407762" cy="1407762"/>
          </a:xfrm>
          <a:prstGeom prst="ellipse">
            <a:avLst/>
          </a:prstGeom>
          <a:ln w="6350" cmpd="sng">
            <a:solidFill>
              <a:srgbClr val="D0D0D0"/>
            </a:solidFill>
          </a:ln>
        </p:spPr>
      </p:pic>
      <p:sp>
        <p:nvSpPr>
          <p:cNvPr id="53" name="TextBox 52">
            <a:extLst>
              <a:ext uri="{FF2B5EF4-FFF2-40B4-BE49-F238E27FC236}">
                <a16:creationId xmlns:a16="http://schemas.microsoft.com/office/drawing/2014/main" id="{56F7B700-F5D6-4FDA-940A-6A2D9393C753}"/>
              </a:ext>
            </a:extLst>
          </p:cNvPr>
          <p:cNvSpPr txBox="1">
            <a:spLocks/>
          </p:cNvSpPr>
          <p:nvPr/>
        </p:nvSpPr>
        <p:spPr bwMode="gray">
          <a:xfrm>
            <a:off x="2484757" y="3466416"/>
            <a:ext cx="1429300" cy="15388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tx1"/>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3pPr>
            <a:lvl4pPr marL="548640" lvl="3"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4pPr>
            <a:lvl5pPr marL="731520" lvl="4"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12D44"/>
              </a:buClr>
              <a:buSzPct val="100000"/>
              <a:buFont typeface="Segoe UI" panose="020B0502040204020203" pitchFamily="34" charset="0"/>
              <a:buChar char="​"/>
              <a:tabLst/>
              <a:defRPr/>
            </a:pPr>
            <a:r>
              <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Mit PEM oder Alkali</a:t>
            </a:r>
          </a:p>
        </p:txBody>
      </p:sp>
      <p:sp>
        <p:nvSpPr>
          <p:cNvPr id="15" name="Freeform: Shape 14">
            <a:extLst>
              <a:ext uri="{FF2B5EF4-FFF2-40B4-BE49-F238E27FC236}">
                <a16:creationId xmlns:a16="http://schemas.microsoft.com/office/drawing/2014/main" id="{A968E3CE-285C-4AAA-B4CE-B1A02E2701B3}"/>
              </a:ext>
            </a:extLst>
          </p:cNvPr>
          <p:cNvSpPr>
            <a:spLocks/>
          </p:cNvSpPr>
          <p:nvPr>
            <p:custDataLst>
              <p:tags r:id="rId6"/>
            </p:custDataLst>
          </p:nvPr>
        </p:nvSpPr>
        <p:spPr>
          <a:xfrm>
            <a:off x="2484757" y="3106346"/>
            <a:ext cx="1429300" cy="353419"/>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2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2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2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58375 w 1828800"/>
              <a:gd name="connsiteY5" fmla="*/ 457202 h 914400"/>
              <a:gd name="connsiteX0" fmla="*/ 0 w 1828800"/>
              <a:gd name="connsiteY0" fmla="*/ 0 h 914400"/>
              <a:gd name="connsiteX1" fmla="*/ 177042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58375 w 1828800"/>
              <a:gd name="connsiteY5" fmla="*/ 457202 h 914400"/>
              <a:gd name="connsiteX0" fmla="*/ 0 w 1828800"/>
              <a:gd name="connsiteY0" fmla="*/ 0 h 914400"/>
              <a:gd name="connsiteX1" fmla="*/ 1770425 w 1828800"/>
              <a:gd name="connsiteY1" fmla="*/ 0 h 914400"/>
              <a:gd name="connsiteX2" fmla="*/ 1828800 w 1828800"/>
              <a:gd name="connsiteY2" fmla="*/ 457200 h 914400"/>
              <a:gd name="connsiteX3" fmla="*/ 1770425 w 1828800"/>
              <a:gd name="connsiteY3" fmla="*/ 914400 h 914400"/>
              <a:gd name="connsiteX4" fmla="*/ 0 w 1828800"/>
              <a:gd name="connsiteY4" fmla="*/ 914400 h 914400"/>
              <a:gd name="connsiteX5" fmla="*/ 58375 w 1828800"/>
              <a:gd name="connsiteY5" fmla="*/ 457202 h 914400"/>
              <a:gd name="connsiteX0" fmla="*/ 0 w 1828800"/>
              <a:gd name="connsiteY0" fmla="*/ 0 h 914400"/>
              <a:gd name="connsiteX1" fmla="*/ 1770425 w 1828800"/>
              <a:gd name="connsiteY1" fmla="*/ 0 h 914400"/>
              <a:gd name="connsiteX2" fmla="*/ 1828800 w 1828800"/>
              <a:gd name="connsiteY2" fmla="*/ 457200 h 914400"/>
              <a:gd name="connsiteX3" fmla="*/ 177042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0425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56658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56658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56658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72142 w 1828800"/>
              <a:gd name="connsiteY1" fmla="*/ 0 h 914400"/>
              <a:gd name="connsiteX2" fmla="*/ 1828800 w 1828800"/>
              <a:gd name="connsiteY2" fmla="*/ 457200 h 914400"/>
              <a:gd name="connsiteX3" fmla="*/ 1772142 w 1828800"/>
              <a:gd name="connsiteY3" fmla="*/ 914400 h 914400"/>
              <a:gd name="connsiteX4" fmla="*/ 0 w 1828800"/>
              <a:gd name="connsiteY4" fmla="*/ 914400 h 914400"/>
              <a:gd name="connsiteX5" fmla="*/ 0 w 1828800"/>
              <a:gd name="connsiteY5" fmla="*/ 457202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72142" y="0"/>
                </a:lnTo>
                <a:lnTo>
                  <a:pt x="1828800" y="457200"/>
                </a:lnTo>
                <a:lnTo>
                  <a:pt x="1772142" y="914400"/>
                </a:lnTo>
                <a:lnTo>
                  <a:pt x="0" y="914400"/>
                </a:lnTo>
                <a:lnTo>
                  <a:pt x="0" y="457202"/>
                </a:lnTo>
                <a:close/>
              </a:path>
            </a:pathLst>
          </a:cu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Bahnschrift" panose="020B0502040204020203" pitchFamily="34" charset="0"/>
              <a:ea typeface="+mn-ea"/>
              <a:cs typeface="+mn-cs"/>
            </a:endParaRPr>
          </a:p>
        </p:txBody>
      </p:sp>
      <p:sp>
        <p:nvSpPr>
          <p:cNvPr id="18" name="TextBox 17">
            <a:extLst>
              <a:ext uri="{FF2B5EF4-FFF2-40B4-BE49-F238E27FC236}">
                <a16:creationId xmlns:a16="http://schemas.microsoft.com/office/drawing/2014/main" id="{D6011E9E-AB41-482D-B12A-CA89A94A7AA3}"/>
              </a:ext>
            </a:extLst>
          </p:cNvPr>
          <p:cNvSpPr txBox="1"/>
          <p:nvPr>
            <p:custDataLst>
              <p:tags r:id="rId7"/>
            </p:custDataLst>
          </p:nvPr>
        </p:nvSpPr>
        <p:spPr>
          <a:xfrm>
            <a:off x="2552700" y="3130826"/>
            <a:ext cx="1361357" cy="307777"/>
          </a:xfrm>
          <a:prstGeom prst="rect">
            <a:avLst/>
          </a:prstGeom>
          <a:solidFill>
            <a:schemeClr val="accent1"/>
          </a:solidFill>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tx1"/>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3pPr>
            <a:lvl4pPr marL="548640" lvl="3"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4pPr>
            <a:lvl5pPr marL="731520" lvl="4"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000" b="1" i="0" u="none" strike="noStrike" kern="1200" cap="none" spc="0" normalizeH="0" baseline="0" noProof="0" dirty="0" err="1">
                <a:ln>
                  <a:noFill/>
                </a:ln>
                <a:solidFill>
                  <a:srgbClr val="FFFFFF"/>
                </a:solidFill>
                <a:effectLst/>
                <a:uLnTx/>
                <a:uFillTx/>
                <a:latin typeface="Bahnschrift" panose="020B0502040204020203" pitchFamily="34" charset="0"/>
                <a:ea typeface="+mn-ea"/>
                <a:cs typeface="Arial" panose="020B0604020202020204" pitchFamily="34" charset="0"/>
              </a:rPr>
              <a:t>Klimaneutraler</a:t>
            </a:r>
            <a:r>
              <a:rPr kumimoji="0" lang="en-US" sz="1000" b="1" i="0" u="none" strike="noStrike" kern="1200" cap="none" spc="0" normalizeH="0" baseline="0" noProof="0" dirty="0">
                <a:ln>
                  <a:noFill/>
                </a:ln>
                <a:solidFill>
                  <a:srgbClr val="FFFFFF"/>
                </a:solidFill>
                <a:effectLst/>
                <a:uLnTx/>
                <a:uFillTx/>
                <a:latin typeface="Bahnschrift" panose="020B0502040204020203" pitchFamily="34" charset="0"/>
                <a:ea typeface="+mn-ea"/>
                <a:cs typeface="Arial" panose="020B0604020202020204" pitchFamily="34" charset="0"/>
              </a:rPr>
              <a:t> Strom/ </a:t>
            </a:r>
            <a:r>
              <a:rPr kumimoji="0" lang="en-US" sz="1000" b="1" i="0" u="none" strike="noStrike" kern="1200" cap="none" spc="0" normalizeH="0" baseline="0" noProof="0" dirty="0" err="1">
                <a:ln>
                  <a:noFill/>
                </a:ln>
                <a:solidFill>
                  <a:srgbClr val="FFFFFF"/>
                </a:solidFill>
                <a:effectLst/>
                <a:uLnTx/>
                <a:uFillTx/>
                <a:latin typeface="Bahnschrift" panose="020B0502040204020203" pitchFamily="34" charset="0"/>
                <a:ea typeface="+mn-ea"/>
                <a:cs typeface="Arial" panose="020B0604020202020204" pitchFamily="34" charset="0"/>
              </a:rPr>
              <a:t>kliman</a:t>
            </a:r>
            <a:r>
              <a:rPr kumimoji="0" lang="en-US" sz="1000" b="1" i="0" u="none" strike="noStrike" kern="1200" cap="none" spc="0" normalizeH="0" baseline="0" noProof="0" dirty="0">
                <a:ln>
                  <a:noFill/>
                </a:ln>
                <a:solidFill>
                  <a:srgbClr val="FFFFFF"/>
                </a:solidFill>
                <a:effectLst/>
                <a:uLnTx/>
                <a:uFillTx/>
                <a:latin typeface="Bahnschrift" panose="020B0502040204020203" pitchFamily="34" charset="0"/>
                <a:ea typeface="+mn-ea"/>
                <a:cs typeface="Arial" panose="020B0604020202020204" pitchFamily="34" charset="0"/>
              </a:rPr>
              <a:t>. </a:t>
            </a:r>
            <a:r>
              <a:rPr kumimoji="0" lang="en-US" sz="1000" b="1" i="0" u="none" strike="noStrike" kern="1200" cap="none" spc="0" normalizeH="0" baseline="0" noProof="0" dirty="0">
                <a:ln>
                  <a:noFill/>
                </a:ln>
                <a:solidFill>
                  <a:prstClr val="white"/>
                </a:solidFill>
                <a:effectLst/>
                <a:uLnTx/>
                <a:uFillTx/>
                <a:latin typeface="Bahnschrift" panose="020B0502040204020203" pitchFamily="34" charset="0"/>
                <a:ea typeface="+mn-ea"/>
                <a:cs typeface="Arial" panose="020B0604020202020204" pitchFamily="34" charset="0"/>
              </a:rPr>
              <a:t>H</a:t>
            </a:r>
            <a:r>
              <a:rPr kumimoji="0" lang="en-US" sz="1000" b="1" i="0" u="none" strike="noStrike" kern="1200" cap="none" spc="0" normalizeH="0" baseline="-25000" noProof="0" dirty="0">
                <a:ln>
                  <a:noFill/>
                </a:ln>
                <a:solidFill>
                  <a:prstClr val="white"/>
                </a:solidFill>
                <a:effectLst/>
                <a:uLnTx/>
                <a:uFillTx/>
                <a:latin typeface="Bahnschrift" panose="020B0502040204020203" pitchFamily="34" charset="0"/>
                <a:ea typeface="+mn-ea"/>
                <a:cs typeface="Arial" panose="020B0604020202020204" pitchFamily="34" charset="0"/>
              </a:rPr>
              <a:t>2 </a:t>
            </a:r>
            <a:r>
              <a:rPr kumimoji="0" lang="en-US" sz="1000" b="1" i="0" u="none" strike="noStrike" kern="1200" cap="none" spc="0" normalizeH="0" baseline="0" noProof="0" dirty="0">
                <a:ln>
                  <a:noFill/>
                </a:ln>
                <a:solidFill>
                  <a:prstClr val="white"/>
                </a:solidFill>
                <a:effectLst/>
                <a:uLnTx/>
                <a:uFillTx/>
                <a:latin typeface="Bahnschrift" panose="020B0502040204020203" pitchFamily="34" charset="0"/>
                <a:ea typeface="+mn-ea"/>
                <a:cs typeface="Arial" panose="020B0604020202020204" pitchFamily="34" charset="0"/>
              </a:rPr>
              <a:t>Import </a:t>
            </a:r>
          </a:p>
        </p:txBody>
      </p:sp>
      <p:pic>
        <p:nvPicPr>
          <p:cNvPr id="181" name="Picture 180">
            <a:extLst>
              <a:ext uri="{FF2B5EF4-FFF2-40B4-BE49-F238E27FC236}">
                <a16:creationId xmlns:a16="http://schemas.microsoft.com/office/drawing/2014/main" id="{58A4F439-66C5-4A65-8DD5-19C7EDC7CFEB}"/>
              </a:ext>
            </a:extLst>
          </p:cNvPr>
          <p:cNvPicPr>
            <a:picLocks/>
          </p:cNvPicPr>
          <p:nvPr/>
        </p:nvPicPr>
        <p:blipFill rotWithShape="1">
          <a:blip r:embed="rId46"/>
          <a:srcRect l="25720" r="25720"/>
          <a:stretch/>
        </p:blipFill>
        <p:spPr>
          <a:xfrm>
            <a:off x="1110784" y="2586990"/>
            <a:ext cx="1407762" cy="1407762"/>
          </a:xfrm>
          <a:prstGeom prst="ellipse">
            <a:avLst/>
          </a:prstGeom>
          <a:ln w="6350" cmpd="sng">
            <a:solidFill>
              <a:srgbClr val="D0D0D0"/>
            </a:solidFill>
          </a:ln>
        </p:spPr>
      </p:pic>
      <p:grpSp>
        <p:nvGrpSpPr>
          <p:cNvPr id="71" name="Group 70">
            <a:extLst>
              <a:ext uri="{FF2B5EF4-FFF2-40B4-BE49-F238E27FC236}">
                <a16:creationId xmlns:a16="http://schemas.microsoft.com/office/drawing/2014/main" id="{18783105-4C96-47A0-B1B9-11E65F4BD37D}"/>
              </a:ext>
            </a:extLst>
          </p:cNvPr>
          <p:cNvGrpSpPr/>
          <p:nvPr>
            <p:custDataLst>
              <p:tags r:id="rId8"/>
            </p:custDataLst>
          </p:nvPr>
        </p:nvGrpSpPr>
        <p:grpSpPr>
          <a:xfrm rot="16200000">
            <a:off x="6854299" y="4224636"/>
            <a:ext cx="963336" cy="381996"/>
            <a:chOff x="6988389" y="4210899"/>
            <a:chExt cx="977719" cy="381996"/>
          </a:xfrm>
        </p:grpSpPr>
        <p:sp>
          <p:nvSpPr>
            <p:cNvPr id="168" name="Freeform: Shape 167">
              <a:extLst>
                <a:ext uri="{FF2B5EF4-FFF2-40B4-BE49-F238E27FC236}">
                  <a16:creationId xmlns:a16="http://schemas.microsoft.com/office/drawing/2014/main" id="{3224D8CB-A765-4936-B9B9-9DA2AA3E268C}"/>
                </a:ext>
              </a:extLst>
            </p:cNvPr>
            <p:cNvSpPr/>
            <p:nvPr>
              <p:custDataLst>
                <p:tags r:id="rId11"/>
              </p:custDataLst>
            </p:nvPr>
          </p:nvSpPr>
          <p:spPr>
            <a:xfrm>
              <a:off x="6988389" y="4210899"/>
              <a:ext cx="977719" cy="381996"/>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53415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53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7753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6915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885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7049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885 w 1828800"/>
                <a:gd name="connsiteY3" fmla="*/ 914400 h 914400"/>
                <a:gd name="connsiteX4" fmla="*/ 0 w 1828800"/>
                <a:gd name="connsiteY4" fmla="*/ 914400 h 914400"/>
                <a:gd name="connsiteX5" fmla="*/ 27049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27049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27049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27049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27049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27049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27049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27049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175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9761 w 1828800"/>
                <a:gd name="connsiteY1" fmla="*/ 0 h 914400"/>
                <a:gd name="connsiteX2" fmla="*/ 1828800 w 1828800"/>
                <a:gd name="connsiteY2" fmla="*/ 457200 h 914400"/>
                <a:gd name="connsiteX3" fmla="*/ 180175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9761 w 1828800"/>
                <a:gd name="connsiteY1" fmla="*/ 0 h 914400"/>
                <a:gd name="connsiteX2" fmla="*/ 1828800 w 1828800"/>
                <a:gd name="connsiteY2" fmla="*/ 457200 h 914400"/>
                <a:gd name="connsiteX3" fmla="*/ 173976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9761 w 1828800"/>
                <a:gd name="connsiteY1" fmla="*/ 0 h 914400"/>
                <a:gd name="connsiteX2" fmla="*/ 1828800 w 1828800"/>
                <a:gd name="connsiteY2" fmla="*/ 457200 h 914400"/>
                <a:gd name="connsiteX3" fmla="*/ 1739761 w 1828800"/>
                <a:gd name="connsiteY3" fmla="*/ 914400 h 914400"/>
                <a:gd name="connsiteX4" fmla="*/ 0 w 1828800"/>
                <a:gd name="connsiteY4" fmla="*/ 914400 h 914400"/>
                <a:gd name="connsiteX5" fmla="*/ 106496 w 1828800"/>
                <a:gd name="connsiteY5" fmla="*/ 457200 h 914400"/>
                <a:gd name="connsiteX0" fmla="*/ 0 w 1828800"/>
                <a:gd name="connsiteY0" fmla="*/ 0 h 914400"/>
                <a:gd name="connsiteX1" fmla="*/ 1722304 w 1828800"/>
                <a:gd name="connsiteY1" fmla="*/ 0 h 914400"/>
                <a:gd name="connsiteX2" fmla="*/ 1828800 w 1828800"/>
                <a:gd name="connsiteY2" fmla="*/ 457200 h 914400"/>
                <a:gd name="connsiteX3" fmla="*/ 1739761 w 1828800"/>
                <a:gd name="connsiteY3" fmla="*/ 914400 h 914400"/>
                <a:gd name="connsiteX4" fmla="*/ 0 w 1828800"/>
                <a:gd name="connsiteY4" fmla="*/ 914400 h 914400"/>
                <a:gd name="connsiteX5" fmla="*/ 106496 w 1828800"/>
                <a:gd name="connsiteY5" fmla="*/ 457200 h 914400"/>
                <a:gd name="connsiteX0" fmla="*/ 0 w 1828800"/>
                <a:gd name="connsiteY0" fmla="*/ 0 h 914400"/>
                <a:gd name="connsiteX1" fmla="*/ 1722304 w 1828800"/>
                <a:gd name="connsiteY1" fmla="*/ 0 h 914400"/>
                <a:gd name="connsiteX2" fmla="*/ 1828800 w 1828800"/>
                <a:gd name="connsiteY2" fmla="*/ 457200 h 914400"/>
                <a:gd name="connsiteX3" fmla="*/ 1722304 w 1828800"/>
                <a:gd name="connsiteY3" fmla="*/ 914400 h 914400"/>
                <a:gd name="connsiteX4" fmla="*/ 0 w 1828800"/>
                <a:gd name="connsiteY4" fmla="*/ 914400 h 914400"/>
                <a:gd name="connsiteX5" fmla="*/ 106496 w 1828800"/>
                <a:gd name="connsiteY5" fmla="*/ 457200 h 914400"/>
                <a:gd name="connsiteX0" fmla="*/ 0 w 1828800"/>
                <a:gd name="connsiteY0" fmla="*/ 0 h 914400"/>
                <a:gd name="connsiteX1" fmla="*/ 1722304 w 1828800"/>
                <a:gd name="connsiteY1" fmla="*/ 0 h 914400"/>
                <a:gd name="connsiteX2" fmla="*/ 1828800 w 1828800"/>
                <a:gd name="connsiteY2" fmla="*/ 457200 h 914400"/>
                <a:gd name="connsiteX3" fmla="*/ 172230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04 w 1828800"/>
                <a:gd name="connsiteY1" fmla="*/ 0 h 914400"/>
                <a:gd name="connsiteX2" fmla="*/ 1828800 w 1828800"/>
                <a:gd name="connsiteY2" fmla="*/ 457200 h 914400"/>
                <a:gd name="connsiteX3" fmla="*/ 172230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04 w 1828800"/>
                <a:gd name="connsiteY1" fmla="*/ 0 h 914400"/>
                <a:gd name="connsiteX2" fmla="*/ 1828800 w 1828800"/>
                <a:gd name="connsiteY2" fmla="*/ 457200 h 914400"/>
                <a:gd name="connsiteX3" fmla="*/ 172230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04 w 1828800"/>
                <a:gd name="connsiteY1" fmla="*/ 0 h 914400"/>
                <a:gd name="connsiteX2" fmla="*/ 1828800 w 1828800"/>
                <a:gd name="connsiteY2" fmla="*/ 457200 h 914400"/>
                <a:gd name="connsiteX3" fmla="*/ 172230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632 w 1828800"/>
                <a:gd name="connsiteY1" fmla="*/ 0 h 914400"/>
                <a:gd name="connsiteX2" fmla="*/ 1828800 w 1828800"/>
                <a:gd name="connsiteY2" fmla="*/ 457200 h 914400"/>
                <a:gd name="connsiteX3" fmla="*/ 172230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632 w 1828800"/>
                <a:gd name="connsiteY1" fmla="*/ 0 h 914400"/>
                <a:gd name="connsiteX2" fmla="*/ 1828800 w 1828800"/>
                <a:gd name="connsiteY2" fmla="*/ 457200 h 914400"/>
                <a:gd name="connsiteX3" fmla="*/ 176163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61632 w 1828800"/>
                <a:gd name="connsiteY1" fmla="*/ 0 h 914400"/>
                <a:gd name="connsiteX2" fmla="*/ 1828800 w 1828800"/>
                <a:gd name="connsiteY2" fmla="*/ 457200 h 914400"/>
                <a:gd name="connsiteX3" fmla="*/ 1761632 w 1828800"/>
                <a:gd name="connsiteY3" fmla="*/ 914400 h 914400"/>
                <a:gd name="connsiteX4" fmla="*/ 0 w 1828800"/>
                <a:gd name="connsiteY4" fmla="*/ 914400 h 914400"/>
                <a:gd name="connsiteX5" fmla="*/ 70998 w 1828800"/>
                <a:gd name="connsiteY5" fmla="*/ 457200 h 914400"/>
                <a:gd name="connsiteX0" fmla="*/ 0 w 1828800"/>
                <a:gd name="connsiteY0" fmla="*/ 0 h 914400"/>
                <a:gd name="connsiteX1" fmla="*/ 1757801 w 1828800"/>
                <a:gd name="connsiteY1" fmla="*/ 0 h 914400"/>
                <a:gd name="connsiteX2" fmla="*/ 1828800 w 1828800"/>
                <a:gd name="connsiteY2" fmla="*/ 457200 h 914400"/>
                <a:gd name="connsiteX3" fmla="*/ 1761632 w 1828800"/>
                <a:gd name="connsiteY3" fmla="*/ 914400 h 914400"/>
                <a:gd name="connsiteX4" fmla="*/ 0 w 1828800"/>
                <a:gd name="connsiteY4" fmla="*/ 914400 h 914400"/>
                <a:gd name="connsiteX5" fmla="*/ 70998 w 1828800"/>
                <a:gd name="connsiteY5" fmla="*/ 457200 h 914400"/>
                <a:gd name="connsiteX0" fmla="*/ 0 w 1828800"/>
                <a:gd name="connsiteY0" fmla="*/ 0 h 914400"/>
                <a:gd name="connsiteX1" fmla="*/ 1757801 w 1828800"/>
                <a:gd name="connsiteY1" fmla="*/ 0 h 914400"/>
                <a:gd name="connsiteX2" fmla="*/ 1828800 w 1828800"/>
                <a:gd name="connsiteY2" fmla="*/ 457200 h 914400"/>
                <a:gd name="connsiteX3" fmla="*/ 1757801 w 1828800"/>
                <a:gd name="connsiteY3" fmla="*/ 914400 h 914400"/>
                <a:gd name="connsiteX4" fmla="*/ 0 w 1828800"/>
                <a:gd name="connsiteY4" fmla="*/ 914400 h 914400"/>
                <a:gd name="connsiteX5" fmla="*/ 70998 w 1828800"/>
                <a:gd name="connsiteY5" fmla="*/ 457200 h 914400"/>
                <a:gd name="connsiteX0" fmla="*/ 0 w 1828800"/>
                <a:gd name="connsiteY0" fmla="*/ 0 h 914400"/>
                <a:gd name="connsiteX1" fmla="*/ 1757801 w 1828800"/>
                <a:gd name="connsiteY1" fmla="*/ 0 h 914400"/>
                <a:gd name="connsiteX2" fmla="*/ 1828800 w 1828800"/>
                <a:gd name="connsiteY2" fmla="*/ 457200 h 914400"/>
                <a:gd name="connsiteX3" fmla="*/ 175780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7801 w 1828800"/>
                <a:gd name="connsiteY1" fmla="*/ 0 h 914400"/>
                <a:gd name="connsiteX2" fmla="*/ 1828800 w 1828800"/>
                <a:gd name="connsiteY2" fmla="*/ 457200 h 914400"/>
                <a:gd name="connsiteX3" fmla="*/ 175780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7801 w 1828800"/>
                <a:gd name="connsiteY1" fmla="*/ 0 h 914400"/>
                <a:gd name="connsiteX2" fmla="*/ 1828800 w 1828800"/>
                <a:gd name="connsiteY2" fmla="*/ 457200 h 914400"/>
                <a:gd name="connsiteX3" fmla="*/ 1757801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7801 w 1828800"/>
                <a:gd name="connsiteY1" fmla="*/ 0 h 914400"/>
                <a:gd name="connsiteX2" fmla="*/ 1828800 w 1828800"/>
                <a:gd name="connsiteY2" fmla="*/ 457200 h 914400"/>
                <a:gd name="connsiteX3" fmla="*/ 1757801 w 1828800"/>
                <a:gd name="connsiteY3" fmla="*/ 914400 h 914400"/>
                <a:gd name="connsiteX4" fmla="*/ 0 w 1828800"/>
                <a:gd name="connsiteY4" fmla="*/ 914400 h 914400"/>
                <a:gd name="connsiteX5" fmla="*/ 73763 w 1828800"/>
                <a:gd name="connsiteY5" fmla="*/ 457200 h 914400"/>
                <a:gd name="connsiteX0" fmla="*/ 0 w 1828800"/>
                <a:gd name="connsiteY0" fmla="*/ 0 h 914400"/>
                <a:gd name="connsiteX1" fmla="*/ 1755037 w 1828800"/>
                <a:gd name="connsiteY1" fmla="*/ 0 h 914400"/>
                <a:gd name="connsiteX2" fmla="*/ 1828800 w 1828800"/>
                <a:gd name="connsiteY2" fmla="*/ 457200 h 914400"/>
                <a:gd name="connsiteX3" fmla="*/ 1757801 w 1828800"/>
                <a:gd name="connsiteY3" fmla="*/ 914400 h 914400"/>
                <a:gd name="connsiteX4" fmla="*/ 0 w 1828800"/>
                <a:gd name="connsiteY4" fmla="*/ 914400 h 914400"/>
                <a:gd name="connsiteX5" fmla="*/ 73763 w 1828800"/>
                <a:gd name="connsiteY5" fmla="*/ 457200 h 914400"/>
                <a:gd name="connsiteX0" fmla="*/ 0 w 1828800"/>
                <a:gd name="connsiteY0" fmla="*/ 0 h 914400"/>
                <a:gd name="connsiteX1" fmla="*/ 1755037 w 1828800"/>
                <a:gd name="connsiteY1" fmla="*/ 0 h 914400"/>
                <a:gd name="connsiteX2" fmla="*/ 1828800 w 1828800"/>
                <a:gd name="connsiteY2" fmla="*/ 457200 h 914400"/>
                <a:gd name="connsiteX3" fmla="*/ 1755037 w 1828800"/>
                <a:gd name="connsiteY3" fmla="*/ 914400 h 914400"/>
                <a:gd name="connsiteX4" fmla="*/ 0 w 1828800"/>
                <a:gd name="connsiteY4" fmla="*/ 914400 h 914400"/>
                <a:gd name="connsiteX5" fmla="*/ 73763 w 1828800"/>
                <a:gd name="connsiteY5" fmla="*/ 457200 h 914400"/>
                <a:gd name="connsiteX0" fmla="*/ 0 w 1828800"/>
                <a:gd name="connsiteY0" fmla="*/ 0 h 914400"/>
                <a:gd name="connsiteX1" fmla="*/ 1755037 w 1828800"/>
                <a:gd name="connsiteY1" fmla="*/ 0 h 914400"/>
                <a:gd name="connsiteX2" fmla="*/ 1828800 w 1828800"/>
                <a:gd name="connsiteY2" fmla="*/ 457200 h 914400"/>
                <a:gd name="connsiteX3" fmla="*/ 17550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5037 w 1828800"/>
                <a:gd name="connsiteY1" fmla="*/ 0 h 914400"/>
                <a:gd name="connsiteX2" fmla="*/ 1828800 w 1828800"/>
                <a:gd name="connsiteY2" fmla="*/ 457200 h 914400"/>
                <a:gd name="connsiteX3" fmla="*/ 17550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5037 w 1828800"/>
                <a:gd name="connsiteY1" fmla="*/ 0 h 914400"/>
                <a:gd name="connsiteX2" fmla="*/ 1828800 w 1828800"/>
                <a:gd name="connsiteY2" fmla="*/ 457200 h 914400"/>
                <a:gd name="connsiteX3" fmla="*/ 17550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55037 w 1828800"/>
                <a:gd name="connsiteY1" fmla="*/ 0 h 914400"/>
                <a:gd name="connsiteX2" fmla="*/ 1828800 w 1828800"/>
                <a:gd name="connsiteY2" fmla="*/ 457200 h 914400"/>
                <a:gd name="connsiteX3" fmla="*/ 17550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3863 w 1828800"/>
                <a:gd name="connsiteY1" fmla="*/ 0 h 914400"/>
                <a:gd name="connsiteX2" fmla="*/ 1828800 w 1828800"/>
                <a:gd name="connsiteY2" fmla="*/ 457200 h 914400"/>
                <a:gd name="connsiteX3" fmla="*/ 175503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3863 w 1828800"/>
                <a:gd name="connsiteY1" fmla="*/ 0 h 914400"/>
                <a:gd name="connsiteX2" fmla="*/ 1828800 w 1828800"/>
                <a:gd name="connsiteY2" fmla="*/ 457200 h 914400"/>
                <a:gd name="connsiteX3" fmla="*/ 17738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3863 w 1828800"/>
                <a:gd name="connsiteY1" fmla="*/ 0 h 914400"/>
                <a:gd name="connsiteX2" fmla="*/ 1828800 w 1828800"/>
                <a:gd name="connsiteY2" fmla="*/ 457200 h 914400"/>
                <a:gd name="connsiteX3" fmla="*/ 17738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3768 w 1828800"/>
                <a:gd name="connsiteY1" fmla="*/ 0 h 914400"/>
                <a:gd name="connsiteX2" fmla="*/ 1828800 w 1828800"/>
                <a:gd name="connsiteY2" fmla="*/ 457200 h 914400"/>
                <a:gd name="connsiteX3" fmla="*/ 1773863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3768 w 1828800"/>
                <a:gd name="connsiteY1" fmla="*/ 0 h 914400"/>
                <a:gd name="connsiteX2" fmla="*/ 1828800 w 1828800"/>
                <a:gd name="connsiteY2" fmla="*/ 457200 h 914400"/>
                <a:gd name="connsiteX3" fmla="*/ 169376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93768 w 1828800"/>
                <a:gd name="connsiteY1" fmla="*/ 0 h 914400"/>
                <a:gd name="connsiteX2" fmla="*/ 1828800 w 1828800"/>
                <a:gd name="connsiteY2" fmla="*/ 457200 h 914400"/>
                <a:gd name="connsiteX3" fmla="*/ 1693768 w 1828800"/>
                <a:gd name="connsiteY3" fmla="*/ 914400 h 914400"/>
                <a:gd name="connsiteX4" fmla="*/ 0 w 1828800"/>
                <a:gd name="connsiteY4" fmla="*/ 914400 h 914400"/>
                <a:gd name="connsiteX5" fmla="*/ 144095 w 1828800"/>
                <a:gd name="connsiteY5" fmla="*/ 457200 h 914400"/>
                <a:gd name="connsiteX0" fmla="*/ 0 w 1828800"/>
                <a:gd name="connsiteY0" fmla="*/ 0 h 914400"/>
                <a:gd name="connsiteX1" fmla="*/ 1684705 w 1828800"/>
                <a:gd name="connsiteY1" fmla="*/ 0 h 914400"/>
                <a:gd name="connsiteX2" fmla="*/ 1828800 w 1828800"/>
                <a:gd name="connsiteY2" fmla="*/ 457200 h 914400"/>
                <a:gd name="connsiteX3" fmla="*/ 1693768 w 1828800"/>
                <a:gd name="connsiteY3" fmla="*/ 914400 h 914400"/>
                <a:gd name="connsiteX4" fmla="*/ 0 w 1828800"/>
                <a:gd name="connsiteY4" fmla="*/ 914400 h 914400"/>
                <a:gd name="connsiteX5" fmla="*/ 144095 w 1828800"/>
                <a:gd name="connsiteY5" fmla="*/ 457200 h 914400"/>
                <a:gd name="connsiteX0" fmla="*/ 0 w 1828800"/>
                <a:gd name="connsiteY0" fmla="*/ 0 h 914400"/>
                <a:gd name="connsiteX1" fmla="*/ 1684705 w 1828800"/>
                <a:gd name="connsiteY1" fmla="*/ 0 h 914400"/>
                <a:gd name="connsiteX2" fmla="*/ 1828800 w 1828800"/>
                <a:gd name="connsiteY2" fmla="*/ 457200 h 914400"/>
                <a:gd name="connsiteX3" fmla="*/ 1684705 w 1828800"/>
                <a:gd name="connsiteY3" fmla="*/ 914400 h 914400"/>
                <a:gd name="connsiteX4" fmla="*/ 0 w 1828800"/>
                <a:gd name="connsiteY4" fmla="*/ 914400 h 914400"/>
                <a:gd name="connsiteX5" fmla="*/ 144095 w 1828800"/>
                <a:gd name="connsiteY5" fmla="*/ 457200 h 914400"/>
                <a:gd name="connsiteX0" fmla="*/ 0 w 1828800"/>
                <a:gd name="connsiteY0" fmla="*/ 0 h 914400"/>
                <a:gd name="connsiteX1" fmla="*/ 1684705 w 1828800"/>
                <a:gd name="connsiteY1" fmla="*/ 0 h 914400"/>
                <a:gd name="connsiteX2" fmla="*/ 1828800 w 1828800"/>
                <a:gd name="connsiteY2" fmla="*/ 457200 h 914400"/>
                <a:gd name="connsiteX3" fmla="*/ 168470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4705 w 1828800"/>
                <a:gd name="connsiteY1" fmla="*/ 0 h 914400"/>
                <a:gd name="connsiteX2" fmla="*/ 1828800 w 1828800"/>
                <a:gd name="connsiteY2" fmla="*/ 457200 h 914400"/>
                <a:gd name="connsiteX3" fmla="*/ 168470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4705 w 1828800"/>
                <a:gd name="connsiteY1" fmla="*/ 0 h 914400"/>
                <a:gd name="connsiteX2" fmla="*/ 1828800 w 1828800"/>
                <a:gd name="connsiteY2" fmla="*/ 457200 h 914400"/>
                <a:gd name="connsiteX3" fmla="*/ 168470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84705 w 1828800"/>
                <a:gd name="connsiteY1" fmla="*/ 0 h 914400"/>
                <a:gd name="connsiteX2" fmla="*/ 1828800 w 1828800"/>
                <a:gd name="connsiteY2" fmla="*/ 457200 h 914400"/>
                <a:gd name="connsiteX3" fmla="*/ 1684705 w 1828800"/>
                <a:gd name="connsiteY3" fmla="*/ 914400 h 914400"/>
                <a:gd name="connsiteX4" fmla="*/ 0 w 1828800"/>
                <a:gd name="connsiteY4" fmla="*/ 914400 h 914400"/>
                <a:gd name="connsiteX5" fmla="*/ 128612 w 1828800"/>
                <a:gd name="connsiteY5" fmla="*/ 457200 h 914400"/>
                <a:gd name="connsiteX0" fmla="*/ 0 w 1828800"/>
                <a:gd name="connsiteY0" fmla="*/ 0 h 914400"/>
                <a:gd name="connsiteX1" fmla="*/ 1700186 w 1828800"/>
                <a:gd name="connsiteY1" fmla="*/ 0 h 914400"/>
                <a:gd name="connsiteX2" fmla="*/ 1828800 w 1828800"/>
                <a:gd name="connsiteY2" fmla="*/ 457200 h 914400"/>
                <a:gd name="connsiteX3" fmla="*/ 1684705 w 1828800"/>
                <a:gd name="connsiteY3" fmla="*/ 914400 h 914400"/>
                <a:gd name="connsiteX4" fmla="*/ 0 w 1828800"/>
                <a:gd name="connsiteY4" fmla="*/ 914400 h 914400"/>
                <a:gd name="connsiteX5" fmla="*/ 128612 w 1828800"/>
                <a:gd name="connsiteY5" fmla="*/ 457200 h 914400"/>
                <a:gd name="connsiteX0" fmla="*/ 0 w 1828800"/>
                <a:gd name="connsiteY0" fmla="*/ 0 h 914400"/>
                <a:gd name="connsiteX1" fmla="*/ 1700186 w 1828800"/>
                <a:gd name="connsiteY1" fmla="*/ 0 h 914400"/>
                <a:gd name="connsiteX2" fmla="*/ 1828800 w 1828800"/>
                <a:gd name="connsiteY2" fmla="*/ 457200 h 914400"/>
                <a:gd name="connsiteX3" fmla="*/ 1700186 w 1828800"/>
                <a:gd name="connsiteY3" fmla="*/ 914400 h 914400"/>
                <a:gd name="connsiteX4" fmla="*/ 0 w 1828800"/>
                <a:gd name="connsiteY4" fmla="*/ 914400 h 914400"/>
                <a:gd name="connsiteX5" fmla="*/ 128612 w 1828800"/>
                <a:gd name="connsiteY5" fmla="*/ 457200 h 914400"/>
                <a:gd name="connsiteX0" fmla="*/ 0 w 1828800"/>
                <a:gd name="connsiteY0" fmla="*/ 0 h 914400"/>
                <a:gd name="connsiteX1" fmla="*/ 1700186 w 1828800"/>
                <a:gd name="connsiteY1" fmla="*/ 0 h 914400"/>
                <a:gd name="connsiteX2" fmla="*/ 1828800 w 1828800"/>
                <a:gd name="connsiteY2" fmla="*/ 457200 h 914400"/>
                <a:gd name="connsiteX3" fmla="*/ 170018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186 w 1828800"/>
                <a:gd name="connsiteY1" fmla="*/ 0 h 914400"/>
                <a:gd name="connsiteX2" fmla="*/ 1828800 w 1828800"/>
                <a:gd name="connsiteY2" fmla="*/ 457200 h 914400"/>
                <a:gd name="connsiteX3" fmla="*/ 170018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00186 w 1828800"/>
                <a:gd name="connsiteY1" fmla="*/ 0 h 914400"/>
                <a:gd name="connsiteX2" fmla="*/ 1828800 w 1828800"/>
                <a:gd name="connsiteY2" fmla="*/ 457200 h 914400"/>
                <a:gd name="connsiteX3" fmla="*/ 1700186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00186" y="0"/>
                  </a:lnTo>
                  <a:lnTo>
                    <a:pt x="1828800" y="457200"/>
                  </a:lnTo>
                  <a:lnTo>
                    <a:pt x="1700186" y="914400"/>
                  </a:lnTo>
                  <a:lnTo>
                    <a:pt x="0" y="914400"/>
                  </a:lnTo>
                  <a:lnTo>
                    <a:pt x="0" y="457200"/>
                  </a:lnTo>
                  <a:close/>
                </a:path>
              </a:pathLst>
            </a:cu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000" b="0" i="0" u="none" strike="noStrike" kern="1200" cap="none" spc="0" normalizeH="0" baseline="0" noProof="0" err="1">
                <a:ln>
                  <a:noFill/>
                </a:ln>
                <a:solidFill>
                  <a:srgbClr val="FFFFFF"/>
                </a:solidFill>
                <a:effectLst/>
                <a:uLnTx/>
                <a:uFillTx/>
                <a:latin typeface="Bahnschrift" panose="020B0502040204020203" pitchFamily="34" charset="0"/>
                <a:ea typeface="+mn-ea"/>
                <a:cs typeface="+mn-cs"/>
              </a:endParaRPr>
            </a:p>
          </p:txBody>
        </p:sp>
        <p:sp>
          <p:nvSpPr>
            <p:cNvPr id="169" name="TextBox 168">
              <a:extLst>
                <a:ext uri="{FF2B5EF4-FFF2-40B4-BE49-F238E27FC236}">
                  <a16:creationId xmlns:a16="http://schemas.microsoft.com/office/drawing/2014/main" id="{E14DE84B-20A7-40C3-A445-B0AE6756712E}"/>
                </a:ext>
              </a:extLst>
            </p:cNvPr>
            <p:cNvSpPr txBox="1"/>
            <p:nvPr>
              <p:custDataLst>
                <p:tags r:id="rId12"/>
              </p:custDataLst>
            </p:nvPr>
          </p:nvSpPr>
          <p:spPr>
            <a:xfrm>
              <a:off x="7051889" y="4237427"/>
              <a:ext cx="845460" cy="328941"/>
            </a:xfrm>
            <a:prstGeom prst="rect">
              <a:avLst/>
            </a:prstGeom>
            <a:solidFill>
              <a:schemeClr val="accent1"/>
            </a:solidFill>
          </p:spPr>
          <p:txBody>
            <a:bodyPr vert="horz" lIns="15240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FFFFFF"/>
                  </a:solidFill>
                  <a:effectLst/>
                  <a:uLnTx/>
                  <a:uFillTx/>
                  <a:latin typeface="Bahnschrift" panose="020B0502040204020203" pitchFamily="34" charset="0"/>
                  <a:ea typeface="+mn-ea"/>
                  <a:cs typeface="Arial" panose="020B0604020202020204" pitchFamily="34" charset="0"/>
                </a:rPr>
                <a:t>Recyc. Naphta</a:t>
              </a:r>
            </a:p>
          </p:txBody>
        </p:sp>
      </p:grpSp>
      <p:pic>
        <p:nvPicPr>
          <p:cNvPr id="10" name="Picture 2">
            <a:extLst>
              <a:ext uri="{FF2B5EF4-FFF2-40B4-BE49-F238E27FC236}">
                <a16:creationId xmlns:a16="http://schemas.microsoft.com/office/drawing/2014/main" id="{A3924DEE-B006-76BF-A3E4-9386F4144887}"/>
              </a:ext>
            </a:extLst>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7442050" y="1424819"/>
            <a:ext cx="792093" cy="186934"/>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205CC417-7CF9-2933-F41A-2F89CB8803BE}"/>
              </a:ext>
            </a:extLst>
          </p:cNvPr>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11014492" y="1549532"/>
            <a:ext cx="454616" cy="150932"/>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id="{14D68AB8-3B9A-4E41-9C29-F1CF26D4EFF6}"/>
              </a:ext>
            </a:extLst>
          </p:cNvPr>
          <p:cNvSpPr txBox="1">
            <a:spLocks/>
          </p:cNvSpPr>
          <p:nvPr/>
        </p:nvSpPr>
        <p:spPr bwMode="gray">
          <a:xfrm>
            <a:off x="896752" y="4097939"/>
            <a:ext cx="1724914"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tx1"/>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3pPr>
            <a:lvl4pPr marL="548640" lvl="3"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4pPr>
            <a:lvl5pPr marL="731520" lvl="4"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12D44"/>
              </a:buClr>
              <a:buSzPct val="100000"/>
              <a:buFont typeface="Segoe UI" panose="020B0502040204020203" pitchFamily="34" charset="0"/>
              <a:buChar char="​"/>
              <a:tabLst/>
              <a:defRPr/>
            </a:pP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Erneuerbare Energie &amp; Pumpspeicher</a:t>
            </a:r>
            <a:b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br>
            <a:r>
              <a:rPr kumimoji="0" lang="de-DE" sz="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Wichtiger Faktor für grüne Wasserstoffproduktion.</a:t>
            </a: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endParaRPr>
          </a:p>
        </p:txBody>
      </p:sp>
      <p:grpSp>
        <p:nvGrpSpPr>
          <p:cNvPr id="13" name="Group 12">
            <a:extLst>
              <a:ext uri="{FF2B5EF4-FFF2-40B4-BE49-F238E27FC236}">
                <a16:creationId xmlns:a16="http://schemas.microsoft.com/office/drawing/2014/main" id="{B52DBC21-CA6F-5DDC-6A7B-4D67672C6A0A}"/>
              </a:ext>
            </a:extLst>
          </p:cNvPr>
          <p:cNvGrpSpPr/>
          <p:nvPr/>
        </p:nvGrpSpPr>
        <p:grpSpPr>
          <a:xfrm>
            <a:off x="2911614" y="4100997"/>
            <a:ext cx="1726018" cy="794049"/>
            <a:chOff x="2628413" y="4416525"/>
            <a:chExt cx="1726018" cy="794049"/>
          </a:xfrm>
        </p:grpSpPr>
        <p:sp>
          <p:nvSpPr>
            <p:cNvPr id="38" name="TextBox 37">
              <a:extLst>
                <a:ext uri="{FF2B5EF4-FFF2-40B4-BE49-F238E27FC236}">
                  <a16:creationId xmlns:a16="http://schemas.microsoft.com/office/drawing/2014/main" id="{940508C3-2EAA-49A3-A34F-C5F1D730D82F}"/>
                </a:ext>
              </a:extLst>
            </p:cNvPr>
            <p:cNvSpPr txBox="1">
              <a:spLocks/>
            </p:cNvSpPr>
            <p:nvPr/>
          </p:nvSpPr>
          <p:spPr bwMode="gray">
            <a:xfrm>
              <a:off x="2628413" y="4416525"/>
              <a:ext cx="1726018"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tx1"/>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3pPr>
              <a:lvl4pPr marL="548640" lvl="3"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4pPr>
              <a:lvl5pPr marL="731520" lvl="4" indent="-182880">
                <a:lnSpc>
                  <a:spcPct val="100000"/>
                </a:lnSpc>
                <a:spcBef>
                  <a:spcPts val="0"/>
                </a:spcBef>
                <a:spcAft>
                  <a:spcPts val="300"/>
                </a:spcAft>
                <a:buClr>
                  <a:schemeClr val="tx1"/>
                </a:buClr>
                <a:buSzPct val="100000"/>
                <a:buFont typeface="Trebuchet MS" panose="020B0603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12D44"/>
                </a:buClr>
                <a:buSzPct val="100000"/>
                <a:buFont typeface="Segoe UI" panose="020B0502040204020203" pitchFamily="34" charset="0"/>
                <a:buNone/>
                <a:tabLst/>
                <a:defRPr/>
              </a:pP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Wasserstoffproduktion und Speicherung</a:t>
              </a:r>
              <a:br>
                <a:rPr kumimoji="0" lang="de-DE" sz="16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br>
              <a:r>
                <a:rPr kumimoji="0" lang="de-DE" sz="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Bereitstellung von H</a:t>
              </a:r>
              <a:r>
                <a:rPr kumimoji="0" lang="de-DE" sz="800" b="0" i="0" u="none" strike="noStrike" kern="1200" cap="none" spc="0" normalizeH="0" baseline="-25000" noProof="0" dirty="0">
                  <a:ln>
                    <a:noFill/>
                  </a:ln>
                  <a:solidFill>
                    <a:srgbClr val="000000"/>
                  </a:solidFill>
                  <a:effectLst/>
                  <a:uLnTx/>
                  <a:uFillTx/>
                  <a:latin typeface="Bahnschrift" panose="020B0502040204020203" pitchFamily="34" charset="0"/>
                  <a:ea typeface="+mn-ea"/>
                  <a:cs typeface="Arial" panose="020B0604020202020204" pitchFamily="34" charset="0"/>
                </a:rPr>
                <a:t>2</a:t>
              </a:r>
              <a:r>
                <a:rPr kumimoji="0" lang="de-DE" sz="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 und Wasserstoffspeicherung, z.B. USS 2030</a:t>
              </a:r>
              <a:endParaRPr kumimoji="0" lang="de-DE" sz="10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endParaRPr>
            </a:p>
          </p:txBody>
        </p:sp>
        <p:pic>
          <p:nvPicPr>
            <p:cNvPr id="21" name="Picture 4">
              <a:extLst>
                <a:ext uri="{FF2B5EF4-FFF2-40B4-BE49-F238E27FC236}">
                  <a16:creationId xmlns:a16="http://schemas.microsoft.com/office/drawing/2014/main" id="{01483B67-57D4-7964-5738-3EB8913DE0D0}"/>
                </a:ext>
              </a:extLst>
            </p:cNvPr>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4008829" y="5006036"/>
              <a:ext cx="279340" cy="2045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 name="LegendBoxes">
            <a:extLst>
              <a:ext uri="{FF2B5EF4-FFF2-40B4-BE49-F238E27FC236}">
                <a16:creationId xmlns:a16="http://schemas.microsoft.com/office/drawing/2014/main" id="{A72BEFCC-2A67-CD43-7A6A-AD1BF05C03DC}"/>
              </a:ext>
            </a:extLst>
          </p:cNvPr>
          <p:cNvGrpSpPr/>
          <p:nvPr/>
        </p:nvGrpSpPr>
        <p:grpSpPr>
          <a:xfrm>
            <a:off x="10420683" y="892022"/>
            <a:ext cx="1420986" cy="184666"/>
            <a:chOff x="7988274" y="81835"/>
            <a:chExt cx="1420986" cy="184666"/>
          </a:xfrm>
        </p:grpSpPr>
        <p:sp>
          <p:nvSpPr>
            <p:cNvPr id="23" name="RectangleLegend1">
              <a:extLst>
                <a:ext uri="{FF2B5EF4-FFF2-40B4-BE49-F238E27FC236}">
                  <a16:creationId xmlns:a16="http://schemas.microsoft.com/office/drawing/2014/main" id="{80BA6CDB-1C9C-090B-5118-B38D9A470687}"/>
                </a:ext>
              </a:extLst>
            </p:cNvPr>
            <p:cNvSpPr>
              <a:spLocks noChangeArrowheads="1"/>
            </p:cNvSpPr>
            <p:nvPr/>
          </p:nvSpPr>
          <p:spPr bwMode="auto">
            <a:xfrm>
              <a:off x="7988274" y="92948"/>
              <a:ext cx="165100" cy="160338"/>
            </a:xfrm>
            <a:prstGeom prst="rect">
              <a:avLst/>
            </a:prstGeom>
            <a:solidFill>
              <a:schemeClr val="accent1">
                <a:lumMod val="20000"/>
                <a:lumOff val="80000"/>
              </a:schemeClr>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Bahnschrift" panose="020B0502040204020203" pitchFamily="34" charset="0"/>
                <a:ea typeface="+mn-ea"/>
                <a:cs typeface="+mn-cs"/>
              </a:endParaRPr>
            </a:p>
          </p:txBody>
        </p:sp>
        <p:sp>
          <p:nvSpPr>
            <p:cNvPr id="30" name="Legend1">
              <a:extLst>
                <a:ext uri="{FF2B5EF4-FFF2-40B4-BE49-F238E27FC236}">
                  <a16:creationId xmlns:a16="http://schemas.microsoft.com/office/drawing/2014/main" id="{31F54B59-EC83-E001-3DC3-6BEDDBE1844B}"/>
                </a:ext>
              </a:extLst>
            </p:cNvPr>
            <p:cNvSpPr>
              <a:spLocks noChangeArrowheads="1"/>
            </p:cNvSpPr>
            <p:nvPr/>
          </p:nvSpPr>
          <p:spPr bwMode="auto">
            <a:xfrm>
              <a:off x="8242274" y="81835"/>
              <a:ext cx="116698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1200" b="0" i="0" u="none" strike="noStrike" kern="1200" cap="none" spc="0" normalizeH="0" baseline="0" noProof="0" dirty="0" err="1">
                  <a:ln>
                    <a:noFill/>
                  </a:ln>
                  <a:solidFill>
                    <a:prstClr val="black"/>
                  </a:solidFill>
                  <a:effectLst/>
                  <a:uLnTx/>
                  <a:uFillTx/>
                  <a:latin typeface="Bahnschrift" panose="020B0502040204020203" pitchFamily="34" charset="0"/>
                  <a:ea typeface="+mn-ea"/>
                  <a:cs typeface="+mn-cs"/>
                </a:rPr>
                <a:t>Fokus</a:t>
              </a:r>
              <a:r>
                <a:rPr kumimoji="0" lang="en-US" sz="1200" b="0" i="0" u="none" strike="noStrike" kern="1200" cap="none" spc="0" normalizeH="0" baseline="0" noProof="0" dirty="0">
                  <a:ln>
                    <a:noFill/>
                  </a:ln>
                  <a:solidFill>
                    <a:prstClr val="black"/>
                  </a:solidFill>
                  <a:effectLst/>
                  <a:uLnTx/>
                  <a:uFillTx/>
                  <a:latin typeface="Bahnschrift" panose="020B0502040204020203" pitchFamily="34" charset="0"/>
                  <a:ea typeface="+mn-ea"/>
                  <a:cs typeface="+mn-cs"/>
                </a:rPr>
                <a:t> </a:t>
              </a:r>
              <a:r>
                <a:rPr kumimoji="0" lang="en-US" sz="1200" b="0" i="0" u="none" strike="noStrike" kern="1200" cap="none" spc="0" normalizeH="0" baseline="0" noProof="0" dirty="0" err="1">
                  <a:ln>
                    <a:noFill/>
                  </a:ln>
                  <a:solidFill>
                    <a:prstClr val="black"/>
                  </a:solidFill>
                  <a:effectLst/>
                  <a:uLnTx/>
                  <a:uFillTx/>
                  <a:latin typeface="Bahnschrift" panose="020B0502040204020203" pitchFamily="34" charset="0"/>
                  <a:ea typeface="+mn-ea"/>
                  <a:cs typeface="+mn-cs"/>
                </a:rPr>
                <a:t>heute</a:t>
              </a:r>
              <a:r>
                <a:rPr kumimoji="0" lang="en-US" sz="1200" b="0" i="0" u="none" strike="noStrike" kern="1200" cap="none" spc="0" normalizeH="0" baseline="0" noProof="0" dirty="0">
                  <a:ln>
                    <a:noFill/>
                  </a:ln>
                  <a:solidFill>
                    <a:prstClr val="black"/>
                  </a:solidFill>
                  <a:effectLst/>
                  <a:uLnTx/>
                  <a:uFillTx/>
                  <a:latin typeface="Bahnschrift" panose="020B0502040204020203" pitchFamily="34" charset="0"/>
                  <a:ea typeface="+mn-ea"/>
                  <a:cs typeface="+mn-cs"/>
                </a:rPr>
                <a:t> BS4</a:t>
              </a:r>
            </a:p>
          </p:txBody>
        </p:sp>
      </p:grpSp>
      <p:sp>
        <p:nvSpPr>
          <p:cNvPr id="16" name="4. Footnote">
            <a:extLst>
              <a:ext uri="{FF2B5EF4-FFF2-40B4-BE49-F238E27FC236}">
                <a16:creationId xmlns:a16="http://schemas.microsoft.com/office/drawing/2014/main" id="{4ECFD88A-DBF8-2C18-7BF1-B3BC0D399A90}"/>
              </a:ext>
            </a:extLst>
          </p:cNvPr>
          <p:cNvSpPr txBox="1"/>
          <p:nvPr>
            <p:custDataLst>
              <p:tags r:id="rId9"/>
            </p:custDataLst>
          </p:nvPr>
        </p:nvSpPr>
        <p:spPr>
          <a:xfrm>
            <a:off x="838799" y="6412488"/>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de-AT"/>
            </a:defPPr>
            <a:lvl1pPr marL="177800" marR="0" lvl="0" indent="-177800" defTabSz="914400" eaLnBrk="1" fontAlgn="auto" latinLnBrk="0" hangingPunct="1">
              <a:lnSpc>
                <a:spcPct val="100000"/>
              </a:lnSpc>
              <a:spcBef>
                <a:spcPts val="0"/>
              </a:spcBef>
              <a:spcAft>
                <a:spcPts val="0"/>
              </a:spcAft>
              <a:buClrTx/>
              <a:buSzTx/>
              <a:buFontTx/>
              <a:buNone/>
              <a:tabLst/>
              <a:defRPr kumimoji="0" sz="800" b="0" i="0" u="none" strike="noStrike" cap="none" spc="0" normalizeH="0" baseline="0">
                <a:ln>
                  <a:noFill/>
                </a:ln>
                <a:solidFill>
                  <a:schemeClr val="accent1"/>
                </a:solidFill>
                <a:effectLst/>
                <a:uLnTx/>
                <a:uFillTx/>
                <a:latin typeface="Bahnschrift" panose="020B0502040204020203" pitchFamily="34" charset="0"/>
              </a:defRPr>
            </a:lvl1pP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0" lang="de-AT"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rPr>
              <a:t>1.    </a:t>
            </a: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Arial" panose="020B0604020202020204" pitchFamily="34" charset="0"/>
              </a:rPr>
              <a:t>Festoxid-Elektrolyseure, erlauben auch die Erzeugung von Synthesegas </a:t>
            </a:r>
            <a:endParaRPr kumimoji="0" lang="de-AT"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endParaRPr>
          </a:p>
        </p:txBody>
      </p:sp>
      <p:sp>
        <p:nvSpPr>
          <p:cNvPr id="17" name="5. Source">
            <a:extLst>
              <a:ext uri="{FF2B5EF4-FFF2-40B4-BE49-F238E27FC236}">
                <a16:creationId xmlns:a16="http://schemas.microsoft.com/office/drawing/2014/main" id="{C1001C86-EA52-4C8E-92EA-EFC856DBFA27}"/>
              </a:ext>
            </a:extLst>
          </p:cNvPr>
          <p:cNvSpPr txBox="1"/>
          <p:nvPr>
            <p:custDataLst>
              <p:tags r:id="rId10"/>
            </p:custDataLst>
          </p:nvPr>
        </p:nvSpPr>
        <p:spPr>
          <a:xfrm>
            <a:off x="838799" y="658770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de-AT"/>
            </a:defPPr>
            <a:lvl1pPr marL="177800" marR="0" lvl="0" indent="-177800" defTabSz="914400" eaLnBrk="1" fontAlgn="auto" latinLnBrk="0" hangingPunct="1">
              <a:lnSpc>
                <a:spcPct val="100000"/>
              </a:lnSpc>
              <a:spcBef>
                <a:spcPts val="0"/>
              </a:spcBef>
              <a:spcAft>
                <a:spcPts val="0"/>
              </a:spcAft>
              <a:buClrTx/>
              <a:buSzTx/>
              <a:buFontTx/>
              <a:buNone/>
              <a:tabLst/>
              <a:defRPr kumimoji="0" sz="800" b="0" i="0" u="none" strike="noStrike" cap="none" spc="0" normalizeH="0" baseline="0">
                <a:ln>
                  <a:noFill/>
                </a:ln>
                <a:solidFill>
                  <a:schemeClr val="accent1"/>
                </a:solidFill>
                <a:effectLst/>
                <a:uLnTx/>
                <a:uFillTx/>
                <a:latin typeface="Bahnschrift" panose="020B0502040204020203" pitchFamily="34" charset="0"/>
              </a:defRPr>
            </a:lvl1pPr>
          </a:lstStyle>
          <a:p>
            <a:pPr marL="177800" marR="0" lvl="0" indent="-177800" algn="l" defTabSz="914400" rtl="0" eaLnBrk="1" fontAlgn="auto" latinLnBrk="0" hangingPunct="1">
              <a:lnSpc>
                <a:spcPct val="100000"/>
              </a:lnSpc>
              <a:spcBef>
                <a:spcPts val="0"/>
              </a:spcBef>
              <a:spcAft>
                <a:spcPts val="0"/>
              </a:spcAft>
              <a:buClrTx/>
              <a:buSzTx/>
              <a:buFontTx/>
              <a:buNone/>
              <a:tabLst/>
              <a:defRPr/>
            </a:pPr>
            <a:r>
              <a:rPr kumimoji="0" lang="de-AT"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rPr>
              <a:t>Quelle: </a:t>
            </a:r>
            <a:r>
              <a:rPr kumimoji="0" lang="fr-FR" sz="800" b="0" i="0" u="none" strike="noStrike" kern="1200" cap="none" spc="0" normalizeH="0" baseline="0" noProof="0" dirty="0" err="1">
                <a:ln>
                  <a:noFill/>
                </a:ln>
                <a:solidFill>
                  <a:srgbClr val="004FA1"/>
                </a:solidFill>
                <a:effectLst/>
                <a:uLnTx/>
                <a:uFillTx/>
                <a:latin typeface="Bahnschrift" panose="020B0502040204020203" pitchFamily="34" charset="0"/>
                <a:ea typeface="+mn-ea"/>
                <a:cs typeface="+mn-cs"/>
              </a:rPr>
              <a:t>Expertenbefragungen</a:t>
            </a:r>
            <a:r>
              <a:rPr kumimoji="0" lang="fr-FR"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rPr>
              <a:t>, Online Recherche</a:t>
            </a:r>
            <a:endParaRPr kumimoji="0" lang="de-AT"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endParaRPr>
          </a:p>
        </p:txBody>
      </p:sp>
      <p:sp>
        <p:nvSpPr>
          <p:cNvPr id="22" name="Foliennummernplatzhalter 3">
            <a:extLst>
              <a:ext uri="{FF2B5EF4-FFF2-40B4-BE49-F238E27FC236}">
                <a16:creationId xmlns:a16="http://schemas.microsoft.com/office/drawing/2014/main" id="{D464DBD5-C137-200E-3EF8-91F88A2C3F4E}"/>
              </a:ext>
            </a:extLst>
          </p:cNvPr>
          <p:cNvSpPr>
            <a:spLocks noGrp="1"/>
          </p:cNvSpPr>
          <p:nvPr>
            <p:ph type="sldNum" sz="quarter" idx="10"/>
          </p:nvPr>
        </p:nvSpPr>
        <p:spPr>
          <a:xfrm>
            <a:off x="203200" y="6598363"/>
            <a:ext cx="226027" cy="123111"/>
          </a:xfrm>
          <a:prstGeom prst="rect">
            <a:avLst/>
          </a:prstGeom>
        </p:spPr>
        <p:txBody>
          <a:bodyPr wrap="square" lIns="0" tIns="0" rIns="0" bIns="0">
            <a:noAutofit/>
          </a:bodyPr>
          <a:lstStyle>
            <a:lvl1pPr>
              <a:defRPr>
                <a:latin typeface="+mn-lt"/>
                <a:sym typeface="Bahnschrift" panose="020B0502040204020203"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01920E2B-FC99-4A38-BFFD-416A818AECB0}" type="slidenum">
              <a:rPr kumimoji="0" lang="de-AT" sz="800" b="0" i="0" u="none" strike="noStrike" kern="1200" cap="none" spc="0" normalizeH="0" baseline="0" noProof="0" smtClean="0">
                <a:ln>
                  <a:noFill/>
                </a:ln>
                <a:solidFill>
                  <a:prstClr val="white">
                    <a:lumMod val="50000"/>
                  </a:prstClr>
                </a:solidFill>
                <a:effectLst/>
                <a:uLnTx/>
                <a:uFillTx/>
                <a:latin typeface="Bahnschrift" panose="020B0502040204020203" pitchFamily="34" charset="0"/>
                <a:ea typeface="+mn-ea"/>
                <a:cs typeface="+mn-cs"/>
                <a:sym typeface="Bahnschrift" panose="020B0502040204020203"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28</a:t>
            </a:fld>
            <a:endParaRPr kumimoji="0" lang="de-AT" sz="800" b="0" i="0" u="none" strike="noStrike" kern="1200" cap="none" spc="0" normalizeH="0" baseline="0" noProof="0">
              <a:ln>
                <a:noFill/>
              </a:ln>
              <a:solidFill>
                <a:prstClr val="white">
                  <a:lumMod val="50000"/>
                </a:prstClr>
              </a:solidFill>
              <a:effectLst/>
              <a:uLnTx/>
              <a:uFillTx/>
              <a:latin typeface="Bahnschrift" panose="020B0502040204020203" pitchFamily="34" charset="0"/>
              <a:ea typeface="+mn-ea"/>
              <a:cs typeface="+mn-cs"/>
              <a:sym typeface="Bahnschrift" panose="020B0502040204020203" pitchFamily="34" charset="0"/>
            </a:endParaRPr>
          </a:p>
        </p:txBody>
      </p:sp>
    </p:spTree>
    <p:extLst>
      <p:ext uri="{BB962C8B-B14F-4D97-AF65-F5344CB8AC3E}">
        <p14:creationId xmlns:p14="http://schemas.microsoft.com/office/powerpoint/2010/main" val="23925847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descr="Ein Bild, das Geschirr enthält.&#10;&#10;Automatisch generierte Beschreibung">
            <a:extLst>
              <a:ext uri="{FF2B5EF4-FFF2-40B4-BE49-F238E27FC236}">
                <a16:creationId xmlns:a16="http://schemas.microsoft.com/office/drawing/2014/main" id="{D1D19207-6D43-E73D-8462-24B74E074E5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304925"/>
            <a:ext cx="12192000" cy="5553076"/>
          </a:xfrm>
          <a:prstGeom prst="rect">
            <a:avLst/>
          </a:prstGeom>
        </p:spPr>
      </p:pic>
      <p:sp>
        <p:nvSpPr>
          <p:cNvPr id="7" name="Ellipse 6">
            <a:extLst>
              <a:ext uri="{FF2B5EF4-FFF2-40B4-BE49-F238E27FC236}">
                <a16:creationId xmlns:a16="http://schemas.microsoft.com/office/drawing/2014/main" id="{80DCAD86-7DAC-1A5F-7DCA-D04662D978B7}"/>
              </a:ext>
            </a:extLst>
          </p:cNvPr>
          <p:cNvSpPr/>
          <p:nvPr/>
        </p:nvSpPr>
        <p:spPr>
          <a:xfrm>
            <a:off x="1683481" y="1800000"/>
            <a:ext cx="1466849" cy="1455489"/>
          </a:xfrm>
          <a:prstGeom prst="ellipse">
            <a:avLst/>
          </a:prstGeom>
          <a:solidFill>
            <a:schemeClr val="bg1"/>
          </a:solidFill>
          <a:ln w="12700">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err="1">
              <a:solidFill>
                <a:schemeClr val="tx1"/>
              </a:solidFill>
              <a:latin typeface="Verdana" pitchFamily="34" charset="0"/>
              <a:ea typeface="Verdana" pitchFamily="34" charset="0"/>
              <a:cs typeface="Verdana" pitchFamily="34" charset="0"/>
            </a:endParaRPr>
          </a:p>
        </p:txBody>
      </p:sp>
      <p:sp>
        <p:nvSpPr>
          <p:cNvPr id="8" name="Ellipse 7">
            <a:extLst>
              <a:ext uri="{FF2B5EF4-FFF2-40B4-BE49-F238E27FC236}">
                <a16:creationId xmlns:a16="http://schemas.microsoft.com/office/drawing/2014/main" id="{60A299D6-B3AA-FBD0-A4BA-50F75A02B002}"/>
              </a:ext>
            </a:extLst>
          </p:cNvPr>
          <p:cNvSpPr/>
          <p:nvPr/>
        </p:nvSpPr>
        <p:spPr>
          <a:xfrm>
            <a:off x="5348781" y="1800000"/>
            <a:ext cx="1466849" cy="1455489"/>
          </a:xfrm>
          <a:prstGeom prst="ellipse">
            <a:avLst/>
          </a:prstGeom>
          <a:solidFill>
            <a:schemeClr val="bg1"/>
          </a:solidFill>
          <a:ln w="12700">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err="1">
              <a:solidFill>
                <a:schemeClr val="tx1"/>
              </a:solidFill>
              <a:latin typeface="Verdana" pitchFamily="34" charset="0"/>
              <a:ea typeface="Verdana" pitchFamily="34" charset="0"/>
              <a:cs typeface="Verdana" pitchFamily="34" charset="0"/>
            </a:endParaRPr>
          </a:p>
        </p:txBody>
      </p:sp>
      <p:sp>
        <p:nvSpPr>
          <p:cNvPr id="9" name="Ellipse 8">
            <a:extLst>
              <a:ext uri="{FF2B5EF4-FFF2-40B4-BE49-F238E27FC236}">
                <a16:creationId xmlns:a16="http://schemas.microsoft.com/office/drawing/2014/main" id="{95AEC61F-46F4-711E-872A-29C58CB23171}"/>
              </a:ext>
            </a:extLst>
          </p:cNvPr>
          <p:cNvSpPr/>
          <p:nvPr/>
        </p:nvSpPr>
        <p:spPr>
          <a:xfrm>
            <a:off x="9041670" y="1800000"/>
            <a:ext cx="1466849" cy="1455489"/>
          </a:xfrm>
          <a:prstGeom prst="ellipse">
            <a:avLst/>
          </a:prstGeom>
          <a:solidFill>
            <a:schemeClr val="bg1"/>
          </a:solidFill>
          <a:ln w="12700">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err="1">
              <a:solidFill>
                <a:schemeClr val="tx1"/>
              </a:solidFill>
              <a:latin typeface="Verdana" pitchFamily="34" charset="0"/>
              <a:ea typeface="Verdana" pitchFamily="34" charset="0"/>
              <a:cs typeface="Verdana" pitchFamily="34" charset="0"/>
            </a:endParaRPr>
          </a:p>
        </p:txBody>
      </p:sp>
      <p:sp>
        <p:nvSpPr>
          <p:cNvPr id="6" name="Rechteck 5">
            <a:extLst>
              <a:ext uri="{FF2B5EF4-FFF2-40B4-BE49-F238E27FC236}">
                <a16:creationId xmlns:a16="http://schemas.microsoft.com/office/drawing/2014/main" id="{62339935-69F0-16A9-4443-3084CE02102F}"/>
              </a:ext>
            </a:extLst>
          </p:cNvPr>
          <p:cNvSpPr/>
          <p:nvPr/>
        </p:nvSpPr>
        <p:spPr>
          <a:xfrm>
            <a:off x="0" y="3410978"/>
            <a:ext cx="12192000" cy="1763152"/>
          </a:xfrm>
          <a:prstGeom prst="rect">
            <a:avLst/>
          </a:prstGeom>
          <a:solidFill>
            <a:srgbClr val="004FA1">
              <a:alpha val="67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err="1">
              <a:solidFill>
                <a:schemeClr val="tx1"/>
              </a:solidFill>
              <a:latin typeface="Verdana" pitchFamily="34" charset="0"/>
              <a:ea typeface="Verdana" pitchFamily="34" charset="0"/>
              <a:cs typeface="Verdana" pitchFamily="34" charset="0"/>
            </a:endParaRPr>
          </a:p>
        </p:txBody>
      </p:sp>
      <p:graphicFrame>
        <p:nvGraphicFramePr>
          <p:cNvPr id="27" name="Object 26" hidden="1">
            <a:extLst>
              <a:ext uri="{FF2B5EF4-FFF2-40B4-BE49-F238E27FC236}">
                <a16:creationId xmlns:a16="http://schemas.microsoft.com/office/drawing/2014/main" id="{0F032EC9-8BEA-4C9C-99D0-99FB1D64CF2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7" name="Object 26" hidden="1">
                        <a:extLst>
                          <a:ext uri="{FF2B5EF4-FFF2-40B4-BE49-F238E27FC236}">
                            <a16:creationId xmlns:a16="http://schemas.microsoft.com/office/drawing/2014/main" id="{0F032EC9-8BEA-4C9C-99D0-99FB1D64CF2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2A29E5C-94CD-48B7-AF59-6D9CB7E0A6AC}"/>
              </a:ext>
            </a:extLst>
          </p:cNvPr>
          <p:cNvSpPr>
            <a:spLocks noGrp="1"/>
          </p:cNvSpPr>
          <p:nvPr>
            <p:ph type="title"/>
          </p:nvPr>
        </p:nvSpPr>
        <p:spPr/>
        <p:txBody>
          <a:bodyPr vert="horz"/>
          <a:lstStyle/>
          <a:p>
            <a:r>
              <a:rPr lang="de-DE" dirty="0"/>
              <a:t>Was soll der Energiemasterplan bewirken?</a:t>
            </a:r>
          </a:p>
        </p:txBody>
      </p:sp>
      <p:sp>
        <p:nvSpPr>
          <p:cNvPr id="14" name="Arrow: Left-Right 13">
            <a:extLst>
              <a:ext uri="{FF2B5EF4-FFF2-40B4-BE49-F238E27FC236}">
                <a16:creationId xmlns:a16="http://schemas.microsoft.com/office/drawing/2014/main" id="{280058FA-E41F-48B4-A1DE-83E2EC437B00}"/>
              </a:ext>
            </a:extLst>
          </p:cNvPr>
          <p:cNvSpPr/>
          <p:nvPr/>
        </p:nvSpPr>
        <p:spPr>
          <a:xfrm>
            <a:off x="838799" y="3502428"/>
            <a:ext cx="3110419" cy="1550031"/>
          </a:xfrm>
          <a:prstGeom prst="leftRightArrow">
            <a:avLst>
              <a:gd name="adj1" fmla="val 100000"/>
              <a:gd name="adj2" fmla="val 0"/>
            </a:avLst>
          </a:prstGeom>
          <a:no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algn="ctr"/>
            <a:r>
              <a:rPr lang="de-AT" sz="2400" b="1" dirty="0">
                <a:solidFill>
                  <a:schemeClr val="bg1"/>
                </a:solidFill>
                <a:effectLst>
                  <a:outerShdw blurRad="38100" dist="38100" dir="2700000" algn="tl">
                    <a:srgbClr val="000000">
                      <a:alpha val="43137"/>
                    </a:srgbClr>
                  </a:outerShdw>
                </a:effectLst>
                <a:latin typeface="Bahnschrift" panose="020B0502040204020203" pitchFamily="34" charset="0"/>
              </a:rPr>
              <a:t>Umfassender Orientierungsrahmen</a:t>
            </a:r>
          </a:p>
          <a:p>
            <a:pPr algn="ctr"/>
            <a:r>
              <a:rPr lang="de-AT" sz="2400" b="1" dirty="0">
                <a:solidFill>
                  <a:schemeClr val="bg1"/>
                </a:solidFill>
                <a:effectLst>
                  <a:outerShdw blurRad="38100" dist="38100" dir="2700000" algn="tl">
                    <a:srgbClr val="000000">
                      <a:alpha val="43137"/>
                    </a:srgbClr>
                  </a:outerShdw>
                </a:effectLst>
                <a:latin typeface="Bahnschrift" panose="020B0502040204020203" pitchFamily="34" charset="0"/>
              </a:rPr>
              <a:t>und Anleitungen für alle Bereiche</a:t>
            </a:r>
            <a:endParaRPr lang="de-AT" sz="2400" dirty="0">
              <a:solidFill>
                <a:schemeClr val="bg1"/>
              </a:solidFill>
              <a:effectLst>
                <a:outerShdw blurRad="38100" dist="38100" dir="2700000" algn="tl">
                  <a:srgbClr val="000000">
                    <a:alpha val="43137"/>
                  </a:srgbClr>
                </a:outerShdw>
              </a:effectLst>
              <a:latin typeface="Bahnschrift" panose="020B0502040204020203" pitchFamily="34" charset="0"/>
            </a:endParaRPr>
          </a:p>
        </p:txBody>
      </p:sp>
      <p:sp>
        <p:nvSpPr>
          <p:cNvPr id="31" name="Arrow: Left-Right 30">
            <a:extLst>
              <a:ext uri="{FF2B5EF4-FFF2-40B4-BE49-F238E27FC236}">
                <a16:creationId xmlns:a16="http://schemas.microsoft.com/office/drawing/2014/main" id="{E46FD89B-CBF6-403C-8395-8EDD3A609B36}"/>
              </a:ext>
            </a:extLst>
          </p:cNvPr>
          <p:cNvSpPr/>
          <p:nvPr/>
        </p:nvSpPr>
        <p:spPr>
          <a:xfrm>
            <a:off x="4645325" y="3626341"/>
            <a:ext cx="2856901" cy="1180699"/>
          </a:xfrm>
          <a:prstGeom prst="leftRightArrow">
            <a:avLst>
              <a:gd name="adj1" fmla="val 100000"/>
              <a:gd name="adj2" fmla="val 0"/>
            </a:avLst>
          </a:prstGeom>
          <a:noFill/>
          <a:ln w="9525">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de-AT" sz="2400" b="1" dirty="0">
                <a:solidFill>
                  <a:schemeClr val="accent1">
                    <a:lumMod val="75000"/>
                  </a:schemeClr>
                </a:solidFill>
                <a:latin typeface="Bahnschrift" panose="020B0502040204020203" pitchFamily="34" charset="0"/>
              </a:rPr>
              <a:t> </a:t>
            </a:r>
            <a:r>
              <a:rPr lang="de-AT" sz="2400" b="1" dirty="0">
                <a:solidFill>
                  <a:schemeClr val="bg1"/>
                </a:solidFill>
                <a:effectLst>
                  <a:outerShdw blurRad="38100" dist="38100" dir="2700000" algn="tl">
                    <a:srgbClr val="000000">
                      <a:alpha val="43137"/>
                    </a:srgbClr>
                  </a:outerShdw>
                </a:effectLst>
                <a:latin typeface="Bahnschrift" panose="020B0502040204020203" pitchFamily="34" charset="0"/>
              </a:rPr>
              <a:t>Motivation und Aufzeigen von  Potenzial</a:t>
            </a:r>
          </a:p>
        </p:txBody>
      </p:sp>
      <p:pic>
        <p:nvPicPr>
          <p:cNvPr id="44" name="Graphic 43" descr="Map with pin outline">
            <a:extLst>
              <a:ext uri="{FF2B5EF4-FFF2-40B4-BE49-F238E27FC236}">
                <a16:creationId xmlns:a16="http://schemas.microsoft.com/office/drawing/2014/main" id="{97697569-22C8-4B5B-8267-FACB1B29C68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90701" y="1856439"/>
            <a:ext cx="1235108" cy="1235108"/>
          </a:xfrm>
          <a:prstGeom prst="rect">
            <a:avLst/>
          </a:prstGeom>
        </p:spPr>
      </p:pic>
      <p:sp>
        <p:nvSpPr>
          <p:cNvPr id="45" name="Freeform: Shape 44">
            <a:extLst>
              <a:ext uri="{FF2B5EF4-FFF2-40B4-BE49-F238E27FC236}">
                <a16:creationId xmlns:a16="http://schemas.microsoft.com/office/drawing/2014/main" id="{4C362046-E6A4-4B34-9F8B-B915CCD8202B}"/>
              </a:ext>
            </a:extLst>
          </p:cNvPr>
          <p:cNvSpPr>
            <a:spLocks noChangeAspect="1"/>
          </p:cNvSpPr>
          <p:nvPr/>
        </p:nvSpPr>
        <p:spPr bwMode="auto">
          <a:xfrm>
            <a:off x="5697899" y="2078648"/>
            <a:ext cx="751752" cy="879852"/>
          </a:xfrm>
          <a:custGeom>
            <a:avLst/>
            <a:gdLst>
              <a:gd name="connsiteX0" fmla="*/ 285375 w 477609"/>
              <a:gd name="connsiteY0" fmla="*/ 136507 h 558995"/>
              <a:gd name="connsiteX1" fmla="*/ 307471 w 477609"/>
              <a:gd name="connsiteY1" fmla="*/ 158449 h 558995"/>
              <a:gd name="connsiteX2" fmla="*/ 257097 w 477609"/>
              <a:gd name="connsiteY2" fmla="*/ 158449 h 558995"/>
              <a:gd name="connsiteX3" fmla="*/ 306699 w 477609"/>
              <a:gd name="connsiteY3" fmla="*/ 208206 h 558995"/>
              <a:gd name="connsiteX4" fmla="*/ 290628 w 477609"/>
              <a:gd name="connsiteY4" fmla="*/ 224354 h 558995"/>
              <a:gd name="connsiteX5" fmla="*/ 240717 w 477609"/>
              <a:gd name="connsiteY5" fmla="*/ 174443 h 558995"/>
              <a:gd name="connsiteX6" fmla="*/ 240717 w 477609"/>
              <a:gd name="connsiteY6" fmla="*/ 225204 h 558995"/>
              <a:gd name="connsiteX7" fmla="*/ 218775 w 477609"/>
              <a:gd name="connsiteY7" fmla="*/ 203107 h 558995"/>
              <a:gd name="connsiteX8" fmla="*/ 218775 w 477609"/>
              <a:gd name="connsiteY8" fmla="*/ 136507 h 558995"/>
              <a:gd name="connsiteX9" fmla="*/ 263123 w 477609"/>
              <a:gd name="connsiteY9" fmla="*/ 85895 h 558995"/>
              <a:gd name="connsiteX10" fmla="*/ 168161 w 477609"/>
              <a:gd name="connsiteY10" fmla="*/ 180857 h 558995"/>
              <a:gd name="connsiteX11" fmla="*/ 263123 w 477609"/>
              <a:gd name="connsiteY11" fmla="*/ 275819 h 558995"/>
              <a:gd name="connsiteX12" fmla="*/ 358085 w 477609"/>
              <a:gd name="connsiteY12" fmla="*/ 180857 h 558995"/>
              <a:gd name="connsiteX13" fmla="*/ 263123 w 477609"/>
              <a:gd name="connsiteY13" fmla="*/ 85895 h 558995"/>
              <a:gd name="connsiteX14" fmla="*/ 263123 w 477609"/>
              <a:gd name="connsiteY14" fmla="*/ 50450 h 558995"/>
              <a:gd name="connsiteX15" fmla="*/ 393529 w 477609"/>
              <a:gd name="connsiteY15" fmla="*/ 180857 h 558995"/>
              <a:gd name="connsiteX16" fmla="*/ 263123 w 477609"/>
              <a:gd name="connsiteY16" fmla="*/ 311264 h 558995"/>
              <a:gd name="connsiteX17" fmla="*/ 132717 w 477609"/>
              <a:gd name="connsiteY17" fmla="*/ 180857 h 558995"/>
              <a:gd name="connsiteX18" fmla="*/ 263123 w 477609"/>
              <a:gd name="connsiteY18" fmla="*/ 50450 h 558995"/>
              <a:gd name="connsiteX19" fmla="*/ 258486 w 477609"/>
              <a:gd name="connsiteY19" fmla="*/ 19 h 558995"/>
              <a:gd name="connsiteX20" fmla="*/ 150327 w 477609"/>
              <a:gd name="connsiteY20" fmla="*/ 22645 h 558995"/>
              <a:gd name="connsiteX21" fmla="*/ 81213 w 477609"/>
              <a:gd name="connsiteY21" fmla="*/ 85794 h 558995"/>
              <a:gd name="connsiteX22" fmla="*/ 67846 w 477609"/>
              <a:gd name="connsiteY22" fmla="*/ 110017 h 558995"/>
              <a:gd name="connsiteX23" fmla="*/ 67798 w 477609"/>
              <a:gd name="connsiteY23" fmla="*/ 110017 h 558995"/>
              <a:gd name="connsiteX24" fmla="*/ 48021 w 477609"/>
              <a:gd name="connsiteY24" fmla="*/ 182613 h 558995"/>
              <a:gd name="connsiteX25" fmla="*/ 56921 w 477609"/>
              <a:gd name="connsiteY25" fmla="*/ 222121 h 558995"/>
              <a:gd name="connsiteX26" fmla="*/ 56937 w 477609"/>
              <a:gd name="connsiteY26" fmla="*/ 222121 h 558995"/>
              <a:gd name="connsiteX27" fmla="*/ 57955 w 477609"/>
              <a:gd name="connsiteY27" fmla="*/ 227333 h 558995"/>
              <a:gd name="connsiteX28" fmla="*/ 57894 w 477609"/>
              <a:gd name="connsiteY28" fmla="*/ 232339 h 558995"/>
              <a:gd name="connsiteX29" fmla="*/ 63 w 477609"/>
              <a:gd name="connsiteY29" fmla="*/ 322326 h 558995"/>
              <a:gd name="connsiteX30" fmla="*/ 5994 w 477609"/>
              <a:gd name="connsiteY30" fmla="*/ 334686 h 558995"/>
              <a:gd name="connsiteX31" fmla="*/ 6188 w 477609"/>
              <a:gd name="connsiteY31" fmla="*/ 334686 h 558995"/>
              <a:gd name="connsiteX32" fmla="*/ 15357 w 477609"/>
              <a:gd name="connsiteY32" fmla="*/ 341387 h 558995"/>
              <a:gd name="connsiteX33" fmla="*/ 42060 w 477609"/>
              <a:gd name="connsiteY33" fmla="*/ 359755 h 558995"/>
              <a:gd name="connsiteX34" fmla="*/ 37610 w 477609"/>
              <a:gd name="connsiteY34" fmla="*/ 384988 h 558995"/>
              <a:gd name="connsiteX35" fmla="*/ 56400 w 477609"/>
              <a:gd name="connsiteY35" fmla="*/ 398347 h 558995"/>
              <a:gd name="connsiteX36" fmla="*/ 43049 w 477609"/>
              <a:gd name="connsiteY36" fmla="*/ 416158 h 558995"/>
              <a:gd name="connsiteX37" fmla="*/ 54917 w 477609"/>
              <a:gd name="connsiteY37" fmla="*/ 439412 h 558995"/>
              <a:gd name="connsiteX38" fmla="*/ 52939 w 477609"/>
              <a:gd name="connsiteY38" fmla="*/ 446834 h 558995"/>
              <a:gd name="connsiteX39" fmla="*/ 52990 w 477609"/>
              <a:gd name="connsiteY39" fmla="*/ 446834 h 558995"/>
              <a:gd name="connsiteX40" fmla="*/ 50901 w 477609"/>
              <a:gd name="connsiteY40" fmla="*/ 453734 h 558995"/>
              <a:gd name="connsiteX41" fmla="*/ 49580 w 477609"/>
              <a:gd name="connsiteY41" fmla="*/ 480765 h 558995"/>
              <a:gd name="connsiteX42" fmla="*/ 162768 w 477609"/>
              <a:gd name="connsiteY42" fmla="*/ 485706 h 558995"/>
              <a:gd name="connsiteX43" fmla="*/ 167710 w 477609"/>
              <a:gd name="connsiteY43" fmla="*/ 540062 h 558995"/>
              <a:gd name="connsiteX44" fmla="*/ 403970 w 477609"/>
              <a:gd name="connsiteY44" fmla="*/ 526226 h 558995"/>
              <a:gd name="connsiteX45" fmla="*/ 407463 w 477609"/>
              <a:gd name="connsiteY45" fmla="*/ 464093 h 558995"/>
              <a:gd name="connsiteX46" fmla="*/ 407430 w 477609"/>
              <a:gd name="connsiteY46" fmla="*/ 446834 h 558995"/>
              <a:gd name="connsiteX47" fmla="*/ 407490 w 477609"/>
              <a:gd name="connsiteY47" fmla="*/ 446834 h 558995"/>
              <a:gd name="connsiteX48" fmla="*/ 412435 w 477609"/>
              <a:gd name="connsiteY48" fmla="*/ 395378 h 558995"/>
              <a:gd name="connsiteX49" fmla="*/ 429742 w 477609"/>
              <a:gd name="connsiteY49" fmla="*/ 334522 h 558995"/>
              <a:gd name="connsiteX50" fmla="*/ 429670 w 477609"/>
              <a:gd name="connsiteY50" fmla="*/ 334522 h 558995"/>
              <a:gd name="connsiteX51" fmla="*/ 443864 w 477609"/>
              <a:gd name="connsiteY51" fmla="*/ 304403 h 558995"/>
              <a:gd name="connsiteX52" fmla="*/ 459249 w 477609"/>
              <a:gd name="connsiteY52" fmla="*/ 273377 h 558995"/>
              <a:gd name="connsiteX53" fmla="*/ 471065 w 477609"/>
              <a:gd name="connsiteY53" fmla="*/ 237570 h 558995"/>
              <a:gd name="connsiteX54" fmla="*/ 474045 w 477609"/>
              <a:gd name="connsiteY54" fmla="*/ 222121 h 558995"/>
              <a:gd name="connsiteX55" fmla="*/ 474197 w 477609"/>
              <a:gd name="connsiteY55" fmla="*/ 222121 h 558995"/>
              <a:gd name="connsiteX56" fmla="*/ 466287 w 477609"/>
              <a:gd name="connsiteY56" fmla="*/ 110017 h 558995"/>
              <a:gd name="connsiteX57" fmla="*/ 466200 w 477609"/>
              <a:gd name="connsiteY57" fmla="*/ 110017 h 558995"/>
              <a:gd name="connsiteX58" fmla="*/ 456294 w 477609"/>
              <a:gd name="connsiteY58" fmla="*/ 88228 h 558995"/>
              <a:gd name="connsiteX59" fmla="*/ 401503 w 477609"/>
              <a:gd name="connsiteY59" fmla="*/ 35998 h 558995"/>
              <a:gd name="connsiteX60" fmla="*/ 258486 w 477609"/>
              <a:gd name="connsiteY60" fmla="*/ 19 h 55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77609" h="558995">
                <a:moveTo>
                  <a:pt x="285375" y="136507"/>
                </a:moveTo>
                <a:lnTo>
                  <a:pt x="307471" y="158449"/>
                </a:lnTo>
                <a:lnTo>
                  <a:pt x="257097" y="158449"/>
                </a:lnTo>
                <a:lnTo>
                  <a:pt x="306699" y="208206"/>
                </a:lnTo>
                <a:lnTo>
                  <a:pt x="290628" y="224354"/>
                </a:lnTo>
                <a:lnTo>
                  <a:pt x="240717" y="174443"/>
                </a:lnTo>
                <a:lnTo>
                  <a:pt x="240717" y="225204"/>
                </a:lnTo>
                <a:lnTo>
                  <a:pt x="218775" y="203107"/>
                </a:lnTo>
                <a:lnTo>
                  <a:pt x="218775" y="136507"/>
                </a:lnTo>
                <a:close/>
                <a:moveTo>
                  <a:pt x="263123" y="85895"/>
                </a:moveTo>
                <a:cubicBezTo>
                  <a:pt x="210677" y="85895"/>
                  <a:pt x="168161" y="128411"/>
                  <a:pt x="168161" y="180857"/>
                </a:cubicBezTo>
                <a:cubicBezTo>
                  <a:pt x="168161" y="233303"/>
                  <a:pt x="210677" y="275819"/>
                  <a:pt x="263123" y="275819"/>
                </a:cubicBezTo>
                <a:cubicBezTo>
                  <a:pt x="315569" y="275819"/>
                  <a:pt x="358085" y="233303"/>
                  <a:pt x="358085" y="180857"/>
                </a:cubicBezTo>
                <a:cubicBezTo>
                  <a:pt x="358085" y="128411"/>
                  <a:pt x="315569" y="85895"/>
                  <a:pt x="263123" y="85895"/>
                </a:cubicBezTo>
                <a:close/>
                <a:moveTo>
                  <a:pt x="263123" y="50450"/>
                </a:moveTo>
                <a:cubicBezTo>
                  <a:pt x="335144" y="50450"/>
                  <a:pt x="393529" y="108835"/>
                  <a:pt x="393529" y="180857"/>
                </a:cubicBezTo>
                <a:cubicBezTo>
                  <a:pt x="393529" y="252879"/>
                  <a:pt x="335144" y="311264"/>
                  <a:pt x="263123" y="311264"/>
                </a:cubicBezTo>
                <a:cubicBezTo>
                  <a:pt x="191102" y="311264"/>
                  <a:pt x="132717" y="252879"/>
                  <a:pt x="132717" y="180857"/>
                </a:cubicBezTo>
                <a:cubicBezTo>
                  <a:pt x="132717" y="108835"/>
                  <a:pt x="191102" y="50450"/>
                  <a:pt x="263123" y="50450"/>
                </a:cubicBezTo>
                <a:close/>
                <a:moveTo>
                  <a:pt x="258486" y="19"/>
                </a:moveTo>
                <a:cubicBezTo>
                  <a:pt x="214728" y="-476"/>
                  <a:pt x="176779" y="8797"/>
                  <a:pt x="150327" y="22645"/>
                </a:cubicBezTo>
                <a:cubicBezTo>
                  <a:pt x="118806" y="38965"/>
                  <a:pt x="96741" y="61684"/>
                  <a:pt x="81213" y="85794"/>
                </a:cubicBezTo>
                <a:lnTo>
                  <a:pt x="67846" y="110017"/>
                </a:lnTo>
                <a:lnTo>
                  <a:pt x="67798" y="110017"/>
                </a:lnTo>
                <a:cubicBezTo>
                  <a:pt x="55932" y="135698"/>
                  <a:pt x="50493" y="161378"/>
                  <a:pt x="48021" y="182613"/>
                </a:cubicBezTo>
                <a:cubicBezTo>
                  <a:pt x="46044" y="198910"/>
                  <a:pt x="53460" y="211750"/>
                  <a:pt x="56921" y="222121"/>
                </a:cubicBezTo>
                <a:lnTo>
                  <a:pt x="56937" y="222121"/>
                </a:lnTo>
                <a:lnTo>
                  <a:pt x="57955" y="227333"/>
                </a:lnTo>
                <a:cubicBezTo>
                  <a:pt x="58141" y="229002"/>
                  <a:pt x="58141" y="230609"/>
                  <a:pt x="57894" y="232339"/>
                </a:cubicBezTo>
                <a:cubicBezTo>
                  <a:pt x="54928" y="256566"/>
                  <a:pt x="1052" y="295132"/>
                  <a:pt x="63" y="322326"/>
                </a:cubicBezTo>
                <a:cubicBezTo>
                  <a:pt x="-432" y="326775"/>
                  <a:pt x="2040" y="331225"/>
                  <a:pt x="5994" y="334686"/>
                </a:cubicBezTo>
                <a:lnTo>
                  <a:pt x="6188" y="334686"/>
                </a:lnTo>
                <a:lnTo>
                  <a:pt x="15357" y="341387"/>
                </a:lnTo>
                <a:cubicBezTo>
                  <a:pt x="25927" y="347788"/>
                  <a:pt x="38722" y="353075"/>
                  <a:pt x="42060" y="359755"/>
                </a:cubicBezTo>
                <a:cubicBezTo>
                  <a:pt x="45027" y="365197"/>
                  <a:pt x="36621" y="377566"/>
                  <a:pt x="37610" y="384988"/>
                </a:cubicBezTo>
                <a:cubicBezTo>
                  <a:pt x="38599" y="391420"/>
                  <a:pt x="56400" y="398347"/>
                  <a:pt x="56400" y="398347"/>
                </a:cubicBezTo>
                <a:cubicBezTo>
                  <a:pt x="56400" y="398347"/>
                  <a:pt x="43543" y="410221"/>
                  <a:pt x="43049" y="416158"/>
                </a:cubicBezTo>
                <a:cubicBezTo>
                  <a:pt x="42555" y="422590"/>
                  <a:pt x="54422" y="432980"/>
                  <a:pt x="54917" y="439412"/>
                </a:cubicBezTo>
                <a:cubicBezTo>
                  <a:pt x="54917" y="441391"/>
                  <a:pt x="53928" y="443865"/>
                  <a:pt x="52939" y="446834"/>
                </a:cubicBezTo>
                <a:lnTo>
                  <a:pt x="52990" y="446834"/>
                </a:lnTo>
                <a:lnTo>
                  <a:pt x="50901" y="453734"/>
                </a:lnTo>
                <a:cubicBezTo>
                  <a:pt x="48654" y="461493"/>
                  <a:pt x="46615" y="471129"/>
                  <a:pt x="49580" y="480765"/>
                </a:cubicBezTo>
                <a:cubicBezTo>
                  <a:pt x="57983" y="509919"/>
                  <a:pt x="155354" y="478788"/>
                  <a:pt x="162768" y="485706"/>
                </a:cubicBezTo>
                <a:cubicBezTo>
                  <a:pt x="175124" y="497072"/>
                  <a:pt x="161285" y="529191"/>
                  <a:pt x="167710" y="540062"/>
                </a:cubicBezTo>
                <a:cubicBezTo>
                  <a:pt x="177596" y="556369"/>
                  <a:pt x="328841" y="578605"/>
                  <a:pt x="403970" y="526226"/>
                </a:cubicBezTo>
                <a:cubicBezTo>
                  <a:pt x="413917" y="519308"/>
                  <a:pt x="408349" y="501797"/>
                  <a:pt x="407463" y="464093"/>
                </a:cubicBezTo>
                <a:lnTo>
                  <a:pt x="407430" y="446834"/>
                </a:lnTo>
                <a:lnTo>
                  <a:pt x="407490" y="446834"/>
                </a:lnTo>
                <a:cubicBezTo>
                  <a:pt x="407984" y="431991"/>
                  <a:pt x="409468" y="415169"/>
                  <a:pt x="412435" y="395378"/>
                </a:cubicBezTo>
                <a:cubicBezTo>
                  <a:pt x="415402" y="373113"/>
                  <a:pt x="421830" y="353323"/>
                  <a:pt x="429742" y="334522"/>
                </a:cubicBezTo>
                <a:lnTo>
                  <a:pt x="429670" y="334522"/>
                </a:lnTo>
                <a:lnTo>
                  <a:pt x="443864" y="304403"/>
                </a:lnTo>
                <a:cubicBezTo>
                  <a:pt x="448869" y="294267"/>
                  <a:pt x="454059" y="284007"/>
                  <a:pt x="459249" y="273377"/>
                </a:cubicBezTo>
                <a:cubicBezTo>
                  <a:pt x="463327" y="264848"/>
                  <a:pt x="467682" y="252426"/>
                  <a:pt x="471065" y="237570"/>
                </a:cubicBezTo>
                <a:lnTo>
                  <a:pt x="474045" y="222121"/>
                </a:lnTo>
                <a:lnTo>
                  <a:pt x="474197" y="222121"/>
                </a:lnTo>
                <a:cubicBezTo>
                  <a:pt x="479636" y="189033"/>
                  <a:pt x="479636" y="147056"/>
                  <a:pt x="466287" y="110017"/>
                </a:cubicBezTo>
                <a:lnTo>
                  <a:pt x="466200" y="110017"/>
                </a:lnTo>
                <a:lnTo>
                  <a:pt x="456294" y="88228"/>
                </a:lnTo>
                <a:cubicBezTo>
                  <a:pt x="444427" y="67063"/>
                  <a:pt x="426720" y="48610"/>
                  <a:pt x="401503" y="35998"/>
                </a:cubicBezTo>
                <a:cubicBezTo>
                  <a:pt x="351812" y="10776"/>
                  <a:pt x="302244" y="514"/>
                  <a:pt x="258486" y="19"/>
                </a:cubicBezTo>
                <a:close/>
              </a:path>
            </a:pathLst>
          </a:custGeom>
          <a:solidFill>
            <a:schemeClr val="accent1"/>
          </a:solidFill>
          <a:ln>
            <a:noFill/>
          </a:ln>
          <a:effectLst/>
        </p:spPr>
        <p:txBody>
          <a:bodyPr vert="horz" wrap="square" lIns="144000" tIns="45720" rIns="144000" bIns="45720" numCol="1" anchor="ctr" anchorCtr="0" compatLnSpc="1">
            <a:prstTxWarp prst="textNoShape">
              <a:avLst/>
            </a:prstTxWarp>
            <a:noAutofit/>
          </a:bodyPr>
          <a:lstStyle/>
          <a:p>
            <a:pPr algn="ctr"/>
            <a:endParaRPr lang="de-DE" sz="1400">
              <a:solidFill>
                <a:schemeClr val="bg1"/>
              </a:solidFill>
            </a:endParaRPr>
          </a:p>
        </p:txBody>
      </p:sp>
      <p:sp>
        <p:nvSpPr>
          <p:cNvPr id="10" name="Arrow: Left-Right 9">
            <a:extLst>
              <a:ext uri="{FF2B5EF4-FFF2-40B4-BE49-F238E27FC236}">
                <a16:creationId xmlns:a16="http://schemas.microsoft.com/office/drawing/2014/main" id="{CDFA6D7B-86A8-4150-88E5-D94468AC0C1B}"/>
              </a:ext>
            </a:extLst>
          </p:cNvPr>
          <p:cNvSpPr/>
          <p:nvPr/>
        </p:nvSpPr>
        <p:spPr>
          <a:xfrm>
            <a:off x="7988784" y="3565015"/>
            <a:ext cx="3479316" cy="1180699"/>
          </a:xfrm>
          <a:prstGeom prst="leftRightArrow">
            <a:avLst>
              <a:gd name="adj1" fmla="val 100000"/>
              <a:gd name="adj2" fmla="val 0"/>
            </a:avLst>
          </a:prstGeom>
          <a:noFill/>
          <a:ln w="9525">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algn="ctr"/>
            <a:r>
              <a:rPr lang="de-AT" sz="2400" b="1" dirty="0">
                <a:solidFill>
                  <a:schemeClr val="bg1"/>
                </a:solidFill>
                <a:effectLst>
                  <a:outerShdw blurRad="38100" dist="38100" dir="2700000" algn="tl">
                    <a:srgbClr val="000000">
                      <a:alpha val="43137"/>
                    </a:srgbClr>
                  </a:outerShdw>
                </a:effectLst>
                <a:latin typeface="Bahnschrift" panose="020B0502040204020203" pitchFamily="34" charset="0"/>
              </a:rPr>
              <a:t>Rasche Umsetzung der Energietransformation forcieren</a:t>
            </a:r>
          </a:p>
        </p:txBody>
      </p:sp>
      <p:grpSp>
        <p:nvGrpSpPr>
          <p:cNvPr id="11" name="Gruppieren 52">
            <a:extLst>
              <a:ext uri="{FF2B5EF4-FFF2-40B4-BE49-F238E27FC236}">
                <a16:creationId xmlns:a16="http://schemas.microsoft.com/office/drawing/2014/main" id="{E8C5936F-74B6-456C-B350-8876BE2167BD}"/>
              </a:ext>
            </a:extLst>
          </p:cNvPr>
          <p:cNvGrpSpPr>
            <a:grpSpLocks noChangeAspect="1"/>
          </p:cNvGrpSpPr>
          <p:nvPr>
            <p:custDataLst>
              <p:tags r:id="rId2"/>
            </p:custDataLst>
          </p:nvPr>
        </p:nvGrpSpPr>
        <p:grpSpPr>
          <a:xfrm>
            <a:off x="9223450" y="1969072"/>
            <a:ext cx="1019233" cy="1013490"/>
            <a:chOff x="7589090" y="3117559"/>
            <a:chExt cx="507684" cy="504825"/>
          </a:xfrm>
          <a:solidFill>
            <a:schemeClr val="accent1"/>
          </a:solidFill>
        </p:grpSpPr>
        <p:sp>
          <p:nvSpPr>
            <p:cNvPr id="12" name="Freihandform: Form 53">
              <a:extLst>
                <a:ext uri="{FF2B5EF4-FFF2-40B4-BE49-F238E27FC236}">
                  <a16:creationId xmlns:a16="http://schemas.microsoft.com/office/drawing/2014/main" id="{D9B5E10C-7F03-43E5-97D4-8C9429C2CEA7}"/>
                </a:ext>
              </a:extLst>
            </p:cNvPr>
            <p:cNvSpPr/>
            <p:nvPr/>
          </p:nvSpPr>
          <p:spPr>
            <a:xfrm>
              <a:off x="7687199" y="3117559"/>
              <a:ext cx="409575" cy="504825"/>
            </a:xfrm>
            <a:custGeom>
              <a:avLst/>
              <a:gdLst>
                <a:gd name="connsiteX0" fmla="*/ 366292 w 409575"/>
                <a:gd name="connsiteY0" fmla="*/ 166764 h 504825"/>
                <a:gd name="connsiteX1" fmla="*/ 401134 w 409575"/>
                <a:gd name="connsiteY1" fmla="*/ 125263 h 504825"/>
                <a:gd name="connsiteX2" fmla="*/ 399962 w 409575"/>
                <a:gd name="connsiteY2" fmla="*/ 111833 h 504825"/>
                <a:gd name="connsiteX3" fmla="*/ 371873 w 409575"/>
                <a:gd name="connsiteY3" fmla="*/ 88259 h 504825"/>
                <a:gd name="connsiteX4" fmla="*/ 358462 w 409575"/>
                <a:gd name="connsiteY4" fmla="*/ 89449 h 504825"/>
                <a:gd name="connsiteX5" fmla="*/ 326039 w 409575"/>
                <a:gd name="connsiteY5" fmla="*/ 128092 h 504825"/>
                <a:gd name="connsiteX6" fmla="*/ 233208 w 409575"/>
                <a:gd name="connsiteY6" fmla="*/ 90583 h 504825"/>
                <a:gd name="connsiteX7" fmla="*/ 233208 w 409575"/>
                <a:gd name="connsiteY7" fmla="*/ 56312 h 504825"/>
                <a:gd name="connsiteX8" fmla="*/ 274623 w 409575"/>
                <a:gd name="connsiteY8" fmla="*/ 56312 h 504825"/>
                <a:gd name="connsiteX9" fmla="*/ 283034 w 409575"/>
                <a:gd name="connsiteY9" fmla="*/ 47901 h 504825"/>
                <a:gd name="connsiteX10" fmla="*/ 283034 w 409575"/>
                <a:gd name="connsiteY10" fmla="*/ 15554 h 504825"/>
                <a:gd name="connsiteX11" fmla="*/ 274623 w 409575"/>
                <a:gd name="connsiteY11" fmla="*/ 7144 h 504825"/>
                <a:gd name="connsiteX12" fmla="*/ 135882 w 409575"/>
                <a:gd name="connsiteY12" fmla="*/ 7144 h 504825"/>
                <a:gd name="connsiteX13" fmla="*/ 127471 w 409575"/>
                <a:gd name="connsiteY13" fmla="*/ 15554 h 504825"/>
                <a:gd name="connsiteX14" fmla="*/ 127471 w 409575"/>
                <a:gd name="connsiteY14" fmla="*/ 47901 h 504825"/>
                <a:gd name="connsiteX15" fmla="*/ 135882 w 409575"/>
                <a:gd name="connsiteY15" fmla="*/ 56312 h 504825"/>
                <a:gd name="connsiteX16" fmla="*/ 177296 w 409575"/>
                <a:gd name="connsiteY16" fmla="*/ 56312 h 504825"/>
                <a:gd name="connsiteX17" fmla="*/ 177296 w 409575"/>
                <a:gd name="connsiteY17" fmla="*/ 90430 h 504825"/>
                <a:gd name="connsiteX18" fmla="*/ 84313 w 409575"/>
                <a:gd name="connsiteY18" fmla="*/ 127883 h 504825"/>
                <a:gd name="connsiteX19" fmla="*/ 52052 w 409575"/>
                <a:gd name="connsiteY19" fmla="*/ 89449 h 504825"/>
                <a:gd name="connsiteX20" fmla="*/ 38641 w 409575"/>
                <a:gd name="connsiteY20" fmla="*/ 88259 h 504825"/>
                <a:gd name="connsiteX21" fmla="*/ 10552 w 409575"/>
                <a:gd name="connsiteY21" fmla="*/ 111833 h 504825"/>
                <a:gd name="connsiteX22" fmla="*/ 9380 w 409575"/>
                <a:gd name="connsiteY22" fmla="*/ 125263 h 504825"/>
                <a:gd name="connsiteX23" fmla="*/ 44080 w 409575"/>
                <a:gd name="connsiteY23" fmla="*/ 166621 h 504825"/>
                <a:gd name="connsiteX24" fmla="*/ 16029 w 409575"/>
                <a:gd name="connsiteY24" fmla="*/ 213893 h 504825"/>
                <a:gd name="connsiteX25" fmla="*/ 24887 w 409575"/>
                <a:gd name="connsiteY25" fmla="*/ 235734 h 504825"/>
                <a:gd name="connsiteX26" fmla="*/ 46728 w 409575"/>
                <a:gd name="connsiteY26" fmla="*/ 226876 h 504825"/>
                <a:gd name="connsiteX27" fmla="*/ 205271 w 409575"/>
                <a:gd name="connsiteY27" fmla="*/ 121806 h 504825"/>
                <a:gd name="connsiteX28" fmla="*/ 377321 w 409575"/>
                <a:gd name="connsiteY28" fmla="*/ 293856 h 504825"/>
                <a:gd name="connsiteX29" fmla="*/ 205271 w 409575"/>
                <a:gd name="connsiteY29" fmla="*/ 465887 h 504825"/>
                <a:gd name="connsiteX30" fmla="*/ 126614 w 409575"/>
                <a:gd name="connsiteY30" fmla="*/ 446913 h 504825"/>
                <a:gd name="connsiteX31" fmla="*/ 104164 w 409575"/>
                <a:gd name="connsiteY31" fmla="*/ 454095 h 504825"/>
                <a:gd name="connsiteX32" fmla="*/ 111345 w 409575"/>
                <a:gd name="connsiteY32" fmla="*/ 476545 h 504825"/>
                <a:gd name="connsiteX33" fmla="*/ 205271 w 409575"/>
                <a:gd name="connsiteY33" fmla="*/ 499224 h 504825"/>
                <a:gd name="connsiteX34" fmla="*/ 410659 w 409575"/>
                <a:gd name="connsiteY34" fmla="*/ 293856 h 504825"/>
                <a:gd name="connsiteX35" fmla="*/ 366292 w 409575"/>
                <a:gd name="connsiteY35" fmla="*/ 166764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09575" h="504825">
                  <a:moveTo>
                    <a:pt x="366292" y="166764"/>
                  </a:moveTo>
                  <a:lnTo>
                    <a:pt x="401134" y="125263"/>
                  </a:lnTo>
                  <a:cubicBezTo>
                    <a:pt x="404515" y="121225"/>
                    <a:pt x="403982" y="115214"/>
                    <a:pt x="399962" y="111833"/>
                  </a:cubicBezTo>
                  <a:lnTo>
                    <a:pt x="371873" y="88259"/>
                  </a:lnTo>
                  <a:cubicBezTo>
                    <a:pt x="367835" y="84887"/>
                    <a:pt x="361824" y="85411"/>
                    <a:pt x="358462" y="89449"/>
                  </a:cubicBezTo>
                  <a:lnTo>
                    <a:pt x="326039" y="128092"/>
                  </a:lnTo>
                  <a:cubicBezTo>
                    <a:pt x="299236" y="108499"/>
                    <a:pt x="267603" y="95317"/>
                    <a:pt x="233208" y="90583"/>
                  </a:cubicBezTo>
                  <a:lnTo>
                    <a:pt x="233208" y="56312"/>
                  </a:lnTo>
                  <a:lnTo>
                    <a:pt x="274623" y="56312"/>
                  </a:lnTo>
                  <a:cubicBezTo>
                    <a:pt x="279271" y="56312"/>
                    <a:pt x="283034" y="52549"/>
                    <a:pt x="283034" y="47901"/>
                  </a:cubicBezTo>
                  <a:lnTo>
                    <a:pt x="283034" y="15554"/>
                  </a:lnTo>
                  <a:cubicBezTo>
                    <a:pt x="283034" y="10906"/>
                    <a:pt x="279271" y="7144"/>
                    <a:pt x="274623" y="7144"/>
                  </a:cubicBezTo>
                  <a:lnTo>
                    <a:pt x="135882" y="7144"/>
                  </a:lnTo>
                  <a:cubicBezTo>
                    <a:pt x="131234" y="7144"/>
                    <a:pt x="127471" y="10906"/>
                    <a:pt x="127471" y="15554"/>
                  </a:cubicBezTo>
                  <a:lnTo>
                    <a:pt x="127471" y="47901"/>
                  </a:lnTo>
                  <a:cubicBezTo>
                    <a:pt x="127471" y="52549"/>
                    <a:pt x="131234" y="56312"/>
                    <a:pt x="135882" y="56312"/>
                  </a:cubicBezTo>
                  <a:lnTo>
                    <a:pt x="177296" y="56312"/>
                  </a:lnTo>
                  <a:lnTo>
                    <a:pt x="177296" y="90430"/>
                  </a:lnTo>
                  <a:cubicBezTo>
                    <a:pt x="143216" y="95079"/>
                    <a:pt x="111403" y="108137"/>
                    <a:pt x="84313" y="127883"/>
                  </a:cubicBezTo>
                  <a:lnTo>
                    <a:pt x="52052" y="89449"/>
                  </a:lnTo>
                  <a:cubicBezTo>
                    <a:pt x="48671" y="85411"/>
                    <a:pt x="42680" y="84887"/>
                    <a:pt x="38641" y="88259"/>
                  </a:cubicBezTo>
                  <a:lnTo>
                    <a:pt x="10552" y="111833"/>
                  </a:lnTo>
                  <a:cubicBezTo>
                    <a:pt x="6513" y="115214"/>
                    <a:pt x="5989" y="121225"/>
                    <a:pt x="9380" y="125263"/>
                  </a:cubicBezTo>
                  <a:lnTo>
                    <a:pt x="44080" y="166621"/>
                  </a:lnTo>
                  <a:cubicBezTo>
                    <a:pt x="32859" y="180851"/>
                    <a:pt x="23315" y="196625"/>
                    <a:pt x="16029" y="213893"/>
                  </a:cubicBezTo>
                  <a:cubicBezTo>
                    <a:pt x="12438" y="222361"/>
                    <a:pt x="16400" y="232143"/>
                    <a:pt x="24887" y="235734"/>
                  </a:cubicBezTo>
                  <a:cubicBezTo>
                    <a:pt x="33393" y="239344"/>
                    <a:pt x="43137" y="235344"/>
                    <a:pt x="46728" y="226876"/>
                  </a:cubicBezTo>
                  <a:cubicBezTo>
                    <a:pt x="73722" y="163049"/>
                    <a:pt x="135948" y="121806"/>
                    <a:pt x="205271" y="121806"/>
                  </a:cubicBezTo>
                  <a:cubicBezTo>
                    <a:pt x="300131" y="121806"/>
                    <a:pt x="377321" y="198977"/>
                    <a:pt x="377321" y="293856"/>
                  </a:cubicBezTo>
                  <a:cubicBezTo>
                    <a:pt x="377321" y="388715"/>
                    <a:pt x="300131" y="465887"/>
                    <a:pt x="205271" y="465887"/>
                  </a:cubicBezTo>
                  <a:cubicBezTo>
                    <a:pt x="177535" y="465887"/>
                    <a:pt x="151084" y="459505"/>
                    <a:pt x="126614" y="446913"/>
                  </a:cubicBezTo>
                  <a:cubicBezTo>
                    <a:pt x="118451" y="442693"/>
                    <a:pt x="108383" y="445913"/>
                    <a:pt x="104164" y="454095"/>
                  </a:cubicBezTo>
                  <a:cubicBezTo>
                    <a:pt x="99944" y="462277"/>
                    <a:pt x="103163" y="472326"/>
                    <a:pt x="111345" y="476545"/>
                  </a:cubicBezTo>
                  <a:cubicBezTo>
                    <a:pt x="140158" y="491395"/>
                    <a:pt x="172648" y="499224"/>
                    <a:pt x="205271" y="499224"/>
                  </a:cubicBezTo>
                  <a:cubicBezTo>
                    <a:pt x="318514" y="499224"/>
                    <a:pt x="410659" y="407099"/>
                    <a:pt x="410659" y="293856"/>
                  </a:cubicBezTo>
                  <a:cubicBezTo>
                    <a:pt x="410640" y="245859"/>
                    <a:pt x="393971" y="201778"/>
                    <a:pt x="366292" y="166764"/>
                  </a:cubicBezTo>
                  <a:close/>
                </a:path>
              </a:pathLst>
            </a:custGeom>
            <a:grpFill/>
            <a:ln w="9525" cap="flat">
              <a:noFill/>
              <a:prstDash val="solid"/>
              <a:miter/>
            </a:ln>
          </p:spPr>
          <p:txBody>
            <a:bodyPr rtlCol="0" anchor="ctr"/>
            <a:lstStyle/>
            <a:p>
              <a:endParaRPr lang="en-US"/>
            </a:p>
          </p:txBody>
        </p:sp>
        <p:sp>
          <p:nvSpPr>
            <p:cNvPr id="13" name="Freihandform: Form 54">
              <a:extLst>
                <a:ext uri="{FF2B5EF4-FFF2-40B4-BE49-F238E27FC236}">
                  <a16:creationId xmlns:a16="http://schemas.microsoft.com/office/drawing/2014/main" id="{FA09DD0B-F0B8-439B-84D7-9DD3FE368B57}"/>
                </a:ext>
              </a:extLst>
            </p:cNvPr>
            <p:cNvSpPr/>
            <p:nvPr/>
          </p:nvSpPr>
          <p:spPr>
            <a:xfrm>
              <a:off x="7864362" y="3319626"/>
              <a:ext cx="123825" cy="123825"/>
            </a:xfrm>
            <a:custGeom>
              <a:avLst/>
              <a:gdLst>
                <a:gd name="connsiteX0" fmla="*/ 63332 w 123825"/>
                <a:gd name="connsiteY0" fmla="*/ 98142 h 123825"/>
                <a:gd name="connsiteX1" fmla="*/ 119053 w 123825"/>
                <a:gd name="connsiteY1" fmla="*/ 8236 h 123825"/>
                <a:gd name="connsiteX2" fmla="*/ 29147 w 123825"/>
                <a:gd name="connsiteY2" fmla="*/ 63957 h 123825"/>
                <a:gd name="connsiteX3" fmla="*/ 14317 w 123825"/>
                <a:gd name="connsiteY3" fmla="*/ 112963 h 123825"/>
                <a:gd name="connsiteX4" fmla="*/ 63332 w 123825"/>
                <a:gd name="connsiteY4" fmla="*/ 98142 h 123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25" h="123825">
                  <a:moveTo>
                    <a:pt x="63332" y="98142"/>
                  </a:moveTo>
                  <a:cubicBezTo>
                    <a:pt x="119492" y="31334"/>
                    <a:pt x="122844" y="12027"/>
                    <a:pt x="119053" y="8236"/>
                  </a:cubicBezTo>
                  <a:cubicBezTo>
                    <a:pt x="115243" y="4445"/>
                    <a:pt x="95946" y="7769"/>
                    <a:pt x="29147" y="63957"/>
                  </a:cubicBezTo>
                  <a:cubicBezTo>
                    <a:pt x="-2647" y="90674"/>
                    <a:pt x="7363" y="106000"/>
                    <a:pt x="14317" y="112963"/>
                  </a:cubicBezTo>
                  <a:cubicBezTo>
                    <a:pt x="21289" y="119926"/>
                    <a:pt x="36615" y="129927"/>
                    <a:pt x="63332" y="98142"/>
                  </a:cubicBezTo>
                  <a:close/>
                </a:path>
              </a:pathLst>
            </a:custGeom>
            <a:grpFill/>
            <a:ln w="9525" cap="flat">
              <a:noFill/>
              <a:prstDash val="solid"/>
              <a:miter/>
            </a:ln>
          </p:spPr>
          <p:txBody>
            <a:bodyPr rtlCol="0" anchor="ctr"/>
            <a:lstStyle/>
            <a:p>
              <a:endParaRPr lang="en-US"/>
            </a:p>
          </p:txBody>
        </p:sp>
        <p:sp>
          <p:nvSpPr>
            <p:cNvPr id="15" name="Freihandform: Form 55">
              <a:extLst>
                <a:ext uri="{FF2B5EF4-FFF2-40B4-BE49-F238E27FC236}">
                  <a16:creationId xmlns:a16="http://schemas.microsoft.com/office/drawing/2014/main" id="{72703D4F-E25E-485B-A919-46D5E86FA518}"/>
                </a:ext>
              </a:extLst>
            </p:cNvPr>
            <p:cNvSpPr/>
            <p:nvPr/>
          </p:nvSpPr>
          <p:spPr>
            <a:xfrm>
              <a:off x="7589090" y="3371363"/>
              <a:ext cx="209550" cy="38100"/>
            </a:xfrm>
            <a:custGeom>
              <a:avLst/>
              <a:gdLst>
                <a:gd name="connsiteX0" fmla="*/ 203368 w 209550"/>
                <a:gd name="connsiteY0" fmla="*/ 21431 h 38100"/>
                <a:gd name="connsiteX1" fmla="*/ 189081 w 209550"/>
                <a:gd name="connsiteY1" fmla="*/ 7144 h 38100"/>
                <a:gd name="connsiteX2" fmla="*/ 21431 w 209550"/>
                <a:gd name="connsiteY2" fmla="*/ 7144 h 38100"/>
                <a:gd name="connsiteX3" fmla="*/ 7144 w 209550"/>
                <a:gd name="connsiteY3" fmla="*/ 21431 h 38100"/>
                <a:gd name="connsiteX4" fmla="*/ 21431 w 209550"/>
                <a:gd name="connsiteY4" fmla="*/ 35719 h 38100"/>
                <a:gd name="connsiteX5" fmla="*/ 189090 w 209550"/>
                <a:gd name="connsiteY5" fmla="*/ 35719 h 38100"/>
                <a:gd name="connsiteX6" fmla="*/ 203368 w 209550"/>
                <a:gd name="connsiteY6" fmla="*/ 21431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550" h="38100">
                  <a:moveTo>
                    <a:pt x="203368" y="21431"/>
                  </a:moveTo>
                  <a:cubicBezTo>
                    <a:pt x="203368" y="13545"/>
                    <a:pt x="196987" y="7144"/>
                    <a:pt x="189081" y="7144"/>
                  </a:cubicBezTo>
                  <a:lnTo>
                    <a:pt x="21431" y="7144"/>
                  </a:lnTo>
                  <a:cubicBezTo>
                    <a:pt x="13526" y="7144"/>
                    <a:pt x="7144" y="13545"/>
                    <a:pt x="7144" y="21431"/>
                  </a:cubicBezTo>
                  <a:cubicBezTo>
                    <a:pt x="7144" y="29318"/>
                    <a:pt x="13526" y="35719"/>
                    <a:pt x="21431" y="35719"/>
                  </a:cubicBezTo>
                  <a:lnTo>
                    <a:pt x="189090" y="35719"/>
                  </a:lnTo>
                  <a:cubicBezTo>
                    <a:pt x="196996" y="35719"/>
                    <a:pt x="203368" y="29327"/>
                    <a:pt x="203368" y="21431"/>
                  </a:cubicBezTo>
                  <a:close/>
                </a:path>
              </a:pathLst>
            </a:custGeom>
            <a:grpFill/>
            <a:ln w="9525" cap="flat">
              <a:noFill/>
              <a:prstDash val="solid"/>
              <a:miter/>
            </a:ln>
          </p:spPr>
          <p:txBody>
            <a:bodyPr rtlCol="0" anchor="ctr"/>
            <a:lstStyle/>
            <a:p>
              <a:endParaRPr lang="en-US"/>
            </a:p>
          </p:txBody>
        </p:sp>
        <p:sp>
          <p:nvSpPr>
            <p:cNvPr id="16" name="Freihandform: Form 56">
              <a:extLst>
                <a:ext uri="{FF2B5EF4-FFF2-40B4-BE49-F238E27FC236}">
                  <a16:creationId xmlns:a16="http://schemas.microsoft.com/office/drawing/2014/main" id="{BE513B44-2CD6-4932-AE33-77F6286ADD1E}"/>
                </a:ext>
              </a:extLst>
            </p:cNvPr>
            <p:cNvSpPr/>
            <p:nvPr/>
          </p:nvSpPr>
          <p:spPr>
            <a:xfrm>
              <a:off x="7659632" y="3443600"/>
              <a:ext cx="133350" cy="38100"/>
            </a:xfrm>
            <a:custGeom>
              <a:avLst/>
              <a:gdLst>
                <a:gd name="connsiteX0" fmla="*/ 118539 w 133350"/>
                <a:gd name="connsiteY0" fmla="*/ 7144 h 38100"/>
                <a:gd name="connsiteX1" fmla="*/ 21431 w 133350"/>
                <a:gd name="connsiteY1" fmla="*/ 7144 h 38100"/>
                <a:gd name="connsiteX2" fmla="*/ 7144 w 133350"/>
                <a:gd name="connsiteY2" fmla="*/ 21431 h 38100"/>
                <a:gd name="connsiteX3" fmla="*/ 21431 w 133350"/>
                <a:gd name="connsiteY3" fmla="*/ 35719 h 38100"/>
                <a:gd name="connsiteX4" fmla="*/ 118539 w 133350"/>
                <a:gd name="connsiteY4" fmla="*/ 35719 h 38100"/>
                <a:gd name="connsiteX5" fmla="*/ 132826 w 133350"/>
                <a:gd name="connsiteY5" fmla="*/ 21431 h 38100"/>
                <a:gd name="connsiteX6" fmla="*/ 118539 w 133350"/>
                <a:gd name="connsiteY6" fmla="*/ 7144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350" h="38100">
                  <a:moveTo>
                    <a:pt x="118539" y="7144"/>
                  </a:moveTo>
                  <a:lnTo>
                    <a:pt x="21431" y="7144"/>
                  </a:lnTo>
                  <a:cubicBezTo>
                    <a:pt x="13545" y="7144"/>
                    <a:pt x="7144" y="13545"/>
                    <a:pt x="7144" y="21431"/>
                  </a:cubicBezTo>
                  <a:cubicBezTo>
                    <a:pt x="7144" y="29318"/>
                    <a:pt x="13545" y="35719"/>
                    <a:pt x="21431" y="35719"/>
                  </a:cubicBezTo>
                  <a:lnTo>
                    <a:pt x="118539" y="35719"/>
                  </a:lnTo>
                  <a:cubicBezTo>
                    <a:pt x="126444" y="35719"/>
                    <a:pt x="132826" y="29318"/>
                    <a:pt x="132826" y="21431"/>
                  </a:cubicBezTo>
                  <a:cubicBezTo>
                    <a:pt x="132826" y="13545"/>
                    <a:pt x="126454" y="7144"/>
                    <a:pt x="118539" y="7144"/>
                  </a:cubicBezTo>
                  <a:close/>
                </a:path>
              </a:pathLst>
            </a:custGeom>
            <a:grpFill/>
            <a:ln w="9525" cap="flat">
              <a:noFill/>
              <a:prstDash val="solid"/>
              <a:miter/>
            </a:ln>
          </p:spPr>
          <p:txBody>
            <a:bodyPr rtlCol="0" anchor="ctr"/>
            <a:lstStyle/>
            <a:p>
              <a:endParaRPr lang="en-US"/>
            </a:p>
          </p:txBody>
        </p:sp>
        <p:sp>
          <p:nvSpPr>
            <p:cNvPr id="17" name="Freihandform: Form 57">
              <a:extLst>
                <a:ext uri="{FF2B5EF4-FFF2-40B4-BE49-F238E27FC236}">
                  <a16:creationId xmlns:a16="http://schemas.microsoft.com/office/drawing/2014/main" id="{BD8B42F7-2530-47F6-955D-BE66A1E35B90}"/>
                </a:ext>
              </a:extLst>
            </p:cNvPr>
            <p:cNvSpPr/>
            <p:nvPr/>
          </p:nvSpPr>
          <p:spPr>
            <a:xfrm>
              <a:off x="7616770" y="3515838"/>
              <a:ext cx="180975" cy="38100"/>
            </a:xfrm>
            <a:custGeom>
              <a:avLst/>
              <a:gdLst>
                <a:gd name="connsiteX0" fmla="*/ 161401 w 180975"/>
                <a:gd name="connsiteY0" fmla="*/ 7144 h 38100"/>
                <a:gd name="connsiteX1" fmla="*/ 21431 w 180975"/>
                <a:gd name="connsiteY1" fmla="*/ 7144 h 38100"/>
                <a:gd name="connsiteX2" fmla="*/ 7144 w 180975"/>
                <a:gd name="connsiteY2" fmla="*/ 21431 h 38100"/>
                <a:gd name="connsiteX3" fmla="*/ 21431 w 180975"/>
                <a:gd name="connsiteY3" fmla="*/ 35719 h 38100"/>
                <a:gd name="connsiteX4" fmla="*/ 161401 w 180975"/>
                <a:gd name="connsiteY4" fmla="*/ 35719 h 38100"/>
                <a:gd name="connsiteX5" fmla="*/ 175689 w 180975"/>
                <a:gd name="connsiteY5" fmla="*/ 21431 h 38100"/>
                <a:gd name="connsiteX6" fmla="*/ 161401 w 180975"/>
                <a:gd name="connsiteY6" fmla="*/ 7144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975" h="38100">
                  <a:moveTo>
                    <a:pt x="161401" y="7144"/>
                  </a:moveTo>
                  <a:lnTo>
                    <a:pt x="21431" y="7144"/>
                  </a:lnTo>
                  <a:cubicBezTo>
                    <a:pt x="13545" y="7144"/>
                    <a:pt x="7144" y="13525"/>
                    <a:pt x="7144" y="21431"/>
                  </a:cubicBezTo>
                  <a:cubicBezTo>
                    <a:pt x="7144" y="29318"/>
                    <a:pt x="13545" y="35719"/>
                    <a:pt x="21431" y="35719"/>
                  </a:cubicBezTo>
                  <a:lnTo>
                    <a:pt x="161401" y="35719"/>
                  </a:lnTo>
                  <a:cubicBezTo>
                    <a:pt x="169307" y="35719"/>
                    <a:pt x="175689" y="29318"/>
                    <a:pt x="175689" y="21431"/>
                  </a:cubicBezTo>
                  <a:cubicBezTo>
                    <a:pt x="175689" y="13525"/>
                    <a:pt x="169316" y="7144"/>
                    <a:pt x="161401" y="7144"/>
                  </a:cubicBezTo>
                  <a:close/>
                </a:path>
              </a:pathLst>
            </a:custGeom>
            <a:grpFill/>
            <a:ln w="9525" cap="flat">
              <a:noFill/>
              <a:prstDash val="solid"/>
              <a:miter/>
            </a:ln>
          </p:spPr>
          <p:txBody>
            <a:bodyPr rtlCol="0" anchor="ctr"/>
            <a:lstStyle/>
            <a:p>
              <a:endParaRPr lang="en-US"/>
            </a:p>
          </p:txBody>
        </p:sp>
      </p:grpSp>
      <p:sp>
        <p:nvSpPr>
          <p:cNvPr id="3" name="Slide Number Placeholder 2">
            <a:extLst>
              <a:ext uri="{FF2B5EF4-FFF2-40B4-BE49-F238E27FC236}">
                <a16:creationId xmlns:a16="http://schemas.microsoft.com/office/drawing/2014/main" id="{461A359F-51FD-498B-B0BD-F10F0F59FF18}"/>
              </a:ext>
            </a:extLst>
          </p:cNvPr>
          <p:cNvSpPr>
            <a:spLocks noGrp="1"/>
          </p:cNvSpPr>
          <p:nvPr>
            <p:ph type="sldNum" sz="quarter" idx="10"/>
          </p:nvPr>
        </p:nvSpPr>
        <p:spPr/>
        <p:txBody>
          <a:bodyPr/>
          <a:lstStyle/>
          <a:p>
            <a:fld id="{01920E2B-FC99-4A38-BFFD-416A818AECB0}" type="slidenum">
              <a:rPr lang="de-AT" smtClean="0"/>
              <a:pPr/>
              <a:t>29</a:t>
            </a:fld>
            <a:endParaRPr lang="de-AT"/>
          </a:p>
        </p:txBody>
      </p:sp>
    </p:spTree>
    <p:extLst>
      <p:ext uri="{BB962C8B-B14F-4D97-AF65-F5344CB8AC3E}">
        <p14:creationId xmlns:p14="http://schemas.microsoft.com/office/powerpoint/2010/main" val="24859092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69BBB5C-145E-B275-9BA4-4B1EF7557CE3}"/>
              </a:ext>
            </a:extLst>
          </p:cNvPr>
          <p:cNvSpPr/>
          <p:nvPr/>
        </p:nvSpPr>
        <p:spPr>
          <a:xfrm>
            <a:off x="838200" y="1404263"/>
            <a:ext cx="5548313" cy="4591565"/>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chemeClr val="tx1"/>
              </a:solidFill>
              <a:latin typeface="Bahnschrift" panose="020B0502040204020203" pitchFamily="34" charset="0"/>
              <a:ea typeface="Verdana" pitchFamily="34" charset="0"/>
              <a:cs typeface="Verdana" pitchFamily="34" charset="0"/>
            </a:endParaRPr>
          </a:p>
        </p:txBody>
      </p:sp>
      <p:graphicFrame>
        <p:nvGraphicFramePr>
          <p:cNvPr id="141" name="Chart 140">
            <a:extLst>
              <a:ext uri="{FF2B5EF4-FFF2-40B4-BE49-F238E27FC236}">
                <a16:creationId xmlns:a16="http://schemas.microsoft.com/office/drawing/2014/main" id="{2076F70E-516F-4813-9D34-C6299E62FEC4}"/>
              </a:ext>
            </a:extLst>
          </p:cNvPr>
          <p:cNvGraphicFramePr/>
          <p:nvPr>
            <p:custDataLst>
              <p:tags r:id="rId1"/>
            </p:custDataLst>
          </p:nvPr>
        </p:nvGraphicFramePr>
        <p:xfrm>
          <a:off x="6891338" y="2259013"/>
          <a:ext cx="4311650" cy="3484562"/>
        </p:xfrm>
        <a:graphic>
          <a:graphicData uri="http://schemas.openxmlformats.org/drawingml/2006/chart">
            <c:chart xmlns:c="http://schemas.openxmlformats.org/drawingml/2006/chart" xmlns:r="http://schemas.openxmlformats.org/officeDocument/2006/relationships" r:id="rId58"/>
          </a:graphicData>
        </a:graphic>
      </p:graphicFrame>
      <p:sp>
        <p:nvSpPr>
          <p:cNvPr id="172" name="Textplatzhalter 8">
            <a:extLst>
              <a:ext uri="{FF2B5EF4-FFF2-40B4-BE49-F238E27FC236}">
                <a16:creationId xmlns:a16="http://schemas.microsoft.com/office/drawing/2014/main" id="{6AFCE0F3-0FB9-4FE1-9119-064BA9D0B373}"/>
              </a:ext>
            </a:extLst>
          </p:cNvPr>
          <p:cNvSpPr>
            <a:spLocks noGrp="1"/>
          </p:cNvSpPr>
          <p:nvPr>
            <p:custDataLst>
              <p:tags r:id="rId2"/>
            </p:custDataLst>
          </p:nvPr>
        </p:nvSpPr>
        <p:spPr bwMode="gray">
          <a:xfrm>
            <a:off x="6829425" y="5711825"/>
            <a:ext cx="2889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590DF031-D238-4224-B5C7-AE7C67AEF02B}" type="datetime'''1''''''''''''''''''''''''''99''''''5'''''''''">
              <a:rPr kumimoji="0" lang="de-DE" altLang="en-US" sz="1200" b="0" i="0" u="none" strike="noStrike" kern="1200" cap="none" spc="0" normalizeH="0" baseline="0" noProof="0" smtClean="0">
                <a:ln>
                  <a:noFill/>
                </a:ln>
                <a:solidFill>
                  <a:prstClr val="black"/>
                </a:solidFill>
                <a:effectLst/>
                <a:uLnTx/>
                <a:uFillTx/>
                <a:sym typeface="Bahnschrift" panose="020B0502040204020203" pitchFamily="34" charset="0"/>
              </a:rPr>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1995</a:t>
            </a:fld>
            <a:endParaRPr kumimoji="0" lang="de-DE" sz="1200" b="0" i="0" u="none" strike="noStrike" kern="1200" cap="none" spc="0" normalizeH="0" baseline="0" noProof="0" dirty="0">
              <a:ln>
                <a:noFill/>
              </a:ln>
              <a:solidFill>
                <a:prstClr val="black"/>
              </a:solidFill>
              <a:effectLst/>
              <a:uLnTx/>
              <a:uFillTx/>
              <a:sym typeface="Bahnschrift" panose="020B0502040204020203" pitchFamily="34" charset="0"/>
            </a:endParaRPr>
          </a:p>
        </p:txBody>
      </p:sp>
      <p:sp>
        <p:nvSpPr>
          <p:cNvPr id="175" name="Textplatzhalter 8">
            <a:extLst>
              <a:ext uri="{FF2B5EF4-FFF2-40B4-BE49-F238E27FC236}">
                <a16:creationId xmlns:a16="http://schemas.microsoft.com/office/drawing/2014/main" id="{BFF4044C-E0CE-4CEE-BEB5-99489FACE829}"/>
              </a:ext>
            </a:extLst>
          </p:cNvPr>
          <p:cNvSpPr>
            <a:spLocks noGrp="1"/>
          </p:cNvSpPr>
          <p:nvPr>
            <p:custDataLst>
              <p:tags r:id="rId3"/>
            </p:custDataLst>
          </p:nvPr>
        </p:nvSpPr>
        <p:spPr bwMode="gray">
          <a:xfrm>
            <a:off x="8683625" y="5711825"/>
            <a:ext cx="1349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D6DD5BE0-55B5-4634-A635-E24AE4823C12}" type="datetime'''''''''''1''''''''''0'''''''''''''''''''''''''''''''">
              <a:rPr kumimoji="0" lang="de-DE" altLang="en-US" sz="1200" b="0" i="0" u="none" strike="noStrike" kern="1200" cap="none" spc="0" normalizeH="0" baseline="0" noProof="0" smtClean="0">
                <a:ln>
                  <a:noFill/>
                </a:ln>
                <a:solidFill>
                  <a:prstClr val="black"/>
                </a:solidFill>
                <a:effectLst/>
                <a:uLnTx/>
                <a:uFillTx/>
                <a:sym typeface="Bahnschrift" panose="020B0502040204020203" pitchFamily="34" charset="0"/>
              </a:rPr>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10</a:t>
            </a:fld>
            <a:endParaRPr kumimoji="0" lang="de-DE" sz="1200" b="0" i="0" u="none" strike="noStrike" kern="1200" cap="none" spc="0" normalizeH="0" baseline="0" noProof="0" dirty="0">
              <a:ln>
                <a:noFill/>
              </a:ln>
              <a:solidFill>
                <a:prstClr val="black"/>
              </a:solidFill>
              <a:effectLst/>
              <a:uLnTx/>
              <a:uFillTx/>
              <a:sym typeface="Bahnschrift" panose="020B0502040204020203" pitchFamily="34" charset="0"/>
            </a:endParaRPr>
          </a:p>
        </p:txBody>
      </p:sp>
      <p:sp>
        <p:nvSpPr>
          <p:cNvPr id="173" name="Textplatzhalter 8">
            <a:extLst>
              <a:ext uri="{FF2B5EF4-FFF2-40B4-BE49-F238E27FC236}">
                <a16:creationId xmlns:a16="http://schemas.microsoft.com/office/drawing/2014/main" id="{D604CFF5-0A18-4692-8867-D32CAD845B12}"/>
              </a:ext>
            </a:extLst>
          </p:cNvPr>
          <p:cNvSpPr>
            <a:spLocks noGrp="1"/>
          </p:cNvSpPr>
          <p:nvPr>
            <p:custDataLst>
              <p:tags r:id="rId4"/>
            </p:custDataLst>
          </p:nvPr>
        </p:nvSpPr>
        <p:spPr bwMode="gray">
          <a:xfrm>
            <a:off x="7400925" y="5711825"/>
            <a:ext cx="3317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6EF72BAC-B6CB-418B-9CF0-8DA050C8BB3E}" type="datetime'''''''''''''''''''''''''''''''''2''''''0''0''''0'''''''''">
              <a:rPr kumimoji="0" lang="de-DE" altLang="en-US" sz="1200" b="0" i="0" u="none" strike="noStrike" kern="1200" cap="none" spc="0" normalizeH="0" baseline="0" noProof="0" smtClean="0">
                <a:ln>
                  <a:noFill/>
                </a:ln>
                <a:solidFill>
                  <a:prstClr val="black"/>
                </a:solidFill>
                <a:effectLst/>
                <a:uLnTx/>
                <a:uFillTx/>
                <a:sym typeface="Bahnschrift" panose="020B0502040204020203" pitchFamily="34" charset="0"/>
              </a:rPr>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2000</a:t>
            </a:fld>
            <a:endParaRPr kumimoji="0" lang="de-DE" sz="1200" b="0" i="0" u="none" strike="noStrike" kern="1200" cap="none" spc="0" normalizeH="0" baseline="0" noProof="0" dirty="0">
              <a:ln>
                <a:noFill/>
              </a:ln>
              <a:solidFill>
                <a:prstClr val="black"/>
              </a:solidFill>
              <a:effectLst/>
              <a:uLnTx/>
              <a:uFillTx/>
              <a:sym typeface="Bahnschrift" panose="020B0502040204020203" pitchFamily="34" charset="0"/>
            </a:endParaRPr>
          </a:p>
        </p:txBody>
      </p:sp>
      <p:sp>
        <p:nvSpPr>
          <p:cNvPr id="174" name="Textplatzhalter 8">
            <a:extLst>
              <a:ext uri="{FF2B5EF4-FFF2-40B4-BE49-F238E27FC236}">
                <a16:creationId xmlns:a16="http://schemas.microsoft.com/office/drawing/2014/main" id="{EEB8684A-6129-4DA5-B4BC-F7D6E30BCF2B}"/>
              </a:ext>
            </a:extLst>
          </p:cNvPr>
          <p:cNvSpPr>
            <a:spLocks noGrp="1"/>
          </p:cNvSpPr>
          <p:nvPr>
            <p:custDataLst>
              <p:tags r:id="rId5"/>
            </p:custDataLst>
          </p:nvPr>
        </p:nvSpPr>
        <p:spPr bwMode="gray">
          <a:xfrm>
            <a:off x="8075613" y="5711825"/>
            <a:ext cx="166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CB34833F-2E1F-4CED-97EB-1B24695BC77C}" type="datetime'0''''''''''''''''''''''''''''''5'''''''''''">
              <a:rPr kumimoji="0" lang="de-DE" altLang="en-US" sz="1200" b="0" i="0" u="none" strike="noStrike" kern="1200" cap="none" spc="0" normalizeH="0" baseline="0" noProof="0" smtClean="0">
                <a:ln>
                  <a:noFill/>
                </a:ln>
                <a:solidFill>
                  <a:prstClr val="black"/>
                </a:solidFill>
                <a:effectLst/>
                <a:uLnTx/>
                <a:uFillTx/>
                <a:sym typeface="Bahnschrift" panose="020B0502040204020203" pitchFamily="34" charset="0"/>
              </a:rPr>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05</a:t>
            </a:fld>
            <a:endParaRPr kumimoji="0" lang="de-DE" sz="1200" b="0" i="0" u="none" strike="noStrike" kern="1200" cap="none" spc="0" normalizeH="0" baseline="0" noProof="0" dirty="0">
              <a:ln>
                <a:noFill/>
              </a:ln>
              <a:solidFill>
                <a:prstClr val="black"/>
              </a:solidFill>
              <a:effectLst/>
              <a:uLnTx/>
              <a:uFillTx/>
              <a:sym typeface="Bahnschrift" panose="020B0502040204020203" pitchFamily="34" charset="0"/>
            </a:endParaRPr>
          </a:p>
        </p:txBody>
      </p:sp>
      <p:sp>
        <p:nvSpPr>
          <p:cNvPr id="176" name="Textplatzhalter 8">
            <a:extLst>
              <a:ext uri="{FF2B5EF4-FFF2-40B4-BE49-F238E27FC236}">
                <a16:creationId xmlns:a16="http://schemas.microsoft.com/office/drawing/2014/main" id="{7712612B-78CE-48EC-A73E-39F75E409F24}"/>
              </a:ext>
            </a:extLst>
          </p:cNvPr>
          <p:cNvSpPr>
            <a:spLocks noGrp="1"/>
          </p:cNvSpPr>
          <p:nvPr>
            <p:custDataLst>
              <p:tags r:id="rId6"/>
            </p:custDataLst>
          </p:nvPr>
        </p:nvSpPr>
        <p:spPr bwMode="gray">
          <a:xfrm>
            <a:off x="9277350" y="5711825"/>
            <a:ext cx="133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C785046A-38CF-42D3-93F5-C87D9BFE8B9E}" type="datetime'''''''1''''''''''''''''''''''''''''5'">
              <a:rPr kumimoji="0" lang="de-DE" altLang="en-US" sz="1200" b="0" i="0" u="none" strike="noStrike" kern="1200" cap="none" spc="0" normalizeH="0" baseline="0" noProof="0" smtClean="0">
                <a:ln>
                  <a:noFill/>
                </a:ln>
                <a:solidFill>
                  <a:prstClr val="black"/>
                </a:solidFill>
                <a:effectLst/>
                <a:uLnTx/>
                <a:uFillTx/>
                <a:sym typeface="Bahnschrift" panose="020B0502040204020203" pitchFamily="34" charset="0"/>
              </a:rPr>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15</a:t>
            </a:fld>
            <a:endParaRPr kumimoji="0" lang="de-DE" sz="1200" b="0" i="0" u="none" strike="noStrike" kern="1200" cap="none" spc="0" normalizeH="0" baseline="0" noProof="0" dirty="0">
              <a:ln>
                <a:noFill/>
              </a:ln>
              <a:solidFill>
                <a:prstClr val="black"/>
              </a:solidFill>
              <a:effectLst/>
              <a:uLnTx/>
              <a:uFillTx/>
              <a:sym typeface="Bahnschrift" panose="020B0502040204020203" pitchFamily="34" charset="0"/>
            </a:endParaRPr>
          </a:p>
        </p:txBody>
      </p:sp>
      <p:sp>
        <p:nvSpPr>
          <p:cNvPr id="179" name="Textplatzhalter 8">
            <a:extLst>
              <a:ext uri="{FF2B5EF4-FFF2-40B4-BE49-F238E27FC236}">
                <a16:creationId xmlns:a16="http://schemas.microsoft.com/office/drawing/2014/main" id="{4A4CFE80-194C-4616-BAA2-EFE51C8277A4}"/>
              </a:ext>
            </a:extLst>
          </p:cNvPr>
          <p:cNvSpPr>
            <a:spLocks noGrp="1"/>
          </p:cNvSpPr>
          <p:nvPr>
            <p:custDataLst>
              <p:tags r:id="rId7"/>
            </p:custDataLst>
          </p:nvPr>
        </p:nvSpPr>
        <p:spPr bwMode="gray">
          <a:xfrm>
            <a:off x="10956925" y="5711825"/>
            <a:ext cx="3286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E237CA65-69EA-4F31-83E7-637111CBA537}" type="datetime'''''''''''''''2''0''3''''''''''''''''''''''0'''''''''''">
              <a:rPr kumimoji="0" lang="de-DE" altLang="en-US" sz="1200" b="0" i="0" u="none" strike="noStrike" kern="1200" cap="none" spc="0" normalizeH="0" baseline="0" noProof="0" smtClean="0">
                <a:ln>
                  <a:noFill/>
                </a:ln>
                <a:solidFill>
                  <a:prstClr val="black"/>
                </a:solidFill>
                <a:effectLst/>
                <a:uLnTx/>
                <a:uFillTx/>
                <a:sym typeface="Bahnschrift" panose="020B0502040204020203" pitchFamily="34" charset="0"/>
              </a:rPr>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2030</a:t>
            </a:fld>
            <a:endParaRPr kumimoji="0" lang="de-DE" sz="1200" b="0" i="0" u="none" strike="noStrike" kern="1200" cap="none" spc="0" normalizeH="0" baseline="0" noProof="0" dirty="0">
              <a:ln>
                <a:noFill/>
              </a:ln>
              <a:solidFill>
                <a:prstClr val="black"/>
              </a:solidFill>
              <a:effectLst/>
              <a:uLnTx/>
              <a:uFillTx/>
              <a:sym typeface="Bahnschrift" panose="020B0502040204020203" pitchFamily="34" charset="0"/>
            </a:endParaRPr>
          </a:p>
        </p:txBody>
      </p:sp>
      <p:sp>
        <p:nvSpPr>
          <p:cNvPr id="177" name="Textplatzhalter 8">
            <a:extLst>
              <a:ext uri="{FF2B5EF4-FFF2-40B4-BE49-F238E27FC236}">
                <a16:creationId xmlns:a16="http://schemas.microsoft.com/office/drawing/2014/main" id="{03D6CB65-77EA-43C7-853A-988425ED4FCC}"/>
              </a:ext>
            </a:extLst>
          </p:cNvPr>
          <p:cNvSpPr>
            <a:spLocks noGrp="1"/>
          </p:cNvSpPr>
          <p:nvPr>
            <p:custDataLst>
              <p:tags r:id="rId8"/>
            </p:custDataLst>
          </p:nvPr>
        </p:nvSpPr>
        <p:spPr bwMode="gray">
          <a:xfrm>
            <a:off x="9855200" y="5711825"/>
            <a:ext cx="1635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41ABA1A2-9C40-473D-A242-71A2DFABCBB6}" type="datetime'''''''''''''2''''0'''''''''''''''''''''''''''''">
              <a:rPr kumimoji="0" lang="de-DE" altLang="en-US" sz="1200" b="0" i="0" u="none" strike="noStrike" kern="1200" cap="none" spc="0" normalizeH="0" baseline="0" noProof="0" smtClean="0">
                <a:ln>
                  <a:noFill/>
                </a:ln>
                <a:solidFill>
                  <a:prstClr val="black"/>
                </a:solidFill>
                <a:effectLst/>
                <a:uLnTx/>
                <a:uFillTx/>
                <a:sym typeface="Bahnschrift" panose="020B0502040204020203" pitchFamily="34" charset="0"/>
              </a:rPr>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20</a:t>
            </a:fld>
            <a:endParaRPr kumimoji="0" lang="de-DE" sz="1200" b="0" i="0" u="none" strike="noStrike" kern="1200" cap="none" spc="0" normalizeH="0" baseline="0" noProof="0" dirty="0">
              <a:ln>
                <a:noFill/>
              </a:ln>
              <a:solidFill>
                <a:prstClr val="black"/>
              </a:solidFill>
              <a:effectLst/>
              <a:uLnTx/>
              <a:uFillTx/>
              <a:sym typeface="Bahnschrift" panose="020B0502040204020203" pitchFamily="34" charset="0"/>
            </a:endParaRPr>
          </a:p>
        </p:txBody>
      </p:sp>
      <p:sp>
        <p:nvSpPr>
          <p:cNvPr id="178" name="Textplatzhalter 8">
            <a:extLst>
              <a:ext uri="{FF2B5EF4-FFF2-40B4-BE49-F238E27FC236}">
                <a16:creationId xmlns:a16="http://schemas.microsoft.com/office/drawing/2014/main" id="{18279F9E-AD1C-4646-9BBF-C26CFC2A30A9}"/>
              </a:ext>
            </a:extLst>
          </p:cNvPr>
          <p:cNvSpPr>
            <a:spLocks noGrp="1"/>
          </p:cNvSpPr>
          <p:nvPr>
            <p:custDataLst>
              <p:tags r:id="rId9"/>
            </p:custDataLst>
          </p:nvPr>
        </p:nvSpPr>
        <p:spPr bwMode="gray">
          <a:xfrm>
            <a:off x="10447338" y="5711825"/>
            <a:ext cx="1619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2B8294B4-E2BE-4BF8-B217-482190F74463}" type="datetime'2''''''''''''''''''''''''''''''''5'''''''''''''">
              <a:rPr kumimoji="0" lang="de-DE" altLang="en-US" sz="1200" b="0" i="0" u="none" strike="noStrike" kern="1200" cap="none" spc="0" normalizeH="0" baseline="0" noProof="0" smtClean="0">
                <a:ln>
                  <a:noFill/>
                </a:ln>
                <a:solidFill>
                  <a:prstClr val="black"/>
                </a:solidFill>
                <a:effectLst/>
                <a:uLnTx/>
                <a:uFillTx/>
                <a:sym typeface="Bahnschrift" panose="020B0502040204020203" pitchFamily="34" charset="0"/>
              </a:rPr>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25</a:t>
            </a:fld>
            <a:endParaRPr kumimoji="0" lang="de-DE" sz="1200" b="0" i="0" u="none" strike="noStrike" kern="1200" cap="none" spc="0" normalizeH="0" baseline="0" noProof="0" dirty="0">
              <a:ln>
                <a:noFill/>
              </a:ln>
              <a:solidFill>
                <a:prstClr val="black"/>
              </a:solidFill>
              <a:effectLst/>
              <a:uLnTx/>
              <a:uFillTx/>
              <a:sym typeface="Bahnschrift" panose="020B0502040204020203" pitchFamily="34" charset="0"/>
            </a:endParaRPr>
          </a:p>
        </p:txBody>
      </p:sp>
      <p:sp>
        <p:nvSpPr>
          <p:cNvPr id="129" name="Text Placeholder 4">
            <a:extLst>
              <a:ext uri="{FF2B5EF4-FFF2-40B4-BE49-F238E27FC236}">
                <a16:creationId xmlns:a16="http://schemas.microsoft.com/office/drawing/2014/main" id="{0E336B8C-6EFC-4719-B734-5D4F5C368074}"/>
              </a:ext>
            </a:extLst>
          </p:cNvPr>
          <p:cNvSpPr>
            <a:spLocks noGrp="1"/>
          </p:cNvSpPr>
          <p:nvPr>
            <p:custDataLst>
              <p:tags r:id="rId10"/>
            </p:custDataLst>
          </p:nvPr>
        </p:nvSpPr>
        <p:spPr bwMode="gray">
          <a:xfrm>
            <a:off x="6788150" y="5570538"/>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
                <a:prstClr val="black"/>
              </a:buClr>
              <a:buSzPct val="100000"/>
              <a:buFont typeface="Segoe UI" panose="020B0502040204020203" pitchFamily="34" charset="0"/>
              <a:buChar char="​"/>
              <a:tabLst/>
              <a:defRPr/>
            </a:pPr>
            <a:fld id="{F1D52872-1369-457B-A39C-E6051B58EBC0}" type="datetime'''''''''0'''''''''''''''''''''''''''''''''''''''''''''''">
              <a:rPr kumimoji="0" lang="de-DE" altLang="en-US" sz="1200" b="0" i="0" u="none" strike="noStrike" kern="1200" cap="none" spc="0" normalizeH="0" baseline="0" noProof="0" smtClean="0">
                <a:ln>
                  <a:noFill/>
                </a:ln>
                <a:solidFill>
                  <a:prstClr val="black"/>
                </a:solidFill>
                <a:effectLst/>
                <a:uLnTx/>
                <a:uFillTx/>
                <a:latin typeface="Bahnschrift" panose="020B0502040204020203" pitchFamily="34" charset="0"/>
                <a:sym typeface="Bahnschrift" panose="020B0502040204020203" pitchFamily="34" charset="0"/>
              </a:rPr>
              <a:pPr marL="0" marR="0" lvl="0" indent="0" algn="r" defTabSz="914400" rtl="0" eaLnBrk="1" fontAlgn="base" latinLnBrk="0" hangingPunct="1">
                <a:lnSpc>
                  <a:spcPct val="100000"/>
                </a:lnSpc>
                <a:spcBef>
                  <a:spcPct val="0"/>
                </a:spcBef>
                <a:spcAft>
                  <a:spcPct val="0"/>
                </a:spcAft>
                <a:buClr>
                  <a:prstClr val="black"/>
                </a:buClr>
                <a:buSzPct val="100000"/>
                <a:buFont typeface="Segoe UI" panose="020B0502040204020203" pitchFamily="34" charset="0"/>
                <a:buChar char="​"/>
                <a:tabLst/>
                <a:defRPr/>
              </a:pPr>
              <a:t>0</a:t>
            </a:fld>
            <a:endParaRPr kumimoji="0" lang="de-DE" sz="1200" b="0" i="0" u="none" strike="noStrike" kern="1200" cap="none" spc="0" normalizeH="0" baseline="0" noProof="0" dirty="0">
              <a:ln>
                <a:noFill/>
              </a:ln>
              <a:solidFill>
                <a:prstClr val="black"/>
              </a:solidFill>
              <a:effectLst/>
              <a:uLnTx/>
              <a:uFillTx/>
              <a:latin typeface="Bahnschrift" panose="020B0502040204020203" pitchFamily="34" charset="0"/>
              <a:sym typeface="Bahnschrift" panose="020B0502040204020203" pitchFamily="34" charset="0"/>
            </a:endParaRPr>
          </a:p>
        </p:txBody>
      </p:sp>
      <p:sp>
        <p:nvSpPr>
          <p:cNvPr id="130" name="Text Placeholder 4">
            <a:extLst>
              <a:ext uri="{FF2B5EF4-FFF2-40B4-BE49-F238E27FC236}">
                <a16:creationId xmlns:a16="http://schemas.microsoft.com/office/drawing/2014/main" id="{F61A335C-6E89-4570-BCEE-95EF06268265}"/>
              </a:ext>
            </a:extLst>
          </p:cNvPr>
          <p:cNvSpPr>
            <a:spLocks noGrp="1"/>
          </p:cNvSpPr>
          <p:nvPr>
            <p:custDataLst>
              <p:tags r:id="rId11"/>
            </p:custDataLst>
          </p:nvPr>
        </p:nvSpPr>
        <p:spPr bwMode="gray">
          <a:xfrm>
            <a:off x="6708775" y="5294313"/>
            <a:ext cx="1635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
                <a:prstClr val="black"/>
              </a:buClr>
              <a:buSzPct val="100000"/>
              <a:buFont typeface="Segoe UI" panose="020B0502040204020203" pitchFamily="34" charset="0"/>
              <a:buChar char="​"/>
              <a:tabLst/>
              <a:defRPr/>
            </a:pPr>
            <a:fld id="{4BC90D25-1D70-41CB-BC04-B6FA7B3CE39E}" type="datetime'''''''2''''''''''0'''''''''''''''''">
              <a:rPr kumimoji="0" lang="de-DE" altLang="en-US" sz="1200" b="0" i="0" u="none" strike="noStrike" kern="1200" cap="none" spc="0" normalizeH="0" baseline="0" noProof="0" smtClean="0">
                <a:ln>
                  <a:noFill/>
                </a:ln>
                <a:solidFill>
                  <a:prstClr val="black"/>
                </a:solidFill>
                <a:effectLst/>
                <a:uLnTx/>
                <a:uFillTx/>
                <a:latin typeface="Bahnschrift" panose="020B0502040204020203" pitchFamily="34" charset="0"/>
                <a:sym typeface="Bahnschrift" panose="020B0502040204020203" pitchFamily="34" charset="0"/>
              </a:rPr>
              <a:pPr marL="0" marR="0" lvl="0" indent="0" algn="r" defTabSz="914400" rtl="0" eaLnBrk="1" fontAlgn="base" latinLnBrk="0" hangingPunct="1">
                <a:lnSpc>
                  <a:spcPct val="100000"/>
                </a:lnSpc>
                <a:spcBef>
                  <a:spcPct val="0"/>
                </a:spcBef>
                <a:spcAft>
                  <a:spcPct val="0"/>
                </a:spcAft>
                <a:buClr>
                  <a:prstClr val="black"/>
                </a:buClr>
                <a:buSzPct val="100000"/>
                <a:buFont typeface="Segoe UI" panose="020B0502040204020203" pitchFamily="34" charset="0"/>
                <a:buChar char="​"/>
                <a:tabLst/>
                <a:defRPr/>
              </a:pPr>
              <a:t>20</a:t>
            </a:fld>
            <a:endParaRPr kumimoji="0" lang="de-DE" sz="1200" b="0" i="0" u="none" strike="noStrike" kern="1200" cap="none" spc="0" normalizeH="0" baseline="0" noProof="0" dirty="0">
              <a:ln>
                <a:noFill/>
              </a:ln>
              <a:solidFill>
                <a:prstClr val="black"/>
              </a:solidFill>
              <a:effectLst/>
              <a:uLnTx/>
              <a:uFillTx/>
              <a:latin typeface="Bahnschrift" panose="020B0502040204020203" pitchFamily="34" charset="0"/>
              <a:sym typeface="Bahnschrift" panose="020B0502040204020203" pitchFamily="34" charset="0"/>
            </a:endParaRPr>
          </a:p>
        </p:txBody>
      </p:sp>
      <p:sp>
        <p:nvSpPr>
          <p:cNvPr id="131" name="Text Placeholder 4">
            <a:extLst>
              <a:ext uri="{FF2B5EF4-FFF2-40B4-BE49-F238E27FC236}">
                <a16:creationId xmlns:a16="http://schemas.microsoft.com/office/drawing/2014/main" id="{DB242F22-619D-44D7-B296-919201CDE006}"/>
              </a:ext>
            </a:extLst>
          </p:cNvPr>
          <p:cNvSpPr>
            <a:spLocks noGrp="1"/>
          </p:cNvSpPr>
          <p:nvPr>
            <p:custDataLst>
              <p:tags r:id="rId12"/>
            </p:custDataLst>
          </p:nvPr>
        </p:nvSpPr>
        <p:spPr bwMode="gray">
          <a:xfrm>
            <a:off x="6700838" y="5018088"/>
            <a:ext cx="171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
                <a:prstClr val="black"/>
              </a:buClr>
              <a:buSzPct val="100000"/>
              <a:buFont typeface="Segoe UI" panose="020B0502040204020203" pitchFamily="34" charset="0"/>
              <a:buChar char="​"/>
              <a:tabLst/>
              <a:defRPr/>
            </a:pPr>
            <a:fld id="{B3CE2BAF-8184-4A7F-B1C1-67EC445A834F}" type="datetime'''''4''''''''''''''''0'''''''">
              <a:rPr kumimoji="0" lang="de-DE" altLang="en-US" sz="1200" b="0" i="0" u="none" strike="noStrike" kern="1200" cap="none" spc="0" normalizeH="0" baseline="0" noProof="0" smtClean="0">
                <a:ln>
                  <a:noFill/>
                </a:ln>
                <a:solidFill>
                  <a:prstClr val="black"/>
                </a:solidFill>
                <a:effectLst/>
                <a:uLnTx/>
                <a:uFillTx/>
                <a:latin typeface="Bahnschrift" panose="020B0502040204020203" pitchFamily="34" charset="0"/>
                <a:sym typeface="Bahnschrift" panose="020B0502040204020203" pitchFamily="34" charset="0"/>
              </a:rPr>
              <a:pPr marL="0" marR="0" lvl="0" indent="0" algn="r" defTabSz="914400" rtl="0" eaLnBrk="1" fontAlgn="base" latinLnBrk="0" hangingPunct="1">
                <a:lnSpc>
                  <a:spcPct val="100000"/>
                </a:lnSpc>
                <a:spcBef>
                  <a:spcPct val="0"/>
                </a:spcBef>
                <a:spcAft>
                  <a:spcPct val="0"/>
                </a:spcAft>
                <a:buClr>
                  <a:prstClr val="black"/>
                </a:buClr>
                <a:buSzPct val="100000"/>
                <a:buFont typeface="Segoe UI" panose="020B0502040204020203" pitchFamily="34" charset="0"/>
                <a:buChar char="​"/>
                <a:tabLst/>
                <a:defRPr/>
              </a:pPr>
              <a:t>40</a:t>
            </a:fld>
            <a:endParaRPr kumimoji="0" lang="de-DE" sz="1200" b="0" i="0" u="none" strike="noStrike" kern="1200" cap="none" spc="0" normalizeH="0" baseline="0" noProof="0" dirty="0">
              <a:ln>
                <a:noFill/>
              </a:ln>
              <a:solidFill>
                <a:prstClr val="black"/>
              </a:solidFill>
              <a:effectLst/>
              <a:uLnTx/>
              <a:uFillTx/>
              <a:latin typeface="Bahnschrift" panose="020B0502040204020203" pitchFamily="34" charset="0"/>
              <a:sym typeface="Bahnschrift" panose="020B0502040204020203" pitchFamily="34" charset="0"/>
            </a:endParaRPr>
          </a:p>
        </p:txBody>
      </p:sp>
      <p:sp>
        <p:nvSpPr>
          <p:cNvPr id="133" name="Text Placeholder 4">
            <a:extLst>
              <a:ext uri="{FF2B5EF4-FFF2-40B4-BE49-F238E27FC236}">
                <a16:creationId xmlns:a16="http://schemas.microsoft.com/office/drawing/2014/main" id="{139F1102-57C3-4E0B-983C-86C8CACAD528}"/>
              </a:ext>
            </a:extLst>
          </p:cNvPr>
          <p:cNvSpPr>
            <a:spLocks noGrp="1"/>
          </p:cNvSpPr>
          <p:nvPr>
            <p:custDataLst>
              <p:tags r:id="rId13"/>
            </p:custDataLst>
          </p:nvPr>
        </p:nvSpPr>
        <p:spPr bwMode="gray">
          <a:xfrm>
            <a:off x="6710363" y="4740275"/>
            <a:ext cx="1619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
                <a:prstClr val="black"/>
              </a:buClr>
              <a:buSzPct val="100000"/>
              <a:buFont typeface="Segoe UI" panose="020B0502040204020203" pitchFamily="34" charset="0"/>
              <a:buChar char="​"/>
              <a:tabLst/>
              <a:defRPr/>
            </a:pPr>
            <a:fld id="{25E21489-755C-42AB-822E-4200107F1BB6}" type="datetime'''''''''''''''''''''''''''''''6''''''''''0'''''''''''''">
              <a:rPr kumimoji="0" lang="de-DE" altLang="en-US" sz="1200" b="0" i="0" u="none" strike="noStrike" kern="1200" cap="none" spc="0" normalizeH="0" baseline="0" noProof="0" smtClean="0">
                <a:ln>
                  <a:noFill/>
                </a:ln>
                <a:solidFill>
                  <a:prstClr val="black"/>
                </a:solidFill>
                <a:effectLst/>
                <a:uLnTx/>
                <a:uFillTx/>
                <a:latin typeface="Bahnschrift" panose="020B0502040204020203" pitchFamily="34" charset="0"/>
                <a:sym typeface="Bahnschrift" panose="020B0502040204020203" pitchFamily="34" charset="0"/>
              </a:rPr>
              <a:pPr marL="0" marR="0" lvl="0" indent="0" algn="r" defTabSz="914400" rtl="0" eaLnBrk="1" fontAlgn="base" latinLnBrk="0" hangingPunct="1">
                <a:lnSpc>
                  <a:spcPct val="100000"/>
                </a:lnSpc>
                <a:spcBef>
                  <a:spcPct val="0"/>
                </a:spcBef>
                <a:spcAft>
                  <a:spcPct val="0"/>
                </a:spcAft>
                <a:buClr>
                  <a:prstClr val="black"/>
                </a:buClr>
                <a:buSzPct val="100000"/>
                <a:buFont typeface="Segoe UI" panose="020B0502040204020203" pitchFamily="34" charset="0"/>
                <a:buChar char="​"/>
                <a:tabLst/>
                <a:defRPr/>
              </a:pPr>
              <a:t>60</a:t>
            </a:fld>
            <a:endParaRPr kumimoji="0" lang="de-DE" sz="1200" b="0" i="0" u="none" strike="noStrike" kern="1200" cap="none" spc="0" normalizeH="0" baseline="0" noProof="0" dirty="0">
              <a:ln>
                <a:noFill/>
              </a:ln>
              <a:solidFill>
                <a:prstClr val="black"/>
              </a:solidFill>
              <a:effectLst/>
              <a:uLnTx/>
              <a:uFillTx/>
              <a:latin typeface="Bahnschrift" panose="020B0502040204020203" pitchFamily="34" charset="0"/>
              <a:sym typeface="Bahnschrift" panose="020B0502040204020203" pitchFamily="34" charset="0"/>
            </a:endParaRPr>
          </a:p>
        </p:txBody>
      </p:sp>
      <p:sp>
        <p:nvSpPr>
          <p:cNvPr id="134" name="Text Placeholder 4">
            <a:extLst>
              <a:ext uri="{FF2B5EF4-FFF2-40B4-BE49-F238E27FC236}">
                <a16:creationId xmlns:a16="http://schemas.microsoft.com/office/drawing/2014/main" id="{9017426A-C844-4681-979C-A7C366545A34}"/>
              </a:ext>
            </a:extLst>
          </p:cNvPr>
          <p:cNvSpPr>
            <a:spLocks noGrp="1"/>
          </p:cNvSpPr>
          <p:nvPr>
            <p:custDataLst>
              <p:tags r:id="rId14"/>
            </p:custDataLst>
          </p:nvPr>
        </p:nvSpPr>
        <p:spPr bwMode="gray">
          <a:xfrm>
            <a:off x="6702425" y="4464050"/>
            <a:ext cx="169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
                <a:prstClr val="black"/>
              </a:buClr>
              <a:buSzPct val="100000"/>
              <a:buFont typeface="Segoe UI" panose="020B0502040204020203" pitchFamily="34" charset="0"/>
              <a:buChar char="​"/>
              <a:tabLst/>
              <a:defRPr/>
            </a:pPr>
            <a:fld id="{3A984715-697E-4221-9B94-1A29AB9C171B}" type="datetime'''''8''''''''''0'''''''''''''''''''''''''''''''">
              <a:rPr kumimoji="0" lang="de-DE" altLang="en-US" sz="1200" b="0" i="0" u="none" strike="noStrike" kern="1200" cap="none" spc="0" normalizeH="0" baseline="0" noProof="0" smtClean="0">
                <a:ln>
                  <a:noFill/>
                </a:ln>
                <a:solidFill>
                  <a:prstClr val="black"/>
                </a:solidFill>
                <a:effectLst/>
                <a:uLnTx/>
                <a:uFillTx/>
                <a:latin typeface="Bahnschrift" panose="020B0502040204020203" pitchFamily="34" charset="0"/>
                <a:sym typeface="Bahnschrift" panose="020B0502040204020203" pitchFamily="34" charset="0"/>
              </a:rPr>
              <a:pPr marL="0" marR="0" lvl="0" indent="0" algn="r" defTabSz="914400" rtl="0" eaLnBrk="1" fontAlgn="base" latinLnBrk="0" hangingPunct="1">
                <a:lnSpc>
                  <a:spcPct val="100000"/>
                </a:lnSpc>
                <a:spcBef>
                  <a:spcPct val="0"/>
                </a:spcBef>
                <a:spcAft>
                  <a:spcPct val="0"/>
                </a:spcAft>
                <a:buClr>
                  <a:prstClr val="black"/>
                </a:buClr>
                <a:buSzPct val="100000"/>
                <a:buFont typeface="Segoe UI" panose="020B0502040204020203" pitchFamily="34" charset="0"/>
                <a:buChar char="​"/>
                <a:tabLst/>
                <a:defRPr/>
              </a:pPr>
              <a:t>80</a:t>
            </a:fld>
            <a:endParaRPr kumimoji="0" lang="de-DE" sz="1200" b="0" i="0" u="none" strike="noStrike" kern="1200" cap="none" spc="0" normalizeH="0" baseline="0" noProof="0" dirty="0">
              <a:ln>
                <a:noFill/>
              </a:ln>
              <a:solidFill>
                <a:prstClr val="black"/>
              </a:solidFill>
              <a:effectLst/>
              <a:uLnTx/>
              <a:uFillTx/>
              <a:latin typeface="Bahnschrift" panose="020B0502040204020203" pitchFamily="34" charset="0"/>
              <a:sym typeface="Bahnschrift" panose="020B0502040204020203" pitchFamily="34" charset="0"/>
            </a:endParaRPr>
          </a:p>
        </p:txBody>
      </p:sp>
      <p:sp>
        <p:nvSpPr>
          <p:cNvPr id="136" name="Text Placeholder 4">
            <a:extLst>
              <a:ext uri="{FF2B5EF4-FFF2-40B4-BE49-F238E27FC236}">
                <a16:creationId xmlns:a16="http://schemas.microsoft.com/office/drawing/2014/main" id="{AA6BA594-3F58-4B50-B1AE-62F92E13FA89}"/>
              </a:ext>
            </a:extLst>
          </p:cNvPr>
          <p:cNvSpPr>
            <a:spLocks noGrp="1"/>
          </p:cNvSpPr>
          <p:nvPr>
            <p:custDataLst>
              <p:tags r:id="rId15"/>
            </p:custDataLst>
          </p:nvPr>
        </p:nvSpPr>
        <p:spPr bwMode="gray">
          <a:xfrm>
            <a:off x="6653213" y="4187825"/>
            <a:ext cx="2190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
                <a:prstClr val="black"/>
              </a:buClr>
              <a:buSzPct val="100000"/>
              <a:buFont typeface="Segoe UI" panose="020B0502040204020203" pitchFamily="34" charset="0"/>
              <a:buChar char="​"/>
              <a:tabLst/>
              <a:defRPr/>
            </a:pPr>
            <a:fld id="{44044E10-6F8E-40C8-9928-DAA87942EBB3}" type="datetime'''1''''''''''''''0''''''''''''''''''''0'''''">
              <a:rPr kumimoji="0" lang="de-DE" altLang="en-US" sz="1200" b="0" i="0" u="none" strike="noStrike" kern="1200" cap="none" spc="0" normalizeH="0" baseline="0" noProof="0" smtClean="0">
                <a:ln>
                  <a:noFill/>
                </a:ln>
                <a:solidFill>
                  <a:prstClr val="black"/>
                </a:solidFill>
                <a:effectLst/>
                <a:uLnTx/>
                <a:uFillTx/>
                <a:latin typeface="Bahnschrift" panose="020B0502040204020203" pitchFamily="34" charset="0"/>
                <a:sym typeface="Bahnschrift" panose="020B0502040204020203" pitchFamily="34" charset="0"/>
              </a:rPr>
              <a:pPr marL="0" marR="0" lvl="0" indent="0" algn="r" defTabSz="914400" rtl="0" eaLnBrk="1" fontAlgn="base" latinLnBrk="0" hangingPunct="1">
                <a:lnSpc>
                  <a:spcPct val="100000"/>
                </a:lnSpc>
                <a:spcBef>
                  <a:spcPct val="0"/>
                </a:spcBef>
                <a:spcAft>
                  <a:spcPct val="0"/>
                </a:spcAft>
                <a:buClr>
                  <a:prstClr val="black"/>
                </a:buClr>
                <a:buSzPct val="100000"/>
                <a:buFont typeface="Segoe UI" panose="020B0502040204020203" pitchFamily="34" charset="0"/>
                <a:buChar char="​"/>
                <a:tabLst/>
                <a:defRPr/>
              </a:pPr>
              <a:t>100</a:t>
            </a:fld>
            <a:endParaRPr kumimoji="0" lang="de-DE" sz="1200" b="0" i="0" u="none" strike="noStrike" kern="1200" cap="none" spc="0" normalizeH="0" baseline="0" noProof="0" dirty="0">
              <a:ln>
                <a:noFill/>
              </a:ln>
              <a:solidFill>
                <a:prstClr val="black"/>
              </a:solidFill>
              <a:effectLst/>
              <a:uLnTx/>
              <a:uFillTx/>
              <a:latin typeface="Bahnschrift" panose="020B0502040204020203" pitchFamily="34" charset="0"/>
              <a:sym typeface="Bahnschrift" panose="020B0502040204020203" pitchFamily="34" charset="0"/>
            </a:endParaRPr>
          </a:p>
        </p:txBody>
      </p:sp>
      <p:sp>
        <p:nvSpPr>
          <p:cNvPr id="132" name="Text Placeholder 4">
            <a:extLst>
              <a:ext uri="{FF2B5EF4-FFF2-40B4-BE49-F238E27FC236}">
                <a16:creationId xmlns:a16="http://schemas.microsoft.com/office/drawing/2014/main" id="{595A4126-923D-4B43-9E30-589A8BCE0C52}"/>
              </a:ext>
            </a:extLst>
          </p:cNvPr>
          <p:cNvSpPr>
            <a:spLocks noGrp="1"/>
          </p:cNvSpPr>
          <p:nvPr>
            <p:custDataLst>
              <p:tags r:id="rId16"/>
            </p:custDataLst>
          </p:nvPr>
        </p:nvSpPr>
        <p:spPr bwMode="gray">
          <a:xfrm>
            <a:off x="6657975" y="391160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
                <a:prstClr val="black"/>
              </a:buClr>
              <a:buSzPct val="100000"/>
              <a:buFont typeface="Segoe UI" panose="020B0502040204020203" pitchFamily="34" charset="0"/>
              <a:buChar char="​"/>
              <a:tabLst/>
              <a:defRPr/>
            </a:pPr>
            <a:fld id="{417151BC-BA58-467C-8DD3-F1BC9B3D3AF7}" type="datetime'''''''''''''''''1''''''''2''''''''''''''0'''''''''''">
              <a:rPr kumimoji="0" lang="de-DE" altLang="en-US" sz="1200" b="0" i="0" u="none" strike="noStrike" kern="1200" cap="none" spc="0" normalizeH="0" baseline="0" noProof="0" smtClean="0">
                <a:ln>
                  <a:noFill/>
                </a:ln>
                <a:solidFill>
                  <a:prstClr val="black"/>
                </a:solidFill>
                <a:effectLst/>
                <a:uLnTx/>
                <a:uFillTx/>
                <a:latin typeface="Bahnschrift" panose="020B0502040204020203" pitchFamily="34" charset="0"/>
                <a:sym typeface="Bahnschrift" panose="020B0502040204020203" pitchFamily="34" charset="0"/>
              </a:rPr>
              <a:pPr marL="0" marR="0" lvl="0" indent="0" algn="r" defTabSz="914400" rtl="0" eaLnBrk="1" fontAlgn="base" latinLnBrk="0" hangingPunct="1">
                <a:lnSpc>
                  <a:spcPct val="100000"/>
                </a:lnSpc>
                <a:spcBef>
                  <a:spcPct val="0"/>
                </a:spcBef>
                <a:spcAft>
                  <a:spcPct val="0"/>
                </a:spcAft>
                <a:buClr>
                  <a:prstClr val="black"/>
                </a:buClr>
                <a:buSzPct val="100000"/>
                <a:buFont typeface="Segoe UI" panose="020B0502040204020203" pitchFamily="34" charset="0"/>
                <a:buChar char="​"/>
                <a:tabLst/>
                <a:defRPr/>
              </a:pPr>
              <a:t>120</a:t>
            </a:fld>
            <a:endParaRPr kumimoji="0" lang="de-DE" sz="1200" b="0" i="0" u="none" strike="noStrike" kern="1200" cap="none" spc="0" normalizeH="0" baseline="0" noProof="0" dirty="0">
              <a:ln>
                <a:noFill/>
              </a:ln>
              <a:solidFill>
                <a:prstClr val="black"/>
              </a:solidFill>
              <a:effectLst/>
              <a:uLnTx/>
              <a:uFillTx/>
              <a:latin typeface="Bahnschrift" panose="020B0502040204020203" pitchFamily="34" charset="0"/>
              <a:sym typeface="Bahnschrift" panose="020B0502040204020203" pitchFamily="34" charset="0"/>
            </a:endParaRPr>
          </a:p>
        </p:txBody>
      </p:sp>
      <p:sp>
        <p:nvSpPr>
          <p:cNvPr id="137" name="Text Placeholder 4">
            <a:extLst>
              <a:ext uri="{FF2B5EF4-FFF2-40B4-BE49-F238E27FC236}">
                <a16:creationId xmlns:a16="http://schemas.microsoft.com/office/drawing/2014/main" id="{DCC156AC-4BEC-45BF-8FD5-3B17EA36F66E}"/>
              </a:ext>
            </a:extLst>
          </p:cNvPr>
          <p:cNvSpPr>
            <a:spLocks noGrp="1"/>
          </p:cNvSpPr>
          <p:nvPr>
            <p:custDataLst>
              <p:tags r:id="rId17"/>
            </p:custDataLst>
          </p:nvPr>
        </p:nvSpPr>
        <p:spPr bwMode="gray">
          <a:xfrm>
            <a:off x="6650038" y="3633788"/>
            <a:ext cx="222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
                <a:prstClr val="black"/>
              </a:buClr>
              <a:buSzPct val="100000"/>
              <a:buFont typeface="Segoe UI" panose="020B0502040204020203" pitchFamily="34" charset="0"/>
              <a:buChar char="​"/>
              <a:tabLst/>
              <a:defRPr/>
            </a:pPr>
            <a:fld id="{AA0A3AE8-E631-4FA6-B490-AAFD15264371}" type="datetime'''''''''''''''''''''1''''''''4''''''0'''''''''''''''''">
              <a:rPr kumimoji="0" lang="de-DE" altLang="en-US" sz="1200" b="0" i="0" u="none" strike="noStrike" kern="1200" cap="none" spc="0" normalizeH="0" baseline="0" noProof="0" smtClean="0">
                <a:ln>
                  <a:noFill/>
                </a:ln>
                <a:solidFill>
                  <a:prstClr val="black"/>
                </a:solidFill>
                <a:effectLst/>
                <a:uLnTx/>
                <a:uFillTx/>
                <a:latin typeface="Bahnschrift" panose="020B0502040204020203" pitchFamily="34" charset="0"/>
                <a:sym typeface="Bahnschrift" panose="020B0502040204020203" pitchFamily="34" charset="0"/>
              </a:rPr>
              <a:pPr marL="0" marR="0" lvl="0" indent="0" algn="r" defTabSz="914400" rtl="0" eaLnBrk="1" fontAlgn="base" latinLnBrk="0" hangingPunct="1">
                <a:lnSpc>
                  <a:spcPct val="100000"/>
                </a:lnSpc>
                <a:spcBef>
                  <a:spcPct val="0"/>
                </a:spcBef>
                <a:spcAft>
                  <a:spcPct val="0"/>
                </a:spcAft>
                <a:buClr>
                  <a:prstClr val="black"/>
                </a:buClr>
                <a:buSzPct val="100000"/>
                <a:buFont typeface="Segoe UI" panose="020B0502040204020203" pitchFamily="34" charset="0"/>
                <a:buChar char="​"/>
                <a:tabLst/>
                <a:defRPr/>
              </a:pPr>
              <a:t>140</a:t>
            </a:fld>
            <a:endParaRPr kumimoji="0" lang="de-DE" sz="1200" b="0" i="0" u="none" strike="noStrike" kern="1200" cap="none" spc="0" normalizeH="0" baseline="0" noProof="0" dirty="0">
              <a:ln>
                <a:noFill/>
              </a:ln>
              <a:solidFill>
                <a:prstClr val="black"/>
              </a:solidFill>
              <a:effectLst/>
              <a:uLnTx/>
              <a:uFillTx/>
              <a:latin typeface="Bahnschrift" panose="020B0502040204020203" pitchFamily="34" charset="0"/>
              <a:sym typeface="Bahnschrift" panose="020B0502040204020203" pitchFamily="34" charset="0"/>
            </a:endParaRPr>
          </a:p>
        </p:txBody>
      </p:sp>
      <p:sp>
        <p:nvSpPr>
          <p:cNvPr id="138" name="Text Placeholder 4">
            <a:extLst>
              <a:ext uri="{FF2B5EF4-FFF2-40B4-BE49-F238E27FC236}">
                <a16:creationId xmlns:a16="http://schemas.microsoft.com/office/drawing/2014/main" id="{D72F3FF2-0E29-4176-8C39-F04906EAE720}"/>
              </a:ext>
            </a:extLst>
          </p:cNvPr>
          <p:cNvSpPr>
            <a:spLocks noGrp="1"/>
          </p:cNvSpPr>
          <p:nvPr>
            <p:custDataLst>
              <p:tags r:id="rId18"/>
            </p:custDataLst>
          </p:nvPr>
        </p:nvSpPr>
        <p:spPr bwMode="gray">
          <a:xfrm>
            <a:off x="6659563" y="3357563"/>
            <a:ext cx="212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
                <a:prstClr val="black"/>
              </a:buClr>
              <a:buSzPct val="100000"/>
              <a:buFont typeface="Segoe UI" panose="020B0502040204020203" pitchFamily="34" charset="0"/>
              <a:buChar char="​"/>
              <a:tabLst/>
              <a:defRPr/>
            </a:pPr>
            <a:fld id="{F3A6D5E7-6616-404F-9234-AC203E797EE5}" type="datetime'''''''''''''''''''''''''''''16''''''''''''''''''''''''0'''">
              <a:rPr kumimoji="0" lang="de-DE" altLang="en-US" sz="1200" b="0" i="0" u="none" strike="noStrike" kern="1200" cap="none" spc="0" normalizeH="0" baseline="0" noProof="0" smtClean="0">
                <a:ln>
                  <a:noFill/>
                </a:ln>
                <a:solidFill>
                  <a:prstClr val="black"/>
                </a:solidFill>
                <a:effectLst/>
                <a:uLnTx/>
                <a:uFillTx/>
                <a:latin typeface="Bahnschrift" panose="020B0502040204020203" pitchFamily="34" charset="0"/>
                <a:sym typeface="Bahnschrift" panose="020B0502040204020203" pitchFamily="34" charset="0"/>
              </a:rPr>
              <a:pPr marL="0" marR="0" lvl="0" indent="0" algn="r" defTabSz="914400" rtl="0" eaLnBrk="1" fontAlgn="base" latinLnBrk="0" hangingPunct="1">
                <a:lnSpc>
                  <a:spcPct val="100000"/>
                </a:lnSpc>
                <a:spcBef>
                  <a:spcPct val="0"/>
                </a:spcBef>
                <a:spcAft>
                  <a:spcPct val="0"/>
                </a:spcAft>
                <a:buClr>
                  <a:prstClr val="black"/>
                </a:buClr>
                <a:buSzPct val="100000"/>
                <a:buFont typeface="Segoe UI" panose="020B0502040204020203" pitchFamily="34" charset="0"/>
                <a:buChar char="​"/>
                <a:tabLst/>
                <a:defRPr/>
              </a:pPr>
              <a:t>160</a:t>
            </a:fld>
            <a:endParaRPr kumimoji="0" lang="de-DE" sz="1200" b="0" i="0" u="none" strike="noStrike" kern="1200" cap="none" spc="0" normalizeH="0" baseline="0" noProof="0" dirty="0">
              <a:ln>
                <a:noFill/>
              </a:ln>
              <a:solidFill>
                <a:prstClr val="black"/>
              </a:solidFill>
              <a:effectLst/>
              <a:uLnTx/>
              <a:uFillTx/>
              <a:latin typeface="Bahnschrift" panose="020B0502040204020203" pitchFamily="34" charset="0"/>
              <a:sym typeface="Bahnschrift" panose="020B0502040204020203" pitchFamily="34" charset="0"/>
            </a:endParaRPr>
          </a:p>
        </p:txBody>
      </p:sp>
      <p:sp>
        <p:nvSpPr>
          <p:cNvPr id="139" name="Text Placeholder 4">
            <a:extLst>
              <a:ext uri="{FF2B5EF4-FFF2-40B4-BE49-F238E27FC236}">
                <a16:creationId xmlns:a16="http://schemas.microsoft.com/office/drawing/2014/main" id="{A048685F-DEC8-44F6-91DB-9579BD4F9E7B}"/>
              </a:ext>
            </a:extLst>
          </p:cNvPr>
          <p:cNvSpPr>
            <a:spLocks noGrp="1"/>
          </p:cNvSpPr>
          <p:nvPr>
            <p:custDataLst>
              <p:tags r:id="rId19"/>
            </p:custDataLst>
          </p:nvPr>
        </p:nvSpPr>
        <p:spPr bwMode="gray">
          <a:xfrm>
            <a:off x="6624638" y="2805113"/>
            <a:ext cx="2476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
                <a:prstClr val="black"/>
              </a:buClr>
              <a:buSzPct val="100000"/>
              <a:buFont typeface="Segoe UI" panose="020B0502040204020203" pitchFamily="34" charset="0"/>
              <a:buChar char="​"/>
              <a:tabLst/>
              <a:defRPr/>
            </a:pPr>
            <a:fld id="{914D240E-FD3D-4AED-B92D-24C360B6EA30}" type="datetime'''2''''''''''''''''''''''0''''''''0'''">
              <a:rPr kumimoji="0" lang="de-DE" altLang="en-US" sz="1200" b="0" i="0" u="none" strike="noStrike" kern="1200" cap="none" spc="0" normalizeH="0" baseline="0" noProof="0" smtClean="0">
                <a:ln>
                  <a:noFill/>
                </a:ln>
                <a:solidFill>
                  <a:prstClr val="black"/>
                </a:solidFill>
                <a:effectLst/>
                <a:uLnTx/>
                <a:uFillTx/>
                <a:latin typeface="Bahnschrift" panose="020B0502040204020203" pitchFamily="34" charset="0"/>
                <a:sym typeface="Bahnschrift" panose="020B0502040204020203" pitchFamily="34" charset="0"/>
              </a:rPr>
              <a:pPr marL="0" marR="0" lvl="0" indent="0" algn="r" defTabSz="914400" rtl="0" eaLnBrk="1" fontAlgn="base" latinLnBrk="0" hangingPunct="1">
                <a:lnSpc>
                  <a:spcPct val="100000"/>
                </a:lnSpc>
                <a:spcBef>
                  <a:spcPct val="0"/>
                </a:spcBef>
                <a:spcAft>
                  <a:spcPct val="0"/>
                </a:spcAft>
                <a:buClr>
                  <a:prstClr val="black"/>
                </a:buClr>
                <a:buSzPct val="100000"/>
                <a:buFont typeface="Segoe UI" panose="020B0502040204020203" pitchFamily="34" charset="0"/>
                <a:buChar char="​"/>
                <a:tabLst/>
                <a:defRPr/>
              </a:pPr>
              <a:t>200</a:t>
            </a:fld>
            <a:endParaRPr kumimoji="0" lang="de-DE" sz="1200" b="0" i="0" u="none" strike="noStrike" kern="1200" cap="none" spc="0" normalizeH="0" baseline="0" noProof="0" dirty="0">
              <a:ln>
                <a:noFill/>
              </a:ln>
              <a:solidFill>
                <a:prstClr val="black"/>
              </a:solidFill>
              <a:effectLst/>
              <a:uLnTx/>
              <a:uFillTx/>
              <a:latin typeface="Bahnschrift" panose="020B0502040204020203" pitchFamily="34" charset="0"/>
              <a:sym typeface="Bahnschrift" panose="020B0502040204020203" pitchFamily="34" charset="0"/>
            </a:endParaRPr>
          </a:p>
        </p:txBody>
      </p:sp>
      <p:sp>
        <p:nvSpPr>
          <p:cNvPr id="126" name="Text Placeholder 4">
            <a:extLst>
              <a:ext uri="{FF2B5EF4-FFF2-40B4-BE49-F238E27FC236}">
                <a16:creationId xmlns:a16="http://schemas.microsoft.com/office/drawing/2014/main" id="{92443CE0-9F02-4036-A0D1-E6A714B214AA}"/>
              </a:ext>
            </a:extLst>
          </p:cNvPr>
          <p:cNvSpPr>
            <a:spLocks noGrp="1"/>
          </p:cNvSpPr>
          <p:nvPr>
            <p:custDataLst>
              <p:tags r:id="rId20"/>
            </p:custDataLst>
          </p:nvPr>
        </p:nvSpPr>
        <p:spPr bwMode="gray">
          <a:xfrm>
            <a:off x="6651625" y="3081338"/>
            <a:ext cx="220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
                <a:prstClr val="black"/>
              </a:buClr>
              <a:buSzPct val="100000"/>
              <a:buFont typeface="Segoe UI" panose="020B0502040204020203" pitchFamily="34" charset="0"/>
              <a:buChar char="​"/>
              <a:tabLst/>
              <a:defRPr/>
            </a:pPr>
            <a:fld id="{A83483FC-90CA-4A93-8E9C-A609AEE3B00E}" type="datetime'''1''''''''''''''''''''''''''''''8''''0'''''''''''''''''">
              <a:rPr kumimoji="0" lang="de-DE" altLang="en-US" sz="1200" b="0" i="0" u="none" strike="noStrike" kern="1200" cap="none" spc="0" normalizeH="0" baseline="0" noProof="0" smtClean="0">
                <a:ln>
                  <a:noFill/>
                </a:ln>
                <a:solidFill>
                  <a:prstClr val="black"/>
                </a:solidFill>
                <a:effectLst/>
                <a:uLnTx/>
                <a:uFillTx/>
                <a:latin typeface="Bahnschrift" panose="020B0502040204020203" pitchFamily="34" charset="0"/>
                <a:sym typeface="Bahnschrift" panose="020B0502040204020203" pitchFamily="34" charset="0"/>
              </a:rPr>
              <a:pPr marL="0" marR="0" lvl="0" indent="0" algn="r" defTabSz="914400" rtl="0" eaLnBrk="1" fontAlgn="base" latinLnBrk="0" hangingPunct="1">
                <a:lnSpc>
                  <a:spcPct val="100000"/>
                </a:lnSpc>
                <a:spcBef>
                  <a:spcPct val="0"/>
                </a:spcBef>
                <a:spcAft>
                  <a:spcPct val="0"/>
                </a:spcAft>
                <a:buClr>
                  <a:prstClr val="black"/>
                </a:buClr>
                <a:buSzPct val="100000"/>
                <a:buFont typeface="Segoe UI" panose="020B0502040204020203" pitchFamily="34" charset="0"/>
                <a:buChar char="​"/>
                <a:tabLst/>
                <a:defRPr/>
              </a:pPr>
              <a:t>180</a:t>
            </a:fld>
            <a:endParaRPr kumimoji="0" lang="de-DE" sz="1200" b="0" i="0" u="none" strike="noStrike" kern="1200" cap="none" spc="0" normalizeH="0" baseline="0" noProof="0" dirty="0">
              <a:ln>
                <a:noFill/>
              </a:ln>
              <a:solidFill>
                <a:prstClr val="black"/>
              </a:solidFill>
              <a:effectLst/>
              <a:uLnTx/>
              <a:uFillTx/>
              <a:latin typeface="Bahnschrift" panose="020B0502040204020203" pitchFamily="34" charset="0"/>
              <a:sym typeface="Bahnschrift" panose="020B0502040204020203" pitchFamily="34" charset="0"/>
            </a:endParaRPr>
          </a:p>
        </p:txBody>
      </p:sp>
      <p:sp>
        <p:nvSpPr>
          <p:cNvPr id="128" name="Text Placeholder 4">
            <a:extLst>
              <a:ext uri="{FF2B5EF4-FFF2-40B4-BE49-F238E27FC236}">
                <a16:creationId xmlns:a16="http://schemas.microsoft.com/office/drawing/2014/main" id="{95730F66-26FE-48EE-BB1F-D5515FC0CE9D}"/>
              </a:ext>
            </a:extLst>
          </p:cNvPr>
          <p:cNvSpPr>
            <a:spLocks noGrp="1"/>
          </p:cNvSpPr>
          <p:nvPr>
            <p:custDataLst>
              <p:tags r:id="rId21"/>
            </p:custDataLst>
          </p:nvPr>
        </p:nvSpPr>
        <p:spPr bwMode="gray">
          <a:xfrm>
            <a:off x="6629400" y="2527300"/>
            <a:ext cx="2428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
                <a:prstClr val="black"/>
              </a:buClr>
              <a:buSzPct val="100000"/>
              <a:buFont typeface="Segoe UI" panose="020B0502040204020203" pitchFamily="34" charset="0"/>
              <a:buChar char="​"/>
              <a:tabLst/>
              <a:defRPr/>
            </a:pPr>
            <a:fld id="{37AE9BBC-F1FC-4BCB-A10D-94FD104068C9}" type="datetime'''''''2''''''''''''''''''''''''''''20'''''''''''">
              <a:rPr kumimoji="0" lang="de-DE" altLang="en-US" sz="1200" b="0" i="0" u="none" strike="noStrike" kern="1200" cap="none" spc="0" normalizeH="0" baseline="0" noProof="0" smtClean="0">
                <a:ln>
                  <a:noFill/>
                </a:ln>
                <a:solidFill>
                  <a:prstClr val="black"/>
                </a:solidFill>
                <a:effectLst/>
                <a:uLnTx/>
                <a:uFillTx/>
                <a:latin typeface="Bahnschrift" panose="020B0502040204020203" pitchFamily="34" charset="0"/>
                <a:sym typeface="Bahnschrift" panose="020B0502040204020203" pitchFamily="34" charset="0"/>
              </a:rPr>
              <a:pPr marL="0" marR="0" lvl="0" indent="0" algn="r" defTabSz="914400" rtl="0" eaLnBrk="1" fontAlgn="base" latinLnBrk="0" hangingPunct="1">
                <a:lnSpc>
                  <a:spcPct val="100000"/>
                </a:lnSpc>
                <a:spcBef>
                  <a:spcPct val="0"/>
                </a:spcBef>
                <a:spcAft>
                  <a:spcPct val="0"/>
                </a:spcAft>
                <a:buClr>
                  <a:prstClr val="black"/>
                </a:buClr>
                <a:buSzPct val="100000"/>
                <a:buFont typeface="Segoe UI" panose="020B0502040204020203" pitchFamily="34" charset="0"/>
                <a:buChar char="​"/>
                <a:tabLst/>
                <a:defRPr/>
              </a:pPr>
              <a:t>220</a:t>
            </a:fld>
            <a:endParaRPr kumimoji="0" lang="de-DE" sz="1200" b="0" i="0" u="none" strike="noStrike" kern="1200" cap="none" spc="0" normalizeH="0" baseline="0" noProof="0" dirty="0">
              <a:ln>
                <a:noFill/>
              </a:ln>
              <a:solidFill>
                <a:prstClr val="black"/>
              </a:solidFill>
              <a:effectLst/>
              <a:uLnTx/>
              <a:uFillTx/>
              <a:latin typeface="Bahnschrift" panose="020B0502040204020203" pitchFamily="34" charset="0"/>
              <a:sym typeface="Bahnschrift" panose="020B0502040204020203" pitchFamily="34" charset="0"/>
            </a:endParaRPr>
          </a:p>
        </p:txBody>
      </p:sp>
      <p:sp>
        <p:nvSpPr>
          <p:cNvPr id="127" name="Text Placeholder 4">
            <a:extLst>
              <a:ext uri="{FF2B5EF4-FFF2-40B4-BE49-F238E27FC236}">
                <a16:creationId xmlns:a16="http://schemas.microsoft.com/office/drawing/2014/main" id="{EDC9C34F-EA95-489C-9F4F-2CD8E645EE06}"/>
              </a:ext>
            </a:extLst>
          </p:cNvPr>
          <p:cNvSpPr>
            <a:spLocks noGrp="1"/>
          </p:cNvSpPr>
          <p:nvPr>
            <p:custDataLst>
              <p:tags r:id="rId22"/>
            </p:custDataLst>
          </p:nvPr>
        </p:nvSpPr>
        <p:spPr bwMode="gray">
          <a:xfrm>
            <a:off x="6621463" y="2251075"/>
            <a:ext cx="250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
                <a:prstClr val="black"/>
              </a:buClr>
              <a:buSzPct val="100000"/>
              <a:buFont typeface="Segoe UI" panose="020B0502040204020203" pitchFamily="34" charset="0"/>
              <a:buChar char="​"/>
              <a:tabLst/>
              <a:defRPr/>
            </a:pPr>
            <a:fld id="{0DDD7CF3-24CA-46C4-920B-497058EDD4AD}" type="datetime'''''''''''''''''''''''''''2''''''''''4''''''0'">
              <a:rPr kumimoji="0" lang="de-DE" altLang="en-US" sz="1200" b="0" i="0" u="none" strike="noStrike" kern="1200" cap="none" spc="0" normalizeH="0" baseline="0" noProof="0" smtClean="0">
                <a:ln>
                  <a:noFill/>
                </a:ln>
                <a:solidFill>
                  <a:prstClr val="black"/>
                </a:solidFill>
                <a:effectLst/>
                <a:uLnTx/>
                <a:uFillTx/>
                <a:latin typeface="Bahnschrift" panose="020B0502040204020203" pitchFamily="34" charset="0"/>
                <a:sym typeface="Bahnschrift" panose="020B0502040204020203" pitchFamily="34" charset="0"/>
              </a:rPr>
              <a:pPr marL="0" marR="0" lvl="0" indent="0" algn="r" defTabSz="914400" rtl="0" eaLnBrk="1" fontAlgn="base" latinLnBrk="0" hangingPunct="1">
                <a:lnSpc>
                  <a:spcPct val="100000"/>
                </a:lnSpc>
                <a:spcBef>
                  <a:spcPct val="0"/>
                </a:spcBef>
                <a:spcAft>
                  <a:spcPct val="0"/>
                </a:spcAft>
                <a:buClr>
                  <a:prstClr val="black"/>
                </a:buClr>
                <a:buSzPct val="100000"/>
                <a:buFont typeface="Segoe UI" panose="020B0502040204020203" pitchFamily="34" charset="0"/>
                <a:buChar char="​"/>
                <a:tabLst/>
                <a:defRPr/>
              </a:pPr>
              <a:t>240</a:t>
            </a:fld>
            <a:endParaRPr kumimoji="0" lang="de-DE" sz="1200" b="0" i="0" u="none" strike="noStrike" kern="1200" cap="none" spc="0" normalizeH="0" baseline="0" noProof="0" dirty="0">
              <a:ln>
                <a:noFill/>
              </a:ln>
              <a:solidFill>
                <a:prstClr val="black"/>
              </a:solidFill>
              <a:effectLst/>
              <a:uLnTx/>
              <a:uFillTx/>
              <a:latin typeface="Bahnschrift" panose="020B0502040204020203" pitchFamily="34" charset="0"/>
              <a:sym typeface="Bahnschrift" panose="020B0502040204020203" pitchFamily="34" charset="0"/>
            </a:endParaRPr>
          </a:p>
        </p:txBody>
      </p:sp>
      <p:sp>
        <p:nvSpPr>
          <p:cNvPr id="153" name="Text Placeholder 4">
            <a:extLst>
              <a:ext uri="{FF2B5EF4-FFF2-40B4-BE49-F238E27FC236}">
                <a16:creationId xmlns:a16="http://schemas.microsoft.com/office/drawing/2014/main" id="{1D6EC979-DEF6-4437-8456-D4A5928159A5}"/>
              </a:ext>
            </a:extLst>
          </p:cNvPr>
          <p:cNvSpPr>
            <a:spLocks noGrp="1"/>
          </p:cNvSpPr>
          <p:nvPr>
            <p:custDataLst>
              <p:tags r:id="rId23"/>
            </p:custDataLst>
          </p:nvPr>
        </p:nvSpPr>
        <p:spPr bwMode="auto">
          <a:xfrm>
            <a:off x="6621463" y="1946275"/>
            <a:ext cx="681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
                <a:prstClr val="black"/>
              </a:buClr>
              <a:buSzPct val="100000"/>
              <a:buFont typeface="Segoe UI" panose="020B0502040204020203" pitchFamily="34" charset="0"/>
              <a:buChar char="​"/>
              <a:tabLst/>
              <a:defRPr/>
            </a:pPr>
            <a:r>
              <a:rPr kumimoji="0" lang="de-DE" altLang="en-US" sz="1200" b="0" i="0" u="none" strike="noStrike" kern="1200" cap="none" spc="0" normalizeH="0" baseline="0" noProof="0" dirty="0">
                <a:ln>
                  <a:noFill/>
                </a:ln>
                <a:solidFill>
                  <a:prstClr val="black"/>
                </a:solidFill>
                <a:effectLst/>
                <a:uLnTx/>
                <a:uFillTx/>
                <a:latin typeface="Bahnschrift" panose="020B0502040204020203" pitchFamily="34" charset="0"/>
                <a:sym typeface="Bahnschrift" panose="020B0502040204020203" pitchFamily="34" charset="0"/>
              </a:rPr>
              <a:t>EUR/MWh</a:t>
            </a:r>
            <a:endParaRPr kumimoji="0" lang="de-DE" sz="1200" b="0" i="0" u="none" strike="noStrike" kern="1200" cap="none" spc="0" normalizeH="0" baseline="0" noProof="0" dirty="0">
              <a:ln>
                <a:noFill/>
              </a:ln>
              <a:solidFill>
                <a:prstClr val="black"/>
              </a:solidFill>
              <a:effectLst/>
              <a:uLnTx/>
              <a:uFillTx/>
              <a:latin typeface="Bahnschrift" panose="020B0502040204020203" pitchFamily="34" charset="0"/>
              <a:sym typeface="Bahnschrift" panose="020B0502040204020203" pitchFamily="34" charset="0"/>
            </a:endParaRPr>
          </a:p>
        </p:txBody>
      </p:sp>
      <p:graphicFrame>
        <p:nvGraphicFramePr>
          <p:cNvPr id="116" name="Chart 115">
            <a:extLst>
              <a:ext uri="{FF2B5EF4-FFF2-40B4-BE49-F238E27FC236}">
                <a16:creationId xmlns:a16="http://schemas.microsoft.com/office/drawing/2014/main" id="{DBB169CE-4651-46A4-BD72-E3350853D650}"/>
              </a:ext>
            </a:extLst>
          </p:cNvPr>
          <p:cNvGraphicFramePr/>
          <p:nvPr>
            <p:custDataLst>
              <p:tags r:id="rId24"/>
            </p:custDataLst>
          </p:nvPr>
        </p:nvGraphicFramePr>
        <p:xfrm>
          <a:off x="1220788" y="2259013"/>
          <a:ext cx="4359275" cy="3484562"/>
        </p:xfrm>
        <a:graphic>
          <a:graphicData uri="http://schemas.openxmlformats.org/drawingml/2006/chart">
            <c:chart xmlns:c="http://schemas.openxmlformats.org/drawingml/2006/chart" xmlns:r="http://schemas.openxmlformats.org/officeDocument/2006/relationships" r:id="rId59"/>
          </a:graphicData>
        </a:graphic>
      </p:graphicFrame>
      <p:sp>
        <p:nvSpPr>
          <p:cNvPr id="508" name="Text Placeholder 4">
            <a:extLst>
              <a:ext uri="{FF2B5EF4-FFF2-40B4-BE49-F238E27FC236}">
                <a16:creationId xmlns:a16="http://schemas.microsoft.com/office/drawing/2014/main" id="{4C1F3293-4EFE-461D-940D-7EE66BAE31C5}"/>
              </a:ext>
            </a:extLst>
          </p:cNvPr>
          <p:cNvSpPr>
            <a:spLocks noGrp="1"/>
          </p:cNvSpPr>
          <p:nvPr>
            <p:custDataLst>
              <p:tags r:id="rId25"/>
            </p:custDataLst>
          </p:nvPr>
        </p:nvSpPr>
        <p:spPr bwMode="gray">
          <a:xfrm>
            <a:off x="1136650" y="5711825"/>
            <a:ext cx="333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22120B4-70D0-4CD0-BCFF-6F24CA50147C}" type="datetime'''2''''0''''''''''''''''08'''''''''''''''''''''''''''''">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08</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510" name="Text Placeholder 4">
            <a:extLst>
              <a:ext uri="{FF2B5EF4-FFF2-40B4-BE49-F238E27FC236}">
                <a16:creationId xmlns:a16="http://schemas.microsoft.com/office/drawing/2014/main" id="{4C1F3293-4EFE-461D-940D-7EE66BAE31C5}"/>
              </a:ext>
            </a:extLst>
          </p:cNvPr>
          <p:cNvSpPr>
            <a:spLocks noGrp="1"/>
          </p:cNvSpPr>
          <p:nvPr>
            <p:custDataLst>
              <p:tags r:id="rId26"/>
            </p:custDataLst>
          </p:nvPr>
        </p:nvSpPr>
        <p:spPr bwMode="gray">
          <a:xfrm>
            <a:off x="2000250" y="5711825"/>
            <a:ext cx="1301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518CA92-3839-4918-9553-B815FB9FA78C}" type="datetime'''''''''''''''1''''''''''2'''''''''''''''''''''''''''''''''''">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2</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509" name="Text Placeholder 4">
            <a:extLst>
              <a:ext uri="{FF2B5EF4-FFF2-40B4-BE49-F238E27FC236}">
                <a16:creationId xmlns:a16="http://schemas.microsoft.com/office/drawing/2014/main" id="{4C1F3293-4EFE-461D-940D-7EE66BAE31C5}"/>
              </a:ext>
            </a:extLst>
          </p:cNvPr>
          <p:cNvSpPr>
            <a:spLocks noGrp="1"/>
          </p:cNvSpPr>
          <p:nvPr>
            <p:custDataLst>
              <p:tags r:id="rId27"/>
            </p:custDataLst>
          </p:nvPr>
        </p:nvSpPr>
        <p:spPr bwMode="gray">
          <a:xfrm>
            <a:off x="1617663" y="5711825"/>
            <a:ext cx="1349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BBB16D5-F573-4276-856A-7EE25BC8D184}" type="datetime'''''''''''''''''''''''''''''''''1''''''''0'''''''''">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0</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512" name="Text Placeholder 4">
            <a:extLst>
              <a:ext uri="{FF2B5EF4-FFF2-40B4-BE49-F238E27FC236}">
                <a16:creationId xmlns:a16="http://schemas.microsoft.com/office/drawing/2014/main" id="{4C1F3293-4EFE-461D-940D-7EE66BAE31C5}"/>
              </a:ext>
            </a:extLst>
          </p:cNvPr>
          <p:cNvSpPr>
            <a:spLocks noGrp="1"/>
          </p:cNvSpPr>
          <p:nvPr>
            <p:custDataLst>
              <p:tags r:id="rId28"/>
            </p:custDataLst>
          </p:nvPr>
        </p:nvSpPr>
        <p:spPr bwMode="gray">
          <a:xfrm>
            <a:off x="2765425" y="5711825"/>
            <a:ext cx="1285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5532830-3D21-4DE2-8775-0BA27E5130DE}" type="datetime'''''1''''''''''''''''''''''''''''''''''''''''''6'''''">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6</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511" name="Text Placeholder 4">
            <a:extLst>
              <a:ext uri="{FF2B5EF4-FFF2-40B4-BE49-F238E27FC236}">
                <a16:creationId xmlns:a16="http://schemas.microsoft.com/office/drawing/2014/main" id="{4C1F3293-4EFE-461D-940D-7EE66BAE31C5}"/>
              </a:ext>
            </a:extLst>
          </p:cNvPr>
          <p:cNvSpPr>
            <a:spLocks noGrp="1"/>
          </p:cNvSpPr>
          <p:nvPr>
            <p:custDataLst>
              <p:tags r:id="rId29"/>
            </p:custDataLst>
          </p:nvPr>
        </p:nvSpPr>
        <p:spPr bwMode="gray">
          <a:xfrm>
            <a:off x="2379663" y="5711825"/>
            <a:ext cx="1381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5FBBD92-0760-4DED-8056-6FC6EF99270E}" type="datetime'1''''''''''4'''''''''''''">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4</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99" name="Text Placeholder 4">
            <a:extLst>
              <a:ext uri="{FF2B5EF4-FFF2-40B4-BE49-F238E27FC236}">
                <a16:creationId xmlns:a16="http://schemas.microsoft.com/office/drawing/2014/main" id="{4C1F3293-4EFE-461D-940D-7EE66BAE31C5}"/>
              </a:ext>
            </a:extLst>
          </p:cNvPr>
          <p:cNvSpPr>
            <a:spLocks noGrp="1"/>
          </p:cNvSpPr>
          <p:nvPr>
            <p:custDataLst>
              <p:tags r:id="rId30"/>
            </p:custDataLst>
          </p:nvPr>
        </p:nvSpPr>
        <p:spPr bwMode="gray">
          <a:xfrm>
            <a:off x="5033963" y="5711825"/>
            <a:ext cx="1651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prstClr val="black"/>
              </a:buClr>
              <a:buSzPct val="100000"/>
              <a:buFont typeface="Segoe UI" panose="020B0502040204020203" pitchFamily="34" charset="0"/>
              <a:buChar char="​"/>
              <a:tabLst/>
              <a:defRPr/>
            </a:pPr>
            <a:fld id="{84A8B817-0212-4FB1-B99A-C5B5BDFB45CF}" type="datetime'''''''''''''''''''2''''''''8'''''''''''''''''''''''''''">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sym typeface="Bahnschrift" panose="020B0502040204020203" pitchFamily="34" charset="0"/>
              </a:rPr>
              <a:pPr marL="0" marR="0" lvl="0" indent="0" algn="ctr" defTabSz="914400" rtl="0" eaLnBrk="1" fontAlgn="base" latinLnBrk="0" hangingPunct="1">
                <a:lnSpc>
                  <a:spcPct val="100000"/>
                </a:lnSpc>
                <a:spcBef>
                  <a:spcPct val="0"/>
                </a:spcBef>
                <a:spcAft>
                  <a:spcPct val="0"/>
                </a:spcAft>
                <a:buClr>
                  <a:prstClr val="black"/>
                </a:buClr>
                <a:buSzPct val="100000"/>
                <a:buFont typeface="Segoe UI" panose="020B0502040204020203" pitchFamily="34" charset="0"/>
                <a:buChar char="​"/>
                <a:tabLst/>
                <a:defRPr/>
              </a:pPr>
              <a:t>28</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513" name="Text Placeholder 4">
            <a:extLst>
              <a:ext uri="{FF2B5EF4-FFF2-40B4-BE49-F238E27FC236}">
                <a16:creationId xmlns:a16="http://schemas.microsoft.com/office/drawing/2014/main" id="{4C1F3293-4EFE-461D-940D-7EE66BAE31C5}"/>
              </a:ext>
            </a:extLst>
          </p:cNvPr>
          <p:cNvSpPr>
            <a:spLocks noGrp="1"/>
          </p:cNvSpPr>
          <p:nvPr>
            <p:custDataLst>
              <p:tags r:id="rId31"/>
            </p:custDataLst>
          </p:nvPr>
        </p:nvSpPr>
        <p:spPr bwMode="gray">
          <a:xfrm>
            <a:off x="3141663" y="5711825"/>
            <a:ext cx="136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FB00889-CD10-40BC-A199-769244A0B953}" type="datetime'''''''''''''1''''''''''''8'''''''">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8</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514" name="Text Placeholder 4">
            <a:extLst>
              <a:ext uri="{FF2B5EF4-FFF2-40B4-BE49-F238E27FC236}">
                <a16:creationId xmlns:a16="http://schemas.microsoft.com/office/drawing/2014/main" id="{4C1F3293-4EFE-461D-940D-7EE66BAE31C5}"/>
              </a:ext>
            </a:extLst>
          </p:cNvPr>
          <p:cNvSpPr>
            <a:spLocks noGrp="1"/>
          </p:cNvSpPr>
          <p:nvPr>
            <p:custDataLst>
              <p:tags r:id="rId32"/>
            </p:custDataLst>
          </p:nvPr>
        </p:nvSpPr>
        <p:spPr bwMode="gray">
          <a:xfrm>
            <a:off x="3509963" y="5711825"/>
            <a:ext cx="1635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AEC7694-398E-40ED-A571-CC89C2A67F01}" type="datetime'''''''2''''0'">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515" name="Text Placeholder 4">
            <a:extLst>
              <a:ext uri="{FF2B5EF4-FFF2-40B4-BE49-F238E27FC236}">
                <a16:creationId xmlns:a16="http://schemas.microsoft.com/office/drawing/2014/main" id="{4C1F3293-4EFE-461D-940D-7EE66BAE31C5}"/>
              </a:ext>
            </a:extLst>
          </p:cNvPr>
          <p:cNvSpPr>
            <a:spLocks noGrp="1"/>
          </p:cNvSpPr>
          <p:nvPr>
            <p:custDataLst>
              <p:tags r:id="rId33"/>
            </p:custDataLst>
          </p:nvPr>
        </p:nvSpPr>
        <p:spPr bwMode="gray">
          <a:xfrm>
            <a:off x="3892550" y="5711825"/>
            <a:ext cx="1587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7EB6744-9E62-4CC5-81D5-5C5708C9D9CA}" type="datetime'''''''''''''''''''''''''''''''''''''''''2''''''''''2'''">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sym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2</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516" name="Text Placeholder 4">
            <a:extLst>
              <a:ext uri="{FF2B5EF4-FFF2-40B4-BE49-F238E27FC236}">
                <a16:creationId xmlns:a16="http://schemas.microsoft.com/office/drawing/2014/main" id="{4C1F3293-4EFE-461D-940D-7EE66BAE31C5}"/>
              </a:ext>
            </a:extLst>
          </p:cNvPr>
          <p:cNvSpPr>
            <a:spLocks noGrp="1"/>
          </p:cNvSpPr>
          <p:nvPr>
            <p:custDataLst>
              <p:tags r:id="rId34"/>
            </p:custDataLst>
          </p:nvPr>
        </p:nvSpPr>
        <p:spPr bwMode="gray">
          <a:xfrm>
            <a:off x="4270375" y="5711825"/>
            <a:ext cx="166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B3711ED-D63E-4E4E-BBC5-3F40EFB260C2}" type="datetime'''''''''2''''''''''''''''''''''''''4'''''''''''''''''''''">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sym typeface="Bahnschrift" panose="020B0502040204020203" pitchFamily="34" charset="0"/>
              </a:rPr>
              <a:pPr marL="0" marR="0" lvl="0" indent="0" algn="ctr" defTabSz="914400" rtl="0" eaLnBrk="1" fontAlgn="base"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4</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98" name="Text Placeholder 4">
            <a:extLst>
              <a:ext uri="{FF2B5EF4-FFF2-40B4-BE49-F238E27FC236}">
                <a16:creationId xmlns:a16="http://schemas.microsoft.com/office/drawing/2014/main" id="{4C1F3293-4EFE-461D-940D-7EE66BAE31C5}"/>
              </a:ext>
            </a:extLst>
          </p:cNvPr>
          <p:cNvSpPr>
            <a:spLocks noGrp="1"/>
          </p:cNvSpPr>
          <p:nvPr>
            <p:custDataLst>
              <p:tags r:id="rId35"/>
            </p:custDataLst>
          </p:nvPr>
        </p:nvSpPr>
        <p:spPr bwMode="gray">
          <a:xfrm>
            <a:off x="4657725" y="5711825"/>
            <a:ext cx="1571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prstClr val="black"/>
              </a:buClr>
              <a:buSzPct val="100000"/>
              <a:buFont typeface="Segoe UI" panose="020B0502040204020203" pitchFamily="34" charset="0"/>
              <a:buChar char="​"/>
              <a:tabLst/>
              <a:defRPr/>
            </a:pPr>
            <a:fld id="{0768D6F7-EE96-482E-A80C-3EC903EEFCBC}" type="datetime'''''''''''''''''''''2''''''6'">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sym typeface="Bahnschrift" panose="020B0502040204020203" pitchFamily="34" charset="0"/>
              </a:rPr>
              <a:pPr marL="0" marR="0" lvl="0" indent="0" algn="ctr" defTabSz="914400" rtl="0" eaLnBrk="1" fontAlgn="base" latinLnBrk="0" hangingPunct="1">
                <a:lnSpc>
                  <a:spcPct val="100000"/>
                </a:lnSpc>
                <a:spcBef>
                  <a:spcPct val="0"/>
                </a:spcBef>
                <a:spcAft>
                  <a:spcPct val="0"/>
                </a:spcAft>
                <a:buClr>
                  <a:prstClr val="black"/>
                </a:buClr>
                <a:buSzPct val="100000"/>
                <a:buFont typeface="Segoe UI" panose="020B0502040204020203" pitchFamily="34" charset="0"/>
                <a:buChar char="​"/>
                <a:tabLst/>
                <a:defRPr/>
              </a:pPr>
              <a:t>26</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158" name="Textplatzhalter 8">
            <a:extLst>
              <a:ext uri="{FF2B5EF4-FFF2-40B4-BE49-F238E27FC236}">
                <a16:creationId xmlns:a16="http://schemas.microsoft.com/office/drawing/2014/main" id="{5862B847-9704-4F70-9458-B16D60EEC451}"/>
              </a:ext>
            </a:extLst>
          </p:cNvPr>
          <p:cNvSpPr>
            <a:spLocks noGrp="1"/>
          </p:cNvSpPr>
          <p:nvPr>
            <p:custDataLst>
              <p:tags r:id="rId36"/>
            </p:custDataLst>
          </p:nvPr>
        </p:nvSpPr>
        <p:spPr bwMode="gray">
          <a:xfrm>
            <a:off x="5334000" y="5711825"/>
            <a:ext cx="3286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E033EB69-4A18-4258-8E23-31646DF654EE}" type="datetime'''''''''''''''2''0''''3''''''''''''''''''''''''''0'''">
              <a:rPr kumimoji="0" lang="de-DE" altLang="en-US" sz="1200" b="0" i="0" u="none" strike="noStrike" kern="1200" cap="none" spc="0" normalizeH="0" baseline="0" noProof="0" smtClean="0">
                <a:ln>
                  <a:noFill/>
                </a:ln>
                <a:solidFill>
                  <a:srgbClr val="000000"/>
                </a:solidFill>
                <a:effectLst/>
                <a:uLnTx/>
                <a:uFillTx/>
                <a:sym typeface="Bahnschrift" panose="020B0502040204020203" pitchFamily="34" charset="0"/>
              </a:rPr>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2030</a:t>
            </a:fld>
            <a:endParaRPr kumimoji="0" lang="de-DE" sz="1200" b="0" i="0" u="none" strike="noStrike" kern="1200" cap="none" spc="0" normalizeH="0" baseline="0" noProof="0" dirty="0">
              <a:ln>
                <a:noFill/>
              </a:ln>
              <a:solidFill>
                <a:srgbClr val="000000"/>
              </a:solidFill>
              <a:effectLst/>
              <a:uLnTx/>
              <a:uFillTx/>
              <a:sym typeface="Bahnschrift" panose="020B0502040204020203" pitchFamily="34" charset="0"/>
            </a:endParaRPr>
          </a:p>
        </p:txBody>
      </p:sp>
      <p:sp>
        <p:nvSpPr>
          <p:cNvPr id="150" name="Text Placeholder 4">
            <a:extLst>
              <a:ext uri="{FF2B5EF4-FFF2-40B4-BE49-F238E27FC236}">
                <a16:creationId xmlns:a16="http://schemas.microsoft.com/office/drawing/2014/main" id="{4C1F3293-4EFE-461D-940D-7EE66BAE31C5}"/>
              </a:ext>
            </a:extLst>
          </p:cNvPr>
          <p:cNvSpPr>
            <a:spLocks noGrp="1"/>
          </p:cNvSpPr>
          <p:nvPr>
            <p:custDataLst>
              <p:tags r:id="rId37"/>
            </p:custDataLst>
          </p:nvPr>
        </p:nvSpPr>
        <p:spPr bwMode="gray">
          <a:xfrm>
            <a:off x="1117600" y="5570538"/>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0BD8509-700A-4EF3-8FB4-6E6A4AEE08E0}" type="datetime'''''''''''''''''0'''''''">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sym typeface="Bahnschrift" panose="020B0502040204020203"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290" name="Text Placeholder 4">
            <a:extLst>
              <a:ext uri="{FF2B5EF4-FFF2-40B4-BE49-F238E27FC236}">
                <a16:creationId xmlns:a16="http://schemas.microsoft.com/office/drawing/2014/main" id="{4C1F3293-4EFE-461D-940D-7EE66BAE31C5}"/>
              </a:ext>
            </a:extLst>
          </p:cNvPr>
          <p:cNvSpPr>
            <a:spLocks noGrp="1"/>
          </p:cNvSpPr>
          <p:nvPr>
            <p:custDataLst>
              <p:tags r:id="rId38"/>
            </p:custDataLst>
          </p:nvPr>
        </p:nvSpPr>
        <p:spPr bwMode="gray">
          <a:xfrm>
            <a:off x="1035050" y="5238750"/>
            <a:ext cx="166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1CDB166-7DC5-4878-B3D6-02585D01DC89}" type="datetime'''5''''''''''''''''''''''0'''''''">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sym typeface="Bahnschrift" panose="020B0502040204020203"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0</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200" name="Text Placeholder 4">
            <a:extLst>
              <a:ext uri="{FF2B5EF4-FFF2-40B4-BE49-F238E27FC236}">
                <a16:creationId xmlns:a16="http://schemas.microsoft.com/office/drawing/2014/main" id="{4C1F3293-4EFE-461D-940D-7EE66BAE31C5}"/>
              </a:ext>
            </a:extLst>
          </p:cNvPr>
          <p:cNvSpPr>
            <a:spLocks noGrp="1"/>
          </p:cNvSpPr>
          <p:nvPr>
            <p:custDataLst>
              <p:tags r:id="rId39"/>
            </p:custDataLst>
          </p:nvPr>
        </p:nvSpPr>
        <p:spPr bwMode="gray">
          <a:xfrm>
            <a:off x="982663" y="4906963"/>
            <a:ext cx="2190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C6D5585-6392-46BE-BA40-45C04116CD1B}" type="datetime'''''1''''''0''''''''''0'''''''''''''''''''''''''">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sym typeface="Bahnschrift" panose="020B0502040204020203"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00</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293" name="Text Placeholder 4">
            <a:extLst>
              <a:ext uri="{FF2B5EF4-FFF2-40B4-BE49-F238E27FC236}">
                <a16:creationId xmlns:a16="http://schemas.microsoft.com/office/drawing/2014/main" id="{4C1F3293-4EFE-461D-940D-7EE66BAE31C5}"/>
              </a:ext>
            </a:extLst>
          </p:cNvPr>
          <p:cNvSpPr>
            <a:spLocks noGrp="1"/>
          </p:cNvSpPr>
          <p:nvPr>
            <p:custDataLst>
              <p:tags r:id="rId40"/>
            </p:custDataLst>
          </p:nvPr>
        </p:nvSpPr>
        <p:spPr bwMode="gray">
          <a:xfrm>
            <a:off x="955675" y="3911600"/>
            <a:ext cx="2460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85E2859-71F4-4548-AE61-E4BE36BCCF74}" type="datetime'''''2''''''''''''''''''''''5''''''''''''''0'''''''''''''''''''">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sym typeface="Bahnschrift" panose="020B0502040204020203"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50</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291" name="Text Placeholder 4">
            <a:extLst>
              <a:ext uri="{FF2B5EF4-FFF2-40B4-BE49-F238E27FC236}">
                <a16:creationId xmlns:a16="http://schemas.microsoft.com/office/drawing/2014/main" id="{4C1F3293-4EFE-461D-940D-7EE66BAE31C5}"/>
              </a:ext>
            </a:extLst>
          </p:cNvPr>
          <p:cNvSpPr>
            <a:spLocks noGrp="1"/>
          </p:cNvSpPr>
          <p:nvPr>
            <p:custDataLst>
              <p:tags r:id="rId41"/>
            </p:custDataLst>
          </p:nvPr>
        </p:nvSpPr>
        <p:spPr bwMode="gray">
          <a:xfrm>
            <a:off x="984250" y="4575175"/>
            <a:ext cx="2174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F605DCF-D04D-4591-AB39-C7A0B3096B5E}" type="datetime'''''''1''''''''5''''''''''''''''''''''''''0'''''''''''''''''''">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sym typeface="Bahnschrift" panose="020B0502040204020203"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50</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292" name="Text Placeholder 4">
            <a:extLst>
              <a:ext uri="{FF2B5EF4-FFF2-40B4-BE49-F238E27FC236}">
                <a16:creationId xmlns:a16="http://schemas.microsoft.com/office/drawing/2014/main" id="{4C1F3293-4EFE-461D-940D-7EE66BAE31C5}"/>
              </a:ext>
            </a:extLst>
          </p:cNvPr>
          <p:cNvSpPr>
            <a:spLocks noGrp="1"/>
          </p:cNvSpPr>
          <p:nvPr>
            <p:custDataLst>
              <p:tags r:id="rId42"/>
            </p:custDataLst>
          </p:nvPr>
        </p:nvSpPr>
        <p:spPr bwMode="gray">
          <a:xfrm>
            <a:off x="954088" y="4243388"/>
            <a:ext cx="2476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38998861-2DBF-4CE4-85BD-6241EFE0492D}" type="datetime'2''''''''''''''''''''''0''''''''''''0'''''''''''''''''''''">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sym typeface="Bahnschrift" panose="020B0502040204020203"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0</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294" name="Text Placeholder 4">
            <a:extLst>
              <a:ext uri="{FF2B5EF4-FFF2-40B4-BE49-F238E27FC236}">
                <a16:creationId xmlns:a16="http://schemas.microsoft.com/office/drawing/2014/main" id="{4C1F3293-4EFE-461D-940D-7EE66BAE31C5}"/>
              </a:ext>
            </a:extLst>
          </p:cNvPr>
          <p:cNvSpPr>
            <a:spLocks noGrp="1"/>
          </p:cNvSpPr>
          <p:nvPr>
            <p:custDataLst>
              <p:tags r:id="rId43"/>
            </p:custDataLst>
          </p:nvPr>
        </p:nvSpPr>
        <p:spPr bwMode="gray">
          <a:xfrm>
            <a:off x="952500" y="3578225"/>
            <a:ext cx="2492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9970FAE-5634-4F3E-AEF1-560008EAA724}" type="datetime'''''''3''''''''''''0''''''0'''''">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sym typeface="Bahnschrift" panose="020B0502040204020203"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00</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72" name="Text Placeholder 4">
            <a:extLst>
              <a:ext uri="{FF2B5EF4-FFF2-40B4-BE49-F238E27FC236}">
                <a16:creationId xmlns:a16="http://schemas.microsoft.com/office/drawing/2014/main" id="{4C1F3293-4EFE-461D-940D-7EE66BAE31C5}"/>
              </a:ext>
            </a:extLst>
          </p:cNvPr>
          <p:cNvSpPr>
            <a:spLocks noGrp="1"/>
          </p:cNvSpPr>
          <p:nvPr>
            <p:custDataLst>
              <p:tags r:id="rId44"/>
            </p:custDataLst>
          </p:nvPr>
        </p:nvSpPr>
        <p:spPr bwMode="gray">
          <a:xfrm>
            <a:off x="954088" y="3246438"/>
            <a:ext cx="2476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90143B4-709F-4097-BB3E-0308791FD81A}" type="datetime'''''''''''''''''3''''''''''''''''''50'''''''''">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sym typeface="Bahnschrift" panose="020B0502040204020203"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50</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108" name="Text Placeholder 4">
            <a:extLst>
              <a:ext uri="{FF2B5EF4-FFF2-40B4-BE49-F238E27FC236}">
                <a16:creationId xmlns:a16="http://schemas.microsoft.com/office/drawing/2014/main" id="{4C1F3293-4EFE-461D-940D-7EE66BAE31C5}"/>
              </a:ext>
            </a:extLst>
          </p:cNvPr>
          <p:cNvSpPr>
            <a:spLocks noGrp="1"/>
          </p:cNvSpPr>
          <p:nvPr>
            <p:custDataLst>
              <p:tags r:id="rId45"/>
            </p:custDataLst>
          </p:nvPr>
        </p:nvSpPr>
        <p:spPr bwMode="gray">
          <a:xfrm>
            <a:off x="946150" y="2914650"/>
            <a:ext cx="2555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B023303-A4B5-429A-AE5F-B28BB62A8A06}" type="datetime'''''''''''''''''4''''''0''0'''''''">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sym typeface="Bahnschrift" panose="020B0502040204020203"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00</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74" name="Text Placeholder 4">
            <a:extLst>
              <a:ext uri="{FF2B5EF4-FFF2-40B4-BE49-F238E27FC236}">
                <a16:creationId xmlns:a16="http://schemas.microsoft.com/office/drawing/2014/main" id="{4C1F3293-4EFE-461D-940D-7EE66BAE31C5}"/>
              </a:ext>
            </a:extLst>
          </p:cNvPr>
          <p:cNvSpPr>
            <a:spLocks noGrp="1"/>
          </p:cNvSpPr>
          <p:nvPr>
            <p:custDataLst>
              <p:tags r:id="rId46"/>
            </p:custDataLst>
          </p:nvPr>
        </p:nvSpPr>
        <p:spPr bwMode="gray">
          <a:xfrm>
            <a:off x="947738" y="2582863"/>
            <a:ext cx="254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1DFE19A-8220-4DAF-B61E-F49EE235E28A}" type="datetime'4''''''5''''0'''''''''''''''''''''''''''''''''''''''''''">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sym typeface="Bahnschrift" panose="020B0502040204020203"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50</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75" name="Text Placeholder 4">
            <a:extLst>
              <a:ext uri="{FF2B5EF4-FFF2-40B4-BE49-F238E27FC236}">
                <a16:creationId xmlns:a16="http://schemas.microsoft.com/office/drawing/2014/main" id="{4C1F3293-4EFE-461D-940D-7EE66BAE31C5}"/>
              </a:ext>
            </a:extLst>
          </p:cNvPr>
          <p:cNvSpPr>
            <a:spLocks noGrp="1"/>
          </p:cNvSpPr>
          <p:nvPr>
            <p:custDataLst>
              <p:tags r:id="rId47"/>
            </p:custDataLst>
          </p:nvPr>
        </p:nvSpPr>
        <p:spPr bwMode="gray">
          <a:xfrm>
            <a:off x="950913" y="2251075"/>
            <a:ext cx="2508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43EB31A-D709-4A6A-B8AA-38D30942F9E5}" type="datetime'''5''''''''''''''0''''''''''''''''''''''''''''''''''0'''''">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sym typeface="Bahnschrift" panose="020B0502040204020203"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00</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221" name="Text Placeholder 4">
            <a:extLst>
              <a:ext uri="{FF2B5EF4-FFF2-40B4-BE49-F238E27FC236}">
                <a16:creationId xmlns:a16="http://schemas.microsoft.com/office/drawing/2014/main" id="{4C1F3293-4EFE-461D-940D-7EE66BAE31C5}"/>
              </a:ext>
            </a:extLst>
          </p:cNvPr>
          <p:cNvSpPr>
            <a:spLocks noGrp="1"/>
          </p:cNvSpPr>
          <p:nvPr>
            <p:custDataLst>
              <p:tags r:id="rId48"/>
            </p:custDataLst>
          </p:nvPr>
        </p:nvSpPr>
        <p:spPr bwMode="auto">
          <a:xfrm>
            <a:off x="950913" y="1946275"/>
            <a:ext cx="6810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de-DE" altLang="en-US" sz="12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rPr>
              <a:t>EUR/MWh</a:t>
            </a:r>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47" name="TextBox 46">
            <a:extLst>
              <a:ext uri="{FF2B5EF4-FFF2-40B4-BE49-F238E27FC236}">
                <a16:creationId xmlns:a16="http://schemas.microsoft.com/office/drawing/2014/main" id="{76B450B5-340F-4456-B538-EF90529AB039}"/>
              </a:ext>
            </a:extLst>
          </p:cNvPr>
          <p:cNvSpPr txBox="1">
            <a:spLocks/>
          </p:cNvSpPr>
          <p:nvPr/>
        </p:nvSpPr>
        <p:spPr>
          <a:xfrm>
            <a:off x="962025" y="1593850"/>
            <a:ext cx="5203825" cy="215900"/>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t>Strompreisentwicklung </a:t>
            </a:r>
            <a:r>
              <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rPr>
              <a:t>(Monatlich, Großhandel)</a:t>
            </a:r>
          </a:p>
        </p:txBody>
      </p:sp>
      <p:cxnSp>
        <p:nvCxnSpPr>
          <p:cNvPr id="48" name="LineBasicDefault 62">
            <a:extLst>
              <a:ext uri="{FF2B5EF4-FFF2-40B4-BE49-F238E27FC236}">
                <a16:creationId xmlns:a16="http://schemas.microsoft.com/office/drawing/2014/main" id="{A9870772-98F1-4652-9D67-6CBFC5AF60FC}"/>
              </a:ext>
            </a:extLst>
          </p:cNvPr>
          <p:cNvCxnSpPr>
            <a:cxnSpLocks/>
          </p:cNvCxnSpPr>
          <p:nvPr>
            <p:custDataLst>
              <p:tags r:id="rId49"/>
            </p:custDataLst>
          </p:nvPr>
        </p:nvCxnSpPr>
        <p:spPr>
          <a:xfrm>
            <a:off x="962025" y="1868488"/>
            <a:ext cx="520223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9" name="TextBox 258">
            <a:extLst>
              <a:ext uri="{FF2B5EF4-FFF2-40B4-BE49-F238E27FC236}">
                <a16:creationId xmlns:a16="http://schemas.microsoft.com/office/drawing/2014/main" id="{A7074247-DA82-4FF2-AA08-E5EEC754A6F9}"/>
              </a:ext>
            </a:extLst>
          </p:cNvPr>
          <p:cNvSpPr txBox="1">
            <a:spLocks/>
          </p:cNvSpPr>
          <p:nvPr/>
        </p:nvSpPr>
        <p:spPr>
          <a:xfrm>
            <a:off x="6608763" y="1593850"/>
            <a:ext cx="5202238" cy="215900"/>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t>Gaspreisentwicklung </a:t>
            </a:r>
            <a:r>
              <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rPr>
              <a:t>(Monatlich, Großhandel)</a:t>
            </a:r>
          </a:p>
        </p:txBody>
      </p:sp>
      <p:cxnSp>
        <p:nvCxnSpPr>
          <p:cNvPr id="260" name="LineBasicDefault 62">
            <a:extLst>
              <a:ext uri="{FF2B5EF4-FFF2-40B4-BE49-F238E27FC236}">
                <a16:creationId xmlns:a16="http://schemas.microsoft.com/office/drawing/2014/main" id="{89E38F73-BE67-4155-AAE8-7FE8CF74A621}"/>
              </a:ext>
            </a:extLst>
          </p:cNvPr>
          <p:cNvCxnSpPr>
            <a:cxnSpLocks/>
          </p:cNvCxnSpPr>
          <p:nvPr>
            <p:custDataLst>
              <p:tags r:id="rId50"/>
            </p:custDataLst>
          </p:nvPr>
        </p:nvCxnSpPr>
        <p:spPr>
          <a:xfrm>
            <a:off x="6607175" y="1868488"/>
            <a:ext cx="5203825"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41570A6-0FEE-4C6A-AAA3-54D21A7B1939}"/>
              </a:ext>
            </a:extLst>
          </p:cNvPr>
          <p:cNvCxnSpPr>
            <a:cxnSpLocks/>
            <a:stCxn id="50" idx="2"/>
          </p:cNvCxnSpPr>
          <p:nvPr/>
        </p:nvCxnSpPr>
        <p:spPr>
          <a:xfrm>
            <a:off x="3099595" y="4854575"/>
            <a:ext cx="290671" cy="638858"/>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C0D3E82F-643C-4B06-B392-B1B68C42A395}"/>
              </a:ext>
            </a:extLst>
          </p:cNvPr>
          <p:cNvSpPr txBox="1"/>
          <p:nvPr/>
        </p:nvSpPr>
        <p:spPr>
          <a:xfrm>
            <a:off x="2979738" y="4670425"/>
            <a:ext cx="239713" cy="184150"/>
          </a:xfrm>
          <a:prstGeom prst="rect">
            <a:avLst/>
          </a:prstGeom>
          <a:solidFill>
            <a:schemeClr val="bg1"/>
          </a:solidFill>
          <a:ln w="19050">
            <a:solidFill>
              <a:schemeClr val="accent1"/>
            </a:solid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rPr>
              <a:t>39</a:t>
            </a:r>
          </a:p>
        </p:txBody>
      </p:sp>
      <p:sp>
        <p:nvSpPr>
          <p:cNvPr id="59" name="TextBox 58">
            <a:extLst>
              <a:ext uri="{FF2B5EF4-FFF2-40B4-BE49-F238E27FC236}">
                <a16:creationId xmlns:a16="http://schemas.microsoft.com/office/drawing/2014/main" id="{91D97672-FBDE-4241-BBCE-9B408A0A1024}"/>
              </a:ext>
            </a:extLst>
          </p:cNvPr>
          <p:cNvSpPr txBox="1"/>
          <p:nvPr/>
        </p:nvSpPr>
        <p:spPr>
          <a:xfrm>
            <a:off x="2555875" y="4395788"/>
            <a:ext cx="773113" cy="18415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rPr>
              <a:t>Ø 2009-20</a:t>
            </a:r>
          </a:p>
        </p:txBody>
      </p:sp>
      <p:pic>
        <p:nvPicPr>
          <p:cNvPr id="199" name="CustomIcon">
            <a:extLst>
              <a:ext uri="{FF2B5EF4-FFF2-40B4-BE49-F238E27FC236}">
                <a16:creationId xmlns:a16="http://schemas.microsoft.com/office/drawing/2014/main" id="{5FDF1F1F-3BC3-4F1B-A9A4-1612F7CA9C8E}"/>
              </a:ext>
            </a:extLst>
          </p:cNvPr>
          <p:cNvPicPr>
            <a:picLocks noChangeAspect="1"/>
          </p:cNvPicPr>
          <p:nvPr>
            <p:custDataLst>
              <p:tags r:id="rId51"/>
            </p:custDataLst>
          </p:nvPr>
        </p:nvPicPr>
        <p:blipFill>
          <a:blip r:embed="rId60">
            <a:extLst>
              <a:ext uri="{96DAC541-7B7A-43D3-8B79-37D633B846F1}">
                <asvg:svgBlip xmlns:asvg="http://schemas.microsoft.com/office/drawing/2016/SVG/main" r:embed="rId61"/>
              </a:ext>
            </a:extLst>
          </a:blip>
          <a:stretch>
            <a:fillRect/>
          </a:stretch>
        </p:blipFill>
        <p:spPr>
          <a:xfrm>
            <a:off x="5815013" y="1462087"/>
            <a:ext cx="350838" cy="350838"/>
          </a:xfrm>
          <a:prstGeom prst="rect">
            <a:avLst/>
          </a:prstGeom>
        </p:spPr>
      </p:pic>
      <p:pic>
        <p:nvPicPr>
          <p:cNvPr id="201" name="CustomIcon">
            <a:extLst>
              <a:ext uri="{FF2B5EF4-FFF2-40B4-BE49-F238E27FC236}">
                <a16:creationId xmlns:a16="http://schemas.microsoft.com/office/drawing/2014/main" id="{BF82CEF8-72D2-4F6A-8F77-4251FFEFF20F}"/>
              </a:ext>
            </a:extLst>
          </p:cNvPr>
          <p:cNvPicPr>
            <a:picLocks/>
          </p:cNvPicPr>
          <p:nvPr>
            <p:custDataLst>
              <p:tags r:id="rId52"/>
            </p:custDataLst>
          </p:nvPr>
        </p:nvPicPr>
        <p:blipFill>
          <a:blip r:embed="rId62">
            <a:extLst>
              <a:ext uri="{96DAC541-7B7A-43D3-8B79-37D633B846F1}">
                <asvg:svgBlip xmlns:asvg="http://schemas.microsoft.com/office/drawing/2016/SVG/main" r:embed="rId63"/>
              </a:ext>
            </a:extLst>
          </a:blip>
          <a:stretch>
            <a:fillRect/>
          </a:stretch>
        </p:blipFill>
        <p:spPr>
          <a:xfrm>
            <a:off x="11460162" y="1458912"/>
            <a:ext cx="350838" cy="350838"/>
          </a:xfrm>
          <a:prstGeom prst="rect">
            <a:avLst/>
          </a:prstGeom>
        </p:spPr>
      </p:pic>
      <p:sp>
        <p:nvSpPr>
          <p:cNvPr id="135" name="TextBox 134">
            <a:extLst>
              <a:ext uri="{FF2B5EF4-FFF2-40B4-BE49-F238E27FC236}">
                <a16:creationId xmlns:a16="http://schemas.microsoft.com/office/drawing/2014/main" id="{BE06F25E-1837-4BE7-B5C5-4063E4506DEA}"/>
              </a:ext>
            </a:extLst>
          </p:cNvPr>
          <p:cNvSpPr txBox="1"/>
          <p:nvPr/>
        </p:nvSpPr>
        <p:spPr>
          <a:xfrm>
            <a:off x="2603500" y="4670425"/>
            <a:ext cx="239713" cy="184150"/>
          </a:xfrm>
          <a:prstGeom prst="rect">
            <a:avLst/>
          </a:prstGeom>
          <a:solidFill>
            <a:schemeClr val="bg1"/>
          </a:solidFill>
          <a:ln w="19050">
            <a:solidFill>
              <a:schemeClr val="accent5"/>
            </a:solid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rPr>
              <a:t>31</a:t>
            </a:r>
          </a:p>
        </p:txBody>
      </p:sp>
      <p:sp>
        <p:nvSpPr>
          <p:cNvPr id="85" name="TextBox 84">
            <a:extLst>
              <a:ext uri="{FF2B5EF4-FFF2-40B4-BE49-F238E27FC236}">
                <a16:creationId xmlns:a16="http://schemas.microsoft.com/office/drawing/2014/main" id="{FAA9FA9A-12BD-49D6-A951-331EEE9A572B}"/>
              </a:ext>
            </a:extLst>
          </p:cNvPr>
          <p:cNvSpPr txBox="1"/>
          <p:nvPr/>
        </p:nvSpPr>
        <p:spPr>
          <a:xfrm>
            <a:off x="8721725" y="2449513"/>
            <a:ext cx="1412875" cy="86201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base" latinLnBrk="0" hangingPunct="1">
              <a:lnSpc>
                <a:spcPct val="100000"/>
              </a:lnSpc>
              <a:spcBef>
                <a:spcPts val="300"/>
              </a:spcBef>
              <a:spcAft>
                <a:spcPts val="300"/>
              </a:spcAft>
              <a:buClr>
                <a:prstClr val="black"/>
              </a:buClr>
              <a:buSzPct val="100000"/>
              <a:buFont typeface="Segoe UI" panose="020B0502040204020203" pitchFamily="34" charset="0"/>
              <a:buChar char="​"/>
              <a:tabLst/>
              <a:defRPr/>
            </a:pPr>
            <a:r>
              <a:rPr kumimoji="0" lang="de-DE" sz="1600" b="1" i="0" u="none" strike="noStrike" kern="1200" cap="none" spc="0" normalizeH="0" baseline="0" noProof="0" dirty="0">
                <a:ln>
                  <a:noFill/>
                </a:ln>
                <a:effectLst/>
                <a:uLnTx/>
                <a:uFillTx/>
                <a:latin typeface="Bahnschrift" panose="020B0502040204020203" pitchFamily="34" charset="0"/>
                <a:sym typeface=""/>
              </a:rPr>
              <a:t>~15x </a:t>
            </a:r>
            <a:r>
              <a:rPr kumimoji="0" lang="de-DE" sz="1000" b="1" i="0" u="none" strike="noStrike" kern="1200" cap="none" spc="0" normalizeH="0" baseline="0" noProof="0" dirty="0">
                <a:ln>
                  <a:noFill/>
                </a:ln>
                <a:effectLst/>
                <a:uLnTx/>
                <a:uFillTx/>
                <a:latin typeface="Bahnschrift" panose="020B0502040204020203" pitchFamily="34" charset="0"/>
                <a:sym typeface=""/>
              </a:rPr>
              <a:t>höhere Preisspitze </a:t>
            </a:r>
            <a:r>
              <a:rPr kumimoji="0" lang="de-DE" sz="1000" b="0" i="0" u="none" strike="noStrike" kern="1200" cap="none" spc="0" normalizeH="0" baseline="0" noProof="0" dirty="0">
                <a:ln>
                  <a:noFill/>
                </a:ln>
                <a:effectLst/>
                <a:uLnTx/>
                <a:uFillTx/>
                <a:latin typeface="Bahnschrift" panose="020B0502040204020203" pitchFamily="34" charset="0"/>
                <a:sym typeface=""/>
              </a:rPr>
              <a:t>gegenüber Durchschnittspreis 2010-2019 (25.08.2022: ~310 EUR/MWh)</a:t>
            </a:r>
          </a:p>
        </p:txBody>
      </p:sp>
      <p:sp>
        <p:nvSpPr>
          <p:cNvPr id="86" name="TextBox 85">
            <a:extLst>
              <a:ext uri="{FF2B5EF4-FFF2-40B4-BE49-F238E27FC236}">
                <a16:creationId xmlns:a16="http://schemas.microsoft.com/office/drawing/2014/main" id="{FB5CE4CB-A3DF-4AE9-B7AF-20DE2CEBB4D8}"/>
              </a:ext>
            </a:extLst>
          </p:cNvPr>
          <p:cNvSpPr txBox="1"/>
          <p:nvPr/>
        </p:nvSpPr>
        <p:spPr>
          <a:xfrm>
            <a:off x="2571750" y="2478089"/>
            <a:ext cx="1412875" cy="8604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base" latinLnBrk="0" hangingPunct="1">
              <a:lnSpc>
                <a:spcPct val="100000"/>
              </a:lnSpc>
              <a:spcBef>
                <a:spcPts val="300"/>
              </a:spcBef>
              <a:spcAft>
                <a:spcPts val="300"/>
              </a:spcAft>
              <a:buClr>
                <a:prstClr val="black"/>
              </a:buClr>
              <a:buSzPct val="100000"/>
              <a:buFont typeface="Segoe UI" panose="020B0502040204020203" pitchFamily="34" charset="0"/>
              <a:buChar char="​"/>
              <a:tabLst/>
              <a:defRPr/>
            </a:pPr>
            <a:r>
              <a:rPr kumimoji="0" lang="de-DE" sz="1600" b="1" i="0" u="none" strike="noStrike" kern="1200" cap="none" spc="0" normalizeH="0" baseline="0" noProof="0" dirty="0">
                <a:ln>
                  <a:noFill/>
                </a:ln>
                <a:effectLst/>
                <a:uLnTx/>
                <a:uFillTx/>
                <a:latin typeface="Bahnschrift" panose="020B0502040204020203" pitchFamily="34" charset="0"/>
                <a:sym typeface=""/>
              </a:rPr>
              <a:t>~20x </a:t>
            </a:r>
            <a:r>
              <a:rPr kumimoji="0" lang="de-DE" sz="1000" b="1" i="0" u="none" strike="noStrike" kern="1200" cap="none" spc="0" normalizeH="0" baseline="0" noProof="0" dirty="0">
                <a:ln>
                  <a:noFill/>
                </a:ln>
                <a:effectLst/>
                <a:uLnTx/>
                <a:uFillTx/>
                <a:latin typeface="Bahnschrift" panose="020B0502040204020203" pitchFamily="34" charset="0"/>
                <a:sym typeface=""/>
              </a:rPr>
              <a:t>höhere Preisspitze </a:t>
            </a:r>
            <a:r>
              <a:rPr kumimoji="0" lang="de-DE" sz="1000" b="0" i="0" u="none" strike="noStrike" kern="1200" cap="none" spc="0" normalizeH="0" baseline="0" noProof="0" dirty="0">
                <a:ln>
                  <a:noFill/>
                </a:ln>
                <a:effectLst/>
                <a:uLnTx/>
                <a:uFillTx/>
                <a:latin typeface="Bahnschrift" panose="020B0502040204020203" pitchFamily="34" charset="0"/>
                <a:sym typeface=""/>
              </a:rPr>
              <a:t>gegenüber Durchschnittspreis 2010-2019 (29.08.2022: ~764 EUR/MWh)</a:t>
            </a:r>
          </a:p>
        </p:txBody>
      </p:sp>
      <p:sp>
        <p:nvSpPr>
          <p:cNvPr id="87" name="TextBox 86">
            <a:extLst>
              <a:ext uri="{FF2B5EF4-FFF2-40B4-BE49-F238E27FC236}">
                <a16:creationId xmlns:a16="http://schemas.microsoft.com/office/drawing/2014/main" id="{28B17473-A393-40C8-984F-51AEFF284417}"/>
              </a:ext>
            </a:extLst>
          </p:cNvPr>
          <p:cNvSpPr txBox="1"/>
          <p:nvPr/>
        </p:nvSpPr>
        <p:spPr>
          <a:xfrm>
            <a:off x="10409238" y="3713163"/>
            <a:ext cx="1343025" cy="86201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base" latinLnBrk="0" hangingPunct="1">
              <a:lnSpc>
                <a:spcPct val="100000"/>
              </a:lnSpc>
              <a:spcBef>
                <a:spcPts val="300"/>
              </a:spcBef>
              <a:spcAft>
                <a:spcPts val="300"/>
              </a:spcAft>
              <a:buClr>
                <a:prstClr val="black"/>
              </a:buClr>
              <a:buSzPct val="100000"/>
              <a:buFont typeface="Segoe UI" panose="020B0502040204020203" pitchFamily="34" charset="0"/>
              <a:buChar char="​"/>
              <a:tabLst/>
              <a:defRPr/>
            </a:pPr>
            <a:r>
              <a:rPr kumimoji="0" lang="de-DE" sz="1600" b="1" i="0" u="none" strike="noStrike" kern="1200" cap="none" spc="0" normalizeH="0" baseline="0" noProof="0" dirty="0">
                <a:ln>
                  <a:noFill/>
                </a:ln>
                <a:effectLst/>
                <a:uLnTx/>
                <a:uFillTx/>
                <a:latin typeface="Bahnschrift" panose="020B0502040204020203" pitchFamily="34" charset="0"/>
                <a:sym typeface=""/>
              </a:rPr>
              <a:t>2-3x </a:t>
            </a:r>
            <a:r>
              <a:rPr kumimoji="0" lang="de-DE" sz="1000" b="1" i="0" u="none" strike="noStrike" kern="1200" cap="none" spc="0" normalizeH="0" baseline="0" noProof="0" dirty="0">
                <a:ln>
                  <a:noFill/>
                </a:ln>
                <a:effectLst/>
                <a:uLnTx/>
                <a:uFillTx/>
                <a:latin typeface="Bahnschrift" panose="020B0502040204020203" pitchFamily="34" charset="0"/>
                <a:sym typeface=""/>
              </a:rPr>
              <a:t>höhere Preise (Futures)</a:t>
            </a:r>
            <a:r>
              <a:rPr kumimoji="0" lang="de-DE" sz="1000" b="0" i="0" u="none" strike="noStrike" kern="1200" cap="none" spc="0" normalizeH="0" baseline="0" noProof="0" dirty="0">
                <a:ln>
                  <a:noFill/>
                </a:ln>
                <a:effectLst/>
                <a:uLnTx/>
                <a:uFillTx/>
                <a:latin typeface="Bahnschrift" panose="020B0502040204020203" pitchFamily="34" charset="0"/>
                <a:sym typeface=""/>
              </a:rPr>
              <a:t> in Zukunft gegenüber Durchschnittspreis 2010-2019</a:t>
            </a:r>
          </a:p>
        </p:txBody>
      </p:sp>
      <p:sp>
        <p:nvSpPr>
          <p:cNvPr id="88" name="TextBox 87">
            <a:extLst>
              <a:ext uri="{FF2B5EF4-FFF2-40B4-BE49-F238E27FC236}">
                <a16:creationId xmlns:a16="http://schemas.microsoft.com/office/drawing/2014/main" id="{3F8F6D14-6432-4CF0-926A-9B4452502B33}"/>
              </a:ext>
            </a:extLst>
          </p:cNvPr>
          <p:cNvSpPr txBox="1"/>
          <p:nvPr/>
        </p:nvSpPr>
        <p:spPr>
          <a:xfrm>
            <a:off x="4368800" y="3476625"/>
            <a:ext cx="1343025" cy="86201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base" latinLnBrk="0" hangingPunct="1">
              <a:lnSpc>
                <a:spcPct val="100000"/>
              </a:lnSpc>
              <a:spcBef>
                <a:spcPts val="300"/>
              </a:spcBef>
              <a:spcAft>
                <a:spcPts val="300"/>
              </a:spcAft>
              <a:buClr>
                <a:prstClr val="black"/>
              </a:buClr>
              <a:buSzPct val="100000"/>
              <a:buFont typeface="Segoe UI" panose="020B0502040204020203" pitchFamily="34" charset="0"/>
              <a:buChar char="​"/>
              <a:tabLst/>
              <a:defRPr/>
            </a:pPr>
            <a:r>
              <a:rPr kumimoji="0" lang="de-DE" sz="1600" b="1" i="0" u="none" strike="noStrike" kern="1200" cap="none" spc="0" normalizeH="0" baseline="0" noProof="0" dirty="0">
                <a:ln>
                  <a:noFill/>
                </a:ln>
                <a:effectLst/>
                <a:uLnTx/>
                <a:uFillTx/>
                <a:latin typeface="Bahnschrift" panose="020B0502040204020203" pitchFamily="34" charset="0"/>
                <a:sym typeface=""/>
              </a:rPr>
              <a:t>3-4x </a:t>
            </a:r>
            <a:r>
              <a:rPr kumimoji="0" lang="de-DE" sz="1000" b="1" i="0" u="none" strike="noStrike" kern="1200" cap="none" spc="0" normalizeH="0" baseline="0" noProof="0" dirty="0">
                <a:ln>
                  <a:noFill/>
                </a:ln>
                <a:effectLst/>
                <a:uLnTx/>
                <a:uFillTx/>
                <a:latin typeface="Bahnschrift" panose="020B0502040204020203" pitchFamily="34" charset="0"/>
                <a:sym typeface=""/>
              </a:rPr>
              <a:t>höhere Preise (Futures)</a:t>
            </a:r>
            <a:r>
              <a:rPr kumimoji="0" lang="de-DE" sz="1000" b="0" i="0" u="none" strike="noStrike" kern="1200" cap="none" spc="0" normalizeH="0" baseline="0" noProof="0" dirty="0">
                <a:ln>
                  <a:noFill/>
                </a:ln>
                <a:effectLst/>
                <a:uLnTx/>
                <a:uFillTx/>
                <a:latin typeface="Bahnschrift" panose="020B0502040204020203" pitchFamily="34" charset="0"/>
                <a:sym typeface=""/>
              </a:rPr>
              <a:t> in Zukunft gegenüber Durchschnittspreis 2010-2019</a:t>
            </a:r>
          </a:p>
        </p:txBody>
      </p:sp>
      <p:sp>
        <p:nvSpPr>
          <p:cNvPr id="162" name="TextBox 161">
            <a:extLst>
              <a:ext uri="{FF2B5EF4-FFF2-40B4-BE49-F238E27FC236}">
                <a16:creationId xmlns:a16="http://schemas.microsoft.com/office/drawing/2014/main" id="{ACC05919-6100-42C1-896F-07F3BAADF4AB}"/>
              </a:ext>
            </a:extLst>
          </p:cNvPr>
          <p:cNvSpPr txBox="1"/>
          <p:nvPr/>
        </p:nvSpPr>
        <p:spPr>
          <a:xfrm>
            <a:off x="9285288" y="4670425"/>
            <a:ext cx="238125" cy="184150"/>
          </a:xfrm>
          <a:prstGeom prst="rect">
            <a:avLst/>
          </a:prstGeom>
          <a:solidFill>
            <a:schemeClr val="bg1"/>
          </a:solidFill>
          <a:ln w="19050">
            <a:solidFill>
              <a:schemeClr val="accent1"/>
            </a:solid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base" latinLnBrk="0" hangingPunct="1">
              <a:lnSpc>
                <a:spcPct val="100000"/>
              </a:lnSpc>
              <a:spcBef>
                <a:spcPts val="300"/>
              </a:spcBef>
              <a:spcAft>
                <a:spcPts val="300"/>
              </a:spcAft>
              <a:buClr>
                <a:prstClr val="black"/>
              </a:buClr>
              <a:buSzPct val="100000"/>
              <a:buFont typeface="Segoe UI" panose="020B0502040204020203" pitchFamily="34" charset="0"/>
              <a:buChar char="​"/>
              <a:tabLst/>
              <a:defRPr/>
            </a:pPr>
            <a:r>
              <a:rPr kumimoji="0" lang="de-DE" sz="1200" b="1" i="0" u="none" strike="noStrike" kern="1200" cap="none" spc="0" normalizeH="0" baseline="0" noProof="0" dirty="0">
                <a:ln>
                  <a:noFill/>
                </a:ln>
                <a:solidFill>
                  <a:prstClr val="black"/>
                </a:solidFill>
                <a:effectLst/>
                <a:uLnTx/>
                <a:uFillTx/>
                <a:latin typeface="Bahnschrift" panose="020B0502040204020203" pitchFamily="34" charset="0"/>
              </a:rPr>
              <a:t>20</a:t>
            </a:r>
          </a:p>
        </p:txBody>
      </p:sp>
      <p:sp>
        <p:nvSpPr>
          <p:cNvPr id="163" name="TextBox 162">
            <a:extLst>
              <a:ext uri="{FF2B5EF4-FFF2-40B4-BE49-F238E27FC236}">
                <a16:creationId xmlns:a16="http://schemas.microsoft.com/office/drawing/2014/main" id="{12C9ECCE-5791-4F53-8C8C-A0FE7A84062B}"/>
              </a:ext>
            </a:extLst>
          </p:cNvPr>
          <p:cNvSpPr txBox="1"/>
          <p:nvPr/>
        </p:nvSpPr>
        <p:spPr>
          <a:xfrm>
            <a:off x="8980488" y="4670425"/>
            <a:ext cx="238125" cy="184150"/>
          </a:xfrm>
          <a:prstGeom prst="rect">
            <a:avLst/>
          </a:prstGeom>
          <a:solidFill>
            <a:schemeClr val="bg1"/>
          </a:solidFill>
          <a:ln w="19050">
            <a:solidFill>
              <a:schemeClr val="accent5"/>
            </a:solidFill>
          </a:ln>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base" latinLnBrk="0" hangingPunct="1">
              <a:lnSpc>
                <a:spcPct val="100000"/>
              </a:lnSpc>
              <a:spcBef>
                <a:spcPts val="300"/>
              </a:spcBef>
              <a:spcAft>
                <a:spcPts val="300"/>
              </a:spcAft>
              <a:buClr>
                <a:prstClr val="black"/>
              </a:buClr>
              <a:buSzPct val="100000"/>
              <a:buFont typeface="Segoe UI" panose="020B0502040204020203" pitchFamily="34" charset="0"/>
              <a:buChar char="​"/>
              <a:tabLst/>
              <a:defRPr/>
            </a:pPr>
            <a:r>
              <a:rPr kumimoji="0" lang="de-DE" sz="1200" b="1" i="0" u="none" strike="noStrike" kern="1200" cap="none" spc="0" normalizeH="0" baseline="0" noProof="0" dirty="0">
                <a:ln>
                  <a:noFill/>
                </a:ln>
                <a:solidFill>
                  <a:prstClr val="black"/>
                </a:solidFill>
                <a:effectLst/>
                <a:uLnTx/>
                <a:uFillTx/>
                <a:latin typeface="Bahnschrift" panose="020B0502040204020203" pitchFamily="34" charset="0"/>
              </a:rPr>
              <a:t>9</a:t>
            </a:r>
          </a:p>
        </p:txBody>
      </p:sp>
      <p:sp>
        <p:nvSpPr>
          <p:cNvPr id="165" name="TextBox 164">
            <a:extLst>
              <a:ext uri="{FF2B5EF4-FFF2-40B4-BE49-F238E27FC236}">
                <a16:creationId xmlns:a16="http://schemas.microsoft.com/office/drawing/2014/main" id="{309EC79F-A53D-4774-B9ED-323A4FA2A31D}"/>
              </a:ext>
            </a:extLst>
          </p:cNvPr>
          <p:cNvSpPr txBox="1"/>
          <p:nvPr/>
        </p:nvSpPr>
        <p:spPr>
          <a:xfrm>
            <a:off x="8924925" y="4394200"/>
            <a:ext cx="811213" cy="18573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base" latinLnBrk="0" hangingPunct="1">
              <a:lnSpc>
                <a:spcPct val="100000"/>
              </a:lnSpc>
              <a:spcBef>
                <a:spcPts val="300"/>
              </a:spcBef>
              <a:spcAft>
                <a:spcPts val="300"/>
              </a:spcAft>
              <a:buClr>
                <a:prstClr val="black"/>
              </a:buClr>
              <a:buSzPct val="100000"/>
              <a:buFont typeface="Segoe UI" panose="020B0502040204020203" pitchFamily="34" charset="0"/>
              <a:buChar char="​"/>
              <a:tabLst/>
              <a:defRPr/>
            </a:pPr>
            <a:r>
              <a:rPr kumimoji="0" lang="de-DE" sz="1200" b="1" i="0" u="none" strike="noStrike" kern="1200" cap="none" spc="0" normalizeH="0" baseline="0" noProof="0" dirty="0">
                <a:ln>
                  <a:noFill/>
                </a:ln>
                <a:solidFill>
                  <a:prstClr val="black"/>
                </a:solidFill>
                <a:effectLst/>
                <a:uLnTx/>
                <a:uFillTx/>
                <a:latin typeface="Bahnschrift" panose="020B0502040204020203" pitchFamily="34" charset="0"/>
              </a:rPr>
              <a:t>Ø 2010-20 </a:t>
            </a:r>
          </a:p>
        </p:txBody>
      </p:sp>
      <p:cxnSp>
        <p:nvCxnSpPr>
          <p:cNvPr id="167" name="Straight Arrow Connector 166">
            <a:extLst>
              <a:ext uri="{FF2B5EF4-FFF2-40B4-BE49-F238E27FC236}">
                <a16:creationId xmlns:a16="http://schemas.microsoft.com/office/drawing/2014/main" id="{DAE8741D-BBC5-4ED4-AC19-EE162F5135CB}"/>
              </a:ext>
            </a:extLst>
          </p:cNvPr>
          <p:cNvCxnSpPr>
            <a:cxnSpLocks/>
          </p:cNvCxnSpPr>
          <p:nvPr/>
        </p:nvCxnSpPr>
        <p:spPr>
          <a:xfrm>
            <a:off x="8575675" y="4175125"/>
            <a:ext cx="0" cy="1025525"/>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68" name="TextBox 167">
            <a:extLst>
              <a:ext uri="{FF2B5EF4-FFF2-40B4-BE49-F238E27FC236}">
                <a16:creationId xmlns:a16="http://schemas.microsoft.com/office/drawing/2014/main" id="{D1D999AE-EEAC-45F9-8D65-151E8BA7D76D}"/>
              </a:ext>
            </a:extLst>
          </p:cNvPr>
          <p:cNvSpPr txBox="1"/>
          <p:nvPr/>
        </p:nvSpPr>
        <p:spPr>
          <a:xfrm>
            <a:off x="7499350" y="3748088"/>
            <a:ext cx="1663700" cy="36830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base" latinLnBrk="0" hangingPunct="1">
              <a:lnSpc>
                <a:spcPct val="100000"/>
              </a:lnSpc>
              <a:spcBef>
                <a:spcPts val="300"/>
              </a:spcBef>
              <a:spcAft>
                <a:spcPts val="300"/>
              </a:spcAft>
              <a:buClr>
                <a:prstClr val="black"/>
              </a:buClr>
              <a:buSzPct val="100000"/>
              <a:buFont typeface="Segoe UI" panose="020B0502040204020203" pitchFamily="34" charset="0"/>
              <a:buChar char="​"/>
              <a:tabLst/>
              <a:defRPr/>
            </a:pPr>
            <a:r>
              <a:rPr kumimoji="0" lang="de-DE" sz="1200" b="0" i="0" u="none" strike="noStrike" kern="1200" cap="none" spc="0" normalizeH="0" baseline="0" noProof="0" dirty="0">
                <a:ln>
                  <a:noFill/>
                </a:ln>
                <a:solidFill>
                  <a:prstClr val="black"/>
                </a:solidFill>
                <a:effectLst/>
                <a:uLnTx/>
                <a:uFillTx/>
                <a:latin typeface="Bahnschrift" panose="020B0502040204020203" pitchFamily="34" charset="0"/>
              </a:rPr>
              <a:t>Start der US-Schiefergas-Revolution</a:t>
            </a:r>
          </a:p>
        </p:txBody>
      </p:sp>
      <p:grpSp>
        <p:nvGrpSpPr>
          <p:cNvPr id="19" name="Group 18">
            <a:extLst>
              <a:ext uri="{FF2B5EF4-FFF2-40B4-BE49-F238E27FC236}">
                <a16:creationId xmlns:a16="http://schemas.microsoft.com/office/drawing/2014/main" id="{1BAC668B-8F92-45FC-8825-934D60EE5E98}"/>
              </a:ext>
            </a:extLst>
          </p:cNvPr>
          <p:cNvGrpSpPr/>
          <p:nvPr/>
        </p:nvGrpSpPr>
        <p:grpSpPr>
          <a:xfrm>
            <a:off x="10899775" y="4973638"/>
            <a:ext cx="506413" cy="608013"/>
            <a:chOff x="10521950" y="4497389"/>
            <a:chExt cx="506413" cy="607694"/>
          </a:xfrm>
        </p:grpSpPr>
        <p:pic>
          <p:nvPicPr>
            <p:cNvPr id="154" name="Picture 153">
              <a:extLst>
                <a:ext uri="{FF2B5EF4-FFF2-40B4-BE49-F238E27FC236}">
                  <a16:creationId xmlns:a16="http://schemas.microsoft.com/office/drawing/2014/main" id="{7EEBD7EB-640C-45FF-A5E1-C0FECAE5C776}"/>
                </a:ext>
              </a:extLst>
            </p:cNvPr>
            <p:cNvPicPr>
              <a:picLocks noChangeAspect="1"/>
            </p:cNvPicPr>
            <p:nvPr/>
          </p:nvPicPr>
          <p:blipFill>
            <a:blip r:embed="rId64"/>
            <a:stretch>
              <a:fillRect/>
            </a:stretch>
          </p:blipFill>
          <p:spPr>
            <a:xfrm>
              <a:off x="10521950" y="4497389"/>
              <a:ext cx="385763" cy="257175"/>
            </a:xfrm>
            <a:prstGeom prst="rect">
              <a:avLst/>
            </a:prstGeom>
            <a:ln>
              <a:noFill/>
            </a:ln>
          </p:spPr>
        </p:pic>
        <p:pic>
          <p:nvPicPr>
            <p:cNvPr id="160" name="Picture 159">
              <a:extLst>
                <a:ext uri="{FF2B5EF4-FFF2-40B4-BE49-F238E27FC236}">
                  <a16:creationId xmlns:a16="http://schemas.microsoft.com/office/drawing/2014/main" id="{CC1593AD-9D13-4C02-80A7-F795477A5C0C}"/>
                </a:ext>
              </a:extLst>
            </p:cNvPr>
            <p:cNvPicPr>
              <a:picLocks/>
            </p:cNvPicPr>
            <p:nvPr/>
          </p:nvPicPr>
          <p:blipFill>
            <a:blip r:embed="rId65"/>
            <a:stretch>
              <a:fillRect/>
            </a:stretch>
          </p:blipFill>
          <p:spPr>
            <a:xfrm>
              <a:off x="10521950" y="4847908"/>
              <a:ext cx="384175" cy="257175"/>
            </a:xfrm>
            <a:prstGeom prst="rect">
              <a:avLst/>
            </a:prstGeom>
            <a:ln>
              <a:noFill/>
            </a:ln>
          </p:spPr>
        </p:pic>
        <p:sp>
          <p:nvSpPr>
            <p:cNvPr id="169" name="TextBox 168">
              <a:extLst>
                <a:ext uri="{FF2B5EF4-FFF2-40B4-BE49-F238E27FC236}">
                  <a16:creationId xmlns:a16="http://schemas.microsoft.com/office/drawing/2014/main" id="{1CC61FD2-774D-43BD-A980-071A8E7A2DDB}"/>
                </a:ext>
              </a:extLst>
            </p:cNvPr>
            <p:cNvSpPr txBox="1"/>
            <p:nvPr/>
          </p:nvSpPr>
          <p:spPr>
            <a:xfrm>
              <a:off x="10956925" y="4843939"/>
              <a:ext cx="71438" cy="164148"/>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base" latinLnBrk="0" hangingPunct="1">
                <a:lnSpc>
                  <a:spcPct val="100000"/>
                </a:lnSpc>
                <a:spcBef>
                  <a:spcPts val="300"/>
                </a:spcBef>
                <a:spcAft>
                  <a:spcPts val="300"/>
                </a:spcAft>
                <a:buClr>
                  <a:prstClr val="black"/>
                </a:buClr>
                <a:buSzPct val="100000"/>
                <a:buFont typeface="Segoe UI" panose="020B0502040204020203" pitchFamily="34" charset="0"/>
                <a:buChar char="​"/>
                <a:tabLst/>
                <a:defRPr/>
              </a:pPr>
              <a:r>
                <a:rPr kumimoji="0" lang="de-DE" sz="1600" b="0" i="0" u="none" strike="noStrike" kern="1200" cap="none" spc="0" normalizeH="0" baseline="30000" noProof="0" dirty="0">
                  <a:ln>
                    <a:noFill/>
                  </a:ln>
                  <a:solidFill>
                    <a:prstClr val="black"/>
                  </a:solidFill>
                  <a:effectLst/>
                  <a:uLnTx/>
                  <a:uFillTx/>
                  <a:latin typeface="Bahnschrift" panose="020B0502040204020203" pitchFamily="34" charset="0"/>
                </a:rPr>
                <a:t>2</a:t>
              </a:r>
            </a:p>
          </p:txBody>
        </p:sp>
      </p:grpSp>
      <p:pic>
        <p:nvPicPr>
          <p:cNvPr id="334" name="Picture 333">
            <a:extLst>
              <a:ext uri="{FF2B5EF4-FFF2-40B4-BE49-F238E27FC236}">
                <a16:creationId xmlns:a16="http://schemas.microsoft.com/office/drawing/2014/main" id="{97736411-C96B-45A7-B991-0C2B3ED78D26}"/>
              </a:ext>
            </a:extLst>
          </p:cNvPr>
          <p:cNvPicPr>
            <a:picLocks/>
          </p:cNvPicPr>
          <p:nvPr/>
        </p:nvPicPr>
        <p:blipFill>
          <a:blip r:embed="rId64"/>
          <a:stretch>
            <a:fillRect/>
          </a:stretch>
        </p:blipFill>
        <p:spPr>
          <a:xfrm>
            <a:off x="5176838" y="4749800"/>
            <a:ext cx="384175" cy="257175"/>
          </a:xfrm>
          <a:prstGeom prst="rect">
            <a:avLst/>
          </a:prstGeom>
          <a:ln>
            <a:noFill/>
          </a:ln>
        </p:spPr>
      </p:pic>
      <p:pic>
        <p:nvPicPr>
          <p:cNvPr id="336" name="Picture 335">
            <a:extLst>
              <a:ext uri="{FF2B5EF4-FFF2-40B4-BE49-F238E27FC236}">
                <a16:creationId xmlns:a16="http://schemas.microsoft.com/office/drawing/2014/main" id="{D335A3BC-FD6E-4E7C-9131-F853E59EC758}"/>
              </a:ext>
            </a:extLst>
          </p:cNvPr>
          <p:cNvPicPr>
            <a:picLocks/>
          </p:cNvPicPr>
          <p:nvPr/>
        </p:nvPicPr>
        <p:blipFill>
          <a:blip r:embed="rId65"/>
          <a:stretch>
            <a:fillRect/>
          </a:stretch>
        </p:blipFill>
        <p:spPr>
          <a:xfrm>
            <a:off x="5176838" y="5233988"/>
            <a:ext cx="384175" cy="257175"/>
          </a:xfrm>
          <a:prstGeom prst="rect">
            <a:avLst/>
          </a:prstGeom>
          <a:ln>
            <a:noFill/>
          </a:ln>
        </p:spPr>
      </p:pic>
      <p:sp>
        <p:nvSpPr>
          <p:cNvPr id="180" name="TextBox 179">
            <a:extLst>
              <a:ext uri="{FF2B5EF4-FFF2-40B4-BE49-F238E27FC236}">
                <a16:creationId xmlns:a16="http://schemas.microsoft.com/office/drawing/2014/main" id="{A1B870DB-497B-4327-8488-7F00CCF68BD6}"/>
              </a:ext>
            </a:extLst>
          </p:cNvPr>
          <p:cNvSpPr txBox="1"/>
          <p:nvPr/>
        </p:nvSpPr>
        <p:spPr>
          <a:xfrm>
            <a:off x="5611813" y="5226050"/>
            <a:ext cx="44450" cy="165100"/>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base" latinLnBrk="0" hangingPunct="1">
              <a:lnSpc>
                <a:spcPct val="100000"/>
              </a:lnSpc>
              <a:spcBef>
                <a:spcPts val="300"/>
              </a:spcBef>
              <a:spcAft>
                <a:spcPts val="300"/>
              </a:spcAft>
              <a:buClr>
                <a:prstClr val="black"/>
              </a:buClr>
              <a:buSzPct val="100000"/>
              <a:buFont typeface="Segoe UI" panose="020B0502040204020203" pitchFamily="34" charset="0"/>
              <a:buChar char="​"/>
              <a:tabLst/>
              <a:defRPr/>
            </a:pPr>
            <a:r>
              <a:rPr kumimoji="0" lang="de-DE" sz="1600" b="0" i="0" u="none" strike="noStrike" kern="1200" cap="none" spc="0" normalizeH="0" baseline="30000" noProof="0" dirty="0">
                <a:ln>
                  <a:noFill/>
                </a:ln>
                <a:solidFill>
                  <a:prstClr val="black"/>
                </a:solidFill>
                <a:effectLst/>
                <a:uLnTx/>
                <a:uFillTx/>
                <a:latin typeface="Bahnschrift" panose="020B0502040204020203" pitchFamily="34" charset="0"/>
              </a:rPr>
              <a:t>1</a:t>
            </a:r>
          </a:p>
        </p:txBody>
      </p:sp>
      <p:sp>
        <p:nvSpPr>
          <p:cNvPr id="10" name="4. Footnote">
            <a:extLst>
              <a:ext uri="{FF2B5EF4-FFF2-40B4-BE49-F238E27FC236}">
                <a16:creationId xmlns:a16="http://schemas.microsoft.com/office/drawing/2014/main" id="{9D181480-ED96-40FB-A205-0FC69EE03FCD}"/>
              </a:ext>
            </a:extLst>
          </p:cNvPr>
          <p:cNvSpPr txBox="1"/>
          <p:nvPr>
            <p:custDataLst>
              <p:tags r:id="rId53"/>
            </p:custDataLst>
          </p:nvPr>
        </p:nvSpPr>
        <p:spPr>
          <a:xfrm>
            <a:off x="837310" y="6176498"/>
            <a:ext cx="7278624"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de-AT"/>
            </a:defPPr>
            <a:lvl1pPr marL="203200" marR="0" lvl="0" indent="-212725" defTabSz="914400" eaLnBrk="1" fontAlgn="auto" latinLnBrk="0" hangingPunct="1">
              <a:lnSpc>
                <a:spcPct val="100000"/>
              </a:lnSpc>
              <a:spcBef>
                <a:spcPts val="0"/>
              </a:spcBef>
              <a:spcAft>
                <a:spcPts val="0"/>
              </a:spcAft>
              <a:buClrTx/>
              <a:buSzTx/>
              <a:buFontTx/>
              <a:buNone/>
              <a:tabLst/>
              <a:defRPr kumimoji="0" sz="800" b="0" i="0" u="none" strike="noStrike" cap="none" spc="0" normalizeH="0" baseline="0">
                <a:ln>
                  <a:noFill/>
                </a:ln>
                <a:effectLst/>
                <a:uLnTx/>
                <a:uFillTx/>
                <a:latin typeface="Bahnschrift" panose="020B0502040204020203" pitchFamily="34" charset="0"/>
                <a:cs typeface="Arial" panose="020B0604020202020204" pitchFamily="34" charset="0"/>
              </a:defRPr>
            </a:lvl1pPr>
          </a:lstStyle>
          <a:p>
            <a:r>
              <a:rPr lang="de-DE" dirty="0">
                <a:solidFill>
                  <a:schemeClr val="accent1"/>
                </a:solidFill>
              </a:rPr>
              <a:t>1. Durchschnitt der Hubs MidC, Indiana, Nepool, Palo Verde, PJM, ERCOT - Preise in EUR (Umrechnung mit historischem Monatsdurchschnittskurs)</a:t>
            </a:r>
          </a:p>
          <a:p>
            <a:r>
              <a:rPr lang="de-DE" dirty="0">
                <a:solidFill>
                  <a:schemeClr val="accent1"/>
                </a:solidFill>
              </a:rPr>
              <a:t>2. Henry Hub Natural Gas Spot Preis in EUR (Umrechnung mit historischem Monatsdurchschnittskurs)</a:t>
            </a:r>
          </a:p>
        </p:txBody>
      </p:sp>
      <p:cxnSp>
        <p:nvCxnSpPr>
          <p:cNvPr id="146" name="Straight Connector 145">
            <a:extLst>
              <a:ext uri="{FF2B5EF4-FFF2-40B4-BE49-F238E27FC236}">
                <a16:creationId xmlns:a16="http://schemas.microsoft.com/office/drawing/2014/main" id="{68473293-2D49-4191-A139-71AB7B35F06A}"/>
              </a:ext>
            </a:extLst>
          </p:cNvPr>
          <p:cNvCxnSpPr>
            <a:cxnSpLocks/>
          </p:cNvCxnSpPr>
          <p:nvPr/>
        </p:nvCxnSpPr>
        <p:spPr>
          <a:xfrm>
            <a:off x="2722563" y="4867275"/>
            <a:ext cx="0" cy="579438"/>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53C3D2E6-2D06-46F3-855F-7564C58426AF}"/>
              </a:ext>
            </a:extLst>
          </p:cNvPr>
          <p:cNvCxnSpPr>
            <a:cxnSpLocks/>
          </p:cNvCxnSpPr>
          <p:nvPr/>
        </p:nvCxnSpPr>
        <p:spPr>
          <a:xfrm>
            <a:off x="9404350" y="4854575"/>
            <a:ext cx="0" cy="517525"/>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4F44695C-3CF2-40F7-9094-190F5E61E570}"/>
              </a:ext>
            </a:extLst>
          </p:cNvPr>
          <p:cNvCxnSpPr>
            <a:cxnSpLocks/>
          </p:cNvCxnSpPr>
          <p:nvPr/>
        </p:nvCxnSpPr>
        <p:spPr>
          <a:xfrm>
            <a:off x="9099550" y="4867275"/>
            <a:ext cx="0" cy="661988"/>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C01AB8E-FA01-4EA1-B6A2-26FB528083E2}"/>
              </a:ext>
            </a:extLst>
          </p:cNvPr>
          <p:cNvCxnSpPr>
            <a:cxnSpLocks/>
          </p:cNvCxnSpPr>
          <p:nvPr/>
        </p:nvCxnSpPr>
        <p:spPr>
          <a:xfrm>
            <a:off x="6386513" y="1868488"/>
            <a:ext cx="0" cy="4033838"/>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 name="2. Slide Title">
            <a:extLst>
              <a:ext uri="{FF2B5EF4-FFF2-40B4-BE49-F238E27FC236}">
                <a16:creationId xmlns:a16="http://schemas.microsoft.com/office/drawing/2014/main" id="{B4F36640-7B3E-EA21-8C1F-475121459C02}"/>
              </a:ext>
            </a:extLst>
          </p:cNvPr>
          <p:cNvSpPr>
            <a:spLocks noGrp="1"/>
          </p:cNvSpPr>
          <p:nvPr>
            <p:ph type="title"/>
            <p:custDataLst>
              <p:tags r:id="rId54"/>
            </p:custDataLst>
          </p:nvPr>
        </p:nvSpPr>
        <p:spPr>
          <a:xfrm>
            <a:off x="838799" y="343789"/>
            <a:ext cx="9540001" cy="781752"/>
          </a:xfrm>
          <a:noFill/>
          <a:ln>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de-DE" dirty="0"/>
              <a:t>Historisch hatte Österreich höhere Strom- und Gaspreise, diese Differenz wurde in den letzten Jahren verstärkt</a:t>
            </a:r>
          </a:p>
        </p:txBody>
      </p:sp>
      <p:sp>
        <p:nvSpPr>
          <p:cNvPr id="90" name="5. Source">
            <a:extLst>
              <a:ext uri="{FF2B5EF4-FFF2-40B4-BE49-F238E27FC236}">
                <a16:creationId xmlns:a16="http://schemas.microsoft.com/office/drawing/2014/main" id="{B3D001AC-73FD-474A-8E7F-A5C604BA3AD4}"/>
              </a:ext>
            </a:extLst>
          </p:cNvPr>
          <p:cNvSpPr txBox="1"/>
          <p:nvPr>
            <p:custDataLst>
              <p:tags r:id="rId55"/>
            </p:custDataLst>
          </p:nvPr>
        </p:nvSpPr>
        <p:spPr>
          <a:xfrm>
            <a:off x="837310" y="65012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de-AT"/>
            </a:defPPr>
            <a:lvl1pPr lvl="0" indent="0">
              <a:lnSpc>
                <a:spcPct val="100000"/>
              </a:lnSpc>
              <a:spcBef>
                <a:spcPts val="300"/>
              </a:spcBef>
              <a:spcAft>
                <a:spcPts val="300"/>
              </a:spcAft>
              <a:buFont typeface="Segoe UI" panose="020B0502040204020203" pitchFamily="34" charset="0"/>
              <a:buChar char="​"/>
              <a:defRPr sz="800">
                <a:latin typeface="Bahnschrift" panose="020B0502040204020203" pitchFamily="34" charset="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de-DE" dirty="0">
                <a:solidFill>
                  <a:schemeClr val="accent1"/>
                </a:solidFill>
              </a:rPr>
              <a:t>Quelle: Montel, Bloomberg, U.S. Energy Information Administration (EIA) (letztes Update: 11.04.2023)</a:t>
            </a:r>
          </a:p>
        </p:txBody>
      </p:sp>
      <p:sp>
        <p:nvSpPr>
          <p:cNvPr id="93" name="Slide Number Placeholder 33">
            <a:extLst>
              <a:ext uri="{FF2B5EF4-FFF2-40B4-BE49-F238E27FC236}">
                <a16:creationId xmlns:a16="http://schemas.microsoft.com/office/drawing/2014/main" id="{21DA2D26-D557-4A2E-915A-FA47BC02AA19}"/>
              </a:ext>
            </a:extLst>
          </p:cNvPr>
          <p:cNvSpPr>
            <a:spLocks noGrp="1"/>
          </p:cNvSpPr>
          <p:nvPr>
            <p:ph type="sldNum" sz="quarter" idx="10"/>
          </p:nvPr>
        </p:nvSpPr>
        <p:spPr>
          <a:xfrm>
            <a:off x="167425" y="6506031"/>
            <a:ext cx="237566" cy="215444"/>
          </a:xfr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1920E2B-FC99-4A38-BFFD-416A818AECB0}" type="slidenum">
              <a:rPr kumimoji="0" lang="de-AT" sz="800" b="0" i="0" u="none" strike="noStrike" kern="1200" cap="none" spc="0" normalizeH="0" baseline="0" noProof="0" smtClean="0">
                <a:ln>
                  <a:noFill/>
                </a:ln>
                <a:solidFill>
                  <a:prstClr val="white">
                    <a:lumMod val="50000"/>
                  </a:prstClr>
                </a:solidFill>
                <a:effectLst/>
                <a:uLnTx/>
                <a:uFillTx/>
                <a:latin typeface="Bahnschrift" panose="020B0502040204020203"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3</a:t>
            </a:fld>
            <a:endParaRPr kumimoji="0" lang="de-AT" sz="800" b="0" i="0" u="none" strike="noStrike" kern="1200" cap="none" spc="0" normalizeH="0" baseline="0" noProof="0" dirty="0">
              <a:ln>
                <a:noFill/>
              </a:ln>
              <a:solidFill>
                <a:prstClr val="white">
                  <a:lumMod val="50000"/>
                </a:prstClr>
              </a:solidFill>
              <a:effectLst/>
              <a:uLnTx/>
              <a:uFillTx/>
              <a:latin typeface="Bahnschrift" panose="020B0502040204020203" pitchFamily="34" charset="0"/>
            </a:endParaRPr>
          </a:p>
        </p:txBody>
      </p:sp>
    </p:spTree>
    <p:extLst>
      <p:ext uri="{BB962C8B-B14F-4D97-AF65-F5344CB8AC3E}">
        <p14:creationId xmlns:p14="http://schemas.microsoft.com/office/powerpoint/2010/main" val="26934989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descr="Ein Bild, das Windmühle enthält.&#10;&#10;Automatisch generierte Beschreibung">
            <a:extLst>
              <a:ext uri="{FF2B5EF4-FFF2-40B4-BE49-F238E27FC236}">
                <a16:creationId xmlns:a16="http://schemas.microsoft.com/office/drawing/2014/main" id="{8EF73651-BE1A-C508-A82D-CD70B760A97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442440" y="1240560"/>
            <a:ext cx="4044839" cy="5003393"/>
          </a:xfrm>
          <a:prstGeom prst="rect">
            <a:avLst/>
          </a:prstGeom>
        </p:spPr>
      </p:pic>
      <p:graphicFrame>
        <p:nvGraphicFramePr>
          <p:cNvPr id="35" name="Object 34" hidden="1">
            <a:extLst>
              <a:ext uri="{FF2B5EF4-FFF2-40B4-BE49-F238E27FC236}">
                <a16:creationId xmlns:a16="http://schemas.microsoft.com/office/drawing/2014/main" id="{C5CE2EB4-9E8D-A833-24ED-8AD0FB4042C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60" imgH="360" progId="TCLayout.ActiveDocument.1">
                  <p:embed/>
                </p:oleObj>
              </mc:Choice>
              <mc:Fallback>
                <p:oleObj name="think-cell Slide" r:id="rId9" imgW="360" imgH="360" progId="TCLayout.ActiveDocument.1">
                  <p:embed/>
                  <p:pic>
                    <p:nvPicPr>
                      <p:cNvPr id="35" name="Object 34" hidden="1">
                        <a:extLst>
                          <a:ext uri="{FF2B5EF4-FFF2-40B4-BE49-F238E27FC236}">
                            <a16:creationId xmlns:a16="http://schemas.microsoft.com/office/drawing/2014/main" id="{C5CE2EB4-9E8D-A833-24ED-8AD0FB4042C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pSp>
        <p:nvGrpSpPr>
          <p:cNvPr id="5" name="Gruppieren 4">
            <a:extLst>
              <a:ext uri="{FF2B5EF4-FFF2-40B4-BE49-F238E27FC236}">
                <a16:creationId xmlns:a16="http://schemas.microsoft.com/office/drawing/2014/main" id="{D619DB2A-FA29-4E1E-6DEC-F8601A2A44F3}"/>
              </a:ext>
            </a:extLst>
          </p:cNvPr>
          <p:cNvGrpSpPr/>
          <p:nvPr/>
        </p:nvGrpSpPr>
        <p:grpSpPr>
          <a:xfrm>
            <a:off x="6170025" y="3572241"/>
            <a:ext cx="3843150" cy="1215717"/>
            <a:chOff x="6004560" y="3258726"/>
            <a:chExt cx="3843150" cy="1215717"/>
          </a:xfrm>
        </p:grpSpPr>
        <p:cxnSp>
          <p:nvCxnSpPr>
            <p:cNvPr id="42" name="Straight Connector 41">
              <a:extLst>
                <a:ext uri="{FF2B5EF4-FFF2-40B4-BE49-F238E27FC236}">
                  <a16:creationId xmlns:a16="http://schemas.microsoft.com/office/drawing/2014/main" id="{3EADE1C0-FA1D-903C-6909-AB2433DB3AAA}"/>
                </a:ext>
              </a:extLst>
            </p:cNvPr>
            <p:cNvCxnSpPr>
              <a:cxnSpLocks/>
            </p:cNvCxnSpPr>
            <p:nvPr/>
          </p:nvCxnSpPr>
          <p:spPr>
            <a:xfrm>
              <a:off x="6004560" y="3258726"/>
              <a:ext cx="0" cy="1215717"/>
            </a:xfrm>
            <a:prstGeom prst="line">
              <a:avLst/>
            </a:prstGeom>
            <a:noFill/>
            <a:ln w="6350" cap="flat" cmpd="sng" algn="ctr">
              <a:solidFill>
                <a:srgbClr val="004FA1"/>
              </a:solidFill>
              <a:prstDash val="solid"/>
              <a:miter lim="800000"/>
              <a:tailEnd type="none"/>
            </a:ln>
            <a:effectLst/>
          </p:spPr>
        </p:cxnSp>
        <p:grpSp>
          <p:nvGrpSpPr>
            <p:cNvPr id="44" name="CustomIcon">
              <a:extLst>
                <a:ext uri="{FF2B5EF4-FFF2-40B4-BE49-F238E27FC236}">
                  <a16:creationId xmlns:a16="http://schemas.microsoft.com/office/drawing/2014/main" id="{CA0A866A-17DE-6049-BD22-B05D9881C962}"/>
                </a:ext>
              </a:extLst>
            </p:cNvPr>
            <p:cNvGrpSpPr>
              <a:grpSpLocks noChangeAspect="1"/>
            </p:cNvGrpSpPr>
            <p:nvPr>
              <p:custDataLst>
                <p:tags r:id="rId5"/>
              </p:custDataLst>
            </p:nvPr>
          </p:nvGrpSpPr>
          <p:grpSpPr>
            <a:xfrm>
              <a:off x="6148227" y="3258726"/>
              <a:ext cx="573746" cy="573746"/>
              <a:chOff x="-205105" y="-205105"/>
              <a:chExt cx="1019810" cy="1019810"/>
            </a:xfrm>
            <a:solidFill>
              <a:schemeClr val="accent1"/>
            </a:solidFill>
          </p:grpSpPr>
          <p:sp>
            <p:nvSpPr>
              <p:cNvPr id="45" name="Oval 44">
                <a:extLst>
                  <a:ext uri="{FF2B5EF4-FFF2-40B4-BE49-F238E27FC236}">
                    <a16:creationId xmlns:a16="http://schemas.microsoft.com/office/drawing/2014/main" id="{F5EA03E3-BD87-FE53-CE82-571A9EE0B232}"/>
                  </a:ext>
                </a:extLst>
              </p:cNvPr>
              <p:cNvSpPr>
                <a:spLocks noChangeAspect="1"/>
              </p:cNvSpPr>
              <p:nvPr/>
            </p:nvSpPr>
            <p:spPr>
              <a:xfrm>
                <a:off x="-205105" y="-205105"/>
                <a:ext cx="1019810" cy="1019810"/>
              </a:xfrm>
              <a:prstGeom prst="ellipse">
                <a:avLst/>
              </a:prstGeom>
              <a:grp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GB" sz="1600" b="0" i="0" u="none" strike="noStrike" kern="0" cap="none" spc="0" normalizeH="0" baseline="0" noProof="0" dirty="0">
                  <a:ln>
                    <a:noFill/>
                  </a:ln>
                  <a:solidFill>
                    <a:srgbClr val="051C2C"/>
                  </a:solidFill>
                  <a:effectLst/>
                  <a:uLnTx/>
                  <a:uFillTx/>
                  <a:latin typeface="Bahnschrift" panose="020B0502040204020203" pitchFamily="34" charset="0"/>
                </a:endParaRPr>
              </a:p>
            </p:txBody>
          </p:sp>
          <p:pic>
            <p:nvPicPr>
              <p:cNvPr id="46" name="Graphic 45">
                <a:extLst>
                  <a:ext uri="{FF2B5EF4-FFF2-40B4-BE49-F238E27FC236}">
                    <a16:creationId xmlns:a16="http://schemas.microsoft.com/office/drawing/2014/main" id="{ABE0F994-9749-2199-8FEF-EBABABE6F464}"/>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0" y="0"/>
                <a:ext cx="609600" cy="609600"/>
              </a:xfrm>
              <a:prstGeom prst="rect">
                <a:avLst/>
              </a:prstGeom>
            </p:spPr>
          </p:pic>
        </p:grpSp>
        <p:sp>
          <p:nvSpPr>
            <p:cNvPr id="38" name="TextBox 37">
              <a:extLst>
                <a:ext uri="{FF2B5EF4-FFF2-40B4-BE49-F238E27FC236}">
                  <a16:creationId xmlns:a16="http://schemas.microsoft.com/office/drawing/2014/main" id="{749FFD67-C54E-C60B-AB9D-C5A786D3A656}"/>
                </a:ext>
              </a:extLst>
            </p:cNvPr>
            <p:cNvSpPr txBox="1">
              <a:spLocks/>
            </p:cNvSpPr>
            <p:nvPr/>
          </p:nvSpPr>
          <p:spPr>
            <a:xfrm>
              <a:off x="6865643" y="3258726"/>
              <a:ext cx="2982067" cy="121571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Tx/>
                <a:buNone/>
                <a:tabLst/>
                <a:defRPr/>
              </a:pPr>
              <a:r>
                <a:rPr lang="de-DE" b="1" kern="0" dirty="0">
                  <a:latin typeface="Bahnschrift" panose="020B0502040204020203" pitchFamily="34" charset="0"/>
                </a:rPr>
                <a:t>Umweltverträglichkeit, v.a. Treibhausgasreduktion</a:t>
              </a:r>
              <a:endParaRPr kumimoji="0" lang="de-DE" b="1" i="0" u="none" strike="noStrike" kern="0" cap="none" spc="0" normalizeH="0" baseline="0" noProof="0" dirty="0">
                <a:ln>
                  <a:noFill/>
                </a:ln>
                <a:effectLst/>
                <a:uLnTx/>
                <a:uFillTx/>
                <a:latin typeface="Bahnschrift" panose="020B0502040204020203" pitchFamily="34" charset="0"/>
              </a:endParaRPr>
            </a:p>
            <a:p>
              <a:pPr marL="0" marR="0" lvl="0" indent="0" defTabSz="91440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lang="de-DE" sz="1400" kern="0" dirty="0">
                  <a:latin typeface="Bahnschrift" panose="020B0502040204020203" pitchFamily="34" charset="0"/>
                  <a:ea typeface="Arial Unicode MS" pitchFamily="34" charset="-128"/>
                </a:rPr>
                <a:t>Vor allem Reduktion der CO</a:t>
              </a:r>
              <a:r>
                <a:rPr lang="de-DE" sz="1400" kern="0" baseline="-25000" dirty="0">
                  <a:latin typeface="Bahnschrift" panose="020B0502040204020203" pitchFamily="34" charset="0"/>
                  <a:ea typeface="Arial Unicode MS" pitchFamily="34" charset="-128"/>
                </a:rPr>
                <a:t>2</a:t>
              </a:r>
              <a:r>
                <a:rPr lang="de-DE" sz="1400" kern="0" dirty="0">
                  <a:latin typeface="Bahnschrift" panose="020B0502040204020203" pitchFamily="34" charset="0"/>
                  <a:ea typeface="Arial Unicode MS" pitchFamily="34" charset="-128"/>
                </a:rPr>
                <a:t>-Emissionen im Einklang mit den Pariser Klimazielen</a:t>
              </a:r>
              <a:endParaRPr lang="en-US" sz="1400" kern="0" dirty="0">
                <a:latin typeface="Bahnschrift" panose="020B0502040204020203" pitchFamily="34" charset="0"/>
                <a:ea typeface="Arial Unicode MS" pitchFamily="34" charset="-128"/>
              </a:endParaRPr>
            </a:p>
          </p:txBody>
        </p:sp>
      </p:grpSp>
      <p:grpSp>
        <p:nvGrpSpPr>
          <p:cNvPr id="3" name="Gruppieren 2">
            <a:extLst>
              <a:ext uri="{FF2B5EF4-FFF2-40B4-BE49-F238E27FC236}">
                <a16:creationId xmlns:a16="http://schemas.microsoft.com/office/drawing/2014/main" id="{F45BFE76-A08F-889C-2B0F-F0414FB838E5}"/>
              </a:ext>
            </a:extLst>
          </p:cNvPr>
          <p:cNvGrpSpPr/>
          <p:nvPr/>
        </p:nvGrpSpPr>
        <p:grpSpPr>
          <a:xfrm>
            <a:off x="6170025" y="2045477"/>
            <a:ext cx="3843150" cy="1211101"/>
            <a:chOff x="6004560" y="1731962"/>
            <a:chExt cx="3843150" cy="1211101"/>
          </a:xfrm>
        </p:grpSpPr>
        <p:cxnSp>
          <p:nvCxnSpPr>
            <p:cNvPr id="41" name="Straight Connector 40">
              <a:extLst>
                <a:ext uri="{FF2B5EF4-FFF2-40B4-BE49-F238E27FC236}">
                  <a16:creationId xmlns:a16="http://schemas.microsoft.com/office/drawing/2014/main" id="{B17A1AA0-0C96-73BD-527D-04DD134B53A9}"/>
                </a:ext>
              </a:extLst>
            </p:cNvPr>
            <p:cNvCxnSpPr>
              <a:cxnSpLocks/>
            </p:cNvCxnSpPr>
            <p:nvPr/>
          </p:nvCxnSpPr>
          <p:spPr>
            <a:xfrm>
              <a:off x="6004560" y="1731962"/>
              <a:ext cx="0" cy="1211101"/>
            </a:xfrm>
            <a:prstGeom prst="line">
              <a:avLst/>
            </a:prstGeom>
            <a:noFill/>
            <a:ln w="6350" cap="flat" cmpd="sng" algn="ctr">
              <a:solidFill>
                <a:srgbClr val="004FA1"/>
              </a:solidFill>
              <a:prstDash val="solid"/>
              <a:miter lim="800000"/>
              <a:tailEnd type="none"/>
            </a:ln>
            <a:effectLst/>
          </p:spPr>
        </p:cxnSp>
        <p:grpSp>
          <p:nvGrpSpPr>
            <p:cNvPr id="52" name="Group 51">
              <a:extLst>
                <a:ext uri="{FF2B5EF4-FFF2-40B4-BE49-F238E27FC236}">
                  <a16:creationId xmlns:a16="http://schemas.microsoft.com/office/drawing/2014/main" id="{CC82255F-9FEC-BE5D-FD3F-53658586B363}"/>
                </a:ext>
              </a:extLst>
            </p:cNvPr>
            <p:cNvGrpSpPr>
              <a:grpSpLocks/>
            </p:cNvGrpSpPr>
            <p:nvPr/>
          </p:nvGrpSpPr>
          <p:grpSpPr>
            <a:xfrm>
              <a:off x="6148227" y="1731962"/>
              <a:ext cx="573746" cy="573746"/>
              <a:chOff x="5987836" y="1412169"/>
              <a:chExt cx="535693" cy="535693"/>
            </a:xfrm>
          </p:grpSpPr>
          <p:sp>
            <p:nvSpPr>
              <p:cNvPr id="53" name="Oval 52">
                <a:extLst>
                  <a:ext uri="{FF2B5EF4-FFF2-40B4-BE49-F238E27FC236}">
                    <a16:creationId xmlns:a16="http://schemas.microsoft.com/office/drawing/2014/main" id="{9E5E4959-FB4F-5920-2708-7708FBEABFFC}"/>
                  </a:ext>
                </a:extLst>
              </p:cNvPr>
              <p:cNvSpPr>
                <a:spLocks noChangeAspect="1"/>
              </p:cNvSpPr>
              <p:nvPr/>
            </p:nvSpPr>
            <p:spPr>
              <a:xfrm>
                <a:off x="5987836" y="1412169"/>
                <a:ext cx="535693" cy="535693"/>
              </a:xfrm>
              <a:prstGeom prst="ellipse">
                <a:avLst/>
              </a:prstGeom>
              <a:solidFill>
                <a:schemeClr val="accent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GB" sz="1200" b="0" i="0" u="none" strike="noStrike" kern="0" cap="none" spc="0" normalizeH="0" baseline="0" noProof="0" dirty="0">
                  <a:ln>
                    <a:noFill/>
                  </a:ln>
                  <a:solidFill>
                    <a:srgbClr val="051C2C"/>
                  </a:solidFill>
                  <a:effectLst/>
                  <a:uLnTx/>
                  <a:uFillTx/>
                  <a:latin typeface="Bahnschrift" panose="020B0502040204020203" pitchFamily="34" charset="0"/>
                </a:endParaRPr>
              </a:p>
            </p:txBody>
          </p:sp>
          <p:pic>
            <p:nvPicPr>
              <p:cNvPr id="54" name="CustomIcon">
                <a:extLst>
                  <a:ext uri="{FF2B5EF4-FFF2-40B4-BE49-F238E27FC236}">
                    <a16:creationId xmlns:a16="http://schemas.microsoft.com/office/drawing/2014/main" id="{CB0BB782-05E1-2B69-57E5-1F4E1685A993}"/>
                  </a:ext>
                </a:extLst>
              </p:cNvPr>
              <p:cNvPicPr>
                <a:picLocks noChangeAspect="1"/>
              </p:cNvPicPr>
              <p:nvPr>
                <p:custDataLst>
                  <p:tags r:id="rId4"/>
                </p:custDataLst>
              </p:nvPr>
            </p:nvPicPr>
            <p:blipFill>
              <a:blip r:embed="rId13">
                <a:extLst>
                  <a:ext uri="{96DAC541-7B7A-43D3-8B79-37D633B846F1}">
                    <asvg:svgBlip xmlns:asvg="http://schemas.microsoft.com/office/drawing/2016/SVG/main" r:embed="rId14"/>
                  </a:ext>
                </a:extLst>
              </a:blip>
              <a:stretch>
                <a:fillRect/>
              </a:stretch>
            </p:blipFill>
            <p:spPr>
              <a:xfrm>
                <a:off x="6087621" y="1511954"/>
                <a:ext cx="336123" cy="336123"/>
              </a:xfrm>
              <a:prstGeom prst="rect">
                <a:avLst/>
              </a:prstGeom>
            </p:spPr>
          </p:pic>
        </p:grpSp>
        <p:sp>
          <p:nvSpPr>
            <p:cNvPr id="50" name="TextBox 49">
              <a:extLst>
                <a:ext uri="{FF2B5EF4-FFF2-40B4-BE49-F238E27FC236}">
                  <a16:creationId xmlns:a16="http://schemas.microsoft.com/office/drawing/2014/main" id="{9E306AD7-0D89-D4C3-3C4F-9F1BA8F93571}"/>
                </a:ext>
              </a:extLst>
            </p:cNvPr>
            <p:cNvSpPr txBox="1">
              <a:spLocks/>
            </p:cNvSpPr>
            <p:nvPr/>
          </p:nvSpPr>
          <p:spPr>
            <a:xfrm>
              <a:off x="6865643" y="1731962"/>
              <a:ext cx="2982067" cy="1211101"/>
            </a:xfrm>
            <a:prstGeom prst="rect">
              <a:avLst/>
            </a:prstGeom>
            <a:ln>
              <a:noFill/>
            </a:ln>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defTabSz="914400" eaLnBrk="1" fontAlgn="base"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b="1" i="0" u="none" strike="noStrike" kern="0" cap="none" spc="0" normalizeH="0" baseline="0" noProof="0" dirty="0">
                  <a:ln>
                    <a:noFill/>
                  </a:ln>
                  <a:effectLst/>
                  <a:uLnTx/>
                  <a:uFillTx/>
                  <a:latin typeface="Bahnschrift" panose="020B0502040204020203" pitchFamily="34" charset="0"/>
                </a:rPr>
                <a:t>Versorgungssicherheit</a:t>
              </a:r>
            </a:p>
            <a:p>
              <a:pPr marL="1588" marR="0" lvl="1" indent="0" defTabSz="895255" eaLnBrk="1" fontAlgn="base" latinLnBrk="0" hangingPunct="1">
                <a:lnSpc>
                  <a:spcPct val="100000"/>
                </a:lnSpc>
                <a:spcBef>
                  <a:spcPct val="30000"/>
                </a:spcBef>
                <a:spcAft>
                  <a:spcPct val="0"/>
                </a:spcAft>
                <a:buClr>
                  <a:srgbClr val="FFFFFF"/>
                </a:buClr>
                <a:buSzPct val="125000"/>
                <a:buFont typeface="Wingdings" panose="05000000000000000000" pitchFamily="2" charset="2"/>
                <a:buNone/>
                <a:tabLst/>
                <a:defRPr/>
              </a:pPr>
              <a:r>
                <a:rPr kumimoji="0" lang="de-DE" sz="1400" b="0" i="0" u="none" strike="noStrike" kern="0" cap="none" spc="0" normalizeH="0" baseline="0" noProof="0" dirty="0">
                  <a:ln>
                    <a:noFill/>
                  </a:ln>
                  <a:effectLst/>
                  <a:uLnTx/>
                  <a:uFillTx/>
                  <a:latin typeface="Bahnschrift" panose="020B0502040204020203" pitchFamily="34" charset="0"/>
                  <a:ea typeface="Arial Unicode MS" pitchFamily="34" charset="-128"/>
                </a:rPr>
                <a:t>Gewährleistung einer unterbrech-ungsfreien Energieversorgung, zB durch Diversifikation der Energieträger und Lieferquellen</a:t>
              </a:r>
              <a:endParaRPr kumimoji="0" lang="en-US" sz="1400" b="0" i="0" u="none" strike="noStrike" kern="0" cap="none" spc="0" normalizeH="0" baseline="0" noProof="0" dirty="0">
                <a:ln>
                  <a:noFill/>
                </a:ln>
                <a:effectLst/>
                <a:uLnTx/>
                <a:uFillTx/>
                <a:latin typeface="Bahnschrift" panose="020B0502040204020203" pitchFamily="34" charset="0"/>
                <a:ea typeface="Arial Unicode MS" pitchFamily="34" charset="-128"/>
              </a:endParaRPr>
            </a:p>
          </p:txBody>
        </p:sp>
      </p:grpSp>
      <p:grpSp>
        <p:nvGrpSpPr>
          <p:cNvPr id="6" name="Gruppieren 5">
            <a:extLst>
              <a:ext uri="{FF2B5EF4-FFF2-40B4-BE49-F238E27FC236}">
                <a16:creationId xmlns:a16="http://schemas.microsoft.com/office/drawing/2014/main" id="{736A7E44-7712-735A-6D59-B70FE0EC20E8}"/>
              </a:ext>
            </a:extLst>
          </p:cNvPr>
          <p:cNvGrpSpPr/>
          <p:nvPr/>
        </p:nvGrpSpPr>
        <p:grpSpPr>
          <a:xfrm>
            <a:off x="5871881" y="5103621"/>
            <a:ext cx="4141294" cy="1211102"/>
            <a:chOff x="5706416" y="4790106"/>
            <a:chExt cx="4141294" cy="1211102"/>
          </a:xfrm>
        </p:grpSpPr>
        <p:sp>
          <p:nvSpPr>
            <p:cNvPr id="40" name="TextBox 39">
              <a:extLst>
                <a:ext uri="{FF2B5EF4-FFF2-40B4-BE49-F238E27FC236}">
                  <a16:creationId xmlns:a16="http://schemas.microsoft.com/office/drawing/2014/main" id="{91EF2635-7F9A-A2A7-0235-E37C96A78DED}"/>
                </a:ext>
              </a:extLst>
            </p:cNvPr>
            <p:cNvSpPr txBox="1"/>
            <p:nvPr/>
          </p:nvSpPr>
          <p:spPr>
            <a:xfrm>
              <a:off x="5706416" y="4790106"/>
              <a:ext cx="65" cy="461665"/>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en-US" sz="3000" b="1" i="0" u="none" strike="noStrike" kern="0" cap="none" spc="0" normalizeH="0" baseline="0" noProof="0" dirty="0">
                <a:ln>
                  <a:noFill/>
                </a:ln>
                <a:solidFill>
                  <a:srgbClr val="004FA1"/>
                </a:solidFill>
                <a:effectLst/>
                <a:uLnTx/>
                <a:uFillTx/>
                <a:latin typeface="Bahnschrift" panose="020B0502040204020203" pitchFamily="34" charset="0"/>
              </a:endParaRPr>
            </a:p>
          </p:txBody>
        </p:sp>
        <p:cxnSp>
          <p:nvCxnSpPr>
            <p:cNvPr id="43" name="Straight Connector 42">
              <a:extLst>
                <a:ext uri="{FF2B5EF4-FFF2-40B4-BE49-F238E27FC236}">
                  <a16:creationId xmlns:a16="http://schemas.microsoft.com/office/drawing/2014/main" id="{714CAD42-B7A5-358C-76AB-F6347E50B025}"/>
                </a:ext>
              </a:extLst>
            </p:cNvPr>
            <p:cNvCxnSpPr>
              <a:cxnSpLocks/>
            </p:cNvCxnSpPr>
            <p:nvPr/>
          </p:nvCxnSpPr>
          <p:spPr>
            <a:xfrm>
              <a:off x="6004560" y="4790107"/>
              <a:ext cx="0" cy="1211101"/>
            </a:xfrm>
            <a:prstGeom prst="line">
              <a:avLst/>
            </a:prstGeom>
            <a:noFill/>
            <a:ln w="6350" cap="flat" cmpd="sng" algn="ctr">
              <a:solidFill>
                <a:srgbClr val="004FA1"/>
              </a:solidFill>
              <a:prstDash val="solid"/>
              <a:miter lim="800000"/>
              <a:tailEnd type="none"/>
            </a:ln>
            <a:effectLst/>
          </p:spPr>
        </p:cxnSp>
        <p:grpSp>
          <p:nvGrpSpPr>
            <p:cNvPr id="47" name="CustomIcon">
              <a:extLst>
                <a:ext uri="{FF2B5EF4-FFF2-40B4-BE49-F238E27FC236}">
                  <a16:creationId xmlns:a16="http://schemas.microsoft.com/office/drawing/2014/main" id="{9B248179-86C9-2B33-B923-D3234594ACB8}"/>
                </a:ext>
              </a:extLst>
            </p:cNvPr>
            <p:cNvGrpSpPr>
              <a:grpSpLocks noChangeAspect="1"/>
            </p:cNvGrpSpPr>
            <p:nvPr>
              <p:custDataLst>
                <p:tags r:id="rId3"/>
              </p:custDataLst>
            </p:nvPr>
          </p:nvGrpSpPr>
          <p:grpSpPr>
            <a:xfrm>
              <a:off x="6148227" y="4790106"/>
              <a:ext cx="573746" cy="573746"/>
              <a:chOff x="-205105" y="-205105"/>
              <a:chExt cx="1019810" cy="1019810"/>
            </a:xfrm>
            <a:solidFill>
              <a:schemeClr val="accent1"/>
            </a:solidFill>
          </p:grpSpPr>
          <p:sp>
            <p:nvSpPr>
              <p:cNvPr id="48" name="Oval 47">
                <a:extLst>
                  <a:ext uri="{FF2B5EF4-FFF2-40B4-BE49-F238E27FC236}">
                    <a16:creationId xmlns:a16="http://schemas.microsoft.com/office/drawing/2014/main" id="{8A0165BB-5F32-ECF0-81A0-1A32E0D76E62}"/>
                  </a:ext>
                </a:extLst>
              </p:cNvPr>
              <p:cNvSpPr>
                <a:spLocks noChangeAspect="1"/>
              </p:cNvSpPr>
              <p:nvPr/>
            </p:nvSpPr>
            <p:spPr>
              <a:xfrm>
                <a:off x="-205105" y="-205105"/>
                <a:ext cx="1019810" cy="1019810"/>
              </a:xfrm>
              <a:prstGeom prst="ellipse">
                <a:avLst/>
              </a:prstGeom>
              <a:grp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GB" sz="1600" b="0" i="0" u="none" strike="noStrike" kern="0" cap="none" spc="0" normalizeH="0" baseline="0" noProof="0" dirty="0">
                  <a:ln>
                    <a:noFill/>
                  </a:ln>
                  <a:solidFill>
                    <a:srgbClr val="051C2C"/>
                  </a:solidFill>
                  <a:effectLst/>
                  <a:uLnTx/>
                  <a:uFillTx/>
                  <a:latin typeface="Bahnschrift" panose="020B0502040204020203" pitchFamily="34" charset="0"/>
                </a:endParaRPr>
              </a:p>
            </p:txBody>
          </p:sp>
          <p:pic>
            <p:nvPicPr>
              <p:cNvPr id="49" name="Graphic 48">
                <a:extLst>
                  <a:ext uri="{FF2B5EF4-FFF2-40B4-BE49-F238E27FC236}">
                    <a16:creationId xmlns:a16="http://schemas.microsoft.com/office/drawing/2014/main" id="{70C91189-7FEA-44CC-68A0-D1CC6EA54BE0}"/>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0" y="0"/>
                <a:ext cx="609600" cy="609600"/>
              </a:xfrm>
              <a:prstGeom prst="rect">
                <a:avLst/>
              </a:prstGeom>
            </p:spPr>
          </p:pic>
        </p:grpSp>
        <p:sp>
          <p:nvSpPr>
            <p:cNvPr id="51" name="TextBox 50">
              <a:extLst>
                <a:ext uri="{FF2B5EF4-FFF2-40B4-BE49-F238E27FC236}">
                  <a16:creationId xmlns:a16="http://schemas.microsoft.com/office/drawing/2014/main" id="{C2FF2FED-2A54-B36E-5639-0A7890DB54C5}"/>
                </a:ext>
              </a:extLst>
            </p:cNvPr>
            <p:cNvSpPr txBox="1">
              <a:spLocks/>
            </p:cNvSpPr>
            <p:nvPr/>
          </p:nvSpPr>
          <p:spPr>
            <a:xfrm>
              <a:off x="6865643" y="4790106"/>
              <a:ext cx="2982067" cy="121110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defTabSz="914400" eaLnBrk="1" fontAlgn="base"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b="1" i="0" u="none" strike="noStrike" kern="0" cap="none" spc="0" normalizeH="0" baseline="0" noProof="0" dirty="0">
                  <a:ln>
                    <a:noFill/>
                  </a:ln>
                  <a:effectLst/>
                  <a:uLnTx/>
                  <a:uFillTx/>
                  <a:latin typeface="Bahnschrift" panose="020B0502040204020203" pitchFamily="34" charset="0"/>
                </a:rPr>
                <a:t>Wirtschaftlichkeit</a:t>
              </a:r>
            </a:p>
            <a:p>
              <a:pPr marL="1588" marR="0" lvl="1" indent="0" defTabSz="895255" eaLnBrk="1" fontAlgn="base" latinLnBrk="0" hangingPunct="1">
                <a:lnSpc>
                  <a:spcPct val="100000"/>
                </a:lnSpc>
                <a:spcBef>
                  <a:spcPct val="30000"/>
                </a:spcBef>
                <a:spcAft>
                  <a:spcPct val="0"/>
                </a:spcAft>
                <a:buClr>
                  <a:srgbClr val="FFFFFF"/>
                </a:buClr>
                <a:buSzPct val="125000"/>
                <a:buFont typeface="Wingdings" panose="05000000000000000000" pitchFamily="2" charset="2"/>
                <a:buNone/>
                <a:tabLst/>
                <a:defRPr/>
              </a:pPr>
              <a:r>
                <a:rPr kumimoji="0" lang="de-DE" sz="1400" b="0" i="0" u="none" strike="noStrike" kern="0" cap="none" spc="0" normalizeH="0" baseline="0" noProof="0" dirty="0">
                  <a:ln>
                    <a:noFill/>
                  </a:ln>
                  <a:effectLst/>
                  <a:uLnTx/>
                  <a:uFillTx/>
                  <a:latin typeface="Bahnschrift" panose="020B0502040204020203" pitchFamily="34" charset="0"/>
                  <a:ea typeface="Arial Unicode MS" pitchFamily="34" charset="-128"/>
                </a:rPr>
                <a:t>Minimierung der Gesamtkosten für das System und Maximierung des wirtschaftlichen Beitrags/der Wettbewerbsfähigkeit</a:t>
              </a:r>
              <a:endParaRPr kumimoji="0" lang="en-US" sz="1400" b="0" i="0" u="none" strike="noStrike" kern="0" cap="none" spc="0" normalizeH="0" baseline="0" noProof="0" dirty="0">
                <a:ln>
                  <a:noFill/>
                </a:ln>
                <a:effectLst/>
                <a:uLnTx/>
                <a:uFillTx/>
                <a:latin typeface="Bahnschrift" panose="020B0502040204020203" pitchFamily="34" charset="0"/>
                <a:ea typeface="Arial Unicode MS" pitchFamily="34" charset="-128"/>
              </a:endParaRPr>
            </a:p>
          </p:txBody>
        </p:sp>
      </p:grpSp>
      <p:sp>
        <p:nvSpPr>
          <p:cNvPr id="2" name="Title 1">
            <a:extLst>
              <a:ext uri="{FF2B5EF4-FFF2-40B4-BE49-F238E27FC236}">
                <a16:creationId xmlns:a16="http://schemas.microsoft.com/office/drawing/2014/main" id="{E77BC7B0-550E-46DB-AE4B-3ABE1B681047}"/>
              </a:ext>
            </a:extLst>
          </p:cNvPr>
          <p:cNvSpPr>
            <a:spLocks noGrp="1"/>
          </p:cNvSpPr>
          <p:nvPr>
            <p:ph type="title"/>
          </p:nvPr>
        </p:nvSpPr>
        <p:spPr>
          <a:xfrm>
            <a:off x="838799" y="425802"/>
            <a:ext cx="9540001" cy="1126462"/>
          </a:xfr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b" anchorCtr="0" compatLnSpc="1">
            <a:prstTxWarp prst="textNoShape">
              <a:avLst/>
            </a:prstTxWarp>
            <a:spAutoFit/>
          </a:bodyPr>
          <a:lstStyle/>
          <a:p>
            <a:r>
              <a:rPr lang="de-DE" dirty="0"/>
              <a:t>Mit Hilfe des Energiemasterplans soll die Energiewende beschleunigt werden, die Wettbewerbsfähigkeit und soziale Akzeptanz in die Mitte stellt</a:t>
            </a:r>
            <a:endParaRPr lang="de-AT" dirty="0"/>
          </a:p>
        </p:txBody>
      </p:sp>
      <p:sp>
        <p:nvSpPr>
          <p:cNvPr id="4" name="Slide Number Placeholder 3">
            <a:extLst>
              <a:ext uri="{FF2B5EF4-FFF2-40B4-BE49-F238E27FC236}">
                <a16:creationId xmlns:a16="http://schemas.microsoft.com/office/drawing/2014/main" id="{B3A9F6C5-D0F7-4CCE-9F00-6C635415DBF0}"/>
              </a:ext>
            </a:extLst>
          </p:cNvPr>
          <p:cNvSpPr>
            <a:spLocks noGrp="1"/>
          </p:cNvSpPr>
          <p:nvPr>
            <p:ph type="sldNum" sz="quarter" idx="10"/>
          </p:nvPr>
        </p:nvSpPr>
        <p:spPr/>
        <p:txBody>
          <a:bodyPr/>
          <a:lstStyle/>
          <a:p>
            <a:fld id="{01920E2B-FC99-4A38-BFFD-416A818AECB0}" type="slidenum">
              <a:rPr lang="de-AT" smtClean="0"/>
              <a:pPr/>
              <a:t>30</a:t>
            </a:fld>
            <a:endParaRPr lang="de-AT"/>
          </a:p>
        </p:txBody>
      </p:sp>
      <p:grpSp>
        <p:nvGrpSpPr>
          <p:cNvPr id="7" name="Group 54">
            <a:extLst>
              <a:ext uri="{FF2B5EF4-FFF2-40B4-BE49-F238E27FC236}">
                <a16:creationId xmlns:a16="http://schemas.microsoft.com/office/drawing/2014/main" id="{1C69DCCE-81FB-3372-DF9D-918A8B3DA4AD}"/>
              </a:ext>
            </a:extLst>
          </p:cNvPr>
          <p:cNvGrpSpPr/>
          <p:nvPr/>
        </p:nvGrpSpPr>
        <p:grpSpPr>
          <a:xfrm>
            <a:off x="554736" y="1854607"/>
            <a:ext cx="5231701" cy="4510088"/>
            <a:chOff x="554736" y="1706562"/>
            <a:chExt cx="5231701" cy="4510088"/>
          </a:xfrm>
        </p:grpSpPr>
        <p:grpSp>
          <p:nvGrpSpPr>
            <p:cNvPr id="9" name="Group 55">
              <a:extLst>
                <a:ext uri="{FF2B5EF4-FFF2-40B4-BE49-F238E27FC236}">
                  <a16:creationId xmlns:a16="http://schemas.microsoft.com/office/drawing/2014/main" id="{94067333-403D-5DA9-5105-6E5D387C9D82}"/>
                </a:ext>
              </a:extLst>
            </p:cNvPr>
            <p:cNvGrpSpPr/>
            <p:nvPr/>
          </p:nvGrpSpPr>
          <p:grpSpPr>
            <a:xfrm>
              <a:off x="554736" y="1706562"/>
              <a:ext cx="5231701" cy="4510088"/>
              <a:chOff x="3703897" y="1706562"/>
              <a:chExt cx="5231701" cy="4510088"/>
            </a:xfrm>
          </p:grpSpPr>
          <p:sp>
            <p:nvSpPr>
              <p:cNvPr id="11" name="Freeform: Shape 57">
                <a:extLst>
                  <a:ext uri="{FF2B5EF4-FFF2-40B4-BE49-F238E27FC236}">
                    <a16:creationId xmlns:a16="http://schemas.microsoft.com/office/drawing/2014/main" id="{40BEE911-4F1D-DA00-2080-86E66110AEB7}"/>
                  </a:ext>
                </a:extLst>
              </p:cNvPr>
              <p:cNvSpPr/>
              <p:nvPr/>
            </p:nvSpPr>
            <p:spPr>
              <a:xfrm>
                <a:off x="5335134" y="1706562"/>
                <a:ext cx="1969226" cy="1697610"/>
              </a:xfrm>
              <a:custGeom>
                <a:avLst/>
                <a:gdLst>
                  <a:gd name="connsiteX0" fmla="*/ 956063 w 1912125"/>
                  <a:gd name="connsiteY0" fmla="*/ 0 h 1648385"/>
                  <a:gd name="connsiteX1" fmla="*/ 1912125 w 1912125"/>
                  <a:gd name="connsiteY1" fmla="*/ 1648382 h 1648385"/>
                  <a:gd name="connsiteX2" fmla="*/ 1843650 w 1912125"/>
                  <a:gd name="connsiteY2" fmla="*/ 1597178 h 1648385"/>
                  <a:gd name="connsiteX3" fmla="*/ 956064 w 1912125"/>
                  <a:gd name="connsiteY3" fmla="*/ 1326058 h 1648385"/>
                  <a:gd name="connsiteX4" fmla="*/ 68478 w 1912125"/>
                  <a:gd name="connsiteY4" fmla="*/ 1597178 h 1648385"/>
                  <a:gd name="connsiteX5" fmla="*/ 0 w 1912125"/>
                  <a:gd name="connsiteY5" fmla="*/ 1648385 h 1648385"/>
                  <a:gd name="connsiteX6" fmla="*/ 956063 w 1912125"/>
                  <a:gd name="connsiteY6" fmla="*/ 0 h 1648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2125" h="1648385">
                    <a:moveTo>
                      <a:pt x="956063" y="0"/>
                    </a:moveTo>
                    <a:lnTo>
                      <a:pt x="1912125" y="1648382"/>
                    </a:lnTo>
                    <a:lnTo>
                      <a:pt x="1843650" y="1597178"/>
                    </a:lnTo>
                    <a:cubicBezTo>
                      <a:pt x="1590283" y="1426007"/>
                      <a:pt x="1284846" y="1326058"/>
                      <a:pt x="956064" y="1326058"/>
                    </a:cubicBezTo>
                    <a:cubicBezTo>
                      <a:pt x="627283" y="1326058"/>
                      <a:pt x="321845" y="1426007"/>
                      <a:pt x="68478" y="1597178"/>
                    </a:cubicBezTo>
                    <a:lnTo>
                      <a:pt x="0" y="1648385"/>
                    </a:lnTo>
                    <a:lnTo>
                      <a:pt x="956063" y="0"/>
                    </a:lnTo>
                    <a:close/>
                  </a:path>
                </a:pathLst>
              </a:custGeom>
              <a:solidFill>
                <a:srgbClr val="BADDFE"/>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51C2C"/>
                  </a:buClr>
                  <a:buSzTx/>
                  <a:buFontTx/>
                  <a:buNone/>
                  <a:tabLst/>
                  <a:defRPr/>
                </a:pPr>
                <a:endParaRPr kumimoji="0" lang="en-US" sz="1600" b="0" i="0" u="none" strike="noStrike" kern="0" cap="none" spc="0" normalizeH="0" baseline="0" noProof="0">
                  <a:ln>
                    <a:noFill/>
                  </a:ln>
                  <a:solidFill>
                    <a:srgbClr val="051C2C"/>
                  </a:solidFill>
                  <a:effectLst/>
                  <a:uLnTx/>
                  <a:uFillTx/>
                  <a:latin typeface="Bahnschrift" panose="020B0502040204020203" pitchFamily="34" charset="0"/>
                  <a:ea typeface="+mn-ea"/>
                  <a:cs typeface="+mn-cs"/>
                </a:endParaRPr>
              </a:p>
            </p:txBody>
          </p:sp>
          <p:sp>
            <p:nvSpPr>
              <p:cNvPr id="12" name="Freeform: Shape 58">
                <a:extLst>
                  <a:ext uri="{FF2B5EF4-FFF2-40B4-BE49-F238E27FC236}">
                    <a16:creationId xmlns:a16="http://schemas.microsoft.com/office/drawing/2014/main" id="{729292CB-6610-2755-D300-757327174E4A}"/>
                  </a:ext>
                </a:extLst>
              </p:cNvPr>
              <p:cNvSpPr/>
              <p:nvPr/>
            </p:nvSpPr>
            <p:spPr>
              <a:xfrm>
                <a:off x="3703897" y="4500399"/>
                <a:ext cx="1987941" cy="1716251"/>
              </a:xfrm>
              <a:custGeom>
                <a:avLst/>
                <a:gdLst>
                  <a:gd name="connsiteX0" fmla="*/ 966562 w 1930297"/>
                  <a:gd name="connsiteY0" fmla="*/ 0 h 1666485"/>
                  <a:gd name="connsiteX1" fmla="*/ 960698 w 1930297"/>
                  <a:gd name="connsiteY1" fmla="*/ 38419 h 1666485"/>
                  <a:gd name="connsiteX2" fmla="*/ 952502 w 1930297"/>
                  <a:gd name="connsiteY2" fmla="*/ 200731 h 1666485"/>
                  <a:gd name="connsiteX3" fmla="*/ 1922075 w 1930297"/>
                  <a:gd name="connsiteY3" fmla="*/ 1663476 h 1666485"/>
                  <a:gd name="connsiteX4" fmla="*/ 1930297 w 1930297"/>
                  <a:gd name="connsiteY4" fmla="*/ 1666485 h 1666485"/>
                  <a:gd name="connsiteX5" fmla="*/ 0 w 1930297"/>
                  <a:gd name="connsiteY5" fmla="*/ 1666485 h 1666485"/>
                  <a:gd name="connsiteX6" fmla="*/ 966562 w 1930297"/>
                  <a:gd name="connsiteY6" fmla="*/ 0 h 1666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297" h="1666485">
                    <a:moveTo>
                      <a:pt x="966562" y="0"/>
                    </a:moveTo>
                    <a:lnTo>
                      <a:pt x="960698" y="38419"/>
                    </a:lnTo>
                    <a:cubicBezTo>
                      <a:pt x="955279" y="91786"/>
                      <a:pt x="952502" y="145934"/>
                      <a:pt x="952502" y="200731"/>
                    </a:cubicBezTo>
                    <a:cubicBezTo>
                      <a:pt x="952502" y="858294"/>
                      <a:pt x="1352298" y="1422480"/>
                      <a:pt x="1922075" y="1663476"/>
                    </a:cubicBezTo>
                    <a:lnTo>
                      <a:pt x="1930297" y="1666485"/>
                    </a:lnTo>
                    <a:lnTo>
                      <a:pt x="0" y="1666485"/>
                    </a:lnTo>
                    <a:lnTo>
                      <a:pt x="966562" y="0"/>
                    </a:lnTo>
                    <a:close/>
                  </a:path>
                </a:pathLst>
              </a:custGeom>
              <a:solidFill>
                <a:srgbClr val="BADDFE"/>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51C2C"/>
                  </a:buClr>
                  <a:buSzTx/>
                  <a:buFontTx/>
                  <a:buNone/>
                  <a:tabLst/>
                  <a:defRPr/>
                </a:pPr>
                <a:endParaRPr kumimoji="0" lang="en-US" sz="1600" b="0" i="0" u="none" strike="noStrike" kern="0" cap="none" spc="0" normalizeH="0" baseline="0" noProof="0">
                  <a:ln>
                    <a:noFill/>
                  </a:ln>
                  <a:solidFill>
                    <a:srgbClr val="051C2C"/>
                  </a:solidFill>
                  <a:effectLst/>
                  <a:uLnTx/>
                  <a:uFillTx/>
                  <a:latin typeface="Bahnschrift" panose="020B0502040204020203" pitchFamily="34" charset="0"/>
                  <a:ea typeface="+mn-ea"/>
                  <a:cs typeface="+mn-cs"/>
                </a:endParaRPr>
              </a:p>
            </p:txBody>
          </p:sp>
          <p:sp>
            <p:nvSpPr>
              <p:cNvPr id="13" name="Freeform: Shape 59">
                <a:extLst>
                  <a:ext uri="{FF2B5EF4-FFF2-40B4-BE49-F238E27FC236}">
                    <a16:creationId xmlns:a16="http://schemas.microsoft.com/office/drawing/2014/main" id="{6BADA098-764D-D2B2-5AB4-AC8C1E1F5182}"/>
                  </a:ext>
                </a:extLst>
              </p:cNvPr>
              <p:cNvSpPr/>
              <p:nvPr/>
            </p:nvSpPr>
            <p:spPr>
              <a:xfrm>
                <a:off x="6947660" y="4500403"/>
                <a:ext cx="1987938" cy="1716246"/>
              </a:xfrm>
              <a:custGeom>
                <a:avLst/>
                <a:gdLst>
                  <a:gd name="connsiteX0" fmla="*/ 963736 w 1930294"/>
                  <a:gd name="connsiteY0" fmla="*/ 0 h 1666480"/>
                  <a:gd name="connsiteX1" fmla="*/ 1930294 w 1930294"/>
                  <a:gd name="connsiteY1" fmla="*/ 1666480 h 1666480"/>
                  <a:gd name="connsiteX2" fmla="*/ 0 w 1930294"/>
                  <a:gd name="connsiteY2" fmla="*/ 1666480 h 1666480"/>
                  <a:gd name="connsiteX3" fmla="*/ 8221 w 1930294"/>
                  <a:gd name="connsiteY3" fmla="*/ 1663471 h 1666480"/>
                  <a:gd name="connsiteX4" fmla="*/ 977794 w 1930294"/>
                  <a:gd name="connsiteY4" fmla="*/ 200726 h 1666480"/>
                  <a:gd name="connsiteX5" fmla="*/ 969598 w 1930294"/>
                  <a:gd name="connsiteY5" fmla="*/ 38414 h 1666480"/>
                  <a:gd name="connsiteX6" fmla="*/ 963736 w 1930294"/>
                  <a:gd name="connsiteY6" fmla="*/ 0 h 1666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294" h="1666480">
                    <a:moveTo>
                      <a:pt x="963736" y="0"/>
                    </a:moveTo>
                    <a:lnTo>
                      <a:pt x="1930294" y="1666480"/>
                    </a:lnTo>
                    <a:lnTo>
                      <a:pt x="0" y="1666480"/>
                    </a:lnTo>
                    <a:lnTo>
                      <a:pt x="8221" y="1663471"/>
                    </a:lnTo>
                    <a:cubicBezTo>
                      <a:pt x="577998" y="1422475"/>
                      <a:pt x="977794" y="858289"/>
                      <a:pt x="977794" y="200726"/>
                    </a:cubicBezTo>
                    <a:cubicBezTo>
                      <a:pt x="977794" y="145929"/>
                      <a:pt x="975018" y="91781"/>
                      <a:pt x="969598" y="38414"/>
                    </a:cubicBezTo>
                    <a:lnTo>
                      <a:pt x="963736" y="0"/>
                    </a:lnTo>
                    <a:close/>
                  </a:path>
                </a:pathLst>
              </a:custGeom>
              <a:solidFill>
                <a:srgbClr val="BADDFE"/>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51C2C"/>
                  </a:buClr>
                  <a:buSzTx/>
                  <a:buFontTx/>
                  <a:buNone/>
                  <a:tabLst/>
                  <a:defRPr/>
                </a:pPr>
                <a:endParaRPr kumimoji="0" lang="en-US" sz="1600" b="0" i="0" u="none" strike="noStrike" kern="0" cap="none" spc="0" normalizeH="0" baseline="0" noProof="0">
                  <a:ln>
                    <a:noFill/>
                  </a:ln>
                  <a:solidFill>
                    <a:srgbClr val="051C2C"/>
                  </a:solidFill>
                  <a:effectLst/>
                  <a:uLnTx/>
                  <a:uFillTx/>
                  <a:latin typeface="Bahnschrift" panose="020B0502040204020203" pitchFamily="34" charset="0"/>
                  <a:ea typeface="+mn-ea"/>
                  <a:cs typeface="+mn-cs"/>
                </a:endParaRPr>
              </a:p>
            </p:txBody>
          </p:sp>
          <p:sp>
            <p:nvSpPr>
              <p:cNvPr id="14" name="Oval 60">
                <a:extLst>
                  <a:ext uri="{FF2B5EF4-FFF2-40B4-BE49-F238E27FC236}">
                    <a16:creationId xmlns:a16="http://schemas.microsoft.com/office/drawing/2014/main" id="{701C02F0-2516-C09E-AD52-5D8D1E10331B}"/>
                  </a:ext>
                </a:extLst>
              </p:cNvPr>
              <p:cNvSpPr/>
              <p:nvPr/>
            </p:nvSpPr>
            <p:spPr>
              <a:xfrm>
                <a:off x="4828714" y="3216090"/>
                <a:ext cx="2982068" cy="2982066"/>
              </a:xfrm>
              <a:prstGeom prst="ellipse">
                <a:avLst/>
              </a:prstGeom>
              <a:solidFill>
                <a:srgbClr val="004FA1"/>
              </a:solidFill>
              <a:ln w="1270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Tx/>
                  <a:buNone/>
                  <a:tabLst/>
                  <a:defRPr/>
                </a:pPr>
                <a:endParaRPr kumimoji="0" lang="en-US" sz="1600" b="0" i="0" u="none" strike="noStrike" kern="0" cap="none" spc="0" normalizeH="0" baseline="0" noProof="0">
                  <a:ln>
                    <a:noFill/>
                  </a:ln>
                  <a:solidFill>
                    <a:srgbClr val="051C2C"/>
                  </a:solidFill>
                  <a:effectLst/>
                  <a:uLnTx/>
                  <a:uFillTx/>
                  <a:latin typeface="Bahnschrift" panose="020B0502040204020203" pitchFamily="34" charset="0"/>
                  <a:ea typeface="+mn-ea"/>
                  <a:cs typeface="+mn-cs"/>
                </a:endParaRPr>
              </a:p>
            </p:txBody>
          </p:sp>
          <p:sp>
            <p:nvSpPr>
              <p:cNvPr id="15" name="TextBox 64">
                <a:extLst>
                  <a:ext uri="{FF2B5EF4-FFF2-40B4-BE49-F238E27FC236}">
                    <a16:creationId xmlns:a16="http://schemas.microsoft.com/office/drawing/2014/main" id="{36C35ED1-0C00-7331-DBFE-520EE89BF627}"/>
                  </a:ext>
                </a:extLst>
              </p:cNvPr>
              <p:cNvSpPr txBox="1">
                <a:spLocks/>
              </p:cNvSpPr>
              <p:nvPr/>
            </p:nvSpPr>
            <p:spPr>
              <a:xfrm>
                <a:off x="5005281" y="3937681"/>
                <a:ext cx="2628934" cy="1538883"/>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800" b="1" i="0" u="none" strike="noStrike" kern="0" cap="none" spc="0" normalizeH="0" baseline="0" noProof="0">
                    <a:ln>
                      <a:noFill/>
                    </a:ln>
                    <a:solidFill>
                      <a:prstClr val="white"/>
                    </a:solidFill>
                    <a:effectLst/>
                    <a:uLnTx/>
                    <a:uFillTx/>
                    <a:latin typeface="Bahnschrift" panose="020B0502040204020203" pitchFamily="34" charset="0"/>
                    <a:ea typeface="+mn-ea"/>
                    <a:cs typeface="Arial" panose="020B0604020202020204" pitchFamily="34" charset="0"/>
                  </a:rPr>
                  <a:t>Wettbewerbs-</a:t>
                </a:r>
                <a:br>
                  <a:rPr kumimoji="0" lang="en-US" sz="1800" b="1" i="0" u="none" strike="noStrike" kern="0" cap="none" spc="0" normalizeH="0" baseline="0" noProof="0">
                    <a:ln>
                      <a:noFill/>
                    </a:ln>
                    <a:solidFill>
                      <a:prstClr val="white"/>
                    </a:solidFill>
                    <a:effectLst/>
                    <a:uLnTx/>
                    <a:uFillTx/>
                    <a:latin typeface="Bahnschrift" panose="020B0502040204020203" pitchFamily="34" charset="0"/>
                    <a:ea typeface="+mn-ea"/>
                    <a:cs typeface="Arial" panose="020B0604020202020204" pitchFamily="34" charset="0"/>
                  </a:rPr>
                </a:br>
                <a:r>
                  <a:rPr kumimoji="0" lang="en-US" sz="1800" b="1" i="0" u="none" strike="noStrike" kern="0" cap="none" spc="0" normalizeH="0" baseline="0" noProof="0">
                    <a:ln>
                      <a:noFill/>
                    </a:ln>
                    <a:solidFill>
                      <a:prstClr val="white"/>
                    </a:solidFill>
                    <a:effectLst/>
                    <a:uLnTx/>
                    <a:uFillTx/>
                    <a:latin typeface="Bahnschrift" panose="020B0502040204020203" pitchFamily="34" charset="0"/>
                    <a:ea typeface="+mn-ea"/>
                    <a:cs typeface="Arial" panose="020B0604020202020204" pitchFamily="34" charset="0"/>
                  </a:rPr>
                  <a:t>fähigkeit</a:t>
                </a:r>
              </a:p>
              <a:p>
                <a:pPr marL="0" marR="0" lvl="0" indent="0" algn="ctr"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endParaRPr kumimoji="0" lang="en-US" sz="1800" b="1" i="0" u="none" strike="noStrike" kern="0" cap="none" spc="0" normalizeH="0" baseline="0" noProof="0">
                  <a:ln>
                    <a:noFill/>
                  </a:ln>
                  <a:solidFill>
                    <a:prstClr val="white"/>
                  </a:solidFill>
                  <a:effectLst/>
                  <a:uLnTx/>
                  <a:uFillTx/>
                  <a:latin typeface="Bahnschrift" panose="020B0502040204020203"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br>
                  <a:rPr kumimoji="0" lang="en-US" sz="1800" b="0" i="0" u="none" strike="noStrike" kern="0" cap="none" spc="0" normalizeH="0" baseline="0" noProof="0">
                    <a:ln>
                      <a:noFill/>
                    </a:ln>
                    <a:solidFill>
                      <a:prstClr val="white"/>
                    </a:solidFill>
                    <a:effectLst/>
                    <a:uLnTx/>
                    <a:uFillTx/>
                    <a:latin typeface="Bahnschrift" panose="020B0502040204020203" pitchFamily="34" charset="0"/>
                    <a:ea typeface="+mn-ea"/>
                    <a:cs typeface="Arial" panose="020B0604020202020204" pitchFamily="34" charset="0"/>
                  </a:rPr>
                </a:br>
                <a:r>
                  <a:rPr kumimoji="0" lang="en-US" sz="1800" b="0" i="0" u="none" strike="noStrike" kern="0" cap="none" spc="0" normalizeH="0" baseline="0" noProof="0">
                    <a:ln>
                      <a:noFill/>
                    </a:ln>
                    <a:solidFill>
                      <a:prstClr val="white"/>
                    </a:solidFill>
                    <a:effectLst/>
                    <a:uLnTx/>
                    <a:uFillTx/>
                    <a:latin typeface="Bahnschrift" panose="020B0502040204020203" pitchFamily="34" charset="0"/>
                    <a:ea typeface="+mn-ea"/>
                    <a:cs typeface="Arial" panose="020B0604020202020204" pitchFamily="34" charset="0"/>
                  </a:rPr>
                  <a:t> </a:t>
                </a:r>
                <a:r>
                  <a:rPr kumimoji="0" lang="en-US" sz="1800" b="1" i="0" u="none" strike="noStrike" kern="0" cap="none" spc="0" normalizeH="0" baseline="0" noProof="0">
                    <a:ln>
                      <a:noFill/>
                    </a:ln>
                    <a:solidFill>
                      <a:prstClr val="white"/>
                    </a:solidFill>
                    <a:effectLst/>
                    <a:uLnTx/>
                    <a:uFillTx/>
                    <a:latin typeface="Bahnschrift" panose="020B0502040204020203" pitchFamily="34" charset="0"/>
                    <a:ea typeface="+mn-ea"/>
                    <a:cs typeface="Arial" panose="020B0604020202020204" pitchFamily="34" charset="0"/>
                  </a:rPr>
                  <a:t>Soziale Akzeptanz</a:t>
                </a:r>
              </a:p>
            </p:txBody>
          </p:sp>
        </p:grpSp>
        <p:sp>
          <p:nvSpPr>
            <p:cNvPr id="10" name="Plus Sign 56">
              <a:extLst>
                <a:ext uri="{FF2B5EF4-FFF2-40B4-BE49-F238E27FC236}">
                  <a16:creationId xmlns:a16="http://schemas.microsoft.com/office/drawing/2014/main" id="{10F06E48-3410-99DF-EB7A-8912329FDF90}"/>
                </a:ext>
              </a:extLst>
            </p:cNvPr>
            <p:cNvSpPr/>
            <p:nvPr/>
          </p:nvSpPr>
          <p:spPr>
            <a:xfrm>
              <a:off x="3018993" y="4687222"/>
              <a:ext cx="326021" cy="338663"/>
            </a:xfrm>
            <a:prstGeom prst="mathPlus">
              <a:avLst/>
            </a:prstGeom>
            <a:solidFill>
              <a:schemeClr val="bg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0" cap="none" spc="0" normalizeH="0" baseline="0" noProof="0">
                <a:ln>
                  <a:noFill/>
                </a:ln>
                <a:solidFill>
                  <a:srgbClr val="242852"/>
                </a:solidFill>
                <a:effectLst/>
                <a:uLnTx/>
                <a:uFillTx/>
                <a:latin typeface="Bahnschrift" panose="020B0502040204020203" pitchFamily="34" charset="0"/>
                <a:ea typeface="+mn-ea"/>
                <a:cs typeface="+mn-cs"/>
              </a:endParaRPr>
            </a:p>
          </p:txBody>
        </p:sp>
      </p:grpSp>
      <p:sp>
        <p:nvSpPr>
          <p:cNvPr id="16" name="Oval 52">
            <a:extLst>
              <a:ext uri="{FF2B5EF4-FFF2-40B4-BE49-F238E27FC236}">
                <a16:creationId xmlns:a16="http://schemas.microsoft.com/office/drawing/2014/main" id="{D709E3F0-7DD9-C6F6-9D08-C5608AA6E555}"/>
              </a:ext>
            </a:extLst>
          </p:cNvPr>
          <p:cNvSpPr>
            <a:spLocks noChangeAspect="1"/>
          </p:cNvSpPr>
          <p:nvPr/>
        </p:nvSpPr>
        <p:spPr>
          <a:xfrm>
            <a:off x="2888386" y="2305062"/>
            <a:ext cx="573746" cy="573746"/>
          </a:xfrm>
          <a:prstGeom prst="ellipse">
            <a:avLst/>
          </a:prstGeom>
          <a:solidFill>
            <a:schemeClr val="accent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de-AT" sz="1200" b="0" i="0" u="none" strike="noStrike" kern="0" cap="none" spc="0" normalizeH="0" baseline="0" noProof="0" dirty="0">
              <a:ln>
                <a:noFill/>
              </a:ln>
              <a:solidFill>
                <a:srgbClr val="051C2C"/>
              </a:solidFill>
              <a:effectLst/>
              <a:uLnTx/>
              <a:uFillTx/>
              <a:latin typeface="Bahnschrift" panose="020B0502040204020203" pitchFamily="34" charset="0"/>
              <a:ea typeface="+mn-ea"/>
              <a:cs typeface="+mn-cs"/>
            </a:endParaRPr>
          </a:p>
        </p:txBody>
      </p:sp>
      <p:pic>
        <p:nvPicPr>
          <p:cNvPr id="17" name="CustomIcon">
            <a:extLst>
              <a:ext uri="{FF2B5EF4-FFF2-40B4-BE49-F238E27FC236}">
                <a16:creationId xmlns:a16="http://schemas.microsoft.com/office/drawing/2014/main" id="{AC1C2117-6A78-AB54-64B8-37C72E6538F0}"/>
              </a:ext>
            </a:extLst>
          </p:cNvPr>
          <p:cNvPicPr>
            <a:picLocks noChangeAspect="1"/>
          </p:cNvPicPr>
          <p:nvPr>
            <p:custDataLst>
              <p:tags r:id="rId2"/>
            </p:custDataLst>
          </p:nvPr>
        </p:nvPicPr>
        <p:blipFill>
          <a:blip r:embed="rId13">
            <a:extLst>
              <a:ext uri="{96DAC541-7B7A-43D3-8B79-37D633B846F1}">
                <asvg:svgBlip xmlns:asvg="http://schemas.microsoft.com/office/drawing/2016/SVG/main" r:embed="rId14"/>
              </a:ext>
            </a:extLst>
          </a:blip>
          <a:stretch>
            <a:fillRect/>
          </a:stretch>
        </p:blipFill>
        <p:spPr>
          <a:xfrm>
            <a:off x="2995259" y="2411935"/>
            <a:ext cx="360000" cy="360000"/>
          </a:xfrm>
          <a:prstGeom prst="rect">
            <a:avLst/>
          </a:prstGeom>
        </p:spPr>
      </p:pic>
      <p:sp>
        <p:nvSpPr>
          <p:cNvPr id="18" name="Oval 44">
            <a:extLst>
              <a:ext uri="{FF2B5EF4-FFF2-40B4-BE49-F238E27FC236}">
                <a16:creationId xmlns:a16="http://schemas.microsoft.com/office/drawing/2014/main" id="{AF2A9DE3-3FFA-3F62-0F29-9847F0E928A8}"/>
              </a:ext>
            </a:extLst>
          </p:cNvPr>
          <p:cNvSpPr>
            <a:spLocks noChangeAspect="1"/>
          </p:cNvSpPr>
          <p:nvPr/>
        </p:nvSpPr>
        <p:spPr>
          <a:xfrm>
            <a:off x="944229" y="5682466"/>
            <a:ext cx="573746" cy="573746"/>
          </a:xfrm>
          <a:prstGeom prst="ellipse">
            <a:avLst/>
          </a:prstGeom>
          <a:solidFill>
            <a:schemeClr val="accent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0" cap="none" spc="0" normalizeH="0" baseline="0" noProof="0">
              <a:ln>
                <a:noFill/>
              </a:ln>
              <a:solidFill>
                <a:srgbClr val="051C2C"/>
              </a:solidFill>
              <a:effectLst/>
              <a:uLnTx/>
              <a:uFillTx/>
              <a:latin typeface="Bahnschrift" panose="020B0502040204020203" pitchFamily="34" charset="0"/>
              <a:ea typeface="+mn-ea"/>
              <a:cs typeface="+mn-cs"/>
            </a:endParaRPr>
          </a:p>
        </p:txBody>
      </p:sp>
      <p:pic>
        <p:nvPicPr>
          <p:cNvPr id="19" name="Graphic 45">
            <a:extLst>
              <a:ext uri="{FF2B5EF4-FFF2-40B4-BE49-F238E27FC236}">
                <a16:creationId xmlns:a16="http://schemas.microsoft.com/office/drawing/2014/main" id="{EF62F51D-B32E-6D03-42A5-1E233DBFE2F8}"/>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59621" y="5797858"/>
            <a:ext cx="342961" cy="342961"/>
          </a:xfrm>
          <a:prstGeom prst="rect">
            <a:avLst/>
          </a:prstGeom>
        </p:spPr>
      </p:pic>
      <p:sp>
        <p:nvSpPr>
          <p:cNvPr id="20" name="Oval 47">
            <a:extLst>
              <a:ext uri="{FF2B5EF4-FFF2-40B4-BE49-F238E27FC236}">
                <a16:creationId xmlns:a16="http://schemas.microsoft.com/office/drawing/2014/main" id="{1512FAC2-7BAB-57FE-C75F-E33CFB909B60}"/>
              </a:ext>
            </a:extLst>
          </p:cNvPr>
          <p:cNvSpPr>
            <a:spLocks noChangeAspect="1"/>
          </p:cNvSpPr>
          <p:nvPr/>
        </p:nvSpPr>
        <p:spPr>
          <a:xfrm>
            <a:off x="4813283" y="5693190"/>
            <a:ext cx="573746" cy="573746"/>
          </a:xfrm>
          <a:prstGeom prst="ellipse">
            <a:avLst/>
          </a:prstGeom>
          <a:solidFill>
            <a:schemeClr val="accent1"/>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de-AT" sz="1600" b="0" i="0" u="none" strike="noStrike" kern="0" cap="none" spc="0" normalizeH="0" baseline="0" noProof="0" dirty="0">
              <a:ln>
                <a:noFill/>
              </a:ln>
              <a:solidFill>
                <a:srgbClr val="051C2C"/>
              </a:solidFill>
              <a:effectLst/>
              <a:uLnTx/>
              <a:uFillTx/>
              <a:latin typeface="Bahnschrift" panose="020B0502040204020203" pitchFamily="34" charset="0"/>
              <a:ea typeface="+mn-ea"/>
              <a:cs typeface="+mn-cs"/>
            </a:endParaRPr>
          </a:p>
        </p:txBody>
      </p:sp>
      <p:pic>
        <p:nvPicPr>
          <p:cNvPr id="21" name="Graphic 48">
            <a:extLst>
              <a:ext uri="{FF2B5EF4-FFF2-40B4-BE49-F238E27FC236}">
                <a16:creationId xmlns:a16="http://schemas.microsoft.com/office/drawing/2014/main" id="{1C12BE5C-754E-5772-BF13-AF30652647A1}"/>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928675" y="5808582"/>
            <a:ext cx="342961" cy="342961"/>
          </a:xfrm>
          <a:prstGeom prst="rect">
            <a:avLst/>
          </a:prstGeom>
        </p:spPr>
      </p:pic>
    </p:spTree>
    <p:extLst>
      <p:ext uri="{BB962C8B-B14F-4D97-AF65-F5344CB8AC3E}">
        <p14:creationId xmlns:p14="http://schemas.microsoft.com/office/powerpoint/2010/main" val="14467937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C3E6A5D8-85C0-75C6-CE53-B2D94E9FA155}"/>
              </a:ext>
            </a:extLst>
          </p:cNvPr>
          <p:cNvSpPr>
            <a:spLocks noGrp="1"/>
          </p:cNvSpPr>
          <p:nvPr>
            <p:ph type="sldNum" sz="quarter" idx="10"/>
          </p:nvPr>
        </p:nvSpPr>
        <p:spPr/>
        <p:txBody>
          <a:bodyPr/>
          <a:lstStyle/>
          <a:p>
            <a:fld id="{ACDA101C-1C77-4D48-BD39-A39536584314}" type="slidenum">
              <a:rPr lang="de-AT" smtClean="0"/>
              <a:pPr/>
              <a:t>31</a:t>
            </a:fld>
            <a:endParaRPr lang="de-AT"/>
          </a:p>
        </p:txBody>
      </p:sp>
      <p:sp>
        <p:nvSpPr>
          <p:cNvPr id="4" name="Title 4">
            <a:extLst>
              <a:ext uri="{FF2B5EF4-FFF2-40B4-BE49-F238E27FC236}">
                <a16:creationId xmlns:a16="http://schemas.microsoft.com/office/drawing/2014/main" id="{7527F78E-F0C8-8BD0-0657-8653C08911C1}"/>
              </a:ext>
            </a:extLst>
          </p:cNvPr>
          <p:cNvSpPr txBox="1">
            <a:spLocks/>
          </p:cNvSpPr>
          <p:nvPr/>
        </p:nvSpPr>
        <p:spPr bwMode="auto">
          <a:xfrm>
            <a:off x="838799" y="188916"/>
            <a:ext cx="9540001" cy="936625"/>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vert="horz" wrap="square" lIns="0" tIns="0" rIns="0" bIns="0" numCol="1" rtlCol="0" anchor="b" anchorCtr="0" compatLnSpc="1">
            <a:prstTxWarp prst="textNoShape">
              <a:avLst/>
            </a:prstTxWarp>
            <a:noAutofit/>
          </a:bodyPr>
          <a:lstStyle>
            <a:lvl1pPr algn="l" rtl="0" eaLnBrk="1" fontAlgn="base" hangingPunct="1">
              <a:lnSpc>
                <a:spcPct val="80000"/>
              </a:lnSpc>
              <a:spcBef>
                <a:spcPct val="0"/>
              </a:spcBef>
              <a:spcAft>
                <a:spcPct val="0"/>
              </a:spcAft>
              <a:defRPr lang="de-DE" sz="2800" b="0" dirty="0">
                <a:solidFill>
                  <a:schemeClr val="tx1"/>
                </a:solidFill>
                <a:latin typeface="Bahnschrift" panose="020B0502040204020203" pitchFamily="34" charset="0"/>
                <a:ea typeface="+mj-ea"/>
                <a:cs typeface="+mj-cs"/>
              </a:defRPr>
            </a:lvl1pPr>
            <a:lvl2pPr algn="l" rtl="0" eaLnBrk="1" fontAlgn="base" hangingPunct="1">
              <a:lnSpc>
                <a:spcPct val="80000"/>
              </a:lnSpc>
              <a:spcBef>
                <a:spcPct val="0"/>
              </a:spcBef>
              <a:spcAft>
                <a:spcPct val="0"/>
              </a:spcAft>
              <a:defRPr sz="3000">
                <a:solidFill>
                  <a:srgbClr val="4C5D68"/>
                </a:solidFill>
                <a:latin typeface="Trebuchet MS" pitchFamily="34" charset="0"/>
              </a:defRPr>
            </a:lvl2pPr>
            <a:lvl3pPr algn="l" rtl="0" eaLnBrk="1" fontAlgn="base" hangingPunct="1">
              <a:lnSpc>
                <a:spcPct val="80000"/>
              </a:lnSpc>
              <a:spcBef>
                <a:spcPct val="0"/>
              </a:spcBef>
              <a:spcAft>
                <a:spcPct val="0"/>
              </a:spcAft>
              <a:defRPr sz="3000">
                <a:solidFill>
                  <a:srgbClr val="4C5D68"/>
                </a:solidFill>
                <a:latin typeface="Trebuchet MS" pitchFamily="34" charset="0"/>
              </a:defRPr>
            </a:lvl3pPr>
            <a:lvl4pPr algn="l" rtl="0" eaLnBrk="1" fontAlgn="base" hangingPunct="1">
              <a:lnSpc>
                <a:spcPct val="80000"/>
              </a:lnSpc>
              <a:spcBef>
                <a:spcPct val="0"/>
              </a:spcBef>
              <a:spcAft>
                <a:spcPct val="0"/>
              </a:spcAft>
              <a:defRPr sz="3000">
                <a:solidFill>
                  <a:srgbClr val="4C5D68"/>
                </a:solidFill>
                <a:latin typeface="Trebuchet MS" pitchFamily="34" charset="0"/>
              </a:defRPr>
            </a:lvl4pPr>
            <a:lvl5pPr algn="l" rtl="0" eaLnBrk="1" fontAlgn="base" hangingPunct="1">
              <a:lnSpc>
                <a:spcPct val="80000"/>
              </a:lnSpc>
              <a:spcBef>
                <a:spcPct val="0"/>
              </a:spcBef>
              <a:spcAft>
                <a:spcPct val="0"/>
              </a:spcAft>
              <a:defRPr sz="3000">
                <a:solidFill>
                  <a:srgbClr val="4C5D68"/>
                </a:solidFill>
                <a:latin typeface="Trebuchet MS" pitchFamily="34" charset="0"/>
              </a:defRPr>
            </a:lvl5pPr>
            <a:lvl6pPr marL="457200" algn="l" rtl="0" eaLnBrk="1" fontAlgn="base" hangingPunct="1">
              <a:lnSpc>
                <a:spcPct val="80000"/>
              </a:lnSpc>
              <a:spcBef>
                <a:spcPct val="0"/>
              </a:spcBef>
              <a:spcAft>
                <a:spcPct val="0"/>
              </a:spcAft>
              <a:defRPr sz="3000">
                <a:solidFill>
                  <a:srgbClr val="4C5D68"/>
                </a:solidFill>
                <a:latin typeface="Trebuchet MS" pitchFamily="34" charset="0"/>
              </a:defRPr>
            </a:lvl6pPr>
            <a:lvl7pPr marL="914400" algn="l" rtl="0" eaLnBrk="1" fontAlgn="base" hangingPunct="1">
              <a:lnSpc>
                <a:spcPct val="80000"/>
              </a:lnSpc>
              <a:spcBef>
                <a:spcPct val="0"/>
              </a:spcBef>
              <a:spcAft>
                <a:spcPct val="0"/>
              </a:spcAft>
              <a:defRPr sz="3000">
                <a:solidFill>
                  <a:srgbClr val="4C5D68"/>
                </a:solidFill>
                <a:latin typeface="Trebuchet MS" pitchFamily="34" charset="0"/>
              </a:defRPr>
            </a:lvl7pPr>
            <a:lvl8pPr marL="1371600" algn="l" rtl="0" eaLnBrk="1" fontAlgn="base" hangingPunct="1">
              <a:lnSpc>
                <a:spcPct val="80000"/>
              </a:lnSpc>
              <a:spcBef>
                <a:spcPct val="0"/>
              </a:spcBef>
              <a:spcAft>
                <a:spcPct val="0"/>
              </a:spcAft>
              <a:defRPr sz="3000">
                <a:solidFill>
                  <a:srgbClr val="4C5D68"/>
                </a:solidFill>
                <a:latin typeface="Trebuchet MS" pitchFamily="34" charset="0"/>
              </a:defRPr>
            </a:lvl8pPr>
            <a:lvl9pPr marL="1828800" algn="l" rtl="0" eaLnBrk="1" fontAlgn="base" hangingPunct="1">
              <a:lnSpc>
                <a:spcPct val="80000"/>
              </a:lnSpc>
              <a:spcBef>
                <a:spcPct val="0"/>
              </a:spcBef>
              <a:spcAft>
                <a:spcPct val="0"/>
              </a:spcAft>
              <a:defRPr sz="3000">
                <a:solidFill>
                  <a:srgbClr val="4C5D68"/>
                </a:solidFill>
                <a:latin typeface="Trebuchet MS" pitchFamily="34" charset="0"/>
              </a:defRPr>
            </a:lvl9pPr>
          </a:lstStyle>
          <a:p>
            <a:r>
              <a:rPr lang="de-AT" kern="0" dirty="0"/>
              <a:t>Der Masterplan wird inhaltlich anhand von Bausteinen entlang der Wertschöpfungskette erarbeitet</a:t>
            </a:r>
          </a:p>
        </p:txBody>
      </p:sp>
      <p:sp>
        <p:nvSpPr>
          <p:cNvPr id="5" name="Rectangle 76">
            <a:extLst>
              <a:ext uri="{FF2B5EF4-FFF2-40B4-BE49-F238E27FC236}">
                <a16:creationId xmlns:a16="http://schemas.microsoft.com/office/drawing/2014/main" id="{AD6C9952-BF01-722B-C202-88DA441A4019}"/>
              </a:ext>
            </a:extLst>
          </p:cNvPr>
          <p:cNvSpPr/>
          <p:nvPr/>
        </p:nvSpPr>
        <p:spPr>
          <a:xfrm>
            <a:off x="276225" y="2886042"/>
            <a:ext cx="1709473" cy="3345713"/>
          </a:xfrm>
          <a:prstGeom prst="rect">
            <a:avLst/>
          </a:prstGeom>
          <a:noFill/>
          <a:ln w="6350" cap="sq">
            <a:solidFill>
              <a:schemeClr val="accent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err="1">
              <a:ln>
                <a:noFill/>
              </a:ln>
              <a:solidFill>
                <a:srgbClr val="FFFFFF"/>
              </a:solidFill>
              <a:effectLst/>
              <a:uLnTx/>
              <a:uFillTx/>
              <a:latin typeface="Bahnschrift" panose="020B0502040204020203" pitchFamily="34" charset="0"/>
            </a:endParaRPr>
          </a:p>
        </p:txBody>
      </p:sp>
      <p:grpSp>
        <p:nvGrpSpPr>
          <p:cNvPr id="6" name="Group 10">
            <a:extLst>
              <a:ext uri="{FF2B5EF4-FFF2-40B4-BE49-F238E27FC236}">
                <a16:creationId xmlns:a16="http://schemas.microsoft.com/office/drawing/2014/main" id="{F870146E-7342-405F-BC17-C08B0EE7C699}"/>
              </a:ext>
            </a:extLst>
          </p:cNvPr>
          <p:cNvGrpSpPr/>
          <p:nvPr/>
        </p:nvGrpSpPr>
        <p:grpSpPr>
          <a:xfrm>
            <a:off x="333375" y="4044311"/>
            <a:ext cx="11303992" cy="1181739"/>
            <a:chOff x="368624" y="4044311"/>
            <a:chExt cx="11268743" cy="1181739"/>
          </a:xfrm>
        </p:grpSpPr>
        <p:cxnSp>
          <p:nvCxnSpPr>
            <p:cNvPr id="7" name="LineSeparatorStrong 64">
              <a:extLst>
                <a:ext uri="{FF2B5EF4-FFF2-40B4-BE49-F238E27FC236}">
                  <a16:creationId xmlns:a16="http://schemas.microsoft.com/office/drawing/2014/main" id="{1234B4EF-24A6-FA81-3519-D388F14C00C6}"/>
                </a:ext>
              </a:extLst>
            </p:cNvPr>
            <p:cNvCxnSpPr>
              <a:cxnSpLocks/>
            </p:cNvCxnSpPr>
            <p:nvPr>
              <p:custDataLst>
                <p:tags r:id="rId51"/>
              </p:custDataLst>
            </p:nvPr>
          </p:nvCxnSpPr>
          <p:spPr>
            <a:xfrm>
              <a:off x="368624" y="4044311"/>
              <a:ext cx="11268743"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LineSeparatorStrong 64">
              <a:extLst>
                <a:ext uri="{FF2B5EF4-FFF2-40B4-BE49-F238E27FC236}">
                  <a16:creationId xmlns:a16="http://schemas.microsoft.com/office/drawing/2014/main" id="{6D6C263A-6966-9ABA-B7EE-429E84844125}"/>
                </a:ext>
              </a:extLst>
            </p:cNvPr>
            <p:cNvCxnSpPr>
              <a:cxnSpLocks/>
            </p:cNvCxnSpPr>
            <p:nvPr>
              <p:custDataLst>
                <p:tags r:id="rId52"/>
              </p:custDataLst>
            </p:nvPr>
          </p:nvCxnSpPr>
          <p:spPr>
            <a:xfrm flipV="1">
              <a:off x="406540" y="5194959"/>
              <a:ext cx="11230827" cy="31091"/>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cxnSp>
        <p:nvCxnSpPr>
          <p:cNvPr id="9" name="LineSeparatorDefault 22">
            <a:extLst>
              <a:ext uri="{FF2B5EF4-FFF2-40B4-BE49-F238E27FC236}">
                <a16:creationId xmlns:a16="http://schemas.microsoft.com/office/drawing/2014/main" id="{0BB58254-59F6-60FB-E0ED-2D1FF23C897D}"/>
              </a:ext>
            </a:extLst>
          </p:cNvPr>
          <p:cNvCxnSpPr>
            <a:cxnSpLocks/>
            <a:stCxn id="60" idx="6"/>
          </p:cNvCxnSpPr>
          <p:nvPr>
            <p:custDataLst>
              <p:tags r:id="rId1"/>
            </p:custDataLst>
          </p:nvPr>
        </p:nvCxnSpPr>
        <p:spPr>
          <a:xfrm>
            <a:off x="519728" y="2885729"/>
            <a:ext cx="11117639" cy="7934"/>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106">
            <a:extLst>
              <a:ext uri="{FF2B5EF4-FFF2-40B4-BE49-F238E27FC236}">
                <a16:creationId xmlns:a16="http://schemas.microsoft.com/office/drawing/2014/main" id="{1C78EDB7-E94E-8E6F-AD4A-E462D9320A73}"/>
              </a:ext>
            </a:extLst>
          </p:cNvPr>
          <p:cNvSpPr txBox="1">
            <a:spLocks/>
          </p:cNvSpPr>
          <p:nvPr>
            <p:custDataLst>
              <p:tags r:id="rId2"/>
            </p:custDataLst>
          </p:nvPr>
        </p:nvSpPr>
        <p:spPr>
          <a:xfrm>
            <a:off x="368059" y="3097114"/>
            <a:ext cx="822341" cy="203133"/>
          </a:xfrm>
          <a:prstGeom prst="rect">
            <a:avLst/>
          </a:prstGeom>
        </p:spPr>
        <p:txBody>
          <a:bodyPr vert="horz" wrap="none" lIns="0" tIns="0" rIns="0" bIns="18288"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rPr>
              <a:t>Regulatorik</a:t>
            </a:r>
          </a:p>
        </p:txBody>
      </p:sp>
      <p:sp>
        <p:nvSpPr>
          <p:cNvPr id="11" name="TextBox 113">
            <a:extLst>
              <a:ext uri="{FF2B5EF4-FFF2-40B4-BE49-F238E27FC236}">
                <a16:creationId xmlns:a16="http://schemas.microsoft.com/office/drawing/2014/main" id="{43A1769D-B412-6183-C7AD-79DFD2F232C1}"/>
              </a:ext>
            </a:extLst>
          </p:cNvPr>
          <p:cNvSpPr txBox="1">
            <a:spLocks/>
          </p:cNvSpPr>
          <p:nvPr>
            <p:custDataLst>
              <p:tags r:id="rId3"/>
            </p:custDataLst>
          </p:nvPr>
        </p:nvSpPr>
        <p:spPr>
          <a:xfrm>
            <a:off x="2218181" y="2991966"/>
            <a:ext cx="746999" cy="203133"/>
          </a:xfrm>
          <a:prstGeom prst="rect">
            <a:avLst/>
          </a:prstGeom>
        </p:spPr>
        <p:txBody>
          <a:bodyPr vert="horz" wrap="none" lIns="0" tIns="0" rIns="0" bIns="18288"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rPr>
              <a:t>Leitfragen </a:t>
            </a:r>
          </a:p>
        </p:txBody>
      </p:sp>
      <p:pic>
        <p:nvPicPr>
          <p:cNvPr id="12" name="CustomIcon">
            <a:extLst>
              <a:ext uri="{FF2B5EF4-FFF2-40B4-BE49-F238E27FC236}">
                <a16:creationId xmlns:a16="http://schemas.microsoft.com/office/drawing/2014/main" id="{CC57A269-8A8A-06E8-9E2B-B9AC55F9E01A}"/>
              </a:ext>
            </a:extLst>
          </p:cNvPr>
          <p:cNvPicPr>
            <a:picLocks/>
          </p:cNvPicPr>
          <p:nvPr>
            <p:custDataLst>
              <p:tags r:id="rId4"/>
            </p:custDataLst>
          </p:nvPr>
        </p:nvPicPr>
        <p:blipFill>
          <a:blip r:embed="rId54">
            <a:extLst>
              <a:ext uri="{96DAC541-7B7A-43D3-8B79-37D633B846F1}">
                <asvg:svgBlip xmlns:asvg="http://schemas.microsoft.com/office/drawing/2016/SVG/main" r:embed="rId55"/>
              </a:ext>
            </a:extLst>
          </a:blip>
          <a:stretch>
            <a:fillRect/>
          </a:stretch>
        </p:blipFill>
        <p:spPr>
          <a:xfrm>
            <a:off x="807720" y="3409905"/>
            <a:ext cx="382680" cy="382680"/>
          </a:xfrm>
          <a:prstGeom prst="rect">
            <a:avLst/>
          </a:prstGeom>
        </p:spPr>
      </p:pic>
      <p:sp>
        <p:nvSpPr>
          <p:cNvPr id="13" name="TextBox 116">
            <a:extLst>
              <a:ext uri="{FF2B5EF4-FFF2-40B4-BE49-F238E27FC236}">
                <a16:creationId xmlns:a16="http://schemas.microsoft.com/office/drawing/2014/main" id="{267ED344-08ED-D828-ABE6-CCBF7AD14D7D}"/>
              </a:ext>
            </a:extLst>
          </p:cNvPr>
          <p:cNvSpPr txBox="1">
            <a:spLocks/>
          </p:cNvSpPr>
          <p:nvPr>
            <p:custDataLst>
              <p:tags r:id="rId5"/>
            </p:custDataLst>
          </p:nvPr>
        </p:nvSpPr>
        <p:spPr>
          <a:xfrm>
            <a:off x="2218181" y="3563327"/>
            <a:ext cx="857607" cy="203133"/>
          </a:xfrm>
          <a:prstGeom prst="rect">
            <a:avLst/>
          </a:prstGeom>
        </p:spPr>
        <p:txBody>
          <a:bodyPr vert="horz" wrap="none" lIns="0" tIns="0" rIns="0" bIns="18288"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rPr>
              <a:t>Maßnahmen</a:t>
            </a:r>
          </a:p>
        </p:txBody>
      </p:sp>
      <p:sp>
        <p:nvSpPr>
          <p:cNvPr id="14" name="TextBox 107">
            <a:extLst>
              <a:ext uri="{FF2B5EF4-FFF2-40B4-BE49-F238E27FC236}">
                <a16:creationId xmlns:a16="http://schemas.microsoft.com/office/drawing/2014/main" id="{E3525A4F-6F5F-FCF6-3F4C-0518D1FD721E}"/>
              </a:ext>
            </a:extLst>
          </p:cNvPr>
          <p:cNvSpPr txBox="1">
            <a:spLocks/>
          </p:cNvSpPr>
          <p:nvPr>
            <p:custDataLst>
              <p:tags r:id="rId6"/>
            </p:custDataLst>
          </p:nvPr>
        </p:nvSpPr>
        <p:spPr>
          <a:xfrm>
            <a:off x="371410" y="4142614"/>
            <a:ext cx="1545360" cy="387798"/>
          </a:xfrm>
          <a:prstGeom prst="rect">
            <a:avLst/>
          </a:prstGeom>
        </p:spPr>
        <p:txBody>
          <a:bodyPr vert="horz" wrap="square" lIns="0" tIns="0" rIns="0" bIns="18288"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rPr>
              <a:t>Technologie, Talente &amp; Innovation</a:t>
            </a:r>
          </a:p>
        </p:txBody>
      </p:sp>
      <p:sp>
        <p:nvSpPr>
          <p:cNvPr id="15" name="TextBox 119">
            <a:extLst>
              <a:ext uri="{FF2B5EF4-FFF2-40B4-BE49-F238E27FC236}">
                <a16:creationId xmlns:a16="http://schemas.microsoft.com/office/drawing/2014/main" id="{5B6724A3-2481-40BC-84E2-005CD1356C48}"/>
              </a:ext>
            </a:extLst>
          </p:cNvPr>
          <p:cNvSpPr txBox="1">
            <a:spLocks/>
          </p:cNvSpPr>
          <p:nvPr>
            <p:custDataLst>
              <p:tags r:id="rId7"/>
            </p:custDataLst>
          </p:nvPr>
        </p:nvSpPr>
        <p:spPr>
          <a:xfrm>
            <a:off x="2218181" y="4142614"/>
            <a:ext cx="746999" cy="203133"/>
          </a:xfrm>
          <a:prstGeom prst="rect">
            <a:avLst/>
          </a:prstGeom>
        </p:spPr>
        <p:txBody>
          <a:bodyPr vert="horz" wrap="none" lIns="0" tIns="0" rIns="0" bIns="18288"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rPr>
              <a:t>Leitfragen </a:t>
            </a:r>
          </a:p>
        </p:txBody>
      </p:sp>
      <p:sp>
        <p:nvSpPr>
          <p:cNvPr id="16" name="TextBox 120">
            <a:extLst>
              <a:ext uri="{FF2B5EF4-FFF2-40B4-BE49-F238E27FC236}">
                <a16:creationId xmlns:a16="http://schemas.microsoft.com/office/drawing/2014/main" id="{52B3C983-36C0-7BBF-E107-2BC9391F4A12}"/>
              </a:ext>
            </a:extLst>
          </p:cNvPr>
          <p:cNvSpPr txBox="1">
            <a:spLocks/>
          </p:cNvSpPr>
          <p:nvPr>
            <p:custDataLst>
              <p:tags r:id="rId8"/>
            </p:custDataLst>
          </p:nvPr>
        </p:nvSpPr>
        <p:spPr>
          <a:xfrm>
            <a:off x="2218181" y="4713975"/>
            <a:ext cx="857607" cy="203133"/>
          </a:xfrm>
          <a:prstGeom prst="rect">
            <a:avLst/>
          </a:prstGeom>
        </p:spPr>
        <p:txBody>
          <a:bodyPr vert="horz" wrap="none" lIns="0" tIns="0" rIns="0" bIns="18288"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rPr>
              <a:t>Maßnahmen</a:t>
            </a:r>
          </a:p>
        </p:txBody>
      </p:sp>
      <p:pic>
        <p:nvPicPr>
          <p:cNvPr id="17" name="CustomIcon">
            <a:extLst>
              <a:ext uri="{FF2B5EF4-FFF2-40B4-BE49-F238E27FC236}">
                <a16:creationId xmlns:a16="http://schemas.microsoft.com/office/drawing/2014/main" id="{2C41785E-DED5-3444-DEBC-AF2DC0F35C3E}"/>
              </a:ext>
            </a:extLst>
          </p:cNvPr>
          <p:cNvPicPr>
            <a:picLocks/>
          </p:cNvPicPr>
          <p:nvPr>
            <p:custDataLst>
              <p:tags r:id="rId9"/>
            </p:custDataLst>
          </p:nvPr>
        </p:nvPicPr>
        <p:blipFill>
          <a:blip r:embed="rId56">
            <a:extLst>
              <a:ext uri="{96DAC541-7B7A-43D3-8B79-37D633B846F1}">
                <asvg:svgBlip xmlns:asvg="http://schemas.microsoft.com/office/drawing/2016/SVG/main" r:embed="rId57"/>
              </a:ext>
            </a:extLst>
          </a:blip>
          <a:stretch>
            <a:fillRect/>
          </a:stretch>
        </p:blipFill>
        <p:spPr>
          <a:xfrm>
            <a:off x="827850" y="4634069"/>
            <a:ext cx="342420" cy="382680"/>
          </a:xfrm>
          <a:prstGeom prst="rect">
            <a:avLst/>
          </a:prstGeom>
        </p:spPr>
      </p:pic>
      <p:sp>
        <p:nvSpPr>
          <p:cNvPr id="18" name="TextBox 108">
            <a:extLst>
              <a:ext uri="{FF2B5EF4-FFF2-40B4-BE49-F238E27FC236}">
                <a16:creationId xmlns:a16="http://schemas.microsoft.com/office/drawing/2014/main" id="{4518071F-1783-A4BC-6951-489250FA4013}"/>
              </a:ext>
            </a:extLst>
          </p:cNvPr>
          <p:cNvSpPr txBox="1">
            <a:spLocks/>
          </p:cNvSpPr>
          <p:nvPr>
            <p:custDataLst>
              <p:tags r:id="rId10"/>
            </p:custDataLst>
          </p:nvPr>
        </p:nvSpPr>
        <p:spPr>
          <a:xfrm>
            <a:off x="371410" y="5293262"/>
            <a:ext cx="1545357" cy="572464"/>
          </a:xfrm>
          <a:prstGeom prst="rect">
            <a:avLst/>
          </a:prstGeom>
        </p:spPr>
        <p:txBody>
          <a:bodyPr vert="horz" wrap="square" lIns="0" tIns="0" rIns="0" bIns="18288"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rPr>
              <a:t>Incentivierung &amp; Investitionssicherheit</a:t>
            </a:r>
            <a:br>
              <a:rPr lang="de-DE" sz="1200" b="1" dirty="0">
                <a:solidFill>
                  <a:srgbClr val="000000"/>
                </a:solidFill>
                <a:latin typeface="Bahnschrift" panose="020B0502040204020203" pitchFamily="34" charset="0"/>
              </a:rPr>
            </a:br>
            <a:r>
              <a:rPr lang="de-DE" sz="1200" b="1" dirty="0">
                <a:solidFill>
                  <a:srgbClr val="000000"/>
                </a:solidFill>
                <a:latin typeface="Bahnschrift" panose="020B0502040204020203" pitchFamily="34" charset="0"/>
              </a:rPr>
              <a:t>(Strafzahlungen)</a:t>
            </a:r>
            <a:endPar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endParaRPr>
          </a:p>
        </p:txBody>
      </p:sp>
      <p:sp>
        <p:nvSpPr>
          <p:cNvPr id="19" name="TextBox 121">
            <a:extLst>
              <a:ext uri="{FF2B5EF4-FFF2-40B4-BE49-F238E27FC236}">
                <a16:creationId xmlns:a16="http://schemas.microsoft.com/office/drawing/2014/main" id="{E1FA07CF-31E4-C1B0-E4B4-D9D484D00414}"/>
              </a:ext>
            </a:extLst>
          </p:cNvPr>
          <p:cNvSpPr txBox="1">
            <a:spLocks/>
          </p:cNvSpPr>
          <p:nvPr>
            <p:custDataLst>
              <p:tags r:id="rId11"/>
            </p:custDataLst>
          </p:nvPr>
        </p:nvSpPr>
        <p:spPr>
          <a:xfrm>
            <a:off x="2218181" y="5293262"/>
            <a:ext cx="746999" cy="203133"/>
          </a:xfrm>
          <a:prstGeom prst="rect">
            <a:avLst/>
          </a:prstGeom>
        </p:spPr>
        <p:txBody>
          <a:bodyPr vert="horz" wrap="none" lIns="0" tIns="0" rIns="0" bIns="18288"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rPr>
              <a:t>Leitfragen </a:t>
            </a:r>
          </a:p>
        </p:txBody>
      </p:sp>
      <p:pic>
        <p:nvPicPr>
          <p:cNvPr id="20" name="CustomIcon">
            <a:extLst>
              <a:ext uri="{FF2B5EF4-FFF2-40B4-BE49-F238E27FC236}">
                <a16:creationId xmlns:a16="http://schemas.microsoft.com/office/drawing/2014/main" id="{04A312A6-DD04-2479-D92A-01E4667CB6F2}"/>
              </a:ext>
            </a:extLst>
          </p:cNvPr>
          <p:cNvPicPr>
            <a:picLocks/>
          </p:cNvPicPr>
          <p:nvPr>
            <p:custDataLst>
              <p:tags r:id="rId12"/>
            </p:custDataLst>
          </p:nvPr>
        </p:nvPicPr>
        <p:blipFill>
          <a:blip r:embed="rId58">
            <a:extLst>
              <a:ext uri="{96DAC541-7B7A-43D3-8B79-37D633B846F1}">
                <asvg:svgBlip xmlns:asvg="http://schemas.microsoft.com/office/drawing/2016/SVG/main" r:embed="rId59"/>
              </a:ext>
            </a:extLst>
          </a:blip>
          <a:stretch>
            <a:fillRect/>
          </a:stretch>
        </p:blipFill>
        <p:spPr>
          <a:xfrm>
            <a:off x="807720" y="5838195"/>
            <a:ext cx="382680" cy="382680"/>
          </a:xfrm>
          <a:prstGeom prst="rect">
            <a:avLst/>
          </a:prstGeom>
        </p:spPr>
      </p:pic>
      <p:sp>
        <p:nvSpPr>
          <p:cNvPr id="21" name="TextBox 122">
            <a:extLst>
              <a:ext uri="{FF2B5EF4-FFF2-40B4-BE49-F238E27FC236}">
                <a16:creationId xmlns:a16="http://schemas.microsoft.com/office/drawing/2014/main" id="{8FE6E70C-871E-BB75-8DB0-9AA972FB132E}"/>
              </a:ext>
            </a:extLst>
          </p:cNvPr>
          <p:cNvSpPr txBox="1">
            <a:spLocks/>
          </p:cNvSpPr>
          <p:nvPr>
            <p:custDataLst>
              <p:tags r:id="rId13"/>
            </p:custDataLst>
          </p:nvPr>
        </p:nvSpPr>
        <p:spPr>
          <a:xfrm>
            <a:off x="2218181" y="5864622"/>
            <a:ext cx="857607" cy="203133"/>
          </a:xfrm>
          <a:prstGeom prst="rect">
            <a:avLst/>
          </a:prstGeom>
        </p:spPr>
        <p:txBody>
          <a:bodyPr vert="horz" wrap="none" lIns="0" tIns="0" rIns="0" bIns="18288"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1" i="0" u="none" strike="noStrike" kern="1200" cap="none" spc="0" normalizeH="0" baseline="0" noProof="0" dirty="0">
                <a:ln>
                  <a:noFill/>
                </a:ln>
                <a:solidFill>
                  <a:srgbClr val="000000"/>
                </a:solidFill>
                <a:effectLst/>
                <a:uLnTx/>
                <a:uFillTx/>
                <a:latin typeface="Bahnschrift" panose="020B0502040204020203" pitchFamily="34" charset="0"/>
              </a:rPr>
              <a:t>Maßnahmen</a:t>
            </a:r>
          </a:p>
        </p:txBody>
      </p:sp>
      <p:sp>
        <p:nvSpPr>
          <p:cNvPr id="22" name="TextBox 43">
            <a:extLst>
              <a:ext uri="{FF2B5EF4-FFF2-40B4-BE49-F238E27FC236}">
                <a16:creationId xmlns:a16="http://schemas.microsoft.com/office/drawing/2014/main" id="{AB557CE8-90AB-E6BE-8367-B7793CF35387}"/>
              </a:ext>
            </a:extLst>
          </p:cNvPr>
          <p:cNvSpPr txBox="1">
            <a:spLocks/>
          </p:cNvSpPr>
          <p:nvPr>
            <p:custDataLst>
              <p:tags r:id="rId14"/>
            </p:custDataLst>
          </p:nvPr>
        </p:nvSpPr>
        <p:spPr>
          <a:xfrm>
            <a:off x="3452121" y="1980085"/>
            <a:ext cx="1957222" cy="861774"/>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t>Erneuerbare Stromaufbringung,</a:t>
            </a:r>
            <a:b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b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t>-verteilung &amp;</a:t>
            </a:r>
            <a:b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b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t>-speicherung</a:t>
            </a:r>
          </a:p>
        </p:txBody>
      </p:sp>
      <p:sp>
        <p:nvSpPr>
          <p:cNvPr id="23" name="TrackerNumBlue 17">
            <a:extLst>
              <a:ext uri="{FF2B5EF4-FFF2-40B4-BE49-F238E27FC236}">
                <a16:creationId xmlns:a16="http://schemas.microsoft.com/office/drawing/2014/main" id="{C8A1A4B2-C649-425E-A716-B40F4E3FDB4A}"/>
              </a:ext>
            </a:extLst>
          </p:cNvPr>
          <p:cNvSpPr/>
          <p:nvPr>
            <p:custDataLst>
              <p:tags r:id="rId15"/>
            </p:custDataLst>
          </p:nvPr>
        </p:nvSpPr>
        <p:spPr>
          <a:xfrm>
            <a:off x="3452121" y="1669501"/>
            <a:ext cx="269944" cy="269944"/>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FFFFFF"/>
              </a:buClr>
              <a:buSzTx/>
              <a:buFontTx/>
              <a:buNone/>
              <a:tabLst/>
              <a:defRPr/>
            </a:pPr>
            <a:r>
              <a:rPr kumimoji="0" lang="de-DE" sz="1200" b="0" i="0" u="none" strike="noStrike" kern="1200" cap="none" spc="0" normalizeH="0" baseline="0" noProof="0">
                <a:ln>
                  <a:noFill/>
                </a:ln>
                <a:solidFill>
                  <a:srgbClr val="FFFFFF"/>
                </a:solidFill>
                <a:effectLst/>
                <a:uLnTx/>
                <a:uFillTx/>
                <a:latin typeface="Bahnschrift" panose="020B0502040204020203" pitchFamily="34" charset="0"/>
              </a:rPr>
              <a:t>1</a:t>
            </a:r>
            <a:endParaRPr kumimoji="0" lang="de-DE" sz="1200" b="0" i="0" u="none" strike="noStrike" kern="1200" cap="none" spc="0" normalizeH="0" baseline="0" noProof="0" dirty="0" err="1">
              <a:ln>
                <a:noFill/>
              </a:ln>
              <a:solidFill>
                <a:srgbClr val="FFFFFF"/>
              </a:solidFill>
              <a:effectLst/>
              <a:uLnTx/>
              <a:uFillTx/>
              <a:latin typeface="Bahnschrift" panose="020B0502040204020203" pitchFamily="34" charset="0"/>
            </a:endParaRPr>
          </a:p>
        </p:txBody>
      </p:sp>
      <p:sp>
        <p:nvSpPr>
          <p:cNvPr id="24" name="TextBox 123">
            <a:extLst>
              <a:ext uri="{FF2B5EF4-FFF2-40B4-BE49-F238E27FC236}">
                <a16:creationId xmlns:a16="http://schemas.microsoft.com/office/drawing/2014/main" id="{4A3CF6BF-7491-10BF-6610-00AFCD6EAD91}"/>
              </a:ext>
            </a:extLst>
          </p:cNvPr>
          <p:cNvSpPr txBox="1">
            <a:spLocks/>
          </p:cNvSpPr>
          <p:nvPr>
            <p:custDataLst>
              <p:tags r:id="rId16"/>
            </p:custDataLst>
          </p:nvPr>
        </p:nvSpPr>
        <p:spPr>
          <a:xfrm>
            <a:off x="3452121" y="2991966"/>
            <a:ext cx="1691307" cy="374754"/>
          </a:xfrm>
          <a:prstGeom prst="rect">
            <a:avLst/>
          </a:prstGeom>
        </p:spPr>
        <p:txBody>
          <a:bodyPr vert="horz" wrap="square" lIns="0" tIns="0" rIns="0" bIns="18288"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b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b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p>
        </p:txBody>
      </p:sp>
      <p:sp>
        <p:nvSpPr>
          <p:cNvPr id="25" name="TextBox 124">
            <a:extLst>
              <a:ext uri="{FF2B5EF4-FFF2-40B4-BE49-F238E27FC236}">
                <a16:creationId xmlns:a16="http://schemas.microsoft.com/office/drawing/2014/main" id="{136CFB57-B1C4-E3DC-5974-4114BCD7B10D}"/>
              </a:ext>
            </a:extLst>
          </p:cNvPr>
          <p:cNvSpPr txBox="1">
            <a:spLocks/>
          </p:cNvSpPr>
          <p:nvPr>
            <p:custDataLst>
              <p:tags r:id="rId17"/>
            </p:custDataLst>
          </p:nvPr>
        </p:nvSpPr>
        <p:spPr>
          <a:xfrm>
            <a:off x="3452121" y="3563327"/>
            <a:ext cx="1691307" cy="374754"/>
          </a:xfrm>
          <a:prstGeom prst="rect">
            <a:avLst/>
          </a:prstGeom>
        </p:spPr>
        <p:txBody>
          <a:bodyPr vert="horz" wrap="square" lIns="0" tIns="0" rIns="0" bIns="18288"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b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b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p>
        </p:txBody>
      </p:sp>
      <p:sp>
        <p:nvSpPr>
          <p:cNvPr id="26" name="TextBox 125">
            <a:extLst>
              <a:ext uri="{FF2B5EF4-FFF2-40B4-BE49-F238E27FC236}">
                <a16:creationId xmlns:a16="http://schemas.microsoft.com/office/drawing/2014/main" id="{925D134C-5097-85D3-07A2-D63BD2106767}"/>
              </a:ext>
            </a:extLst>
          </p:cNvPr>
          <p:cNvSpPr txBox="1">
            <a:spLocks/>
          </p:cNvSpPr>
          <p:nvPr>
            <p:custDataLst>
              <p:tags r:id="rId18"/>
            </p:custDataLst>
          </p:nvPr>
        </p:nvSpPr>
        <p:spPr>
          <a:xfrm>
            <a:off x="3452121" y="4142614"/>
            <a:ext cx="1691307" cy="374754"/>
          </a:xfrm>
          <a:prstGeom prst="rect">
            <a:avLst/>
          </a:prstGeom>
        </p:spPr>
        <p:txBody>
          <a:bodyPr vert="horz" wrap="square" lIns="0" tIns="0" rIns="0" bIns="18288"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b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b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p>
        </p:txBody>
      </p:sp>
      <p:sp>
        <p:nvSpPr>
          <p:cNvPr id="27" name="TextBox 126">
            <a:extLst>
              <a:ext uri="{FF2B5EF4-FFF2-40B4-BE49-F238E27FC236}">
                <a16:creationId xmlns:a16="http://schemas.microsoft.com/office/drawing/2014/main" id="{83344E15-E5F9-CDCC-E4C3-989F09720A5C}"/>
              </a:ext>
            </a:extLst>
          </p:cNvPr>
          <p:cNvSpPr txBox="1">
            <a:spLocks/>
          </p:cNvSpPr>
          <p:nvPr>
            <p:custDataLst>
              <p:tags r:id="rId19"/>
            </p:custDataLst>
          </p:nvPr>
        </p:nvSpPr>
        <p:spPr>
          <a:xfrm>
            <a:off x="3452121" y="4713975"/>
            <a:ext cx="1691307" cy="374754"/>
          </a:xfrm>
          <a:prstGeom prst="rect">
            <a:avLst/>
          </a:prstGeom>
        </p:spPr>
        <p:txBody>
          <a:bodyPr vert="horz" wrap="square" lIns="0" tIns="0" rIns="0" bIns="18288"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b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b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p>
        </p:txBody>
      </p:sp>
      <p:sp>
        <p:nvSpPr>
          <p:cNvPr id="28" name="TextBox 127">
            <a:extLst>
              <a:ext uri="{FF2B5EF4-FFF2-40B4-BE49-F238E27FC236}">
                <a16:creationId xmlns:a16="http://schemas.microsoft.com/office/drawing/2014/main" id="{5B917B2E-4839-4442-376A-764267961499}"/>
              </a:ext>
            </a:extLst>
          </p:cNvPr>
          <p:cNvSpPr txBox="1">
            <a:spLocks/>
          </p:cNvSpPr>
          <p:nvPr>
            <p:custDataLst>
              <p:tags r:id="rId20"/>
            </p:custDataLst>
          </p:nvPr>
        </p:nvSpPr>
        <p:spPr>
          <a:xfrm>
            <a:off x="3452121" y="5293262"/>
            <a:ext cx="1691307" cy="374754"/>
          </a:xfrm>
          <a:prstGeom prst="rect">
            <a:avLst/>
          </a:prstGeom>
        </p:spPr>
        <p:txBody>
          <a:bodyPr vert="horz" wrap="square" lIns="0" tIns="0" rIns="0" bIns="18288"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b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b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p>
        </p:txBody>
      </p:sp>
      <p:sp>
        <p:nvSpPr>
          <p:cNvPr id="29" name="TextBox 128">
            <a:extLst>
              <a:ext uri="{FF2B5EF4-FFF2-40B4-BE49-F238E27FC236}">
                <a16:creationId xmlns:a16="http://schemas.microsoft.com/office/drawing/2014/main" id="{436038BC-7C33-1C97-2E52-D059017084CC}"/>
              </a:ext>
            </a:extLst>
          </p:cNvPr>
          <p:cNvSpPr txBox="1">
            <a:spLocks/>
          </p:cNvSpPr>
          <p:nvPr>
            <p:custDataLst>
              <p:tags r:id="rId21"/>
            </p:custDataLst>
          </p:nvPr>
        </p:nvSpPr>
        <p:spPr>
          <a:xfrm>
            <a:off x="3452121" y="5864622"/>
            <a:ext cx="1691307" cy="374754"/>
          </a:xfrm>
          <a:prstGeom prst="rect">
            <a:avLst/>
          </a:prstGeom>
        </p:spPr>
        <p:txBody>
          <a:bodyPr vert="horz" wrap="square" lIns="0" tIns="0" rIns="0" bIns="18288"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b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b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p>
        </p:txBody>
      </p:sp>
      <p:sp>
        <p:nvSpPr>
          <p:cNvPr id="30" name="TextBox 42">
            <a:extLst>
              <a:ext uri="{FF2B5EF4-FFF2-40B4-BE49-F238E27FC236}">
                <a16:creationId xmlns:a16="http://schemas.microsoft.com/office/drawing/2014/main" id="{D5DC1120-D7DD-CE20-1D7B-824C2DCF3E2B}"/>
              </a:ext>
            </a:extLst>
          </p:cNvPr>
          <p:cNvSpPr txBox="1">
            <a:spLocks/>
          </p:cNvSpPr>
          <p:nvPr>
            <p:custDataLst>
              <p:tags r:id="rId22"/>
            </p:custDataLst>
          </p:nvPr>
        </p:nvSpPr>
        <p:spPr>
          <a:xfrm>
            <a:off x="5580554" y="1980085"/>
            <a:ext cx="1799844" cy="861774"/>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t>Substitution und Diversifizierung von Erdgas und weiterer Fossiler</a:t>
            </a:r>
          </a:p>
        </p:txBody>
      </p:sp>
      <p:sp>
        <p:nvSpPr>
          <p:cNvPr id="31" name="TrackerNumBlue 17">
            <a:extLst>
              <a:ext uri="{FF2B5EF4-FFF2-40B4-BE49-F238E27FC236}">
                <a16:creationId xmlns:a16="http://schemas.microsoft.com/office/drawing/2014/main" id="{32204997-28EB-59D3-7BCF-EA68D7188EC9}"/>
              </a:ext>
            </a:extLst>
          </p:cNvPr>
          <p:cNvSpPr/>
          <p:nvPr>
            <p:custDataLst>
              <p:tags r:id="rId23"/>
            </p:custDataLst>
          </p:nvPr>
        </p:nvSpPr>
        <p:spPr>
          <a:xfrm>
            <a:off x="5580554" y="1669501"/>
            <a:ext cx="269944" cy="269944"/>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e-DE" sz="1200" b="0" i="0" u="none" strike="noStrike" kern="1200" cap="none" spc="0" normalizeH="0" baseline="0" noProof="0" dirty="0">
                <a:ln>
                  <a:noFill/>
                </a:ln>
                <a:solidFill>
                  <a:srgbClr val="FFFFFF"/>
                </a:solidFill>
                <a:effectLst/>
                <a:uLnTx/>
                <a:uFillTx/>
                <a:latin typeface="Bahnschrift" panose="020B0502040204020203" pitchFamily="34" charset="0"/>
              </a:rPr>
              <a:t>2</a:t>
            </a:r>
          </a:p>
        </p:txBody>
      </p:sp>
      <p:sp>
        <p:nvSpPr>
          <p:cNvPr id="32" name="TextBox 136">
            <a:extLst>
              <a:ext uri="{FF2B5EF4-FFF2-40B4-BE49-F238E27FC236}">
                <a16:creationId xmlns:a16="http://schemas.microsoft.com/office/drawing/2014/main" id="{6DBDD3D8-2ECC-A878-6A5B-370A71CA7E69}"/>
              </a:ext>
            </a:extLst>
          </p:cNvPr>
          <p:cNvSpPr txBox="1">
            <a:spLocks/>
          </p:cNvSpPr>
          <p:nvPr>
            <p:custDataLst>
              <p:tags r:id="rId24"/>
            </p:custDataLst>
          </p:nvPr>
        </p:nvSpPr>
        <p:spPr>
          <a:xfrm>
            <a:off x="5616767" y="2991966"/>
            <a:ext cx="1691307" cy="374754"/>
          </a:xfrm>
          <a:prstGeom prst="rect">
            <a:avLst/>
          </a:prstGeom>
        </p:spPr>
        <p:txBody>
          <a:bodyPr vert="horz" wrap="square" lIns="0" tIns="0" rIns="0" bIns="18288"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b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b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p>
        </p:txBody>
      </p:sp>
      <p:sp>
        <p:nvSpPr>
          <p:cNvPr id="33" name="TextBox 137">
            <a:extLst>
              <a:ext uri="{FF2B5EF4-FFF2-40B4-BE49-F238E27FC236}">
                <a16:creationId xmlns:a16="http://schemas.microsoft.com/office/drawing/2014/main" id="{B16204E7-0CC5-8C24-6E95-BFB63C8B280C}"/>
              </a:ext>
            </a:extLst>
          </p:cNvPr>
          <p:cNvSpPr txBox="1">
            <a:spLocks/>
          </p:cNvSpPr>
          <p:nvPr>
            <p:custDataLst>
              <p:tags r:id="rId25"/>
            </p:custDataLst>
          </p:nvPr>
        </p:nvSpPr>
        <p:spPr>
          <a:xfrm>
            <a:off x="5616767" y="3563327"/>
            <a:ext cx="1691307" cy="374754"/>
          </a:xfrm>
          <a:prstGeom prst="rect">
            <a:avLst/>
          </a:prstGeom>
        </p:spPr>
        <p:txBody>
          <a:bodyPr vert="horz" wrap="square" lIns="0" tIns="0" rIns="0" bIns="18288"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b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b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p>
        </p:txBody>
      </p:sp>
      <p:sp>
        <p:nvSpPr>
          <p:cNvPr id="34" name="TextBox 138">
            <a:extLst>
              <a:ext uri="{FF2B5EF4-FFF2-40B4-BE49-F238E27FC236}">
                <a16:creationId xmlns:a16="http://schemas.microsoft.com/office/drawing/2014/main" id="{F9347E0C-E71B-4BC6-1E32-A251196203F8}"/>
              </a:ext>
            </a:extLst>
          </p:cNvPr>
          <p:cNvSpPr txBox="1">
            <a:spLocks/>
          </p:cNvSpPr>
          <p:nvPr>
            <p:custDataLst>
              <p:tags r:id="rId26"/>
            </p:custDataLst>
          </p:nvPr>
        </p:nvSpPr>
        <p:spPr>
          <a:xfrm>
            <a:off x="5616767" y="4142614"/>
            <a:ext cx="1691307" cy="374754"/>
          </a:xfrm>
          <a:prstGeom prst="rect">
            <a:avLst/>
          </a:prstGeom>
        </p:spPr>
        <p:txBody>
          <a:bodyPr vert="horz" wrap="square" lIns="0" tIns="0" rIns="0" bIns="18288"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b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b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p>
        </p:txBody>
      </p:sp>
      <p:sp>
        <p:nvSpPr>
          <p:cNvPr id="35" name="TextBox 139">
            <a:extLst>
              <a:ext uri="{FF2B5EF4-FFF2-40B4-BE49-F238E27FC236}">
                <a16:creationId xmlns:a16="http://schemas.microsoft.com/office/drawing/2014/main" id="{1548BDC2-02A4-A64B-0EFE-6B398B6D03CE}"/>
              </a:ext>
            </a:extLst>
          </p:cNvPr>
          <p:cNvSpPr txBox="1">
            <a:spLocks/>
          </p:cNvSpPr>
          <p:nvPr>
            <p:custDataLst>
              <p:tags r:id="rId27"/>
            </p:custDataLst>
          </p:nvPr>
        </p:nvSpPr>
        <p:spPr>
          <a:xfrm>
            <a:off x="5616767" y="4713975"/>
            <a:ext cx="1691307" cy="374754"/>
          </a:xfrm>
          <a:prstGeom prst="rect">
            <a:avLst/>
          </a:prstGeom>
        </p:spPr>
        <p:txBody>
          <a:bodyPr vert="horz" wrap="square" lIns="0" tIns="0" rIns="0" bIns="18288"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b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b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p>
        </p:txBody>
      </p:sp>
      <p:sp>
        <p:nvSpPr>
          <p:cNvPr id="36" name="TextBox 140">
            <a:extLst>
              <a:ext uri="{FF2B5EF4-FFF2-40B4-BE49-F238E27FC236}">
                <a16:creationId xmlns:a16="http://schemas.microsoft.com/office/drawing/2014/main" id="{CAFE6061-93DA-8DD0-F9CE-ED3F12548A37}"/>
              </a:ext>
            </a:extLst>
          </p:cNvPr>
          <p:cNvSpPr txBox="1">
            <a:spLocks/>
          </p:cNvSpPr>
          <p:nvPr>
            <p:custDataLst>
              <p:tags r:id="rId28"/>
            </p:custDataLst>
          </p:nvPr>
        </p:nvSpPr>
        <p:spPr>
          <a:xfrm>
            <a:off x="5616767" y="5293262"/>
            <a:ext cx="1691307" cy="374754"/>
          </a:xfrm>
          <a:prstGeom prst="rect">
            <a:avLst/>
          </a:prstGeom>
        </p:spPr>
        <p:txBody>
          <a:bodyPr vert="horz" wrap="square" lIns="0" tIns="0" rIns="0" bIns="18288"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b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b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p>
        </p:txBody>
      </p:sp>
      <p:sp>
        <p:nvSpPr>
          <p:cNvPr id="37" name="TextBox 141">
            <a:extLst>
              <a:ext uri="{FF2B5EF4-FFF2-40B4-BE49-F238E27FC236}">
                <a16:creationId xmlns:a16="http://schemas.microsoft.com/office/drawing/2014/main" id="{61D46B34-98C7-AC5F-1EF2-A39E3184B65B}"/>
              </a:ext>
            </a:extLst>
          </p:cNvPr>
          <p:cNvSpPr txBox="1">
            <a:spLocks/>
          </p:cNvSpPr>
          <p:nvPr>
            <p:custDataLst>
              <p:tags r:id="rId29"/>
            </p:custDataLst>
          </p:nvPr>
        </p:nvSpPr>
        <p:spPr>
          <a:xfrm>
            <a:off x="5616767" y="5864622"/>
            <a:ext cx="1691307" cy="374754"/>
          </a:xfrm>
          <a:prstGeom prst="rect">
            <a:avLst/>
          </a:prstGeom>
        </p:spPr>
        <p:txBody>
          <a:bodyPr vert="horz" wrap="square" lIns="0" tIns="0" rIns="0" bIns="18288"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b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b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p>
        </p:txBody>
      </p:sp>
      <p:sp>
        <p:nvSpPr>
          <p:cNvPr id="38" name="TextBox 47">
            <a:extLst>
              <a:ext uri="{FF2B5EF4-FFF2-40B4-BE49-F238E27FC236}">
                <a16:creationId xmlns:a16="http://schemas.microsoft.com/office/drawing/2014/main" id="{0BA050C6-1712-42AA-41F1-DEBAC30863EC}"/>
              </a:ext>
            </a:extLst>
          </p:cNvPr>
          <p:cNvSpPr txBox="1">
            <a:spLocks/>
          </p:cNvSpPr>
          <p:nvPr>
            <p:custDataLst>
              <p:tags r:id="rId30"/>
            </p:custDataLst>
          </p:nvPr>
        </p:nvSpPr>
        <p:spPr>
          <a:xfrm>
            <a:off x="10107365" y="1954814"/>
            <a:ext cx="2084634" cy="861774"/>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t>Energieeffizienz</a:t>
            </a:r>
            <a:br>
              <a:rPr kumimoji="0" lang="en-DE" sz="1400" b="1" i="0" u="none" strike="noStrike" kern="1200" cap="none" spc="0" normalizeH="0" baseline="0" noProof="0" dirty="0">
                <a:ln>
                  <a:noFill/>
                </a:ln>
                <a:solidFill>
                  <a:srgbClr val="000000"/>
                </a:solidFill>
                <a:effectLst/>
                <a:uLnTx/>
                <a:uFillTx/>
                <a:latin typeface="Bahnschrift" panose="020B0502040204020203" pitchFamily="34" charset="0"/>
              </a:rPr>
            </a:b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t>und</a:t>
            </a:r>
            <a:r>
              <a:rPr kumimoji="0" lang="en-DE" sz="1400" b="1" i="0" u="none" strike="noStrike" kern="1200" cap="none" spc="0" normalizeH="0" baseline="0" noProof="0" dirty="0">
                <a:ln>
                  <a:noFill/>
                </a:ln>
                <a:solidFill>
                  <a:srgbClr val="000000"/>
                </a:solidFill>
                <a:effectLst/>
                <a:uLnTx/>
                <a:uFillTx/>
                <a:latin typeface="Bahnschrift" panose="020B0502040204020203" pitchFamily="34" charset="0"/>
              </a:rPr>
              <a:t> </a:t>
            </a: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t>-einsparung, Zirkularität und</a:t>
            </a:r>
            <a:br>
              <a:rPr kumimoji="0" lang="en-DE" sz="1400" b="1" i="0" u="none" strike="noStrike" kern="1200" cap="none" spc="0" normalizeH="0" baseline="0" noProof="0" dirty="0">
                <a:ln>
                  <a:noFill/>
                </a:ln>
                <a:solidFill>
                  <a:srgbClr val="000000"/>
                </a:solidFill>
                <a:effectLst/>
                <a:uLnTx/>
                <a:uFillTx/>
                <a:latin typeface="Bahnschrift" panose="020B0502040204020203" pitchFamily="34" charset="0"/>
              </a:rPr>
            </a:b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t>CO</a:t>
            </a:r>
            <a:r>
              <a:rPr kumimoji="0" lang="de-DE" sz="1400" b="1" i="0" u="none" strike="noStrike" kern="1200" cap="none" spc="0" normalizeH="0" baseline="-25000" noProof="0" dirty="0">
                <a:ln>
                  <a:noFill/>
                </a:ln>
                <a:solidFill>
                  <a:srgbClr val="000000"/>
                </a:solidFill>
                <a:effectLst/>
                <a:uLnTx/>
                <a:uFillTx/>
                <a:latin typeface="Bahnschrift" panose="020B0502040204020203" pitchFamily="34" charset="0"/>
              </a:rPr>
              <a:t>2</a:t>
            </a: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t> Management</a:t>
            </a:r>
          </a:p>
        </p:txBody>
      </p:sp>
      <p:sp>
        <p:nvSpPr>
          <p:cNvPr id="39" name="TrackerNumBlue 17">
            <a:extLst>
              <a:ext uri="{FF2B5EF4-FFF2-40B4-BE49-F238E27FC236}">
                <a16:creationId xmlns:a16="http://schemas.microsoft.com/office/drawing/2014/main" id="{FFDE7657-A649-C031-E327-6FB35382008B}"/>
              </a:ext>
            </a:extLst>
          </p:cNvPr>
          <p:cNvSpPr/>
          <p:nvPr>
            <p:custDataLst>
              <p:tags r:id="rId31"/>
            </p:custDataLst>
          </p:nvPr>
        </p:nvSpPr>
        <p:spPr>
          <a:xfrm>
            <a:off x="9837421" y="1669501"/>
            <a:ext cx="269944" cy="269944"/>
          </a:xfrm>
          <a:prstGeom prst="ellipse">
            <a:avLst/>
          </a:prstGeom>
          <a:solidFill>
            <a:schemeClr val="accent5"/>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FFFFFF"/>
              </a:buClr>
              <a:buSzTx/>
              <a:buFontTx/>
              <a:buNone/>
              <a:tabLst/>
              <a:defRPr/>
            </a:pPr>
            <a:r>
              <a:rPr kumimoji="0" lang="de-DE" sz="1200" b="0" i="0" u="none" strike="noStrike" kern="1200" cap="none" spc="0" normalizeH="0" baseline="0" noProof="0" dirty="0">
                <a:ln>
                  <a:noFill/>
                </a:ln>
                <a:solidFill>
                  <a:srgbClr val="FFFFFF"/>
                </a:solidFill>
                <a:effectLst/>
                <a:uLnTx/>
                <a:uFillTx/>
                <a:latin typeface="Bahnschrift" panose="020B0502040204020203" pitchFamily="34" charset="0"/>
              </a:rPr>
              <a:t>4</a:t>
            </a:r>
          </a:p>
        </p:txBody>
      </p:sp>
      <p:sp>
        <p:nvSpPr>
          <p:cNvPr id="40" name="TextBox 144">
            <a:extLst>
              <a:ext uri="{FF2B5EF4-FFF2-40B4-BE49-F238E27FC236}">
                <a16:creationId xmlns:a16="http://schemas.microsoft.com/office/drawing/2014/main" id="{EC2330A8-CAFC-B9D0-B13F-3A3EE35764F9}"/>
              </a:ext>
            </a:extLst>
          </p:cNvPr>
          <p:cNvSpPr txBox="1">
            <a:spLocks/>
          </p:cNvSpPr>
          <p:nvPr>
            <p:custDataLst>
              <p:tags r:id="rId32"/>
            </p:custDataLst>
          </p:nvPr>
        </p:nvSpPr>
        <p:spPr>
          <a:xfrm>
            <a:off x="9946060" y="2991966"/>
            <a:ext cx="1691307" cy="374754"/>
          </a:xfrm>
          <a:prstGeom prst="rect">
            <a:avLst/>
          </a:prstGeom>
        </p:spPr>
        <p:txBody>
          <a:bodyPr vert="horz" wrap="square" lIns="0" tIns="0" rIns="0" bIns="18288"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b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b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p>
        </p:txBody>
      </p:sp>
      <p:sp>
        <p:nvSpPr>
          <p:cNvPr id="41" name="TextBox 145">
            <a:extLst>
              <a:ext uri="{FF2B5EF4-FFF2-40B4-BE49-F238E27FC236}">
                <a16:creationId xmlns:a16="http://schemas.microsoft.com/office/drawing/2014/main" id="{352103C3-464E-CBC4-9E00-5B47BBD147C4}"/>
              </a:ext>
            </a:extLst>
          </p:cNvPr>
          <p:cNvSpPr txBox="1">
            <a:spLocks/>
          </p:cNvSpPr>
          <p:nvPr>
            <p:custDataLst>
              <p:tags r:id="rId33"/>
            </p:custDataLst>
          </p:nvPr>
        </p:nvSpPr>
        <p:spPr>
          <a:xfrm>
            <a:off x="9946060" y="3563327"/>
            <a:ext cx="1691307" cy="374754"/>
          </a:xfrm>
          <a:prstGeom prst="rect">
            <a:avLst/>
          </a:prstGeom>
        </p:spPr>
        <p:txBody>
          <a:bodyPr vert="horz" wrap="square" lIns="0" tIns="0" rIns="0" bIns="18288"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b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b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p>
        </p:txBody>
      </p:sp>
      <p:sp>
        <p:nvSpPr>
          <p:cNvPr id="42" name="TextBox 146">
            <a:extLst>
              <a:ext uri="{FF2B5EF4-FFF2-40B4-BE49-F238E27FC236}">
                <a16:creationId xmlns:a16="http://schemas.microsoft.com/office/drawing/2014/main" id="{5AD9304B-56E7-B57E-6E5B-8DA380005FA1}"/>
              </a:ext>
            </a:extLst>
          </p:cNvPr>
          <p:cNvSpPr txBox="1">
            <a:spLocks/>
          </p:cNvSpPr>
          <p:nvPr>
            <p:custDataLst>
              <p:tags r:id="rId34"/>
            </p:custDataLst>
          </p:nvPr>
        </p:nvSpPr>
        <p:spPr>
          <a:xfrm>
            <a:off x="9946060" y="4142614"/>
            <a:ext cx="1691307" cy="374754"/>
          </a:xfrm>
          <a:prstGeom prst="rect">
            <a:avLst/>
          </a:prstGeom>
        </p:spPr>
        <p:txBody>
          <a:bodyPr vert="horz" wrap="square" lIns="0" tIns="0" rIns="0" bIns="18288"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b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b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p>
        </p:txBody>
      </p:sp>
      <p:sp>
        <p:nvSpPr>
          <p:cNvPr id="43" name="TextBox 147">
            <a:extLst>
              <a:ext uri="{FF2B5EF4-FFF2-40B4-BE49-F238E27FC236}">
                <a16:creationId xmlns:a16="http://schemas.microsoft.com/office/drawing/2014/main" id="{7CA1F5A6-115D-E7CB-D757-A3DF84DA71C1}"/>
              </a:ext>
            </a:extLst>
          </p:cNvPr>
          <p:cNvSpPr txBox="1">
            <a:spLocks/>
          </p:cNvSpPr>
          <p:nvPr>
            <p:custDataLst>
              <p:tags r:id="rId35"/>
            </p:custDataLst>
          </p:nvPr>
        </p:nvSpPr>
        <p:spPr>
          <a:xfrm>
            <a:off x="9946060" y="4713975"/>
            <a:ext cx="1691307" cy="374754"/>
          </a:xfrm>
          <a:prstGeom prst="rect">
            <a:avLst/>
          </a:prstGeom>
        </p:spPr>
        <p:txBody>
          <a:bodyPr vert="horz" wrap="square" lIns="0" tIns="0" rIns="0" bIns="18288"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b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b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p>
        </p:txBody>
      </p:sp>
      <p:sp>
        <p:nvSpPr>
          <p:cNvPr id="44" name="TextBox 148">
            <a:extLst>
              <a:ext uri="{FF2B5EF4-FFF2-40B4-BE49-F238E27FC236}">
                <a16:creationId xmlns:a16="http://schemas.microsoft.com/office/drawing/2014/main" id="{97E1DAF6-C4A9-E54C-E698-FB17276CA4DF}"/>
              </a:ext>
            </a:extLst>
          </p:cNvPr>
          <p:cNvSpPr txBox="1">
            <a:spLocks/>
          </p:cNvSpPr>
          <p:nvPr>
            <p:custDataLst>
              <p:tags r:id="rId36"/>
            </p:custDataLst>
          </p:nvPr>
        </p:nvSpPr>
        <p:spPr>
          <a:xfrm>
            <a:off x="9946060" y="5293262"/>
            <a:ext cx="1691307" cy="374754"/>
          </a:xfrm>
          <a:prstGeom prst="rect">
            <a:avLst/>
          </a:prstGeom>
        </p:spPr>
        <p:txBody>
          <a:bodyPr vert="horz" wrap="square" lIns="0" tIns="0" rIns="0" bIns="18288"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b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b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p>
        </p:txBody>
      </p:sp>
      <p:sp>
        <p:nvSpPr>
          <p:cNvPr id="45" name="TextBox 149">
            <a:extLst>
              <a:ext uri="{FF2B5EF4-FFF2-40B4-BE49-F238E27FC236}">
                <a16:creationId xmlns:a16="http://schemas.microsoft.com/office/drawing/2014/main" id="{A6BA9A20-1274-3EF3-072D-3D7ACA75AC3B}"/>
              </a:ext>
            </a:extLst>
          </p:cNvPr>
          <p:cNvSpPr txBox="1">
            <a:spLocks/>
          </p:cNvSpPr>
          <p:nvPr>
            <p:custDataLst>
              <p:tags r:id="rId37"/>
            </p:custDataLst>
          </p:nvPr>
        </p:nvSpPr>
        <p:spPr>
          <a:xfrm>
            <a:off x="9946060" y="5864622"/>
            <a:ext cx="1691307" cy="374754"/>
          </a:xfrm>
          <a:prstGeom prst="rect">
            <a:avLst/>
          </a:prstGeom>
        </p:spPr>
        <p:txBody>
          <a:bodyPr vert="horz" wrap="square" lIns="0" tIns="0" rIns="0" bIns="18288"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b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b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p>
        </p:txBody>
      </p:sp>
      <p:sp>
        <p:nvSpPr>
          <p:cNvPr id="46" name="TextBox 41">
            <a:extLst>
              <a:ext uri="{FF2B5EF4-FFF2-40B4-BE49-F238E27FC236}">
                <a16:creationId xmlns:a16="http://schemas.microsoft.com/office/drawing/2014/main" id="{FC99295E-1D9C-41A1-D98D-E50B7F34AD06}"/>
              </a:ext>
            </a:extLst>
          </p:cNvPr>
          <p:cNvSpPr txBox="1">
            <a:spLocks/>
          </p:cNvSpPr>
          <p:nvPr>
            <p:custDataLst>
              <p:tags r:id="rId38"/>
            </p:custDataLst>
          </p:nvPr>
        </p:nvSpPr>
        <p:spPr>
          <a:xfrm>
            <a:off x="7551609" y="1687697"/>
            <a:ext cx="2204788" cy="1154162"/>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endPar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endParaRP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t>Klimaneutraler Wasserstoff &amp; Kraftstoffe zu wettbewerbsfähigen Kosten </a:t>
            </a:r>
          </a:p>
        </p:txBody>
      </p:sp>
      <p:sp>
        <p:nvSpPr>
          <p:cNvPr id="47" name="TrackerNumBlue 17">
            <a:extLst>
              <a:ext uri="{FF2B5EF4-FFF2-40B4-BE49-F238E27FC236}">
                <a16:creationId xmlns:a16="http://schemas.microsoft.com/office/drawing/2014/main" id="{5BAD248D-9A7B-6F91-E66A-846BB6BF09C7}"/>
              </a:ext>
            </a:extLst>
          </p:cNvPr>
          <p:cNvSpPr/>
          <p:nvPr>
            <p:custDataLst>
              <p:tags r:id="rId39"/>
            </p:custDataLst>
          </p:nvPr>
        </p:nvSpPr>
        <p:spPr>
          <a:xfrm>
            <a:off x="7708987" y="1669501"/>
            <a:ext cx="269944" cy="269944"/>
          </a:xfrm>
          <a:prstGeom prst="ellipse">
            <a:avLst/>
          </a:prstGeom>
          <a:solidFill>
            <a:schemeClr val="accent4"/>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FFFFFF"/>
              </a:buClr>
              <a:buSzTx/>
              <a:buFontTx/>
              <a:buNone/>
              <a:tabLst/>
              <a:defRPr/>
            </a:pPr>
            <a:r>
              <a:rPr kumimoji="0" lang="de-DE" sz="1200" b="0" i="0" u="none" strike="noStrike" kern="1200" cap="none" spc="0" normalizeH="0" baseline="0" noProof="0" dirty="0">
                <a:ln>
                  <a:noFill/>
                </a:ln>
                <a:solidFill>
                  <a:srgbClr val="FFFFFF"/>
                </a:solidFill>
                <a:effectLst/>
                <a:uLnTx/>
                <a:uFillTx/>
                <a:latin typeface="Bahnschrift" panose="020B0502040204020203" pitchFamily="34" charset="0"/>
              </a:rPr>
              <a:t>3</a:t>
            </a:r>
          </a:p>
        </p:txBody>
      </p:sp>
      <p:sp>
        <p:nvSpPr>
          <p:cNvPr id="48" name="TextBox 151">
            <a:extLst>
              <a:ext uri="{FF2B5EF4-FFF2-40B4-BE49-F238E27FC236}">
                <a16:creationId xmlns:a16="http://schemas.microsoft.com/office/drawing/2014/main" id="{4E46895C-3A06-743C-9375-A701F2968622}"/>
              </a:ext>
            </a:extLst>
          </p:cNvPr>
          <p:cNvSpPr txBox="1">
            <a:spLocks/>
          </p:cNvSpPr>
          <p:nvPr>
            <p:custDataLst>
              <p:tags r:id="rId40"/>
            </p:custDataLst>
          </p:nvPr>
        </p:nvSpPr>
        <p:spPr>
          <a:xfrm>
            <a:off x="7781412" y="2991966"/>
            <a:ext cx="1691307" cy="374754"/>
          </a:xfrm>
          <a:prstGeom prst="rect">
            <a:avLst/>
          </a:prstGeom>
        </p:spPr>
        <p:txBody>
          <a:bodyPr vert="horz" wrap="square" lIns="0" tIns="0" rIns="0" bIns="18288"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b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b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p>
        </p:txBody>
      </p:sp>
      <p:sp>
        <p:nvSpPr>
          <p:cNvPr id="49" name="TextBox 152">
            <a:extLst>
              <a:ext uri="{FF2B5EF4-FFF2-40B4-BE49-F238E27FC236}">
                <a16:creationId xmlns:a16="http://schemas.microsoft.com/office/drawing/2014/main" id="{5374FB96-CAFE-8424-AAB5-25F3A62F535B}"/>
              </a:ext>
            </a:extLst>
          </p:cNvPr>
          <p:cNvSpPr txBox="1">
            <a:spLocks/>
          </p:cNvSpPr>
          <p:nvPr>
            <p:custDataLst>
              <p:tags r:id="rId41"/>
            </p:custDataLst>
          </p:nvPr>
        </p:nvSpPr>
        <p:spPr>
          <a:xfrm>
            <a:off x="7781412" y="3563327"/>
            <a:ext cx="1691307" cy="374754"/>
          </a:xfrm>
          <a:prstGeom prst="rect">
            <a:avLst/>
          </a:prstGeom>
        </p:spPr>
        <p:txBody>
          <a:bodyPr vert="horz" wrap="square" lIns="0" tIns="0" rIns="0" bIns="18288"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b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b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p>
        </p:txBody>
      </p:sp>
      <p:sp>
        <p:nvSpPr>
          <p:cNvPr id="50" name="TextBox 153">
            <a:extLst>
              <a:ext uri="{FF2B5EF4-FFF2-40B4-BE49-F238E27FC236}">
                <a16:creationId xmlns:a16="http://schemas.microsoft.com/office/drawing/2014/main" id="{5976603E-335C-1796-988D-DBC9C0B028A1}"/>
              </a:ext>
            </a:extLst>
          </p:cNvPr>
          <p:cNvSpPr txBox="1">
            <a:spLocks/>
          </p:cNvSpPr>
          <p:nvPr>
            <p:custDataLst>
              <p:tags r:id="rId42"/>
            </p:custDataLst>
          </p:nvPr>
        </p:nvSpPr>
        <p:spPr>
          <a:xfrm>
            <a:off x="7781412" y="4142614"/>
            <a:ext cx="1691307" cy="374754"/>
          </a:xfrm>
          <a:prstGeom prst="rect">
            <a:avLst/>
          </a:prstGeom>
        </p:spPr>
        <p:txBody>
          <a:bodyPr vert="horz" wrap="square" lIns="0" tIns="0" rIns="0" bIns="18288"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b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b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p>
        </p:txBody>
      </p:sp>
      <p:sp>
        <p:nvSpPr>
          <p:cNvPr id="51" name="TextBox 154">
            <a:extLst>
              <a:ext uri="{FF2B5EF4-FFF2-40B4-BE49-F238E27FC236}">
                <a16:creationId xmlns:a16="http://schemas.microsoft.com/office/drawing/2014/main" id="{3E31DB7E-0C52-BD1C-7690-E85D520BD662}"/>
              </a:ext>
            </a:extLst>
          </p:cNvPr>
          <p:cNvSpPr txBox="1">
            <a:spLocks/>
          </p:cNvSpPr>
          <p:nvPr>
            <p:custDataLst>
              <p:tags r:id="rId43"/>
            </p:custDataLst>
          </p:nvPr>
        </p:nvSpPr>
        <p:spPr>
          <a:xfrm>
            <a:off x="7781412" y="4713975"/>
            <a:ext cx="1691307" cy="374754"/>
          </a:xfrm>
          <a:prstGeom prst="rect">
            <a:avLst/>
          </a:prstGeom>
        </p:spPr>
        <p:txBody>
          <a:bodyPr vert="horz" wrap="square" lIns="0" tIns="0" rIns="0" bIns="18288"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b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b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p>
        </p:txBody>
      </p:sp>
      <p:sp>
        <p:nvSpPr>
          <p:cNvPr id="52" name="TextBox 155">
            <a:extLst>
              <a:ext uri="{FF2B5EF4-FFF2-40B4-BE49-F238E27FC236}">
                <a16:creationId xmlns:a16="http://schemas.microsoft.com/office/drawing/2014/main" id="{8E737B24-F0E8-5EFF-F569-B650D3411ADE}"/>
              </a:ext>
            </a:extLst>
          </p:cNvPr>
          <p:cNvSpPr txBox="1">
            <a:spLocks/>
          </p:cNvSpPr>
          <p:nvPr>
            <p:custDataLst>
              <p:tags r:id="rId44"/>
            </p:custDataLst>
          </p:nvPr>
        </p:nvSpPr>
        <p:spPr>
          <a:xfrm>
            <a:off x="7781412" y="5293262"/>
            <a:ext cx="1691307" cy="374754"/>
          </a:xfrm>
          <a:prstGeom prst="rect">
            <a:avLst/>
          </a:prstGeom>
        </p:spPr>
        <p:txBody>
          <a:bodyPr vert="horz" wrap="square" lIns="0" tIns="0" rIns="0" bIns="18288"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b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b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p>
        </p:txBody>
      </p:sp>
      <p:sp>
        <p:nvSpPr>
          <p:cNvPr id="53" name="TextBox 156">
            <a:extLst>
              <a:ext uri="{FF2B5EF4-FFF2-40B4-BE49-F238E27FC236}">
                <a16:creationId xmlns:a16="http://schemas.microsoft.com/office/drawing/2014/main" id="{17CF3A06-FB37-CF13-5D36-0174635F1872}"/>
              </a:ext>
            </a:extLst>
          </p:cNvPr>
          <p:cNvSpPr txBox="1">
            <a:spLocks/>
          </p:cNvSpPr>
          <p:nvPr>
            <p:custDataLst>
              <p:tags r:id="rId45"/>
            </p:custDataLst>
          </p:nvPr>
        </p:nvSpPr>
        <p:spPr>
          <a:xfrm>
            <a:off x="7781412" y="5864622"/>
            <a:ext cx="1691307" cy="374754"/>
          </a:xfrm>
          <a:prstGeom prst="rect">
            <a:avLst/>
          </a:prstGeom>
        </p:spPr>
        <p:txBody>
          <a:bodyPr vert="horz" wrap="square" lIns="0" tIns="0" rIns="0" bIns="18288" rtlCol="0" anchor="t">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b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br>
            <a:r>
              <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rPr>
              <a:t>…</a:t>
            </a:r>
          </a:p>
        </p:txBody>
      </p:sp>
      <p:cxnSp>
        <p:nvCxnSpPr>
          <p:cNvPr id="54" name="LineSeparatorDefault 22">
            <a:extLst>
              <a:ext uri="{FF2B5EF4-FFF2-40B4-BE49-F238E27FC236}">
                <a16:creationId xmlns:a16="http://schemas.microsoft.com/office/drawing/2014/main" id="{27868CB5-00CF-09E8-3BAB-1ABB1671F4F0}"/>
              </a:ext>
            </a:extLst>
          </p:cNvPr>
          <p:cNvCxnSpPr>
            <a:cxnSpLocks/>
          </p:cNvCxnSpPr>
          <p:nvPr>
            <p:custDataLst>
              <p:tags r:id="rId46"/>
            </p:custDataLst>
          </p:nvPr>
        </p:nvCxnSpPr>
        <p:spPr>
          <a:xfrm>
            <a:off x="2218181" y="3465023"/>
            <a:ext cx="941918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5" name="LineSeparatorDefault 22">
            <a:extLst>
              <a:ext uri="{FF2B5EF4-FFF2-40B4-BE49-F238E27FC236}">
                <a16:creationId xmlns:a16="http://schemas.microsoft.com/office/drawing/2014/main" id="{23A19B7E-B3C9-D8B6-03C3-DADB74052ABE}"/>
              </a:ext>
            </a:extLst>
          </p:cNvPr>
          <p:cNvCxnSpPr>
            <a:cxnSpLocks/>
          </p:cNvCxnSpPr>
          <p:nvPr>
            <p:custDataLst>
              <p:tags r:id="rId47"/>
            </p:custDataLst>
          </p:nvPr>
        </p:nvCxnSpPr>
        <p:spPr>
          <a:xfrm>
            <a:off x="2218181" y="4615671"/>
            <a:ext cx="941918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6" name="LineSeparatorDefault 22">
            <a:extLst>
              <a:ext uri="{FF2B5EF4-FFF2-40B4-BE49-F238E27FC236}">
                <a16:creationId xmlns:a16="http://schemas.microsoft.com/office/drawing/2014/main" id="{3D986FC3-61D1-B7FF-7E86-721F67B70596}"/>
              </a:ext>
            </a:extLst>
          </p:cNvPr>
          <p:cNvCxnSpPr>
            <a:cxnSpLocks/>
          </p:cNvCxnSpPr>
          <p:nvPr>
            <p:custDataLst>
              <p:tags r:id="rId48"/>
            </p:custDataLst>
          </p:nvPr>
        </p:nvCxnSpPr>
        <p:spPr>
          <a:xfrm>
            <a:off x="2218181" y="5766319"/>
            <a:ext cx="941918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7" name="Rectangle 1">
            <a:extLst>
              <a:ext uri="{FF2B5EF4-FFF2-40B4-BE49-F238E27FC236}">
                <a16:creationId xmlns:a16="http://schemas.microsoft.com/office/drawing/2014/main" id="{6CEF02A7-F864-BF6C-1C4B-06947F101922}"/>
              </a:ext>
            </a:extLst>
          </p:cNvPr>
          <p:cNvSpPr/>
          <p:nvPr/>
        </p:nvSpPr>
        <p:spPr>
          <a:xfrm>
            <a:off x="3232928" y="2893663"/>
            <a:ext cx="8404437" cy="3345713"/>
          </a:xfrm>
          <a:prstGeom prst="rect">
            <a:avLst/>
          </a:prstGeom>
          <a:solidFill>
            <a:srgbClr val="E6E6E6">
              <a:alpha val="63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800" b="1" i="0" u="none" strike="noStrike" kern="1200" cap="none" spc="0" normalizeH="0" baseline="0" noProof="0" dirty="0">
              <a:ln>
                <a:noFill/>
              </a:ln>
              <a:solidFill>
                <a:srgbClr val="FFFFFF"/>
              </a:solidFill>
              <a:effectLst/>
              <a:uLnTx/>
              <a:uFillTx/>
              <a:latin typeface="Bahnschrift" panose="020B0502040204020203" pitchFamily="34" charset="0"/>
            </a:endParaRPr>
          </a:p>
        </p:txBody>
      </p:sp>
      <p:sp>
        <p:nvSpPr>
          <p:cNvPr id="58" name="Rectangle 22">
            <a:extLst>
              <a:ext uri="{FF2B5EF4-FFF2-40B4-BE49-F238E27FC236}">
                <a16:creationId xmlns:a16="http://schemas.microsoft.com/office/drawing/2014/main" id="{E6C5BF19-C4AA-44E9-4665-1B342D313BB2}"/>
              </a:ext>
            </a:extLst>
          </p:cNvPr>
          <p:cNvSpPr/>
          <p:nvPr/>
        </p:nvSpPr>
        <p:spPr>
          <a:xfrm>
            <a:off x="3219189" y="1607345"/>
            <a:ext cx="8421123" cy="1278384"/>
          </a:xfrm>
          <a:prstGeom prst="rect">
            <a:avLst/>
          </a:prstGeom>
          <a:noFill/>
          <a:ln w="6350" cap="sq">
            <a:solidFill>
              <a:schemeClr val="accent3"/>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de-DE" sz="1600" b="0" i="0" u="none" strike="noStrike" kern="1200" cap="none" spc="0" normalizeH="0" baseline="0" noProof="0" dirty="0" err="1">
              <a:ln>
                <a:noFill/>
              </a:ln>
              <a:solidFill>
                <a:srgbClr val="FFFFFF"/>
              </a:solidFill>
              <a:effectLst/>
              <a:uLnTx/>
              <a:uFillTx/>
              <a:latin typeface="Bahnschrift" panose="020B0502040204020203" pitchFamily="34" charset="0"/>
            </a:endParaRPr>
          </a:p>
        </p:txBody>
      </p:sp>
      <p:sp>
        <p:nvSpPr>
          <p:cNvPr id="59" name="TrackerAlphaBlue 25">
            <a:extLst>
              <a:ext uri="{FF2B5EF4-FFF2-40B4-BE49-F238E27FC236}">
                <a16:creationId xmlns:a16="http://schemas.microsoft.com/office/drawing/2014/main" id="{A59D35C4-1D4B-422B-29EE-49FAA60D940D}"/>
              </a:ext>
            </a:extLst>
          </p:cNvPr>
          <p:cNvSpPr>
            <a:spLocks/>
          </p:cNvSpPr>
          <p:nvPr>
            <p:custDataLst>
              <p:tags r:id="rId49"/>
            </p:custDataLst>
          </p:nvPr>
        </p:nvSpPr>
        <p:spPr>
          <a:xfrm>
            <a:off x="3047979" y="1498291"/>
            <a:ext cx="342420" cy="34242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e-DE" sz="1800" b="0" i="0" u="none" strike="noStrike" kern="1200" cap="none" spc="0" normalizeH="0" baseline="0" noProof="0" dirty="0">
                <a:ln>
                  <a:noFill/>
                </a:ln>
                <a:solidFill>
                  <a:srgbClr val="FFFFFF"/>
                </a:solidFill>
                <a:effectLst/>
                <a:uLnTx/>
                <a:uFillTx/>
                <a:latin typeface="Bahnschrift" panose="020B0502040204020203" pitchFamily="34" charset="0"/>
              </a:rPr>
              <a:t>I</a:t>
            </a:r>
          </a:p>
        </p:txBody>
      </p:sp>
      <p:sp>
        <p:nvSpPr>
          <p:cNvPr id="60" name="TrackerAlphaBlue 25">
            <a:extLst>
              <a:ext uri="{FF2B5EF4-FFF2-40B4-BE49-F238E27FC236}">
                <a16:creationId xmlns:a16="http://schemas.microsoft.com/office/drawing/2014/main" id="{22B41FA0-8AB9-5715-D462-396F405F8551}"/>
              </a:ext>
            </a:extLst>
          </p:cNvPr>
          <p:cNvSpPr>
            <a:spLocks/>
          </p:cNvSpPr>
          <p:nvPr>
            <p:custDataLst>
              <p:tags r:id="rId50"/>
            </p:custDataLst>
          </p:nvPr>
        </p:nvSpPr>
        <p:spPr>
          <a:xfrm>
            <a:off x="177308" y="2714519"/>
            <a:ext cx="342420" cy="34242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e-DE" sz="1800" b="0" i="0" u="none" strike="noStrike" kern="1200" cap="none" spc="0" normalizeH="0" baseline="0" noProof="0" dirty="0">
                <a:ln>
                  <a:noFill/>
                </a:ln>
                <a:solidFill>
                  <a:srgbClr val="FFFFFF"/>
                </a:solidFill>
                <a:effectLst/>
                <a:uLnTx/>
                <a:uFillTx/>
                <a:latin typeface="Bahnschrift" panose="020B0502040204020203" pitchFamily="34" charset="0"/>
              </a:rPr>
              <a:t>II</a:t>
            </a:r>
          </a:p>
        </p:txBody>
      </p:sp>
      <p:sp>
        <p:nvSpPr>
          <p:cNvPr id="63" name="TextBox 77">
            <a:extLst>
              <a:ext uri="{FF2B5EF4-FFF2-40B4-BE49-F238E27FC236}">
                <a16:creationId xmlns:a16="http://schemas.microsoft.com/office/drawing/2014/main" id="{A2BB7E7E-3778-806B-F1B8-1911C040E82F}"/>
              </a:ext>
            </a:extLst>
          </p:cNvPr>
          <p:cNvSpPr txBox="1">
            <a:spLocks/>
          </p:cNvSpPr>
          <p:nvPr/>
        </p:nvSpPr>
        <p:spPr>
          <a:xfrm>
            <a:off x="4851990" y="3435861"/>
            <a:ext cx="5557464" cy="646331"/>
          </a:xfrm>
          <a:prstGeom prst="rect">
            <a:avLst/>
          </a:prstGeom>
          <a:noFill/>
          <a:ln w="6350">
            <a:noFill/>
            <a:miter lim="800000"/>
          </a:ln>
        </p:spPr>
        <p:txBody>
          <a:bodyPr wrap="square">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de-DE" sz="1800" b="1" i="0" u="none" strike="noStrike" kern="1200" cap="none" spc="0" normalizeH="0" baseline="0" noProof="0" dirty="0">
                <a:ln>
                  <a:noFill/>
                </a:ln>
                <a:solidFill>
                  <a:srgbClr val="4A66AC"/>
                </a:solidFill>
                <a:effectLst/>
                <a:uLnTx/>
                <a:uFillTx/>
                <a:latin typeface="Bahnschrift" panose="020B0502040204020203" pitchFamily="34" charset="0"/>
              </a:rPr>
              <a:t>Anhand von 4 - entlang der Wertschöpfungskette definierten - Bausteinen...</a:t>
            </a:r>
          </a:p>
        </p:txBody>
      </p:sp>
      <p:sp>
        <p:nvSpPr>
          <p:cNvPr id="64" name="TextBox 78">
            <a:extLst>
              <a:ext uri="{FF2B5EF4-FFF2-40B4-BE49-F238E27FC236}">
                <a16:creationId xmlns:a16="http://schemas.microsoft.com/office/drawing/2014/main" id="{391C5362-79CB-8D5E-2A59-37B1347CB30D}"/>
              </a:ext>
            </a:extLst>
          </p:cNvPr>
          <p:cNvSpPr txBox="1">
            <a:spLocks/>
          </p:cNvSpPr>
          <p:nvPr/>
        </p:nvSpPr>
        <p:spPr>
          <a:xfrm>
            <a:off x="4851990" y="4612310"/>
            <a:ext cx="5557464" cy="410768"/>
          </a:xfrm>
          <a:prstGeom prst="rect">
            <a:avLst/>
          </a:prstGeom>
          <a:noFill/>
          <a:ln w="6350">
            <a:noFill/>
            <a:miter lim="800000"/>
          </a:ln>
        </p:spPr>
        <p:txBody>
          <a:bodyPr wrap="square">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de-DE" sz="1800" b="0" i="0" u="none" strike="noStrike" kern="1200" cap="none" spc="0" normalizeH="0" baseline="0" noProof="0" dirty="0">
                <a:ln>
                  <a:noFill/>
                </a:ln>
                <a:solidFill>
                  <a:srgbClr val="4A66AC"/>
                </a:solidFill>
                <a:effectLst/>
                <a:uLnTx/>
                <a:uFillTx/>
                <a:latin typeface="Bahnschrift" panose="020B0502040204020203" pitchFamily="34" charset="0"/>
              </a:rPr>
              <a:t>... </a:t>
            </a:r>
            <a:r>
              <a:rPr kumimoji="0" lang="de-DE" sz="1800" b="1" i="0" u="none" strike="noStrike" kern="1200" cap="none" spc="0" normalizeH="0" baseline="0" noProof="0" dirty="0">
                <a:ln>
                  <a:noFill/>
                </a:ln>
                <a:solidFill>
                  <a:srgbClr val="4A66AC"/>
                </a:solidFill>
                <a:effectLst/>
                <a:uLnTx/>
                <a:uFillTx/>
                <a:latin typeface="Bahnschrift" panose="020B0502040204020203" pitchFamily="34" charset="0"/>
              </a:rPr>
              <a:t>werden Leitfragen und Maßnahmen erarbeitet</a:t>
            </a:r>
          </a:p>
        </p:txBody>
      </p:sp>
      <p:cxnSp>
        <p:nvCxnSpPr>
          <p:cNvPr id="65" name="Straight Connector 25">
            <a:extLst>
              <a:ext uri="{FF2B5EF4-FFF2-40B4-BE49-F238E27FC236}">
                <a16:creationId xmlns:a16="http://schemas.microsoft.com/office/drawing/2014/main" id="{BA851E45-87DB-48BB-F50A-DD3A2655067F}"/>
              </a:ext>
            </a:extLst>
          </p:cNvPr>
          <p:cNvCxnSpPr>
            <a:cxnSpLocks/>
          </p:cNvCxnSpPr>
          <p:nvPr/>
        </p:nvCxnSpPr>
        <p:spPr>
          <a:xfrm>
            <a:off x="6392009" y="2950473"/>
            <a:ext cx="0" cy="400721"/>
          </a:xfrm>
          <a:prstGeom prst="line">
            <a:avLst/>
          </a:prstGeom>
          <a:ln w="6350" cap="flat">
            <a:solidFill>
              <a:schemeClr val="tx1"/>
            </a:solidFill>
            <a:miter lim="800000"/>
            <a:headEnd type="oval"/>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89">
            <a:extLst>
              <a:ext uri="{FF2B5EF4-FFF2-40B4-BE49-F238E27FC236}">
                <a16:creationId xmlns:a16="http://schemas.microsoft.com/office/drawing/2014/main" id="{16F53CD4-445E-C73E-F719-8FBC6C829536}"/>
              </a:ext>
            </a:extLst>
          </p:cNvPr>
          <p:cNvCxnSpPr>
            <a:cxnSpLocks/>
          </p:cNvCxnSpPr>
          <p:nvPr/>
        </p:nvCxnSpPr>
        <p:spPr>
          <a:xfrm>
            <a:off x="4414016" y="4345747"/>
            <a:ext cx="0" cy="646331"/>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40">
            <a:extLst>
              <a:ext uri="{FF2B5EF4-FFF2-40B4-BE49-F238E27FC236}">
                <a16:creationId xmlns:a16="http://schemas.microsoft.com/office/drawing/2014/main" id="{FD31EC23-A0B1-A9C1-2B4F-B9E4F49DF353}"/>
              </a:ext>
            </a:extLst>
          </p:cNvPr>
          <p:cNvCxnSpPr>
            <a:cxnSpLocks/>
          </p:cNvCxnSpPr>
          <p:nvPr/>
        </p:nvCxnSpPr>
        <p:spPr>
          <a:xfrm flipH="1">
            <a:off x="2045494" y="4615783"/>
            <a:ext cx="2368523" cy="0"/>
          </a:xfrm>
          <a:prstGeom prst="line">
            <a:avLst/>
          </a:prstGeom>
          <a:ln w="6350" cap="flat">
            <a:solidFill>
              <a:schemeClr val="tx1"/>
            </a:solidFill>
            <a:miter lim="800000"/>
            <a:tailEnd type="oval"/>
          </a:ln>
        </p:spPr>
        <p:style>
          <a:lnRef idx="1">
            <a:schemeClr val="accent1"/>
          </a:lnRef>
          <a:fillRef idx="0">
            <a:schemeClr val="accent1"/>
          </a:fillRef>
          <a:effectRef idx="0">
            <a:schemeClr val="accent1"/>
          </a:effectRef>
          <a:fontRef idx="minor">
            <a:schemeClr val="tx1"/>
          </a:fontRef>
        </p:style>
      </p:cxnSp>
      <p:cxnSp>
        <p:nvCxnSpPr>
          <p:cNvPr id="68" name="Straight Connector 54">
            <a:extLst>
              <a:ext uri="{FF2B5EF4-FFF2-40B4-BE49-F238E27FC236}">
                <a16:creationId xmlns:a16="http://schemas.microsoft.com/office/drawing/2014/main" id="{EE97AAC7-25DB-3650-7C17-FF60C73FDB93}"/>
              </a:ext>
            </a:extLst>
          </p:cNvPr>
          <p:cNvCxnSpPr>
            <a:cxnSpLocks/>
          </p:cNvCxnSpPr>
          <p:nvPr/>
        </p:nvCxnSpPr>
        <p:spPr>
          <a:xfrm>
            <a:off x="4851990" y="3351194"/>
            <a:ext cx="5557464"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9" name="TextBox 3">
            <a:extLst>
              <a:ext uri="{FF2B5EF4-FFF2-40B4-BE49-F238E27FC236}">
                <a16:creationId xmlns:a16="http://schemas.microsoft.com/office/drawing/2014/main" id="{B498F570-2CDF-B10E-C25C-1AAD0F11E693}"/>
              </a:ext>
            </a:extLst>
          </p:cNvPr>
          <p:cNvSpPr txBox="1"/>
          <p:nvPr/>
        </p:nvSpPr>
        <p:spPr>
          <a:xfrm>
            <a:off x="548630" y="2301764"/>
            <a:ext cx="4064000"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rgbClr val="ED1C24"/>
              </a:buClr>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1" i="0" u="none" strike="noStrike" kern="1200" cap="none" spc="0" normalizeH="0" baseline="0" noProof="0" dirty="0">
                <a:ln>
                  <a:noFill/>
                </a:ln>
                <a:solidFill>
                  <a:srgbClr val="000000"/>
                </a:solidFill>
                <a:effectLst/>
                <a:uLnTx/>
                <a:uFillTx/>
                <a:latin typeface="Bahnschrift" panose="020B0502040204020203" pitchFamily="34" charset="0"/>
              </a:rPr>
              <a:t>Maßnahmenbereiche</a:t>
            </a:r>
          </a:p>
        </p:txBody>
      </p:sp>
      <p:sp>
        <p:nvSpPr>
          <p:cNvPr id="70" name="TextBox 70">
            <a:extLst>
              <a:ext uri="{FF2B5EF4-FFF2-40B4-BE49-F238E27FC236}">
                <a16:creationId xmlns:a16="http://schemas.microsoft.com/office/drawing/2014/main" id="{125C91F1-1493-76A0-3EF1-DB172B1EA2A3}"/>
              </a:ext>
            </a:extLst>
          </p:cNvPr>
          <p:cNvSpPr txBox="1"/>
          <p:nvPr/>
        </p:nvSpPr>
        <p:spPr>
          <a:xfrm>
            <a:off x="3165392" y="1190482"/>
            <a:ext cx="5371779"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rgbClr val="ED1C24"/>
              </a:buClr>
              <a:buSzPct val="100000"/>
              <a:buFont typeface="Arial" panose="020B0604020202020204" pitchFamily="34" charset="0"/>
              <a:buChar char="•"/>
              <a:defRPr lang="en-US" sz="1600" dirty="0"/>
            </a:lvl2pPr>
            <a:lvl3pPr marL="365760" lvl="2" indent="-182880">
              <a:lnSpc>
                <a:spcPct val="100000"/>
              </a:lnSpc>
              <a:spcBef>
                <a:spcPts val="0"/>
              </a:spcBef>
              <a:spcAft>
                <a:spcPts val="300"/>
              </a:spcAft>
              <a:buClrTx/>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Tx/>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Tx/>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1" i="0" u="none" strike="noStrike" kern="1200" cap="none" spc="0" normalizeH="0" baseline="0" noProof="0" dirty="0">
                <a:ln>
                  <a:noFill/>
                </a:ln>
                <a:solidFill>
                  <a:srgbClr val="000000"/>
                </a:solidFill>
                <a:effectLst/>
                <a:uLnTx/>
                <a:uFillTx/>
                <a:latin typeface="Bahnschrift" panose="020B0502040204020203" pitchFamily="34" charset="0"/>
              </a:rPr>
              <a:t>Bausteine entlang der Wertschöpfungskette</a:t>
            </a:r>
          </a:p>
        </p:txBody>
      </p:sp>
    </p:spTree>
    <p:extLst>
      <p:ext uri="{BB962C8B-B14F-4D97-AF65-F5344CB8AC3E}">
        <p14:creationId xmlns:p14="http://schemas.microsoft.com/office/powerpoint/2010/main" val="15840035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Grafik 27">
            <a:extLst>
              <a:ext uri="{FF2B5EF4-FFF2-40B4-BE49-F238E27FC236}">
                <a16:creationId xmlns:a16="http://schemas.microsoft.com/office/drawing/2014/main" id="{E3459ADA-8C73-4B02-FA9E-F17184CC9B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85464" y="2498650"/>
            <a:ext cx="8408841" cy="4728495"/>
          </a:xfrm>
          <a:prstGeom prst="rect">
            <a:avLst/>
          </a:prstGeom>
        </p:spPr>
      </p:pic>
      <p:pic>
        <p:nvPicPr>
          <p:cNvPr id="5" name="Grafik 4">
            <a:extLst>
              <a:ext uri="{FF2B5EF4-FFF2-40B4-BE49-F238E27FC236}">
                <a16:creationId xmlns:a16="http://schemas.microsoft.com/office/drawing/2014/main" id="{AF408618-3B00-FEA4-3A2E-757B9AA9980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85464" y="2498650"/>
            <a:ext cx="8408841" cy="4728495"/>
          </a:xfrm>
          <a:prstGeom prst="rect">
            <a:avLst/>
          </a:prstGeom>
        </p:spPr>
      </p:pic>
      <p:pic>
        <p:nvPicPr>
          <p:cNvPr id="30" name="Grafik 29">
            <a:extLst>
              <a:ext uri="{FF2B5EF4-FFF2-40B4-BE49-F238E27FC236}">
                <a16:creationId xmlns:a16="http://schemas.microsoft.com/office/drawing/2014/main" id="{EE2F4AC2-C7B5-6F99-D3F6-C165899C3A6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585464" y="2498650"/>
            <a:ext cx="8408841" cy="4728495"/>
          </a:xfrm>
          <a:prstGeom prst="rect">
            <a:avLst/>
          </a:prstGeom>
        </p:spPr>
      </p:pic>
      <p:pic>
        <p:nvPicPr>
          <p:cNvPr id="32" name="Grafik 31">
            <a:extLst>
              <a:ext uri="{FF2B5EF4-FFF2-40B4-BE49-F238E27FC236}">
                <a16:creationId xmlns:a16="http://schemas.microsoft.com/office/drawing/2014/main" id="{C0ED4F13-3352-177D-286B-0DA04F2CC1A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585464" y="2498650"/>
            <a:ext cx="8408841" cy="4728495"/>
          </a:xfrm>
          <a:prstGeom prst="rect">
            <a:avLst/>
          </a:prstGeom>
        </p:spPr>
      </p:pic>
      <p:pic>
        <p:nvPicPr>
          <p:cNvPr id="34" name="Grafik 33">
            <a:extLst>
              <a:ext uri="{FF2B5EF4-FFF2-40B4-BE49-F238E27FC236}">
                <a16:creationId xmlns:a16="http://schemas.microsoft.com/office/drawing/2014/main" id="{D1101BF6-3E16-A141-710F-B74D86A0D06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585464" y="2498650"/>
            <a:ext cx="8408841" cy="4728495"/>
          </a:xfrm>
          <a:prstGeom prst="rect">
            <a:avLst/>
          </a:prstGeom>
        </p:spPr>
      </p:pic>
      <p:pic>
        <p:nvPicPr>
          <p:cNvPr id="36" name="Grafik 35" descr="Ein Bild, das Text, Vektorgrafiken enthält.&#10;&#10;Automatisch generierte Beschreibung">
            <a:extLst>
              <a:ext uri="{FF2B5EF4-FFF2-40B4-BE49-F238E27FC236}">
                <a16:creationId xmlns:a16="http://schemas.microsoft.com/office/drawing/2014/main" id="{9B97BC7C-DCA4-05EA-E9AA-AEA0B15CEB1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585464" y="2498650"/>
            <a:ext cx="8408841" cy="4728495"/>
          </a:xfrm>
          <a:prstGeom prst="rect">
            <a:avLst/>
          </a:prstGeom>
        </p:spPr>
      </p:pic>
      <p:graphicFrame>
        <p:nvGraphicFramePr>
          <p:cNvPr id="7" name="Object 6" hidden="1">
            <a:extLst>
              <a:ext uri="{FF2B5EF4-FFF2-40B4-BE49-F238E27FC236}">
                <a16:creationId xmlns:a16="http://schemas.microsoft.com/office/drawing/2014/main" id="{3CD4AF99-FBB1-4CF6-92DD-5D4E59EAA709}"/>
              </a:ext>
            </a:extLst>
          </p:cNvPr>
          <p:cNvGraphicFramePr>
            <a:graphicFrameLocks noChangeAspect="1"/>
          </p:cNvGraphicFramePr>
          <p:nvPr>
            <p:custDataLst>
              <p:tags r:id="rId1"/>
            </p:custDataLst>
            <p:extLst>
              <p:ext uri="{D42A27DB-BD31-4B8C-83A1-F6EECF244321}">
                <p14:modId xmlns:p14="http://schemas.microsoft.com/office/powerpoint/2010/main" val="2587580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27" imgH="327" progId="TCLayout.ActiveDocument.1">
                  <p:embed/>
                </p:oleObj>
              </mc:Choice>
              <mc:Fallback>
                <p:oleObj name="think-cell Slide" r:id="rId10" imgW="327" imgH="327" progId="TCLayout.ActiveDocument.1">
                  <p:embed/>
                  <p:pic>
                    <p:nvPicPr>
                      <p:cNvPr id="7" name="Object 6" hidden="1">
                        <a:extLst>
                          <a:ext uri="{FF2B5EF4-FFF2-40B4-BE49-F238E27FC236}">
                            <a16:creationId xmlns:a16="http://schemas.microsoft.com/office/drawing/2014/main" id="{3CD4AF99-FBB1-4CF6-92DD-5D4E59EAA70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23" name="Picture 24">
            <a:extLst>
              <a:ext uri="{FF2B5EF4-FFF2-40B4-BE49-F238E27FC236}">
                <a16:creationId xmlns:a16="http://schemas.microsoft.com/office/drawing/2014/main" id="{D7B40661-669F-43A9-9DF3-A9DBA716BA00}"/>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10742580" y="6332378"/>
            <a:ext cx="1116013" cy="346688"/>
          </a:xfrm>
          <a:prstGeom prst="rect">
            <a:avLst/>
          </a:prstGeom>
          <a:noFill/>
        </p:spPr>
      </p:pic>
      <p:sp>
        <p:nvSpPr>
          <p:cNvPr id="8" name="Title 7">
            <a:extLst>
              <a:ext uri="{FF2B5EF4-FFF2-40B4-BE49-F238E27FC236}">
                <a16:creationId xmlns:a16="http://schemas.microsoft.com/office/drawing/2014/main" id="{D9A0E991-10F3-4C84-A3E9-0C29405C54F4}"/>
              </a:ext>
            </a:extLst>
          </p:cNvPr>
          <p:cNvSpPr>
            <a:spLocks noGrp="1"/>
          </p:cNvSpPr>
          <p:nvPr>
            <p:ph type="ctrTitle"/>
          </p:nvPr>
        </p:nvSpPr>
        <p:spPr/>
        <p:txBody>
          <a:bodyPr vert="horz">
            <a:normAutofit fontScale="90000"/>
          </a:bodyPr>
          <a:lstStyle/>
          <a:p>
            <a:r>
              <a:rPr lang="de-AT" b="1" dirty="0"/>
              <a:t>Gemeinsam für Österreichs Energiezukunft</a:t>
            </a:r>
            <a:br>
              <a:rPr lang="de-AT" b="1" dirty="0"/>
            </a:br>
            <a:r>
              <a:rPr lang="de-AT" b="1" dirty="0"/>
              <a:t>Für die Wirtschaft. Für uns ALLE.</a:t>
            </a:r>
            <a:br>
              <a:rPr lang="de-AT" b="1" dirty="0"/>
            </a:br>
            <a:br>
              <a:rPr lang="de-AT" dirty="0"/>
            </a:br>
            <a:endParaRPr lang="en-US" dirty="0"/>
          </a:p>
        </p:txBody>
      </p:sp>
    </p:spTree>
    <p:extLst>
      <p:ext uri="{BB962C8B-B14F-4D97-AF65-F5344CB8AC3E}">
        <p14:creationId xmlns:p14="http://schemas.microsoft.com/office/powerpoint/2010/main" val="26922248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B39E129-1E2A-4E86-BE84-FAA70843D0D7}"/>
              </a:ext>
            </a:extLst>
          </p:cNvPr>
          <p:cNvGraphicFramePr>
            <a:graphicFrameLocks noChangeAspect="1"/>
          </p:cNvGraphicFramePr>
          <p:nvPr>
            <p:custDataLst>
              <p:tags r:id="rId1"/>
            </p:custDataLst>
            <p:extLst>
              <p:ext uri="{D42A27DB-BD31-4B8C-83A1-F6EECF244321}">
                <p14:modId xmlns:p14="http://schemas.microsoft.com/office/powerpoint/2010/main" val="499612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592" imgH="591" progId="TCLayout.ActiveDocument.1">
                  <p:embed/>
                </p:oleObj>
              </mc:Choice>
              <mc:Fallback>
                <p:oleObj name="think-cell Slide" r:id="rId24" imgW="592" imgH="591" progId="TCLayout.ActiveDocument.1">
                  <p:embed/>
                  <p:pic>
                    <p:nvPicPr>
                      <p:cNvPr id="4" name="Object 3" hidden="1">
                        <a:extLst>
                          <a:ext uri="{FF2B5EF4-FFF2-40B4-BE49-F238E27FC236}">
                            <a16:creationId xmlns:a16="http://schemas.microsoft.com/office/drawing/2014/main" id="{CB39E129-1E2A-4E86-BE84-FAA70843D0D7}"/>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901BD3-9512-4DCE-A4F4-9DD3BA930F91}"/>
              </a:ext>
            </a:extLst>
          </p:cNvPr>
          <p:cNvSpPr>
            <a:spLocks noGrp="1"/>
          </p:cNvSpPr>
          <p:nvPr>
            <p:ph type="title"/>
          </p:nvPr>
        </p:nvSpPr>
        <p:spPr/>
        <p:txBody>
          <a:bodyPr vert="horz"/>
          <a:lstStyle/>
          <a:p>
            <a:r>
              <a:rPr lang="de-DE" dirty="0"/>
              <a:t>Der Fachkräftemangel stellt ein erhebliches Risiko für die Energietransformation dar</a:t>
            </a:r>
          </a:p>
        </p:txBody>
      </p:sp>
      <p:grpSp>
        <p:nvGrpSpPr>
          <p:cNvPr id="12" name="dynamictitle__6381612021450131765">
            <a:extLst>
              <a:ext uri="{FF2B5EF4-FFF2-40B4-BE49-F238E27FC236}">
                <a16:creationId xmlns:a16="http://schemas.microsoft.com/office/drawing/2014/main" id="{F35395E3-B8E3-47D6-B0E6-884D6172155A}"/>
              </a:ext>
            </a:extLst>
          </p:cNvPr>
          <p:cNvGrpSpPr/>
          <p:nvPr>
            <p:custDataLst>
              <p:tags r:id="rId2"/>
            </p:custDataLst>
          </p:nvPr>
        </p:nvGrpSpPr>
        <p:grpSpPr>
          <a:xfrm>
            <a:off x="599811" y="1515253"/>
            <a:ext cx="5000890" cy="288147"/>
            <a:chOff x="2832361" y="2100814"/>
            <a:chExt cx="3534683" cy="288147"/>
          </a:xfrm>
        </p:grpSpPr>
        <p:sp>
          <p:nvSpPr>
            <p:cNvPr id="13" name="Arrow: Left-Right 12">
              <a:extLst>
                <a:ext uri="{FF2B5EF4-FFF2-40B4-BE49-F238E27FC236}">
                  <a16:creationId xmlns:a16="http://schemas.microsoft.com/office/drawing/2014/main" id="{1DAE8CB6-3B5B-4B30-81B4-7EC85D2A3923}"/>
                </a:ext>
              </a:extLst>
            </p:cNvPr>
            <p:cNvSpPr/>
            <p:nvPr/>
          </p:nvSpPr>
          <p:spPr>
            <a:xfrm>
              <a:off x="2832361" y="2100814"/>
              <a:ext cx="3534683" cy="288147"/>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AT" sz="1400" b="1" i="0" u="none" strike="noStrike" kern="1200" cap="none" spc="0" normalizeH="0" baseline="0" noProof="0">
                  <a:ln>
                    <a:noFill/>
                  </a:ln>
                  <a:solidFill>
                    <a:srgbClr val="000000"/>
                  </a:solidFill>
                  <a:effectLst/>
                  <a:uLnTx/>
                  <a:uFillTx/>
                  <a:latin typeface="Bahnschrift" panose="020B0502040204020203" pitchFamily="34" charset="0"/>
                  <a:ea typeface="+mn-ea"/>
                  <a:cs typeface="+mn-cs"/>
                </a:rPr>
                <a:t>Entwicklung von offenen Stellen am Arbeitsmarkt </a:t>
              </a:r>
            </a:p>
          </p:txBody>
        </p:sp>
        <p:cxnSp>
          <p:nvCxnSpPr>
            <p:cNvPr id="14" name="Straight Connector 13">
              <a:extLst>
                <a:ext uri="{FF2B5EF4-FFF2-40B4-BE49-F238E27FC236}">
                  <a16:creationId xmlns:a16="http://schemas.microsoft.com/office/drawing/2014/main" id="{D1A1E966-00CA-4CDB-B311-5E4A8CDFC95E}"/>
                </a:ext>
              </a:extLst>
            </p:cNvPr>
            <p:cNvCxnSpPr>
              <a:stCxn id="13" idx="4"/>
              <a:endCxn id="13" idx="6"/>
            </p:cNvCxnSpPr>
            <p:nvPr/>
          </p:nvCxnSpPr>
          <p:spPr>
            <a:xfrm>
              <a:off x="2832361" y="2388961"/>
              <a:ext cx="353468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5" name="dynamictitle__6381612021450131765">
            <a:extLst>
              <a:ext uri="{FF2B5EF4-FFF2-40B4-BE49-F238E27FC236}">
                <a16:creationId xmlns:a16="http://schemas.microsoft.com/office/drawing/2014/main" id="{125C270F-50B7-4740-8405-CFF802F5CFB9}"/>
              </a:ext>
            </a:extLst>
          </p:cNvPr>
          <p:cNvGrpSpPr/>
          <p:nvPr>
            <p:custDataLst>
              <p:tags r:id="rId3"/>
            </p:custDataLst>
          </p:nvPr>
        </p:nvGrpSpPr>
        <p:grpSpPr>
          <a:xfrm>
            <a:off x="6317459" y="1299810"/>
            <a:ext cx="5382416" cy="503590"/>
            <a:chOff x="2031613" y="1841720"/>
            <a:chExt cx="4335432" cy="503590"/>
          </a:xfrm>
        </p:grpSpPr>
        <p:sp>
          <p:nvSpPr>
            <p:cNvPr id="16" name="Arrow: Left-Right 15">
              <a:extLst>
                <a:ext uri="{FF2B5EF4-FFF2-40B4-BE49-F238E27FC236}">
                  <a16:creationId xmlns:a16="http://schemas.microsoft.com/office/drawing/2014/main" id="{FF0E51ED-38B3-40A4-A872-38EF6815435C}"/>
                </a:ext>
              </a:extLst>
            </p:cNvPr>
            <p:cNvSpPr/>
            <p:nvPr/>
          </p:nvSpPr>
          <p:spPr>
            <a:xfrm>
              <a:off x="2031613" y="1841720"/>
              <a:ext cx="4335432" cy="503590"/>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AT" sz="1400" b="1" i="0" u="none" strike="noStrike" kern="1200" cap="none" spc="0" normalizeH="0" baseline="0" noProof="0">
                  <a:ln>
                    <a:noFill/>
                  </a:ln>
                  <a:solidFill>
                    <a:srgbClr val="000000"/>
                  </a:solidFill>
                  <a:effectLst/>
                  <a:uLnTx/>
                  <a:uFillTx/>
                  <a:latin typeface="Bahnschrift" panose="020B0502040204020203" pitchFamily="34" charset="0"/>
                  <a:ea typeface="+mn-ea"/>
                  <a:cs typeface="+mn-cs"/>
                </a:rPr>
                <a:t>Beschäftigung pro Jahr bis 2030 durch Investitionen in erneuerbare Energien</a:t>
              </a:r>
              <a:r>
                <a:rPr kumimoji="0" lang="de-AT" sz="1400" b="1" i="0" u="none" strike="noStrike" kern="1200" cap="none" spc="0" normalizeH="0" baseline="30000" noProof="0">
                  <a:ln>
                    <a:noFill/>
                  </a:ln>
                  <a:solidFill>
                    <a:srgbClr val="000000"/>
                  </a:solidFill>
                  <a:effectLst/>
                  <a:uLnTx/>
                  <a:uFillTx/>
                  <a:latin typeface="Bahnschrift" panose="020B0502040204020203" pitchFamily="34" charset="0"/>
                  <a:ea typeface="+mn-ea"/>
                  <a:cs typeface="+mn-cs"/>
                </a:rPr>
                <a:t>2</a:t>
              </a:r>
              <a:endParaRPr kumimoji="0" lang="en-US" sz="1400" b="0" i="0" u="none" strike="noStrike" kern="1200" cap="none" spc="0" normalizeH="0" baseline="0" noProof="0">
                <a:ln>
                  <a:noFill/>
                </a:ln>
                <a:solidFill>
                  <a:srgbClr val="000000"/>
                </a:solidFill>
                <a:effectLst/>
                <a:uLnTx/>
                <a:uFillTx/>
                <a:latin typeface="Bahnschrift" panose="020B0502040204020203" pitchFamily="34" charset="0"/>
                <a:ea typeface="+mn-ea"/>
                <a:cs typeface="+mn-cs"/>
              </a:endParaRPr>
            </a:p>
          </p:txBody>
        </p:sp>
        <p:cxnSp>
          <p:nvCxnSpPr>
            <p:cNvPr id="17" name="Straight Connector 16">
              <a:extLst>
                <a:ext uri="{FF2B5EF4-FFF2-40B4-BE49-F238E27FC236}">
                  <a16:creationId xmlns:a16="http://schemas.microsoft.com/office/drawing/2014/main" id="{443291B3-CF7D-41A9-86A6-5810E9F6A136}"/>
                </a:ext>
              </a:extLst>
            </p:cNvPr>
            <p:cNvCxnSpPr>
              <a:cxnSpLocks/>
              <a:stCxn id="16" idx="4"/>
              <a:endCxn id="16" idx="6"/>
            </p:cNvCxnSpPr>
            <p:nvPr/>
          </p:nvCxnSpPr>
          <p:spPr>
            <a:xfrm>
              <a:off x="2031613" y="2345310"/>
              <a:ext cx="433543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aphicFrame>
        <p:nvGraphicFramePr>
          <p:cNvPr id="6" name="Chart 5">
            <a:extLst>
              <a:ext uri="{FF2B5EF4-FFF2-40B4-BE49-F238E27FC236}">
                <a16:creationId xmlns:a16="http://schemas.microsoft.com/office/drawing/2014/main" id="{A16D0789-86D6-C358-18A7-A7019814AFBA}"/>
              </a:ext>
            </a:extLst>
          </p:cNvPr>
          <p:cNvGraphicFramePr/>
          <p:nvPr>
            <p:custDataLst>
              <p:tags r:id="rId4"/>
            </p:custDataLst>
            <p:extLst>
              <p:ext uri="{D42A27DB-BD31-4B8C-83A1-F6EECF244321}">
                <p14:modId xmlns:p14="http://schemas.microsoft.com/office/powerpoint/2010/main" val="2800517137"/>
              </p:ext>
            </p:extLst>
          </p:nvPr>
        </p:nvGraphicFramePr>
        <p:xfrm>
          <a:off x="7696200" y="2035175"/>
          <a:ext cx="3927475" cy="3040063"/>
        </p:xfrm>
        <a:graphic>
          <a:graphicData uri="http://schemas.openxmlformats.org/drawingml/2006/chart">
            <c:chart xmlns:c="http://schemas.openxmlformats.org/drawingml/2006/chart" xmlns:r="http://schemas.openxmlformats.org/officeDocument/2006/relationships" r:id="rId26"/>
          </a:graphicData>
        </a:graphic>
      </p:graphicFrame>
      <p:sp>
        <p:nvSpPr>
          <p:cNvPr id="19" name="Textplatzhalter 8">
            <a:extLst>
              <a:ext uri="{FF2B5EF4-FFF2-40B4-BE49-F238E27FC236}">
                <a16:creationId xmlns:a16="http://schemas.microsoft.com/office/drawing/2014/main" id="{B17A7906-90EE-4D91-95C9-BE9BA7745B57}"/>
              </a:ext>
            </a:extLst>
          </p:cNvPr>
          <p:cNvSpPr>
            <a:spLocks noGrp="1"/>
          </p:cNvSpPr>
          <p:nvPr>
            <p:custDataLst>
              <p:tags r:id="rId5"/>
            </p:custDataLst>
          </p:nvPr>
        </p:nvSpPr>
        <p:spPr bwMode="auto">
          <a:xfrm>
            <a:off x="6438900" y="2185988"/>
            <a:ext cx="847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5C62EA95-D911-4326-85B0-AEA809AFCA70}" type="datetime'''P''''''''''''ho''''''to''''v''''o''''''lta''''''i''''k'''">
              <a:rPr kumimoji="0" lang="de-DE" altLang="en-US" sz="1200" b="0" i="0" u="none" strike="noStrike" kern="0" cap="none" spc="0" normalizeH="0" baseline="0" noProof="0" smtClean="0">
                <a:ln>
                  <a:noFill/>
                </a:ln>
                <a:solidFill>
                  <a:prstClr val="black"/>
                </a:solidFill>
                <a:effectLst/>
                <a:uLnTx/>
                <a:uFillTx/>
                <a:latin typeface="Bahnschrift" panose="020B0502040204020203" pitchFamily="34" charset="0"/>
                <a:ea typeface="+mn-ea"/>
                <a:cs typeface="+mn-cs"/>
              </a:rPr>
              <a:pPr marL="0" marR="0" lvl="0" indent="0"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Photovoltaik</a:t>
            </a:fld>
            <a:endParaRPr kumimoji="0" lang="de-DE" sz="1200" b="0" i="0" u="none" strike="noStrike" kern="0" cap="none" spc="0" normalizeH="0" baseline="0" noProof="0">
              <a:ln>
                <a:noFill/>
              </a:ln>
              <a:solidFill>
                <a:prstClr val="black"/>
              </a:solidFill>
              <a:effectLst/>
              <a:uLnTx/>
              <a:uFillTx/>
              <a:latin typeface="Bahnschrift" panose="020B0502040204020203" pitchFamily="34" charset="0"/>
              <a:ea typeface="+mn-ea"/>
              <a:cs typeface="+mn-cs"/>
            </a:endParaRPr>
          </a:p>
        </p:txBody>
      </p:sp>
      <p:sp>
        <p:nvSpPr>
          <p:cNvPr id="20" name="Textplatzhalter 8">
            <a:extLst>
              <a:ext uri="{FF2B5EF4-FFF2-40B4-BE49-F238E27FC236}">
                <a16:creationId xmlns:a16="http://schemas.microsoft.com/office/drawing/2014/main" id="{6FD1FAF0-9DAF-4FFB-A504-0A5E136AD88E}"/>
              </a:ext>
            </a:extLst>
          </p:cNvPr>
          <p:cNvSpPr>
            <a:spLocks noGrp="1"/>
          </p:cNvSpPr>
          <p:nvPr>
            <p:custDataLst>
              <p:tags r:id="rId6"/>
            </p:custDataLst>
          </p:nvPr>
        </p:nvSpPr>
        <p:spPr bwMode="auto">
          <a:xfrm>
            <a:off x="6438900" y="2505075"/>
            <a:ext cx="1238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4BFEB097-54B7-4A67-ACDE-EA2DD4D648F0}" type="datetime'''''B''''io''''''''''''''ma''s''''s''''e'' ''Wä''rme '">
              <a:rPr kumimoji="0" lang="de-DE" altLang="en-US" sz="1200" b="0" i="0" u="none" strike="noStrike" kern="0" cap="none" spc="0" normalizeH="0" baseline="0" noProof="0" smtClean="0">
                <a:ln>
                  <a:noFill/>
                </a:ln>
                <a:solidFill>
                  <a:prstClr val="black"/>
                </a:solidFill>
                <a:effectLst/>
                <a:uLnTx/>
                <a:uFillTx/>
                <a:latin typeface="Bahnschrift" panose="020B0502040204020203" pitchFamily="34" charset="0"/>
                <a:ea typeface="+mn-ea"/>
                <a:cs typeface="+mn-cs"/>
              </a:rPr>
              <a:pPr marL="0" marR="0" lvl="0" indent="0"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Biomasse Wärme </a:t>
            </a:fld>
            <a:endParaRPr kumimoji="0" lang="de-DE" sz="1200" b="0" i="0" u="none" strike="noStrike" kern="0" cap="none" spc="0" normalizeH="0" baseline="0" noProof="0">
              <a:ln>
                <a:noFill/>
              </a:ln>
              <a:solidFill>
                <a:prstClr val="black"/>
              </a:solidFill>
              <a:effectLst/>
              <a:uLnTx/>
              <a:uFillTx/>
              <a:latin typeface="Bahnschrift" panose="020B0502040204020203" pitchFamily="34" charset="0"/>
              <a:ea typeface="+mn-ea"/>
              <a:cs typeface="+mn-cs"/>
            </a:endParaRPr>
          </a:p>
        </p:txBody>
      </p:sp>
      <p:sp>
        <p:nvSpPr>
          <p:cNvPr id="58" name="Textplatzhalter 8">
            <a:extLst>
              <a:ext uri="{FF2B5EF4-FFF2-40B4-BE49-F238E27FC236}">
                <a16:creationId xmlns:a16="http://schemas.microsoft.com/office/drawing/2014/main" id="{830B24DE-FDBD-4A8C-8321-A90397D905C2}"/>
              </a:ext>
            </a:extLst>
          </p:cNvPr>
          <p:cNvSpPr>
            <a:spLocks noGrp="1"/>
          </p:cNvSpPr>
          <p:nvPr>
            <p:custDataLst>
              <p:tags r:id="rId7"/>
            </p:custDataLst>
          </p:nvPr>
        </p:nvSpPr>
        <p:spPr bwMode="auto">
          <a:xfrm>
            <a:off x="6438900" y="4102100"/>
            <a:ext cx="8334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B42DBE41-821F-425F-A3E4-45CA6F067B12}" type="datetime'''''G''''''eo''the''''rmi''''e'''''''''''''' '''''''''''''''">
              <a:rPr kumimoji="0" lang="de-DE" altLang="en-US" sz="1200" b="0" i="0" u="none" strike="noStrike" kern="0" cap="none" spc="0" normalizeH="0" baseline="0" noProof="0" smtClean="0">
                <a:ln>
                  <a:noFill/>
                </a:ln>
                <a:solidFill>
                  <a:prstClr val="black"/>
                </a:solidFill>
                <a:effectLst/>
                <a:uLnTx/>
                <a:uFillTx/>
                <a:latin typeface="Bahnschrift" panose="020B0502040204020203" pitchFamily="34" charset="0"/>
                <a:ea typeface="+mn-ea"/>
                <a:cs typeface="+mn-cs"/>
              </a:rPr>
              <a:pPr marL="0" marR="0" lvl="0" indent="0"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Geothermie </a:t>
            </a:fld>
            <a:endParaRPr kumimoji="0" lang="de-DE" sz="1200" b="0" i="0" u="none" strike="noStrike" kern="0" cap="none" spc="0" normalizeH="0" baseline="0" noProof="0">
              <a:ln>
                <a:noFill/>
              </a:ln>
              <a:solidFill>
                <a:prstClr val="black"/>
              </a:solidFill>
              <a:effectLst/>
              <a:uLnTx/>
              <a:uFillTx/>
              <a:latin typeface="Bahnschrift" panose="020B0502040204020203" pitchFamily="34" charset="0"/>
              <a:ea typeface="+mn-ea"/>
              <a:cs typeface="+mn-cs"/>
            </a:endParaRPr>
          </a:p>
        </p:txBody>
      </p:sp>
      <p:sp>
        <p:nvSpPr>
          <p:cNvPr id="21" name="Textplatzhalter 8">
            <a:extLst>
              <a:ext uri="{FF2B5EF4-FFF2-40B4-BE49-F238E27FC236}">
                <a16:creationId xmlns:a16="http://schemas.microsoft.com/office/drawing/2014/main" id="{F2A31348-69E6-4C40-A009-F2A3028CF987}"/>
              </a:ext>
            </a:extLst>
          </p:cNvPr>
          <p:cNvSpPr>
            <a:spLocks noGrp="1"/>
          </p:cNvSpPr>
          <p:nvPr>
            <p:custDataLst>
              <p:tags r:id="rId8"/>
            </p:custDataLst>
          </p:nvPr>
        </p:nvSpPr>
        <p:spPr bwMode="auto">
          <a:xfrm>
            <a:off x="6438900" y="2824163"/>
            <a:ext cx="8794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D1EE111A-B6DE-49B6-AE7A-E1718F81C16D}" type="datetime'W''''''a''''''''''''''s''s''erkr''''''''''''''''''af''''t '''">
              <a:rPr kumimoji="0" lang="de-DE" altLang="en-US" sz="1200" b="0" i="0" u="none" strike="noStrike" kern="0" cap="none" spc="0" normalizeH="0" baseline="0" noProof="0" smtClean="0">
                <a:ln>
                  <a:noFill/>
                </a:ln>
                <a:solidFill>
                  <a:prstClr val="black"/>
                </a:solidFill>
                <a:effectLst/>
                <a:uLnTx/>
                <a:uFillTx/>
                <a:latin typeface="Bahnschrift" panose="020B0502040204020203" pitchFamily="34" charset="0"/>
                <a:ea typeface="+mn-ea"/>
                <a:cs typeface="+mn-cs"/>
              </a:rPr>
              <a:pPr marL="0" marR="0" lvl="0" indent="0"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Wasserkraft </a:t>
            </a:fld>
            <a:endParaRPr kumimoji="0" lang="de-DE" sz="1200" b="0" i="0" u="none" strike="noStrike" kern="0" cap="none" spc="0" normalizeH="0" baseline="0" noProof="0">
              <a:ln>
                <a:noFill/>
              </a:ln>
              <a:solidFill>
                <a:prstClr val="black"/>
              </a:solidFill>
              <a:effectLst/>
              <a:uLnTx/>
              <a:uFillTx/>
              <a:latin typeface="Bahnschrift" panose="020B0502040204020203" pitchFamily="34" charset="0"/>
              <a:ea typeface="+mn-ea"/>
              <a:cs typeface="+mn-cs"/>
            </a:endParaRPr>
          </a:p>
        </p:txBody>
      </p:sp>
      <p:sp>
        <p:nvSpPr>
          <p:cNvPr id="49" name="Textplatzhalter 8">
            <a:extLst>
              <a:ext uri="{FF2B5EF4-FFF2-40B4-BE49-F238E27FC236}">
                <a16:creationId xmlns:a16="http://schemas.microsoft.com/office/drawing/2014/main" id="{F0C11583-345F-493E-9AC9-78C6997717A8}"/>
              </a:ext>
            </a:extLst>
          </p:cNvPr>
          <p:cNvSpPr>
            <a:spLocks noGrp="1"/>
          </p:cNvSpPr>
          <p:nvPr>
            <p:custDataLst>
              <p:tags r:id="rId9"/>
            </p:custDataLst>
          </p:nvPr>
        </p:nvSpPr>
        <p:spPr bwMode="auto">
          <a:xfrm>
            <a:off x="6438900" y="3144838"/>
            <a:ext cx="1022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D0481860-24E1-437F-9F96-43483EBF46F8}" type="datetime'P''''''u''''mp''''''''''''s''''''p''ei''''''cher'' '''''''''">
              <a:rPr kumimoji="0" lang="de-DE" altLang="en-US" sz="1200" b="0" i="0" u="none" strike="noStrike" kern="0" cap="none" spc="0" normalizeH="0" baseline="0" noProof="0" smtClean="0">
                <a:ln>
                  <a:noFill/>
                </a:ln>
                <a:solidFill>
                  <a:prstClr val="black"/>
                </a:solidFill>
                <a:effectLst/>
                <a:uLnTx/>
                <a:uFillTx/>
                <a:latin typeface="Bahnschrift" panose="020B0502040204020203" pitchFamily="34" charset="0"/>
                <a:ea typeface="+mn-ea"/>
                <a:cs typeface="+mn-cs"/>
              </a:rPr>
              <a:pPr marL="0" marR="0" lvl="0" indent="0"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Pumpspeicher </a:t>
            </a:fld>
            <a:endParaRPr kumimoji="0" lang="de-DE" sz="1200" b="0" i="0" u="none" strike="noStrike" kern="0" cap="none" spc="0" normalizeH="0" baseline="0" noProof="0">
              <a:ln>
                <a:noFill/>
              </a:ln>
              <a:solidFill>
                <a:prstClr val="black"/>
              </a:solidFill>
              <a:effectLst/>
              <a:uLnTx/>
              <a:uFillTx/>
              <a:latin typeface="Bahnschrift" panose="020B0502040204020203" pitchFamily="34" charset="0"/>
              <a:ea typeface="+mn-ea"/>
              <a:cs typeface="+mn-cs"/>
            </a:endParaRPr>
          </a:p>
        </p:txBody>
      </p:sp>
      <p:sp>
        <p:nvSpPr>
          <p:cNvPr id="61" name="Textplatzhalter 8">
            <a:extLst>
              <a:ext uri="{FF2B5EF4-FFF2-40B4-BE49-F238E27FC236}">
                <a16:creationId xmlns:a16="http://schemas.microsoft.com/office/drawing/2014/main" id="{F03C1674-4E50-44B8-B7C0-2D1BE0AF4FD9}"/>
              </a:ext>
            </a:extLst>
          </p:cNvPr>
          <p:cNvSpPr>
            <a:spLocks noGrp="1"/>
          </p:cNvSpPr>
          <p:nvPr>
            <p:custDataLst>
              <p:tags r:id="rId10"/>
            </p:custDataLst>
          </p:nvPr>
        </p:nvSpPr>
        <p:spPr bwMode="auto">
          <a:xfrm>
            <a:off x="6438900" y="4422775"/>
            <a:ext cx="4619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5B64E5EE-133D-43FC-B017-CCC8CD6B9E9A}" type="datetime'''''''B''''''''''''''''''''''''''i''''''''''ogas'''''">
              <a:rPr kumimoji="0" lang="de-DE" altLang="en-US" sz="1200" b="0" i="0" u="none" strike="noStrike" kern="0" cap="none" spc="0" normalizeH="0" baseline="0" noProof="0" smtClean="0">
                <a:ln>
                  <a:noFill/>
                </a:ln>
                <a:solidFill>
                  <a:prstClr val="black"/>
                </a:solidFill>
                <a:effectLst/>
                <a:uLnTx/>
                <a:uFillTx/>
                <a:latin typeface="Bahnschrift" panose="020B0502040204020203" pitchFamily="34" charset="0"/>
                <a:ea typeface="+mn-ea"/>
                <a:cs typeface="+mn-cs"/>
              </a:rPr>
              <a:pPr marL="0" marR="0" lvl="0" indent="0"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Biogas</a:t>
            </a:fld>
            <a:endParaRPr kumimoji="0" lang="de-DE" sz="1200" b="0" i="0" u="none" strike="noStrike" kern="0" cap="none" spc="0" normalizeH="0" baseline="0" noProof="0">
              <a:ln>
                <a:noFill/>
              </a:ln>
              <a:solidFill>
                <a:prstClr val="black"/>
              </a:solidFill>
              <a:effectLst/>
              <a:uLnTx/>
              <a:uFillTx/>
              <a:latin typeface="Bahnschrift" panose="020B0502040204020203" pitchFamily="34" charset="0"/>
              <a:ea typeface="+mn-ea"/>
              <a:cs typeface="+mn-cs"/>
            </a:endParaRPr>
          </a:p>
        </p:txBody>
      </p:sp>
      <p:sp>
        <p:nvSpPr>
          <p:cNvPr id="52" name="Textplatzhalter 8">
            <a:extLst>
              <a:ext uri="{FF2B5EF4-FFF2-40B4-BE49-F238E27FC236}">
                <a16:creationId xmlns:a16="http://schemas.microsoft.com/office/drawing/2014/main" id="{76DE76B5-891C-4095-AEB5-7CD14ED47A2B}"/>
              </a:ext>
            </a:extLst>
          </p:cNvPr>
          <p:cNvSpPr>
            <a:spLocks noGrp="1"/>
          </p:cNvSpPr>
          <p:nvPr>
            <p:custDataLst>
              <p:tags r:id="rId11"/>
            </p:custDataLst>
          </p:nvPr>
        </p:nvSpPr>
        <p:spPr bwMode="auto">
          <a:xfrm>
            <a:off x="6438900" y="3463925"/>
            <a:ext cx="7000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F925081C-B8A1-48C0-BF3E-0C57D6F3B36F}" type="datetime'W''''''in''''''''''''''''''''dkra''''''''''''''''f''t '''''">
              <a:rPr kumimoji="0" lang="de-DE" altLang="en-US" sz="1200" b="0" i="0" u="none" strike="noStrike" kern="0" cap="none" spc="0" normalizeH="0" baseline="0" noProof="0" smtClean="0">
                <a:ln>
                  <a:noFill/>
                </a:ln>
                <a:solidFill>
                  <a:prstClr val="black"/>
                </a:solidFill>
                <a:effectLst/>
                <a:uLnTx/>
                <a:uFillTx/>
                <a:latin typeface="Bahnschrift" panose="020B0502040204020203" pitchFamily="34" charset="0"/>
                <a:ea typeface="+mn-ea"/>
                <a:cs typeface="+mn-cs"/>
              </a:rPr>
              <a:pPr marL="0" marR="0" lvl="0" indent="0"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Windkraft </a:t>
            </a:fld>
            <a:endParaRPr kumimoji="0" lang="de-DE" sz="1200" b="0" i="0" u="none" strike="noStrike" kern="0" cap="none" spc="0" normalizeH="0" baseline="0" noProof="0">
              <a:ln>
                <a:noFill/>
              </a:ln>
              <a:solidFill>
                <a:prstClr val="black"/>
              </a:solidFill>
              <a:effectLst/>
              <a:uLnTx/>
              <a:uFillTx/>
              <a:latin typeface="Bahnschrift" panose="020B0502040204020203" pitchFamily="34" charset="0"/>
              <a:ea typeface="+mn-ea"/>
              <a:cs typeface="+mn-cs"/>
            </a:endParaRPr>
          </a:p>
        </p:txBody>
      </p:sp>
      <p:sp>
        <p:nvSpPr>
          <p:cNvPr id="55" name="Textplatzhalter 8">
            <a:extLst>
              <a:ext uri="{FF2B5EF4-FFF2-40B4-BE49-F238E27FC236}">
                <a16:creationId xmlns:a16="http://schemas.microsoft.com/office/drawing/2014/main" id="{D35C404A-1486-4048-B548-E284E8E93422}"/>
              </a:ext>
            </a:extLst>
          </p:cNvPr>
          <p:cNvSpPr>
            <a:spLocks noGrp="1"/>
          </p:cNvSpPr>
          <p:nvPr>
            <p:custDataLst>
              <p:tags r:id="rId12"/>
            </p:custDataLst>
          </p:nvPr>
        </p:nvSpPr>
        <p:spPr bwMode="auto">
          <a:xfrm>
            <a:off x="6438900" y="3783013"/>
            <a:ext cx="938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ED0FB1D6-FEDD-4291-AC0E-AA60422F124F}" type="datetime'''''So''l''a''rt''he''r''mi''''''''''''''e '''''''''''''''''">
              <a:rPr kumimoji="0" lang="de-DE" altLang="en-US" sz="1200" b="0" i="0" u="none" strike="noStrike" kern="0" cap="none" spc="0" normalizeH="0" baseline="0" noProof="0" smtClean="0">
                <a:ln>
                  <a:noFill/>
                </a:ln>
                <a:solidFill>
                  <a:prstClr val="black"/>
                </a:solidFill>
                <a:effectLst/>
                <a:uLnTx/>
                <a:uFillTx/>
                <a:latin typeface="Bahnschrift" panose="020B0502040204020203" pitchFamily="34" charset="0"/>
                <a:ea typeface="+mn-ea"/>
                <a:cs typeface="+mn-cs"/>
              </a:rPr>
              <a:pPr marL="0" marR="0" lvl="0" indent="0"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Solarthermie </a:t>
            </a:fld>
            <a:endParaRPr kumimoji="0" lang="de-DE" sz="1200" b="0" i="0" u="none" strike="noStrike" kern="0" cap="none" spc="0" normalizeH="0" baseline="0" noProof="0">
              <a:ln>
                <a:noFill/>
              </a:ln>
              <a:solidFill>
                <a:prstClr val="black"/>
              </a:solidFill>
              <a:effectLst/>
              <a:uLnTx/>
              <a:uFillTx/>
              <a:latin typeface="Bahnschrift" panose="020B0502040204020203" pitchFamily="34" charset="0"/>
              <a:ea typeface="+mn-ea"/>
              <a:cs typeface="+mn-cs"/>
            </a:endParaRPr>
          </a:p>
        </p:txBody>
      </p:sp>
      <p:sp>
        <p:nvSpPr>
          <p:cNvPr id="199" name="Textplatzhalter 8">
            <a:extLst>
              <a:ext uri="{FF2B5EF4-FFF2-40B4-BE49-F238E27FC236}">
                <a16:creationId xmlns:a16="http://schemas.microsoft.com/office/drawing/2014/main" id="{655ACFA2-D0DC-4D27-ABC6-F5301218EEDF}"/>
              </a:ext>
            </a:extLst>
          </p:cNvPr>
          <p:cNvSpPr>
            <a:spLocks noGrp="1"/>
          </p:cNvSpPr>
          <p:nvPr>
            <p:custDataLst>
              <p:tags r:id="rId13"/>
            </p:custDataLst>
          </p:nvPr>
        </p:nvSpPr>
        <p:spPr bwMode="auto">
          <a:xfrm>
            <a:off x="6438900" y="4741863"/>
            <a:ext cx="10683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004135F4-F20F-4F64-8D68-EFC4DCF6C9A5}" type="datetime'''B''''i''''''''o''''m''''''asse-''''''K''WK'''''''''">
              <a:rPr kumimoji="0" lang="de-DE" altLang="en-US" sz="1200" b="0" i="0" u="none" strike="noStrike" kern="0" cap="none" spc="0" normalizeH="0" baseline="0" noProof="0" smtClean="0">
                <a:ln>
                  <a:noFill/>
                </a:ln>
                <a:solidFill>
                  <a:prstClr val="black"/>
                </a:solidFill>
                <a:effectLst/>
                <a:uLnTx/>
                <a:uFillTx/>
                <a:latin typeface="Bahnschrift" panose="020B0502040204020203" pitchFamily="34" charset="0"/>
                <a:ea typeface="+mn-ea"/>
                <a:cs typeface="+mn-cs"/>
              </a:rPr>
              <a:pPr marL="0" marR="0" lvl="0" indent="0"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Biomasse-KWK</a:t>
            </a:fld>
            <a:endParaRPr kumimoji="0" lang="de-DE" sz="1200" b="0" i="0" u="none" strike="noStrike" kern="0" cap="none" spc="0" normalizeH="0" baseline="0" noProof="0">
              <a:ln>
                <a:noFill/>
              </a:ln>
              <a:solidFill>
                <a:prstClr val="black"/>
              </a:solidFill>
              <a:effectLst/>
              <a:uLnTx/>
              <a:uFillTx/>
              <a:latin typeface="Bahnschrift" panose="020B0502040204020203" pitchFamily="34" charset="0"/>
              <a:ea typeface="+mn-ea"/>
              <a:cs typeface="+mn-cs"/>
            </a:endParaRPr>
          </a:p>
        </p:txBody>
      </p:sp>
      <p:cxnSp>
        <p:nvCxnSpPr>
          <p:cNvPr id="131" name="Straight Connector 130">
            <a:extLst>
              <a:ext uri="{FF2B5EF4-FFF2-40B4-BE49-F238E27FC236}">
                <a16:creationId xmlns:a16="http://schemas.microsoft.com/office/drawing/2014/main" id="{179B6B03-F36C-4325-8EDA-ACA1C1E5B4F6}"/>
              </a:ext>
            </a:extLst>
          </p:cNvPr>
          <p:cNvCxnSpPr>
            <a:cxnSpLocks/>
          </p:cNvCxnSpPr>
          <p:nvPr/>
        </p:nvCxnSpPr>
        <p:spPr>
          <a:xfrm>
            <a:off x="6024901" y="1888486"/>
            <a:ext cx="0" cy="3970337"/>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7" name="Chart 6">
            <a:extLst>
              <a:ext uri="{FF2B5EF4-FFF2-40B4-BE49-F238E27FC236}">
                <a16:creationId xmlns:a16="http://schemas.microsoft.com/office/drawing/2014/main" id="{3E627BF9-54EB-6706-0929-DC3BBA5F3DFB}"/>
              </a:ext>
            </a:extLst>
          </p:cNvPr>
          <p:cNvGraphicFramePr/>
          <p:nvPr>
            <p:custDataLst>
              <p:tags r:id="rId14"/>
            </p:custDataLst>
            <p:extLst>
              <p:ext uri="{D42A27DB-BD31-4B8C-83A1-F6EECF244321}">
                <p14:modId xmlns:p14="http://schemas.microsoft.com/office/powerpoint/2010/main" val="914801848"/>
              </p:ext>
            </p:extLst>
          </p:nvPr>
        </p:nvGraphicFramePr>
        <p:xfrm>
          <a:off x="517525" y="2293938"/>
          <a:ext cx="5165725" cy="2513012"/>
        </p:xfrm>
        <a:graphic>
          <a:graphicData uri="http://schemas.openxmlformats.org/drawingml/2006/chart">
            <c:chart xmlns:c="http://schemas.openxmlformats.org/drawingml/2006/chart" xmlns:r="http://schemas.openxmlformats.org/officeDocument/2006/relationships" r:id="rId27"/>
          </a:graphicData>
        </a:graphic>
      </p:graphicFrame>
      <p:cxnSp>
        <p:nvCxnSpPr>
          <p:cNvPr id="262" name="Straight Connector 261">
            <a:extLst>
              <a:ext uri="{FF2B5EF4-FFF2-40B4-BE49-F238E27FC236}">
                <a16:creationId xmlns:a16="http://schemas.microsoft.com/office/drawing/2014/main" id="{195E6262-C8E2-4EA5-B42E-3076029320EF}"/>
              </a:ext>
            </a:extLst>
          </p:cNvPr>
          <p:cNvCxnSpPr/>
          <p:nvPr>
            <p:custDataLst>
              <p:tags r:id="rId15"/>
            </p:custDataLst>
          </p:nvPr>
        </p:nvCxnSpPr>
        <p:spPr bwMode="auto">
          <a:xfrm flipV="1">
            <a:off x="1225551" y="2106613"/>
            <a:ext cx="3749675" cy="1423988"/>
          </a:xfrm>
          <a:prstGeom prst="line">
            <a:avLst/>
          </a:prstGeom>
          <a:ln w="1905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39" name="Textplatzhalter 8">
            <a:extLst>
              <a:ext uri="{FF2B5EF4-FFF2-40B4-BE49-F238E27FC236}">
                <a16:creationId xmlns:a16="http://schemas.microsoft.com/office/drawing/2014/main" id="{9CD9B3CC-4621-45AF-AF2A-90D3A9AF022F}"/>
              </a:ext>
            </a:extLst>
          </p:cNvPr>
          <p:cNvSpPr>
            <a:spLocks noGrp="1"/>
          </p:cNvSpPr>
          <p:nvPr>
            <p:custDataLst>
              <p:tags r:id="rId16"/>
            </p:custDataLst>
          </p:nvPr>
        </p:nvSpPr>
        <p:spPr bwMode="auto">
          <a:xfrm>
            <a:off x="1073150" y="4775200"/>
            <a:ext cx="304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0380BCD6-69FB-4220-80C5-9D40F4BE4E4C}" type="datetime'''''''''''''''''''2''''''''''01''''''9'''''''''''''">
              <a:rPr kumimoji="0" lang="de-DE" altLang="en-US" sz="1200" b="0" i="0" u="none" strike="noStrike" kern="0" cap="none" spc="0" normalizeH="0" baseline="0" noProof="0" smtClean="0">
                <a:ln>
                  <a:noFill/>
                </a:ln>
                <a:solidFill>
                  <a:prstClr val="black"/>
                </a:solidFill>
                <a:effectLst/>
                <a:uLnTx/>
                <a:uFillTx/>
                <a:latin typeface="Bahnschrift" panose="020B0502040204020203" pitchFamily="34" charset="0"/>
                <a:ea typeface="+mn-ea"/>
                <a:cs typeface="+mn-cs"/>
              </a:rPr>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2019</a:t>
            </a:fld>
            <a:endParaRPr kumimoji="0" lang="de-DE" sz="1200" b="0" i="0" u="none" strike="noStrike" kern="0" cap="none" spc="0" normalizeH="0" baseline="0" noProof="0">
              <a:ln>
                <a:noFill/>
              </a:ln>
              <a:solidFill>
                <a:prstClr val="black"/>
              </a:solidFill>
              <a:effectLst/>
              <a:uLnTx/>
              <a:uFillTx/>
              <a:latin typeface="Bahnschrift" panose="020B0502040204020203" pitchFamily="34" charset="0"/>
              <a:ea typeface="+mn-ea"/>
              <a:cs typeface="+mn-cs"/>
            </a:endParaRPr>
          </a:p>
        </p:txBody>
      </p:sp>
      <p:sp>
        <p:nvSpPr>
          <p:cNvPr id="163" name="Textplatzhalter 8">
            <a:extLst>
              <a:ext uri="{FF2B5EF4-FFF2-40B4-BE49-F238E27FC236}">
                <a16:creationId xmlns:a16="http://schemas.microsoft.com/office/drawing/2014/main" id="{B6AA1022-3557-4D39-9DFB-8BF63778203C}"/>
              </a:ext>
            </a:extLst>
          </p:cNvPr>
          <p:cNvSpPr>
            <a:spLocks noGrp="1"/>
          </p:cNvSpPr>
          <p:nvPr>
            <p:custDataLst>
              <p:tags r:id="rId17"/>
            </p:custDataLst>
          </p:nvPr>
        </p:nvSpPr>
        <p:spPr bwMode="auto">
          <a:xfrm>
            <a:off x="4802188" y="477520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C145E50A-293B-4881-907C-8E9B44FA9199}" type="datetime'''''''''''''2''''''''0''''''''''''''''''''''''''''''40'">
              <a:rPr kumimoji="0" lang="de-DE" altLang="en-US" sz="1200" b="0" i="0" u="none" strike="noStrike" kern="0" cap="none" spc="0" normalizeH="0" baseline="0" noProof="0" smtClean="0">
                <a:ln>
                  <a:noFill/>
                </a:ln>
                <a:solidFill>
                  <a:prstClr val="black"/>
                </a:solidFill>
                <a:effectLst/>
                <a:uLnTx/>
                <a:uFillTx/>
                <a:latin typeface="Bahnschrift" panose="020B0502040204020203" pitchFamily="34" charset="0"/>
                <a:ea typeface="+mn-ea"/>
                <a:cs typeface="+mn-cs"/>
              </a:rPr>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2040</a:t>
            </a:fld>
            <a:endParaRPr kumimoji="0" lang="de-DE" sz="1200" b="0" i="0" u="none" strike="noStrike" kern="0" cap="none" spc="0" normalizeH="0" baseline="0" noProof="0">
              <a:ln>
                <a:noFill/>
              </a:ln>
              <a:solidFill>
                <a:prstClr val="black"/>
              </a:solidFill>
              <a:effectLst/>
              <a:uLnTx/>
              <a:uFillTx/>
              <a:latin typeface="Bahnschrift" panose="020B0502040204020203" pitchFamily="34" charset="0"/>
              <a:ea typeface="+mn-ea"/>
              <a:cs typeface="+mn-cs"/>
            </a:endParaRPr>
          </a:p>
        </p:txBody>
      </p:sp>
      <p:sp>
        <p:nvSpPr>
          <p:cNvPr id="157" name="Textplatzhalter 8">
            <a:extLst>
              <a:ext uri="{FF2B5EF4-FFF2-40B4-BE49-F238E27FC236}">
                <a16:creationId xmlns:a16="http://schemas.microsoft.com/office/drawing/2014/main" id="{78685B3A-876B-4957-8BAA-52795C89EEFE}"/>
              </a:ext>
            </a:extLst>
          </p:cNvPr>
          <p:cNvSpPr>
            <a:spLocks noGrp="1"/>
          </p:cNvSpPr>
          <p:nvPr>
            <p:custDataLst>
              <p:tags r:id="rId18"/>
            </p:custDataLst>
          </p:nvPr>
        </p:nvSpPr>
        <p:spPr bwMode="auto">
          <a:xfrm>
            <a:off x="2322513" y="4775200"/>
            <a:ext cx="3063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82B2A53B-7516-4EDF-B0FA-0974E9862688}" type="datetime'''2''0''''''''''''''''''''''''''''''''''''''''''''''''''21'">
              <a:rPr kumimoji="0" lang="de-DE" altLang="en-US" sz="1200" b="0" i="0" u="none" strike="noStrike" kern="0" cap="none" spc="0" normalizeH="0" baseline="0" noProof="0" smtClean="0">
                <a:ln>
                  <a:noFill/>
                </a:ln>
                <a:solidFill>
                  <a:prstClr val="black"/>
                </a:solidFill>
                <a:effectLst/>
                <a:uLnTx/>
                <a:uFillTx/>
                <a:latin typeface="Bahnschrift" panose="020B0502040204020203" pitchFamily="34" charset="0"/>
                <a:ea typeface="+mn-ea"/>
                <a:cs typeface="+mn-cs"/>
              </a:rPr>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2021</a:t>
            </a:fld>
            <a:endParaRPr kumimoji="0" lang="de-DE" sz="1200" b="0" i="0" u="none" strike="noStrike" kern="0" cap="none" spc="0" normalizeH="0" baseline="0" noProof="0">
              <a:ln>
                <a:noFill/>
              </a:ln>
              <a:solidFill>
                <a:prstClr val="black"/>
              </a:solidFill>
              <a:effectLst/>
              <a:uLnTx/>
              <a:uFillTx/>
              <a:latin typeface="Bahnschrift" panose="020B0502040204020203" pitchFamily="34" charset="0"/>
              <a:ea typeface="+mn-ea"/>
              <a:cs typeface="+mn-cs"/>
            </a:endParaRPr>
          </a:p>
        </p:txBody>
      </p:sp>
      <p:sp>
        <p:nvSpPr>
          <p:cNvPr id="160" name="Textplatzhalter 8">
            <a:extLst>
              <a:ext uri="{FF2B5EF4-FFF2-40B4-BE49-F238E27FC236}">
                <a16:creationId xmlns:a16="http://schemas.microsoft.com/office/drawing/2014/main" id="{CC2CE5BA-C66B-4E0E-B99B-BC84C21BCFE7}"/>
              </a:ext>
            </a:extLst>
          </p:cNvPr>
          <p:cNvSpPr>
            <a:spLocks noGrp="1"/>
          </p:cNvSpPr>
          <p:nvPr>
            <p:custDataLst>
              <p:tags r:id="rId19"/>
            </p:custDataLst>
          </p:nvPr>
        </p:nvSpPr>
        <p:spPr bwMode="auto">
          <a:xfrm>
            <a:off x="3559175" y="4775200"/>
            <a:ext cx="3349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2190DE9F-5718-441F-AB48-D04F595DE2E1}" type="datetime'''''''2''''''''''''0''''''''''''2''''''2'''''''''''''''''''">
              <a:rPr kumimoji="0" lang="de-DE" altLang="en-US" sz="1200" b="0" i="0" u="none" strike="noStrike" kern="0" cap="none" spc="0" normalizeH="0" baseline="0" noProof="0" smtClean="0">
                <a:ln>
                  <a:noFill/>
                </a:ln>
                <a:solidFill>
                  <a:prstClr val="black"/>
                </a:solidFill>
                <a:effectLst/>
                <a:uLnTx/>
                <a:uFillTx/>
                <a:latin typeface="Bahnschrift" panose="020B0502040204020203" pitchFamily="34" charset="0"/>
                <a:ea typeface="+mn-ea"/>
                <a:cs typeface="+mn-cs"/>
              </a:rPr>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2022</a:t>
            </a:fld>
            <a:endParaRPr kumimoji="0" lang="de-DE" sz="1200" b="0" i="0" u="none" strike="noStrike" kern="0" cap="none" spc="0" normalizeH="0" baseline="0" noProof="0">
              <a:ln>
                <a:noFill/>
              </a:ln>
              <a:solidFill>
                <a:prstClr val="black"/>
              </a:solidFill>
              <a:effectLst/>
              <a:uLnTx/>
              <a:uFillTx/>
              <a:latin typeface="Bahnschrift" panose="020B0502040204020203" pitchFamily="34" charset="0"/>
              <a:ea typeface="+mn-ea"/>
              <a:cs typeface="+mn-cs"/>
            </a:endParaRPr>
          </a:p>
        </p:txBody>
      </p:sp>
      <p:sp>
        <p:nvSpPr>
          <p:cNvPr id="260" name="Textplatzhalter 8">
            <a:extLst>
              <a:ext uri="{FF2B5EF4-FFF2-40B4-BE49-F238E27FC236}">
                <a16:creationId xmlns:a16="http://schemas.microsoft.com/office/drawing/2014/main" id="{8F61775C-9B70-4774-AAFF-5BE2E819A4A2}"/>
              </a:ext>
            </a:extLst>
          </p:cNvPr>
          <p:cNvSpPr>
            <a:spLocks noGrp="1"/>
          </p:cNvSpPr>
          <p:nvPr>
            <p:custDataLst>
              <p:tags r:id="rId20"/>
            </p:custDataLst>
          </p:nvPr>
        </p:nvSpPr>
        <p:spPr bwMode="auto">
          <a:xfrm>
            <a:off x="2733675" y="2689225"/>
            <a:ext cx="733425" cy="258763"/>
          </a:xfrm>
          <a:prstGeom prst="ellipse">
            <a:avLst/>
          </a:prstGeom>
          <a:solidFill>
            <a:schemeClr val="bg1"/>
          </a:solidFill>
          <a:ln>
            <a:noFill/>
          </a:ln>
          <a:effec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E42984B6-7E8A-4A59-92D5-0701191C39A8}" type="datetime'''''''''''+''''''''''1''''8''3.''''''2''''''''''''''%'">
              <a:rPr kumimoji="0" lang="de-DE" altLang="en-US" sz="1200" b="1" i="0" u="none" strike="noStrike" kern="0" cap="none" spc="0" normalizeH="0" baseline="0" noProof="0" smtClean="0">
                <a:ln>
                  <a:noFill/>
                </a:ln>
                <a:solidFill>
                  <a:prstClr val="black"/>
                </a:solidFill>
                <a:effectLst/>
                <a:uLnTx/>
                <a:uFillTx/>
                <a:latin typeface="Bahnschrift" panose="020B0502040204020203" pitchFamily="34" charset="0"/>
                <a:ea typeface="+mn-ea"/>
                <a:cs typeface="+mn-cs"/>
              </a:rPr>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183.2%</a:t>
            </a:fld>
            <a:endParaRPr kumimoji="0" lang="de-DE" sz="1200" b="1" i="0" u="none" strike="noStrike" kern="0" cap="none" spc="0" normalizeH="0" baseline="0" noProof="0">
              <a:ln>
                <a:noFill/>
              </a:ln>
              <a:solidFill>
                <a:prstClr val="black"/>
              </a:solidFill>
              <a:effectLst/>
              <a:uLnTx/>
              <a:uFillTx/>
              <a:latin typeface="Bahnschrift" panose="020B0502040204020203" pitchFamily="34" charset="0"/>
              <a:ea typeface="+mn-ea"/>
              <a:cs typeface="+mn-cs"/>
            </a:endParaRPr>
          </a:p>
        </p:txBody>
      </p:sp>
      <p:sp>
        <p:nvSpPr>
          <p:cNvPr id="270" name="5. Source">
            <a:extLst>
              <a:ext uri="{FF2B5EF4-FFF2-40B4-BE49-F238E27FC236}">
                <a16:creationId xmlns:a16="http://schemas.microsoft.com/office/drawing/2014/main" id="{D3405791-3928-46F8-89A2-C4084F16F827}"/>
              </a:ext>
            </a:extLst>
          </p:cNvPr>
          <p:cNvSpPr txBox="1"/>
          <p:nvPr>
            <p:custDataLst>
              <p:tags r:id="rId21"/>
            </p:custDataLst>
          </p:nvPr>
        </p:nvSpPr>
        <p:spPr>
          <a:xfrm>
            <a:off x="553972" y="6545973"/>
            <a:ext cx="10287000" cy="123111"/>
          </a:xfrm>
          <a:prstGeom prst="rect">
            <a:avLst/>
          </a:prstGeom>
          <a:noFill/>
        </p:spPr>
        <p:txBody>
          <a:bodyPr vert="horz" wrap="square" lIns="0" tIns="0" rIns="0" bIns="0" rtlCol="0" anchor="b" anchorCtr="0">
            <a:spAutoFit/>
          </a:bodyPr>
          <a:lstStyle/>
          <a:p>
            <a:pPr marL="203200" marR="0" lvl="0" indent="-212725" algn="l" defTabSz="914400" rtl="0" eaLnBrk="1" fontAlgn="base" latinLnBrk="0" hangingPunct="1">
              <a:lnSpc>
                <a:spcPct val="100000"/>
              </a:lnSpc>
              <a:spcBef>
                <a:spcPct val="0"/>
              </a:spcBef>
              <a:spcAft>
                <a:spcPct val="0"/>
              </a:spcAft>
              <a:buClrTx/>
              <a:buSzTx/>
              <a:buFontTx/>
              <a:buNone/>
              <a:tabLst/>
              <a:defRPr/>
            </a:pPr>
            <a:r>
              <a:rPr kumimoji="0" lang="fr-FR"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rPr>
              <a:t>Quelle: </a:t>
            </a:r>
            <a:r>
              <a:rPr kumimoji="0" lang="de-AT"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rPr>
              <a:t>Statistik Austria</a:t>
            </a:r>
            <a:r>
              <a:rPr kumimoji="0" lang="fr-FR"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rPr>
              <a:t>; </a:t>
            </a:r>
            <a:r>
              <a:rPr kumimoji="0" lang="de-AT"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rPr>
              <a:t>Wirtschaftswachstum und Beschäftigung durch Investitionen in Erneuerbare Energien, Johannes Kepler Universität Linz </a:t>
            </a:r>
            <a:r>
              <a:rPr kumimoji="0" lang="fr-FR"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rPr>
              <a:t> </a:t>
            </a:r>
            <a:endPar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endParaRPr>
          </a:p>
        </p:txBody>
      </p:sp>
      <p:sp>
        <p:nvSpPr>
          <p:cNvPr id="283" name="4. Footnote">
            <a:extLst>
              <a:ext uri="{FF2B5EF4-FFF2-40B4-BE49-F238E27FC236}">
                <a16:creationId xmlns:a16="http://schemas.microsoft.com/office/drawing/2014/main" id="{60AC2ABA-F535-4FBC-AD20-26664849ADE0}"/>
              </a:ext>
            </a:extLst>
          </p:cNvPr>
          <p:cNvSpPr txBox="1"/>
          <p:nvPr>
            <p:custDataLst>
              <p:tags r:id="rId22"/>
            </p:custDataLst>
          </p:nvPr>
        </p:nvSpPr>
        <p:spPr>
          <a:xfrm>
            <a:off x="553972" y="6248474"/>
            <a:ext cx="9214868" cy="246221"/>
          </a:xfrm>
          <a:prstGeom prst="rect">
            <a:avLst/>
          </a:prstGeom>
          <a:noFill/>
        </p:spPr>
        <p:txBody>
          <a:bodyPr vert="horz" wrap="square" lIns="0" tIns="0" rIns="0" bIns="0" rtlCol="0" anchor="b" anchorCtr="0">
            <a:spAutoFit/>
          </a:bodyPr>
          <a:lstStyle>
            <a:defPPr>
              <a:defRPr lang="de-AT"/>
            </a:defPPr>
            <a:lvl1pPr marL="203200" indent="-212725">
              <a:defRPr sz="800">
                <a:latin typeface="Trebuchet MS" pitchFamily="34" charset="0"/>
              </a:defRPr>
            </a:lvl1pPr>
          </a:lstStyle>
          <a:p>
            <a:pPr marL="203200" marR="0" lvl="0" indent="-212725" algn="l" defTabSz="914400" rtl="0" eaLnBrk="1" fontAlgn="base" latinLnBrk="0" hangingPunct="1">
              <a:lnSpc>
                <a:spcPct val="100000"/>
              </a:lnSpc>
              <a:spcBef>
                <a:spcPct val="0"/>
              </a:spcBef>
              <a:spcAft>
                <a:spcPct val="0"/>
              </a:spcAft>
              <a:buClrTx/>
              <a:buSzTx/>
              <a:buFontTx/>
              <a:buNone/>
              <a:tabLst/>
              <a:defRPr/>
            </a:pP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rPr>
              <a:t>1.	</a:t>
            </a:r>
            <a:r>
              <a:rPr kumimoji="0" lang="de-AT"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rPr>
              <a:t>Ba</a:t>
            </a:r>
            <a:r>
              <a:rPr kumimoji="0" lang="de-AT" sz="800" b="0" i="0" u="none" strike="noStrike" kern="1200" cap="none" spc="0" normalizeH="0" baseline="0" noProof="0" dirty="0" err="1">
                <a:ln>
                  <a:noFill/>
                </a:ln>
                <a:solidFill>
                  <a:srgbClr val="004FA1"/>
                </a:solidFill>
                <a:effectLst/>
                <a:uLnTx/>
                <a:uFillTx/>
                <a:latin typeface="Bahnschrift" panose="020B0502040204020203" pitchFamily="34" charset="0"/>
                <a:ea typeface="+mn-ea"/>
                <a:cs typeface="+mn-cs"/>
              </a:rPr>
              <a:t>sis</a:t>
            </a:r>
            <a:r>
              <a:rPr kumimoji="0" lang="de-AT"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rPr>
              <a:t> sind WKÖ-Berechnungen zu aktuellen Preisen</a:t>
            </a:r>
          </a:p>
          <a:p>
            <a:pPr marL="203200" marR="0" lvl="0" indent="-212725" algn="l" defTabSz="914400" rtl="0" eaLnBrk="1" fontAlgn="base" latinLnBrk="0" hangingPunct="1">
              <a:lnSpc>
                <a:spcPct val="100000"/>
              </a:lnSpc>
              <a:spcBef>
                <a:spcPct val="0"/>
              </a:spcBef>
              <a:spcAft>
                <a:spcPct val="0"/>
              </a:spcAft>
              <a:buClrTx/>
              <a:buSzTx/>
              <a:buFontTx/>
              <a:buNone/>
              <a:tabLst/>
              <a:defRPr/>
            </a:pP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rPr>
              <a:t>2.	</a:t>
            </a:r>
            <a:r>
              <a:rPr kumimoji="0" lang="de-AT"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rPr>
              <a:t>Basis für die Berechnungen sind die von der JKU erwarteten Ausbauszenarien</a:t>
            </a:r>
            <a:endPar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endParaRPr>
          </a:p>
        </p:txBody>
      </p:sp>
      <p:sp>
        <p:nvSpPr>
          <p:cNvPr id="288" name="TextBox 287">
            <a:extLst>
              <a:ext uri="{FF2B5EF4-FFF2-40B4-BE49-F238E27FC236}">
                <a16:creationId xmlns:a16="http://schemas.microsoft.com/office/drawing/2014/main" id="{025F9A62-E256-4B4A-9D43-64A4284926F5}"/>
              </a:ext>
            </a:extLst>
          </p:cNvPr>
          <p:cNvSpPr txBox="1"/>
          <p:nvPr/>
        </p:nvSpPr>
        <p:spPr>
          <a:xfrm>
            <a:off x="601830" y="5147205"/>
            <a:ext cx="4998870" cy="461665"/>
          </a:xfrm>
          <a:prstGeom prst="rect">
            <a:avLst/>
          </a:prstGeom>
          <a:solidFill>
            <a:srgbClr val="BADDFE"/>
          </a:solid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AT" sz="1200" b="0" i="0" u="none" strike="noStrike" kern="1200" cap="none" spc="0" normalizeH="0" baseline="0" noProof="0" dirty="0">
                <a:ln>
                  <a:noFill/>
                </a:ln>
                <a:solidFill>
                  <a:srgbClr val="2E2E38"/>
                </a:solidFill>
                <a:effectLst/>
                <a:uLnTx/>
                <a:uFillTx/>
                <a:latin typeface="Bahnschrift" panose="020B0502040204020203" pitchFamily="34" charset="0"/>
                <a:ea typeface="+mn-ea"/>
                <a:cs typeface="Arial" panose="020B0604020202020204" pitchFamily="34" charset="0"/>
              </a:rPr>
              <a:t>Bis 2040 kostet den Staat der Mangel an Arbeitskräften </a:t>
            </a:r>
            <a:r>
              <a:rPr kumimoji="0" lang="de-AT" sz="1200" b="1" i="0" u="none" strike="noStrike" kern="1200" cap="none" spc="0" normalizeH="0" baseline="0" noProof="0" dirty="0">
                <a:ln>
                  <a:noFill/>
                </a:ln>
                <a:solidFill>
                  <a:srgbClr val="2E2E38"/>
                </a:solidFill>
                <a:effectLst/>
                <a:uLnTx/>
                <a:uFillTx/>
                <a:latin typeface="Bahnschrift" panose="020B0502040204020203" pitchFamily="34" charset="0"/>
                <a:ea typeface="+mn-ea"/>
                <a:cs typeface="Arial" panose="020B0604020202020204" pitchFamily="34" charset="0"/>
              </a:rPr>
              <a:t>150 Milliarden Euro</a:t>
            </a:r>
            <a:r>
              <a:rPr kumimoji="0" lang="de-AT" sz="1200" b="1" i="0" u="none" strike="noStrike" kern="1200" cap="none" spc="0" normalizeH="0" baseline="30000" noProof="0" dirty="0">
                <a:ln>
                  <a:noFill/>
                </a:ln>
                <a:solidFill>
                  <a:srgbClr val="2E2E38"/>
                </a:solidFill>
                <a:effectLst/>
                <a:uLnTx/>
                <a:uFillTx/>
                <a:latin typeface="Bahnschrift" panose="020B0502040204020203" pitchFamily="34" charset="0"/>
                <a:ea typeface="+mn-ea"/>
                <a:cs typeface="Arial" panose="020B0604020202020204" pitchFamily="34" charset="0"/>
              </a:rPr>
              <a:t>1</a:t>
            </a:r>
            <a:r>
              <a:rPr kumimoji="0" lang="de-AT" sz="1200" b="1" i="0" u="none" strike="noStrike" kern="1200" cap="none" spc="0" normalizeH="0" baseline="0" noProof="0" dirty="0">
                <a:ln>
                  <a:noFill/>
                </a:ln>
                <a:solidFill>
                  <a:srgbClr val="2E2E38"/>
                </a:solidFill>
                <a:effectLst/>
                <a:uLnTx/>
                <a:uFillTx/>
                <a:latin typeface="Bahnschrift" panose="020B0502040204020203" pitchFamily="34" charset="0"/>
                <a:ea typeface="+mn-ea"/>
                <a:cs typeface="Arial" panose="020B0604020202020204" pitchFamily="34" charset="0"/>
              </a:rPr>
              <a:t> </a:t>
            </a:r>
            <a:r>
              <a:rPr kumimoji="0" lang="de-AT" sz="1200" b="0" i="0" u="none" strike="noStrike" kern="1200" cap="none" spc="0" normalizeH="0" baseline="0" noProof="0" dirty="0">
                <a:ln>
                  <a:noFill/>
                </a:ln>
                <a:solidFill>
                  <a:srgbClr val="2E2E38"/>
                </a:solidFill>
                <a:effectLst/>
                <a:uLnTx/>
                <a:uFillTx/>
                <a:latin typeface="Bahnschrift" panose="020B0502040204020203" pitchFamily="34" charset="0"/>
                <a:ea typeface="+mn-ea"/>
                <a:cs typeface="Arial" panose="020B0604020202020204" pitchFamily="34" charset="0"/>
              </a:rPr>
              <a:t>an Steuereinnahmen &amp; Sozialversicherungsbeiträgen</a:t>
            </a:r>
          </a:p>
        </p:txBody>
      </p:sp>
      <p:sp>
        <p:nvSpPr>
          <p:cNvPr id="54" name="TextBox 53">
            <a:extLst>
              <a:ext uri="{FF2B5EF4-FFF2-40B4-BE49-F238E27FC236}">
                <a16:creationId xmlns:a16="http://schemas.microsoft.com/office/drawing/2014/main" id="{29CEED5E-BC23-4FAA-91E1-CDDBE322F4B3}"/>
              </a:ext>
            </a:extLst>
          </p:cNvPr>
          <p:cNvSpPr txBox="1"/>
          <p:nvPr/>
        </p:nvSpPr>
        <p:spPr>
          <a:xfrm>
            <a:off x="6317458" y="5142691"/>
            <a:ext cx="5382413" cy="646331"/>
          </a:xfrm>
          <a:prstGeom prst="rect">
            <a:avLst/>
          </a:prstGeom>
          <a:solidFill>
            <a:srgbClr val="BADDFE"/>
          </a:solid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AT" sz="1200" b="0" i="0" u="none" strike="noStrike" kern="1200" cap="none" spc="0" normalizeH="0" baseline="0" noProof="0" dirty="0">
                <a:ln>
                  <a:noFill/>
                </a:ln>
                <a:solidFill>
                  <a:srgbClr val="2E2E38"/>
                </a:solidFill>
                <a:effectLst/>
                <a:uLnTx/>
                <a:uFillTx/>
                <a:latin typeface="Bahnschrift" panose="020B0502040204020203" pitchFamily="34" charset="0"/>
                <a:ea typeface="+mn-ea"/>
                <a:cs typeface="Arial" panose="020B0604020202020204" pitchFamily="34" charset="0"/>
              </a:rPr>
              <a:t>Mit dem Ausbau der hier betrachteten Technologien zur Energieproduktion und -speicherung von Erneuerbaren bis 2030 werden pro Jahr durchschnittlich </a:t>
            </a:r>
            <a:r>
              <a:rPr kumimoji="0" lang="de-AT" sz="1200" b="1" i="0" u="none" strike="noStrike" kern="1200" cap="none" spc="0" normalizeH="0" baseline="0" noProof="0" dirty="0">
                <a:ln>
                  <a:noFill/>
                </a:ln>
                <a:solidFill>
                  <a:srgbClr val="2E2E38"/>
                </a:solidFill>
                <a:effectLst/>
                <a:uLnTx/>
                <a:uFillTx/>
                <a:latin typeface="Bahnschrift" panose="020B0502040204020203" pitchFamily="34" charset="0"/>
                <a:ea typeface="+mn-ea"/>
                <a:cs typeface="Arial" panose="020B0604020202020204" pitchFamily="34" charset="0"/>
              </a:rPr>
              <a:t>mehr als 100.000 Arbeitsplätze</a:t>
            </a:r>
            <a:r>
              <a:rPr kumimoji="0" lang="de-AT" sz="1200" b="0" i="0" u="none" strike="noStrike" kern="1200" cap="none" spc="0" normalizeH="0" baseline="0" noProof="0" dirty="0">
                <a:ln>
                  <a:noFill/>
                </a:ln>
                <a:solidFill>
                  <a:srgbClr val="2E2E38"/>
                </a:solidFill>
                <a:effectLst/>
                <a:uLnTx/>
                <a:uFillTx/>
                <a:latin typeface="Bahnschrift" panose="020B0502040204020203" pitchFamily="34" charset="0"/>
                <a:ea typeface="+mn-ea"/>
                <a:cs typeface="Arial" panose="020B0604020202020204" pitchFamily="34" charset="0"/>
              </a:rPr>
              <a:t> geschaffen oder gesichert </a:t>
            </a:r>
          </a:p>
        </p:txBody>
      </p:sp>
      <p:sp>
        <p:nvSpPr>
          <p:cNvPr id="5" name="Slide Number Placeholder 3">
            <a:extLst>
              <a:ext uri="{FF2B5EF4-FFF2-40B4-BE49-F238E27FC236}">
                <a16:creationId xmlns:a16="http://schemas.microsoft.com/office/drawing/2014/main" id="{31D7C040-D958-6789-0E98-A1D6ABC4093D}"/>
              </a:ext>
            </a:extLst>
          </p:cNvPr>
          <p:cNvSpPr>
            <a:spLocks noGrp="1"/>
          </p:cNvSpPr>
          <p:nvPr>
            <p:ph type="sldNum" sz="quarter" idx="10"/>
          </p:nvPr>
        </p:nvSpPr>
        <p:spPr>
          <a:xfrm>
            <a:off x="167425" y="6494471"/>
            <a:ext cx="350100" cy="227003"/>
          </a:xfr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1920E2B-FC99-4A38-BFFD-416A818AECB0}" type="slidenum">
              <a:rPr kumimoji="0" lang="de-AT" sz="800" b="0" i="0" u="none" strike="noStrike" kern="1200" cap="none" spc="0" normalizeH="0" baseline="0" noProof="0" smtClean="0">
                <a:ln>
                  <a:noFill/>
                </a:ln>
                <a:solidFill>
                  <a:prstClr val="white">
                    <a:lumMod val="50000"/>
                  </a:prstClr>
                </a:solidFill>
                <a:effectLst/>
                <a:uLnTx/>
                <a:uFillTx/>
                <a:latin typeface="Bahnschrift" panose="020B0502040204020203" pitchFamily="34"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4</a:t>
            </a:fld>
            <a:endParaRPr kumimoji="0" lang="de-AT" sz="800" b="0" i="0" u="none" strike="noStrike" kern="1200" cap="none" spc="0" normalizeH="0" baseline="0" noProof="0" dirty="0">
              <a:ln>
                <a:noFill/>
              </a:ln>
              <a:solidFill>
                <a:prstClr val="white">
                  <a:lumMod val="50000"/>
                </a:prstClr>
              </a:solidFill>
              <a:effectLst/>
              <a:uLnTx/>
              <a:uFillTx/>
              <a:latin typeface="Bahnschrift" panose="020B0502040204020203" pitchFamily="34" charset="0"/>
              <a:ea typeface="+mn-ea"/>
              <a:cs typeface="+mn-cs"/>
            </a:endParaRPr>
          </a:p>
        </p:txBody>
      </p:sp>
    </p:spTree>
    <p:extLst>
      <p:ext uri="{BB962C8B-B14F-4D97-AF65-F5344CB8AC3E}">
        <p14:creationId xmlns:p14="http://schemas.microsoft.com/office/powerpoint/2010/main" val="16941693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20165136-451B-710C-8637-4D9717E0007D}"/>
              </a:ext>
            </a:extLst>
          </p:cNvPr>
          <p:cNvSpPr>
            <a:spLocks noGrp="1"/>
          </p:cNvSpPr>
          <p:nvPr>
            <p:ph type="sldNum" sz="quarter" idx="10"/>
          </p:nvPr>
        </p:nvSpPr>
        <p:spPr/>
        <p:txBody>
          <a:bodyPr/>
          <a:lstStyle/>
          <a:p>
            <a:fld id="{01920E2B-FC99-4A38-BFFD-416A818AECB0}" type="slidenum">
              <a:rPr lang="de-AT" smtClean="0"/>
              <a:pPr/>
              <a:t>5</a:t>
            </a:fld>
            <a:endParaRPr lang="de-AT"/>
          </a:p>
        </p:txBody>
      </p:sp>
      <p:sp>
        <p:nvSpPr>
          <p:cNvPr id="7" name="2. Slide Title">
            <a:extLst>
              <a:ext uri="{FF2B5EF4-FFF2-40B4-BE49-F238E27FC236}">
                <a16:creationId xmlns:a16="http://schemas.microsoft.com/office/drawing/2014/main" id="{C768BE24-0F64-EA1B-854C-BD78FFCB5BE8}"/>
              </a:ext>
            </a:extLst>
          </p:cNvPr>
          <p:cNvSpPr txBox="1">
            <a:spLocks/>
          </p:cNvSpPr>
          <p:nvPr>
            <p:custDataLst>
              <p:tags r:id="rId1"/>
            </p:custDataLst>
          </p:nvPr>
        </p:nvSpPr>
        <p:spPr bwMode="auto">
          <a:xfrm>
            <a:off x="838799" y="343790"/>
            <a:ext cx="9922541" cy="781752"/>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b" anchorCtr="0" compatLnSpc="1">
            <a:prstTxWarp prst="textNoShape">
              <a:avLst/>
            </a:prstTxWarp>
            <a:spAutoFit/>
          </a:bodyPr>
          <a:lstStyle>
            <a:lvl1pPr algn="l" rtl="0" eaLnBrk="1" fontAlgn="base" hangingPunct="1">
              <a:lnSpc>
                <a:spcPct val="80000"/>
              </a:lnSpc>
              <a:spcBef>
                <a:spcPct val="0"/>
              </a:spcBef>
              <a:spcAft>
                <a:spcPct val="0"/>
              </a:spcAft>
              <a:defRPr sz="2800" b="0">
                <a:solidFill>
                  <a:schemeClr val="tx1"/>
                </a:solidFill>
                <a:latin typeface="Bahnschrift" panose="020B0502040204020203" pitchFamily="34" charset="0"/>
                <a:ea typeface="+mj-ea"/>
                <a:cs typeface="+mj-cs"/>
              </a:defRPr>
            </a:lvl1pPr>
            <a:lvl2pPr algn="l" rtl="0" eaLnBrk="1" fontAlgn="base" hangingPunct="1">
              <a:lnSpc>
                <a:spcPct val="80000"/>
              </a:lnSpc>
              <a:spcBef>
                <a:spcPct val="0"/>
              </a:spcBef>
              <a:spcAft>
                <a:spcPct val="0"/>
              </a:spcAft>
              <a:defRPr sz="3000">
                <a:solidFill>
                  <a:srgbClr val="4C5D68"/>
                </a:solidFill>
                <a:latin typeface="Trebuchet MS" pitchFamily="34" charset="0"/>
              </a:defRPr>
            </a:lvl2pPr>
            <a:lvl3pPr algn="l" rtl="0" eaLnBrk="1" fontAlgn="base" hangingPunct="1">
              <a:lnSpc>
                <a:spcPct val="80000"/>
              </a:lnSpc>
              <a:spcBef>
                <a:spcPct val="0"/>
              </a:spcBef>
              <a:spcAft>
                <a:spcPct val="0"/>
              </a:spcAft>
              <a:defRPr sz="3000">
                <a:solidFill>
                  <a:srgbClr val="4C5D68"/>
                </a:solidFill>
                <a:latin typeface="Trebuchet MS" pitchFamily="34" charset="0"/>
              </a:defRPr>
            </a:lvl3pPr>
            <a:lvl4pPr algn="l" rtl="0" eaLnBrk="1" fontAlgn="base" hangingPunct="1">
              <a:lnSpc>
                <a:spcPct val="80000"/>
              </a:lnSpc>
              <a:spcBef>
                <a:spcPct val="0"/>
              </a:spcBef>
              <a:spcAft>
                <a:spcPct val="0"/>
              </a:spcAft>
              <a:defRPr sz="3000">
                <a:solidFill>
                  <a:srgbClr val="4C5D68"/>
                </a:solidFill>
                <a:latin typeface="Trebuchet MS" pitchFamily="34" charset="0"/>
              </a:defRPr>
            </a:lvl4pPr>
            <a:lvl5pPr algn="l" rtl="0" eaLnBrk="1" fontAlgn="base" hangingPunct="1">
              <a:lnSpc>
                <a:spcPct val="80000"/>
              </a:lnSpc>
              <a:spcBef>
                <a:spcPct val="0"/>
              </a:spcBef>
              <a:spcAft>
                <a:spcPct val="0"/>
              </a:spcAft>
              <a:defRPr sz="3000">
                <a:solidFill>
                  <a:srgbClr val="4C5D68"/>
                </a:solidFill>
                <a:latin typeface="Trebuchet MS" pitchFamily="34" charset="0"/>
              </a:defRPr>
            </a:lvl5pPr>
            <a:lvl6pPr marL="457200" algn="l" rtl="0" eaLnBrk="1" fontAlgn="base" hangingPunct="1">
              <a:lnSpc>
                <a:spcPct val="80000"/>
              </a:lnSpc>
              <a:spcBef>
                <a:spcPct val="0"/>
              </a:spcBef>
              <a:spcAft>
                <a:spcPct val="0"/>
              </a:spcAft>
              <a:defRPr sz="3000">
                <a:solidFill>
                  <a:srgbClr val="4C5D68"/>
                </a:solidFill>
                <a:latin typeface="Trebuchet MS" pitchFamily="34" charset="0"/>
              </a:defRPr>
            </a:lvl6pPr>
            <a:lvl7pPr marL="914400" algn="l" rtl="0" eaLnBrk="1" fontAlgn="base" hangingPunct="1">
              <a:lnSpc>
                <a:spcPct val="80000"/>
              </a:lnSpc>
              <a:spcBef>
                <a:spcPct val="0"/>
              </a:spcBef>
              <a:spcAft>
                <a:spcPct val="0"/>
              </a:spcAft>
              <a:defRPr sz="3000">
                <a:solidFill>
                  <a:srgbClr val="4C5D68"/>
                </a:solidFill>
                <a:latin typeface="Trebuchet MS" pitchFamily="34" charset="0"/>
              </a:defRPr>
            </a:lvl7pPr>
            <a:lvl8pPr marL="1371600" algn="l" rtl="0" eaLnBrk="1" fontAlgn="base" hangingPunct="1">
              <a:lnSpc>
                <a:spcPct val="80000"/>
              </a:lnSpc>
              <a:spcBef>
                <a:spcPct val="0"/>
              </a:spcBef>
              <a:spcAft>
                <a:spcPct val="0"/>
              </a:spcAft>
              <a:defRPr sz="3000">
                <a:solidFill>
                  <a:srgbClr val="4C5D68"/>
                </a:solidFill>
                <a:latin typeface="Trebuchet MS" pitchFamily="34" charset="0"/>
              </a:defRPr>
            </a:lvl8pPr>
            <a:lvl9pPr marL="1828800" algn="l" rtl="0" eaLnBrk="1" fontAlgn="base" hangingPunct="1">
              <a:lnSpc>
                <a:spcPct val="80000"/>
              </a:lnSpc>
              <a:spcBef>
                <a:spcPct val="0"/>
              </a:spcBef>
              <a:spcAft>
                <a:spcPct val="0"/>
              </a:spcAft>
              <a:defRPr sz="3000">
                <a:solidFill>
                  <a:srgbClr val="4C5D68"/>
                </a:solidFill>
                <a:latin typeface="Trebuchet MS" pitchFamily="34" charset="0"/>
              </a:defRPr>
            </a:lvl9pPr>
          </a:lstStyle>
          <a:p>
            <a:r>
              <a:rPr lang="de-DE" sz="2800" b="0" kern="0" dirty="0">
                <a:ln>
                  <a:noFill/>
                </a:ln>
                <a:solidFill>
                  <a:sysClr val="windowText" lastClr="000000"/>
                </a:solidFill>
                <a:latin typeface="Bahnschrift" panose="020B0502040204020203" pitchFamily="34" charset="0"/>
              </a:rPr>
              <a:t>Wichtige Rohstoffe für die Technologien der Energiewende kommen vor allem aus China</a:t>
            </a:r>
            <a:endParaRPr lang="de-DE" kern="0" dirty="0"/>
          </a:p>
        </p:txBody>
      </p:sp>
      <p:grpSp>
        <p:nvGrpSpPr>
          <p:cNvPr id="9" name="Group 35">
            <a:extLst>
              <a:ext uri="{FF2B5EF4-FFF2-40B4-BE49-F238E27FC236}">
                <a16:creationId xmlns:a16="http://schemas.microsoft.com/office/drawing/2014/main" id="{B68F4162-1F08-6D68-A066-641137BF953C}"/>
              </a:ext>
            </a:extLst>
          </p:cNvPr>
          <p:cNvGrpSpPr>
            <a:grpSpLocks/>
          </p:cNvGrpSpPr>
          <p:nvPr/>
        </p:nvGrpSpPr>
        <p:grpSpPr>
          <a:xfrm>
            <a:off x="9447731" y="1603928"/>
            <a:ext cx="2453985" cy="287847"/>
            <a:chOff x="554736" y="2484380"/>
            <a:chExt cx="7827264" cy="287847"/>
          </a:xfrm>
        </p:grpSpPr>
        <p:sp>
          <p:nvSpPr>
            <p:cNvPr id="10" name="TextBox 36">
              <a:extLst>
                <a:ext uri="{FF2B5EF4-FFF2-40B4-BE49-F238E27FC236}">
                  <a16:creationId xmlns:a16="http://schemas.microsoft.com/office/drawing/2014/main" id="{B743D6E9-9115-2369-7CE5-A4DA925C556A}"/>
                </a:ext>
              </a:extLst>
            </p:cNvPr>
            <p:cNvSpPr txBox="1">
              <a:spLocks/>
            </p:cNvSpPr>
            <p:nvPr/>
          </p:nvSpPr>
          <p:spPr>
            <a:xfrm>
              <a:off x="554736" y="2484380"/>
              <a:ext cx="7827264" cy="249923"/>
            </a:xfrm>
            <a:prstGeom prst="rect">
              <a:avLst/>
            </a:prstGeom>
          </p:spPr>
          <p:txBody>
            <a:bodyPr vert="horz" wrap="square" lIns="0" tIns="0" rIns="0" bIns="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b="1" i="0" u="none" strike="noStrike" kern="1200" cap="none" spc="0" normalizeH="0" baseline="0" noProof="0" dirty="0">
                  <a:ln>
                    <a:noFill/>
                  </a:ln>
                  <a:solidFill>
                    <a:srgbClr val="000000"/>
                  </a:solidFill>
                  <a:effectLst/>
                  <a:uLnTx/>
                  <a:uFillTx/>
                  <a:latin typeface="Bahnschrift" panose="020B0502040204020203" pitchFamily="34" charset="0"/>
                </a:rPr>
                <a:t>Synthese</a:t>
              </a:r>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ndParaRPr>
            </a:p>
          </p:txBody>
        </p:sp>
        <p:cxnSp>
          <p:nvCxnSpPr>
            <p:cNvPr id="11" name="LineBasicDefault 455">
              <a:extLst>
                <a:ext uri="{FF2B5EF4-FFF2-40B4-BE49-F238E27FC236}">
                  <a16:creationId xmlns:a16="http://schemas.microsoft.com/office/drawing/2014/main" id="{DF8859A5-FF3F-C15D-847D-FBDF43B5EAFB}"/>
                </a:ext>
              </a:extLst>
            </p:cNvPr>
            <p:cNvCxnSpPr>
              <a:cxnSpLocks/>
            </p:cNvCxnSpPr>
            <p:nvPr>
              <p:custDataLst>
                <p:tags r:id="rId49"/>
              </p:custDataLst>
            </p:nvPr>
          </p:nvCxnSpPr>
          <p:spPr>
            <a:xfrm>
              <a:off x="554736" y="2772227"/>
              <a:ext cx="7827264" cy="0"/>
            </a:xfrm>
            <a:prstGeom prst="straightConnector1">
              <a:avLst/>
            </a:prstGeom>
            <a:ln w="12700" cap="flat">
              <a:solidFill>
                <a:srgbClr val="004FA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5" name="TextBox 13">
            <a:extLst>
              <a:ext uri="{FF2B5EF4-FFF2-40B4-BE49-F238E27FC236}">
                <a16:creationId xmlns:a16="http://schemas.microsoft.com/office/drawing/2014/main" id="{1A8BD7DA-D6E4-4397-23E1-5A43B984FA13}"/>
              </a:ext>
            </a:extLst>
          </p:cNvPr>
          <p:cNvSpPr txBox="1">
            <a:spLocks/>
          </p:cNvSpPr>
          <p:nvPr>
            <p:custDataLst>
              <p:tags r:id="rId2"/>
            </p:custDataLst>
          </p:nvPr>
        </p:nvSpPr>
        <p:spPr>
          <a:xfrm>
            <a:off x="9455981" y="2006315"/>
            <a:ext cx="2453985" cy="33239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2000"/>
              </a:spcBef>
              <a:spcAft>
                <a:spcPts val="300"/>
              </a:spcAft>
              <a:buClr>
                <a:srgbClr val="000000"/>
              </a:buClr>
              <a:buSzPct val="100000"/>
              <a:buFont typeface="Segoe UI" panose="020B0502040204020203" pitchFamily="34" charset="0"/>
              <a:buChar char="​"/>
              <a:tabLst/>
              <a:defRPr/>
            </a:pPr>
            <a:r>
              <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rPr>
              <a:t>Die </a:t>
            </a: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t>Produktion von Rohstoffen </a:t>
            </a:r>
            <a:r>
              <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rPr>
              <a:t>für die Technologien der </a:t>
            </a: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t>Energiewende</a:t>
            </a:r>
            <a:r>
              <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rPr>
              <a:t> ist </a:t>
            </a: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t>global ungleich verteilt</a:t>
            </a:r>
          </a:p>
          <a:p>
            <a:pPr marL="0" marR="0" lvl="0" indent="0" algn="l" defTabSz="914400" rtl="0" eaLnBrk="1" fontAlgn="auto" latinLnBrk="0" hangingPunct="1">
              <a:lnSpc>
                <a:spcPct val="100000"/>
              </a:lnSpc>
              <a:spcBef>
                <a:spcPts val="2000"/>
              </a:spcBef>
              <a:spcAft>
                <a:spcPts val="300"/>
              </a:spcAft>
              <a:buClr>
                <a:srgbClr val="000000"/>
              </a:buClr>
              <a:buSzPct val="100000"/>
              <a:buFont typeface="Segoe UI" panose="020B0502040204020203" pitchFamily="34" charset="0"/>
              <a:buChar char="​"/>
              <a:tabLst/>
              <a:defRPr/>
            </a:pPr>
            <a:r>
              <a:rPr lang="de-DE" sz="1400" dirty="0">
                <a:solidFill>
                  <a:srgbClr val="000000"/>
                </a:solidFill>
                <a:latin typeface="Bahnschrift" panose="020B0502040204020203" pitchFamily="34" charset="0"/>
              </a:rPr>
              <a:t>Vor allem </a:t>
            </a:r>
            <a:r>
              <a:rPr lang="de-DE" sz="1400" b="1" dirty="0">
                <a:solidFill>
                  <a:srgbClr val="000000"/>
                </a:solidFill>
                <a:latin typeface="Bahnschrift" panose="020B0502040204020203" pitchFamily="34" charset="0"/>
              </a:rPr>
              <a:t>in China </a:t>
            </a:r>
            <a:r>
              <a:rPr lang="de-DE" sz="1400" dirty="0">
                <a:solidFill>
                  <a:srgbClr val="000000"/>
                </a:solidFill>
                <a:latin typeface="Bahnschrift" panose="020B0502040204020203" pitchFamily="34" charset="0"/>
              </a:rPr>
              <a:t>befindet sich ein </a:t>
            </a:r>
            <a:r>
              <a:rPr lang="de-DE" sz="1400" b="1" dirty="0">
                <a:solidFill>
                  <a:srgbClr val="000000"/>
                </a:solidFill>
                <a:latin typeface="Bahnschrift" panose="020B0502040204020203" pitchFamily="34" charset="0"/>
              </a:rPr>
              <a:t>Großteil der Produktionskapazitäten</a:t>
            </a:r>
            <a:r>
              <a:rPr lang="de-DE" sz="1400" dirty="0">
                <a:solidFill>
                  <a:srgbClr val="000000"/>
                </a:solidFill>
                <a:latin typeface="Bahnschrift" panose="020B0502040204020203" pitchFamily="34" charset="0"/>
              </a:rPr>
              <a:t>, speziell im Bereich seltene Erden, Polysilikon und Kobalt</a:t>
            </a:r>
          </a:p>
          <a:p>
            <a:pPr marL="0" marR="0" lvl="0" indent="0" algn="l" defTabSz="914400" rtl="0" eaLnBrk="1" fontAlgn="auto" latinLnBrk="0" hangingPunct="1">
              <a:lnSpc>
                <a:spcPct val="100000"/>
              </a:lnSpc>
              <a:spcBef>
                <a:spcPts val="2000"/>
              </a:spcBef>
              <a:spcAft>
                <a:spcPts val="300"/>
              </a:spcAft>
              <a:buClr>
                <a:srgbClr val="000000"/>
              </a:buClr>
              <a:buSzPct val="100000"/>
              <a:buFont typeface="Segoe UI" panose="020B0502040204020203" pitchFamily="34" charset="0"/>
              <a:buChar char="​"/>
              <a:tabLst/>
              <a:defRPr/>
            </a:pP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t>Europa</a:t>
            </a:r>
            <a:r>
              <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rPr>
              <a:t> kann in den Bereichen </a:t>
            </a: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t>seltene Erden, Lithium und Nickel keine relevanten Produktionskapazitäten </a:t>
            </a:r>
            <a:r>
              <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rPr>
              <a:t>vorweisen, daher </a:t>
            </a: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t>Europäische Kooperation</a:t>
            </a:r>
            <a:r>
              <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rPr>
              <a:t> für internationale </a:t>
            </a: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t>Partnerschaften &amp; Diversifikation</a:t>
            </a:r>
          </a:p>
        </p:txBody>
      </p:sp>
      <p:cxnSp>
        <p:nvCxnSpPr>
          <p:cNvPr id="16" name="Straight Connector 122">
            <a:extLst>
              <a:ext uri="{FF2B5EF4-FFF2-40B4-BE49-F238E27FC236}">
                <a16:creationId xmlns:a16="http://schemas.microsoft.com/office/drawing/2014/main" id="{5971214E-8D5E-F391-3D0C-748D36E17140}"/>
              </a:ext>
            </a:extLst>
          </p:cNvPr>
          <p:cNvCxnSpPr>
            <a:cxnSpLocks/>
          </p:cNvCxnSpPr>
          <p:nvPr/>
        </p:nvCxnSpPr>
        <p:spPr>
          <a:xfrm>
            <a:off x="9313106" y="1543039"/>
            <a:ext cx="0" cy="4587408"/>
          </a:xfrm>
          <a:prstGeom prst="line">
            <a:avLst/>
          </a:prstGeom>
          <a:ln w="19050">
            <a:solidFill>
              <a:srgbClr val="004FA1"/>
            </a:solidFill>
          </a:ln>
        </p:spPr>
        <p:style>
          <a:lnRef idx="1">
            <a:schemeClr val="accent1"/>
          </a:lnRef>
          <a:fillRef idx="0">
            <a:schemeClr val="accent1"/>
          </a:fillRef>
          <a:effectRef idx="0">
            <a:schemeClr val="accent1"/>
          </a:effectRef>
          <a:fontRef idx="minor">
            <a:schemeClr val="tx1"/>
          </a:fontRef>
        </p:style>
      </p:cxnSp>
      <p:sp>
        <p:nvSpPr>
          <p:cNvPr id="24" name="5. Source">
            <a:extLst>
              <a:ext uri="{FF2B5EF4-FFF2-40B4-BE49-F238E27FC236}">
                <a16:creationId xmlns:a16="http://schemas.microsoft.com/office/drawing/2014/main" id="{466057E9-CE21-DDBF-06B3-F3138E428A03}"/>
              </a:ext>
            </a:extLst>
          </p:cNvPr>
          <p:cNvSpPr txBox="1"/>
          <p:nvPr>
            <p:custDataLst>
              <p:tags r:id="rId3"/>
            </p:custDataLst>
          </p:nvPr>
        </p:nvSpPr>
        <p:spPr>
          <a:xfrm>
            <a:off x="8163578" y="6567135"/>
            <a:ext cx="1610478" cy="12304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800" b="0" i="0" u="none" strike="noStrike" kern="1200" cap="none" spc="0" normalizeH="0" baseline="0" noProof="0" dirty="0">
                <a:ln>
                  <a:noFill/>
                </a:ln>
                <a:solidFill>
                  <a:srgbClr val="004FA1"/>
                </a:solidFill>
                <a:effectLst/>
                <a:uLnTx/>
                <a:uFillTx/>
                <a:latin typeface="Bahnschrift" panose="020B0502040204020203" pitchFamily="34" charset="0"/>
              </a:rPr>
              <a:t>Quelle: IEA</a:t>
            </a:r>
          </a:p>
        </p:txBody>
      </p:sp>
      <p:graphicFrame>
        <p:nvGraphicFramePr>
          <p:cNvPr id="25" name="Chart 9">
            <a:extLst>
              <a:ext uri="{FF2B5EF4-FFF2-40B4-BE49-F238E27FC236}">
                <a16:creationId xmlns:a16="http://schemas.microsoft.com/office/drawing/2014/main" id="{AECEF31B-F0C5-0C3F-21AE-A4B3E9C33163}"/>
              </a:ext>
            </a:extLst>
          </p:cNvPr>
          <p:cNvGraphicFramePr/>
          <p:nvPr>
            <p:custDataLst>
              <p:tags r:id="rId4"/>
            </p:custDataLst>
          </p:nvPr>
        </p:nvGraphicFramePr>
        <p:xfrm>
          <a:off x="1937104" y="2170423"/>
          <a:ext cx="2963863" cy="4154488"/>
        </p:xfrm>
        <a:graphic>
          <a:graphicData uri="http://schemas.openxmlformats.org/drawingml/2006/chart">
            <c:chart xmlns:c="http://schemas.openxmlformats.org/drawingml/2006/chart" xmlns:r="http://schemas.openxmlformats.org/officeDocument/2006/relationships" r:id="rId51"/>
          </a:graphicData>
        </a:graphic>
      </p:graphicFrame>
      <p:sp>
        <p:nvSpPr>
          <p:cNvPr id="26" name="Text Placeholder 4">
            <a:extLst>
              <a:ext uri="{FF2B5EF4-FFF2-40B4-BE49-F238E27FC236}">
                <a16:creationId xmlns:a16="http://schemas.microsoft.com/office/drawing/2014/main" id="{90B1ABDF-7C3F-9BFA-F589-745DB7D41048}"/>
              </a:ext>
            </a:extLst>
          </p:cNvPr>
          <p:cNvSpPr>
            <a:spLocks noGrp="1"/>
          </p:cNvSpPr>
          <p:nvPr>
            <p:custDataLst>
              <p:tags r:id="rId5"/>
            </p:custDataLst>
          </p:nvPr>
        </p:nvSpPr>
        <p:spPr bwMode="gray">
          <a:xfrm>
            <a:off x="1979967" y="6293161"/>
            <a:ext cx="79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767233B-3416-4458-9282-FED57F07C780}" type="datetime'''''''''''''''0'''">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ndParaRPr>
          </a:p>
        </p:txBody>
      </p:sp>
      <p:sp>
        <p:nvSpPr>
          <p:cNvPr id="27" name="Text Placeholder 4">
            <a:extLst>
              <a:ext uri="{FF2B5EF4-FFF2-40B4-BE49-F238E27FC236}">
                <a16:creationId xmlns:a16="http://schemas.microsoft.com/office/drawing/2014/main" id="{A9AADDDB-703A-3F70-3AB7-B3156D8D09A6}"/>
              </a:ext>
            </a:extLst>
          </p:cNvPr>
          <p:cNvSpPr>
            <a:spLocks noGrp="1"/>
          </p:cNvSpPr>
          <p:nvPr>
            <p:custDataLst>
              <p:tags r:id="rId6"/>
            </p:custDataLst>
          </p:nvPr>
        </p:nvSpPr>
        <p:spPr bwMode="gray">
          <a:xfrm>
            <a:off x="4699354" y="6293161"/>
            <a:ext cx="238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2C28331-3605-439C-9333-E8DDE7C1D7A1}" type="datetime'''''''''''''''''''''''''''''1''''''''''0''''''''''''''0'''''''">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00</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ndParaRPr>
          </a:p>
        </p:txBody>
      </p:sp>
      <p:sp>
        <p:nvSpPr>
          <p:cNvPr id="28" name="Text Placeholder 4">
            <a:extLst>
              <a:ext uri="{FF2B5EF4-FFF2-40B4-BE49-F238E27FC236}">
                <a16:creationId xmlns:a16="http://schemas.microsoft.com/office/drawing/2014/main" id="{472091B9-D7E9-ADE1-1507-CDDA4AD8D5E6}"/>
              </a:ext>
            </a:extLst>
          </p:cNvPr>
          <p:cNvSpPr>
            <a:spLocks noGrp="1"/>
          </p:cNvSpPr>
          <p:nvPr>
            <p:custDataLst>
              <p:tags r:id="rId7"/>
            </p:custDataLst>
          </p:nvPr>
        </p:nvSpPr>
        <p:spPr bwMode="gray">
          <a:xfrm>
            <a:off x="4178654" y="6293161"/>
            <a:ext cx="1587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DB319B5-E90B-4F23-8DB4-F1F91D5141AF}" type="datetime'''''''''''''''''''''8''0'''''''''''''">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80</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ndParaRPr>
          </a:p>
        </p:txBody>
      </p:sp>
      <p:sp>
        <p:nvSpPr>
          <p:cNvPr id="29" name="Text Placeholder 4">
            <a:extLst>
              <a:ext uri="{FF2B5EF4-FFF2-40B4-BE49-F238E27FC236}">
                <a16:creationId xmlns:a16="http://schemas.microsoft.com/office/drawing/2014/main" id="{4344F5DA-AA95-1191-400D-8992DD1730A8}"/>
              </a:ext>
            </a:extLst>
          </p:cNvPr>
          <p:cNvSpPr>
            <a:spLocks noGrp="1"/>
          </p:cNvSpPr>
          <p:nvPr>
            <p:custDataLst>
              <p:tags r:id="rId8"/>
            </p:custDataLst>
          </p:nvPr>
        </p:nvSpPr>
        <p:spPr bwMode="gray">
          <a:xfrm>
            <a:off x="3619854" y="6293161"/>
            <a:ext cx="1587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3FA10D2-7044-46AE-8FEF-4E06F742BBDB}" type="datetime'''''''6''''''''''''0'''''''''''''''''''''''''">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60</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ndParaRPr>
          </a:p>
        </p:txBody>
      </p:sp>
      <p:sp>
        <p:nvSpPr>
          <p:cNvPr id="30" name="Text Placeholder 4">
            <a:extLst>
              <a:ext uri="{FF2B5EF4-FFF2-40B4-BE49-F238E27FC236}">
                <a16:creationId xmlns:a16="http://schemas.microsoft.com/office/drawing/2014/main" id="{A91A7A76-F9F8-467C-1FFE-F816C0E6D8E0}"/>
              </a:ext>
            </a:extLst>
          </p:cNvPr>
          <p:cNvSpPr>
            <a:spLocks noGrp="1"/>
          </p:cNvSpPr>
          <p:nvPr>
            <p:custDataLst>
              <p:tags r:id="rId9"/>
            </p:custDataLst>
          </p:nvPr>
        </p:nvSpPr>
        <p:spPr bwMode="gray">
          <a:xfrm>
            <a:off x="2500667" y="6293161"/>
            <a:ext cx="1587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F971453-50B7-4F30-A264-2FE823AA8620}" type="datetime'''''''''''''''''''''''''''''''2''''0'''''''''''''">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ndParaRPr>
          </a:p>
        </p:txBody>
      </p:sp>
      <p:sp>
        <p:nvSpPr>
          <p:cNvPr id="31" name="Text Placeholder 4">
            <a:extLst>
              <a:ext uri="{FF2B5EF4-FFF2-40B4-BE49-F238E27FC236}">
                <a16:creationId xmlns:a16="http://schemas.microsoft.com/office/drawing/2014/main" id="{C85E15B5-ECAC-0A18-B9AA-1FE15A32E41B}"/>
              </a:ext>
            </a:extLst>
          </p:cNvPr>
          <p:cNvSpPr>
            <a:spLocks noGrp="1"/>
          </p:cNvSpPr>
          <p:nvPr>
            <p:custDataLst>
              <p:tags r:id="rId10"/>
            </p:custDataLst>
          </p:nvPr>
        </p:nvSpPr>
        <p:spPr bwMode="gray">
          <a:xfrm>
            <a:off x="3059467" y="6293161"/>
            <a:ext cx="1587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57FCE13-73F3-4FBE-8C36-A2EE6E7D97DF}" type="datetime'''''''''''''''''''''''''''40'''''''''''''">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0</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ndParaRPr>
          </a:p>
        </p:txBody>
      </p:sp>
      <p:sp>
        <p:nvSpPr>
          <p:cNvPr id="32" name="Text Placeholder 4">
            <a:extLst>
              <a:ext uri="{FF2B5EF4-FFF2-40B4-BE49-F238E27FC236}">
                <a16:creationId xmlns:a16="http://schemas.microsoft.com/office/drawing/2014/main" id="{6DF27FB3-CF9A-8412-2C92-DC33B6173939}"/>
              </a:ext>
            </a:extLst>
          </p:cNvPr>
          <p:cNvSpPr>
            <a:spLocks noGrp="1"/>
          </p:cNvSpPr>
          <p:nvPr>
            <p:custDataLst>
              <p:tags r:id="rId11"/>
            </p:custDataLst>
          </p:nvPr>
        </p:nvSpPr>
        <p:spPr bwMode="auto">
          <a:xfrm>
            <a:off x="975079" y="5818498"/>
            <a:ext cx="4333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99D035E-1BBE-4692-B7A5-CD4C956A0BCD}" type="datetime'''''''''''''''''Ko''b''''''''''''''a''''l''t'''''''''''''">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Kobalt</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ndParaRPr>
          </a:p>
        </p:txBody>
      </p:sp>
      <p:sp>
        <p:nvSpPr>
          <p:cNvPr id="33" name="Text Placeholder 4">
            <a:extLst>
              <a:ext uri="{FF2B5EF4-FFF2-40B4-BE49-F238E27FC236}">
                <a16:creationId xmlns:a16="http://schemas.microsoft.com/office/drawing/2014/main" id="{AC06AF7B-9176-4E86-4ED8-366619575656}"/>
              </a:ext>
            </a:extLst>
          </p:cNvPr>
          <p:cNvSpPr>
            <a:spLocks noGrp="1"/>
          </p:cNvSpPr>
          <p:nvPr>
            <p:custDataLst>
              <p:tags r:id="rId12"/>
            </p:custDataLst>
          </p:nvPr>
        </p:nvSpPr>
        <p:spPr bwMode="gray">
          <a:xfrm>
            <a:off x="4843817" y="2494273"/>
            <a:ext cx="465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D3CED39-3C06-4812-95BA-CC55DAAA34E7}" type="datetime'''''6''''''''6''''4'''''''''''''''''''''''''''''">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664</a:t>
            </a:fld>
            <a:r>
              <a:rPr kumimoji="0" lang="de-DE" altLang="en-US" sz="1200" b="0" i="0" u="none" strike="noStrike" kern="1200" cap="none" spc="0" normalizeH="0" baseline="0" noProof="0" dirty="0">
                <a:ln>
                  <a:noFill/>
                </a:ln>
                <a:solidFill>
                  <a:srgbClr val="000000"/>
                </a:solidFill>
                <a:effectLst/>
                <a:uLnTx/>
                <a:uFillTx/>
                <a:latin typeface="Bahnschrift" panose="020B0502040204020203" pitchFamily="34" charset="0"/>
              </a:rPr>
              <a:t> </a:t>
            </a:r>
            <a:r>
              <a:rPr kumimoji="0" lang="de-DE" altLang="en-US" sz="1200" b="0" i="0" u="none" strike="noStrike" kern="1200" cap="none" spc="0" normalizeH="0" baseline="0" noProof="0" dirty="0" err="1">
                <a:ln>
                  <a:noFill/>
                </a:ln>
                <a:solidFill>
                  <a:srgbClr val="000000"/>
                </a:solidFill>
                <a:effectLst/>
                <a:uLnTx/>
                <a:uFillTx/>
                <a:latin typeface="Bahnschrift" panose="020B0502040204020203" pitchFamily="34" charset="0"/>
              </a:rPr>
              <a:t>kt</a:t>
            </a:r>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ndParaRPr>
          </a:p>
        </p:txBody>
      </p:sp>
      <p:sp>
        <p:nvSpPr>
          <p:cNvPr id="35" name="Text Placeholder 4">
            <a:extLst>
              <a:ext uri="{FF2B5EF4-FFF2-40B4-BE49-F238E27FC236}">
                <a16:creationId xmlns:a16="http://schemas.microsoft.com/office/drawing/2014/main" id="{E02D22D3-5ED1-BD1E-B12F-77422CF06ED3}"/>
              </a:ext>
            </a:extLst>
          </p:cNvPr>
          <p:cNvSpPr>
            <a:spLocks noGrp="1"/>
          </p:cNvSpPr>
          <p:nvPr>
            <p:custDataLst>
              <p:tags r:id="rId13"/>
            </p:custDataLst>
          </p:nvPr>
        </p:nvSpPr>
        <p:spPr bwMode="auto">
          <a:xfrm>
            <a:off x="975079" y="3159436"/>
            <a:ext cx="9429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4B02587-E423-4185-8D2D-E531C6DF8D90}" type="datetime'''Se''''l''''t''''''e''n''e'''' E''''''''r''''''den'''''''''">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eltene Erden</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ndParaRPr>
          </a:p>
        </p:txBody>
      </p:sp>
      <p:sp>
        <p:nvSpPr>
          <p:cNvPr id="36" name="Text Placeholder 4">
            <a:extLst>
              <a:ext uri="{FF2B5EF4-FFF2-40B4-BE49-F238E27FC236}">
                <a16:creationId xmlns:a16="http://schemas.microsoft.com/office/drawing/2014/main" id="{0142E9BC-2F0D-1CA4-B9F3-D094958C3E77}"/>
              </a:ext>
            </a:extLst>
          </p:cNvPr>
          <p:cNvSpPr>
            <a:spLocks noGrp="1"/>
          </p:cNvSpPr>
          <p:nvPr>
            <p:custDataLst>
              <p:tags r:id="rId14"/>
            </p:custDataLst>
          </p:nvPr>
        </p:nvSpPr>
        <p:spPr bwMode="auto">
          <a:xfrm>
            <a:off x="975079" y="3824598"/>
            <a:ext cx="5159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09E39FC-9BD2-45DB-9684-4781EFAD9378}" type="datetime'''''L''''''''''''''''''i''th''i''''''''''''''''''u''m'''">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Lithium</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ndParaRPr>
          </a:p>
        </p:txBody>
      </p:sp>
      <p:sp>
        <p:nvSpPr>
          <p:cNvPr id="37" name="Text Placeholder 4">
            <a:extLst>
              <a:ext uri="{FF2B5EF4-FFF2-40B4-BE49-F238E27FC236}">
                <a16:creationId xmlns:a16="http://schemas.microsoft.com/office/drawing/2014/main" id="{230A900C-7C9E-AF93-ACAB-823B770083D2}"/>
              </a:ext>
            </a:extLst>
          </p:cNvPr>
          <p:cNvSpPr>
            <a:spLocks noGrp="1"/>
          </p:cNvSpPr>
          <p:nvPr>
            <p:custDataLst>
              <p:tags r:id="rId15"/>
            </p:custDataLst>
          </p:nvPr>
        </p:nvSpPr>
        <p:spPr bwMode="auto">
          <a:xfrm>
            <a:off x="975079" y="4488173"/>
            <a:ext cx="4460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00F90EC-BC1F-4542-9DC2-C6B2F52BD533}" type="datetime'K''''''''up''''''''''''''''''''''fe''''''''''''''''''''r'''">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Kupfer</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ndParaRPr>
          </a:p>
        </p:txBody>
      </p:sp>
      <p:sp>
        <p:nvSpPr>
          <p:cNvPr id="38" name="Text Placeholder 4">
            <a:extLst>
              <a:ext uri="{FF2B5EF4-FFF2-40B4-BE49-F238E27FC236}">
                <a16:creationId xmlns:a16="http://schemas.microsoft.com/office/drawing/2014/main" id="{1314179D-64CB-73D1-00CD-24A9FE6D2BB2}"/>
              </a:ext>
            </a:extLst>
          </p:cNvPr>
          <p:cNvSpPr>
            <a:spLocks noGrp="1"/>
          </p:cNvSpPr>
          <p:nvPr>
            <p:custDataLst>
              <p:tags r:id="rId16"/>
            </p:custDataLst>
          </p:nvPr>
        </p:nvSpPr>
        <p:spPr bwMode="auto">
          <a:xfrm>
            <a:off x="975079" y="5153336"/>
            <a:ext cx="4191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02B013A-B5FF-44AC-91ED-ADAF3A15DF83}" type="datetime'''''Ni''''''''c''''''''k''''''''''''''e''''''''l'''">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ickel</a:t>
            </a:fld>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ndParaRPr>
          </a:p>
        </p:txBody>
      </p:sp>
      <p:sp>
        <p:nvSpPr>
          <p:cNvPr id="39" name="Text Placeholder 4">
            <a:extLst>
              <a:ext uri="{FF2B5EF4-FFF2-40B4-BE49-F238E27FC236}">
                <a16:creationId xmlns:a16="http://schemas.microsoft.com/office/drawing/2014/main" id="{BFF8C4EA-A484-4CF5-A267-94124A8730C4}"/>
              </a:ext>
            </a:extLst>
          </p:cNvPr>
          <p:cNvSpPr>
            <a:spLocks noGrp="1"/>
          </p:cNvSpPr>
          <p:nvPr>
            <p:custDataLst>
              <p:tags r:id="rId17"/>
            </p:custDataLst>
          </p:nvPr>
        </p:nvSpPr>
        <p:spPr bwMode="gray">
          <a:xfrm>
            <a:off x="4843817" y="3159436"/>
            <a:ext cx="3857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FE512D7-5CF4-49F1-B431-1945F0452604}" type="datetime'''''''''''''''''''''3''''''''''''''''''9'''''''''''''''''''">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9</a:t>
            </a:fld>
            <a:r>
              <a:rPr kumimoji="0" lang="de-DE" altLang="en-US" sz="1200" b="0" i="0" u="none" strike="noStrike" kern="1200" cap="none" spc="0" normalizeH="0" baseline="0" noProof="0" dirty="0">
                <a:ln>
                  <a:noFill/>
                </a:ln>
                <a:solidFill>
                  <a:srgbClr val="000000"/>
                </a:solidFill>
                <a:effectLst/>
                <a:uLnTx/>
                <a:uFillTx/>
                <a:latin typeface="Bahnschrift" panose="020B0502040204020203" pitchFamily="34" charset="0"/>
              </a:rPr>
              <a:t> </a:t>
            </a:r>
            <a:r>
              <a:rPr kumimoji="0" lang="de-DE" altLang="en-US" sz="1200" b="0" i="0" u="none" strike="noStrike" kern="1200" cap="none" spc="0" normalizeH="0" baseline="0" noProof="0" dirty="0" err="1">
                <a:ln>
                  <a:noFill/>
                </a:ln>
                <a:solidFill>
                  <a:srgbClr val="000000"/>
                </a:solidFill>
                <a:effectLst/>
                <a:uLnTx/>
                <a:uFillTx/>
                <a:latin typeface="Bahnschrift" panose="020B0502040204020203" pitchFamily="34" charset="0"/>
              </a:rPr>
              <a:t>kt</a:t>
            </a:r>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ndParaRPr>
          </a:p>
        </p:txBody>
      </p:sp>
      <p:sp>
        <p:nvSpPr>
          <p:cNvPr id="40" name="Text Placeholder 4">
            <a:extLst>
              <a:ext uri="{FF2B5EF4-FFF2-40B4-BE49-F238E27FC236}">
                <a16:creationId xmlns:a16="http://schemas.microsoft.com/office/drawing/2014/main" id="{0A315D64-0BFC-A212-DBC9-0C0902AD145D}"/>
              </a:ext>
            </a:extLst>
          </p:cNvPr>
          <p:cNvSpPr>
            <a:spLocks noGrp="1"/>
          </p:cNvSpPr>
          <p:nvPr>
            <p:custDataLst>
              <p:tags r:id="rId18"/>
            </p:custDataLst>
          </p:nvPr>
        </p:nvSpPr>
        <p:spPr bwMode="gray">
          <a:xfrm>
            <a:off x="4843817" y="3824598"/>
            <a:ext cx="3857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2542DE5-10F9-492F-B714-87EA9132275A}" type="datetime'''''9''''''''''''''5'''''''''''''''''''''">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95</a:t>
            </a:fld>
            <a:r>
              <a:rPr kumimoji="0" lang="de-DE" altLang="en-US" sz="1200" b="0" i="0" u="none" strike="noStrike" kern="1200" cap="none" spc="0" normalizeH="0" baseline="0" noProof="0" dirty="0">
                <a:ln>
                  <a:noFill/>
                </a:ln>
                <a:solidFill>
                  <a:srgbClr val="000000"/>
                </a:solidFill>
                <a:effectLst/>
                <a:uLnTx/>
                <a:uFillTx/>
                <a:latin typeface="Bahnschrift" panose="020B0502040204020203" pitchFamily="34" charset="0"/>
              </a:rPr>
              <a:t> </a:t>
            </a:r>
            <a:r>
              <a:rPr kumimoji="0" lang="de-DE" altLang="en-US" sz="1200" b="0" i="0" u="none" strike="noStrike" kern="1200" cap="none" spc="0" normalizeH="0" baseline="0" noProof="0" dirty="0" err="1">
                <a:ln>
                  <a:noFill/>
                </a:ln>
                <a:solidFill>
                  <a:srgbClr val="000000"/>
                </a:solidFill>
                <a:effectLst/>
                <a:uLnTx/>
                <a:uFillTx/>
                <a:latin typeface="Bahnschrift" panose="020B0502040204020203" pitchFamily="34" charset="0"/>
              </a:rPr>
              <a:t>kt</a:t>
            </a:r>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ndParaRPr>
          </a:p>
        </p:txBody>
      </p:sp>
      <p:sp>
        <p:nvSpPr>
          <p:cNvPr id="41" name="Text Placeholder 4">
            <a:extLst>
              <a:ext uri="{FF2B5EF4-FFF2-40B4-BE49-F238E27FC236}">
                <a16:creationId xmlns:a16="http://schemas.microsoft.com/office/drawing/2014/main" id="{38ECEAC8-0DBC-A970-A5EE-B44B9BBFB10D}"/>
              </a:ext>
            </a:extLst>
          </p:cNvPr>
          <p:cNvSpPr>
            <a:spLocks noGrp="1"/>
          </p:cNvSpPr>
          <p:nvPr>
            <p:custDataLst>
              <p:tags r:id="rId19"/>
            </p:custDataLst>
          </p:nvPr>
        </p:nvSpPr>
        <p:spPr bwMode="gray">
          <a:xfrm>
            <a:off x="4843817" y="4488173"/>
            <a:ext cx="552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de-DE" altLang="en-US" sz="1200" b="0" i="0" u="none" strike="noStrike" kern="1200" cap="none" spc="0" normalizeH="0" baseline="0" noProof="0" dirty="0">
                <a:ln>
                  <a:noFill/>
                </a:ln>
                <a:solidFill>
                  <a:srgbClr val="000000"/>
                </a:solidFill>
                <a:effectLst/>
                <a:uLnTx/>
                <a:uFillTx/>
                <a:latin typeface="Bahnschrift" panose="020B0502040204020203" pitchFamily="34" charset="0"/>
              </a:rPr>
              <a:t>22.5 </a:t>
            </a:r>
            <a:r>
              <a:rPr kumimoji="0" lang="de-DE" altLang="en-US" sz="1200" b="0" i="0" u="none" strike="noStrike" kern="1200" cap="none" spc="0" normalizeH="0" baseline="0" noProof="0" dirty="0" err="1">
                <a:ln>
                  <a:noFill/>
                </a:ln>
                <a:solidFill>
                  <a:srgbClr val="000000"/>
                </a:solidFill>
                <a:effectLst/>
                <a:uLnTx/>
                <a:uFillTx/>
                <a:latin typeface="Bahnschrift" panose="020B0502040204020203" pitchFamily="34" charset="0"/>
              </a:rPr>
              <a:t>Mt</a:t>
            </a:r>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ndParaRPr>
          </a:p>
        </p:txBody>
      </p:sp>
      <p:sp>
        <p:nvSpPr>
          <p:cNvPr id="42" name="Text Placeholder 4">
            <a:extLst>
              <a:ext uri="{FF2B5EF4-FFF2-40B4-BE49-F238E27FC236}">
                <a16:creationId xmlns:a16="http://schemas.microsoft.com/office/drawing/2014/main" id="{3DCE9D3B-2E17-90D8-86C1-C885D08EA291}"/>
              </a:ext>
            </a:extLst>
          </p:cNvPr>
          <p:cNvSpPr>
            <a:spLocks noGrp="1"/>
          </p:cNvSpPr>
          <p:nvPr>
            <p:custDataLst>
              <p:tags r:id="rId20"/>
            </p:custDataLst>
          </p:nvPr>
        </p:nvSpPr>
        <p:spPr bwMode="gray">
          <a:xfrm>
            <a:off x="4843817" y="5153336"/>
            <a:ext cx="4730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kumimoji="0" lang="de-DE" altLang="en-US" sz="1200" b="0" i="0" u="none" strike="noStrike" kern="1200" cap="none" spc="0" normalizeH="0" baseline="0" noProof="0" dirty="0">
                <a:ln>
                  <a:noFill/>
                </a:ln>
                <a:solidFill>
                  <a:srgbClr val="000000"/>
                </a:solidFill>
                <a:effectLst/>
                <a:uLnTx/>
                <a:uFillTx/>
                <a:latin typeface="Bahnschrift" panose="020B0502040204020203" pitchFamily="34" charset="0"/>
              </a:rPr>
              <a:t>2.8 </a:t>
            </a:r>
            <a:r>
              <a:rPr kumimoji="0" lang="de-DE" altLang="en-US" sz="1200" b="0" i="0" u="none" strike="noStrike" kern="1200" cap="none" spc="0" normalizeH="0" baseline="0" noProof="0" dirty="0" err="1">
                <a:ln>
                  <a:noFill/>
                </a:ln>
                <a:solidFill>
                  <a:srgbClr val="000000"/>
                </a:solidFill>
                <a:effectLst/>
                <a:uLnTx/>
                <a:uFillTx/>
                <a:latin typeface="Bahnschrift" panose="020B0502040204020203" pitchFamily="34" charset="0"/>
              </a:rPr>
              <a:t>Mt</a:t>
            </a:r>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ndParaRPr>
          </a:p>
        </p:txBody>
      </p:sp>
      <p:sp>
        <p:nvSpPr>
          <p:cNvPr id="43" name="Text Placeholder 4">
            <a:extLst>
              <a:ext uri="{FF2B5EF4-FFF2-40B4-BE49-F238E27FC236}">
                <a16:creationId xmlns:a16="http://schemas.microsoft.com/office/drawing/2014/main" id="{10E05150-B25F-0BD7-7CDC-DF05F99F8CB9}"/>
              </a:ext>
            </a:extLst>
          </p:cNvPr>
          <p:cNvSpPr>
            <a:spLocks noGrp="1"/>
          </p:cNvSpPr>
          <p:nvPr>
            <p:custDataLst>
              <p:tags r:id="rId21"/>
            </p:custDataLst>
          </p:nvPr>
        </p:nvSpPr>
        <p:spPr bwMode="gray">
          <a:xfrm>
            <a:off x="4843817" y="5818498"/>
            <a:ext cx="465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C013804-BD23-421B-99E4-F7F0D7F393FD}" type="datetime'''''''''''''137'''''''''''''''''''''''''''''''''''">
              <a:rPr kumimoji="0" lang="de-DE" altLang="en-US" sz="1200" b="0" i="0" u="none" strike="noStrike" kern="1200" cap="none" spc="0" normalizeH="0" baseline="0" noProof="0" smtClean="0">
                <a:ln>
                  <a:noFill/>
                </a:ln>
                <a:solidFill>
                  <a:srgbClr val="000000"/>
                </a:solidFill>
                <a:effectLst/>
                <a:uLnTx/>
                <a:uFillTx/>
                <a:latin typeface="Bahnschrift" panose="020B0502040204020203" pitchFamily="34" charset="0"/>
              </a:rPr>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37</a:t>
            </a:fld>
            <a:r>
              <a:rPr kumimoji="0" lang="de-DE" altLang="en-US" sz="1200" b="0" i="0" u="none" strike="noStrike" kern="1200" cap="none" spc="0" normalizeH="0" baseline="0" noProof="0" dirty="0">
                <a:ln>
                  <a:noFill/>
                </a:ln>
                <a:solidFill>
                  <a:srgbClr val="000000"/>
                </a:solidFill>
                <a:effectLst/>
                <a:uLnTx/>
                <a:uFillTx/>
                <a:latin typeface="Bahnschrift" panose="020B0502040204020203" pitchFamily="34" charset="0"/>
              </a:rPr>
              <a:t> </a:t>
            </a:r>
            <a:r>
              <a:rPr kumimoji="0" lang="de-DE" altLang="en-US" sz="1200" b="0" i="0" u="none" strike="noStrike" kern="1200" cap="none" spc="0" normalizeH="0" baseline="0" noProof="0" dirty="0" err="1">
                <a:ln>
                  <a:noFill/>
                </a:ln>
                <a:solidFill>
                  <a:srgbClr val="000000"/>
                </a:solidFill>
                <a:effectLst/>
                <a:uLnTx/>
                <a:uFillTx/>
                <a:latin typeface="Bahnschrift" panose="020B0502040204020203" pitchFamily="34" charset="0"/>
              </a:rPr>
              <a:t>kt</a:t>
            </a:r>
            <a:endParaRPr kumimoji="0" lang="de-DE" sz="1200" b="0" i="0" u="none" strike="noStrike" kern="1200" cap="none" spc="0" normalizeH="0" baseline="0" noProof="0" dirty="0">
              <a:ln>
                <a:noFill/>
              </a:ln>
              <a:solidFill>
                <a:srgbClr val="000000"/>
              </a:solidFill>
              <a:effectLst/>
              <a:uLnTx/>
              <a:uFillTx/>
              <a:latin typeface="Bahnschrift" panose="020B0502040204020203" pitchFamily="34" charset="0"/>
            </a:endParaRPr>
          </a:p>
        </p:txBody>
      </p:sp>
      <p:sp>
        <p:nvSpPr>
          <p:cNvPr id="44" name="TextBox 480">
            <a:extLst>
              <a:ext uri="{FF2B5EF4-FFF2-40B4-BE49-F238E27FC236}">
                <a16:creationId xmlns:a16="http://schemas.microsoft.com/office/drawing/2014/main" id="{FEEB5706-444E-049F-2B6B-F79A365594FB}"/>
              </a:ext>
            </a:extLst>
          </p:cNvPr>
          <p:cNvSpPr txBox="1"/>
          <p:nvPr/>
        </p:nvSpPr>
        <p:spPr>
          <a:xfrm>
            <a:off x="971043" y="1727316"/>
            <a:ext cx="3873500" cy="430213"/>
          </a:xfrm>
          <a:prstGeom prst="rect">
            <a:avLst/>
          </a:prstGeom>
          <a:noFill/>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t>Regionale Anteile an der Produktion ausgewählter wichtiger Materialien, </a:t>
            </a:r>
            <a:r>
              <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rPr>
              <a:t>2021 </a:t>
            </a:r>
          </a:p>
        </p:txBody>
      </p:sp>
      <p:grpSp>
        <p:nvGrpSpPr>
          <p:cNvPr id="13" name="Gruppieren 12">
            <a:extLst>
              <a:ext uri="{FF2B5EF4-FFF2-40B4-BE49-F238E27FC236}">
                <a16:creationId xmlns:a16="http://schemas.microsoft.com/office/drawing/2014/main" id="{5ED3487A-1BA9-A2BE-4774-EDC4DBE26FB7}"/>
              </a:ext>
            </a:extLst>
          </p:cNvPr>
          <p:cNvGrpSpPr/>
          <p:nvPr/>
        </p:nvGrpSpPr>
        <p:grpSpPr>
          <a:xfrm>
            <a:off x="802359" y="2252973"/>
            <a:ext cx="7999252" cy="3981452"/>
            <a:chOff x="802359" y="2252973"/>
            <a:chExt cx="7999252" cy="3981452"/>
          </a:xfrm>
        </p:grpSpPr>
        <p:cxnSp>
          <p:nvCxnSpPr>
            <p:cNvPr id="48" name="Straight Connector 482">
              <a:extLst>
                <a:ext uri="{FF2B5EF4-FFF2-40B4-BE49-F238E27FC236}">
                  <a16:creationId xmlns:a16="http://schemas.microsoft.com/office/drawing/2014/main" id="{B6E95DF9-2BE1-1F2B-BEE0-22C76B016501}"/>
                </a:ext>
              </a:extLst>
            </p:cNvPr>
            <p:cNvCxnSpPr/>
            <p:nvPr/>
          </p:nvCxnSpPr>
          <p:spPr>
            <a:xfrm flipH="1">
              <a:off x="802359" y="2252973"/>
              <a:ext cx="7999252" cy="0"/>
            </a:xfrm>
            <a:prstGeom prst="line">
              <a:avLst/>
            </a:prstGeom>
            <a:ln w="6350" cap="flat">
              <a:solidFill>
                <a:srgbClr val="004FA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3">
              <a:extLst>
                <a:ext uri="{FF2B5EF4-FFF2-40B4-BE49-F238E27FC236}">
                  <a16:creationId xmlns:a16="http://schemas.microsoft.com/office/drawing/2014/main" id="{2475BD2D-4152-F24D-D44F-DE73219665AD}"/>
                </a:ext>
              </a:extLst>
            </p:cNvPr>
            <p:cNvCxnSpPr/>
            <p:nvPr/>
          </p:nvCxnSpPr>
          <p:spPr>
            <a:xfrm flipH="1">
              <a:off x="802359" y="3597557"/>
              <a:ext cx="7999252" cy="0"/>
            </a:xfrm>
            <a:prstGeom prst="line">
              <a:avLst/>
            </a:prstGeom>
            <a:ln w="6350" cap="flat">
              <a:solidFill>
                <a:srgbClr val="004FA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84">
              <a:extLst>
                <a:ext uri="{FF2B5EF4-FFF2-40B4-BE49-F238E27FC236}">
                  <a16:creationId xmlns:a16="http://schemas.microsoft.com/office/drawing/2014/main" id="{BDA3768E-F03C-8178-17F2-65E4903A34D3}"/>
                </a:ext>
              </a:extLst>
            </p:cNvPr>
            <p:cNvCxnSpPr/>
            <p:nvPr/>
          </p:nvCxnSpPr>
          <p:spPr>
            <a:xfrm flipH="1">
              <a:off x="802359" y="4920115"/>
              <a:ext cx="7999252" cy="0"/>
            </a:xfrm>
            <a:prstGeom prst="line">
              <a:avLst/>
            </a:prstGeom>
            <a:ln w="6350" cap="flat">
              <a:solidFill>
                <a:srgbClr val="004FA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490">
              <a:extLst>
                <a:ext uri="{FF2B5EF4-FFF2-40B4-BE49-F238E27FC236}">
                  <a16:creationId xmlns:a16="http://schemas.microsoft.com/office/drawing/2014/main" id="{34B00DAE-B7C5-9B56-1E7E-B0E9CFFB08E4}"/>
                </a:ext>
              </a:extLst>
            </p:cNvPr>
            <p:cNvCxnSpPr/>
            <p:nvPr/>
          </p:nvCxnSpPr>
          <p:spPr>
            <a:xfrm flipH="1">
              <a:off x="802359" y="2936278"/>
              <a:ext cx="7999252" cy="0"/>
            </a:xfrm>
            <a:prstGeom prst="line">
              <a:avLst/>
            </a:prstGeom>
            <a:ln w="6350" cap="flat">
              <a:solidFill>
                <a:srgbClr val="004FA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269">
              <a:extLst>
                <a:ext uri="{FF2B5EF4-FFF2-40B4-BE49-F238E27FC236}">
                  <a16:creationId xmlns:a16="http://schemas.microsoft.com/office/drawing/2014/main" id="{88301BB6-7AA1-087E-5C85-E783B7497575}"/>
                </a:ext>
              </a:extLst>
            </p:cNvPr>
            <p:cNvCxnSpPr>
              <a:cxnSpLocks/>
            </p:cNvCxnSpPr>
            <p:nvPr/>
          </p:nvCxnSpPr>
          <p:spPr>
            <a:xfrm flipH="1">
              <a:off x="802359" y="6234425"/>
              <a:ext cx="7999252" cy="0"/>
            </a:xfrm>
            <a:prstGeom prst="line">
              <a:avLst/>
            </a:prstGeom>
            <a:ln w="6350" cap="flat">
              <a:solidFill>
                <a:srgbClr val="004FA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270">
              <a:extLst>
                <a:ext uri="{FF2B5EF4-FFF2-40B4-BE49-F238E27FC236}">
                  <a16:creationId xmlns:a16="http://schemas.microsoft.com/office/drawing/2014/main" id="{E92B1F9D-3085-F3C2-458E-EC0F19B87CB3}"/>
                </a:ext>
              </a:extLst>
            </p:cNvPr>
            <p:cNvCxnSpPr/>
            <p:nvPr/>
          </p:nvCxnSpPr>
          <p:spPr>
            <a:xfrm flipH="1">
              <a:off x="802359" y="5581394"/>
              <a:ext cx="7999252" cy="0"/>
            </a:xfrm>
            <a:prstGeom prst="line">
              <a:avLst/>
            </a:prstGeom>
            <a:ln w="6350" cap="flat">
              <a:solidFill>
                <a:srgbClr val="004FA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271">
              <a:extLst>
                <a:ext uri="{FF2B5EF4-FFF2-40B4-BE49-F238E27FC236}">
                  <a16:creationId xmlns:a16="http://schemas.microsoft.com/office/drawing/2014/main" id="{2BBEFEC0-FD91-E9F6-E53F-36B02C4807C5}"/>
                </a:ext>
              </a:extLst>
            </p:cNvPr>
            <p:cNvCxnSpPr/>
            <p:nvPr/>
          </p:nvCxnSpPr>
          <p:spPr>
            <a:xfrm flipH="1">
              <a:off x="802359" y="4258836"/>
              <a:ext cx="7999252" cy="0"/>
            </a:xfrm>
            <a:prstGeom prst="line">
              <a:avLst/>
            </a:prstGeom>
            <a:ln w="6350" cap="flat">
              <a:solidFill>
                <a:srgbClr val="004FA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55" name="TextBox 134">
            <a:extLst>
              <a:ext uri="{FF2B5EF4-FFF2-40B4-BE49-F238E27FC236}">
                <a16:creationId xmlns:a16="http://schemas.microsoft.com/office/drawing/2014/main" id="{8405F26E-780F-537C-A043-D25657231A18}"/>
              </a:ext>
            </a:extLst>
          </p:cNvPr>
          <p:cNvSpPr txBox="1"/>
          <p:nvPr>
            <p:custDataLst>
              <p:tags r:id="rId22"/>
            </p:custDataLst>
          </p:nvPr>
        </p:nvSpPr>
        <p:spPr>
          <a:xfrm>
            <a:off x="5709185" y="1727316"/>
            <a:ext cx="3118551" cy="430213"/>
          </a:xfrm>
          <a:prstGeom prst="rect">
            <a:avLst/>
          </a:prstGeom>
          <a:noFill/>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
                <a:srgbClr val="000000"/>
              </a:buClr>
              <a:buSzPct val="100000"/>
              <a:buFont typeface="Segoe UI" panose="020B0502040204020203" pitchFamily="34" charset="0"/>
              <a:buChar char="​"/>
              <a:tabLst/>
              <a:defRPr/>
            </a:pPr>
            <a:r>
              <a:rPr kumimoji="0" lang="de-DE" sz="1400" b="1" i="0" u="none" strike="noStrike" kern="1200" cap="none" spc="0" normalizeH="0" baseline="0" noProof="0" dirty="0">
                <a:ln>
                  <a:noFill/>
                </a:ln>
                <a:solidFill>
                  <a:srgbClr val="000000"/>
                </a:solidFill>
                <a:effectLst/>
                <a:uLnTx/>
                <a:uFillTx/>
                <a:latin typeface="Bahnschrift" panose="020B0502040204020203" pitchFamily="34" charset="0"/>
              </a:rPr>
              <a:t>Typische Einsatzgebiete Technologien der Energiewende</a:t>
            </a:r>
            <a:endParaRPr kumimoji="0" lang="de-DE" sz="1400" b="0" i="0" u="none" strike="noStrike" kern="1200" cap="none" spc="0" normalizeH="0" baseline="0" noProof="0" dirty="0">
              <a:ln>
                <a:noFill/>
              </a:ln>
              <a:solidFill>
                <a:srgbClr val="000000"/>
              </a:solidFill>
              <a:effectLst/>
              <a:uLnTx/>
              <a:uFillTx/>
              <a:latin typeface="Bahnschrift" panose="020B0502040204020203" pitchFamily="34" charset="0"/>
            </a:endParaRPr>
          </a:p>
        </p:txBody>
      </p:sp>
      <p:sp>
        <p:nvSpPr>
          <p:cNvPr id="56" name="TextBox 136">
            <a:extLst>
              <a:ext uri="{FF2B5EF4-FFF2-40B4-BE49-F238E27FC236}">
                <a16:creationId xmlns:a16="http://schemas.microsoft.com/office/drawing/2014/main" id="{50B4B757-72EE-67BF-6955-DC5AD58A2FFE}"/>
              </a:ext>
            </a:extLst>
          </p:cNvPr>
          <p:cNvSpPr txBox="1">
            <a:spLocks/>
          </p:cNvSpPr>
          <p:nvPr>
            <p:custDataLst>
              <p:tags r:id="rId23"/>
            </p:custDataLst>
          </p:nvPr>
        </p:nvSpPr>
        <p:spPr>
          <a:xfrm>
            <a:off x="5683059" y="2367146"/>
            <a:ext cx="3118551" cy="592138"/>
          </a:xfrm>
          <a:prstGeom prst="rect">
            <a:avLst/>
          </a:prstGeom>
          <a:noFill/>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fontAlgn="auto">
              <a:spcBef>
                <a:spcPts val="0"/>
              </a:spcBef>
              <a:spcAft>
                <a:spcPts val="0"/>
              </a:spcAft>
              <a:buClr>
                <a:schemeClr val="accent2"/>
              </a:buClr>
              <a:buFont typeface="Arial" panose="020B0604020202020204" pitchFamily="34" charset="0"/>
              <a:buChar char="•"/>
              <a:defRPr/>
            </a:pPr>
            <a:r>
              <a:rPr lang="de-DE" sz="1200" dirty="0">
                <a:solidFill>
                  <a:srgbClr val="000000"/>
                </a:solidFill>
                <a:latin typeface="Bahnschrift" panose="020B0502040204020203" pitchFamily="34" charset="0"/>
              </a:rPr>
              <a:t>PV-Module</a:t>
            </a:r>
          </a:p>
        </p:txBody>
      </p:sp>
      <p:sp>
        <p:nvSpPr>
          <p:cNvPr id="57" name="TextBox 138">
            <a:extLst>
              <a:ext uri="{FF2B5EF4-FFF2-40B4-BE49-F238E27FC236}">
                <a16:creationId xmlns:a16="http://schemas.microsoft.com/office/drawing/2014/main" id="{C5794CA6-72EE-8C77-AC7A-7D41FE18E8CE}"/>
              </a:ext>
            </a:extLst>
          </p:cNvPr>
          <p:cNvSpPr txBox="1">
            <a:spLocks/>
          </p:cNvSpPr>
          <p:nvPr>
            <p:custDataLst>
              <p:tags r:id="rId24"/>
            </p:custDataLst>
          </p:nvPr>
        </p:nvSpPr>
        <p:spPr>
          <a:xfrm>
            <a:off x="5683059" y="3092634"/>
            <a:ext cx="3118551" cy="592138"/>
          </a:xfrm>
          <a:prstGeom prst="rect">
            <a:avLst/>
          </a:prstGeom>
          <a:noFill/>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fontAlgn="auto">
              <a:spcBef>
                <a:spcPts val="0"/>
              </a:spcBef>
              <a:spcAft>
                <a:spcPts val="0"/>
              </a:spcAft>
              <a:buClr>
                <a:schemeClr val="accent2"/>
              </a:buClr>
              <a:buFont typeface="Arial" panose="020B0604020202020204" pitchFamily="34" charset="0"/>
              <a:buChar char="•"/>
              <a:defRPr/>
            </a:pPr>
            <a:r>
              <a:rPr lang="de-DE" sz="1200" dirty="0">
                <a:solidFill>
                  <a:srgbClr val="000000"/>
                </a:solidFill>
                <a:latin typeface="Bahnschrift" panose="020B0502040204020203" pitchFamily="34" charset="0"/>
              </a:rPr>
              <a:t>Batterien</a:t>
            </a:r>
          </a:p>
          <a:p>
            <a:pPr marL="171450" indent="-171450" fontAlgn="auto">
              <a:spcBef>
                <a:spcPts val="0"/>
              </a:spcBef>
              <a:spcAft>
                <a:spcPts val="0"/>
              </a:spcAft>
              <a:buClr>
                <a:schemeClr val="accent2"/>
              </a:buClr>
              <a:buFont typeface="Arial" panose="020B0604020202020204" pitchFamily="34" charset="0"/>
              <a:buChar char="•"/>
              <a:defRPr/>
            </a:pPr>
            <a:r>
              <a:rPr lang="de-DE" sz="1200" dirty="0">
                <a:solidFill>
                  <a:srgbClr val="000000"/>
                </a:solidFill>
                <a:latin typeface="Bahnschrift" panose="020B0502040204020203" pitchFamily="34" charset="0"/>
              </a:rPr>
              <a:t>Generatoren von Windkraftwerken</a:t>
            </a:r>
          </a:p>
        </p:txBody>
      </p:sp>
      <p:sp>
        <p:nvSpPr>
          <p:cNvPr id="58" name="TextBox 140">
            <a:extLst>
              <a:ext uri="{FF2B5EF4-FFF2-40B4-BE49-F238E27FC236}">
                <a16:creationId xmlns:a16="http://schemas.microsoft.com/office/drawing/2014/main" id="{5B50FBF3-8577-6019-6500-5C15F0981A4B}"/>
              </a:ext>
            </a:extLst>
          </p:cNvPr>
          <p:cNvSpPr txBox="1">
            <a:spLocks/>
          </p:cNvSpPr>
          <p:nvPr>
            <p:custDataLst>
              <p:tags r:id="rId25"/>
            </p:custDataLst>
          </p:nvPr>
        </p:nvSpPr>
        <p:spPr>
          <a:xfrm>
            <a:off x="5683059" y="3819709"/>
            <a:ext cx="3118551" cy="592138"/>
          </a:xfrm>
          <a:prstGeom prst="rect">
            <a:avLst/>
          </a:prstGeom>
          <a:noFill/>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fontAlgn="auto">
              <a:spcBef>
                <a:spcPts val="0"/>
              </a:spcBef>
              <a:spcAft>
                <a:spcPts val="0"/>
              </a:spcAft>
              <a:buClr>
                <a:schemeClr val="accent2"/>
              </a:buClr>
              <a:buFont typeface="Arial" panose="020B0604020202020204" pitchFamily="34" charset="0"/>
              <a:buChar char="•"/>
              <a:defRPr/>
            </a:pPr>
            <a:r>
              <a:rPr lang="de-DE" sz="1200" dirty="0">
                <a:solidFill>
                  <a:srgbClr val="000000"/>
                </a:solidFill>
                <a:latin typeface="Bahnschrift" panose="020B0502040204020203" pitchFamily="34" charset="0"/>
              </a:rPr>
              <a:t>Batterien</a:t>
            </a:r>
          </a:p>
        </p:txBody>
      </p:sp>
      <p:sp>
        <p:nvSpPr>
          <p:cNvPr id="59" name="TextBox 142">
            <a:extLst>
              <a:ext uri="{FF2B5EF4-FFF2-40B4-BE49-F238E27FC236}">
                <a16:creationId xmlns:a16="http://schemas.microsoft.com/office/drawing/2014/main" id="{ECC80236-FC60-B5BB-DC21-DB9CDF57DB99}"/>
              </a:ext>
            </a:extLst>
          </p:cNvPr>
          <p:cNvSpPr txBox="1">
            <a:spLocks/>
          </p:cNvSpPr>
          <p:nvPr>
            <p:custDataLst>
              <p:tags r:id="rId26"/>
            </p:custDataLst>
          </p:nvPr>
        </p:nvSpPr>
        <p:spPr>
          <a:xfrm>
            <a:off x="5683059" y="4545196"/>
            <a:ext cx="3118551" cy="592138"/>
          </a:xfrm>
          <a:prstGeom prst="rect">
            <a:avLst/>
          </a:prstGeom>
          <a:noFill/>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fontAlgn="auto">
              <a:spcBef>
                <a:spcPts val="0"/>
              </a:spcBef>
              <a:spcAft>
                <a:spcPts val="0"/>
              </a:spcAft>
              <a:buClr>
                <a:schemeClr val="accent2"/>
              </a:buClr>
              <a:buFont typeface="Arial" panose="020B0604020202020204" pitchFamily="34" charset="0"/>
              <a:buChar char="•"/>
              <a:defRPr/>
            </a:pPr>
            <a:r>
              <a:rPr lang="de-DE" sz="1200" dirty="0">
                <a:solidFill>
                  <a:srgbClr val="000000"/>
                </a:solidFill>
                <a:latin typeface="Bahnschrift" panose="020B0502040204020203" pitchFamily="34" charset="0"/>
              </a:rPr>
              <a:t>Generatoren, Transformatoren und Verkabelung von Windkraftwerken</a:t>
            </a:r>
          </a:p>
          <a:p>
            <a:pPr marL="171450" indent="-171450" fontAlgn="auto">
              <a:spcBef>
                <a:spcPts val="0"/>
              </a:spcBef>
              <a:spcAft>
                <a:spcPts val="0"/>
              </a:spcAft>
              <a:buClr>
                <a:schemeClr val="accent2"/>
              </a:buClr>
              <a:buFont typeface="Arial" panose="020B0604020202020204" pitchFamily="34" charset="0"/>
              <a:buChar char="•"/>
              <a:defRPr/>
            </a:pPr>
            <a:r>
              <a:rPr lang="de-DE" sz="1200" dirty="0">
                <a:solidFill>
                  <a:srgbClr val="000000"/>
                </a:solidFill>
                <a:latin typeface="Bahnschrift" panose="020B0502040204020203" pitchFamily="34" charset="0"/>
              </a:rPr>
              <a:t>Elektromotoren</a:t>
            </a:r>
          </a:p>
        </p:txBody>
      </p:sp>
      <p:sp>
        <p:nvSpPr>
          <p:cNvPr id="60" name="TextBox 143">
            <a:extLst>
              <a:ext uri="{FF2B5EF4-FFF2-40B4-BE49-F238E27FC236}">
                <a16:creationId xmlns:a16="http://schemas.microsoft.com/office/drawing/2014/main" id="{1D7ECE24-E3F3-F9DF-8F81-08DD49699375}"/>
              </a:ext>
            </a:extLst>
          </p:cNvPr>
          <p:cNvSpPr txBox="1">
            <a:spLocks/>
          </p:cNvSpPr>
          <p:nvPr>
            <p:custDataLst>
              <p:tags r:id="rId27"/>
            </p:custDataLst>
          </p:nvPr>
        </p:nvSpPr>
        <p:spPr>
          <a:xfrm>
            <a:off x="5683059" y="5205596"/>
            <a:ext cx="3118551" cy="592138"/>
          </a:xfrm>
          <a:prstGeom prst="rect">
            <a:avLst/>
          </a:prstGeom>
          <a:noFill/>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fontAlgn="auto">
              <a:spcBef>
                <a:spcPts val="0"/>
              </a:spcBef>
              <a:spcAft>
                <a:spcPts val="0"/>
              </a:spcAft>
              <a:buClr>
                <a:schemeClr val="accent2"/>
              </a:buClr>
              <a:buFont typeface="Arial" panose="020B0604020202020204" pitchFamily="34" charset="0"/>
              <a:buChar char="•"/>
              <a:defRPr/>
            </a:pPr>
            <a:r>
              <a:rPr lang="de-DE" sz="1200" dirty="0">
                <a:solidFill>
                  <a:srgbClr val="000000"/>
                </a:solidFill>
                <a:latin typeface="Bahnschrift" panose="020B0502040204020203" pitchFamily="34" charset="0"/>
              </a:rPr>
              <a:t>Batterien</a:t>
            </a:r>
          </a:p>
          <a:p>
            <a:pPr marL="171450" indent="-171450" fontAlgn="auto">
              <a:spcBef>
                <a:spcPts val="0"/>
              </a:spcBef>
              <a:spcAft>
                <a:spcPts val="0"/>
              </a:spcAft>
              <a:buClr>
                <a:schemeClr val="accent2"/>
              </a:buClr>
              <a:buFont typeface="Arial" panose="020B0604020202020204" pitchFamily="34" charset="0"/>
              <a:buChar char="•"/>
              <a:defRPr/>
            </a:pPr>
            <a:r>
              <a:rPr lang="de-DE" sz="1200" dirty="0">
                <a:solidFill>
                  <a:srgbClr val="000000"/>
                </a:solidFill>
                <a:latin typeface="Bahnschrift" panose="020B0502040204020203" pitchFamily="34" charset="0"/>
              </a:rPr>
              <a:t>Stahllegierungen für Windkraftwerke</a:t>
            </a:r>
          </a:p>
        </p:txBody>
      </p:sp>
      <p:sp>
        <p:nvSpPr>
          <p:cNvPr id="61" name="TextBox 144">
            <a:extLst>
              <a:ext uri="{FF2B5EF4-FFF2-40B4-BE49-F238E27FC236}">
                <a16:creationId xmlns:a16="http://schemas.microsoft.com/office/drawing/2014/main" id="{B13F3207-0AC7-C67C-FD9F-088E56F1A411}"/>
              </a:ext>
            </a:extLst>
          </p:cNvPr>
          <p:cNvSpPr txBox="1">
            <a:spLocks/>
          </p:cNvSpPr>
          <p:nvPr>
            <p:custDataLst>
              <p:tags r:id="rId28"/>
            </p:custDataLst>
          </p:nvPr>
        </p:nvSpPr>
        <p:spPr>
          <a:xfrm>
            <a:off x="5678439" y="5849811"/>
            <a:ext cx="3118551" cy="593725"/>
          </a:xfrm>
          <a:prstGeom prst="rect">
            <a:avLst/>
          </a:prstGeom>
          <a:noFill/>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fontAlgn="auto">
              <a:spcBef>
                <a:spcPts val="0"/>
              </a:spcBef>
              <a:spcAft>
                <a:spcPts val="0"/>
              </a:spcAft>
              <a:buClr>
                <a:schemeClr val="accent2"/>
              </a:buClr>
              <a:buFont typeface="Arial" panose="020B0604020202020204" pitchFamily="34" charset="0"/>
              <a:buChar char="•"/>
              <a:defRPr/>
            </a:pPr>
            <a:r>
              <a:rPr kumimoji="0" lang="de-DE" sz="1200" i="0" u="none" strike="noStrike" kern="1200" cap="none" spc="0" normalizeH="0" baseline="0" noProof="0" dirty="0">
                <a:ln>
                  <a:noFill/>
                </a:ln>
                <a:solidFill>
                  <a:srgbClr val="000000"/>
                </a:solidFill>
                <a:effectLst/>
                <a:uLnTx/>
                <a:uFillTx/>
                <a:latin typeface="Bahnschrift" panose="020B0502040204020203" pitchFamily="34" charset="0"/>
              </a:rPr>
              <a:t>Batterien</a:t>
            </a:r>
          </a:p>
        </p:txBody>
      </p:sp>
      <p:sp>
        <p:nvSpPr>
          <p:cNvPr id="63" name="Rectangle 11">
            <a:extLst>
              <a:ext uri="{FF2B5EF4-FFF2-40B4-BE49-F238E27FC236}">
                <a16:creationId xmlns:a16="http://schemas.microsoft.com/office/drawing/2014/main" id="{A9DCC778-4BA5-6649-87E3-F51121030F5F}"/>
              </a:ext>
            </a:extLst>
          </p:cNvPr>
          <p:cNvSpPr/>
          <p:nvPr>
            <p:custDataLst>
              <p:tags r:id="rId29"/>
            </p:custDataLst>
          </p:nvPr>
        </p:nvSpPr>
        <p:spPr bwMode="auto">
          <a:xfrm>
            <a:off x="2046150" y="1301300"/>
            <a:ext cx="109538" cy="109538"/>
          </a:xfrm>
          <a:prstGeom prst="rect">
            <a:avLst/>
          </a:prstGeom>
          <a:solidFill>
            <a:schemeClr val="hlink"/>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err="1">
              <a:solidFill>
                <a:schemeClr val="bg1"/>
              </a:solidFill>
              <a:latin typeface="Bahnschrift" panose="020B0502040204020203" pitchFamily="34" charset="0"/>
            </a:endParaRPr>
          </a:p>
        </p:txBody>
      </p:sp>
      <p:sp>
        <p:nvSpPr>
          <p:cNvPr id="64" name="Rectangle 13">
            <a:extLst>
              <a:ext uri="{FF2B5EF4-FFF2-40B4-BE49-F238E27FC236}">
                <a16:creationId xmlns:a16="http://schemas.microsoft.com/office/drawing/2014/main" id="{F9CC2204-4F97-8747-80C3-E7C24557517F}"/>
              </a:ext>
            </a:extLst>
          </p:cNvPr>
          <p:cNvSpPr/>
          <p:nvPr>
            <p:custDataLst>
              <p:tags r:id="rId30"/>
            </p:custDataLst>
          </p:nvPr>
        </p:nvSpPr>
        <p:spPr bwMode="auto">
          <a:xfrm>
            <a:off x="3835263" y="1301300"/>
            <a:ext cx="109538" cy="109538"/>
          </a:xfrm>
          <a:prstGeom prst="rect">
            <a:avLst/>
          </a:prstGeom>
          <a:solidFill>
            <a:srgbClr val="007800"/>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err="1">
              <a:solidFill>
                <a:schemeClr val="bg1"/>
              </a:solidFill>
              <a:latin typeface="Bahnschrift" panose="020B0502040204020203" pitchFamily="34" charset="0"/>
            </a:endParaRPr>
          </a:p>
        </p:txBody>
      </p:sp>
      <p:sp>
        <p:nvSpPr>
          <p:cNvPr id="65" name="Rectangle 10">
            <a:extLst>
              <a:ext uri="{FF2B5EF4-FFF2-40B4-BE49-F238E27FC236}">
                <a16:creationId xmlns:a16="http://schemas.microsoft.com/office/drawing/2014/main" id="{04521A57-A43E-B488-4CC5-46D56BB16F2B}"/>
              </a:ext>
            </a:extLst>
          </p:cNvPr>
          <p:cNvSpPr/>
          <p:nvPr>
            <p:custDataLst>
              <p:tags r:id="rId31"/>
            </p:custDataLst>
          </p:nvPr>
        </p:nvSpPr>
        <p:spPr bwMode="auto">
          <a:xfrm>
            <a:off x="958713" y="1301300"/>
            <a:ext cx="109538" cy="109538"/>
          </a:xfrm>
          <a:prstGeom prst="rect">
            <a:avLst/>
          </a:prstGeom>
          <a:solidFill>
            <a:srgbClr val="FFA2A2"/>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err="1">
              <a:solidFill>
                <a:schemeClr val="bg1"/>
              </a:solidFill>
              <a:latin typeface="Bahnschrift" panose="020B0502040204020203" pitchFamily="34" charset="0"/>
            </a:endParaRPr>
          </a:p>
        </p:txBody>
      </p:sp>
      <p:sp>
        <p:nvSpPr>
          <p:cNvPr id="66" name="Rectangle 12">
            <a:extLst>
              <a:ext uri="{FF2B5EF4-FFF2-40B4-BE49-F238E27FC236}">
                <a16:creationId xmlns:a16="http://schemas.microsoft.com/office/drawing/2014/main" id="{ACE67722-9CA4-C22D-B63F-6BBE8F36AC26}"/>
              </a:ext>
            </a:extLst>
          </p:cNvPr>
          <p:cNvSpPr/>
          <p:nvPr>
            <p:custDataLst>
              <p:tags r:id="rId32"/>
            </p:custDataLst>
          </p:nvPr>
        </p:nvSpPr>
        <p:spPr bwMode="auto">
          <a:xfrm>
            <a:off x="2622413" y="1301300"/>
            <a:ext cx="109538" cy="109538"/>
          </a:xfrm>
          <a:prstGeom prst="rect">
            <a:avLst/>
          </a:prstGeom>
          <a:solidFill>
            <a:srgbClr val="92D050"/>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err="1">
              <a:solidFill>
                <a:schemeClr val="bg1"/>
              </a:solidFill>
              <a:latin typeface="Bahnschrift" panose="020B0502040204020203" pitchFamily="34" charset="0"/>
            </a:endParaRPr>
          </a:p>
        </p:txBody>
      </p:sp>
      <p:sp>
        <p:nvSpPr>
          <p:cNvPr id="67" name="Rectangle 14">
            <a:extLst>
              <a:ext uri="{FF2B5EF4-FFF2-40B4-BE49-F238E27FC236}">
                <a16:creationId xmlns:a16="http://schemas.microsoft.com/office/drawing/2014/main" id="{A73A5D42-B909-A447-717A-B892D170AA56}"/>
              </a:ext>
            </a:extLst>
          </p:cNvPr>
          <p:cNvSpPr/>
          <p:nvPr>
            <p:custDataLst>
              <p:tags r:id="rId33"/>
            </p:custDataLst>
          </p:nvPr>
        </p:nvSpPr>
        <p:spPr bwMode="auto">
          <a:xfrm>
            <a:off x="4679813" y="1301300"/>
            <a:ext cx="109538" cy="109538"/>
          </a:xfrm>
          <a:prstGeom prst="rect">
            <a:avLst/>
          </a:prstGeom>
          <a:solidFill>
            <a:srgbClr val="7F7F7F"/>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err="1">
              <a:solidFill>
                <a:schemeClr val="bg1"/>
              </a:solidFill>
              <a:latin typeface="Bahnschrift" panose="020B0502040204020203" pitchFamily="34" charset="0"/>
            </a:endParaRPr>
          </a:p>
        </p:txBody>
      </p:sp>
      <p:sp>
        <p:nvSpPr>
          <p:cNvPr id="68" name="Rectangle 15">
            <a:extLst>
              <a:ext uri="{FF2B5EF4-FFF2-40B4-BE49-F238E27FC236}">
                <a16:creationId xmlns:a16="http://schemas.microsoft.com/office/drawing/2014/main" id="{55B997D3-EFC7-BB60-E0D9-AAA2A8ABC761}"/>
              </a:ext>
            </a:extLst>
          </p:cNvPr>
          <p:cNvSpPr/>
          <p:nvPr>
            <p:custDataLst>
              <p:tags r:id="rId34"/>
            </p:custDataLst>
          </p:nvPr>
        </p:nvSpPr>
        <p:spPr bwMode="auto">
          <a:xfrm>
            <a:off x="5325925" y="1301300"/>
            <a:ext cx="109538" cy="109538"/>
          </a:xfrm>
          <a:prstGeom prst="rect">
            <a:avLst/>
          </a:prstGeom>
          <a:solidFill>
            <a:srgbClr val="FFC000"/>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err="1">
              <a:solidFill>
                <a:schemeClr val="bg1"/>
              </a:solidFill>
              <a:latin typeface="Bahnschrift" panose="020B0502040204020203" pitchFamily="34" charset="0"/>
            </a:endParaRPr>
          </a:p>
        </p:txBody>
      </p:sp>
      <p:sp>
        <p:nvSpPr>
          <p:cNvPr id="69" name="Rectangle 16">
            <a:extLst>
              <a:ext uri="{FF2B5EF4-FFF2-40B4-BE49-F238E27FC236}">
                <a16:creationId xmlns:a16="http://schemas.microsoft.com/office/drawing/2014/main" id="{9FE151D2-B1D7-6AC6-ABE2-A1ECED5D8400}"/>
              </a:ext>
            </a:extLst>
          </p:cNvPr>
          <p:cNvSpPr/>
          <p:nvPr>
            <p:custDataLst>
              <p:tags r:id="rId35"/>
            </p:custDataLst>
          </p:nvPr>
        </p:nvSpPr>
        <p:spPr bwMode="auto">
          <a:xfrm>
            <a:off x="6278425" y="1301300"/>
            <a:ext cx="109538" cy="109538"/>
          </a:xfrm>
          <a:prstGeom prst="rect">
            <a:avLst/>
          </a:prstGeom>
          <a:solidFill>
            <a:schemeClr val="accent2"/>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err="1">
              <a:solidFill>
                <a:schemeClr val="bg1"/>
              </a:solidFill>
              <a:latin typeface="Bahnschrift" panose="020B0502040204020203" pitchFamily="34" charset="0"/>
            </a:endParaRPr>
          </a:p>
        </p:txBody>
      </p:sp>
      <p:sp>
        <p:nvSpPr>
          <p:cNvPr id="70" name="Rectangle 17">
            <a:extLst>
              <a:ext uri="{FF2B5EF4-FFF2-40B4-BE49-F238E27FC236}">
                <a16:creationId xmlns:a16="http://schemas.microsoft.com/office/drawing/2014/main" id="{3269B379-97DA-78DB-5822-829C305A8A2B}"/>
              </a:ext>
            </a:extLst>
          </p:cNvPr>
          <p:cNvSpPr/>
          <p:nvPr>
            <p:custDataLst>
              <p:tags r:id="rId36"/>
            </p:custDataLst>
          </p:nvPr>
        </p:nvSpPr>
        <p:spPr bwMode="auto">
          <a:xfrm>
            <a:off x="6794363" y="1301300"/>
            <a:ext cx="109538" cy="109538"/>
          </a:xfrm>
          <a:prstGeom prst="rect">
            <a:avLst/>
          </a:prstGeom>
          <a:solidFill>
            <a:srgbClr val="B380DD"/>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err="1">
              <a:solidFill>
                <a:schemeClr val="bg1"/>
              </a:solidFill>
              <a:latin typeface="Bahnschrift" panose="020B0502040204020203" pitchFamily="34" charset="0"/>
            </a:endParaRPr>
          </a:p>
        </p:txBody>
      </p:sp>
      <p:sp>
        <p:nvSpPr>
          <p:cNvPr id="71" name="Rectangle 18">
            <a:extLst>
              <a:ext uri="{FF2B5EF4-FFF2-40B4-BE49-F238E27FC236}">
                <a16:creationId xmlns:a16="http://schemas.microsoft.com/office/drawing/2014/main" id="{AB7ABB09-0C3D-242E-837E-599224C95C5B}"/>
              </a:ext>
            </a:extLst>
          </p:cNvPr>
          <p:cNvSpPr/>
          <p:nvPr>
            <p:custDataLst>
              <p:tags r:id="rId37"/>
            </p:custDataLst>
          </p:nvPr>
        </p:nvSpPr>
        <p:spPr bwMode="auto">
          <a:xfrm>
            <a:off x="7327763" y="1301300"/>
            <a:ext cx="109538" cy="109538"/>
          </a:xfrm>
          <a:prstGeom prst="rect">
            <a:avLst/>
          </a:prstGeom>
          <a:solidFill>
            <a:srgbClr val="E6E6E6"/>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err="1">
              <a:solidFill>
                <a:schemeClr val="bg1"/>
              </a:solidFill>
              <a:latin typeface="Bahnschrift" panose="020B0502040204020203" pitchFamily="34" charset="0"/>
            </a:endParaRPr>
          </a:p>
        </p:txBody>
      </p:sp>
      <p:sp>
        <p:nvSpPr>
          <p:cNvPr id="72" name="Text Placeholder 4">
            <a:extLst>
              <a:ext uri="{FF2B5EF4-FFF2-40B4-BE49-F238E27FC236}">
                <a16:creationId xmlns:a16="http://schemas.microsoft.com/office/drawing/2014/main" id="{D0669BD6-D16E-26D7-2500-9EABC433D1F3}"/>
              </a:ext>
            </a:extLst>
          </p:cNvPr>
          <p:cNvSpPr>
            <a:spLocks noGrp="1"/>
          </p:cNvSpPr>
          <p:nvPr>
            <p:custDataLst>
              <p:tags r:id="rId38"/>
            </p:custDataLst>
          </p:nvPr>
        </p:nvSpPr>
        <p:spPr bwMode="auto">
          <a:xfrm>
            <a:off x="5486263" y="1298125"/>
            <a:ext cx="6905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7BD037D1-145C-4522-A15B-4384E8D407A6}" type="datetime'M''''i''''''ttl''e''''''r''er'''''' ''''''O''''''sten'">
              <a:rPr lang="de-DE" altLang="en-US" sz="800" smtClean="0">
                <a:effectLst/>
                <a:latin typeface="Bahnschrift" panose="020B0502040204020203" pitchFamily="34" charset="0"/>
                <a:cs typeface="+mn-cs"/>
              </a:rPr>
              <a:pPr>
                <a:spcBef>
                  <a:spcPct val="0"/>
                </a:spcBef>
                <a:spcAft>
                  <a:spcPct val="0"/>
                </a:spcAft>
              </a:pPr>
              <a:t>Mittlerer Osten</a:t>
            </a:fld>
            <a:endParaRPr lang="de-DE" sz="800" dirty="0">
              <a:latin typeface="Bahnschrift" panose="020B0502040204020203" pitchFamily="34" charset="0"/>
              <a:cs typeface="+mn-cs"/>
            </a:endParaRPr>
          </a:p>
        </p:txBody>
      </p:sp>
      <p:sp>
        <p:nvSpPr>
          <p:cNvPr id="73" name="Text Placeholder 4">
            <a:extLst>
              <a:ext uri="{FF2B5EF4-FFF2-40B4-BE49-F238E27FC236}">
                <a16:creationId xmlns:a16="http://schemas.microsoft.com/office/drawing/2014/main" id="{EC884B35-F803-601B-BF5D-8AFCB8BF3FFD}"/>
              </a:ext>
            </a:extLst>
          </p:cNvPr>
          <p:cNvSpPr>
            <a:spLocks noGrp="1"/>
          </p:cNvSpPr>
          <p:nvPr>
            <p:custDataLst>
              <p:tags r:id="rId39"/>
            </p:custDataLst>
          </p:nvPr>
        </p:nvSpPr>
        <p:spPr bwMode="auto">
          <a:xfrm>
            <a:off x="2206488" y="1298125"/>
            <a:ext cx="31432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BB852DF3-8ADC-4ED5-86E1-B373E9BCF85D}" type="datetime'E''''''''''''ur''''''''''''''''''''o''''''p''''a'''''''">
              <a:rPr lang="de-DE" altLang="en-US" sz="800" smtClean="0">
                <a:effectLst/>
                <a:latin typeface="Bahnschrift" panose="020B0502040204020203" pitchFamily="34" charset="0"/>
                <a:cs typeface="+mn-cs"/>
              </a:rPr>
              <a:pPr>
                <a:spcBef>
                  <a:spcPct val="0"/>
                </a:spcBef>
                <a:spcAft>
                  <a:spcPct val="0"/>
                </a:spcAft>
              </a:pPr>
              <a:t>Europa</a:t>
            </a:fld>
            <a:endParaRPr lang="de-DE" sz="800" dirty="0">
              <a:latin typeface="Bahnschrift" panose="020B0502040204020203" pitchFamily="34" charset="0"/>
              <a:cs typeface="+mn-cs"/>
            </a:endParaRPr>
          </a:p>
        </p:txBody>
      </p:sp>
      <p:sp>
        <p:nvSpPr>
          <p:cNvPr id="74" name="Text Placeholder 4">
            <a:extLst>
              <a:ext uri="{FF2B5EF4-FFF2-40B4-BE49-F238E27FC236}">
                <a16:creationId xmlns:a16="http://schemas.microsoft.com/office/drawing/2014/main" id="{3745ABB1-0763-83CC-FCB8-3811AE5F2B5C}"/>
              </a:ext>
            </a:extLst>
          </p:cNvPr>
          <p:cNvSpPr>
            <a:spLocks noGrp="1"/>
          </p:cNvSpPr>
          <p:nvPr>
            <p:custDataLst>
              <p:tags r:id="rId40"/>
            </p:custDataLst>
          </p:nvPr>
        </p:nvSpPr>
        <p:spPr bwMode="auto">
          <a:xfrm>
            <a:off x="7488100" y="1298125"/>
            <a:ext cx="7778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38C16A1-06EA-47A1-BF20-058E1830369C}" type="datetime'''''Nich''t s''''''pe''''''''''z''i''fi''zi''e''''r''''''''t'">
              <a:rPr lang="de-DE" altLang="en-US" sz="800" smtClean="0">
                <a:effectLst/>
                <a:latin typeface="Bahnschrift" panose="020B0502040204020203" pitchFamily="34" charset="0"/>
                <a:cs typeface="+mn-cs"/>
              </a:rPr>
              <a:pPr>
                <a:spcBef>
                  <a:spcPct val="0"/>
                </a:spcBef>
                <a:spcAft>
                  <a:spcPct val="0"/>
                </a:spcAft>
              </a:pPr>
              <a:t>Nicht spezifiziert</a:t>
            </a:fld>
            <a:endParaRPr lang="de-DE" sz="800" dirty="0">
              <a:latin typeface="Bahnschrift" panose="020B0502040204020203" pitchFamily="34" charset="0"/>
              <a:cs typeface="+mn-cs"/>
            </a:endParaRPr>
          </a:p>
        </p:txBody>
      </p:sp>
      <p:sp>
        <p:nvSpPr>
          <p:cNvPr id="75" name="Text Placeholder 4">
            <a:extLst>
              <a:ext uri="{FF2B5EF4-FFF2-40B4-BE49-F238E27FC236}">
                <a16:creationId xmlns:a16="http://schemas.microsoft.com/office/drawing/2014/main" id="{CF66A240-F03A-4978-48FB-54BFB48EE9DF}"/>
              </a:ext>
            </a:extLst>
          </p:cNvPr>
          <p:cNvSpPr>
            <a:spLocks noGrp="1"/>
          </p:cNvSpPr>
          <p:nvPr>
            <p:custDataLst>
              <p:tags r:id="rId41"/>
            </p:custDataLst>
          </p:nvPr>
        </p:nvSpPr>
        <p:spPr bwMode="auto">
          <a:xfrm>
            <a:off x="1119050" y="1298125"/>
            <a:ext cx="8255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B682232B-E689-4B1B-A9C3-3C7853D38388}" type="datetime'R''''''est'''''''' As''''ien''/''''''Pa''zif''''''i''''''k'">
              <a:rPr lang="de-DE" altLang="en-US" sz="800" smtClean="0">
                <a:effectLst/>
                <a:latin typeface="Bahnschrift" panose="020B0502040204020203" pitchFamily="34" charset="0"/>
                <a:cs typeface="+mn-cs"/>
              </a:rPr>
              <a:pPr>
                <a:spcBef>
                  <a:spcPct val="0"/>
                </a:spcBef>
                <a:spcAft>
                  <a:spcPct val="0"/>
                </a:spcAft>
              </a:pPr>
              <a:t>Rest Asien/Pazifik</a:t>
            </a:fld>
            <a:endParaRPr lang="de-DE" sz="800" dirty="0">
              <a:latin typeface="Bahnschrift" panose="020B0502040204020203" pitchFamily="34" charset="0"/>
              <a:cs typeface="+mn-cs"/>
            </a:endParaRPr>
          </a:p>
        </p:txBody>
      </p:sp>
      <p:sp>
        <p:nvSpPr>
          <p:cNvPr id="76" name="Text Placeholder 4">
            <a:extLst>
              <a:ext uri="{FF2B5EF4-FFF2-40B4-BE49-F238E27FC236}">
                <a16:creationId xmlns:a16="http://schemas.microsoft.com/office/drawing/2014/main" id="{82FD76BC-832E-D3D2-EFCF-47D6F76A782F}"/>
              </a:ext>
            </a:extLst>
          </p:cNvPr>
          <p:cNvSpPr>
            <a:spLocks noGrp="1"/>
          </p:cNvSpPr>
          <p:nvPr>
            <p:custDataLst>
              <p:tags r:id="rId42"/>
            </p:custDataLst>
          </p:nvPr>
        </p:nvSpPr>
        <p:spPr bwMode="auto">
          <a:xfrm>
            <a:off x="2782750" y="1298125"/>
            <a:ext cx="9509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7FC98F28-DA9E-4E70-A3BD-A051795C5EEB}" type="datetime'Z''''''''e''ntra''''l''''''-''''''''/Südame''ri''''k''''''a'">
              <a:rPr lang="de-DE" altLang="en-US" sz="800" smtClean="0">
                <a:effectLst/>
                <a:latin typeface="Bahnschrift" panose="020B0502040204020203" pitchFamily="34" charset="0"/>
                <a:cs typeface="+mn-cs"/>
              </a:rPr>
              <a:pPr>
                <a:spcBef>
                  <a:spcPct val="0"/>
                </a:spcBef>
                <a:spcAft>
                  <a:spcPct val="0"/>
                </a:spcAft>
              </a:pPr>
              <a:t>Zentral-/Südamerika</a:t>
            </a:fld>
            <a:endParaRPr lang="de-DE" sz="800" dirty="0">
              <a:latin typeface="Bahnschrift" panose="020B0502040204020203" pitchFamily="34" charset="0"/>
              <a:cs typeface="+mn-cs"/>
            </a:endParaRPr>
          </a:p>
        </p:txBody>
      </p:sp>
      <p:sp>
        <p:nvSpPr>
          <p:cNvPr id="77" name="Text Placeholder 4">
            <a:extLst>
              <a:ext uri="{FF2B5EF4-FFF2-40B4-BE49-F238E27FC236}">
                <a16:creationId xmlns:a16="http://schemas.microsoft.com/office/drawing/2014/main" id="{673C8630-47B2-9EFA-3816-084A6A55C1EA}"/>
              </a:ext>
            </a:extLst>
          </p:cNvPr>
          <p:cNvSpPr>
            <a:spLocks noGrp="1"/>
          </p:cNvSpPr>
          <p:nvPr>
            <p:custDataLst>
              <p:tags r:id="rId43"/>
            </p:custDataLst>
          </p:nvPr>
        </p:nvSpPr>
        <p:spPr bwMode="auto">
          <a:xfrm>
            <a:off x="3995600" y="1298125"/>
            <a:ext cx="58261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F920135-4592-4130-8F4E-1AE57E5551B8}" type="datetime'''''''''''N''''''''''o''r''d''''''a''mer''''''ik''''''''''''a'">
              <a:rPr lang="de-DE" altLang="en-US" sz="800" smtClean="0">
                <a:effectLst/>
                <a:latin typeface="Bahnschrift" panose="020B0502040204020203" pitchFamily="34" charset="0"/>
                <a:cs typeface="+mn-cs"/>
              </a:rPr>
              <a:pPr>
                <a:spcBef>
                  <a:spcPct val="0"/>
                </a:spcBef>
                <a:spcAft>
                  <a:spcPct val="0"/>
                </a:spcAft>
              </a:pPr>
              <a:t>Nordamerika</a:t>
            </a:fld>
            <a:endParaRPr lang="de-DE" sz="800" dirty="0">
              <a:latin typeface="Bahnschrift" panose="020B0502040204020203" pitchFamily="34" charset="0"/>
              <a:cs typeface="+mn-cs"/>
            </a:endParaRPr>
          </a:p>
        </p:txBody>
      </p:sp>
      <p:sp>
        <p:nvSpPr>
          <p:cNvPr id="78" name="Text Placeholder 4">
            <a:extLst>
              <a:ext uri="{FF2B5EF4-FFF2-40B4-BE49-F238E27FC236}">
                <a16:creationId xmlns:a16="http://schemas.microsoft.com/office/drawing/2014/main" id="{C8C14C0B-D0FE-2DD0-20A3-25FFE25EAFEB}"/>
              </a:ext>
            </a:extLst>
          </p:cNvPr>
          <p:cNvSpPr>
            <a:spLocks noGrp="1"/>
          </p:cNvSpPr>
          <p:nvPr>
            <p:custDataLst>
              <p:tags r:id="rId44"/>
            </p:custDataLst>
          </p:nvPr>
        </p:nvSpPr>
        <p:spPr bwMode="auto">
          <a:xfrm>
            <a:off x="4840150" y="1298125"/>
            <a:ext cx="384175"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8BC97960-CBC9-496E-9DDD-34226C780514}" type="datetime'''''''''E''''''u''''''ras''i''''''''e''n'">
              <a:rPr lang="de-DE" altLang="en-US" sz="800" smtClean="0">
                <a:effectLst/>
                <a:latin typeface="Bahnschrift" panose="020B0502040204020203" pitchFamily="34" charset="0"/>
                <a:cs typeface="+mn-cs"/>
              </a:rPr>
              <a:pPr>
                <a:spcBef>
                  <a:spcPct val="0"/>
                </a:spcBef>
                <a:spcAft>
                  <a:spcPct val="0"/>
                </a:spcAft>
              </a:pPr>
              <a:t>Eurasien</a:t>
            </a:fld>
            <a:endParaRPr lang="de-DE" sz="800" dirty="0">
              <a:latin typeface="Bahnschrift" panose="020B0502040204020203" pitchFamily="34" charset="0"/>
              <a:cs typeface="+mn-cs"/>
            </a:endParaRPr>
          </a:p>
        </p:txBody>
      </p:sp>
      <p:sp>
        <p:nvSpPr>
          <p:cNvPr id="79" name="Text Placeholder 4">
            <a:extLst>
              <a:ext uri="{FF2B5EF4-FFF2-40B4-BE49-F238E27FC236}">
                <a16:creationId xmlns:a16="http://schemas.microsoft.com/office/drawing/2014/main" id="{9602FED0-3A08-8284-AE8B-C35A721D0419}"/>
              </a:ext>
            </a:extLst>
          </p:cNvPr>
          <p:cNvSpPr>
            <a:spLocks noGrp="1"/>
          </p:cNvSpPr>
          <p:nvPr>
            <p:custDataLst>
              <p:tags r:id="rId45"/>
            </p:custDataLst>
          </p:nvPr>
        </p:nvSpPr>
        <p:spPr bwMode="auto">
          <a:xfrm>
            <a:off x="6438763" y="1298125"/>
            <a:ext cx="254000"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DA369849-DEE5-4FB2-ACB7-E5713908EBF7}" type="datetime'''''''C''''''''''h''''''''''i''''''''n''''a'''''">
              <a:rPr lang="de-DE" altLang="en-US" sz="800" smtClean="0">
                <a:effectLst/>
                <a:latin typeface="Bahnschrift" panose="020B0502040204020203" pitchFamily="34" charset="0"/>
                <a:cs typeface="+mn-cs"/>
              </a:rPr>
              <a:pPr>
                <a:spcBef>
                  <a:spcPct val="0"/>
                </a:spcBef>
                <a:spcAft>
                  <a:spcPct val="0"/>
                </a:spcAft>
              </a:pPr>
              <a:t>China</a:t>
            </a:fld>
            <a:endParaRPr lang="de-DE" sz="800" dirty="0">
              <a:latin typeface="Bahnschrift" panose="020B0502040204020203" pitchFamily="34" charset="0"/>
              <a:cs typeface="+mn-cs"/>
            </a:endParaRPr>
          </a:p>
        </p:txBody>
      </p:sp>
      <p:sp>
        <p:nvSpPr>
          <p:cNvPr id="80" name="Text Placeholder 4">
            <a:extLst>
              <a:ext uri="{FF2B5EF4-FFF2-40B4-BE49-F238E27FC236}">
                <a16:creationId xmlns:a16="http://schemas.microsoft.com/office/drawing/2014/main" id="{C91495A3-A24A-AA0B-83B7-D4C1283EC045}"/>
              </a:ext>
            </a:extLst>
          </p:cNvPr>
          <p:cNvSpPr>
            <a:spLocks noGrp="1"/>
          </p:cNvSpPr>
          <p:nvPr>
            <p:custDataLst>
              <p:tags r:id="rId46"/>
            </p:custDataLst>
          </p:nvPr>
        </p:nvSpPr>
        <p:spPr bwMode="auto">
          <a:xfrm>
            <a:off x="6954700" y="1298125"/>
            <a:ext cx="271463" cy="1222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E9BCDD04-916E-4C73-B13E-6A64FB0DA2A7}" type="datetime'A''''f''''''''''''''''''''r''ik''''''''''''''''''''''''''a'">
              <a:rPr lang="de-DE" altLang="en-US" sz="800" smtClean="0">
                <a:effectLst/>
                <a:latin typeface="Bahnschrift" panose="020B0502040204020203" pitchFamily="34" charset="0"/>
                <a:cs typeface="+mn-cs"/>
              </a:rPr>
              <a:pPr>
                <a:spcBef>
                  <a:spcPct val="0"/>
                </a:spcBef>
                <a:spcAft>
                  <a:spcPct val="0"/>
                </a:spcAft>
              </a:pPr>
              <a:t>Afrika</a:t>
            </a:fld>
            <a:endParaRPr lang="de-DE" sz="800" dirty="0">
              <a:latin typeface="Bahnschrift" panose="020B0502040204020203" pitchFamily="34" charset="0"/>
              <a:cs typeface="+mn-cs"/>
            </a:endParaRPr>
          </a:p>
        </p:txBody>
      </p:sp>
      <p:grpSp>
        <p:nvGrpSpPr>
          <p:cNvPr id="85" name="CustomIcon">
            <a:extLst>
              <a:ext uri="{FF2B5EF4-FFF2-40B4-BE49-F238E27FC236}">
                <a16:creationId xmlns:a16="http://schemas.microsoft.com/office/drawing/2014/main" id="{1EEBFA8D-FF1D-ACE9-11C7-6BFA7E3CE355}"/>
              </a:ext>
            </a:extLst>
          </p:cNvPr>
          <p:cNvGrpSpPr>
            <a:grpSpLocks/>
          </p:cNvGrpSpPr>
          <p:nvPr>
            <p:custDataLst>
              <p:tags r:id="rId47"/>
            </p:custDataLst>
          </p:nvPr>
        </p:nvGrpSpPr>
        <p:grpSpPr>
          <a:xfrm>
            <a:off x="11261580" y="1246916"/>
            <a:ext cx="516165" cy="516165"/>
            <a:chOff x="-205105" y="-205105"/>
            <a:chExt cx="1019810" cy="1019810"/>
          </a:xfrm>
        </p:grpSpPr>
        <p:sp>
          <p:nvSpPr>
            <p:cNvPr id="86" name="Oval 38">
              <a:extLst>
                <a:ext uri="{FF2B5EF4-FFF2-40B4-BE49-F238E27FC236}">
                  <a16:creationId xmlns:a16="http://schemas.microsoft.com/office/drawing/2014/main" id="{E01AC567-817A-1DA0-9E9C-1110CA77D91F}"/>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de-DE" sz="1600" dirty="0" err="1">
                <a:solidFill>
                  <a:schemeClr val="bg1"/>
                </a:solidFill>
                <a:latin typeface="Bahnschrift" panose="020B0502040204020203" pitchFamily="34" charset="0"/>
              </a:endParaRPr>
            </a:p>
          </p:txBody>
        </p:sp>
        <p:pic>
          <p:nvPicPr>
            <p:cNvPr id="87" name="Graphic 40">
              <a:extLst>
                <a:ext uri="{FF2B5EF4-FFF2-40B4-BE49-F238E27FC236}">
                  <a16:creationId xmlns:a16="http://schemas.microsoft.com/office/drawing/2014/main" id="{F9214783-7F47-50C8-9608-304B0BF5A817}"/>
                </a:ext>
              </a:extLst>
            </p:cNvPr>
            <p:cNvPicPr>
              <a:picLocks noChangeAspect="1"/>
            </p:cNvPicPr>
            <p:nvPr/>
          </p:nvPicPr>
          <p:blipFill>
            <a:blip r:embed="rId52">
              <a:extLst>
                <a:ext uri="{96DAC541-7B7A-43D3-8B79-37D633B846F1}">
                  <asvg:svgBlip xmlns:asvg="http://schemas.microsoft.com/office/drawing/2016/SVG/main" r:embed="rId53"/>
                </a:ext>
              </a:extLst>
            </a:blip>
            <a:stretch>
              <a:fillRect/>
            </a:stretch>
          </p:blipFill>
          <p:spPr>
            <a:xfrm>
              <a:off x="0" y="0"/>
              <a:ext cx="609600" cy="609600"/>
            </a:xfrm>
            <a:prstGeom prst="rect">
              <a:avLst/>
            </a:prstGeom>
          </p:spPr>
        </p:pic>
      </p:grpSp>
      <p:sp>
        <p:nvSpPr>
          <p:cNvPr id="2" name="Text Placeholder 4">
            <a:extLst>
              <a:ext uri="{FF2B5EF4-FFF2-40B4-BE49-F238E27FC236}">
                <a16:creationId xmlns:a16="http://schemas.microsoft.com/office/drawing/2014/main" id="{C221907F-657F-5B03-6C2D-39C683112EC5}"/>
              </a:ext>
            </a:extLst>
          </p:cNvPr>
          <p:cNvSpPr>
            <a:spLocks noGrp="1"/>
          </p:cNvSpPr>
          <p:nvPr>
            <p:custDataLst>
              <p:tags r:id="rId48"/>
            </p:custDataLst>
          </p:nvPr>
        </p:nvSpPr>
        <p:spPr bwMode="auto">
          <a:xfrm>
            <a:off x="975080" y="2494273"/>
            <a:ext cx="419100" cy="168179"/>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r>
              <a:rPr lang="de-DE" sz="1100" dirty="0">
                <a:effectLst/>
                <a:latin typeface="Bahnschrift" panose="020B0502040204020203" pitchFamily="34" charset="0"/>
                <a:ea typeface="Calibri" panose="020F0502020204030204" pitchFamily="34" charset="0"/>
              </a:rPr>
              <a:t>Polykristallines</a:t>
            </a:r>
            <a:br>
              <a:rPr lang="de-DE" sz="1100" dirty="0">
                <a:effectLst/>
                <a:latin typeface="Bahnschrift" panose="020B0502040204020203" pitchFamily="34" charset="0"/>
                <a:ea typeface="Calibri" panose="020F0502020204030204" pitchFamily="34" charset="0"/>
              </a:rPr>
            </a:br>
            <a:r>
              <a:rPr lang="de-DE" sz="1100" dirty="0">
                <a:effectLst/>
                <a:latin typeface="Bahnschrift" panose="020B0502040204020203" pitchFamily="34" charset="0"/>
                <a:ea typeface="Calibri" panose="020F0502020204030204" pitchFamily="34" charset="0"/>
              </a:rPr>
              <a:t>Silizium</a:t>
            </a:r>
            <a:endParaRPr kumimoji="0" lang="de-DE" sz="1100" b="0" i="0" u="none" strike="noStrike" kern="1200" cap="none" spc="0" normalizeH="0" baseline="0" noProof="0" dirty="0">
              <a:ln>
                <a:noFill/>
              </a:ln>
              <a:solidFill>
                <a:srgbClr val="000000"/>
              </a:solidFill>
              <a:effectLst/>
              <a:uLnTx/>
              <a:uFillTx/>
              <a:latin typeface="Bahnschrift" panose="020B0502040204020203" pitchFamily="34" charset="0"/>
            </a:endParaRPr>
          </a:p>
        </p:txBody>
      </p:sp>
    </p:spTree>
    <p:extLst>
      <p:ext uri="{BB962C8B-B14F-4D97-AF65-F5344CB8AC3E}">
        <p14:creationId xmlns:p14="http://schemas.microsoft.com/office/powerpoint/2010/main" val="24986923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51FC3AF8-E2D8-4D7A-8FA7-D7282DC93DF6}"/>
              </a:ext>
            </a:extLst>
          </p:cNvPr>
          <p:cNvGraphicFramePr>
            <a:graphicFrameLocks noChangeAspect="1"/>
          </p:cNvGraphicFramePr>
          <p:nvPr>
            <p:custDataLst>
              <p:tags r:id="rId1"/>
            </p:custDataLst>
            <p:extLst>
              <p:ext uri="{D42A27DB-BD31-4B8C-83A1-F6EECF244321}">
                <p14:modId xmlns:p14="http://schemas.microsoft.com/office/powerpoint/2010/main" val="2300710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592" imgH="591" progId="TCLayout.ActiveDocument.1">
                  <p:embed/>
                </p:oleObj>
              </mc:Choice>
              <mc:Fallback>
                <p:oleObj name="think-cell Slide" r:id="rId30" imgW="592" imgH="591" progId="TCLayout.ActiveDocument.1">
                  <p:embed/>
                  <p:pic>
                    <p:nvPicPr>
                      <p:cNvPr id="17" name="Object 16" hidden="1">
                        <a:extLst>
                          <a:ext uri="{FF2B5EF4-FFF2-40B4-BE49-F238E27FC236}">
                            <a16:creationId xmlns:a16="http://schemas.microsoft.com/office/drawing/2014/main" id="{51FC3AF8-E2D8-4D7A-8FA7-D7282DC93DF6}"/>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59FD29-0E65-4A69-A2F7-4AD0D71D7314}"/>
              </a:ext>
            </a:extLst>
          </p:cNvPr>
          <p:cNvSpPr>
            <a:spLocks noGrp="1"/>
          </p:cNvSpPr>
          <p:nvPr>
            <p:ph type="title"/>
          </p:nvPr>
        </p:nvSpPr>
        <p:spPr/>
        <p:txBody>
          <a:bodyPr vert="horz"/>
          <a:lstStyle/>
          <a:p>
            <a:r>
              <a:rPr lang="de-AT" dirty="0"/>
              <a:t>Bis zu 99% der notwendigen mineralischen Rohstoffe für erneuerbare Technologien werden aktuell importiert</a:t>
            </a:r>
            <a:endParaRPr lang="de-DE" dirty="0"/>
          </a:p>
        </p:txBody>
      </p:sp>
      <p:graphicFrame>
        <p:nvGraphicFramePr>
          <p:cNvPr id="29" name="Chart 28">
            <a:extLst>
              <a:ext uri="{FF2B5EF4-FFF2-40B4-BE49-F238E27FC236}">
                <a16:creationId xmlns:a16="http://schemas.microsoft.com/office/drawing/2014/main" id="{96DF3CB2-E23F-EE73-6B31-0F1CFE2011E3}"/>
              </a:ext>
            </a:extLst>
          </p:cNvPr>
          <p:cNvGraphicFramePr/>
          <p:nvPr>
            <p:custDataLst>
              <p:tags r:id="rId2"/>
            </p:custDataLst>
            <p:extLst>
              <p:ext uri="{D42A27DB-BD31-4B8C-83A1-F6EECF244321}">
                <p14:modId xmlns:p14="http://schemas.microsoft.com/office/powerpoint/2010/main" val="2907936902"/>
              </p:ext>
            </p:extLst>
          </p:nvPr>
        </p:nvGraphicFramePr>
        <p:xfrm>
          <a:off x="1035050" y="2017713"/>
          <a:ext cx="10348913" cy="2674937"/>
        </p:xfrm>
        <a:graphic>
          <a:graphicData uri="http://schemas.openxmlformats.org/drawingml/2006/chart">
            <c:chart xmlns:c="http://schemas.openxmlformats.org/drawingml/2006/chart" xmlns:r="http://schemas.openxmlformats.org/officeDocument/2006/relationships" r:id="rId32"/>
          </a:graphicData>
        </a:graphic>
      </p:graphicFrame>
      <p:sp>
        <p:nvSpPr>
          <p:cNvPr id="21" name="Textplatzhalter 8">
            <a:extLst>
              <a:ext uri="{FF2B5EF4-FFF2-40B4-BE49-F238E27FC236}">
                <a16:creationId xmlns:a16="http://schemas.microsoft.com/office/drawing/2014/main" id="{5EA6E920-8127-B07B-03C1-7CBC8D40FFA3}"/>
              </a:ext>
            </a:extLst>
          </p:cNvPr>
          <p:cNvSpPr>
            <a:spLocks noGrp="1"/>
          </p:cNvSpPr>
          <p:nvPr>
            <p:custDataLst>
              <p:tags r:id="rId3"/>
            </p:custDataLst>
          </p:nvPr>
        </p:nvSpPr>
        <p:spPr bwMode="gray">
          <a:xfrm>
            <a:off x="733425" y="3279775"/>
            <a:ext cx="2555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937930D3-0B0C-420F-B1E3-3D3C6C81C93D}" type="datetime'''''''''''''''''''5'''''''''''''''',0''''''''''''%'''''">
              <a:rPr lang="de-DE" altLang="en-US" sz="1000" kern="0" smtClean="0">
                <a:effectLst/>
                <a:sym typeface="Bahnschrift" panose="020B0502040204020203" pitchFamily="34" charset="0"/>
              </a:rPr>
              <a:pPr marL="0" indent="0" algn="r">
                <a:spcBef>
                  <a:spcPct val="0"/>
                </a:spcBef>
                <a:buNone/>
              </a:pPr>
              <a:t>5,0%</a:t>
            </a:fld>
            <a:endParaRPr lang="de-DE" sz="1000" kern="0" dirty="0">
              <a:sym typeface="Bahnschrift" panose="020B0502040204020203" pitchFamily="34" charset="0"/>
            </a:endParaRPr>
          </a:p>
        </p:txBody>
      </p:sp>
      <p:sp>
        <p:nvSpPr>
          <p:cNvPr id="20" name="Textplatzhalter 8">
            <a:extLst>
              <a:ext uri="{FF2B5EF4-FFF2-40B4-BE49-F238E27FC236}">
                <a16:creationId xmlns:a16="http://schemas.microsoft.com/office/drawing/2014/main" id="{B9FC5776-71D8-640E-8C0A-52FC98D72C01}"/>
              </a:ext>
            </a:extLst>
          </p:cNvPr>
          <p:cNvSpPr>
            <a:spLocks noGrp="1"/>
          </p:cNvSpPr>
          <p:nvPr>
            <p:custDataLst>
              <p:tags r:id="rId4"/>
            </p:custDataLst>
          </p:nvPr>
        </p:nvSpPr>
        <p:spPr bwMode="gray">
          <a:xfrm>
            <a:off x="730250" y="3530600"/>
            <a:ext cx="258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198457A2-30C0-4EA9-A595-41F1D8F2D6CE}" type="datetime'''''''''4'''',''''''0''''''''%'''''''''''''''''''''''">
              <a:rPr lang="de-DE" altLang="en-US" sz="1000" kern="0" smtClean="0">
                <a:effectLst/>
                <a:sym typeface="Bahnschrift" panose="020B0502040204020203" pitchFamily="34" charset="0"/>
              </a:rPr>
              <a:pPr marL="0" indent="0" algn="r">
                <a:spcBef>
                  <a:spcPct val="0"/>
                </a:spcBef>
                <a:buNone/>
              </a:pPr>
              <a:t>4,0%</a:t>
            </a:fld>
            <a:endParaRPr lang="de-DE" sz="1000" kern="0" dirty="0">
              <a:sym typeface="Bahnschrift" panose="020B0502040204020203" pitchFamily="34" charset="0"/>
            </a:endParaRPr>
          </a:p>
        </p:txBody>
      </p:sp>
      <p:sp>
        <p:nvSpPr>
          <p:cNvPr id="16" name="Textplatzhalter 8">
            <a:extLst>
              <a:ext uri="{FF2B5EF4-FFF2-40B4-BE49-F238E27FC236}">
                <a16:creationId xmlns:a16="http://schemas.microsoft.com/office/drawing/2014/main" id="{ADC5103A-1915-7A1B-9AC4-C5455EAFDD44}"/>
              </a:ext>
            </a:extLst>
          </p:cNvPr>
          <p:cNvSpPr>
            <a:spLocks noGrp="1"/>
          </p:cNvSpPr>
          <p:nvPr>
            <p:custDataLst>
              <p:tags r:id="rId5"/>
            </p:custDataLst>
          </p:nvPr>
        </p:nvSpPr>
        <p:spPr bwMode="gray">
          <a:xfrm>
            <a:off x="760413" y="4283075"/>
            <a:ext cx="2286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EA656DCD-78C0-4235-BBFD-F038F063D0F3}" type="datetime'''''1'''',''''''''''''''''''''0''''''''''%'''''''">
              <a:rPr lang="de-DE" altLang="en-US" sz="1000" kern="0" smtClean="0">
                <a:effectLst/>
                <a:sym typeface="Bahnschrift" panose="020B0502040204020203" pitchFamily="34" charset="0"/>
              </a:rPr>
              <a:pPr marL="0" indent="0" algn="r">
                <a:spcBef>
                  <a:spcPct val="0"/>
                </a:spcBef>
                <a:buNone/>
              </a:pPr>
              <a:t>1,0%</a:t>
            </a:fld>
            <a:endParaRPr lang="de-DE" sz="1000" kern="0" dirty="0">
              <a:sym typeface="Bahnschrift" panose="020B0502040204020203" pitchFamily="34" charset="0"/>
            </a:endParaRPr>
          </a:p>
        </p:txBody>
      </p:sp>
      <p:sp>
        <p:nvSpPr>
          <p:cNvPr id="27" name="Textplatzhalter 8">
            <a:extLst>
              <a:ext uri="{FF2B5EF4-FFF2-40B4-BE49-F238E27FC236}">
                <a16:creationId xmlns:a16="http://schemas.microsoft.com/office/drawing/2014/main" id="{0A064DD7-C71A-E6F0-53D5-3A41BC9436C2}"/>
              </a:ext>
            </a:extLst>
          </p:cNvPr>
          <p:cNvSpPr>
            <a:spLocks noGrp="1"/>
          </p:cNvSpPr>
          <p:nvPr>
            <p:custDataLst>
              <p:tags r:id="rId6"/>
            </p:custDataLst>
          </p:nvPr>
        </p:nvSpPr>
        <p:spPr bwMode="gray">
          <a:xfrm>
            <a:off x="738188" y="2274888"/>
            <a:ext cx="2508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ACD1A8EE-29C7-42D2-B216-DF698826A764}" type="datetime'9,''''''''''''''''''0''''''''''''''%'''''''">
              <a:rPr lang="de-DE" altLang="en-US" sz="1000" kern="0" smtClean="0">
                <a:effectLst/>
                <a:sym typeface="Bahnschrift" panose="020B0502040204020203" pitchFamily="34" charset="0"/>
              </a:rPr>
              <a:pPr marL="0" indent="0" algn="r">
                <a:spcBef>
                  <a:spcPct val="0"/>
                </a:spcBef>
                <a:buNone/>
              </a:pPr>
              <a:t>9,0%</a:t>
            </a:fld>
            <a:endParaRPr lang="de-DE" sz="1000" kern="0" dirty="0">
              <a:sym typeface="Bahnschrift" panose="020B0502040204020203" pitchFamily="34" charset="0"/>
            </a:endParaRPr>
          </a:p>
        </p:txBody>
      </p:sp>
      <p:sp>
        <p:nvSpPr>
          <p:cNvPr id="15" name="Textplatzhalter 8">
            <a:extLst>
              <a:ext uri="{FF2B5EF4-FFF2-40B4-BE49-F238E27FC236}">
                <a16:creationId xmlns:a16="http://schemas.microsoft.com/office/drawing/2014/main" id="{F2C532EE-BD19-3C89-7839-27A695BCF321}"/>
              </a:ext>
            </a:extLst>
          </p:cNvPr>
          <p:cNvSpPr>
            <a:spLocks noGrp="1"/>
          </p:cNvSpPr>
          <p:nvPr>
            <p:custDataLst>
              <p:tags r:id="rId7"/>
            </p:custDataLst>
          </p:nvPr>
        </p:nvSpPr>
        <p:spPr bwMode="gray">
          <a:xfrm>
            <a:off x="831850" y="4533900"/>
            <a:ext cx="1571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3CE517BD-CFD6-4E17-B2E8-CBB02E5AA30E}" type="datetime'''''''''''''''''''''''''0''''''''''''''''''''%'''''">
              <a:rPr lang="de-DE" altLang="en-US" sz="1000" kern="0" smtClean="0">
                <a:effectLst/>
                <a:sym typeface="Bahnschrift" panose="020B0502040204020203" pitchFamily="34" charset="0"/>
              </a:rPr>
              <a:pPr marL="0" indent="0" algn="r">
                <a:spcBef>
                  <a:spcPct val="0"/>
                </a:spcBef>
                <a:buNone/>
              </a:pPr>
              <a:t>0%</a:t>
            </a:fld>
            <a:endParaRPr lang="de-DE" sz="1000" kern="0" dirty="0">
              <a:sym typeface="Bahnschrift" panose="020B0502040204020203" pitchFamily="34" charset="0"/>
            </a:endParaRPr>
          </a:p>
        </p:txBody>
      </p:sp>
      <p:sp>
        <p:nvSpPr>
          <p:cNvPr id="19" name="Textplatzhalter 8">
            <a:extLst>
              <a:ext uri="{FF2B5EF4-FFF2-40B4-BE49-F238E27FC236}">
                <a16:creationId xmlns:a16="http://schemas.microsoft.com/office/drawing/2014/main" id="{3E14E563-2A9B-E93C-731F-1C01808281EE}"/>
              </a:ext>
            </a:extLst>
          </p:cNvPr>
          <p:cNvSpPr>
            <a:spLocks noGrp="1"/>
          </p:cNvSpPr>
          <p:nvPr>
            <p:custDataLst>
              <p:tags r:id="rId8"/>
            </p:custDataLst>
          </p:nvPr>
        </p:nvSpPr>
        <p:spPr bwMode="gray">
          <a:xfrm>
            <a:off x="736600" y="3781425"/>
            <a:ext cx="2524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B2150F93-29FD-422E-8D68-E32F5A3E98D4}" type="datetime'''''''3'''''''''''''',''''''''''''''''''0''''%'">
              <a:rPr lang="de-DE" altLang="en-US" sz="1000" kern="0" smtClean="0">
                <a:effectLst/>
                <a:sym typeface="Bahnschrift" panose="020B0502040204020203" pitchFamily="34" charset="0"/>
              </a:rPr>
              <a:pPr marL="0" indent="0" algn="r">
                <a:spcBef>
                  <a:spcPct val="0"/>
                </a:spcBef>
                <a:buNone/>
              </a:pPr>
              <a:t>3,0%</a:t>
            </a:fld>
            <a:endParaRPr lang="de-DE" sz="1000" kern="0" dirty="0">
              <a:sym typeface="Bahnschrift" panose="020B0502040204020203" pitchFamily="34" charset="0"/>
            </a:endParaRPr>
          </a:p>
        </p:txBody>
      </p:sp>
      <p:sp>
        <p:nvSpPr>
          <p:cNvPr id="18" name="Textplatzhalter 8">
            <a:extLst>
              <a:ext uri="{FF2B5EF4-FFF2-40B4-BE49-F238E27FC236}">
                <a16:creationId xmlns:a16="http://schemas.microsoft.com/office/drawing/2014/main" id="{9C58D2BC-3AFC-534E-5B59-F7C4340C9D43}"/>
              </a:ext>
            </a:extLst>
          </p:cNvPr>
          <p:cNvSpPr>
            <a:spLocks noGrp="1"/>
          </p:cNvSpPr>
          <p:nvPr>
            <p:custDataLst>
              <p:tags r:id="rId9"/>
            </p:custDataLst>
          </p:nvPr>
        </p:nvSpPr>
        <p:spPr bwMode="gray">
          <a:xfrm>
            <a:off x="738188" y="4032250"/>
            <a:ext cx="2508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B977D2A6-7ABF-4FB8-B992-D01F6036D6CA}" type="datetime'''''''2'''',''''''''''''''''''''''0''%'''''''''''''''''''''''">
              <a:rPr lang="de-DE" altLang="en-US" sz="1000" kern="0" smtClean="0">
                <a:effectLst/>
                <a:sym typeface="Bahnschrift" panose="020B0502040204020203" pitchFamily="34" charset="0"/>
              </a:rPr>
              <a:pPr marL="0" indent="0" algn="r">
                <a:spcBef>
                  <a:spcPct val="0"/>
                </a:spcBef>
                <a:buNone/>
              </a:pPr>
              <a:t>2,0%</a:t>
            </a:fld>
            <a:endParaRPr lang="de-DE" sz="1000" kern="0" dirty="0">
              <a:sym typeface="Bahnschrift" panose="020B0502040204020203" pitchFamily="34" charset="0"/>
            </a:endParaRPr>
          </a:p>
        </p:txBody>
      </p:sp>
      <p:sp>
        <p:nvSpPr>
          <p:cNvPr id="22" name="Textplatzhalter 8">
            <a:extLst>
              <a:ext uri="{FF2B5EF4-FFF2-40B4-BE49-F238E27FC236}">
                <a16:creationId xmlns:a16="http://schemas.microsoft.com/office/drawing/2014/main" id="{34BD933B-F665-06BC-D054-A7F4C507B3A5}"/>
              </a:ext>
            </a:extLst>
          </p:cNvPr>
          <p:cNvSpPr>
            <a:spLocks noGrp="1"/>
          </p:cNvSpPr>
          <p:nvPr>
            <p:custDataLst>
              <p:tags r:id="rId10"/>
            </p:custDataLst>
          </p:nvPr>
        </p:nvSpPr>
        <p:spPr bwMode="gray">
          <a:xfrm>
            <a:off x="738188" y="3027363"/>
            <a:ext cx="2508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BC7E3590-B73D-4F29-9C94-6AD7E09BBA41}" type="datetime'''''''6'''',''0''%'''''''''''''''''''''''''''''''''''">
              <a:rPr lang="de-DE" altLang="en-US" sz="1000" kern="0" smtClean="0">
                <a:effectLst/>
                <a:sym typeface="Bahnschrift" panose="020B0502040204020203" pitchFamily="34" charset="0"/>
              </a:rPr>
              <a:pPr marL="0" indent="0" algn="r">
                <a:spcBef>
                  <a:spcPct val="0"/>
                </a:spcBef>
                <a:buNone/>
              </a:pPr>
              <a:t>6,0%</a:t>
            </a:fld>
            <a:endParaRPr lang="de-DE" sz="1000" kern="0" dirty="0">
              <a:sym typeface="Bahnschrift" panose="020B0502040204020203" pitchFamily="34" charset="0"/>
            </a:endParaRPr>
          </a:p>
        </p:txBody>
      </p:sp>
      <p:sp>
        <p:nvSpPr>
          <p:cNvPr id="25" name="Textplatzhalter 8">
            <a:extLst>
              <a:ext uri="{FF2B5EF4-FFF2-40B4-BE49-F238E27FC236}">
                <a16:creationId xmlns:a16="http://schemas.microsoft.com/office/drawing/2014/main" id="{E8E54756-EF0F-21F9-F614-33DEB7947680}"/>
              </a:ext>
            </a:extLst>
          </p:cNvPr>
          <p:cNvSpPr>
            <a:spLocks noGrp="1"/>
          </p:cNvSpPr>
          <p:nvPr>
            <p:custDataLst>
              <p:tags r:id="rId11"/>
            </p:custDataLst>
          </p:nvPr>
        </p:nvSpPr>
        <p:spPr bwMode="gray">
          <a:xfrm>
            <a:off x="739775" y="2776538"/>
            <a:ext cx="2492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E527E6F0-8D8A-4A34-ADA3-BA9BBEC2A0F4}" type="datetime'7'''''',''''0''''''''''''''''%'''''''''''''''''''''">
              <a:rPr lang="de-DE" altLang="en-US" sz="1000" kern="0" smtClean="0">
                <a:effectLst/>
                <a:sym typeface="Bahnschrift" panose="020B0502040204020203" pitchFamily="34" charset="0"/>
              </a:rPr>
              <a:pPr marL="0" indent="0" algn="r">
                <a:spcBef>
                  <a:spcPct val="0"/>
                </a:spcBef>
                <a:buNone/>
              </a:pPr>
              <a:t>7,0%</a:t>
            </a:fld>
            <a:endParaRPr lang="de-DE" sz="1000" kern="0" dirty="0">
              <a:sym typeface="Bahnschrift" panose="020B0502040204020203" pitchFamily="34" charset="0"/>
            </a:endParaRPr>
          </a:p>
        </p:txBody>
      </p:sp>
      <p:sp>
        <p:nvSpPr>
          <p:cNvPr id="26" name="Textplatzhalter 8">
            <a:extLst>
              <a:ext uri="{FF2B5EF4-FFF2-40B4-BE49-F238E27FC236}">
                <a16:creationId xmlns:a16="http://schemas.microsoft.com/office/drawing/2014/main" id="{C5A05F5E-74A9-6615-4268-E0EE49991EDE}"/>
              </a:ext>
            </a:extLst>
          </p:cNvPr>
          <p:cNvSpPr>
            <a:spLocks noGrp="1"/>
          </p:cNvSpPr>
          <p:nvPr>
            <p:custDataLst>
              <p:tags r:id="rId12"/>
            </p:custDataLst>
          </p:nvPr>
        </p:nvSpPr>
        <p:spPr bwMode="gray">
          <a:xfrm>
            <a:off x="731838" y="2525713"/>
            <a:ext cx="2571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E6E49BD7-D3BF-4A81-AA1D-49B176F0C3F8}" type="datetime'''''''8'''''''''''''''''''',0''%'''">
              <a:rPr lang="de-DE" altLang="en-US" sz="1000" kern="0" smtClean="0">
                <a:effectLst/>
                <a:sym typeface="Bahnschrift" panose="020B0502040204020203" pitchFamily="34" charset="0"/>
              </a:rPr>
              <a:pPr marL="0" indent="0" algn="r">
                <a:spcBef>
                  <a:spcPct val="0"/>
                </a:spcBef>
                <a:buNone/>
              </a:pPr>
              <a:t>8,0%</a:t>
            </a:fld>
            <a:endParaRPr lang="de-DE" sz="1000" kern="0" dirty="0">
              <a:sym typeface="Bahnschrift" panose="020B0502040204020203" pitchFamily="34" charset="0"/>
            </a:endParaRPr>
          </a:p>
        </p:txBody>
      </p:sp>
      <p:sp>
        <p:nvSpPr>
          <p:cNvPr id="28" name="Textplatzhalter 8">
            <a:extLst>
              <a:ext uri="{FF2B5EF4-FFF2-40B4-BE49-F238E27FC236}">
                <a16:creationId xmlns:a16="http://schemas.microsoft.com/office/drawing/2014/main" id="{BEB6BB54-94C2-F728-2C8B-9D274C2C49C8}"/>
              </a:ext>
            </a:extLst>
          </p:cNvPr>
          <p:cNvSpPr>
            <a:spLocks noGrp="1"/>
          </p:cNvSpPr>
          <p:nvPr>
            <p:custDataLst>
              <p:tags r:id="rId13"/>
            </p:custDataLst>
          </p:nvPr>
        </p:nvSpPr>
        <p:spPr bwMode="gray">
          <a:xfrm>
            <a:off x="690563" y="2024063"/>
            <a:ext cx="2984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Bahnschrift" panose="020B0502040204020203" pitchFamily="34" charset="0"/>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Bahnschrift" panose="020B0502040204020203" pitchFamily="34" charset="0"/>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Bahnschrift" panose="020B0502040204020203" pitchFamily="34" charset="0"/>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Bahnschrift" panose="020B0502040204020203" pitchFamily="34" charset="0"/>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indent="0" algn="r">
              <a:spcBef>
                <a:spcPct val="0"/>
              </a:spcBef>
              <a:buNone/>
            </a:pPr>
            <a:fld id="{6F5392D1-3167-4A85-B755-635FBBB622CD}" type="datetime'''''''''''''''''''1''''''''0'''',''''''''''0''''''%'''''''''">
              <a:rPr lang="de-DE" altLang="en-US" sz="1000" kern="0" smtClean="0">
                <a:effectLst/>
                <a:sym typeface="Bahnschrift" panose="020B0502040204020203" pitchFamily="34" charset="0"/>
              </a:rPr>
              <a:pPr marL="0" indent="0" algn="r">
                <a:spcBef>
                  <a:spcPct val="0"/>
                </a:spcBef>
                <a:buNone/>
              </a:pPr>
              <a:t>10,0%</a:t>
            </a:fld>
            <a:endParaRPr lang="de-DE" sz="1000" kern="0" dirty="0">
              <a:sym typeface="Bahnschrift" panose="020B0502040204020203" pitchFamily="34" charset="0"/>
            </a:endParaRPr>
          </a:p>
        </p:txBody>
      </p:sp>
      <p:sp>
        <p:nvSpPr>
          <p:cNvPr id="5" name="Textplatzhalter 8">
            <a:extLst>
              <a:ext uri="{FF2B5EF4-FFF2-40B4-BE49-F238E27FC236}">
                <a16:creationId xmlns:a16="http://schemas.microsoft.com/office/drawing/2014/main" id="{A897C34D-B495-4725-ADC6-FF95BF32A247}"/>
              </a:ext>
            </a:extLst>
          </p:cNvPr>
          <p:cNvSpPr>
            <a:spLocks noGrp="1"/>
          </p:cNvSpPr>
          <p:nvPr>
            <p:custDataLst>
              <p:tags r:id="rId14"/>
            </p:custDataLst>
          </p:nvPr>
        </p:nvSpPr>
        <p:spPr bwMode="auto">
          <a:xfrm>
            <a:off x="6750050" y="4668838"/>
            <a:ext cx="6159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mn-lt"/>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mn-lt"/>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mn-lt"/>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mn-lt"/>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mn-lt"/>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E43446CA-7314-40F1-98FC-03597387906A}" type="datetime'''''''''R''o''bo''''''''''''''''''''t''''''''''''''''i''k'">
              <a:rPr kumimoji="0" lang="de-AT" altLang="en-US" sz="1400" b="0" i="0" u="none" strike="noStrike" kern="0" cap="none" spc="0" normalizeH="0" baseline="0" noProof="0" smtClean="0">
                <a:ln>
                  <a:noFill/>
                </a:ln>
                <a:solidFill>
                  <a:prstClr val="black"/>
                </a:solidFill>
                <a:effectLst/>
                <a:uLnTx/>
                <a:uFillTx/>
                <a:latin typeface="Bahnschrift" panose="020B0502040204020203" pitchFamily="34" charset="0"/>
                <a:ea typeface="+mn-ea"/>
                <a:cs typeface="+mn-cs"/>
                <a:sym typeface="Bahnschrift" panose="020B0502040204020203" pitchFamily="34" charset="0"/>
              </a:rPr>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Robotik</a:t>
            </a:fld>
            <a:endParaRPr kumimoji="0" lang="de-AT" sz="1400" b="0" i="0" u="none" strike="noStrike" kern="0" cap="none" spc="0" normalizeH="0" baseline="0" noProof="0">
              <a:ln>
                <a:noFill/>
              </a:ln>
              <a:solidFill>
                <a:prstClr val="black"/>
              </a:solidFill>
              <a:effectLst/>
              <a:uLnTx/>
              <a:uFillTx/>
              <a:latin typeface="Bahnschrift" panose="020B0502040204020203" pitchFamily="34" charset="0"/>
              <a:ea typeface="+mn-ea"/>
              <a:cs typeface="+mn-cs"/>
              <a:sym typeface="Bahnschrift" panose="020B0502040204020203" pitchFamily="34" charset="0"/>
            </a:endParaRPr>
          </a:p>
        </p:txBody>
      </p:sp>
      <p:sp>
        <p:nvSpPr>
          <p:cNvPr id="6" name="Textplatzhalter 8">
            <a:extLst>
              <a:ext uri="{FF2B5EF4-FFF2-40B4-BE49-F238E27FC236}">
                <a16:creationId xmlns:a16="http://schemas.microsoft.com/office/drawing/2014/main" id="{24DBC384-4CDE-4E8D-9083-169772A749F4}"/>
              </a:ext>
            </a:extLst>
          </p:cNvPr>
          <p:cNvSpPr>
            <a:spLocks noGrp="1"/>
          </p:cNvSpPr>
          <p:nvPr>
            <p:custDataLst>
              <p:tags r:id="rId15"/>
            </p:custDataLst>
          </p:nvPr>
        </p:nvSpPr>
        <p:spPr bwMode="auto">
          <a:xfrm>
            <a:off x="1235074" y="4668838"/>
            <a:ext cx="14620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mn-lt"/>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mn-lt"/>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mn-lt"/>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mn-lt"/>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mn-lt"/>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lvl="0" indent="0" algn="ctr">
              <a:spcBef>
                <a:spcPct val="0"/>
              </a:spcBef>
              <a:buNone/>
              <a:defRPr/>
            </a:pPr>
            <a:fld id="{755877F5-7EDA-47C0-88F3-219BC7688F60}" type="datetime'Wi''''ndkraft''anl''''''a''g''''''''''''''en'''''''' '''">
              <a:rPr lang="de-AT" altLang="en-US" sz="1400" kern="0" smtClean="0">
                <a:solidFill>
                  <a:srgbClr val="000000"/>
                </a:solidFill>
                <a:latin typeface="Bahnschrift" panose="020B0502040204020203" pitchFamily="34" charset="0"/>
              </a:rPr>
              <a:pPr marL="0" lvl="0" indent="0" algn="ctr">
                <a:spcBef>
                  <a:spcPct val="0"/>
                </a:spcBef>
                <a:buNone/>
                <a:defRPr/>
              </a:pPr>
              <a:t>Windkraftanlagen </a:t>
            </a:fld>
            <a:endParaRPr kumimoji="0" lang="de-AT" sz="1400" b="0" i="0" strike="noStrike" kern="0" cap="none" spc="0" normalizeH="0" baseline="0" noProof="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7" name="Textplatzhalter 8">
            <a:extLst>
              <a:ext uri="{FF2B5EF4-FFF2-40B4-BE49-F238E27FC236}">
                <a16:creationId xmlns:a16="http://schemas.microsoft.com/office/drawing/2014/main" id="{7EC76F24-10CB-4570-9979-EDC45D6D2D8B}"/>
              </a:ext>
            </a:extLst>
          </p:cNvPr>
          <p:cNvSpPr>
            <a:spLocks noGrp="1"/>
          </p:cNvSpPr>
          <p:nvPr>
            <p:custDataLst>
              <p:tags r:id="rId16"/>
            </p:custDataLst>
          </p:nvPr>
        </p:nvSpPr>
        <p:spPr bwMode="auto">
          <a:xfrm>
            <a:off x="3287713" y="4668839"/>
            <a:ext cx="7508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mn-lt"/>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mn-lt"/>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mn-lt"/>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mn-lt"/>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mn-lt"/>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lvl="0" indent="0" algn="ctr">
              <a:spcBef>
                <a:spcPct val="0"/>
              </a:spcBef>
              <a:buNone/>
              <a:defRPr/>
            </a:pPr>
            <a:fld id="{18B284AE-E71C-4B85-B19F-2A451CB893D0}" type="datetime'''''B''a''tt''''''''e''''''''''r''''''i''''e''''''''''n'''''">
              <a:rPr lang="de-AT" altLang="en-US" sz="1400" kern="0" smtClean="0">
                <a:solidFill>
                  <a:srgbClr val="000000"/>
                </a:solidFill>
                <a:latin typeface="Bahnschrift" panose="020B0502040204020203" pitchFamily="34" charset="0"/>
              </a:rPr>
              <a:pPr/>
              <a:t>Batterien</a:t>
            </a:fld>
            <a:endParaRPr kumimoji="0" lang="de-AT" sz="1400" b="0" i="0" strike="noStrike" kern="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12" name="Textplatzhalter 8">
            <a:extLst>
              <a:ext uri="{FF2B5EF4-FFF2-40B4-BE49-F238E27FC236}">
                <a16:creationId xmlns:a16="http://schemas.microsoft.com/office/drawing/2014/main" id="{9CD92D28-5AB1-43B3-B283-5EF33A2999CC}"/>
              </a:ext>
            </a:extLst>
          </p:cNvPr>
          <p:cNvSpPr>
            <a:spLocks noGrp="1"/>
          </p:cNvSpPr>
          <p:nvPr>
            <p:custDataLst>
              <p:tags r:id="rId17"/>
            </p:custDataLst>
          </p:nvPr>
        </p:nvSpPr>
        <p:spPr bwMode="gray">
          <a:xfrm>
            <a:off x="3430588" y="3906837"/>
            <a:ext cx="463550" cy="4270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50800" tIns="0" rIns="50800" bIns="0" numCol="1" spcCol="0" rtlCol="0" anchor="b"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mn-lt"/>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mn-lt"/>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mn-lt"/>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mn-lt"/>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mn-lt"/>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3061F248-20D8-441C-A9B0-B9DA639597A8}" type="datetime'''''''''''''''''''''''''''''''''1''%'''''''''">
              <a:rPr kumimoji="0" lang="de-AT" altLang="en-US" sz="2800" b="0" i="0" u="none" strike="noStrike" kern="0" cap="none" spc="0" normalizeH="0" baseline="0" noProof="0" smtClean="0">
                <a:ln>
                  <a:noFill/>
                </a:ln>
                <a:solidFill>
                  <a:prstClr val="black"/>
                </a:solidFill>
                <a:effectLst/>
                <a:uLnTx/>
                <a:uFillTx/>
                <a:latin typeface="Bahnschrift" panose="020B0502040204020203" pitchFamily="34" charset="0"/>
                <a:ea typeface="+mn-ea"/>
                <a:cs typeface="+mn-cs"/>
                <a:sym typeface="Bahnschrift" panose="020B0502040204020203" pitchFamily="34" charset="0"/>
              </a:rPr>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1%</a:t>
            </a:fld>
            <a:endParaRPr kumimoji="0" lang="de-AT" sz="2800" b="0" i="0" u="none" strike="noStrike" kern="0" cap="none" spc="0" normalizeH="0" baseline="0" noProof="0">
              <a:ln>
                <a:noFill/>
              </a:ln>
              <a:solidFill>
                <a:prstClr val="black"/>
              </a:solidFill>
              <a:effectLst/>
              <a:uLnTx/>
              <a:uFillTx/>
              <a:latin typeface="Bahnschrift" panose="020B0502040204020203" pitchFamily="34" charset="0"/>
              <a:ea typeface="+mn-ea"/>
              <a:cs typeface="+mn-cs"/>
              <a:sym typeface="Bahnschrift" panose="020B0502040204020203" pitchFamily="34" charset="0"/>
            </a:endParaRPr>
          </a:p>
        </p:txBody>
      </p:sp>
      <p:sp>
        <p:nvSpPr>
          <p:cNvPr id="36" name="Textplatzhalter 8">
            <a:extLst>
              <a:ext uri="{FF2B5EF4-FFF2-40B4-BE49-F238E27FC236}">
                <a16:creationId xmlns:a16="http://schemas.microsoft.com/office/drawing/2014/main" id="{D1DAD2CA-C36D-498B-B759-B95822072303}"/>
              </a:ext>
            </a:extLst>
          </p:cNvPr>
          <p:cNvSpPr>
            <a:spLocks noGrp="1"/>
          </p:cNvSpPr>
          <p:nvPr>
            <p:custDataLst>
              <p:tags r:id="rId18"/>
            </p:custDataLst>
          </p:nvPr>
        </p:nvSpPr>
        <p:spPr bwMode="auto">
          <a:xfrm>
            <a:off x="4651375" y="4668838"/>
            <a:ext cx="14160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mn-lt"/>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mn-lt"/>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mn-lt"/>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mn-lt"/>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mn-lt"/>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lvl="0" indent="0" algn="ctr">
              <a:spcBef>
                <a:spcPct val="0"/>
              </a:spcBef>
              <a:buNone/>
              <a:defRPr/>
            </a:pPr>
            <a:fld id="{F999915D-2DFD-4110-B32A-BC6430E817BB}" type="datetime'''''''''''''''A''''nt''''r''''''iebsmotoren'' '''''''''''''">
              <a:rPr lang="de-AT" altLang="en-US" sz="1400" kern="0" smtClean="0">
                <a:solidFill>
                  <a:srgbClr val="000000"/>
                </a:solidFill>
                <a:latin typeface="Bahnschrift" panose="020B0502040204020203" pitchFamily="34" charset="0"/>
              </a:rPr>
              <a:pPr/>
              <a:t>Antriebsmotoren </a:t>
            </a:fld>
            <a:endParaRPr kumimoji="0" lang="de-AT" sz="1400" b="0" i="0" strike="noStrike" kern="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10" name="Textplatzhalter 8">
            <a:extLst>
              <a:ext uri="{FF2B5EF4-FFF2-40B4-BE49-F238E27FC236}">
                <a16:creationId xmlns:a16="http://schemas.microsoft.com/office/drawing/2014/main" id="{EC759777-1E4D-451E-A244-234D1EA51C33}"/>
              </a:ext>
            </a:extLst>
          </p:cNvPr>
          <p:cNvSpPr>
            <a:spLocks noGrp="1"/>
          </p:cNvSpPr>
          <p:nvPr>
            <p:custDataLst>
              <p:tags r:id="rId19"/>
            </p:custDataLst>
          </p:nvPr>
        </p:nvSpPr>
        <p:spPr bwMode="gray">
          <a:xfrm>
            <a:off x="1733550" y="3906837"/>
            <a:ext cx="463550" cy="4270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50800" tIns="0" rIns="50800" bIns="0" numCol="1" spcCol="0" rtlCol="0" anchor="b"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mn-lt"/>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mn-lt"/>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mn-lt"/>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mn-lt"/>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mn-lt"/>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AD975CAF-62A8-40A6-B38E-1090DD3F7F4B}" type="datetime'''''''''''''''''''''1%'''''''''''''''">
              <a:rPr kumimoji="0" lang="de-AT" altLang="en-US" sz="2800" b="0" i="0" u="none" strike="noStrike" kern="0" cap="none" spc="0" normalizeH="0" baseline="0" noProof="0" smtClean="0">
                <a:ln>
                  <a:noFill/>
                </a:ln>
                <a:solidFill>
                  <a:prstClr val="black"/>
                </a:solidFill>
                <a:effectLst/>
                <a:uLnTx/>
                <a:uFillTx/>
                <a:latin typeface="Bahnschrift" panose="020B0502040204020203" pitchFamily="34" charset="0"/>
                <a:ea typeface="+mn-ea"/>
                <a:cs typeface="+mn-cs"/>
                <a:sym typeface="Bahnschrift" panose="020B0502040204020203" pitchFamily="34" charset="0"/>
              </a:rPr>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1%</a:t>
            </a:fld>
            <a:endParaRPr kumimoji="0" lang="de-AT" sz="2800" b="0" i="0" u="none" strike="noStrike" kern="0" cap="none" spc="0" normalizeH="0" baseline="0" noProof="0" dirty="0">
              <a:ln>
                <a:noFill/>
              </a:ln>
              <a:solidFill>
                <a:prstClr val="black"/>
              </a:solidFill>
              <a:effectLst/>
              <a:uLnTx/>
              <a:uFillTx/>
              <a:latin typeface="Bahnschrift" panose="020B0502040204020203" pitchFamily="34" charset="0"/>
              <a:ea typeface="+mn-ea"/>
              <a:cs typeface="+mn-cs"/>
              <a:sym typeface="Bahnschrift" panose="020B0502040204020203" pitchFamily="34" charset="0"/>
            </a:endParaRPr>
          </a:p>
        </p:txBody>
      </p:sp>
      <p:sp>
        <p:nvSpPr>
          <p:cNvPr id="9" name="Textplatzhalter 8">
            <a:extLst>
              <a:ext uri="{FF2B5EF4-FFF2-40B4-BE49-F238E27FC236}">
                <a16:creationId xmlns:a16="http://schemas.microsoft.com/office/drawing/2014/main" id="{C1FBA91D-4EFE-4576-B9D4-A6E24DC8B312}"/>
              </a:ext>
            </a:extLst>
          </p:cNvPr>
          <p:cNvSpPr>
            <a:spLocks noGrp="1"/>
          </p:cNvSpPr>
          <p:nvPr>
            <p:custDataLst>
              <p:tags r:id="rId20"/>
            </p:custDataLst>
          </p:nvPr>
        </p:nvSpPr>
        <p:spPr bwMode="auto">
          <a:xfrm>
            <a:off x="8086725" y="4668838"/>
            <a:ext cx="13366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mn-lt"/>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mn-lt"/>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mn-lt"/>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mn-lt"/>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mn-lt"/>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lvl="0" indent="0" algn="ctr">
              <a:spcBef>
                <a:spcPct val="0"/>
              </a:spcBef>
              <a:buNone/>
              <a:defRPr/>
            </a:pPr>
            <a:fld id="{2A4F9985-DADD-4429-A6D1-DC16C45C3A51}" type="datetime'''Br''''en''n''s''t''''''''''off''''''''z''''el''le''n'">
              <a:rPr lang="de-AT" altLang="en-US" sz="1400" kern="0" smtClean="0">
                <a:solidFill>
                  <a:srgbClr val="000000"/>
                </a:solidFill>
                <a:latin typeface="Bahnschrift" panose="020B0502040204020203" pitchFamily="34" charset="0"/>
              </a:rPr>
              <a:pPr marL="0" lvl="0" indent="0" algn="ctr">
                <a:spcBef>
                  <a:spcPct val="0"/>
                </a:spcBef>
                <a:buNone/>
                <a:defRPr/>
              </a:pPr>
              <a:t>Brennstoffzellen</a:t>
            </a:fld>
            <a:endParaRPr kumimoji="0" lang="de-AT" sz="1400" b="0" i="0" strike="noStrike" kern="0" cap="none" spc="0" normalizeH="0" baseline="0" noProof="0" dirty="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8" name="Textplatzhalter 8">
            <a:extLst>
              <a:ext uri="{FF2B5EF4-FFF2-40B4-BE49-F238E27FC236}">
                <a16:creationId xmlns:a16="http://schemas.microsoft.com/office/drawing/2014/main" id="{8A35D959-1371-4C75-94BB-69D843BD495C}"/>
              </a:ext>
            </a:extLst>
          </p:cNvPr>
          <p:cNvSpPr>
            <a:spLocks noGrp="1"/>
          </p:cNvSpPr>
          <p:nvPr>
            <p:custDataLst>
              <p:tags r:id="rId21"/>
            </p:custDataLst>
          </p:nvPr>
        </p:nvSpPr>
        <p:spPr bwMode="auto">
          <a:xfrm>
            <a:off x="9950450" y="4668838"/>
            <a:ext cx="10048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mn-lt"/>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mn-lt"/>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mn-lt"/>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mn-lt"/>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mn-lt"/>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411FBDA0-41FC-4859-814A-92820DEF02E9}" type="datetime'''''''Ph''''''''o''''''''''''''t''o''v''o''lt''ai''''''k'">
              <a:rPr kumimoji="0" lang="de-AT" altLang="en-US" sz="1400" b="0" i="0" u="none" strike="noStrike" kern="0" cap="none" spc="0" normalizeH="0" baseline="0" noProof="0" smtClean="0">
                <a:ln>
                  <a:noFill/>
                </a:ln>
                <a:solidFill>
                  <a:prstClr val="black"/>
                </a:solidFill>
                <a:effectLst/>
                <a:uLnTx/>
                <a:uFillTx/>
                <a:latin typeface="Bahnschrift" panose="020B0502040204020203" pitchFamily="34" charset="0"/>
                <a:ea typeface="+mn-ea"/>
                <a:cs typeface="+mn-cs"/>
                <a:sym typeface="Bahnschrift" panose="020B0502040204020203" pitchFamily="34" charset="0"/>
              </a:rPr>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Photovoltaik</a:t>
            </a:fld>
            <a:endParaRPr kumimoji="0" lang="de-AT" sz="1400" b="0" i="0" u="none" strike="noStrike" kern="0" cap="none" spc="0" normalizeH="0" baseline="0" noProof="0">
              <a:ln>
                <a:noFill/>
              </a:ln>
              <a:solidFill>
                <a:prstClr val="black"/>
              </a:solidFill>
              <a:effectLst/>
              <a:uLnTx/>
              <a:uFillTx/>
              <a:latin typeface="Bahnschrift" panose="020B0502040204020203" pitchFamily="34" charset="0"/>
              <a:ea typeface="+mn-ea"/>
              <a:cs typeface="+mn-cs"/>
              <a:sym typeface="Bahnschrift" panose="020B0502040204020203" pitchFamily="34" charset="0"/>
            </a:endParaRPr>
          </a:p>
        </p:txBody>
      </p:sp>
      <p:sp>
        <p:nvSpPr>
          <p:cNvPr id="42" name="Textplatzhalter 8">
            <a:extLst>
              <a:ext uri="{FF2B5EF4-FFF2-40B4-BE49-F238E27FC236}">
                <a16:creationId xmlns:a16="http://schemas.microsoft.com/office/drawing/2014/main" id="{0C8A99FC-B95A-4316-9209-99E757487D01}"/>
              </a:ext>
            </a:extLst>
          </p:cNvPr>
          <p:cNvSpPr>
            <a:spLocks noGrp="1"/>
          </p:cNvSpPr>
          <p:nvPr>
            <p:custDataLst>
              <p:tags r:id="rId22"/>
            </p:custDataLst>
          </p:nvPr>
        </p:nvSpPr>
        <p:spPr bwMode="gray">
          <a:xfrm>
            <a:off x="5127625" y="3906838"/>
            <a:ext cx="463550" cy="4270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50800" tIns="0" rIns="50800" bIns="0" numCol="1" spcCol="0" rtlCol="0" anchor="b"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mn-lt"/>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mn-lt"/>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mn-lt"/>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mn-lt"/>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mn-lt"/>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lvl="0" indent="0" algn="ctr">
              <a:spcBef>
                <a:spcPct val="0"/>
              </a:spcBef>
              <a:buNone/>
              <a:defRPr/>
            </a:pPr>
            <a:fld id="{068373A2-B18F-4CF6-9360-1ECAF3784FC8}" type="datetime'''''''''''''''''1''''''%'''''''''''''''''''''''''">
              <a:rPr lang="de-AT" altLang="en-US" sz="2800" kern="0" smtClean="0">
                <a:solidFill>
                  <a:srgbClr val="000000"/>
                </a:solidFill>
                <a:latin typeface="Bahnschrift" panose="020B0502040204020203" pitchFamily="34" charset="0"/>
                <a:sym typeface="Bahnschrift" panose="020B0502040204020203" pitchFamily="34" charset="0"/>
              </a:rPr>
              <a:pPr marL="0" lvl="0" indent="0" algn="ctr">
                <a:spcBef>
                  <a:spcPct val="0"/>
                </a:spcBef>
                <a:buNone/>
                <a:defRPr/>
              </a:pPr>
              <a:t>1%</a:t>
            </a:fld>
            <a:endParaRPr lang="de-AT" sz="2800" strike="noStrike" kern="0" normalizeH="0" noProof="0">
              <a:ln>
                <a:noFill/>
              </a:ln>
              <a:solidFill>
                <a:srgbClr val="000000"/>
              </a:solidFill>
              <a:effectLst/>
              <a:uLnTx/>
              <a:uFillTx/>
              <a:latin typeface="Bahnschrift" panose="020B0502040204020203" pitchFamily="34" charset="0"/>
              <a:sym typeface="Bahnschrift" panose="020B0502040204020203" pitchFamily="34" charset="0"/>
            </a:endParaRPr>
          </a:p>
        </p:txBody>
      </p:sp>
      <p:sp>
        <p:nvSpPr>
          <p:cNvPr id="11" name="Textplatzhalter 8">
            <a:extLst>
              <a:ext uri="{FF2B5EF4-FFF2-40B4-BE49-F238E27FC236}">
                <a16:creationId xmlns:a16="http://schemas.microsoft.com/office/drawing/2014/main" id="{C75E2FED-6889-4BC6-BD18-F305F45A130F}"/>
              </a:ext>
            </a:extLst>
          </p:cNvPr>
          <p:cNvSpPr>
            <a:spLocks noGrp="1"/>
          </p:cNvSpPr>
          <p:nvPr>
            <p:custDataLst>
              <p:tags r:id="rId23"/>
            </p:custDataLst>
          </p:nvPr>
        </p:nvSpPr>
        <p:spPr bwMode="gray">
          <a:xfrm>
            <a:off x="6792913" y="3656012"/>
            <a:ext cx="530225" cy="4270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50800" tIns="0" rIns="50800" bIns="0" numCol="1" spcCol="0" rtlCol="0" anchor="b"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mn-lt"/>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mn-lt"/>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mn-lt"/>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mn-lt"/>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mn-lt"/>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CA72C8C8-629F-42DF-92E6-CB400C65D448}" type="datetime'''''''''''''''''2''''''''''%'''''''''''''">
              <a:rPr kumimoji="0" lang="de-AT" altLang="en-US" sz="2800" b="0" i="0" u="none" strike="noStrike" kern="0" cap="none" spc="0" normalizeH="0" baseline="0" noProof="0" smtClean="0">
                <a:ln>
                  <a:noFill/>
                </a:ln>
                <a:solidFill>
                  <a:prstClr val="black"/>
                </a:solidFill>
                <a:effectLst/>
                <a:uLnTx/>
                <a:uFillTx/>
                <a:latin typeface="Bahnschrift" panose="020B0502040204020203" pitchFamily="34" charset="0"/>
                <a:ea typeface="+mn-ea"/>
                <a:cs typeface="+mn-cs"/>
                <a:sym typeface="Bahnschrift" panose="020B0502040204020203" pitchFamily="34" charset="0"/>
              </a:rPr>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2%</a:t>
            </a:fld>
            <a:endParaRPr kumimoji="0" lang="de-AT" sz="2800" b="0" i="0" u="none" strike="noStrike" kern="0" cap="none" spc="0" normalizeH="0" baseline="0" noProof="0">
              <a:ln>
                <a:noFill/>
              </a:ln>
              <a:solidFill>
                <a:prstClr val="black"/>
              </a:solidFill>
              <a:effectLst/>
              <a:uLnTx/>
              <a:uFillTx/>
              <a:latin typeface="Bahnschrift" panose="020B0502040204020203" pitchFamily="34" charset="0"/>
              <a:ea typeface="+mn-ea"/>
              <a:cs typeface="+mn-cs"/>
              <a:sym typeface="Bahnschrift" panose="020B0502040204020203" pitchFamily="34" charset="0"/>
            </a:endParaRPr>
          </a:p>
        </p:txBody>
      </p:sp>
      <p:sp>
        <p:nvSpPr>
          <p:cNvPr id="13" name="Textplatzhalter 8">
            <a:extLst>
              <a:ext uri="{FF2B5EF4-FFF2-40B4-BE49-F238E27FC236}">
                <a16:creationId xmlns:a16="http://schemas.microsoft.com/office/drawing/2014/main" id="{E52A918D-0B2B-4999-9099-A6E9A1CCDFF6}"/>
              </a:ext>
            </a:extLst>
          </p:cNvPr>
          <p:cNvSpPr>
            <a:spLocks noGrp="1"/>
          </p:cNvSpPr>
          <p:nvPr>
            <p:custDataLst>
              <p:tags r:id="rId24"/>
            </p:custDataLst>
          </p:nvPr>
        </p:nvSpPr>
        <p:spPr bwMode="gray">
          <a:xfrm>
            <a:off x="8485188" y="2903537"/>
            <a:ext cx="539750" cy="4270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50800" tIns="0" rIns="50800" bIns="0" numCol="1" spcCol="0" rtlCol="0" anchor="b"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mn-lt"/>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mn-lt"/>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mn-lt"/>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mn-lt"/>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mn-lt"/>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59C57A4A-3974-41DD-B6A4-6D34133FFEE0}" type="datetime'''''''''''5''%'''''''''''''">
              <a:rPr kumimoji="0" lang="de-AT" altLang="en-US" sz="2800" b="0" i="0" u="none" strike="noStrike" kern="0" cap="none" spc="0" normalizeH="0" baseline="0" noProof="0" smtClean="0">
                <a:ln>
                  <a:noFill/>
                </a:ln>
                <a:solidFill>
                  <a:prstClr val="black"/>
                </a:solidFill>
                <a:effectLst/>
                <a:uLnTx/>
                <a:uFillTx/>
                <a:latin typeface="Bahnschrift" panose="020B0502040204020203" pitchFamily="34" charset="0"/>
                <a:ea typeface="+mn-ea"/>
                <a:cs typeface="+mn-cs"/>
                <a:sym typeface="Bahnschrift" panose="020B0502040204020203" pitchFamily="34" charset="0"/>
              </a:rPr>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5%</a:t>
            </a:fld>
            <a:endParaRPr kumimoji="0" lang="de-AT" sz="2800" b="0" i="0" u="none" strike="noStrike" kern="0" cap="none" spc="0" normalizeH="0" baseline="0" noProof="0">
              <a:ln>
                <a:noFill/>
              </a:ln>
              <a:solidFill>
                <a:prstClr val="black"/>
              </a:solidFill>
              <a:effectLst/>
              <a:uLnTx/>
              <a:uFillTx/>
              <a:latin typeface="Bahnschrift" panose="020B0502040204020203" pitchFamily="34" charset="0"/>
              <a:ea typeface="+mn-ea"/>
              <a:cs typeface="+mn-cs"/>
              <a:sym typeface="Bahnschrift" panose="020B0502040204020203" pitchFamily="34" charset="0"/>
            </a:endParaRPr>
          </a:p>
        </p:txBody>
      </p:sp>
      <p:sp>
        <p:nvSpPr>
          <p:cNvPr id="14" name="Textplatzhalter 8">
            <a:extLst>
              <a:ext uri="{FF2B5EF4-FFF2-40B4-BE49-F238E27FC236}">
                <a16:creationId xmlns:a16="http://schemas.microsoft.com/office/drawing/2014/main" id="{23B0239B-2687-42F0-B0FF-4B384BDB10E6}"/>
              </a:ext>
            </a:extLst>
          </p:cNvPr>
          <p:cNvSpPr>
            <a:spLocks noGrp="1"/>
          </p:cNvSpPr>
          <p:nvPr>
            <p:custDataLst>
              <p:tags r:id="rId25"/>
            </p:custDataLst>
          </p:nvPr>
        </p:nvSpPr>
        <p:spPr bwMode="gray">
          <a:xfrm>
            <a:off x="10188575" y="2651124"/>
            <a:ext cx="528638" cy="4270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50800" tIns="0" rIns="50800" bIns="0" numCol="1" spcCol="0" rtlCol="0" anchor="b" anchorCtr="0">
            <a:noAutofit/>
          </a:bodyPr>
          <a:lstStyle>
            <a:lvl1pPr marL="469900" indent="-469900" algn="l" rtl="0" eaLnBrk="1" fontAlgn="base" hangingPunct="1">
              <a:spcBef>
                <a:spcPct val="20000"/>
              </a:spcBef>
              <a:spcAft>
                <a:spcPct val="0"/>
              </a:spcAft>
              <a:buClr>
                <a:srgbClr val="ED1C24"/>
              </a:buClr>
              <a:buFont typeface="Arial" panose="020B0604020202020204" pitchFamily="34" charset="0"/>
              <a:buChar char="•"/>
              <a:defRPr sz="2200">
                <a:solidFill>
                  <a:schemeClr val="tx1"/>
                </a:solidFill>
                <a:latin typeface="+mn-lt"/>
                <a:ea typeface="+mn-ea"/>
                <a:cs typeface="+mn-cs"/>
              </a:defRPr>
            </a:lvl1pPr>
            <a:lvl2pPr marL="908050" indent="-436563" algn="l" rtl="0" eaLnBrk="1" fontAlgn="base" hangingPunct="1">
              <a:spcBef>
                <a:spcPct val="20000"/>
              </a:spcBef>
              <a:spcAft>
                <a:spcPct val="0"/>
              </a:spcAft>
              <a:buClr>
                <a:schemeClr val="tx1"/>
              </a:buClr>
              <a:buFont typeface="Symbol" panose="05050102010706020507" pitchFamily="18" charset="2"/>
              <a:buChar char="-"/>
              <a:defRPr sz="2000">
                <a:solidFill>
                  <a:schemeClr val="tx1"/>
                </a:solidFill>
                <a:latin typeface="+mn-lt"/>
              </a:defRPr>
            </a:lvl2pPr>
            <a:lvl3pPr marL="1304925" indent="-395288" algn="l" rtl="0" eaLnBrk="1" fontAlgn="base" hangingPunct="1">
              <a:spcBef>
                <a:spcPct val="20000"/>
              </a:spcBef>
              <a:spcAft>
                <a:spcPct val="0"/>
              </a:spcAft>
              <a:buClr>
                <a:srgbClr val="6F6F6F"/>
              </a:buClr>
              <a:buFont typeface="Symbol" pitchFamily="18" charset="2"/>
              <a:buChar char="-"/>
              <a:defRPr sz="1800">
                <a:solidFill>
                  <a:schemeClr val="tx1"/>
                </a:solidFill>
                <a:latin typeface="+mn-lt"/>
              </a:defRPr>
            </a:lvl3pPr>
            <a:lvl4pPr marL="1693863" indent="-387350" algn="l" rtl="0" eaLnBrk="1" fontAlgn="base" hangingPunct="1">
              <a:spcBef>
                <a:spcPct val="20000"/>
              </a:spcBef>
              <a:spcAft>
                <a:spcPct val="0"/>
              </a:spcAft>
              <a:buClr>
                <a:srgbClr val="6F6F6F"/>
              </a:buClr>
              <a:buFont typeface="Symbol" pitchFamily="18" charset="2"/>
              <a:buChar char="-"/>
              <a:defRPr sz="1800">
                <a:solidFill>
                  <a:schemeClr val="tx1"/>
                </a:solidFill>
                <a:latin typeface="+mn-lt"/>
              </a:defRPr>
            </a:lvl4pPr>
            <a:lvl5pPr marL="2093913" indent="-398463" algn="l" rtl="0" eaLnBrk="1" fontAlgn="base" hangingPunct="1">
              <a:spcBef>
                <a:spcPct val="25000"/>
              </a:spcBef>
              <a:spcAft>
                <a:spcPct val="0"/>
              </a:spcAft>
              <a:buClr>
                <a:srgbClr val="6F6F6F"/>
              </a:buClr>
              <a:buFont typeface="Symbol" pitchFamily="18" charset="2"/>
              <a:buChar char="-"/>
              <a:defRPr sz="1800">
                <a:solidFill>
                  <a:schemeClr val="tx1"/>
                </a:solidFill>
                <a:latin typeface="+mn-lt"/>
              </a:defRPr>
            </a:lvl5pPr>
            <a:lvl6pPr marL="25511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6pPr>
            <a:lvl7pPr marL="30083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7pPr>
            <a:lvl8pPr marL="34655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8pPr>
            <a:lvl9pPr marL="3922713" indent="-398463" algn="l" rtl="0" eaLnBrk="1" fontAlgn="base" hangingPunct="1">
              <a:spcBef>
                <a:spcPct val="25000"/>
              </a:spcBef>
              <a:spcAft>
                <a:spcPct val="0"/>
              </a:spcAft>
              <a:buClr>
                <a:schemeClr val="accent2"/>
              </a:buClr>
              <a:buFont typeface="Wingdings" pitchFamily="2" charset="2"/>
              <a:buChar char="§"/>
              <a:defRPr sz="2000">
                <a:solidFill>
                  <a:schemeClr val="tx1"/>
                </a:solidFill>
                <a:latin typeface="+mn-lt"/>
              </a:defRPr>
            </a:lvl9pPr>
          </a:lstStyle>
          <a:p>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fld id="{75D8D38F-C50A-4E54-82EE-22ECDEDCF6F5}" type="datetime'''''''6''''''''''''''''''''''''''''''''''%'''''''''''">
              <a:rPr kumimoji="0" lang="de-AT" altLang="en-US" sz="2800" b="0" i="0" u="none" strike="noStrike" kern="0" cap="none" spc="0" normalizeH="0" baseline="0" noProof="0" smtClean="0">
                <a:ln>
                  <a:noFill/>
                </a:ln>
                <a:solidFill>
                  <a:prstClr val="black"/>
                </a:solidFill>
                <a:effectLst/>
                <a:uLnTx/>
                <a:uFillTx/>
                <a:latin typeface="Bahnschrift" panose="020B0502040204020203" pitchFamily="34" charset="0"/>
                <a:ea typeface="+mn-ea"/>
                <a:cs typeface="+mn-cs"/>
                <a:sym typeface="Bahnschrift" panose="020B0502040204020203" pitchFamily="34" charset="0"/>
              </a:rPr>
              <a:pPr marL="0" marR="0" lvl="0" indent="0" algn="ctr" defTabSz="914400" rtl="0" eaLnBrk="1" fontAlgn="base" latinLnBrk="0" hangingPunct="1">
                <a:lnSpc>
                  <a:spcPct val="100000"/>
                </a:lnSpc>
                <a:spcBef>
                  <a:spcPct val="0"/>
                </a:spcBef>
                <a:spcAft>
                  <a:spcPct val="0"/>
                </a:spcAft>
                <a:buClr>
                  <a:srgbClr val="ED1C24"/>
                </a:buClr>
                <a:buSzTx/>
                <a:buFont typeface="Arial" panose="020B0604020202020204" pitchFamily="34" charset="0"/>
                <a:buNone/>
                <a:tabLst/>
                <a:defRPr/>
              </a:pPr>
              <a:t>6%</a:t>
            </a:fld>
            <a:endParaRPr kumimoji="0" lang="de-AT" sz="2800" b="0" i="0" u="none" strike="noStrike" kern="0" cap="none" spc="0" normalizeH="0" baseline="0" noProof="0">
              <a:ln>
                <a:noFill/>
              </a:ln>
              <a:solidFill>
                <a:prstClr val="black"/>
              </a:solidFill>
              <a:effectLst/>
              <a:uLnTx/>
              <a:uFillTx/>
              <a:latin typeface="Bahnschrift" panose="020B0502040204020203" pitchFamily="34" charset="0"/>
              <a:ea typeface="+mn-ea"/>
              <a:cs typeface="+mn-cs"/>
              <a:sym typeface="Bahnschrift" panose="020B0502040204020203" pitchFamily="34" charset="0"/>
            </a:endParaRPr>
          </a:p>
        </p:txBody>
      </p:sp>
      <p:sp>
        <p:nvSpPr>
          <p:cNvPr id="23" name="TextBox 22">
            <a:extLst>
              <a:ext uri="{FF2B5EF4-FFF2-40B4-BE49-F238E27FC236}">
                <a16:creationId xmlns:a16="http://schemas.microsoft.com/office/drawing/2014/main" id="{634F2C91-B8F0-41C0-8040-FCAE8B2F829A}"/>
              </a:ext>
            </a:extLst>
          </p:cNvPr>
          <p:cNvSpPr txBox="1"/>
          <p:nvPr/>
        </p:nvSpPr>
        <p:spPr>
          <a:xfrm>
            <a:off x="638079" y="5227831"/>
            <a:ext cx="10745884" cy="738664"/>
          </a:xfrm>
          <a:prstGeom prst="rect">
            <a:avLst/>
          </a:prstGeom>
          <a:solidFill>
            <a:srgbClr val="BADDFE"/>
          </a:solid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AT" sz="1400" b="0" i="0" u="none" strike="noStrike" kern="1200" cap="none" spc="0" normalizeH="0" baseline="0" noProof="0" dirty="0">
                <a:ln>
                  <a:noFill/>
                </a:ln>
                <a:solidFill>
                  <a:prstClr val="black"/>
                </a:solidFill>
                <a:effectLst/>
                <a:uLnTx/>
                <a:uFillTx/>
                <a:latin typeface="Bahnschrift" panose="020B0502040204020203" pitchFamily="34" charset="0"/>
                <a:ea typeface="+mn-ea"/>
                <a:cs typeface="Arial" panose="020B0604020202020204" pitchFamily="34" charset="0"/>
              </a:rPr>
              <a:t>Im Rahmen der Critical Raw Materials Initiative hat die EU-Kommission 24 mineralische Rohstoffe und acht Technologien definiert, die für die Produktion Erneuerbarer Energien und für den Ausbau der E-Mobilität von wesentlicher Bedeutung sind. Bei mindestens 6 der 24 Rohstoffe besteht ein hohes bis sehr hohes Versorgungsrisiko.</a:t>
            </a:r>
          </a:p>
        </p:txBody>
      </p:sp>
      <p:grpSp>
        <p:nvGrpSpPr>
          <p:cNvPr id="38" name="dynamictitle__6381612021450131765">
            <a:extLst>
              <a:ext uri="{FF2B5EF4-FFF2-40B4-BE49-F238E27FC236}">
                <a16:creationId xmlns:a16="http://schemas.microsoft.com/office/drawing/2014/main" id="{2F91F51C-AE31-4188-AE06-E72D5508ED17}"/>
              </a:ext>
            </a:extLst>
          </p:cNvPr>
          <p:cNvGrpSpPr/>
          <p:nvPr>
            <p:custDataLst>
              <p:tags r:id="rId26"/>
            </p:custDataLst>
          </p:nvPr>
        </p:nvGrpSpPr>
        <p:grpSpPr>
          <a:xfrm>
            <a:off x="638079" y="1484476"/>
            <a:ext cx="10663584" cy="318924"/>
            <a:chOff x="2832361" y="1995185"/>
            <a:chExt cx="3534683" cy="318924"/>
          </a:xfrm>
        </p:grpSpPr>
        <p:sp>
          <p:nvSpPr>
            <p:cNvPr id="39" name="Arrow: Left-Right 38">
              <a:extLst>
                <a:ext uri="{FF2B5EF4-FFF2-40B4-BE49-F238E27FC236}">
                  <a16:creationId xmlns:a16="http://schemas.microsoft.com/office/drawing/2014/main" id="{AC7457B4-84D3-44B0-ABFA-CBA693990791}"/>
                </a:ext>
              </a:extLst>
            </p:cNvPr>
            <p:cNvSpPr/>
            <p:nvPr/>
          </p:nvSpPr>
          <p:spPr>
            <a:xfrm>
              <a:off x="2832361" y="1995185"/>
              <a:ext cx="3534683" cy="318924"/>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AT" sz="16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rPr>
                <a:t>Die Europäische Rohstoffversorgung im Bereich zentraler erneuerbarer Technologien</a:t>
              </a:r>
              <a:r>
                <a:rPr kumimoji="0" lang="de-AT" sz="1600" b="1" i="0" u="none" strike="noStrike" kern="1200" cap="none" spc="0" normalizeH="0" baseline="30000" noProof="0" dirty="0">
                  <a:ln>
                    <a:noFill/>
                  </a:ln>
                  <a:solidFill>
                    <a:srgbClr val="000000"/>
                  </a:solidFill>
                  <a:effectLst/>
                  <a:uLnTx/>
                  <a:uFillTx/>
                  <a:latin typeface="Bahnschrift" panose="020B0502040204020203" pitchFamily="34" charset="0"/>
                  <a:ea typeface="+mn-ea"/>
                  <a:cs typeface="+mn-cs"/>
                </a:rPr>
                <a:t>1</a:t>
              </a:r>
              <a:r>
                <a:rPr kumimoji="0" lang="de-AT" sz="16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mn-cs"/>
                </a:rPr>
                <a:t> in % </a:t>
              </a:r>
            </a:p>
          </p:txBody>
        </p:sp>
        <p:cxnSp>
          <p:nvCxnSpPr>
            <p:cNvPr id="40" name="Straight Connector 39">
              <a:extLst>
                <a:ext uri="{FF2B5EF4-FFF2-40B4-BE49-F238E27FC236}">
                  <a16:creationId xmlns:a16="http://schemas.microsoft.com/office/drawing/2014/main" id="{A3E87390-57B7-4B5C-858C-1A3B6BCB9714}"/>
                </a:ext>
              </a:extLst>
            </p:cNvPr>
            <p:cNvCxnSpPr>
              <a:stCxn id="39" idx="4"/>
              <a:endCxn id="39" idx="6"/>
            </p:cNvCxnSpPr>
            <p:nvPr/>
          </p:nvCxnSpPr>
          <p:spPr>
            <a:xfrm>
              <a:off x="2832361" y="2314109"/>
              <a:ext cx="353468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Slide Number Placeholder 3">
            <a:extLst>
              <a:ext uri="{FF2B5EF4-FFF2-40B4-BE49-F238E27FC236}">
                <a16:creationId xmlns:a16="http://schemas.microsoft.com/office/drawing/2014/main" id="{211F859A-3D6C-037B-A032-E35558C0FD52}"/>
              </a:ext>
            </a:extLst>
          </p:cNvPr>
          <p:cNvSpPr>
            <a:spLocks noGrp="1"/>
          </p:cNvSpPr>
          <p:nvPr>
            <p:ph type="sldNum" sz="quarter" idx="10"/>
          </p:nvPr>
        </p:nvSpPr>
        <p:spPr>
          <a:xfrm>
            <a:off x="167425" y="6494471"/>
            <a:ext cx="303092" cy="227003"/>
          </a:xfr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1920E2B-FC99-4A38-BFFD-416A818AECB0}" type="slidenum">
              <a:rPr kumimoji="0" lang="de-AT" sz="800" b="0" i="0" u="none" strike="noStrike" kern="1200" cap="none" spc="0" normalizeH="0" baseline="0" noProof="0" smtClean="0">
                <a:ln>
                  <a:noFill/>
                </a:ln>
                <a:solidFill>
                  <a:prstClr val="white">
                    <a:lumMod val="50000"/>
                  </a:prstClr>
                </a:solidFill>
                <a:effectLst/>
                <a:uLnTx/>
                <a:uFillTx/>
                <a:latin typeface="Bahnschrift" panose="020B0502040204020203" pitchFamily="34"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6</a:t>
            </a:fld>
            <a:endParaRPr kumimoji="0" lang="de-AT" sz="800" b="0" i="0" u="none" strike="noStrike" kern="1200" cap="none" spc="0" normalizeH="0" baseline="0" noProof="0">
              <a:ln>
                <a:noFill/>
              </a:ln>
              <a:solidFill>
                <a:prstClr val="white">
                  <a:lumMod val="50000"/>
                </a:prstClr>
              </a:solidFill>
              <a:effectLst/>
              <a:uLnTx/>
              <a:uFillTx/>
              <a:latin typeface="Bahnschrift" panose="020B0502040204020203" pitchFamily="34" charset="0"/>
              <a:ea typeface="+mn-ea"/>
              <a:cs typeface="+mn-cs"/>
            </a:endParaRPr>
          </a:p>
        </p:txBody>
      </p:sp>
      <p:sp>
        <p:nvSpPr>
          <p:cNvPr id="50" name="5. Source">
            <a:extLst>
              <a:ext uri="{FF2B5EF4-FFF2-40B4-BE49-F238E27FC236}">
                <a16:creationId xmlns:a16="http://schemas.microsoft.com/office/drawing/2014/main" id="{1D974F51-0200-46AA-A910-D9D1C8EAAB45}"/>
              </a:ext>
            </a:extLst>
          </p:cNvPr>
          <p:cNvSpPr txBox="1"/>
          <p:nvPr>
            <p:custDataLst>
              <p:tags r:id="rId27"/>
            </p:custDataLst>
          </p:nvPr>
        </p:nvSpPr>
        <p:spPr>
          <a:xfrm>
            <a:off x="553972" y="6545973"/>
            <a:ext cx="10287000" cy="123111"/>
          </a:xfrm>
          <a:prstGeom prst="rect">
            <a:avLst/>
          </a:prstGeom>
          <a:noFill/>
        </p:spPr>
        <p:txBody>
          <a:bodyPr vert="horz" wrap="square" lIns="0" tIns="0" rIns="0" bIns="0" rtlCol="0" anchor="b" anchorCtr="0">
            <a:spAutoFit/>
          </a:bodyPr>
          <a:lstStyle/>
          <a:p>
            <a:pPr marL="203200" marR="0" lvl="0" indent="-212725" algn="l" defTabSz="914400" rtl="0" eaLnBrk="1" fontAlgn="base" latinLnBrk="0" hangingPunct="1">
              <a:lnSpc>
                <a:spcPct val="100000"/>
              </a:lnSpc>
              <a:spcBef>
                <a:spcPct val="0"/>
              </a:spcBef>
              <a:spcAft>
                <a:spcPct val="0"/>
              </a:spcAft>
              <a:buClrTx/>
              <a:buSzTx/>
              <a:buFontTx/>
              <a:buNone/>
              <a:tabLst/>
              <a:defRPr/>
            </a:pPr>
            <a:r>
              <a:rPr kumimoji="0" lang="fr-FR"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rPr>
              <a:t>Quelle:</a:t>
            </a:r>
            <a:r>
              <a:rPr kumimoji="0" lang="en-US"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rPr>
              <a:t> EY, </a:t>
            </a:r>
            <a:r>
              <a:rPr kumimoji="0" lang="de-AT" sz="800" b="0" i="0" u="none" strike="noStrike" kern="1200" cap="none" spc="0" normalizeH="0" baseline="0" dirty="0">
                <a:ln>
                  <a:noFill/>
                </a:ln>
                <a:solidFill>
                  <a:srgbClr val="004FA1"/>
                </a:solidFill>
                <a:effectLst/>
                <a:uLnTx/>
                <a:uFillTx/>
                <a:latin typeface="Bahnschrift" panose="020B0502040204020203" pitchFamily="34" charset="0"/>
                <a:ea typeface="+mn-ea"/>
                <a:cs typeface="+mn-cs"/>
              </a:rPr>
              <a:t>Fortschrittsmonitor</a:t>
            </a:r>
            <a:r>
              <a:rPr kumimoji="0" lang="en-US"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rPr>
              <a:t> 2022 </a:t>
            </a:r>
            <a:r>
              <a:rPr kumimoji="0" lang="de-AT" sz="800" b="0" i="0" u="none" strike="noStrike" kern="1200" cap="none" spc="0" normalizeH="0" baseline="0" dirty="0">
                <a:ln>
                  <a:noFill/>
                </a:ln>
                <a:solidFill>
                  <a:srgbClr val="004FA1"/>
                </a:solidFill>
                <a:effectLst/>
                <a:uLnTx/>
                <a:uFillTx/>
                <a:latin typeface="Bahnschrift" panose="020B0502040204020203" pitchFamily="34" charset="0"/>
                <a:ea typeface="+mn-ea"/>
                <a:cs typeface="+mn-cs"/>
              </a:rPr>
              <a:t>Energiewende</a:t>
            </a:r>
            <a:r>
              <a:rPr kumimoji="0" lang="en-US"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rPr>
              <a:t>; European Commission (EC 2020), „Critical Raw Materials in Technologies and Sectors in the EU - A Foresight Study“</a:t>
            </a:r>
            <a:r>
              <a:rPr kumimoji="0" lang="fr-FR"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rPr>
              <a:t> </a:t>
            </a:r>
            <a:endPar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endParaRPr>
          </a:p>
        </p:txBody>
      </p:sp>
      <p:sp>
        <p:nvSpPr>
          <p:cNvPr id="56" name="5. Source">
            <a:extLst>
              <a:ext uri="{FF2B5EF4-FFF2-40B4-BE49-F238E27FC236}">
                <a16:creationId xmlns:a16="http://schemas.microsoft.com/office/drawing/2014/main" id="{2B4F3CC4-3DEE-45BD-941E-10DAA56A626A}"/>
              </a:ext>
            </a:extLst>
          </p:cNvPr>
          <p:cNvSpPr txBox="1"/>
          <p:nvPr>
            <p:custDataLst>
              <p:tags r:id="rId28"/>
            </p:custDataLst>
          </p:nvPr>
        </p:nvSpPr>
        <p:spPr>
          <a:xfrm>
            <a:off x="553972" y="6226018"/>
            <a:ext cx="10287000" cy="246221"/>
          </a:xfrm>
          <a:prstGeom prst="rect">
            <a:avLst/>
          </a:prstGeom>
          <a:noFill/>
        </p:spPr>
        <p:txBody>
          <a:bodyPr vert="horz" wrap="square" lIns="0" tIns="0" rIns="0" bIns="0" rtlCol="0" anchor="b" anchorCtr="0">
            <a:spAutoFit/>
          </a:bodyPr>
          <a:lstStyle/>
          <a:p>
            <a:pPr marL="203200" marR="0" lvl="0" indent="-212725" algn="l" defTabSz="914400" rtl="0" eaLnBrk="1" fontAlgn="base" latinLnBrk="0" hangingPunct="1">
              <a:lnSpc>
                <a:spcPct val="100000"/>
              </a:lnSpc>
              <a:spcBef>
                <a:spcPct val="0"/>
              </a:spcBef>
              <a:spcAft>
                <a:spcPct val="0"/>
              </a:spcAft>
              <a:buClrTx/>
              <a:buSzTx/>
              <a:buFontTx/>
              <a:buNone/>
              <a:tabLst/>
              <a:defRPr/>
            </a:pPr>
            <a:r>
              <a:rPr lang="de-DE" sz="800" dirty="0">
                <a:solidFill>
                  <a:srgbClr val="004FA1"/>
                </a:solidFill>
                <a:latin typeface="Bahnschrift" panose="020B0502040204020203" pitchFamily="34" charset="0"/>
              </a:rPr>
              <a:t>1. Neben den 6 erwähnten Technologien werden in der zitierten Studie auch noch „3D-Druck“ &amp; „Informations- und Kommunikationstechnologien“ als Technologien angeführt, </a:t>
            </a:r>
            <a:r>
              <a:rPr lang="de-AT" sz="800" dirty="0">
                <a:solidFill>
                  <a:srgbClr val="004FA1"/>
                </a:solidFill>
                <a:latin typeface="Bahnschrift" panose="020B0502040204020203" pitchFamily="34" charset="0"/>
              </a:rPr>
              <a:t>die für die Produktion Erneuerbarer</a:t>
            </a:r>
          </a:p>
          <a:p>
            <a:pPr marL="203200" marR="0" lvl="0" indent="-212725" algn="l" defTabSz="914400" rtl="0" eaLnBrk="1" fontAlgn="base" latinLnBrk="0" hangingPunct="1">
              <a:lnSpc>
                <a:spcPct val="100000"/>
              </a:lnSpc>
              <a:spcBef>
                <a:spcPct val="0"/>
              </a:spcBef>
              <a:spcAft>
                <a:spcPct val="0"/>
              </a:spcAft>
              <a:buClrTx/>
              <a:buSzTx/>
              <a:buFontTx/>
              <a:buNone/>
              <a:tabLst/>
              <a:defRPr/>
            </a:pPr>
            <a:r>
              <a:rPr lang="de-AT" sz="800" dirty="0">
                <a:solidFill>
                  <a:srgbClr val="004FA1"/>
                </a:solidFill>
                <a:latin typeface="Bahnschrift" panose="020B0502040204020203" pitchFamily="34" charset="0"/>
              </a:rPr>
              <a:t>Energien und für den Ausbau der E-Mobilität von wesentlicher Bedeutung sind</a:t>
            </a:r>
            <a:endParaRPr kumimoji="0" lang="de-DE" sz="800" b="0" i="0" u="none" strike="noStrike" kern="1200" cap="none" spc="0" normalizeH="0" baseline="0" noProof="0" dirty="0">
              <a:ln>
                <a:noFill/>
              </a:ln>
              <a:solidFill>
                <a:srgbClr val="004FA1"/>
              </a:solidFill>
              <a:effectLst/>
              <a:uLnTx/>
              <a:uFillTx/>
              <a:latin typeface="Bahnschrift" panose="020B0502040204020203" pitchFamily="34" charset="0"/>
              <a:ea typeface="+mn-ea"/>
              <a:cs typeface="+mn-cs"/>
            </a:endParaRPr>
          </a:p>
        </p:txBody>
      </p:sp>
    </p:spTree>
    <p:extLst>
      <p:ext uri="{BB962C8B-B14F-4D97-AF65-F5344CB8AC3E}">
        <p14:creationId xmlns:p14="http://schemas.microsoft.com/office/powerpoint/2010/main" val="24530238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5EED900-5995-4F9C-8C4D-513E468D2540}"/>
              </a:ext>
            </a:extLst>
          </p:cNvPr>
          <p:cNvGraphicFramePr>
            <a:graphicFrameLocks noChangeAspect="1"/>
          </p:cNvGraphicFramePr>
          <p:nvPr>
            <p:custDataLst>
              <p:tags r:id="rId1"/>
            </p:custDataLst>
            <p:extLst>
              <p:ext uri="{D42A27DB-BD31-4B8C-83A1-F6EECF244321}">
                <p14:modId xmlns:p14="http://schemas.microsoft.com/office/powerpoint/2010/main" val="3845183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395" imgH="396" progId="TCLayout.ActiveDocument.1">
                  <p:embed/>
                </p:oleObj>
              </mc:Choice>
              <mc:Fallback>
                <p:oleObj name="think-cell Slide" r:id="rId34" imgW="395" imgH="396" progId="TCLayout.ActiveDocument.1">
                  <p:embed/>
                  <p:pic>
                    <p:nvPicPr>
                      <p:cNvPr id="4" name="Object 3" hidden="1">
                        <a:extLst>
                          <a:ext uri="{FF2B5EF4-FFF2-40B4-BE49-F238E27FC236}">
                            <a16:creationId xmlns:a16="http://schemas.microsoft.com/office/drawing/2014/main" id="{C5EED900-5995-4F9C-8C4D-513E468D2540}"/>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2977817-AD85-4263-875D-94DEA7055708}"/>
              </a:ext>
            </a:extLst>
          </p:cNvPr>
          <p:cNvSpPr>
            <a:spLocks noGrp="1"/>
          </p:cNvSpPr>
          <p:nvPr>
            <p:ph type="title"/>
          </p:nvPr>
        </p:nvSpPr>
        <p:spPr>
          <a:xfrm>
            <a:off x="554736" y="225990"/>
            <a:ext cx="11082528" cy="689420"/>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Man </a:t>
            </a:r>
            <a:r>
              <a:rPr lang="en-US" dirty="0" err="1"/>
              <a:t>beachte</a:t>
            </a:r>
            <a:r>
              <a:rPr lang="en-US" dirty="0"/>
              <a:t> die </a:t>
            </a:r>
            <a:r>
              <a:rPr lang="en-US" dirty="0" err="1"/>
              <a:t>globale</a:t>
            </a:r>
            <a:r>
              <a:rPr lang="en-US" dirty="0"/>
              <a:t> </a:t>
            </a:r>
            <a:r>
              <a:rPr lang="en-US" dirty="0" err="1"/>
              <a:t>Trendwende</a:t>
            </a:r>
            <a:r>
              <a:rPr lang="en-US" dirty="0"/>
              <a:t>: </a:t>
            </a:r>
            <a:r>
              <a:rPr lang="en-US" dirty="0" err="1"/>
              <a:t>Erstmals</a:t>
            </a:r>
            <a:r>
              <a:rPr lang="en-US" dirty="0"/>
              <a:t> </a:t>
            </a:r>
            <a:r>
              <a:rPr lang="en-US" dirty="0" err="1"/>
              <a:t>gleich</a:t>
            </a:r>
            <a:r>
              <a:rPr lang="en-US" dirty="0"/>
              <a:t> </a:t>
            </a:r>
            <a:r>
              <a:rPr lang="en-US" dirty="0" err="1"/>
              <a:t>hohe</a:t>
            </a:r>
            <a:r>
              <a:rPr lang="en-US" dirty="0"/>
              <a:t> </a:t>
            </a:r>
            <a:r>
              <a:rPr lang="en-US" dirty="0" err="1"/>
              <a:t>Investitionen</a:t>
            </a:r>
            <a:r>
              <a:rPr lang="en-US" dirty="0"/>
              <a:t> in die </a:t>
            </a:r>
            <a:r>
              <a:rPr lang="en-US" dirty="0" err="1"/>
              <a:t>Energiewende</a:t>
            </a:r>
            <a:r>
              <a:rPr lang="en-US" dirty="0"/>
              <a:t> </a:t>
            </a:r>
            <a:r>
              <a:rPr lang="en-US" dirty="0" err="1"/>
              <a:t>wie</a:t>
            </a:r>
            <a:r>
              <a:rPr lang="en-US" dirty="0"/>
              <a:t> in </a:t>
            </a:r>
            <a:r>
              <a:rPr lang="en-US" dirty="0" err="1"/>
              <a:t>fossile</a:t>
            </a:r>
            <a:r>
              <a:rPr lang="en-US" dirty="0"/>
              <a:t> </a:t>
            </a:r>
            <a:r>
              <a:rPr lang="en-US" dirty="0" err="1"/>
              <a:t>Brennstoffe</a:t>
            </a:r>
            <a:endParaRPr lang="en-US" dirty="0"/>
          </a:p>
        </p:txBody>
      </p:sp>
      <p:sp>
        <p:nvSpPr>
          <p:cNvPr id="16" name="TextBox 15">
            <a:extLst>
              <a:ext uri="{FF2B5EF4-FFF2-40B4-BE49-F238E27FC236}">
                <a16:creationId xmlns:a16="http://schemas.microsoft.com/office/drawing/2014/main" id="{6F12FBAD-99FC-4914-ACC3-5B82608504C0}"/>
              </a:ext>
            </a:extLst>
          </p:cNvPr>
          <p:cNvSpPr txBox="1"/>
          <p:nvPr/>
        </p:nvSpPr>
        <p:spPr>
          <a:xfrm>
            <a:off x="920495" y="1521235"/>
            <a:ext cx="6490574" cy="215444"/>
          </a:xfrm>
          <a:prstGeom prst="rect">
            <a:avLst/>
          </a:prstGeom>
        </p:spPr>
        <p:txBody>
          <a:bodyPr vert="horz" wrap="square" lIns="0" tIns="0" rIns="0" bIns="0" rtlCol="0">
            <a:sp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182880" lvl="1" indent="-182880" defTabSz="91440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dirty="0">
                <a:latin typeface="+mn-lt"/>
              </a:defRPr>
            </a:lvl2pPr>
            <a:lvl3pPr marL="365760" lvl="2" indent="-182880" defTabSz="91440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dirty="0">
                <a:latin typeface="+mn-lt"/>
              </a:defRPr>
            </a:lvl3pPr>
            <a:lvl4pPr marL="548640" lvl="3" indent="-182880" defTabSz="91440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dirty="0">
                <a:latin typeface="+mn-lt"/>
              </a:defRPr>
            </a:lvl4pPr>
            <a:lvl5pPr marL="731520" lvl="4" indent="-182880" defTabSz="91440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r>
              <a:rPr lang="en-US" sz="1400" b="1" dirty="0" err="1">
                <a:latin typeface="Bahnschrift" panose="020B0502040204020203" pitchFamily="34" charset="0"/>
              </a:rPr>
              <a:t>Investitionsvergleich</a:t>
            </a:r>
            <a:r>
              <a:rPr lang="en-US" sz="1400" b="1" dirty="0">
                <a:latin typeface="Bahnschrift" panose="020B0502040204020203" pitchFamily="34" charset="0"/>
              </a:rPr>
              <a:t>: </a:t>
            </a:r>
            <a:r>
              <a:rPr lang="en-US" sz="1400" b="1" dirty="0" err="1">
                <a:latin typeface="Bahnschrift" panose="020B0502040204020203" pitchFamily="34" charset="0"/>
              </a:rPr>
              <a:t>Energiewende</a:t>
            </a:r>
            <a:r>
              <a:rPr lang="en-US" sz="1400" b="1" dirty="0">
                <a:latin typeface="Bahnschrift" panose="020B0502040204020203" pitchFamily="34" charset="0"/>
              </a:rPr>
              <a:t> und </a:t>
            </a:r>
            <a:r>
              <a:rPr lang="en-US" sz="1400" b="1" dirty="0" err="1">
                <a:latin typeface="Bahnschrift" panose="020B0502040204020203" pitchFamily="34" charset="0"/>
              </a:rPr>
              <a:t>fossile</a:t>
            </a:r>
            <a:r>
              <a:rPr lang="en-US" sz="1400" b="1" dirty="0">
                <a:latin typeface="Bahnschrift" panose="020B0502040204020203" pitchFamily="34" charset="0"/>
              </a:rPr>
              <a:t> </a:t>
            </a:r>
            <a:r>
              <a:rPr lang="en-US" sz="1400" b="1" dirty="0" err="1">
                <a:latin typeface="Bahnschrift" panose="020B0502040204020203" pitchFamily="34" charset="0"/>
              </a:rPr>
              <a:t>Brennstoffe</a:t>
            </a:r>
            <a:r>
              <a:rPr lang="en-US" sz="1400" b="1" dirty="0">
                <a:latin typeface="Bahnschrift" panose="020B0502040204020203" pitchFamily="34" charset="0"/>
              </a:rPr>
              <a:t>, </a:t>
            </a:r>
            <a:r>
              <a:rPr lang="en-US" sz="1400" dirty="0">
                <a:latin typeface="Bahnschrift" panose="020B0502040204020203" pitchFamily="34" charset="0"/>
              </a:rPr>
              <a:t>in </a:t>
            </a:r>
            <a:r>
              <a:rPr lang="en-US" sz="1400" dirty="0" err="1">
                <a:latin typeface="Bahnschrift" panose="020B0502040204020203" pitchFamily="34" charset="0"/>
              </a:rPr>
              <a:t>Mrd</a:t>
            </a:r>
            <a:r>
              <a:rPr lang="en-US" sz="1400" dirty="0">
                <a:latin typeface="Bahnschrift" panose="020B0502040204020203" pitchFamily="34" charset="0"/>
              </a:rPr>
              <a:t>. USD</a:t>
            </a:r>
            <a:endParaRPr lang="en-US" sz="1200" dirty="0">
              <a:latin typeface="Bahnschrift" panose="020B0502040204020203" pitchFamily="34" charset="0"/>
            </a:endParaRPr>
          </a:p>
        </p:txBody>
      </p:sp>
      <p:graphicFrame>
        <p:nvGraphicFramePr>
          <p:cNvPr id="5" name="Chart 4">
            <a:extLst>
              <a:ext uri="{FF2B5EF4-FFF2-40B4-BE49-F238E27FC236}">
                <a16:creationId xmlns:a16="http://schemas.microsoft.com/office/drawing/2014/main" id="{27992878-5FD8-B952-EBEE-8767166E7511}"/>
              </a:ext>
            </a:extLst>
          </p:cNvPr>
          <p:cNvGraphicFramePr/>
          <p:nvPr>
            <p:custDataLst>
              <p:tags r:id="rId2"/>
            </p:custDataLst>
            <p:extLst>
              <p:ext uri="{D42A27DB-BD31-4B8C-83A1-F6EECF244321}">
                <p14:modId xmlns:p14="http://schemas.microsoft.com/office/powerpoint/2010/main" val="3378806634"/>
              </p:ext>
            </p:extLst>
          </p:nvPr>
        </p:nvGraphicFramePr>
        <p:xfrm>
          <a:off x="1008063" y="2286000"/>
          <a:ext cx="7932737" cy="3341688"/>
        </p:xfrm>
        <a:graphic>
          <a:graphicData uri="http://schemas.openxmlformats.org/drawingml/2006/chart">
            <c:chart xmlns:c="http://schemas.openxmlformats.org/drawingml/2006/chart" xmlns:r="http://schemas.openxmlformats.org/officeDocument/2006/relationships" r:id="rId36"/>
          </a:graphicData>
        </a:graphic>
      </p:graphicFrame>
      <p:sp>
        <p:nvSpPr>
          <p:cNvPr id="148" name="Text Placeholder 4">
            <a:extLst>
              <a:ext uri="{FF2B5EF4-FFF2-40B4-BE49-F238E27FC236}">
                <a16:creationId xmlns:a16="http://schemas.microsoft.com/office/drawing/2014/main" id="{4C1F3293-4EFE-461D-940D-7EE66BAE31C5}"/>
              </a:ext>
            </a:extLst>
          </p:cNvPr>
          <p:cNvSpPr>
            <a:spLocks noGrp="1"/>
          </p:cNvSpPr>
          <p:nvPr>
            <p:custDataLst>
              <p:tags r:id="rId3"/>
            </p:custDataLst>
          </p:nvPr>
        </p:nvSpPr>
        <p:spPr bwMode="gray">
          <a:xfrm>
            <a:off x="615951" y="2808288"/>
            <a:ext cx="3730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EC959919-758A-4743-91E5-C3DE9AE02998}" type="datetime'''''''''''''1,''0''''''''''''0''''''''''0'''">
              <a:rPr lang="en-US" altLang="en-US" sz="1200" smtClean="0">
                <a:effectLst/>
                <a:latin typeface="Bahnschrift" panose="020B0502040204020203" pitchFamily="34" charset="0"/>
                <a:cs typeface="+mn-cs"/>
              </a:rPr>
              <a:pPr algn="r">
                <a:spcBef>
                  <a:spcPct val="0"/>
                </a:spcBef>
                <a:spcAft>
                  <a:spcPct val="0"/>
                </a:spcAft>
              </a:pPr>
              <a:t>1,000</a:t>
            </a:fld>
            <a:endParaRPr lang="en-US" sz="1200" dirty="0">
              <a:latin typeface="Bahnschrift" panose="020B0502040204020203" pitchFamily="34" charset="0"/>
              <a:cs typeface="+mn-cs"/>
            </a:endParaRPr>
          </a:p>
        </p:txBody>
      </p:sp>
      <p:sp>
        <p:nvSpPr>
          <p:cNvPr id="145" name="Text Placeholder 4">
            <a:extLst>
              <a:ext uri="{FF2B5EF4-FFF2-40B4-BE49-F238E27FC236}">
                <a16:creationId xmlns:a16="http://schemas.microsoft.com/office/drawing/2014/main" id="{4C1F3293-4EFE-461D-940D-7EE66BAE31C5}"/>
              </a:ext>
            </a:extLst>
          </p:cNvPr>
          <p:cNvSpPr>
            <a:spLocks noGrp="1"/>
          </p:cNvSpPr>
          <p:nvPr>
            <p:custDataLst>
              <p:tags r:id="rId4"/>
            </p:custDataLst>
          </p:nvPr>
        </p:nvSpPr>
        <p:spPr bwMode="gray">
          <a:xfrm>
            <a:off x="750889" y="4395788"/>
            <a:ext cx="238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3A62BF0C-C1AE-4C49-8A06-10A45870B00C}" type="datetime'''''''''4''''''''''''''''''''0''''''''0'">
              <a:rPr lang="en-US" altLang="en-US" sz="1200" smtClean="0">
                <a:effectLst/>
                <a:latin typeface="Bahnschrift" panose="020B0502040204020203" pitchFamily="34" charset="0"/>
                <a:cs typeface="+mn-cs"/>
              </a:rPr>
              <a:pPr algn="r">
                <a:spcBef>
                  <a:spcPct val="0"/>
                </a:spcBef>
                <a:spcAft>
                  <a:spcPct val="0"/>
                </a:spcAft>
              </a:pPr>
              <a:t>400</a:t>
            </a:fld>
            <a:endParaRPr lang="en-US" sz="1200" dirty="0">
              <a:latin typeface="Bahnschrift" panose="020B0502040204020203" pitchFamily="34" charset="0"/>
              <a:cs typeface="+mn-cs"/>
            </a:endParaRPr>
          </a:p>
        </p:txBody>
      </p:sp>
      <p:sp>
        <p:nvSpPr>
          <p:cNvPr id="143" name="Text Placeholder 4">
            <a:extLst>
              <a:ext uri="{FF2B5EF4-FFF2-40B4-BE49-F238E27FC236}">
                <a16:creationId xmlns:a16="http://schemas.microsoft.com/office/drawing/2014/main" id="{4C1F3293-4EFE-461D-940D-7EE66BAE31C5}"/>
              </a:ext>
            </a:extLst>
          </p:cNvPr>
          <p:cNvSpPr>
            <a:spLocks noGrp="1"/>
          </p:cNvSpPr>
          <p:nvPr>
            <p:custDataLst>
              <p:tags r:id="rId5"/>
            </p:custDataLst>
          </p:nvPr>
        </p:nvSpPr>
        <p:spPr bwMode="gray">
          <a:xfrm>
            <a:off x="909638" y="5454650"/>
            <a:ext cx="79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91F98AA2-43EC-432B-8949-CB9E08DA9303}" type="datetime'''''''''''''''''''''''''''''''''''0'''''''''''''''''''''''">
              <a:rPr lang="en-US" altLang="en-US" sz="1200" smtClean="0">
                <a:effectLst/>
                <a:latin typeface="Bahnschrift" panose="020B0502040204020203" pitchFamily="34" charset="0"/>
                <a:cs typeface="+mn-cs"/>
              </a:rPr>
              <a:pPr algn="r">
                <a:spcBef>
                  <a:spcPct val="0"/>
                </a:spcBef>
                <a:spcAft>
                  <a:spcPct val="0"/>
                </a:spcAft>
              </a:pPr>
              <a:t>0</a:t>
            </a:fld>
            <a:endParaRPr lang="en-US" sz="1200" dirty="0">
              <a:latin typeface="Bahnschrift" panose="020B0502040204020203" pitchFamily="34" charset="0"/>
              <a:cs typeface="+mn-cs"/>
            </a:endParaRPr>
          </a:p>
        </p:txBody>
      </p:sp>
      <p:sp>
        <p:nvSpPr>
          <p:cNvPr id="144" name="Text Placeholder 4">
            <a:extLst>
              <a:ext uri="{FF2B5EF4-FFF2-40B4-BE49-F238E27FC236}">
                <a16:creationId xmlns:a16="http://schemas.microsoft.com/office/drawing/2014/main" id="{4C1F3293-4EFE-461D-940D-7EE66BAE31C5}"/>
              </a:ext>
            </a:extLst>
          </p:cNvPr>
          <p:cNvSpPr>
            <a:spLocks noGrp="1"/>
          </p:cNvSpPr>
          <p:nvPr>
            <p:custDataLst>
              <p:tags r:id="rId6"/>
            </p:custDataLst>
          </p:nvPr>
        </p:nvSpPr>
        <p:spPr bwMode="gray">
          <a:xfrm>
            <a:off x="750889" y="4926013"/>
            <a:ext cx="238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216BBF08-D190-4A45-8AA6-2E132539E204}" type="datetime'''''''''''''''''''''''2''''''''''''''''''''0''''''''''0'''''">
              <a:rPr lang="en-US" altLang="en-US" sz="1200" smtClean="0">
                <a:effectLst/>
                <a:latin typeface="Bahnschrift" panose="020B0502040204020203" pitchFamily="34" charset="0"/>
                <a:cs typeface="+mn-cs"/>
              </a:rPr>
              <a:pPr algn="r">
                <a:spcBef>
                  <a:spcPct val="0"/>
                </a:spcBef>
                <a:spcAft>
                  <a:spcPct val="0"/>
                </a:spcAft>
              </a:pPr>
              <a:t>200</a:t>
            </a:fld>
            <a:endParaRPr lang="en-US" sz="1200" dirty="0">
              <a:latin typeface="Bahnschrift" panose="020B0502040204020203" pitchFamily="34" charset="0"/>
              <a:cs typeface="+mn-cs"/>
            </a:endParaRPr>
          </a:p>
        </p:txBody>
      </p:sp>
      <p:sp>
        <p:nvSpPr>
          <p:cNvPr id="146" name="Text Placeholder 4">
            <a:extLst>
              <a:ext uri="{FF2B5EF4-FFF2-40B4-BE49-F238E27FC236}">
                <a16:creationId xmlns:a16="http://schemas.microsoft.com/office/drawing/2014/main" id="{4C1F3293-4EFE-461D-940D-7EE66BAE31C5}"/>
              </a:ext>
            </a:extLst>
          </p:cNvPr>
          <p:cNvSpPr>
            <a:spLocks noGrp="1"/>
          </p:cNvSpPr>
          <p:nvPr>
            <p:custDataLst>
              <p:tags r:id="rId7"/>
            </p:custDataLst>
          </p:nvPr>
        </p:nvSpPr>
        <p:spPr bwMode="gray">
          <a:xfrm>
            <a:off x="750889" y="3867150"/>
            <a:ext cx="238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68F6E80F-435D-4D1C-AA03-FB62EC95D270}" type="datetime'''''''''''''6''''''0''''''''''''0'''''''''''''''''">
              <a:rPr lang="en-US" altLang="en-US" sz="1200" smtClean="0">
                <a:effectLst/>
                <a:latin typeface="Bahnschrift" panose="020B0502040204020203" pitchFamily="34" charset="0"/>
                <a:cs typeface="+mn-cs"/>
              </a:rPr>
              <a:pPr algn="r">
                <a:spcBef>
                  <a:spcPct val="0"/>
                </a:spcBef>
                <a:spcAft>
                  <a:spcPct val="0"/>
                </a:spcAft>
              </a:pPr>
              <a:t>600</a:t>
            </a:fld>
            <a:endParaRPr lang="en-US" sz="1200" dirty="0">
              <a:latin typeface="Bahnschrift" panose="020B0502040204020203" pitchFamily="34" charset="0"/>
              <a:cs typeface="+mn-cs"/>
            </a:endParaRPr>
          </a:p>
        </p:txBody>
      </p:sp>
      <p:sp>
        <p:nvSpPr>
          <p:cNvPr id="149"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gray">
          <a:xfrm>
            <a:off x="615951" y="2278063"/>
            <a:ext cx="3730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8AF553A0-D32E-485E-B3E2-AE28E59A20C0}" type="datetime'1'''''''',''2''''''''''''''''''''''''''''''0''''0'">
              <a:rPr lang="en-US" altLang="en-US" sz="1200" smtClean="0">
                <a:effectLst/>
                <a:latin typeface="Bahnschrift" panose="020B0502040204020203" pitchFamily="34" charset="0"/>
                <a:cs typeface="+mn-cs"/>
              </a:rPr>
              <a:pPr algn="r">
                <a:spcBef>
                  <a:spcPct val="0"/>
                </a:spcBef>
                <a:spcAft>
                  <a:spcPct val="0"/>
                </a:spcAft>
              </a:pPr>
              <a:t>1,200</a:t>
            </a:fld>
            <a:endParaRPr lang="en-US" sz="1200" dirty="0">
              <a:latin typeface="Bahnschrift" panose="020B0502040204020203" pitchFamily="34" charset="0"/>
              <a:cs typeface="+mn-cs"/>
            </a:endParaRPr>
          </a:p>
        </p:txBody>
      </p:sp>
      <p:sp>
        <p:nvSpPr>
          <p:cNvPr id="147" name="Text Placeholder 4">
            <a:extLst>
              <a:ext uri="{FF2B5EF4-FFF2-40B4-BE49-F238E27FC236}">
                <a16:creationId xmlns:a16="http://schemas.microsoft.com/office/drawing/2014/main" id="{4C1F3293-4EFE-461D-940D-7EE66BAE31C5}"/>
              </a:ext>
            </a:extLst>
          </p:cNvPr>
          <p:cNvSpPr>
            <a:spLocks noGrp="1"/>
          </p:cNvSpPr>
          <p:nvPr>
            <p:custDataLst>
              <p:tags r:id="rId9"/>
            </p:custDataLst>
          </p:nvPr>
        </p:nvSpPr>
        <p:spPr bwMode="gray">
          <a:xfrm>
            <a:off x="750889" y="3336925"/>
            <a:ext cx="238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AE96799D-9551-42DF-A814-83D751C39451}" type="datetime'8''''''''''''''''''''''''''''0''''''0'''">
              <a:rPr lang="en-US" altLang="en-US" sz="1200" smtClean="0">
                <a:effectLst/>
                <a:latin typeface="Bahnschrift" panose="020B0502040204020203" pitchFamily="34" charset="0"/>
                <a:cs typeface="+mn-cs"/>
              </a:rPr>
              <a:pPr algn="r">
                <a:spcBef>
                  <a:spcPct val="0"/>
                </a:spcBef>
                <a:spcAft>
                  <a:spcPct val="0"/>
                </a:spcAft>
              </a:pPr>
              <a:t>800</a:t>
            </a:fld>
            <a:endParaRPr lang="en-US" sz="1200" dirty="0">
              <a:latin typeface="Bahnschrift" panose="020B0502040204020203" pitchFamily="34" charset="0"/>
              <a:cs typeface="+mn-cs"/>
            </a:endParaRPr>
          </a:p>
        </p:txBody>
      </p:sp>
      <p:sp>
        <p:nvSpPr>
          <p:cNvPr id="114" name="Text Placeholder 4">
            <a:extLst>
              <a:ext uri="{FF2B5EF4-FFF2-40B4-BE49-F238E27FC236}">
                <a16:creationId xmlns:a16="http://schemas.microsoft.com/office/drawing/2014/main" id="{16D708C6-81F6-4188-9579-D7A1027E60DF}"/>
              </a:ext>
            </a:extLst>
          </p:cNvPr>
          <p:cNvSpPr>
            <a:spLocks noGrp="1"/>
          </p:cNvSpPr>
          <p:nvPr>
            <p:custDataLst>
              <p:tags r:id="rId10"/>
            </p:custDataLst>
          </p:nvPr>
        </p:nvSpPr>
        <p:spPr bwMode="auto">
          <a:xfrm>
            <a:off x="7580313" y="5595938"/>
            <a:ext cx="2254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E1C07589-BBD4-4F87-AB36-6DFE9E102249}" type="datetime'''''''''''''''''E''''''''T''''''I'''''''">
              <a:rPr lang="en-US" altLang="en-US" sz="1200" smtClean="0">
                <a:latin typeface="Bahnschrift" panose="020B0502040204020203" pitchFamily="34" charset="0"/>
                <a:cs typeface="+mn-cs"/>
              </a:rPr>
              <a:pPr/>
              <a:t>ETI</a:t>
            </a:fld>
            <a:endParaRPr lang="en-US" sz="1200" dirty="0">
              <a:latin typeface="Bahnschrift" panose="020B0502040204020203" pitchFamily="34" charset="0"/>
              <a:cs typeface="+mn-cs"/>
            </a:endParaRPr>
          </a:p>
        </p:txBody>
      </p:sp>
      <p:sp>
        <p:nvSpPr>
          <p:cNvPr id="80"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7485063" y="2395538"/>
            <a:ext cx="4175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A3A1CBC-804B-4DFA-936B-B8A9794F7EA0}" type="datetime'''''''''''1,''11''''''''''''''1'''''''''''">
              <a:rPr lang="en-US" altLang="en-US" sz="1200" smtClean="0">
                <a:effectLst/>
                <a:latin typeface="Bahnschrift" panose="020B0502040204020203" pitchFamily="34" charset="0"/>
                <a:cs typeface="+mn-cs"/>
              </a:rPr>
              <a:pPr algn="ctr">
                <a:spcBef>
                  <a:spcPct val="0"/>
                </a:spcBef>
                <a:spcAft>
                  <a:spcPct val="0"/>
                </a:spcAft>
              </a:pPr>
              <a:t>1,111</a:t>
            </a:fld>
            <a:endParaRPr lang="en-US" sz="1200" dirty="0">
              <a:latin typeface="Bahnschrift" panose="020B0502040204020203" pitchFamily="34" charset="0"/>
              <a:cs typeface="+mn-cs"/>
            </a:endParaRPr>
          </a:p>
        </p:txBody>
      </p:sp>
      <p:sp>
        <p:nvSpPr>
          <p:cNvPr id="102" name="Text Placeholder 4">
            <a:extLst>
              <a:ext uri="{FF2B5EF4-FFF2-40B4-BE49-F238E27FC236}">
                <a16:creationId xmlns:a16="http://schemas.microsoft.com/office/drawing/2014/main" id="{C03BD01D-C246-4FBA-976D-5C2EBA5A730B}"/>
              </a:ext>
            </a:extLst>
          </p:cNvPr>
          <p:cNvSpPr>
            <a:spLocks noGrp="1"/>
          </p:cNvSpPr>
          <p:nvPr>
            <p:custDataLst>
              <p:tags r:id="rId12"/>
            </p:custDataLst>
          </p:nvPr>
        </p:nvSpPr>
        <p:spPr bwMode="auto">
          <a:xfrm>
            <a:off x="4473575" y="5595938"/>
            <a:ext cx="2254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A58194D-D50E-44F5-87A3-365399E728C6}" type="datetime'''E''''''''''''T''''''''''''''''''''''''''''''''''''I'''''">
              <a:rPr lang="en-US" altLang="en-US" sz="1200" smtClean="0">
                <a:latin typeface="Bahnschrift" panose="020B0502040204020203" pitchFamily="34" charset="0"/>
                <a:cs typeface="+mn-cs"/>
              </a:rPr>
              <a:pPr/>
              <a:t>ETI</a:t>
            </a:fld>
            <a:endParaRPr lang="en-US" sz="1200" dirty="0">
              <a:latin typeface="Bahnschrift" panose="020B0502040204020203" pitchFamily="34" charset="0"/>
              <a:cs typeface="+mn-cs"/>
            </a:endParaRPr>
          </a:p>
        </p:txBody>
      </p:sp>
      <p:sp>
        <p:nvSpPr>
          <p:cNvPr id="105" name="Text Placeholder 4">
            <a:extLst>
              <a:ext uri="{FF2B5EF4-FFF2-40B4-BE49-F238E27FC236}">
                <a16:creationId xmlns:a16="http://schemas.microsoft.com/office/drawing/2014/main" id="{53C73C7F-CECF-4D9B-BD2A-932F51C23351}"/>
              </a:ext>
            </a:extLst>
          </p:cNvPr>
          <p:cNvSpPr>
            <a:spLocks noGrp="1"/>
          </p:cNvSpPr>
          <p:nvPr>
            <p:custDataLst>
              <p:tags r:id="rId13"/>
            </p:custDataLst>
          </p:nvPr>
        </p:nvSpPr>
        <p:spPr bwMode="auto">
          <a:xfrm>
            <a:off x="5276850" y="5595938"/>
            <a:ext cx="171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78853702-B183-4DE3-B896-7AD1573B30D1}" type="datetime'''''''''F''''''''''''''''''''''''''''''''''''''F'''''''''''''">
              <a:rPr lang="en-US" altLang="en-US" sz="1200" smtClean="0">
                <a:latin typeface="Bahnschrift" panose="020B0502040204020203" pitchFamily="34" charset="0"/>
                <a:cs typeface="+mn-cs"/>
              </a:rPr>
              <a:pPr/>
              <a:t>FF</a:t>
            </a:fld>
            <a:endParaRPr lang="en-US" sz="1200" dirty="0">
              <a:latin typeface="Bahnschrift" panose="020B0502040204020203" pitchFamily="34" charset="0"/>
              <a:cs typeface="+mn-cs"/>
            </a:endParaRPr>
          </a:p>
        </p:txBody>
      </p:sp>
      <p:sp>
        <p:nvSpPr>
          <p:cNvPr id="96" name="Text Placeholder 4">
            <a:extLst>
              <a:ext uri="{FF2B5EF4-FFF2-40B4-BE49-F238E27FC236}">
                <a16:creationId xmlns:a16="http://schemas.microsoft.com/office/drawing/2014/main" id="{46806DA6-3096-4E66-B7A1-FF1B2C8045A6}"/>
              </a:ext>
            </a:extLst>
          </p:cNvPr>
          <p:cNvSpPr>
            <a:spLocks noGrp="1"/>
          </p:cNvSpPr>
          <p:nvPr>
            <p:custDataLst>
              <p:tags r:id="rId14"/>
            </p:custDataLst>
          </p:nvPr>
        </p:nvSpPr>
        <p:spPr bwMode="auto">
          <a:xfrm>
            <a:off x="2919413" y="5595938"/>
            <a:ext cx="2254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57166D6-B40D-4920-A92E-30F07DC07C2E}" type="datetime'''''''''''''''''''''''''''E''''''''''''''''''''''TI'''''''''''">
              <a:rPr lang="en-US" altLang="en-US" sz="1200" smtClean="0">
                <a:latin typeface="Bahnschrift" panose="020B0502040204020203" pitchFamily="34" charset="0"/>
                <a:cs typeface="+mn-cs"/>
              </a:rPr>
              <a:pPr/>
              <a:t>ETI</a:t>
            </a:fld>
            <a:endParaRPr lang="en-US" sz="1200" dirty="0">
              <a:latin typeface="Bahnschrift" panose="020B0502040204020203" pitchFamily="34" charset="0"/>
              <a:cs typeface="+mn-cs"/>
            </a:endParaRPr>
          </a:p>
        </p:txBody>
      </p:sp>
      <p:sp>
        <p:nvSpPr>
          <p:cNvPr id="108" name="Text Placeholder 4">
            <a:extLst>
              <a:ext uri="{FF2B5EF4-FFF2-40B4-BE49-F238E27FC236}">
                <a16:creationId xmlns:a16="http://schemas.microsoft.com/office/drawing/2014/main" id="{BE38390A-E696-486F-A3DC-63549B2322D4}"/>
              </a:ext>
            </a:extLst>
          </p:cNvPr>
          <p:cNvSpPr>
            <a:spLocks noGrp="1"/>
          </p:cNvSpPr>
          <p:nvPr>
            <p:custDataLst>
              <p:tags r:id="rId15"/>
            </p:custDataLst>
          </p:nvPr>
        </p:nvSpPr>
        <p:spPr bwMode="auto">
          <a:xfrm>
            <a:off x="6026150" y="5595938"/>
            <a:ext cx="2254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BCB5957D-B136-4C21-95E7-C92B481D11FA}" type="datetime'''''E''''''''''''''''''T''''''''''''''I'''''''">
              <a:rPr lang="en-US" altLang="en-US" sz="1200" smtClean="0">
                <a:latin typeface="Bahnschrift" panose="020B0502040204020203" pitchFamily="34" charset="0"/>
                <a:cs typeface="+mn-cs"/>
              </a:rPr>
              <a:pPr/>
              <a:t>ETI</a:t>
            </a:fld>
            <a:endParaRPr lang="en-US" sz="1200" dirty="0">
              <a:latin typeface="Bahnschrift" panose="020B0502040204020203" pitchFamily="34" charset="0"/>
              <a:cs typeface="+mn-cs"/>
            </a:endParaRPr>
          </a:p>
        </p:txBody>
      </p:sp>
      <p:sp>
        <p:nvSpPr>
          <p:cNvPr id="18"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auto">
          <a:xfrm>
            <a:off x="1365250" y="5595938"/>
            <a:ext cx="2254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724EF894-C1F1-4141-BD51-E1EED73CE84B}" type="datetime'''''''''ET''''''''''''''''''''''''''''I'''''''''''''''">
              <a:rPr lang="en-US" altLang="en-US" sz="1200" smtClean="0">
                <a:latin typeface="Bahnschrift" panose="020B0502040204020203" pitchFamily="34" charset="0"/>
                <a:cs typeface="+mn-cs"/>
              </a:rPr>
              <a:pPr/>
              <a:t>ETI</a:t>
            </a:fld>
            <a:endParaRPr lang="en-US" sz="1200" dirty="0">
              <a:latin typeface="Bahnschrift" panose="020B0502040204020203" pitchFamily="34" charset="0"/>
              <a:cs typeface="+mn-cs"/>
            </a:endParaRPr>
          </a:p>
        </p:txBody>
      </p:sp>
      <p:sp>
        <p:nvSpPr>
          <p:cNvPr id="93" name="Text Placeholder 4">
            <a:extLst>
              <a:ext uri="{FF2B5EF4-FFF2-40B4-BE49-F238E27FC236}">
                <a16:creationId xmlns:a16="http://schemas.microsoft.com/office/drawing/2014/main" id="{9316EC73-A3C9-42E9-87DB-6B15D28408F2}"/>
              </a:ext>
            </a:extLst>
          </p:cNvPr>
          <p:cNvSpPr>
            <a:spLocks noGrp="1"/>
          </p:cNvSpPr>
          <p:nvPr>
            <p:custDataLst>
              <p:tags r:id="rId17"/>
            </p:custDataLst>
          </p:nvPr>
        </p:nvSpPr>
        <p:spPr bwMode="auto">
          <a:xfrm>
            <a:off x="2170113" y="5595938"/>
            <a:ext cx="171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B50333D-1228-4C47-8AEC-BEA25A9E494F}" type="datetime'''''''''''''F''''''''''''''''''''F'">
              <a:rPr lang="en-US" altLang="en-US" sz="1200" smtClean="0">
                <a:latin typeface="Bahnschrift" panose="020B0502040204020203" pitchFamily="34" charset="0"/>
                <a:cs typeface="+mn-cs"/>
              </a:rPr>
              <a:pPr/>
              <a:t>FF</a:t>
            </a:fld>
            <a:endParaRPr lang="en-US" sz="1200" dirty="0">
              <a:latin typeface="Bahnschrift" panose="020B0502040204020203" pitchFamily="34" charset="0"/>
              <a:cs typeface="+mn-cs"/>
            </a:endParaRPr>
          </a:p>
        </p:txBody>
      </p:sp>
      <p:sp>
        <p:nvSpPr>
          <p:cNvPr id="99" name="Text Placeholder 4">
            <a:extLst>
              <a:ext uri="{FF2B5EF4-FFF2-40B4-BE49-F238E27FC236}">
                <a16:creationId xmlns:a16="http://schemas.microsoft.com/office/drawing/2014/main" id="{8FD70518-1310-4F28-BEB0-032CB65C30E1}"/>
              </a:ext>
            </a:extLst>
          </p:cNvPr>
          <p:cNvSpPr>
            <a:spLocks noGrp="1"/>
          </p:cNvSpPr>
          <p:nvPr>
            <p:custDataLst>
              <p:tags r:id="rId18"/>
            </p:custDataLst>
          </p:nvPr>
        </p:nvSpPr>
        <p:spPr bwMode="auto">
          <a:xfrm>
            <a:off x="3722688" y="5595938"/>
            <a:ext cx="171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64B4B09-B4E7-40D3-A48F-CE4A43181C24}" type="datetime'F''''''''''''''''''''''''''''F'''''''''''''">
              <a:rPr lang="en-US" altLang="en-US" sz="1200" smtClean="0">
                <a:latin typeface="Bahnschrift" panose="020B0502040204020203" pitchFamily="34" charset="0"/>
                <a:cs typeface="+mn-cs"/>
              </a:rPr>
              <a:pPr/>
              <a:t>FF</a:t>
            </a:fld>
            <a:endParaRPr lang="en-US" sz="1200" dirty="0">
              <a:latin typeface="Bahnschrift" panose="020B0502040204020203" pitchFamily="34" charset="0"/>
              <a:cs typeface="+mn-cs"/>
            </a:endParaRPr>
          </a:p>
        </p:txBody>
      </p:sp>
      <p:sp>
        <p:nvSpPr>
          <p:cNvPr id="111" name="Text Placeholder 4">
            <a:extLst>
              <a:ext uri="{FF2B5EF4-FFF2-40B4-BE49-F238E27FC236}">
                <a16:creationId xmlns:a16="http://schemas.microsoft.com/office/drawing/2014/main" id="{7331FAF0-DD4F-44F4-AE26-5841A010675D}"/>
              </a:ext>
            </a:extLst>
          </p:cNvPr>
          <p:cNvSpPr>
            <a:spLocks noGrp="1"/>
          </p:cNvSpPr>
          <p:nvPr>
            <p:custDataLst>
              <p:tags r:id="rId19"/>
            </p:custDataLst>
          </p:nvPr>
        </p:nvSpPr>
        <p:spPr bwMode="auto">
          <a:xfrm>
            <a:off x="6829425" y="5595938"/>
            <a:ext cx="171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294D054A-B904-4154-91E8-710963BB7F17}" type="datetime'''''F''''''''F'''''''''''''''''">
              <a:rPr lang="en-US" altLang="en-US" sz="1200" smtClean="0">
                <a:latin typeface="Bahnschrift" panose="020B0502040204020203" pitchFamily="34" charset="0"/>
                <a:cs typeface="+mn-cs"/>
              </a:rPr>
              <a:pPr/>
              <a:t>FF</a:t>
            </a:fld>
            <a:endParaRPr lang="en-US" sz="1200" dirty="0">
              <a:latin typeface="Bahnschrift" panose="020B0502040204020203" pitchFamily="34" charset="0"/>
              <a:cs typeface="+mn-cs"/>
            </a:endParaRPr>
          </a:p>
        </p:txBody>
      </p:sp>
      <p:sp>
        <p:nvSpPr>
          <p:cNvPr id="117" name="Text Placeholder 4">
            <a:extLst>
              <a:ext uri="{FF2B5EF4-FFF2-40B4-BE49-F238E27FC236}">
                <a16:creationId xmlns:a16="http://schemas.microsoft.com/office/drawing/2014/main" id="{519D532C-259E-4F47-BFD8-5411663241FE}"/>
              </a:ext>
            </a:extLst>
          </p:cNvPr>
          <p:cNvSpPr>
            <a:spLocks noGrp="1"/>
          </p:cNvSpPr>
          <p:nvPr>
            <p:custDataLst>
              <p:tags r:id="rId20"/>
            </p:custDataLst>
          </p:nvPr>
        </p:nvSpPr>
        <p:spPr bwMode="auto">
          <a:xfrm>
            <a:off x="8383588" y="5595938"/>
            <a:ext cx="171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D8B0C5BC-0DEF-46C2-BAB5-B9232D4E274C}" type="datetime'''''''F''''''''''''F'''''''''''''''''''''''''''">
              <a:rPr lang="en-US" altLang="en-US" sz="1200" smtClean="0">
                <a:latin typeface="Bahnschrift" panose="020B0502040204020203" pitchFamily="34" charset="0"/>
                <a:cs typeface="+mn-cs"/>
              </a:rPr>
              <a:pPr/>
              <a:t>FF</a:t>
            </a:fld>
            <a:endParaRPr lang="en-US" sz="1200" dirty="0">
              <a:latin typeface="Bahnschrift" panose="020B0502040204020203" pitchFamily="34" charset="0"/>
              <a:cs typeface="+mn-cs"/>
            </a:endParaRPr>
          </a:p>
        </p:txBody>
      </p:sp>
      <p:sp>
        <p:nvSpPr>
          <p:cNvPr id="25" name="Text Placeholder 4">
            <a:extLst>
              <a:ext uri="{FF2B5EF4-FFF2-40B4-BE49-F238E27FC236}">
                <a16:creationId xmlns:a16="http://schemas.microsoft.com/office/drawing/2014/main" id="{4C1F3293-4EFE-461D-940D-7EE66BAE31C5}"/>
              </a:ext>
            </a:extLst>
          </p:cNvPr>
          <p:cNvSpPr>
            <a:spLocks noGrp="1"/>
          </p:cNvSpPr>
          <p:nvPr>
            <p:custDataLst>
              <p:tags r:id="rId21"/>
            </p:custDataLst>
          </p:nvPr>
        </p:nvSpPr>
        <p:spPr bwMode="gray">
          <a:xfrm>
            <a:off x="1336675" y="4064000"/>
            <a:ext cx="2825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EEEC907-7FD7-431E-A07A-F8586E865892}" type="datetime'''''''''''''''''''''''''''''''''''''48''''''''''''''''''1'''''">
              <a:rPr lang="en-US" altLang="en-US" sz="1200" smtClean="0">
                <a:latin typeface="Bahnschrift" panose="020B0502040204020203" pitchFamily="34" charset="0"/>
                <a:cs typeface="+mn-cs"/>
              </a:rPr>
              <a:pPr/>
              <a:t>481</a:t>
            </a:fld>
            <a:endParaRPr lang="en-US" sz="1200" dirty="0">
              <a:latin typeface="Bahnschrift" panose="020B0502040204020203" pitchFamily="34" charset="0"/>
              <a:cs typeface="+mn-cs"/>
            </a:endParaRPr>
          </a:p>
        </p:txBody>
      </p:sp>
      <p:sp>
        <p:nvSpPr>
          <p:cNvPr id="27" name="Text Placeholder 4">
            <a:extLst>
              <a:ext uri="{FF2B5EF4-FFF2-40B4-BE49-F238E27FC236}">
                <a16:creationId xmlns:a16="http://schemas.microsoft.com/office/drawing/2014/main" id="{4C1F3293-4EFE-461D-940D-7EE66BAE31C5}"/>
              </a:ext>
            </a:extLst>
          </p:cNvPr>
          <p:cNvSpPr>
            <a:spLocks noGrp="1"/>
          </p:cNvSpPr>
          <p:nvPr>
            <p:custDataLst>
              <p:tags r:id="rId22"/>
            </p:custDataLst>
          </p:nvPr>
        </p:nvSpPr>
        <p:spPr bwMode="gray">
          <a:xfrm>
            <a:off x="2890838" y="3956050"/>
            <a:ext cx="2825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EE1D3AE2-133A-448E-ACDD-F4BF37AFB237}" type="datetime'''''''''''''''''''''522'''''''">
              <a:rPr lang="en-US" altLang="en-US" sz="1200" smtClean="0">
                <a:latin typeface="Bahnschrift" panose="020B0502040204020203" pitchFamily="34" charset="0"/>
                <a:cs typeface="+mn-cs"/>
              </a:rPr>
              <a:pPr/>
              <a:t>522</a:t>
            </a:fld>
            <a:endParaRPr lang="en-US" sz="1200" dirty="0">
              <a:latin typeface="Bahnschrift" panose="020B0502040204020203" pitchFamily="34" charset="0"/>
              <a:cs typeface="+mn-cs"/>
            </a:endParaRPr>
          </a:p>
        </p:txBody>
      </p:sp>
      <p:sp>
        <p:nvSpPr>
          <p:cNvPr id="60" name="Text Placeholder 4">
            <a:extLst>
              <a:ext uri="{FF2B5EF4-FFF2-40B4-BE49-F238E27FC236}">
                <a16:creationId xmlns:a16="http://schemas.microsoft.com/office/drawing/2014/main" id="{4C1F3293-4EFE-461D-940D-7EE66BAE31C5}"/>
              </a:ext>
            </a:extLst>
          </p:cNvPr>
          <p:cNvSpPr>
            <a:spLocks noGrp="1"/>
          </p:cNvSpPr>
          <p:nvPr>
            <p:custDataLst>
              <p:tags r:id="rId23"/>
            </p:custDataLst>
          </p:nvPr>
        </p:nvSpPr>
        <p:spPr bwMode="gray">
          <a:xfrm>
            <a:off x="4445000" y="3679825"/>
            <a:ext cx="2825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1566B18-9E9F-4DAE-8CC4-8A3B36FBB30F}" type="datetime'6''''''''2''''''''''''''''''''''''''''''''6'">
              <a:rPr lang="en-US" altLang="en-US" sz="1200" smtClean="0">
                <a:effectLst/>
                <a:latin typeface="Bahnschrift" panose="020B0502040204020203" pitchFamily="34" charset="0"/>
                <a:cs typeface="+mn-cs"/>
              </a:rPr>
              <a:pPr algn="ctr">
                <a:spcBef>
                  <a:spcPct val="0"/>
                </a:spcBef>
                <a:spcAft>
                  <a:spcPct val="0"/>
                </a:spcAft>
              </a:pPr>
              <a:t>626</a:t>
            </a:fld>
            <a:endParaRPr lang="en-US" sz="1200" dirty="0">
              <a:latin typeface="Bahnschrift" panose="020B0502040204020203" pitchFamily="34" charset="0"/>
              <a:cs typeface="+mn-cs"/>
            </a:endParaRPr>
          </a:p>
        </p:txBody>
      </p:sp>
      <p:sp>
        <p:nvSpPr>
          <p:cNvPr id="70" name="Text Placeholder 4">
            <a:extLst>
              <a:ext uri="{FF2B5EF4-FFF2-40B4-BE49-F238E27FC236}">
                <a16:creationId xmlns:a16="http://schemas.microsoft.com/office/drawing/2014/main" id="{4C1F3293-4EFE-461D-940D-7EE66BAE31C5}"/>
              </a:ext>
            </a:extLst>
          </p:cNvPr>
          <p:cNvSpPr>
            <a:spLocks noGrp="1"/>
          </p:cNvSpPr>
          <p:nvPr>
            <p:custDataLst>
              <p:tags r:id="rId24"/>
            </p:custDataLst>
          </p:nvPr>
        </p:nvSpPr>
        <p:spPr bwMode="gray">
          <a:xfrm>
            <a:off x="5997575" y="3089275"/>
            <a:ext cx="2825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33CE168-505A-4B4B-985D-545DC5C8D1B3}" type="datetime'''''8''4''''''''''''''''''''''''''''''''''9'">
              <a:rPr lang="en-US" altLang="en-US" sz="1200" smtClean="0">
                <a:effectLst/>
                <a:latin typeface="Bahnschrift" panose="020B0502040204020203" pitchFamily="34" charset="0"/>
                <a:cs typeface="+mn-cs"/>
              </a:rPr>
              <a:pPr algn="ctr">
                <a:spcBef>
                  <a:spcPct val="0"/>
                </a:spcBef>
                <a:spcAft>
                  <a:spcPct val="0"/>
                </a:spcAft>
              </a:pPr>
              <a:t>849</a:t>
            </a:fld>
            <a:endParaRPr lang="en-US" sz="1200" dirty="0">
              <a:latin typeface="Bahnschrift" panose="020B0502040204020203" pitchFamily="34" charset="0"/>
              <a:cs typeface="+mn-cs"/>
            </a:endParaRPr>
          </a:p>
        </p:txBody>
      </p:sp>
      <p:sp>
        <p:nvSpPr>
          <p:cNvPr id="134" name="Rectangle 133">
            <a:extLst>
              <a:ext uri="{FF2B5EF4-FFF2-40B4-BE49-F238E27FC236}">
                <a16:creationId xmlns:a16="http://schemas.microsoft.com/office/drawing/2014/main" id="{5662D4AC-6F36-447E-9325-B2502188045F}"/>
              </a:ext>
            </a:extLst>
          </p:cNvPr>
          <p:cNvSpPr/>
          <p:nvPr>
            <p:custDataLst>
              <p:tags r:id="rId25"/>
            </p:custDataLst>
          </p:nvPr>
        </p:nvSpPr>
        <p:spPr bwMode="auto">
          <a:xfrm>
            <a:off x="7534275" y="2039938"/>
            <a:ext cx="138113" cy="138113"/>
          </a:xfrm>
          <a:prstGeom prst="rect">
            <a:avLst/>
          </a:prstGeom>
          <a:solidFill>
            <a:srgbClr val="0D58A6"/>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Bahnschrift" panose="020B0502040204020203" pitchFamily="34" charset="0"/>
            </a:endParaRPr>
          </a:p>
        </p:txBody>
      </p:sp>
      <p:sp>
        <p:nvSpPr>
          <p:cNvPr id="131" name="Rectangle 130">
            <a:extLst>
              <a:ext uri="{FF2B5EF4-FFF2-40B4-BE49-F238E27FC236}">
                <a16:creationId xmlns:a16="http://schemas.microsoft.com/office/drawing/2014/main" id="{D504CCBA-7F54-4DDC-BA34-9555457EEA9B}"/>
              </a:ext>
            </a:extLst>
          </p:cNvPr>
          <p:cNvSpPr/>
          <p:nvPr>
            <p:custDataLst>
              <p:tags r:id="rId26"/>
            </p:custDataLst>
          </p:nvPr>
        </p:nvSpPr>
        <p:spPr bwMode="auto">
          <a:xfrm>
            <a:off x="5106988" y="2039938"/>
            <a:ext cx="138113" cy="138113"/>
          </a:xfrm>
          <a:prstGeom prst="rect">
            <a:avLst/>
          </a:prstGeom>
          <a:solidFill>
            <a:schemeClr val="accent2"/>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Bahnschrift" panose="020B0502040204020203" pitchFamily="34" charset="0"/>
            </a:endParaRPr>
          </a:p>
        </p:txBody>
      </p:sp>
      <p:sp>
        <p:nvSpPr>
          <p:cNvPr id="133" name="Rectangle 132">
            <a:extLst>
              <a:ext uri="{FF2B5EF4-FFF2-40B4-BE49-F238E27FC236}">
                <a16:creationId xmlns:a16="http://schemas.microsoft.com/office/drawing/2014/main" id="{6E5B2660-DBF2-49D3-B6CD-570DB6E3E910}"/>
              </a:ext>
            </a:extLst>
          </p:cNvPr>
          <p:cNvSpPr/>
          <p:nvPr>
            <p:custDataLst>
              <p:tags r:id="rId27"/>
            </p:custDataLst>
          </p:nvPr>
        </p:nvSpPr>
        <p:spPr bwMode="auto">
          <a:xfrm>
            <a:off x="6200775" y="2039938"/>
            <a:ext cx="138113" cy="138113"/>
          </a:xfrm>
          <a:prstGeom prst="rect">
            <a:avLst/>
          </a:prstGeom>
          <a:solidFill>
            <a:schemeClr val="accent3"/>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Bahnschrift" panose="020B0502040204020203" pitchFamily="34" charset="0"/>
            </a:endParaRPr>
          </a:p>
        </p:txBody>
      </p:sp>
      <p:sp>
        <p:nvSpPr>
          <p:cNvPr id="22" name="Text Placeholder 4">
            <a:extLst>
              <a:ext uri="{FF2B5EF4-FFF2-40B4-BE49-F238E27FC236}">
                <a16:creationId xmlns:a16="http://schemas.microsoft.com/office/drawing/2014/main" id="{4C1F3293-4EFE-461D-940D-7EE66BAE31C5}"/>
              </a:ext>
            </a:extLst>
          </p:cNvPr>
          <p:cNvSpPr>
            <a:spLocks noGrp="1"/>
          </p:cNvSpPr>
          <p:nvPr>
            <p:custDataLst>
              <p:tags r:id="rId28"/>
            </p:custDataLst>
          </p:nvPr>
        </p:nvSpPr>
        <p:spPr bwMode="auto">
          <a:xfrm>
            <a:off x="5295900" y="2036763"/>
            <a:ext cx="8032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1000" dirty="0" err="1">
                <a:latin typeface="Bahnschrift" panose="020B0502040204020203" pitchFamily="34" charset="0"/>
                <a:cs typeface="+mn-cs"/>
              </a:rPr>
              <a:t>Energiebedarf</a:t>
            </a:r>
            <a:endParaRPr lang="en-US" sz="1000" dirty="0">
              <a:latin typeface="Bahnschrift" panose="020B0502040204020203" pitchFamily="34" charset="0"/>
              <a:cs typeface="+mn-cs"/>
            </a:endParaRPr>
          </a:p>
        </p:txBody>
      </p:sp>
      <p:sp>
        <p:nvSpPr>
          <p:cNvPr id="23" name="Text Placeholder 4">
            <a:extLst>
              <a:ext uri="{FF2B5EF4-FFF2-40B4-BE49-F238E27FC236}">
                <a16:creationId xmlns:a16="http://schemas.microsoft.com/office/drawing/2014/main" id="{4C1F3293-4EFE-461D-940D-7EE66BAE31C5}"/>
              </a:ext>
            </a:extLst>
          </p:cNvPr>
          <p:cNvSpPr>
            <a:spLocks noGrp="1"/>
          </p:cNvSpPr>
          <p:nvPr>
            <p:custDataLst>
              <p:tags r:id="rId29"/>
            </p:custDataLst>
          </p:nvPr>
        </p:nvSpPr>
        <p:spPr bwMode="auto">
          <a:xfrm>
            <a:off x="6389688" y="2036763"/>
            <a:ext cx="10429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1000" dirty="0" err="1">
                <a:latin typeface="Bahnschrift" panose="020B0502040204020203" pitchFamily="34" charset="0"/>
                <a:cs typeface="+mn-cs"/>
              </a:rPr>
              <a:t>Energieversorgung</a:t>
            </a:r>
            <a:endParaRPr lang="en-US" sz="1000" dirty="0">
              <a:latin typeface="Bahnschrift" panose="020B0502040204020203" pitchFamily="34" charset="0"/>
              <a:cs typeface="+mn-cs"/>
            </a:endParaRPr>
          </a:p>
        </p:txBody>
      </p:sp>
      <p:sp>
        <p:nvSpPr>
          <p:cNvPr id="42" name="Text Placeholder 4">
            <a:extLst>
              <a:ext uri="{FF2B5EF4-FFF2-40B4-BE49-F238E27FC236}">
                <a16:creationId xmlns:a16="http://schemas.microsoft.com/office/drawing/2014/main" id="{090D9A5A-4913-40BE-9180-B66EA035983E}"/>
              </a:ext>
            </a:extLst>
          </p:cNvPr>
          <p:cNvSpPr>
            <a:spLocks noGrp="1"/>
          </p:cNvSpPr>
          <p:nvPr>
            <p:custDataLst>
              <p:tags r:id="rId30"/>
            </p:custDataLst>
          </p:nvPr>
        </p:nvSpPr>
        <p:spPr bwMode="auto">
          <a:xfrm>
            <a:off x="7723188" y="2036763"/>
            <a:ext cx="10842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1000" dirty="0" err="1">
                <a:latin typeface="Bahnschrift" panose="020B0502040204020203" pitchFamily="34" charset="0"/>
                <a:cs typeface="+mn-cs"/>
              </a:rPr>
              <a:t>Fossile</a:t>
            </a:r>
            <a:r>
              <a:rPr lang="en-US" altLang="en-US" sz="1000" dirty="0">
                <a:latin typeface="Bahnschrift" panose="020B0502040204020203" pitchFamily="34" charset="0"/>
                <a:cs typeface="+mn-cs"/>
              </a:rPr>
              <a:t> </a:t>
            </a:r>
            <a:r>
              <a:rPr lang="en-US" altLang="en-US" sz="1000" dirty="0" err="1">
                <a:latin typeface="Bahnschrift" panose="020B0502040204020203" pitchFamily="34" charset="0"/>
                <a:cs typeface="+mn-cs"/>
              </a:rPr>
              <a:t>Brennstoffe</a:t>
            </a:r>
            <a:endParaRPr lang="en-US" sz="1000" dirty="0">
              <a:latin typeface="Bahnschrift" panose="020B0502040204020203" pitchFamily="34" charset="0"/>
              <a:cs typeface="+mn-cs"/>
            </a:endParaRPr>
          </a:p>
        </p:txBody>
      </p:sp>
      <p:cxnSp>
        <p:nvCxnSpPr>
          <p:cNvPr id="173" name="Straight Connector 172">
            <a:extLst>
              <a:ext uri="{FF2B5EF4-FFF2-40B4-BE49-F238E27FC236}">
                <a16:creationId xmlns:a16="http://schemas.microsoft.com/office/drawing/2014/main" id="{8014B8FB-A4B9-4C89-BCED-C4A619E5D137}"/>
              </a:ext>
            </a:extLst>
          </p:cNvPr>
          <p:cNvCxnSpPr>
            <a:cxnSpLocks/>
          </p:cNvCxnSpPr>
          <p:nvPr/>
        </p:nvCxnSpPr>
        <p:spPr>
          <a:xfrm>
            <a:off x="1184275" y="5887357"/>
            <a:ext cx="1379057"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5" name="TextBox 174">
            <a:extLst>
              <a:ext uri="{FF2B5EF4-FFF2-40B4-BE49-F238E27FC236}">
                <a16:creationId xmlns:a16="http://schemas.microsoft.com/office/drawing/2014/main" id="{1D7CA996-225E-4AD3-8EE1-34AB652AD906}"/>
              </a:ext>
            </a:extLst>
          </p:cNvPr>
          <p:cNvSpPr txBox="1"/>
          <p:nvPr/>
        </p:nvSpPr>
        <p:spPr>
          <a:xfrm>
            <a:off x="1722319" y="6003025"/>
            <a:ext cx="302968" cy="184666"/>
          </a:xfrm>
          <a:prstGeom prst="rect">
            <a:avLst/>
          </a:prstGeom>
        </p:spPr>
        <p:txBody>
          <a:bodyPr vert="horz" wrap="none" lIns="0" tIns="0" rIns="0" bIns="0" rtlCol="0">
            <a:sp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182880" lvl="1" indent="-182880" defTabSz="91440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dirty="0">
                <a:latin typeface="+mn-lt"/>
              </a:defRPr>
            </a:lvl2pPr>
            <a:lvl3pPr marL="365760" lvl="2" indent="-182880" defTabSz="91440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dirty="0">
                <a:latin typeface="+mn-lt"/>
              </a:defRPr>
            </a:lvl3pPr>
            <a:lvl4pPr marL="548640" lvl="3" indent="-182880" defTabSz="91440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dirty="0">
                <a:latin typeface="+mn-lt"/>
              </a:defRPr>
            </a:lvl4pPr>
            <a:lvl5pPr marL="731520" lvl="4" indent="-182880" defTabSz="91440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algn="ctr"/>
            <a:r>
              <a:rPr lang="en-US" sz="1200" b="1" dirty="0">
                <a:latin typeface="Bahnschrift" panose="020B0502040204020203" pitchFamily="34" charset="0"/>
              </a:rPr>
              <a:t>2018</a:t>
            </a:r>
          </a:p>
        </p:txBody>
      </p:sp>
      <p:sp>
        <p:nvSpPr>
          <p:cNvPr id="195" name="TextBox 194">
            <a:extLst>
              <a:ext uri="{FF2B5EF4-FFF2-40B4-BE49-F238E27FC236}">
                <a16:creationId xmlns:a16="http://schemas.microsoft.com/office/drawing/2014/main" id="{190F5C51-E33E-4C9A-ACA7-EF82F668423B}"/>
              </a:ext>
            </a:extLst>
          </p:cNvPr>
          <p:cNvSpPr txBox="1"/>
          <p:nvPr/>
        </p:nvSpPr>
        <p:spPr>
          <a:xfrm>
            <a:off x="9514525" y="2061369"/>
            <a:ext cx="2182175" cy="2846933"/>
          </a:xfrm>
          <a:prstGeom prst="rect">
            <a:avLst/>
          </a:prstGeom>
        </p:spPr>
        <p:txBody>
          <a:bodyPr vert="horz" wrap="square" lIns="0" tIns="0" rIns="0" bIns="0" rtlCol="0">
            <a:sp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182880" lvl="1" indent="-182880" defTabSz="91440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dirty="0">
                <a:latin typeface="+mn-lt"/>
              </a:defRPr>
            </a:lvl2pPr>
            <a:lvl3pPr marL="365760" lvl="2" indent="-182880" defTabSz="91440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dirty="0">
                <a:latin typeface="+mn-lt"/>
              </a:defRPr>
            </a:lvl3pPr>
            <a:lvl4pPr marL="548640" lvl="3" indent="-182880" defTabSz="91440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dirty="0">
                <a:latin typeface="+mn-lt"/>
              </a:defRPr>
            </a:lvl4pPr>
            <a:lvl5pPr marL="731520" lvl="4" indent="-182880" defTabSz="91440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lvl="1"/>
            <a:r>
              <a:rPr lang="en-US" sz="1200" dirty="0" err="1">
                <a:latin typeface="Bahnschrift" panose="020B0502040204020203" pitchFamily="34" charset="0"/>
              </a:rPr>
              <a:t>Investitionen</a:t>
            </a:r>
            <a:r>
              <a:rPr lang="en-US" sz="1200" dirty="0">
                <a:latin typeface="Bahnschrift" panose="020B0502040204020203" pitchFamily="34" charset="0"/>
              </a:rPr>
              <a:t> in die </a:t>
            </a:r>
            <a:r>
              <a:rPr lang="en-US" sz="1200" dirty="0" err="1">
                <a:latin typeface="Bahnschrift" panose="020B0502040204020203" pitchFamily="34" charset="0"/>
              </a:rPr>
              <a:t>Energiewende</a:t>
            </a:r>
            <a:r>
              <a:rPr lang="en-US" sz="1200" dirty="0">
                <a:latin typeface="Bahnschrift" panose="020B0502040204020203" pitchFamily="34" charset="0"/>
              </a:rPr>
              <a:t> </a:t>
            </a:r>
            <a:r>
              <a:rPr lang="en-US" sz="1200" dirty="0" err="1">
                <a:latin typeface="Bahnschrift" panose="020B0502040204020203" pitchFamily="34" charset="0"/>
              </a:rPr>
              <a:t>haben</a:t>
            </a:r>
            <a:r>
              <a:rPr lang="en-US" sz="1200" dirty="0">
                <a:latin typeface="Bahnschrift" panose="020B0502040204020203" pitchFamily="34" charset="0"/>
              </a:rPr>
              <a:t> </a:t>
            </a:r>
            <a:r>
              <a:rPr lang="en-US" sz="1200" dirty="0" err="1">
                <a:latin typeface="Bahnschrift" panose="020B0502040204020203" pitchFamily="34" charset="0"/>
              </a:rPr>
              <a:t>im</a:t>
            </a:r>
            <a:r>
              <a:rPr lang="en-US" sz="1200" dirty="0">
                <a:latin typeface="Bahnschrift" panose="020B0502040204020203" pitchFamily="34" charset="0"/>
              </a:rPr>
              <a:t> </a:t>
            </a:r>
            <a:r>
              <a:rPr lang="en-US" sz="1200" dirty="0" err="1">
                <a:latin typeface="Bahnschrift" panose="020B0502040204020203" pitchFamily="34" charset="0"/>
              </a:rPr>
              <a:t>Jahr</a:t>
            </a:r>
            <a:r>
              <a:rPr lang="en-US" sz="1200" dirty="0">
                <a:latin typeface="Bahnschrift" panose="020B0502040204020203" pitchFamily="34" charset="0"/>
              </a:rPr>
              <a:t> 2022 </a:t>
            </a:r>
            <a:r>
              <a:rPr lang="en-US" sz="1200" b="1" dirty="0" err="1">
                <a:latin typeface="Bahnschrift" panose="020B0502040204020203" pitchFamily="34" charset="0"/>
              </a:rPr>
              <a:t>erstmals</a:t>
            </a:r>
            <a:r>
              <a:rPr lang="en-US" sz="1200" b="1" dirty="0">
                <a:latin typeface="Bahnschrift" panose="020B0502040204020203" pitchFamily="34" charset="0"/>
              </a:rPr>
              <a:t> </a:t>
            </a:r>
            <a:r>
              <a:rPr lang="en-US" sz="1200" b="1" dirty="0" err="1">
                <a:latin typeface="Bahnschrift" panose="020B0502040204020203" pitchFamily="34" charset="0"/>
              </a:rPr>
              <a:t>mit</a:t>
            </a:r>
            <a:r>
              <a:rPr lang="en-US" sz="1200" b="1" dirty="0">
                <a:latin typeface="Bahnschrift" panose="020B0502040204020203" pitchFamily="34" charset="0"/>
              </a:rPr>
              <a:t> den </a:t>
            </a:r>
            <a:r>
              <a:rPr lang="en-US" sz="1200" b="1" dirty="0" err="1">
                <a:latin typeface="Bahnschrift" panose="020B0502040204020203" pitchFamily="34" charset="0"/>
              </a:rPr>
              <a:t>Investitionen</a:t>
            </a:r>
            <a:r>
              <a:rPr lang="en-US" sz="1200" b="1" dirty="0">
                <a:latin typeface="Bahnschrift" panose="020B0502040204020203" pitchFamily="34" charset="0"/>
              </a:rPr>
              <a:t> in </a:t>
            </a:r>
            <a:r>
              <a:rPr lang="en-US" sz="1200" b="1" dirty="0" err="1">
                <a:latin typeface="Bahnschrift" panose="020B0502040204020203" pitchFamily="34" charset="0"/>
              </a:rPr>
              <a:t>fossile</a:t>
            </a:r>
            <a:r>
              <a:rPr lang="en-US" sz="1200" b="1" dirty="0">
                <a:latin typeface="Bahnschrift" panose="020B0502040204020203" pitchFamily="34" charset="0"/>
              </a:rPr>
              <a:t> </a:t>
            </a:r>
            <a:r>
              <a:rPr lang="en-US" sz="1200" b="1" dirty="0" err="1">
                <a:latin typeface="Bahnschrift" panose="020B0502040204020203" pitchFamily="34" charset="0"/>
              </a:rPr>
              <a:t>Brennstoffe</a:t>
            </a:r>
            <a:r>
              <a:rPr lang="en-US" sz="1200" b="1" dirty="0">
                <a:latin typeface="Bahnschrift" panose="020B0502040204020203" pitchFamily="34" charset="0"/>
              </a:rPr>
              <a:t> </a:t>
            </a:r>
            <a:r>
              <a:rPr lang="en-US" sz="1200" b="1" dirty="0" err="1">
                <a:latin typeface="Bahnschrift" panose="020B0502040204020203" pitchFamily="34" charset="0"/>
              </a:rPr>
              <a:t>gleichgezogen</a:t>
            </a:r>
            <a:br>
              <a:rPr lang="en-US" sz="1200" dirty="0">
                <a:latin typeface="Bahnschrift" panose="020B0502040204020203" pitchFamily="34" charset="0"/>
              </a:rPr>
            </a:br>
            <a:endParaRPr lang="en-US" sz="1200" dirty="0">
              <a:latin typeface="Bahnschrift" panose="020B0502040204020203" pitchFamily="34" charset="0"/>
            </a:endParaRPr>
          </a:p>
          <a:p>
            <a:pPr lvl="1"/>
            <a:r>
              <a:rPr lang="en-US" sz="1200" dirty="0" err="1">
                <a:latin typeface="Bahnschrift" panose="020B0502040204020203" pitchFamily="34" charset="0"/>
              </a:rPr>
              <a:t>Wachstum</a:t>
            </a:r>
            <a:r>
              <a:rPr lang="en-US" sz="1200" dirty="0">
                <a:latin typeface="Bahnschrift" panose="020B0502040204020203" pitchFamily="34" charset="0"/>
              </a:rPr>
              <a:t> der </a:t>
            </a:r>
            <a:r>
              <a:rPr lang="en-US" sz="1200" dirty="0" err="1">
                <a:latin typeface="Bahnschrift" panose="020B0502040204020203" pitchFamily="34" charset="0"/>
              </a:rPr>
              <a:t>Investitionen</a:t>
            </a:r>
            <a:r>
              <a:rPr lang="en-US" sz="1200" dirty="0">
                <a:latin typeface="Bahnschrift" panose="020B0502040204020203" pitchFamily="34" charset="0"/>
              </a:rPr>
              <a:t> in </a:t>
            </a:r>
            <a:r>
              <a:rPr lang="en-US" sz="1200" dirty="0" err="1">
                <a:latin typeface="Bahnschrift" panose="020B0502040204020203" pitchFamily="34" charset="0"/>
              </a:rPr>
              <a:t>fossile</a:t>
            </a:r>
            <a:r>
              <a:rPr lang="en-US" sz="1200" dirty="0">
                <a:latin typeface="Bahnschrift" panose="020B0502040204020203" pitchFamily="34" charset="0"/>
              </a:rPr>
              <a:t> </a:t>
            </a:r>
            <a:r>
              <a:rPr lang="en-US" sz="1200" dirty="0" err="1">
                <a:latin typeface="Bahnschrift" panose="020B0502040204020203" pitchFamily="34" charset="0"/>
              </a:rPr>
              <a:t>Brennstoffe</a:t>
            </a:r>
            <a:r>
              <a:rPr lang="en-US" sz="1200" dirty="0">
                <a:latin typeface="Bahnschrift" panose="020B0502040204020203" pitchFamily="34" charset="0"/>
              </a:rPr>
              <a:t> </a:t>
            </a:r>
            <a:r>
              <a:rPr lang="en-US" sz="1200" dirty="0" err="1">
                <a:latin typeface="Bahnschrift" panose="020B0502040204020203" pitchFamily="34" charset="0"/>
              </a:rPr>
              <a:t>erfolgte</a:t>
            </a:r>
            <a:r>
              <a:rPr lang="en-US" sz="1200" dirty="0">
                <a:latin typeface="Bahnschrift" panose="020B0502040204020203" pitchFamily="34" charset="0"/>
              </a:rPr>
              <a:t> </a:t>
            </a:r>
            <a:r>
              <a:rPr lang="en-US" sz="1200" dirty="0" err="1">
                <a:latin typeface="Bahnschrift" panose="020B0502040204020203" pitchFamily="34" charset="0"/>
              </a:rPr>
              <a:t>vor</a:t>
            </a:r>
            <a:r>
              <a:rPr lang="en-US" sz="1200" dirty="0">
                <a:latin typeface="Bahnschrift" panose="020B0502040204020203" pitchFamily="34" charset="0"/>
              </a:rPr>
              <a:t> dem </a:t>
            </a:r>
            <a:r>
              <a:rPr lang="en-US" sz="1200" b="1" dirty="0" err="1">
                <a:latin typeface="Bahnschrift" panose="020B0502040204020203" pitchFamily="34" charset="0"/>
              </a:rPr>
              <a:t>Hintergrund</a:t>
            </a:r>
            <a:r>
              <a:rPr lang="en-US" sz="1200" b="1" dirty="0">
                <a:latin typeface="Bahnschrift" panose="020B0502040204020203" pitchFamily="34" charset="0"/>
              </a:rPr>
              <a:t> </a:t>
            </a:r>
            <a:r>
              <a:rPr lang="en-US" sz="1200" b="1" dirty="0" err="1">
                <a:latin typeface="Bahnschrift" panose="020B0502040204020203" pitchFamily="34" charset="0"/>
              </a:rPr>
              <a:t>hoher</a:t>
            </a:r>
            <a:r>
              <a:rPr lang="en-US" sz="1200" b="1" dirty="0">
                <a:latin typeface="Bahnschrift" panose="020B0502040204020203" pitchFamily="34" charset="0"/>
              </a:rPr>
              <a:t> </a:t>
            </a:r>
            <a:r>
              <a:rPr lang="en-US" sz="1200" b="1" dirty="0" err="1">
                <a:latin typeface="Bahnschrift" panose="020B0502040204020203" pitchFamily="34" charset="0"/>
              </a:rPr>
              <a:t>Rohstoffpreise</a:t>
            </a:r>
            <a:br>
              <a:rPr lang="en-US" sz="1200" dirty="0">
                <a:latin typeface="Bahnschrift" panose="020B0502040204020203" pitchFamily="34" charset="0"/>
              </a:rPr>
            </a:br>
            <a:endParaRPr lang="en-US" sz="1200" dirty="0">
              <a:latin typeface="Bahnschrift" panose="020B0502040204020203" pitchFamily="34" charset="0"/>
            </a:endParaRPr>
          </a:p>
          <a:p>
            <a:pPr lvl="1"/>
            <a:r>
              <a:rPr lang="en-US" sz="1200" dirty="0" err="1">
                <a:latin typeface="Bahnschrift" panose="020B0502040204020203" pitchFamily="34" charset="0"/>
              </a:rPr>
              <a:t>Verlagerung</a:t>
            </a:r>
            <a:r>
              <a:rPr lang="en-US" sz="1200" dirty="0">
                <a:latin typeface="Bahnschrift" panose="020B0502040204020203" pitchFamily="34" charset="0"/>
              </a:rPr>
              <a:t> der </a:t>
            </a:r>
            <a:r>
              <a:rPr lang="en-US" sz="1200" dirty="0" err="1">
                <a:latin typeface="Bahnschrift" panose="020B0502040204020203" pitchFamily="34" charset="0"/>
              </a:rPr>
              <a:t>Investitionen</a:t>
            </a:r>
            <a:r>
              <a:rPr lang="en-US" sz="1200" dirty="0">
                <a:latin typeface="Bahnschrift" panose="020B0502040204020203" pitchFamily="34" charset="0"/>
              </a:rPr>
              <a:t> </a:t>
            </a:r>
            <a:r>
              <a:rPr lang="en-US" sz="1200" dirty="0" err="1">
                <a:latin typeface="Bahnschrift" panose="020B0502040204020203" pitchFamily="34" charset="0"/>
              </a:rPr>
              <a:t>hin</a:t>
            </a:r>
            <a:r>
              <a:rPr lang="en-US" sz="1200" dirty="0">
                <a:latin typeface="Bahnschrift" panose="020B0502040204020203" pitchFamily="34" charset="0"/>
              </a:rPr>
              <a:t> </a:t>
            </a:r>
            <a:r>
              <a:rPr lang="en-US" sz="1200" dirty="0" err="1">
                <a:latin typeface="Bahnschrift" panose="020B0502040204020203" pitchFamily="34" charset="0"/>
              </a:rPr>
              <a:t>zu</a:t>
            </a:r>
            <a:r>
              <a:rPr lang="en-US" sz="1200" dirty="0">
                <a:latin typeface="Bahnschrift" panose="020B0502040204020203" pitchFamily="34" charset="0"/>
              </a:rPr>
              <a:t> </a:t>
            </a:r>
            <a:r>
              <a:rPr lang="en-US" sz="1200" dirty="0" err="1">
                <a:latin typeface="Bahnschrift" panose="020B0502040204020203" pitchFamily="34" charset="0"/>
              </a:rPr>
              <a:t>nachhaltiger</a:t>
            </a:r>
            <a:r>
              <a:rPr lang="en-US" sz="1200" dirty="0">
                <a:latin typeface="Bahnschrift" panose="020B0502040204020203" pitchFamily="34" charset="0"/>
              </a:rPr>
              <a:t> </a:t>
            </a:r>
            <a:r>
              <a:rPr lang="en-US" sz="1200" dirty="0" err="1">
                <a:latin typeface="Bahnschrift" panose="020B0502040204020203" pitchFamily="34" charset="0"/>
              </a:rPr>
              <a:t>Energie</a:t>
            </a:r>
            <a:r>
              <a:rPr lang="en-US" sz="1200" dirty="0">
                <a:latin typeface="Bahnschrift" panose="020B0502040204020203" pitchFamily="34" charset="0"/>
              </a:rPr>
              <a:t> </a:t>
            </a:r>
            <a:r>
              <a:rPr lang="en-US" sz="1200" dirty="0" err="1">
                <a:latin typeface="Bahnschrift" panose="020B0502040204020203" pitchFamily="34" charset="0"/>
              </a:rPr>
              <a:t>ist</a:t>
            </a:r>
            <a:r>
              <a:rPr lang="en-US" sz="1200" dirty="0">
                <a:latin typeface="Bahnschrift" panose="020B0502040204020203" pitchFamily="34" charset="0"/>
              </a:rPr>
              <a:t> </a:t>
            </a:r>
            <a:r>
              <a:rPr lang="en-US" sz="1200" dirty="0" err="1">
                <a:latin typeface="Bahnschrift" panose="020B0502040204020203" pitchFamily="34" charset="0"/>
              </a:rPr>
              <a:t>ein</a:t>
            </a:r>
            <a:r>
              <a:rPr lang="en-US" sz="1200" dirty="0">
                <a:latin typeface="Bahnschrift" panose="020B0502040204020203" pitchFamily="34" charset="0"/>
              </a:rPr>
              <a:t> </a:t>
            </a:r>
            <a:r>
              <a:rPr lang="en-US" sz="1200" b="1" dirty="0" err="1">
                <a:latin typeface="Bahnschrift" panose="020B0502040204020203" pitchFamily="34" charset="0"/>
              </a:rPr>
              <a:t>historischer</a:t>
            </a:r>
            <a:r>
              <a:rPr lang="en-US" sz="1200" b="1" dirty="0">
                <a:latin typeface="Bahnschrift" panose="020B0502040204020203" pitchFamily="34" charset="0"/>
              </a:rPr>
              <a:t> </a:t>
            </a:r>
            <a:r>
              <a:rPr lang="en-US" sz="1200" b="1" dirty="0" err="1">
                <a:latin typeface="Bahnschrift" panose="020B0502040204020203" pitchFamily="34" charset="0"/>
              </a:rPr>
              <a:t>Wandel</a:t>
            </a:r>
            <a:endParaRPr lang="en-US" sz="1200" b="1" dirty="0">
              <a:latin typeface="Bahnschrift" panose="020B0502040204020203" pitchFamily="34" charset="0"/>
            </a:endParaRPr>
          </a:p>
        </p:txBody>
      </p:sp>
      <p:sp>
        <p:nvSpPr>
          <p:cNvPr id="47" name="TextBox 46">
            <a:extLst>
              <a:ext uri="{FF2B5EF4-FFF2-40B4-BE49-F238E27FC236}">
                <a16:creationId xmlns:a16="http://schemas.microsoft.com/office/drawing/2014/main" id="{EA7C4AA3-E93A-47FD-B95B-22896AA9D4D3}"/>
              </a:ext>
            </a:extLst>
          </p:cNvPr>
          <p:cNvSpPr txBox="1">
            <a:spLocks/>
          </p:cNvSpPr>
          <p:nvPr/>
        </p:nvSpPr>
        <p:spPr>
          <a:xfrm>
            <a:off x="9456420" y="1490458"/>
            <a:ext cx="2392679"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1" i="0" u="none" strike="noStrike" kern="1200" cap="none" spc="0" normalizeH="0" baseline="0" noProof="0" dirty="0">
                <a:ln>
                  <a:noFill/>
                </a:ln>
                <a:solidFill>
                  <a:srgbClr val="000000"/>
                </a:solidFill>
                <a:effectLst/>
                <a:uLnTx/>
                <a:uFillTx/>
                <a:latin typeface="Bahnschrift" panose="020B0502040204020203" pitchFamily="34" charset="0"/>
              </a:rPr>
              <a:t>Synthese</a:t>
            </a:r>
          </a:p>
        </p:txBody>
      </p:sp>
      <p:cxnSp>
        <p:nvCxnSpPr>
          <p:cNvPr id="50" name="Straight Connector 49">
            <a:extLst>
              <a:ext uri="{FF2B5EF4-FFF2-40B4-BE49-F238E27FC236}">
                <a16:creationId xmlns:a16="http://schemas.microsoft.com/office/drawing/2014/main" id="{24A51145-8CEA-4491-8C46-C99101AC4EF8}"/>
              </a:ext>
            </a:extLst>
          </p:cNvPr>
          <p:cNvCxnSpPr>
            <a:cxnSpLocks/>
          </p:cNvCxnSpPr>
          <p:nvPr/>
        </p:nvCxnSpPr>
        <p:spPr>
          <a:xfrm>
            <a:off x="9186704" y="1479770"/>
            <a:ext cx="0" cy="4600990"/>
          </a:xfrm>
          <a:prstGeom prst="line">
            <a:avLst/>
          </a:prstGeom>
          <a:ln w="19050">
            <a:solidFill>
              <a:srgbClr val="004FA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DFFB5024-7A9A-4E8B-A411-5B852A197319}"/>
              </a:ext>
            </a:extLst>
          </p:cNvPr>
          <p:cNvCxnSpPr>
            <a:cxnSpLocks/>
          </p:cNvCxnSpPr>
          <p:nvPr/>
        </p:nvCxnSpPr>
        <p:spPr>
          <a:xfrm>
            <a:off x="920495" y="1809448"/>
            <a:ext cx="7938389" cy="0"/>
          </a:xfrm>
          <a:prstGeom prst="line">
            <a:avLst/>
          </a:prstGeom>
          <a:ln w="12700">
            <a:solidFill>
              <a:srgbClr val="004FA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9DB21745-64B1-460F-896C-103012361C5F}"/>
              </a:ext>
            </a:extLst>
          </p:cNvPr>
          <p:cNvCxnSpPr>
            <a:cxnSpLocks/>
          </p:cNvCxnSpPr>
          <p:nvPr/>
        </p:nvCxnSpPr>
        <p:spPr>
          <a:xfrm>
            <a:off x="9456420" y="1809448"/>
            <a:ext cx="2392678" cy="0"/>
          </a:xfrm>
          <a:prstGeom prst="line">
            <a:avLst/>
          </a:prstGeom>
          <a:ln w="12700">
            <a:solidFill>
              <a:srgbClr val="004FA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9F10C941-5E87-407B-B45B-E0ECCED2A349}"/>
              </a:ext>
            </a:extLst>
          </p:cNvPr>
          <p:cNvCxnSpPr>
            <a:cxnSpLocks/>
          </p:cNvCxnSpPr>
          <p:nvPr/>
        </p:nvCxnSpPr>
        <p:spPr>
          <a:xfrm>
            <a:off x="2744777" y="5887357"/>
            <a:ext cx="1379057"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727AECFA-9358-44C7-8CC4-5FE3AB1B87CC}"/>
              </a:ext>
            </a:extLst>
          </p:cNvPr>
          <p:cNvSpPr txBox="1"/>
          <p:nvPr/>
        </p:nvSpPr>
        <p:spPr>
          <a:xfrm>
            <a:off x="3286828" y="6003025"/>
            <a:ext cx="294953" cy="184666"/>
          </a:xfrm>
          <a:prstGeom prst="rect">
            <a:avLst/>
          </a:prstGeom>
        </p:spPr>
        <p:txBody>
          <a:bodyPr vert="horz" wrap="none" lIns="0" tIns="0" rIns="0" bIns="0" rtlCol="0">
            <a:sp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182880" lvl="1" indent="-182880" defTabSz="91440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dirty="0">
                <a:latin typeface="+mn-lt"/>
              </a:defRPr>
            </a:lvl2pPr>
            <a:lvl3pPr marL="365760" lvl="2" indent="-182880" defTabSz="91440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dirty="0">
                <a:latin typeface="+mn-lt"/>
              </a:defRPr>
            </a:lvl3pPr>
            <a:lvl4pPr marL="548640" lvl="3" indent="-182880" defTabSz="91440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dirty="0">
                <a:latin typeface="+mn-lt"/>
              </a:defRPr>
            </a:lvl4pPr>
            <a:lvl5pPr marL="731520" lvl="4" indent="-182880" defTabSz="91440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algn="ctr"/>
            <a:r>
              <a:rPr lang="en-US" sz="1200" b="1" dirty="0">
                <a:latin typeface="Bahnschrift" panose="020B0502040204020203" pitchFamily="34" charset="0"/>
              </a:rPr>
              <a:t>2019</a:t>
            </a:r>
          </a:p>
        </p:txBody>
      </p:sp>
      <p:cxnSp>
        <p:nvCxnSpPr>
          <p:cNvPr id="63" name="Straight Connector 62">
            <a:extLst>
              <a:ext uri="{FF2B5EF4-FFF2-40B4-BE49-F238E27FC236}">
                <a16:creationId xmlns:a16="http://schemas.microsoft.com/office/drawing/2014/main" id="{5C4EDDE2-7E51-45F0-AC4F-338E689D5215}"/>
              </a:ext>
            </a:extLst>
          </p:cNvPr>
          <p:cNvCxnSpPr>
            <a:cxnSpLocks/>
          </p:cNvCxnSpPr>
          <p:nvPr/>
        </p:nvCxnSpPr>
        <p:spPr>
          <a:xfrm>
            <a:off x="4330296" y="5887357"/>
            <a:ext cx="1379057"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B012DCAF-F723-4D92-93F9-4EAA30C92C37}"/>
              </a:ext>
            </a:extLst>
          </p:cNvPr>
          <p:cNvSpPr txBox="1"/>
          <p:nvPr/>
        </p:nvSpPr>
        <p:spPr>
          <a:xfrm>
            <a:off x="4854714" y="6003025"/>
            <a:ext cx="330219" cy="184666"/>
          </a:xfrm>
          <a:prstGeom prst="rect">
            <a:avLst/>
          </a:prstGeom>
        </p:spPr>
        <p:txBody>
          <a:bodyPr vert="horz" wrap="none" lIns="0" tIns="0" rIns="0" bIns="0" rtlCol="0">
            <a:sp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182880" lvl="1" indent="-182880" defTabSz="91440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dirty="0">
                <a:latin typeface="+mn-lt"/>
              </a:defRPr>
            </a:lvl2pPr>
            <a:lvl3pPr marL="365760" lvl="2" indent="-182880" defTabSz="91440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dirty="0">
                <a:latin typeface="+mn-lt"/>
              </a:defRPr>
            </a:lvl3pPr>
            <a:lvl4pPr marL="548640" lvl="3" indent="-182880" defTabSz="91440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dirty="0">
                <a:latin typeface="+mn-lt"/>
              </a:defRPr>
            </a:lvl4pPr>
            <a:lvl5pPr marL="731520" lvl="4" indent="-182880" defTabSz="91440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algn="ctr"/>
            <a:r>
              <a:rPr lang="en-US" sz="1200" b="1" dirty="0">
                <a:latin typeface="Bahnschrift" panose="020B0502040204020203" pitchFamily="34" charset="0"/>
              </a:rPr>
              <a:t>2020</a:t>
            </a:r>
          </a:p>
        </p:txBody>
      </p:sp>
      <p:cxnSp>
        <p:nvCxnSpPr>
          <p:cNvPr id="65" name="Straight Connector 64">
            <a:extLst>
              <a:ext uri="{FF2B5EF4-FFF2-40B4-BE49-F238E27FC236}">
                <a16:creationId xmlns:a16="http://schemas.microsoft.com/office/drawing/2014/main" id="{6E87EC2C-A49F-4FA4-A9EC-D074FDF81388}"/>
              </a:ext>
            </a:extLst>
          </p:cNvPr>
          <p:cNvCxnSpPr>
            <a:cxnSpLocks/>
          </p:cNvCxnSpPr>
          <p:nvPr/>
        </p:nvCxnSpPr>
        <p:spPr>
          <a:xfrm>
            <a:off x="5893825" y="5887357"/>
            <a:ext cx="1379057"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970B23E2-6714-4706-9F9E-DF8977F72EEB}"/>
              </a:ext>
            </a:extLst>
          </p:cNvPr>
          <p:cNvSpPr txBox="1"/>
          <p:nvPr/>
        </p:nvSpPr>
        <p:spPr>
          <a:xfrm>
            <a:off x="6435075" y="6003025"/>
            <a:ext cx="296556" cy="184666"/>
          </a:xfrm>
          <a:prstGeom prst="rect">
            <a:avLst/>
          </a:prstGeom>
        </p:spPr>
        <p:txBody>
          <a:bodyPr vert="horz" wrap="none" lIns="0" tIns="0" rIns="0" bIns="0" rtlCol="0">
            <a:sp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182880" lvl="1" indent="-182880" defTabSz="91440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dirty="0">
                <a:latin typeface="+mn-lt"/>
              </a:defRPr>
            </a:lvl2pPr>
            <a:lvl3pPr marL="365760" lvl="2" indent="-182880" defTabSz="91440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dirty="0">
                <a:latin typeface="+mn-lt"/>
              </a:defRPr>
            </a:lvl3pPr>
            <a:lvl4pPr marL="548640" lvl="3" indent="-182880" defTabSz="91440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dirty="0">
                <a:latin typeface="+mn-lt"/>
              </a:defRPr>
            </a:lvl4pPr>
            <a:lvl5pPr marL="731520" lvl="4" indent="-182880" defTabSz="91440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algn="ctr"/>
            <a:r>
              <a:rPr lang="en-US" sz="1200" b="1" dirty="0">
                <a:latin typeface="Bahnschrift" panose="020B0502040204020203" pitchFamily="34" charset="0"/>
              </a:rPr>
              <a:t>2021</a:t>
            </a:r>
          </a:p>
        </p:txBody>
      </p:sp>
      <p:cxnSp>
        <p:nvCxnSpPr>
          <p:cNvPr id="67" name="Straight Connector 66">
            <a:extLst>
              <a:ext uri="{FF2B5EF4-FFF2-40B4-BE49-F238E27FC236}">
                <a16:creationId xmlns:a16="http://schemas.microsoft.com/office/drawing/2014/main" id="{B907FD8F-FD60-4798-B8BF-A4005C437867}"/>
              </a:ext>
            </a:extLst>
          </p:cNvPr>
          <p:cNvCxnSpPr>
            <a:cxnSpLocks/>
          </p:cNvCxnSpPr>
          <p:nvPr/>
        </p:nvCxnSpPr>
        <p:spPr>
          <a:xfrm>
            <a:off x="7425465" y="5887357"/>
            <a:ext cx="1379057"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6260CFB7-3FD3-4871-8063-1C1640D3E643}"/>
              </a:ext>
            </a:extLst>
          </p:cNvPr>
          <p:cNvSpPr txBox="1"/>
          <p:nvPr/>
        </p:nvSpPr>
        <p:spPr>
          <a:xfrm>
            <a:off x="7952288" y="6003025"/>
            <a:ext cx="325409" cy="184666"/>
          </a:xfrm>
          <a:prstGeom prst="rect">
            <a:avLst/>
          </a:prstGeom>
        </p:spPr>
        <p:txBody>
          <a:bodyPr vert="horz" wrap="none" lIns="0" tIns="0" rIns="0" bIns="0" rtlCol="0">
            <a:sp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182880" lvl="1" indent="-182880" defTabSz="91440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dirty="0">
                <a:latin typeface="+mn-lt"/>
              </a:defRPr>
            </a:lvl2pPr>
            <a:lvl3pPr marL="365760" lvl="2" indent="-182880" defTabSz="91440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dirty="0">
                <a:latin typeface="+mn-lt"/>
              </a:defRPr>
            </a:lvl3pPr>
            <a:lvl4pPr marL="548640" lvl="3" indent="-182880" defTabSz="91440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dirty="0">
                <a:latin typeface="+mn-lt"/>
              </a:defRPr>
            </a:lvl4pPr>
            <a:lvl5pPr marL="731520" lvl="4" indent="-182880" defTabSz="91440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algn="ctr"/>
            <a:r>
              <a:rPr lang="en-US" sz="1200" b="1" dirty="0">
                <a:latin typeface="Bahnschrift" panose="020B0502040204020203" pitchFamily="34" charset="0"/>
              </a:rPr>
              <a:t>2022</a:t>
            </a:r>
          </a:p>
        </p:txBody>
      </p:sp>
      <p:sp>
        <p:nvSpPr>
          <p:cNvPr id="69" name="5. Source">
            <a:extLst>
              <a:ext uri="{FF2B5EF4-FFF2-40B4-BE49-F238E27FC236}">
                <a16:creationId xmlns:a16="http://schemas.microsoft.com/office/drawing/2014/main" id="{BAB32F32-F4A3-4E87-B764-49CA6547E416}"/>
              </a:ext>
            </a:extLst>
          </p:cNvPr>
          <p:cNvSpPr txBox="1"/>
          <p:nvPr>
            <p:custDataLst>
              <p:tags r:id="rId31"/>
            </p:custDataLst>
          </p:nvPr>
        </p:nvSpPr>
        <p:spPr>
          <a:xfrm>
            <a:off x="989012" y="6248340"/>
            <a:ext cx="8047037"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buNone/>
            </a:pPr>
            <a:r>
              <a:rPr lang="de-DE" dirty="0">
                <a:solidFill>
                  <a:srgbClr val="004FA1"/>
                </a:solidFill>
                <a:latin typeface="Bahnschrift" panose="020B0502040204020203" pitchFamily="34" charset="0"/>
                <a:cs typeface="+mn-cs"/>
              </a:rPr>
              <a:t>Anmerkung: ETI steht für Investitionen in die Energiewende (energy transition investment) . FF steht für fossile Brennstoffe (fossil fuels). Die FF-Werte von 2018-21 wurden aus dem Bericht "IEA World Energy Investment 2022" abgeleitet. Die Investitionen in fossile Brennstoffe im Jahr 2022 sind Schätzungen von BNEF und umfassen die Bereiche Upstream, Midstream, Downstream und ungehinderte fossile Stromerzeugung.</a:t>
            </a:r>
          </a:p>
        </p:txBody>
      </p:sp>
      <p:sp>
        <p:nvSpPr>
          <p:cNvPr id="71" name="5. Source">
            <a:extLst>
              <a:ext uri="{FF2B5EF4-FFF2-40B4-BE49-F238E27FC236}">
                <a16:creationId xmlns:a16="http://schemas.microsoft.com/office/drawing/2014/main" id="{E4524A95-45C9-4113-A90C-5D47360B816C}"/>
              </a:ext>
            </a:extLst>
          </p:cNvPr>
          <p:cNvSpPr txBox="1"/>
          <p:nvPr>
            <p:custDataLst>
              <p:tags r:id="rId32"/>
            </p:custDataLst>
          </p:nvPr>
        </p:nvSpPr>
        <p:spPr>
          <a:xfrm>
            <a:off x="7240840" y="6577094"/>
            <a:ext cx="3317281" cy="123111"/>
          </a:xfrm>
          <a:prstGeom prst="rect">
            <a:avLst/>
          </a:prstGeom>
          <a:noFill/>
        </p:spPr>
        <p:txBody>
          <a:bodyPr vert="horz" wrap="square" lIns="0" tIns="0" rIns="0" bIns="0" rtlCol="0" anchor="b" anchorCtr="0">
            <a:spAutoFit/>
          </a:bodyPr>
          <a:lstStyle/>
          <a:p>
            <a:r>
              <a:rPr lang="fr-FR" sz="800" dirty="0">
                <a:solidFill>
                  <a:srgbClr val="004FA1"/>
                </a:solidFill>
                <a:latin typeface="Bahnschrift" panose="020B0502040204020203" pitchFamily="34" charset="0"/>
              </a:rPr>
              <a:t>Quelle: </a:t>
            </a:r>
            <a:r>
              <a:rPr lang="fr-FR" sz="800" dirty="0" err="1">
                <a:solidFill>
                  <a:srgbClr val="004FA1"/>
                </a:solidFill>
                <a:latin typeface="Bahnschrift" panose="020B0502040204020203" pitchFamily="34" charset="0"/>
              </a:rPr>
              <a:t>BloombergNEF</a:t>
            </a:r>
            <a:r>
              <a:rPr lang="fr-FR" sz="800" dirty="0">
                <a:solidFill>
                  <a:srgbClr val="004FA1"/>
                </a:solidFill>
                <a:latin typeface="Bahnschrift" panose="020B0502040204020203" pitchFamily="34" charset="0"/>
              </a:rPr>
              <a:t>, IEA</a:t>
            </a:r>
            <a:endParaRPr lang="de-DE" sz="800" dirty="0">
              <a:solidFill>
                <a:srgbClr val="004FA1"/>
              </a:solidFill>
              <a:latin typeface="Bahnschrift" panose="020B0502040204020203" pitchFamily="34" charset="0"/>
            </a:endParaRPr>
          </a:p>
        </p:txBody>
      </p:sp>
    </p:spTree>
    <p:extLst>
      <p:ext uri="{BB962C8B-B14F-4D97-AF65-F5344CB8AC3E}">
        <p14:creationId xmlns:p14="http://schemas.microsoft.com/office/powerpoint/2010/main" val="14465056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EB2FD2B-0329-47DC-AC46-302E29E98205}"/>
              </a:ext>
            </a:extLst>
          </p:cNvPr>
          <p:cNvGraphicFramePr>
            <a:graphicFrameLocks noChangeAspect="1"/>
          </p:cNvGraphicFramePr>
          <p:nvPr>
            <p:custDataLst>
              <p:tags r:id="rId1"/>
            </p:custDataLst>
            <p:extLst>
              <p:ext uri="{D42A27DB-BD31-4B8C-83A1-F6EECF244321}">
                <p14:modId xmlns:p14="http://schemas.microsoft.com/office/powerpoint/2010/main" val="1934382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395" imgH="396" progId="TCLayout.ActiveDocument.1">
                  <p:embed/>
                </p:oleObj>
              </mc:Choice>
              <mc:Fallback>
                <p:oleObj name="think-cell Slide" r:id="rId58" imgW="395" imgH="396" progId="TCLayout.ActiveDocument.1">
                  <p:embed/>
                  <p:pic>
                    <p:nvPicPr>
                      <p:cNvPr id="4" name="Object 3" hidden="1">
                        <a:extLst>
                          <a:ext uri="{FF2B5EF4-FFF2-40B4-BE49-F238E27FC236}">
                            <a16:creationId xmlns:a16="http://schemas.microsoft.com/office/drawing/2014/main" id="{FEB2FD2B-0329-47DC-AC46-302E29E98205}"/>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048B5C-B944-4C69-930E-2F18D45B23B8}"/>
              </a:ext>
            </a:extLst>
          </p:cNvPr>
          <p:cNvSpPr>
            <a:spLocks noGrp="1"/>
          </p:cNvSpPr>
          <p:nvPr>
            <p:ph type="title"/>
          </p:nvPr>
        </p:nvSpPr>
        <p:spPr>
          <a:xfrm>
            <a:off x="554736" y="225990"/>
            <a:ext cx="11082528" cy="689420"/>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err="1"/>
              <a:t>Globale</a:t>
            </a:r>
            <a:r>
              <a:rPr lang="en-US" dirty="0"/>
              <a:t> </a:t>
            </a:r>
            <a:r>
              <a:rPr lang="en-US" dirty="0" err="1"/>
              <a:t>Trendwende</a:t>
            </a:r>
            <a:r>
              <a:rPr lang="en-US" dirty="0"/>
              <a:t>: </a:t>
            </a:r>
            <a:r>
              <a:rPr lang="en-US" dirty="0" err="1"/>
              <a:t>Investitionen</a:t>
            </a:r>
            <a:r>
              <a:rPr lang="en-US" dirty="0"/>
              <a:t> in die </a:t>
            </a:r>
            <a:r>
              <a:rPr lang="en-US" dirty="0" err="1"/>
              <a:t>Energiewende</a:t>
            </a:r>
            <a:r>
              <a:rPr lang="en-US" dirty="0"/>
              <a:t> </a:t>
            </a:r>
            <a:r>
              <a:rPr lang="en-US" dirty="0" err="1"/>
              <a:t>übersteigen</a:t>
            </a:r>
            <a:r>
              <a:rPr lang="en-US" dirty="0"/>
              <a:t> </a:t>
            </a:r>
            <a:r>
              <a:rPr lang="en-US" dirty="0" err="1"/>
              <a:t>im</a:t>
            </a:r>
            <a:r>
              <a:rPr lang="en-US" dirty="0"/>
              <a:t> </a:t>
            </a:r>
            <a:r>
              <a:rPr lang="en-US" dirty="0" err="1"/>
              <a:t>Jahr</a:t>
            </a:r>
            <a:r>
              <a:rPr lang="en-US" dirty="0"/>
              <a:t> 2022 die </a:t>
            </a:r>
            <a:r>
              <a:rPr lang="en-US" dirty="0" err="1"/>
              <a:t>Marke</a:t>
            </a:r>
            <a:r>
              <a:rPr lang="en-US" dirty="0"/>
              <a:t> von 1 Billion USD</a:t>
            </a:r>
          </a:p>
        </p:txBody>
      </p:sp>
      <p:sp>
        <p:nvSpPr>
          <p:cNvPr id="13" name="TextBox 12">
            <a:extLst>
              <a:ext uri="{FF2B5EF4-FFF2-40B4-BE49-F238E27FC236}">
                <a16:creationId xmlns:a16="http://schemas.microsoft.com/office/drawing/2014/main" id="{F43BABB8-D792-4ADB-B417-C27A80D83DCF}"/>
              </a:ext>
            </a:extLst>
          </p:cNvPr>
          <p:cNvSpPr txBox="1"/>
          <p:nvPr>
            <p:custDataLst>
              <p:tags r:id="rId2"/>
            </p:custDataLst>
          </p:nvPr>
        </p:nvSpPr>
        <p:spPr>
          <a:xfrm>
            <a:off x="9396254" y="2021183"/>
            <a:ext cx="2447926" cy="3554819"/>
          </a:xfrm>
          <a:prstGeom prst="rect">
            <a:avLst/>
          </a:prstGeom>
        </p:spPr>
        <p:txBody>
          <a:bodyPr vert="horz" wrap="square" lIns="0" tIns="0" rIns="0" bIns="0" rtlCol="0">
            <a:sp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182880" lvl="1" indent="-182880" defTabSz="91440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dirty="0">
                <a:latin typeface="+mn-lt"/>
              </a:defRPr>
            </a:lvl2pPr>
            <a:lvl3pPr marL="365760" lvl="2" indent="-182880" defTabSz="91440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dirty="0">
                <a:latin typeface="+mn-lt"/>
              </a:defRPr>
            </a:lvl3pPr>
            <a:lvl4pPr marL="548640" lvl="3" indent="-182880" defTabSz="91440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dirty="0">
                <a:latin typeface="+mn-lt"/>
              </a:defRPr>
            </a:lvl4pPr>
            <a:lvl5pPr marL="731520" lvl="4" indent="-182880" defTabSz="91440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pPr lvl="1">
              <a:spcBef>
                <a:spcPts val="300"/>
              </a:spcBef>
            </a:pPr>
            <a:r>
              <a:rPr lang="en-US" sz="1200" dirty="0">
                <a:latin typeface="Bahnschrift" panose="020B0502040204020203" pitchFamily="34" charset="0"/>
              </a:rPr>
              <a:t>Der </a:t>
            </a:r>
            <a:r>
              <a:rPr lang="en-US" sz="1200" dirty="0" err="1">
                <a:latin typeface="Bahnschrift" panose="020B0502040204020203" pitchFamily="34" charset="0"/>
              </a:rPr>
              <a:t>Anstieg</a:t>
            </a:r>
            <a:r>
              <a:rPr lang="en-US" sz="1200" dirty="0">
                <a:latin typeface="Bahnschrift" panose="020B0502040204020203" pitchFamily="34" charset="0"/>
              </a:rPr>
              <a:t> auf </a:t>
            </a:r>
            <a:r>
              <a:rPr lang="en-US" sz="1200">
                <a:latin typeface="Bahnschrift" panose="020B0502040204020203" pitchFamily="34" charset="0"/>
              </a:rPr>
              <a:t>1,1 Billion </a:t>
            </a:r>
            <a:r>
              <a:rPr lang="en-US" sz="1200" dirty="0">
                <a:latin typeface="Bahnschrift" panose="020B0502040204020203" pitchFamily="34" charset="0"/>
              </a:rPr>
              <a:t>USD </a:t>
            </a:r>
            <a:r>
              <a:rPr lang="en-US" sz="1200" dirty="0" err="1">
                <a:latin typeface="Bahnschrift" panose="020B0502040204020203" pitchFamily="34" charset="0"/>
              </a:rPr>
              <a:t>bedeutet</a:t>
            </a:r>
            <a:r>
              <a:rPr lang="en-US" sz="1200" dirty="0">
                <a:latin typeface="Bahnschrift" panose="020B0502040204020203" pitchFamily="34" charset="0"/>
              </a:rPr>
              <a:t> </a:t>
            </a:r>
            <a:r>
              <a:rPr lang="en-US" sz="1200" dirty="0" err="1">
                <a:latin typeface="Bahnschrift" panose="020B0502040204020203" pitchFamily="34" charset="0"/>
              </a:rPr>
              <a:t>einen</a:t>
            </a:r>
            <a:r>
              <a:rPr lang="en-US" sz="1200" dirty="0">
                <a:latin typeface="Bahnschrift" panose="020B0502040204020203" pitchFamily="34" charset="0"/>
              </a:rPr>
              <a:t> </a:t>
            </a:r>
            <a:r>
              <a:rPr lang="en-US" sz="1200" dirty="0" err="1">
                <a:latin typeface="Bahnschrift" panose="020B0502040204020203" pitchFamily="34" charset="0"/>
              </a:rPr>
              <a:t>jährlichen</a:t>
            </a:r>
            <a:r>
              <a:rPr lang="en-US" sz="1200" dirty="0">
                <a:latin typeface="Bahnschrift" panose="020B0502040204020203" pitchFamily="34" charset="0"/>
              </a:rPr>
              <a:t> </a:t>
            </a:r>
            <a:r>
              <a:rPr lang="en-US" sz="1200" b="1" dirty="0" err="1">
                <a:latin typeface="Bahnschrift" panose="020B0502040204020203" pitchFamily="34" charset="0"/>
              </a:rPr>
              <a:t>Anstieg</a:t>
            </a:r>
            <a:r>
              <a:rPr lang="en-US" sz="1200" b="1" dirty="0">
                <a:latin typeface="Bahnschrift" panose="020B0502040204020203" pitchFamily="34" charset="0"/>
              </a:rPr>
              <a:t> von 31% </a:t>
            </a:r>
            <a:r>
              <a:rPr lang="en-US" sz="1200" dirty="0">
                <a:latin typeface="Bahnschrift" panose="020B0502040204020203" pitchFamily="34" charset="0"/>
              </a:rPr>
              <a:t>der </a:t>
            </a:r>
            <a:r>
              <a:rPr lang="en-US" sz="1200" dirty="0" err="1">
                <a:latin typeface="Bahnschrift" panose="020B0502040204020203" pitchFamily="34" charset="0"/>
              </a:rPr>
              <a:t>Investitionen</a:t>
            </a:r>
            <a:br>
              <a:rPr lang="en-US" sz="1200" dirty="0">
                <a:latin typeface="Bahnschrift" panose="020B0502040204020203" pitchFamily="34" charset="0"/>
              </a:rPr>
            </a:br>
            <a:endParaRPr lang="en-US" sz="1200" dirty="0">
              <a:latin typeface="Bahnschrift" panose="020B0502040204020203" pitchFamily="34" charset="0"/>
            </a:endParaRPr>
          </a:p>
          <a:p>
            <a:pPr lvl="1">
              <a:spcBef>
                <a:spcPts val="300"/>
              </a:spcBef>
            </a:pPr>
            <a:r>
              <a:rPr lang="en-US" sz="1200" dirty="0" err="1">
                <a:latin typeface="Bahnschrift" panose="020B0502040204020203" pitchFamily="34" charset="0"/>
              </a:rPr>
              <a:t>Mit</a:t>
            </a:r>
            <a:r>
              <a:rPr lang="en-US" sz="1200" dirty="0">
                <a:latin typeface="Bahnschrift" panose="020B0502040204020203" pitchFamily="34" charset="0"/>
              </a:rPr>
              <a:t> </a:t>
            </a:r>
            <a:r>
              <a:rPr lang="en-US" sz="1200" dirty="0" err="1">
                <a:latin typeface="Bahnschrift" panose="020B0502040204020203" pitchFamily="34" charset="0"/>
              </a:rPr>
              <a:t>Ausnahme</a:t>
            </a:r>
            <a:r>
              <a:rPr lang="en-US" sz="1200" dirty="0">
                <a:latin typeface="Bahnschrift" panose="020B0502040204020203" pitchFamily="34" charset="0"/>
              </a:rPr>
              <a:t> der Investments in </a:t>
            </a:r>
            <a:r>
              <a:rPr lang="en-US" sz="1200" dirty="0" err="1">
                <a:latin typeface="Bahnschrift" panose="020B0502040204020203" pitchFamily="34" charset="0"/>
              </a:rPr>
              <a:t>Nuklearenergie</a:t>
            </a:r>
            <a:r>
              <a:rPr lang="en-US" sz="1200" dirty="0">
                <a:latin typeface="Bahnschrift" panose="020B0502040204020203" pitchFamily="34" charset="0"/>
              </a:rPr>
              <a:t> </a:t>
            </a:r>
            <a:r>
              <a:rPr lang="en-US" sz="1200" dirty="0" err="1">
                <a:latin typeface="Bahnschrift" panose="020B0502040204020203" pitchFamily="34" charset="0"/>
              </a:rPr>
              <a:t>verzeichneten</a:t>
            </a:r>
            <a:r>
              <a:rPr lang="en-US" sz="1200" dirty="0">
                <a:latin typeface="Bahnschrift" panose="020B0502040204020203" pitchFamily="34" charset="0"/>
              </a:rPr>
              <a:t> </a:t>
            </a:r>
            <a:r>
              <a:rPr lang="en-US" sz="1200" b="1" dirty="0">
                <a:latin typeface="Bahnschrift" panose="020B0502040204020203" pitchFamily="34" charset="0"/>
              </a:rPr>
              <a:t>alle </a:t>
            </a:r>
            <a:r>
              <a:rPr lang="en-US" sz="1200" b="1" dirty="0" err="1">
                <a:latin typeface="Bahnschrift" panose="020B0502040204020203" pitchFamily="34" charset="0"/>
              </a:rPr>
              <a:t>anderen</a:t>
            </a:r>
            <a:r>
              <a:rPr lang="en-US" sz="1200" b="1" dirty="0">
                <a:latin typeface="Bahnschrift" panose="020B0502040204020203" pitchFamily="34" charset="0"/>
              </a:rPr>
              <a:t> </a:t>
            </a:r>
            <a:r>
              <a:rPr lang="en-US" sz="1200" b="1" dirty="0" err="1">
                <a:latin typeface="Bahnschrift" panose="020B0502040204020203" pitchFamily="34" charset="0"/>
              </a:rPr>
              <a:t>Sektoren</a:t>
            </a:r>
            <a:r>
              <a:rPr lang="en-US" sz="1200" b="1" dirty="0">
                <a:latin typeface="Bahnschrift" panose="020B0502040204020203" pitchFamily="34" charset="0"/>
              </a:rPr>
              <a:t> </a:t>
            </a:r>
            <a:r>
              <a:rPr lang="en-US" sz="1200" b="1" dirty="0" err="1">
                <a:latin typeface="Bahnschrift" panose="020B0502040204020203" pitchFamily="34" charset="0"/>
              </a:rPr>
              <a:t>ein</a:t>
            </a:r>
            <a:r>
              <a:rPr lang="en-US" sz="1200" b="1" dirty="0">
                <a:latin typeface="Bahnschrift" panose="020B0502040204020203" pitchFamily="34" charset="0"/>
              </a:rPr>
              <a:t> </a:t>
            </a:r>
            <a:r>
              <a:rPr lang="en-US" sz="1200" b="1" dirty="0" err="1">
                <a:latin typeface="Bahnschrift" panose="020B0502040204020203" pitchFamily="34" charset="0"/>
              </a:rPr>
              <a:t>Rekordniveau</a:t>
            </a:r>
            <a:r>
              <a:rPr lang="en-US" sz="1200" b="1" dirty="0">
                <a:latin typeface="Bahnschrift" panose="020B0502040204020203" pitchFamily="34" charset="0"/>
              </a:rPr>
              <a:t> an </a:t>
            </a:r>
            <a:r>
              <a:rPr lang="en-US" sz="1200" b="1" dirty="0" err="1">
                <a:latin typeface="Bahnschrift" panose="020B0502040204020203" pitchFamily="34" charset="0"/>
              </a:rPr>
              <a:t>Investitionen</a:t>
            </a:r>
            <a:br>
              <a:rPr lang="en-US" sz="1200" dirty="0">
                <a:latin typeface="Bahnschrift" panose="020B0502040204020203" pitchFamily="34" charset="0"/>
              </a:rPr>
            </a:br>
            <a:endParaRPr lang="en-US" sz="1200" dirty="0">
              <a:latin typeface="Bahnschrift" panose="020B0502040204020203" pitchFamily="34" charset="0"/>
            </a:endParaRPr>
          </a:p>
          <a:p>
            <a:pPr lvl="1">
              <a:spcBef>
                <a:spcPts val="300"/>
              </a:spcBef>
            </a:pPr>
            <a:r>
              <a:rPr lang="en-US" sz="1200" dirty="0" err="1">
                <a:latin typeface="Bahnschrift" panose="020B0502040204020203" pitchFamily="34" charset="0"/>
              </a:rPr>
              <a:t>Wachsende</a:t>
            </a:r>
            <a:r>
              <a:rPr lang="en-US" sz="1200" dirty="0">
                <a:latin typeface="Bahnschrift" panose="020B0502040204020203" pitchFamily="34" charset="0"/>
              </a:rPr>
              <a:t> </a:t>
            </a:r>
            <a:r>
              <a:rPr lang="en-US" sz="1200" b="1" dirty="0" err="1">
                <a:latin typeface="Bahnschrift" panose="020B0502040204020203" pitchFamily="34" charset="0"/>
              </a:rPr>
              <a:t>politische</a:t>
            </a:r>
            <a:r>
              <a:rPr lang="en-US" sz="1200" b="1" dirty="0">
                <a:latin typeface="Bahnschrift" panose="020B0502040204020203" pitchFamily="34" charset="0"/>
              </a:rPr>
              <a:t> </a:t>
            </a:r>
            <a:r>
              <a:rPr lang="en-US" sz="1200" b="1" dirty="0" err="1">
                <a:latin typeface="Bahnschrift" panose="020B0502040204020203" pitchFamily="34" charset="0"/>
              </a:rPr>
              <a:t>Unterstützung</a:t>
            </a:r>
            <a:r>
              <a:rPr lang="en-US" sz="1200" b="1" dirty="0">
                <a:latin typeface="Bahnschrift" panose="020B0502040204020203" pitchFamily="34" charset="0"/>
              </a:rPr>
              <a:t> und </a:t>
            </a:r>
            <a:r>
              <a:rPr lang="en-US" sz="1200" b="1" dirty="0" err="1">
                <a:latin typeface="Bahnschrift" panose="020B0502040204020203" pitchFamily="34" charset="0"/>
              </a:rPr>
              <a:t>zunehmende</a:t>
            </a:r>
            <a:r>
              <a:rPr lang="en-US" sz="1200" b="1" dirty="0">
                <a:latin typeface="Bahnschrift" panose="020B0502040204020203" pitchFamily="34" charset="0"/>
              </a:rPr>
              <a:t> </a:t>
            </a:r>
            <a:r>
              <a:rPr lang="en-US" sz="1200" b="1" dirty="0" err="1">
                <a:latin typeface="Bahnschrift" panose="020B0502040204020203" pitchFamily="34" charset="0"/>
              </a:rPr>
              <a:t>Wettbewerbsfähigkeit</a:t>
            </a:r>
            <a:r>
              <a:rPr lang="en-US" sz="1200" b="1" dirty="0">
                <a:latin typeface="Bahnschrift" panose="020B0502040204020203" pitchFamily="34" charset="0"/>
              </a:rPr>
              <a:t> </a:t>
            </a:r>
            <a:r>
              <a:rPr lang="en-US" sz="1200" dirty="0" err="1">
                <a:latin typeface="Bahnschrift" panose="020B0502040204020203" pitchFamily="34" charset="0"/>
              </a:rPr>
              <a:t>nachhaltiger</a:t>
            </a:r>
            <a:r>
              <a:rPr lang="en-US" sz="1200" dirty="0">
                <a:latin typeface="Bahnschrift" panose="020B0502040204020203" pitchFamily="34" charset="0"/>
              </a:rPr>
              <a:t> </a:t>
            </a:r>
            <a:r>
              <a:rPr lang="en-US" sz="1200" dirty="0" err="1">
                <a:latin typeface="Bahnschrift" panose="020B0502040204020203" pitchFamily="34" charset="0"/>
              </a:rPr>
              <a:t>Energietechnologien</a:t>
            </a:r>
            <a:r>
              <a:rPr lang="en-US" sz="1200" dirty="0">
                <a:latin typeface="Bahnschrift" panose="020B0502040204020203" pitchFamily="34" charset="0"/>
              </a:rPr>
              <a:t> </a:t>
            </a:r>
            <a:r>
              <a:rPr lang="en-US" sz="1200" dirty="0" err="1">
                <a:latin typeface="Bahnschrift" panose="020B0502040204020203" pitchFamily="34" charset="0"/>
              </a:rPr>
              <a:t>sorgen</a:t>
            </a:r>
            <a:r>
              <a:rPr lang="en-US" sz="1200" dirty="0">
                <a:latin typeface="Bahnschrift" panose="020B0502040204020203" pitchFamily="34" charset="0"/>
              </a:rPr>
              <a:t> </a:t>
            </a:r>
            <a:r>
              <a:rPr lang="en-US" sz="1200" dirty="0" err="1">
                <a:latin typeface="Bahnschrift" panose="020B0502040204020203" pitchFamily="34" charset="0"/>
              </a:rPr>
              <a:t>weiterhin</a:t>
            </a:r>
            <a:r>
              <a:rPr lang="en-US" sz="1200" dirty="0">
                <a:latin typeface="Bahnschrift" panose="020B0502040204020203" pitchFamily="34" charset="0"/>
              </a:rPr>
              <a:t> für </a:t>
            </a:r>
            <a:r>
              <a:rPr lang="en-US" sz="1200" dirty="0" err="1">
                <a:latin typeface="Bahnschrift" panose="020B0502040204020203" pitchFamily="34" charset="0"/>
              </a:rPr>
              <a:t>eine</a:t>
            </a:r>
            <a:r>
              <a:rPr lang="en-US" sz="1200" dirty="0">
                <a:latin typeface="Bahnschrift" panose="020B0502040204020203" pitchFamily="34" charset="0"/>
              </a:rPr>
              <a:t> </a:t>
            </a:r>
            <a:r>
              <a:rPr lang="en-US" sz="1200" dirty="0" err="1">
                <a:latin typeface="Bahnschrift" panose="020B0502040204020203" pitchFamily="34" charset="0"/>
              </a:rPr>
              <a:t>rasche</a:t>
            </a:r>
            <a:r>
              <a:rPr lang="en-US" sz="1200" dirty="0">
                <a:latin typeface="Bahnschrift" panose="020B0502040204020203" pitchFamily="34" charset="0"/>
              </a:rPr>
              <a:t> </a:t>
            </a:r>
            <a:r>
              <a:rPr lang="en-US" sz="1200" dirty="0" err="1">
                <a:latin typeface="Bahnschrift" panose="020B0502040204020203" pitchFamily="34" charset="0"/>
              </a:rPr>
              <a:t>Beschleunigung</a:t>
            </a:r>
            <a:r>
              <a:rPr lang="en-US" sz="1200" dirty="0">
                <a:latin typeface="Bahnschrift" panose="020B0502040204020203" pitchFamily="34" charset="0"/>
              </a:rPr>
              <a:t> der </a:t>
            </a:r>
            <a:r>
              <a:rPr lang="en-US" sz="1200" dirty="0" err="1">
                <a:latin typeface="Bahnschrift" panose="020B0502040204020203" pitchFamily="34" charset="0"/>
              </a:rPr>
              <a:t>Energiewende</a:t>
            </a:r>
            <a:endParaRPr lang="en-US" sz="1200" dirty="0">
              <a:latin typeface="Bahnschrift" panose="020B0502040204020203" pitchFamily="34" charset="0"/>
            </a:endParaRPr>
          </a:p>
          <a:p>
            <a:pPr lvl="2">
              <a:spcBef>
                <a:spcPts val="300"/>
              </a:spcBef>
            </a:pPr>
            <a:endParaRPr lang="en-US" sz="1200" dirty="0">
              <a:latin typeface="Bahnschrift" panose="020B0502040204020203" pitchFamily="34" charset="0"/>
            </a:endParaRPr>
          </a:p>
        </p:txBody>
      </p:sp>
      <p:sp>
        <p:nvSpPr>
          <p:cNvPr id="15" name="TextBox 14">
            <a:extLst>
              <a:ext uri="{FF2B5EF4-FFF2-40B4-BE49-F238E27FC236}">
                <a16:creationId xmlns:a16="http://schemas.microsoft.com/office/drawing/2014/main" id="{CE68E098-0406-405E-86DD-28E8E0FDE18A}"/>
              </a:ext>
            </a:extLst>
          </p:cNvPr>
          <p:cNvSpPr txBox="1"/>
          <p:nvPr/>
        </p:nvSpPr>
        <p:spPr>
          <a:xfrm>
            <a:off x="920495" y="1521235"/>
            <a:ext cx="6036564" cy="215444"/>
          </a:xfrm>
          <a:prstGeom prst="rect">
            <a:avLst/>
          </a:prstGeom>
        </p:spPr>
        <p:txBody>
          <a:bodyPr vert="horz" wrap="square" lIns="0" tIns="0" rIns="0" bIns="0" rtlCol="0">
            <a:sp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182880" lvl="1" indent="-182880" defTabSz="91440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dirty="0">
                <a:latin typeface="+mn-lt"/>
              </a:defRPr>
            </a:lvl2pPr>
            <a:lvl3pPr marL="365760" lvl="2" indent="-182880" defTabSz="91440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dirty="0">
                <a:latin typeface="+mn-lt"/>
              </a:defRPr>
            </a:lvl3pPr>
            <a:lvl4pPr marL="548640" lvl="3" indent="-182880" defTabSz="91440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dirty="0">
                <a:latin typeface="+mn-lt"/>
              </a:defRPr>
            </a:lvl4pPr>
            <a:lvl5pPr marL="731520" lvl="4" indent="-182880" defTabSz="91440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r>
              <a:rPr lang="en-US" sz="1400" b="1" dirty="0" err="1">
                <a:latin typeface="Bahnschrift" panose="020B0502040204020203" pitchFamily="34" charset="0"/>
              </a:rPr>
              <a:t>Globale</a:t>
            </a:r>
            <a:r>
              <a:rPr lang="en-US" sz="1400" b="1" dirty="0">
                <a:latin typeface="Bahnschrift" panose="020B0502040204020203" pitchFamily="34" charset="0"/>
              </a:rPr>
              <a:t> </a:t>
            </a:r>
            <a:r>
              <a:rPr lang="en-US" sz="1400" b="1" dirty="0" err="1">
                <a:latin typeface="Bahnschrift" panose="020B0502040204020203" pitchFamily="34" charset="0"/>
              </a:rPr>
              <a:t>Investitionen</a:t>
            </a:r>
            <a:r>
              <a:rPr lang="en-US" sz="1400" b="1" dirty="0">
                <a:latin typeface="Bahnschrift" panose="020B0502040204020203" pitchFamily="34" charset="0"/>
              </a:rPr>
              <a:t> in die </a:t>
            </a:r>
            <a:r>
              <a:rPr lang="en-US" sz="1400" b="1" dirty="0" err="1">
                <a:latin typeface="Bahnschrift" panose="020B0502040204020203" pitchFamily="34" charset="0"/>
              </a:rPr>
              <a:t>Energiewende</a:t>
            </a:r>
            <a:r>
              <a:rPr lang="en-US" sz="1400" b="1" dirty="0">
                <a:latin typeface="Bahnschrift" panose="020B0502040204020203" pitchFamily="34" charset="0"/>
              </a:rPr>
              <a:t> </a:t>
            </a:r>
            <a:r>
              <a:rPr lang="en-US" sz="1400" b="1" dirty="0" err="1">
                <a:latin typeface="Bahnschrift" panose="020B0502040204020203" pitchFamily="34" charset="0"/>
              </a:rPr>
              <a:t>nach</a:t>
            </a:r>
            <a:r>
              <a:rPr lang="en-US" sz="1400" b="1" dirty="0">
                <a:latin typeface="Bahnschrift" panose="020B0502040204020203" pitchFamily="34" charset="0"/>
              </a:rPr>
              <a:t> </a:t>
            </a:r>
            <a:r>
              <a:rPr lang="en-US" sz="1400" b="1" dirty="0" err="1">
                <a:latin typeface="Bahnschrift" panose="020B0502040204020203" pitchFamily="34" charset="0"/>
              </a:rPr>
              <a:t>Sektoren</a:t>
            </a:r>
            <a:r>
              <a:rPr lang="en-US" sz="1400" b="1" dirty="0">
                <a:latin typeface="Bahnschrift" panose="020B0502040204020203" pitchFamily="34" charset="0"/>
              </a:rPr>
              <a:t>, </a:t>
            </a:r>
            <a:r>
              <a:rPr lang="en-US" sz="1400" dirty="0">
                <a:latin typeface="Bahnschrift" panose="020B0502040204020203" pitchFamily="34" charset="0"/>
              </a:rPr>
              <a:t>in </a:t>
            </a:r>
            <a:r>
              <a:rPr lang="en-US" sz="1400" dirty="0" err="1">
                <a:latin typeface="Bahnschrift" panose="020B0502040204020203" pitchFamily="34" charset="0"/>
              </a:rPr>
              <a:t>Mrd</a:t>
            </a:r>
            <a:r>
              <a:rPr lang="en-US" sz="1400" dirty="0">
                <a:latin typeface="Bahnschrift" panose="020B0502040204020203" pitchFamily="34" charset="0"/>
              </a:rPr>
              <a:t>. USD</a:t>
            </a:r>
            <a:endParaRPr lang="en-US" sz="1200" dirty="0">
              <a:latin typeface="Bahnschrift" panose="020B0502040204020203" pitchFamily="34" charset="0"/>
            </a:endParaRPr>
          </a:p>
        </p:txBody>
      </p:sp>
      <p:graphicFrame>
        <p:nvGraphicFramePr>
          <p:cNvPr id="5" name="Chart 4">
            <a:extLst>
              <a:ext uri="{FF2B5EF4-FFF2-40B4-BE49-F238E27FC236}">
                <a16:creationId xmlns:a16="http://schemas.microsoft.com/office/drawing/2014/main" id="{E9F0ED79-0188-52EA-7BAE-7C3BC10B1A5C}"/>
              </a:ext>
            </a:extLst>
          </p:cNvPr>
          <p:cNvGraphicFramePr/>
          <p:nvPr>
            <p:custDataLst>
              <p:tags r:id="rId3"/>
            </p:custDataLst>
            <p:extLst>
              <p:ext uri="{D42A27DB-BD31-4B8C-83A1-F6EECF244321}">
                <p14:modId xmlns:p14="http://schemas.microsoft.com/office/powerpoint/2010/main" val="2893858186"/>
              </p:ext>
            </p:extLst>
          </p:nvPr>
        </p:nvGraphicFramePr>
        <p:xfrm>
          <a:off x="1008063" y="2368550"/>
          <a:ext cx="7932737" cy="3649663"/>
        </p:xfrm>
        <a:graphic>
          <a:graphicData uri="http://schemas.openxmlformats.org/drawingml/2006/chart">
            <c:chart xmlns:c="http://schemas.openxmlformats.org/drawingml/2006/chart" xmlns:r="http://schemas.openxmlformats.org/officeDocument/2006/relationships" r:id="rId60"/>
          </a:graphicData>
        </a:graphic>
      </p:graphicFrame>
      <p:sp>
        <p:nvSpPr>
          <p:cNvPr id="19" name="Text Placeholder 4">
            <a:extLst>
              <a:ext uri="{FF2B5EF4-FFF2-40B4-BE49-F238E27FC236}">
                <a16:creationId xmlns:a16="http://schemas.microsoft.com/office/drawing/2014/main" id="{A844A79C-B7DD-4376-A5C4-441E337BAE58}"/>
              </a:ext>
            </a:extLst>
          </p:cNvPr>
          <p:cNvSpPr>
            <a:spLocks noGrp="1"/>
          </p:cNvSpPr>
          <p:nvPr>
            <p:custDataLst>
              <p:tags r:id="rId4"/>
            </p:custDataLst>
          </p:nvPr>
        </p:nvSpPr>
        <p:spPr bwMode="gray">
          <a:xfrm>
            <a:off x="909638" y="5845175"/>
            <a:ext cx="79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4020225B-C392-4C96-B287-8E4604E38616}" type="datetime'''''''''''''''''''''0'''''''''">
              <a:rPr lang="en-US" altLang="en-US" sz="1200" smtClean="0">
                <a:latin typeface="Bahnschrift" panose="020B0502040204020203" pitchFamily="34" charset="0"/>
                <a:cs typeface="+mn-cs"/>
              </a:rPr>
              <a:pPr/>
              <a:t>0</a:t>
            </a:fld>
            <a:endParaRPr lang="en-US" sz="1200" dirty="0">
              <a:latin typeface="Bahnschrift" panose="020B0502040204020203" pitchFamily="34" charset="0"/>
              <a:cs typeface="+mn-cs"/>
            </a:endParaRPr>
          </a:p>
        </p:txBody>
      </p:sp>
      <p:sp>
        <p:nvSpPr>
          <p:cNvPr id="109" name="Text Placeholder 4">
            <a:extLst>
              <a:ext uri="{FF2B5EF4-FFF2-40B4-BE49-F238E27FC236}">
                <a16:creationId xmlns:a16="http://schemas.microsoft.com/office/drawing/2014/main" id="{4C1F3293-4EFE-461D-940D-7EE66BAE31C5}"/>
              </a:ext>
            </a:extLst>
          </p:cNvPr>
          <p:cNvSpPr>
            <a:spLocks noGrp="1"/>
          </p:cNvSpPr>
          <p:nvPr>
            <p:custDataLst>
              <p:tags r:id="rId5"/>
            </p:custDataLst>
          </p:nvPr>
        </p:nvSpPr>
        <p:spPr bwMode="gray">
          <a:xfrm>
            <a:off x="750888" y="4103688"/>
            <a:ext cx="238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519CFF59-849C-405E-8E0E-EC788593AA0A}" type="datetime'''6''''''0''''''''0'''''''''''''''">
              <a:rPr lang="en-US" altLang="en-US" sz="1200" smtClean="0">
                <a:effectLst/>
                <a:latin typeface="Bahnschrift" panose="020B0502040204020203" pitchFamily="34" charset="0"/>
                <a:cs typeface="+mn-cs"/>
              </a:rPr>
              <a:pPr algn="r">
                <a:spcBef>
                  <a:spcPct val="0"/>
                </a:spcBef>
                <a:spcAft>
                  <a:spcPct val="0"/>
                </a:spcAft>
              </a:pPr>
              <a:t>600</a:t>
            </a:fld>
            <a:endParaRPr lang="en-US" sz="1200" dirty="0">
              <a:latin typeface="Bahnschrift" panose="020B0502040204020203" pitchFamily="34" charset="0"/>
              <a:cs typeface="+mn-cs"/>
            </a:endParaRPr>
          </a:p>
        </p:txBody>
      </p:sp>
      <p:sp>
        <p:nvSpPr>
          <p:cNvPr id="328" name="Text Placeholder 4">
            <a:extLst>
              <a:ext uri="{FF2B5EF4-FFF2-40B4-BE49-F238E27FC236}">
                <a16:creationId xmlns:a16="http://schemas.microsoft.com/office/drawing/2014/main" id="{4C1F3293-4EFE-461D-940D-7EE66BAE31C5}"/>
              </a:ext>
            </a:extLst>
          </p:cNvPr>
          <p:cNvSpPr>
            <a:spLocks noGrp="1"/>
          </p:cNvSpPr>
          <p:nvPr>
            <p:custDataLst>
              <p:tags r:id="rId6"/>
            </p:custDataLst>
          </p:nvPr>
        </p:nvSpPr>
        <p:spPr bwMode="gray">
          <a:xfrm>
            <a:off x="750888" y="3522663"/>
            <a:ext cx="238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B04BD258-88CF-4A8B-B0DB-253EF7199917}" type="datetime'''''''''8''''0''''''''0'">
              <a:rPr lang="en-US" altLang="en-US" sz="1200" smtClean="0">
                <a:effectLst/>
                <a:latin typeface="Bahnschrift" panose="020B0502040204020203" pitchFamily="34" charset="0"/>
                <a:cs typeface="+mn-cs"/>
              </a:rPr>
              <a:pPr algn="r">
                <a:spcBef>
                  <a:spcPct val="0"/>
                </a:spcBef>
                <a:spcAft>
                  <a:spcPct val="0"/>
                </a:spcAft>
              </a:pPr>
              <a:t>800</a:t>
            </a:fld>
            <a:endParaRPr lang="en-US" sz="1200" dirty="0">
              <a:latin typeface="Bahnschrift" panose="020B0502040204020203" pitchFamily="34" charset="0"/>
              <a:cs typeface="+mn-cs"/>
            </a:endParaRPr>
          </a:p>
        </p:txBody>
      </p:sp>
      <p:sp>
        <p:nvSpPr>
          <p:cNvPr id="78" name="Text Placeholder 4">
            <a:extLst>
              <a:ext uri="{FF2B5EF4-FFF2-40B4-BE49-F238E27FC236}">
                <a16:creationId xmlns:a16="http://schemas.microsoft.com/office/drawing/2014/main" id="{4C1F3293-4EFE-461D-940D-7EE66BAE31C5}"/>
              </a:ext>
            </a:extLst>
          </p:cNvPr>
          <p:cNvSpPr>
            <a:spLocks noGrp="1"/>
          </p:cNvSpPr>
          <p:nvPr>
            <p:custDataLst>
              <p:tags r:id="rId7"/>
            </p:custDataLst>
          </p:nvPr>
        </p:nvSpPr>
        <p:spPr bwMode="gray">
          <a:xfrm>
            <a:off x="750888" y="4683125"/>
            <a:ext cx="238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9607E0D7-C99A-4074-8BC2-D8C8559FAA2A}" type="datetime'''''''''''''''''4''''0''''''0'''''''''''''''''''''''''''">
              <a:rPr lang="en-US" altLang="en-US" sz="1200" smtClean="0">
                <a:effectLst/>
                <a:latin typeface="Bahnschrift" panose="020B0502040204020203" pitchFamily="34" charset="0"/>
                <a:cs typeface="+mn-cs"/>
              </a:rPr>
              <a:pPr algn="r">
                <a:spcBef>
                  <a:spcPct val="0"/>
                </a:spcBef>
                <a:spcAft>
                  <a:spcPct val="0"/>
                </a:spcAft>
              </a:pPr>
              <a:t>400</a:t>
            </a:fld>
            <a:endParaRPr lang="en-US" sz="1200" dirty="0">
              <a:latin typeface="Bahnschrift" panose="020B0502040204020203" pitchFamily="34" charset="0"/>
              <a:cs typeface="+mn-cs"/>
            </a:endParaRPr>
          </a:p>
        </p:txBody>
      </p:sp>
      <p:sp>
        <p:nvSpPr>
          <p:cNvPr id="71"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gray">
          <a:xfrm>
            <a:off x="750888" y="5264150"/>
            <a:ext cx="238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B76F6CCC-9E9A-46D1-9A7D-040B20E80733}" type="datetime'''''''''''''''''''''''''2''''0''''''''0'''''''''''''''''">
              <a:rPr lang="en-US" altLang="en-US" sz="1200" smtClean="0">
                <a:effectLst/>
                <a:latin typeface="Bahnschrift" panose="020B0502040204020203" pitchFamily="34" charset="0"/>
                <a:cs typeface="+mn-cs"/>
              </a:rPr>
              <a:pPr algn="r">
                <a:spcBef>
                  <a:spcPct val="0"/>
                </a:spcBef>
                <a:spcAft>
                  <a:spcPct val="0"/>
                </a:spcAft>
              </a:pPr>
              <a:t>200</a:t>
            </a:fld>
            <a:endParaRPr lang="en-US" sz="1200" dirty="0">
              <a:latin typeface="Bahnschrift" panose="020B0502040204020203" pitchFamily="34" charset="0"/>
              <a:cs typeface="+mn-cs"/>
            </a:endParaRPr>
          </a:p>
        </p:txBody>
      </p:sp>
      <p:sp>
        <p:nvSpPr>
          <p:cNvPr id="329" name="Text Placeholder 4">
            <a:extLst>
              <a:ext uri="{FF2B5EF4-FFF2-40B4-BE49-F238E27FC236}">
                <a16:creationId xmlns:a16="http://schemas.microsoft.com/office/drawing/2014/main" id="{4C1F3293-4EFE-461D-940D-7EE66BAE31C5}"/>
              </a:ext>
            </a:extLst>
          </p:cNvPr>
          <p:cNvSpPr>
            <a:spLocks noGrp="1"/>
          </p:cNvSpPr>
          <p:nvPr>
            <p:custDataLst>
              <p:tags r:id="rId9"/>
            </p:custDataLst>
          </p:nvPr>
        </p:nvSpPr>
        <p:spPr bwMode="gray">
          <a:xfrm>
            <a:off x="615950" y="2941638"/>
            <a:ext cx="3730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E124D67A-83A0-4DCA-AC6B-58D61F7DD724}" type="datetime'''''''''''''''1'',0''''''''''''''''''''0''''''''''''0'">
              <a:rPr lang="en-US" altLang="en-US" sz="1200" smtClean="0">
                <a:effectLst/>
                <a:latin typeface="Bahnschrift" panose="020B0502040204020203" pitchFamily="34" charset="0"/>
                <a:cs typeface="+mn-cs"/>
              </a:rPr>
              <a:pPr algn="r">
                <a:spcBef>
                  <a:spcPct val="0"/>
                </a:spcBef>
                <a:spcAft>
                  <a:spcPct val="0"/>
                </a:spcAft>
              </a:pPr>
              <a:t>1,000</a:t>
            </a:fld>
            <a:endParaRPr lang="en-US" sz="1200" dirty="0">
              <a:latin typeface="Bahnschrift" panose="020B0502040204020203" pitchFamily="34" charset="0"/>
              <a:cs typeface="+mn-cs"/>
            </a:endParaRPr>
          </a:p>
        </p:txBody>
      </p:sp>
      <p:sp>
        <p:nvSpPr>
          <p:cNvPr id="330"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615950" y="2360613"/>
            <a:ext cx="3730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B8D93993-2F3A-477B-9A8F-39953A62D5D5}" type="datetime'''''''''''''''1'''''',''''''''2''0''''''''''0'''''''">
              <a:rPr lang="en-US" altLang="en-US" sz="1200" smtClean="0">
                <a:effectLst/>
                <a:latin typeface="Bahnschrift" panose="020B0502040204020203" pitchFamily="34" charset="0"/>
                <a:cs typeface="+mn-cs"/>
              </a:rPr>
              <a:pPr algn="r">
                <a:spcBef>
                  <a:spcPct val="0"/>
                </a:spcBef>
                <a:spcAft>
                  <a:spcPct val="0"/>
                </a:spcAft>
              </a:pPr>
              <a:t>1,200</a:t>
            </a:fld>
            <a:endParaRPr lang="en-US" sz="1200" dirty="0">
              <a:latin typeface="Bahnschrift" panose="020B0502040204020203" pitchFamily="34" charset="0"/>
              <a:cs typeface="+mn-cs"/>
            </a:endParaRPr>
          </a:p>
        </p:txBody>
      </p:sp>
      <p:sp>
        <p:nvSpPr>
          <p:cNvPr id="155"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5649913" y="4583113"/>
            <a:ext cx="2825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FC90D160-EB1E-44C1-8DBC-19938647BD07}" type="datetime'''''''''''''''''''''''''''''3''9''''4'''''''''''''">
              <a:rPr lang="en-US" altLang="en-US" sz="1200" smtClean="0">
                <a:latin typeface="Bahnschrift" panose="020B0502040204020203" pitchFamily="34" charset="0"/>
                <a:cs typeface="+mn-cs"/>
              </a:rPr>
              <a:pPr/>
              <a:t>394</a:t>
            </a:fld>
            <a:endParaRPr lang="en-US" sz="1200" dirty="0">
              <a:latin typeface="Bahnschrift" panose="020B0502040204020203" pitchFamily="34" charset="0"/>
              <a:cs typeface="+mn-cs"/>
            </a:endParaRPr>
          </a:p>
        </p:txBody>
      </p:sp>
      <p:sp>
        <p:nvSpPr>
          <p:cNvPr id="101" name="Text Placeholder 4">
            <a:extLst>
              <a:ext uri="{FF2B5EF4-FFF2-40B4-BE49-F238E27FC236}">
                <a16:creationId xmlns:a16="http://schemas.microsoft.com/office/drawing/2014/main" id="{B2DB6835-0263-479A-B357-039B791A3315}"/>
              </a:ext>
            </a:extLst>
          </p:cNvPr>
          <p:cNvSpPr>
            <a:spLocks noGrp="1"/>
          </p:cNvSpPr>
          <p:nvPr>
            <p:custDataLst>
              <p:tags r:id="rId12"/>
            </p:custDataLst>
          </p:nvPr>
        </p:nvSpPr>
        <p:spPr bwMode="auto">
          <a:xfrm>
            <a:off x="7340600" y="5986463"/>
            <a:ext cx="171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7CB3A52-A6BB-4666-B0B3-A28968C61590}" type="datetime'''''''''''''''''''''''''''1''''''''9'''''''''''''">
              <a:rPr lang="en-US" altLang="en-US" sz="1200" smtClean="0">
                <a:latin typeface="Bahnschrift" panose="020B0502040204020203" pitchFamily="34" charset="0"/>
                <a:cs typeface="+mn-cs"/>
              </a:rPr>
              <a:pPr/>
              <a:t>19</a:t>
            </a:fld>
            <a:endParaRPr lang="en-US" sz="1200" dirty="0">
              <a:latin typeface="Bahnschrift" panose="020B0502040204020203" pitchFamily="34" charset="0"/>
              <a:cs typeface="+mn-cs"/>
            </a:endParaRPr>
          </a:p>
        </p:txBody>
      </p:sp>
      <p:sp>
        <p:nvSpPr>
          <p:cNvPr id="25" name="Text Placeholder 4">
            <a:extLst>
              <a:ext uri="{FF2B5EF4-FFF2-40B4-BE49-F238E27FC236}">
                <a16:creationId xmlns:a16="http://schemas.microsoft.com/office/drawing/2014/main" id="{D39F4962-38F6-4E5E-ABEF-46B3A13C40EB}"/>
              </a:ext>
            </a:extLst>
          </p:cNvPr>
          <p:cNvSpPr>
            <a:spLocks noGrp="1"/>
          </p:cNvSpPr>
          <p:nvPr>
            <p:custDataLst>
              <p:tags r:id="rId13"/>
            </p:custDataLst>
          </p:nvPr>
        </p:nvSpPr>
        <p:spPr bwMode="auto">
          <a:xfrm>
            <a:off x="1128713" y="5986463"/>
            <a:ext cx="330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A185602-8C62-48EC-81ED-C95332CB709D}" type="datetime'''''''''''''''''2''''0''''''''''''0''''''''4'''''''''">
              <a:rPr lang="en-US" altLang="en-US" sz="1200" smtClean="0">
                <a:latin typeface="Bahnschrift" panose="020B0502040204020203" pitchFamily="34" charset="0"/>
                <a:cs typeface="+mn-cs"/>
              </a:rPr>
              <a:pPr/>
              <a:t>2004</a:t>
            </a:fld>
            <a:endParaRPr lang="en-US" sz="1200" dirty="0">
              <a:latin typeface="Bahnschrift" panose="020B0502040204020203" pitchFamily="34" charset="0"/>
              <a:cs typeface="+mn-cs"/>
            </a:endParaRPr>
          </a:p>
        </p:txBody>
      </p:sp>
      <p:sp>
        <p:nvSpPr>
          <p:cNvPr id="178"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8102600" y="3262313"/>
            <a:ext cx="2825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7A02284-902D-4C72-9898-68892CE06906}" type="datetime'''''''8''''''''''4''''''''''''''''9'''''''''''''''''">
              <a:rPr lang="en-US" altLang="en-US" sz="1200" smtClean="0">
                <a:latin typeface="Bahnschrift" panose="020B0502040204020203" pitchFamily="34" charset="0"/>
                <a:cs typeface="+mn-cs"/>
              </a:rPr>
              <a:pPr/>
              <a:t>849</a:t>
            </a:fld>
            <a:endParaRPr lang="en-US" sz="1200" dirty="0">
              <a:latin typeface="Bahnschrift" panose="020B0502040204020203" pitchFamily="34" charset="0"/>
              <a:cs typeface="+mn-cs"/>
            </a:endParaRPr>
          </a:p>
        </p:txBody>
      </p:sp>
      <p:sp>
        <p:nvSpPr>
          <p:cNvPr id="31" name="Text Placeholder 4">
            <a:extLst>
              <a:ext uri="{FF2B5EF4-FFF2-40B4-BE49-F238E27FC236}">
                <a16:creationId xmlns:a16="http://schemas.microsoft.com/office/drawing/2014/main" id="{ACA9A78A-990C-4BFA-9F1A-4DD931FC608F}"/>
              </a:ext>
            </a:extLst>
          </p:cNvPr>
          <p:cNvSpPr>
            <a:spLocks noGrp="1"/>
          </p:cNvSpPr>
          <p:nvPr>
            <p:custDataLst>
              <p:tags r:id="rId15"/>
            </p:custDataLst>
          </p:nvPr>
        </p:nvSpPr>
        <p:spPr bwMode="auto">
          <a:xfrm>
            <a:off x="3252788" y="5986463"/>
            <a:ext cx="171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5719289-D3C0-4EC4-BF9D-E73FB8636F75}" type="datetime'''''''''''0''''''''''''''9'''''''''''''''">
              <a:rPr lang="en-US" altLang="en-US" sz="1200" smtClean="0">
                <a:latin typeface="Bahnschrift" panose="020B0502040204020203" pitchFamily="34" charset="0"/>
                <a:cs typeface="+mn-cs"/>
              </a:rPr>
              <a:pPr/>
              <a:t>09</a:t>
            </a:fld>
            <a:endParaRPr lang="en-US" sz="1200" dirty="0">
              <a:latin typeface="Bahnschrift" panose="020B0502040204020203" pitchFamily="34" charset="0"/>
              <a:cs typeface="+mn-cs"/>
            </a:endParaRPr>
          </a:p>
        </p:txBody>
      </p:sp>
      <p:sp>
        <p:nvSpPr>
          <p:cNvPr id="27" name="Text Placeholder 4">
            <a:extLst>
              <a:ext uri="{FF2B5EF4-FFF2-40B4-BE49-F238E27FC236}">
                <a16:creationId xmlns:a16="http://schemas.microsoft.com/office/drawing/2014/main" id="{DD9FBAAD-CF4C-488E-9C6C-7FC9BF4DB129}"/>
              </a:ext>
            </a:extLst>
          </p:cNvPr>
          <p:cNvSpPr>
            <a:spLocks noGrp="1"/>
          </p:cNvSpPr>
          <p:nvPr>
            <p:custDataLst>
              <p:tags r:id="rId16"/>
            </p:custDataLst>
          </p:nvPr>
        </p:nvSpPr>
        <p:spPr bwMode="auto">
          <a:xfrm>
            <a:off x="1617663" y="5986463"/>
            <a:ext cx="171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13C52A9C-40B8-437F-B6D1-4E4E07E10490}" type="datetime'''''''''''''''''''''05'''''''''''''''''">
              <a:rPr lang="en-US" altLang="en-US" sz="1200" smtClean="0">
                <a:latin typeface="Bahnschrift" panose="020B0502040204020203" pitchFamily="34" charset="0"/>
                <a:cs typeface="+mn-cs"/>
              </a:rPr>
              <a:pPr/>
              <a:t>05</a:t>
            </a:fld>
            <a:endParaRPr lang="en-US" sz="1200" dirty="0">
              <a:latin typeface="Bahnschrift" panose="020B0502040204020203" pitchFamily="34" charset="0"/>
              <a:cs typeface="+mn-cs"/>
            </a:endParaRPr>
          </a:p>
        </p:txBody>
      </p:sp>
      <p:sp>
        <p:nvSpPr>
          <p:cNvPr id="28" name="Text Placeholder 4">
            <a:extLst>
              <a:ext uri="{FF2B5EF4-FFF2-40B4-BE49-F238E27FC236}">
                <a16:creationId xmlns:a16="http://schemas.microsoft.com/office/drawing/2014/main" id="{06830D67-C110-4684-B705-C2C2B807FFF7}"/>
              </a:ext>
            </a:extLst>
          </p:cNvPr>
          <p:cNvSpPr>
            <a:spLocks noGrp="1"/>
          </p:cNvSpPr>
          <p:nvPr>
            <p:custDataLst>
              <p:tags r:id="rId17"/>
            </p:custDataLst>
          </p:nvPr>
        </p:nvSpPr>
        <p:spPr bwMode="auto">
          <a:xfrm>
            <a:off x="2025650" y="5986463"/>
            <a:ext cx="171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2065E36-A063-410B-B057-F81661B69CB1}" type="datetime'''''''0''''''''6'''''''''''''''''''''''''">
              <a:rPr lang="en-US" altLang="en-US" sz="1200" smtClean="0">
                <a:latin typeface="Bahnschrift" panose="020B0502040204020203" pitchFamily="34" charset="0"/>
                <a:cs typeface="+mn-cs"/>
              </a:rPr>
              <a:pPr/>
              <a:t>06</a:t>
            </a:fld>
            <a:endParaRPr lang="en-US" sz="1200" dirty="0">
              <a:latin typeface="Bahnschrift" panose="020B0502040204020203" pitchFamily="34" charset="0"/>
              <a:cs typeface="+mn-cs"/>
            </a:endParaRPr>
          </a:p>
        </p:txBody>
      </p:sp>
      <p:sp>
        <p:nvSpPr>
          <p:cNvPr id="29" name="Text Placeholder 4">
            <a:extLst>
              <a:ext uri="{FF2B5EF4-FFF2-40B4-BE49-F238E27FC236}">
                <a16:creationId xmlns:a16="http://schemas.microsoft.com/office/drawing/2014/main" id="{E85E3BB0-63BB-4DF6-9A1C-88574BD1EFC1}"/>
              </a:ext>
            </a:extLst>
          </p:cNvPr>
          <p:cNvSpPr>
            <a:spLocks noGrp="1"/>
          </p:cNvSpPr>
          <p:nvPr>
            <p:custDataLst>
              <p:tags r:id="rId18"/>
            </p:custDataLst>
          </p:nvPr>
        </p:nvSpPr>
        <p:spPr bwMode="auto">
          <a:xfrm>
            <a:off x="2843213" y="5986463"/>
            <a:ext cx="171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DBF5C54-D78D-4524-AD33-541C50A0C064}" type="datetime'''''''''''''''''''''''''''''''''''''''''''0''''''8'''''''">
              <a:rPr lang="en-US" altLang="en-US" sz="1200" smtClean="0">
                <a:latin typeface="Bahnschrift" panose="020B0502040204020203" pitchFamily="34" charset="0"/>
                <a:cs typeface="+mn-cs"/>
              </a:rPr>
              <a:pPr/>
              <a:t>08</a:t>
            </a:fld>
            <a:endParaRPr lang="en-US" sz="1200" dirty="0">
              <a:latin typeface="Bahnschrift" panose="020B0502040204020203" pitchFamily="34" charset="0"/>
              <a:cs typeface="+mn-cs"/>
            </a:endParaRPr>
          </a:p>
        </p:txBody>
      </p:sp>
      <p:sp>
        <p:nvSpPr>
          <p:cNvPr id="30" name="Text Placeholder 4">
            <a:extLst>
              <a:ext uri="{FF2B5EF4-FFF2-40B4-BE49-F238E27FC236}">
                <a16:creationId xmlns:a16="http://schemas.microsoft.com/office/drawing/2014/main" id="{21B31230-ED42-4DF1-9784-D808768EA447}"/>
              </a:ext>
            </a:extLst>
          </p:cNvPr>
          <p:cNvSpPr>
            <a:spLocks noGrp="1"/>
          </p:cNvSpPr>
          <p:nvPr>
            <p:custDataLst>
              <p:tags r:id="rId19"/>
            </p:custDataLst>
          </p:nvPr>
        </p:nvSpPr>
        <p:spPr bwMode="auto">
          <a:xfrm>
            <a:off x="2435225" y="5986463"/>
            <a:ext cx="171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38FA6BA7-156F-407D-BF8B-367124745299}" type="datetime'''0''''''''''''7'''''''''''''''''''''''''''''">
              <a:rPr lang="en-US" altLang="en-US" sz="1200" smtClean="0">
                <a:latin typeface="Bahnschrift" panose="020B0502040204020203" pitchFamily="34" charset="0"/>
                <a:cs typeface="+mn-cs"/>
              </a:rPr>
              <a:pPr/>
              <a:t>07</a:t>
            </a:fld>
            <a:endParaRPr lang="en-US" sz="1200" dirty="0">
              <a:latin typeface="Bahnschrift" panose="020B0502040204020203" pitchFamily="34" charset="0"/>
              <a:cs typeface="+mn-cs"/>
            </a:endParaRPr>
          </a:p>
        </p:txBody>
      </p:sp>
      <p:sp>
        <p:nvSpPr>
          <p:cNvPr id="171" name="Text Placeholder 4">
            <a:extLst>
              <a:ext uri="{FF2B5EF4-FFF2-40B4-BE49-F238E27FC236}">
                <a16:creationId xmlns:a16="http://schemas.microsoft.com/office/drawing/2014/main" id="{4C1F3293-4EFE-461D-940D-7EE66BAE31C5}"/>
              </a:ext>
            </a:extLst>
          </p:cNvPr>
          <p:cNvSpPr>
            <a:spLocks noGrp="1"/>
          </p:cNvSpPr>
          <p:nvPr>
            <p:custDataLst>
              <p:tags r:id="rId20"/>
            </p:custDataLst>
          </p:nvPr>
        </p:nvSpPr>
        <p:spPr bwMode="gray">
          <a:xfrm>
            <a:off x="7285038" y="4211638"/>
            <a:ext cx="2825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349EF7E-CBEB-4D41-9ED4-63EA8EA3E5C3}" type="datetime'''''''''''''5''''''''''2''''''''''''''''''''''''''''2'''''">
              <a:rPr lang="en-US" altLang="en-US" sz="1200" smtClean="0">
                <a:latin typeface="Bahnschrift" panose="020B0502040204020203" pitchFamily="34" charset="0"/>
                <a:cs typeface="+mn-cs"/>
              </a:rPr>
              <a:pPr/>
              <a:t>522</a:t>
            </a:fld>
            <a:endParaRPr lang="en-US" sz="1200" dirty="0">
              <a:latin typeface="Bahnschrift" panose="020B0502040204020203" pitchFamily="34" charset="0"/>
              <a:cs typeface="+mn-cs"/>
            </a:endParaRPr>
          </a:p>
        </p:txBody>
      </p:sp>
      <p:sp>
        <p:nvSpPr>
          <p:cNvPr id="327" name="Text Placeholder 4">
            <a:extLst>
              <a:ext uri="{FF2B5EF4-FFF2-40B4-BE49-F238E27FC236}">
                <a16:creationId xmlns:a16="http://schemas.microsoft.com/office/drawing/2014/main" id="{4C1F3293-4EFE-461D-940D-7EE66BAE31C5}"/>
              </a:ext>
            </a:extLst>
          </p:cNvPr>
          <p:cNvSpPr>
            <a:spLocks noGrp="1"/>
          </p:cNvSpPr>
          <p:nvPr>
            <p:custDataLst>
              <p:tags r:id="rId21"/>
            </p:custDataLst>
          </p:nvPr>
        </p:nvSpPr>
        <p:spPr bwMode="gray">
          <a:xfrm>
            <a:off x="5240338" y="4827588"/>
            <a:ext cx="2825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26BF8477-C169-4310-B7E3-64B74FEDA5F8}" type="datetime'''''''''''''''''3''''''''''''''''''1''0'''''''''''''''''''">
              <a:rPr lang="en-US" altLang="en-US" sz="1200" smtClean="0">
                <a:latin typeface="Bahnschrift" panose="020B0502040204020203" pitchFamily="34" charset="0"/>
                <a:cs typeface="+mn-cs"/>
              </a:rPr>
              <a:pPr/>
              <a:t>310</a:t>
            </a:fld>
            <a:endParaRPr lang="en-US" sz="1200" dirty="0">
              <a:latin typeface="Bahnschrift" panose="020B0502040204020203" pitchFamily="34" charset="0"/>
              <a:cs typeface="+mn-cs"/>
            </a:endParaRPr>
          </a:p>
        </p:txBody>
      </p:sp>
      <p:sp>
        <p:nvSpPr>
          <p:cNvPr id="32" name="Text Placeholder 4">
            <a:extLst>
              <a:ext uri="{FF2B5EF4-FFF2-40B4-BE49-F238E27FC236}">
                <a16:creationId xmlns:a16="http://schemas.microsoft.com/office/drawing/2014/main" id="{8068EB43-0F28-46D8-BF8C-86DBAE534AB4}"/>
              </a:ext>
            </a:extLst>
          </p:cNvPr>
          <p:cNvSpPr>
            <a:spLocks noGrp="1"/>
          </p:cNvSpPr>
          <p:nvPr>
            <p:custDataLst>
              <p:tags r:id="rId22"/>
            </p:custDataLst>
          </p:nvPr>
        </p:nvSpPr>
        <p:spPr bwMode="auto">
          <a:xfrm>
            <a:off x="3660775" y="5986463"/>
            <a:ext cx="171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D5EF213-8582-4231-81CC-A169141E5D81}" type="datetime'1''''''''0'''''''''''''''''''''''''">
              <a:rPr lang="en-US" altLang="en-US" sz="1200" smtClean="0">
                <a:latin typeface="Bahnschrift" panose="020B0502040204020203" pitchFamily="34" charset="0"/>
                <a:cs typeface="+mn-cs"/>
              </a:rPr>
              <a:pPr/>
              <a:t>10</a:t>
            </a:fld>
            <a:endParaRPr lang="en-US" sz="1200" dirty="0">
              <a:latin typeface="Bahnschrift" panose="020B0502040204020203" pitchFamily="34" charset="0"/>
              <a:cs typeface="+mn-cs"/>
            </a:endParaRPr>
          </a:p>
        </p:txBody>
      </p:sp>
      <p:sp>
        <p:nvSpPr>
          <p:cNvPr id="33" name="Text Placeholder 4">
            <a:extLst>
              <a:ext uri="{FF2B5EF4-FFF2-40B4-BE49-F238E27FC236}">
                <a16:creationId xmlns:a16="http://schemas.microsoft.com/office/drawing/2014/main" id="{073AE790-4332-4A95-9666-014628ED5BCD}"/>
              </a:ext>
            </a:extLst>
          </p:cNvPr>
          <p:cNvSpPr>
            <a:spLocks noGrp="1"/>
          </p:cNvSpPr>
          <p:nvPr>
            <p:custDataLst>
              <p:tags r:id="rId23"/>
            </p:custDataLst>
          </p:nvPr>
        </p:nvSpPr>
        <p:spPr bwMode="auto">
          <a:xfrm>
            <a:off x="4070350" y="5986463"/>
            <a:ext cx="171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C293959-4B3C-4EAA-9133-AA5F1DCA6443}" type="datetime'1''''''1'''''''''''''''''''''">
              <a:rPr lang="en-US" altLang="en-US" sz="1200" smtClean="0">
                <a:latin typeface="Bahnschrift" panose="020B0502040204020203" pitchFamily="34" charset="0"/>
                <a:cs typeface="+mn-cs"/>
              </a:rPr>
              <a:pPr/>
              <a:t>11</a:t>
            </a:fld>
            <a:endParaRPr lang="en-US" sz="1200" dirty="0">
              <a:latin typeface="Bahnschrift" panose="020B0502040204020203" pitchFamily="34" charset="0"/>
              <a:cs typeface="+mn-cs"/>
            </a:endParaRPr>
          </a:p>
        </p:txBody>
      </p:sp>
      <p:sp>
        <p:nvSpPr>
          <p:cNvPr id="34" name="Text Placeholder 4">
            <a:extLst>
              <a:ext uri="{FF2B5EF4-FFF2-40B4-BE49-F238E27FC236}">
                <a16:creationId xmlns:a16="http://schemas.microsoft.com/office/drawing/2014/main" id="{C8208186-EA7E-4550-8779-F925E836C0E1}"/>
              </a:ext>
            </a:extLst>
          </p:cNvPr>
          <p:cNvSpPr>
            <a:spLocks noGrp="1"/>
          </p:cNvSpPr>
          <p:nvPr>
            <p:custDataLst>
              <p:tags r:id="rId24"/>
            </p:custDataLst>
          </p:nvPr>
        </p:nvSpPr>
        <p:spPr bwMode="auto">
          <a:xfrm>
            <a:off x="4478338" y="5986463"/>
            <a:ext cx="171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667565E-7FD7-4094-9C9A-39A667802827}" type="datetime'1''''''''2'''''''''''''''''">
              <a:rPr lang="en-US" altLang="en-US" sz="1200" smtClean="0">
                <a:latin typeface="Bahnschrift" panose="020B0502040204020203" pitchFamily="34" charset="0"/>
                <a:cs typeface="+mn-cs"/>
              </a:rPr>
              <a:pPr/>
              <a:t>12</a:t>
            </a:fld>
            <a:endParaRPr lang="en-US" sz="1200" dirty="0">
              <a:latin typeface="Bahnschrift" panose="020B0502040204020203" pitchFamily="34" charset="0"/>
              <a:cs typeface="+mn-cs"/>
            </a:endParaRPr>
          </a:p>
        </p:txBody>
      </p:sp>
      <p:sp>
        <p:nvSpPr>
          <p:cNvPr id="104" name="Text Placeholder 4">
            <a:extLst>
              <a:ext uri="{FF2B5EF4-FFF2-40B4-BE49-F238E27FC236}">
                <a16:creationId xmlns:a16="http://schemas.microsoft.com/office/drawing/2014/main" id="{C60D7FF1-99BD-4155-A1B8-90F82DB133E2}"/>
              </a:ext>
            </a:extLst>
          </p:cNvPr>
          <p:cNvSpPr>
            <a:spLocks noGrp="1"/>
          </p:cNvSpPr>
          <p:nvPr>
            <p:custDataLst>
              <p:tags r:id="rId25"/>
            </p:custDataLst>
          </p:nvPr>
        </p:nvSpPr>
        <p:spPr bwMode="auto">
          <a:xfrm>
            <a:off x="7748588" y="5986463"/>
            <a:ext cx="171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00C1B19A-A5FE-4BA2-BBFA-2F6C8B46B027}" type="datetime'''''2''''''''''''0'''">
              <a:rPr lang="en-US" altLang="en-US" sz="1200" smtClean="0">
                <a:latin typeface="Bahnschrift" panose="020B0502040204020203" pitchFamily="34" charset="0"/>
                <a:cs typeface="+mn-cs"/>
              </a:rPr>
              <a:pPr/>
              <a:t>20</a:t>
            </a:fld>
            <a:endParaRPr lang="en-US" sz="1200" dirty="0">
              <a:latin typeface="Bahnschrift" panose="020B0502040204020203" pitchFamily="34" charset="0"/>
              <a:cs typeface="+mn-cs"/>
            </a:endParaRPr>
          </a:p>
        </p:txBody>
      </p:sp>
      <p:sp>
        <p:nvSpPr>
          <p:cNvPr id="36" name="Text Placeholder 4">
            <a:extLst>
              <a:ext uri="{FF2B5EF4-FFF2-40B4-BE49-F238E27FC236}">
                <a16:creationId xmlns:a16="http://schemas.microsoft.com/office/drawing/2014/main" id="{E669692C-2589-457E-8FE1-2DCE7109D736}"/>
              </a:ext>
            </a:extLst>
          </p:cNvPr>
          <p:cNvSpPr>
            <a:spLocks noGrp="1"/>
          </p:cNvSpPr>
          <p:nvPr>
            <p:custDataLst>
              <p:tags r:id="rId26"/>
            </p:custDataLst>
          </p:nvPr>
        </p:nvSpPr>
        <p:spPr bwMode="auto">
          <a:xfrm>
            <a:off x="4887913" y="5986463"/>
            <a:ext cx="171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FE560E7-2845-46CB-8013-C24D6D27CB06}" type="datetime'''''''''''''''1''''''''''''''''''''''''3'''''''''''''">
              <a:rPr lang="en-US" altLang="en-US" sz="1200" smtClean="0">
                <a:latin typeface="Bahnschrift" panose="020B0502040204020203" pitchFamily="34" charset="0"/>
                <a:cs typeface="+mn-cs"/>
              </a:rPr>
              <a:pPr/>
              <a:t>13</a:t>
            </a:fld>
            <a:endParaRPr lang="en-US" sz="1200" dirty="0">
              <a:latin typeface="Bahnschrift" panose="020B0502040204020203" pitchFamily="34" charset="0"/>
              <a:cs typeface="+mn-cs"/>
            </a:endParaRPr>
          </a:p>
        </p:txBody>
      </p:sp>
      <p:sp>
        <p:nvSpPr>
          <p:cNvPr id="86" name="Text Placeholder 4">
            <a:extLst>
              <a:ext uri="{FF2B5EF4-FFF2-40B4-BE49-F238E27FC236}">
                <a16:creationId xmlns:a16="http://schemas.microsoft.com/office/drawing/2014/main" id="{6CA1BC9B-B079-41CD-A40A-D51A0679CA26}"/>
              </a:ext>
            </a:extLst>
          </p:cNvPr>
          <p:cNvSpPr>
            <a:spLocks noGrp="1"/>
          </p:cNvSpPr>
          <p:nvPr>
            <p:custDataLst>
              <p:tags r:id="rId27"/>
            </p:custDataLst>
          </p:nvPr>
        </p:nvSpPr>
        <p:spPr bwMode="auto">
          <a:xfrm>
            <a:off x="5295900" y="5986463"/>
            <a:ext cx="171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5DA545F-92E7-45C0-A1FF-91EF24E7DFE0}" type="datetime'''''''''''''''1''''''''''''''''''4'''''''">
              <a:rPr lang="en-US" altLang="en-US" sz="1200" smtClean="0">
                <a:latin typeface="Bahnschrift" panose="020B0502040204020203" pitchFamily="34" charset="0"/>
                <a:cs typeface="+mn-cs"/>
              </a:rPr>
              <a:pPr/>
              <a:t>14</a:t>
            </a:fld>
            <a:endParaRPr lang="en-US" sz="1200" dirty="0">
              <a:latin typeface="Bahnschrift" panose="020B0502040204020203" pitchFamily="34" charset="0"/>
              <a:cs typeface="+mn-cs"/>
            </a:endParaRPr>
          </a:p>
        </p:txBody>
      </p:sp>
      <p:sp>
        <p:nvSpPr>
          <p:cNvPr id="175" name="Text Placeholder 4">
            <a:extLst>
              <a:ext uri="{FF2B5EF4-FFF2-40B4-BE49-F238E27FC236}">
                <a16:creationId xmlns:a16="http://schemas.microsoft.com/office/drawing/2014/main" id="{4C1F3293-4EFE-461D-940D-7EE66BAE31C5}"/>
              </a:ext>
            </a:extLst>
          </p:cNvPr>
          <p:cNvSpPr>
            <a:spLocks noGrp="1"/>
          </p:cNvSpPr>
          <p:nvPr>
            <p:custDataLst>
              <p:tags r:id="rId28"/>
            </p:custDataLst>
          </p:nvPr>
        </p:nvSpPr>
        <p:spPr bwMode="gray">
          <a:xfrm>
            <a:off x="7693025" y="3910013"/>
            <a:ext cx="2825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A357E6E-1C99-4609-8758-11D3C5C52710}" type="datetime'''''''''''''''''''''6''''''''''2''''6'">
              <a:rPr lang="en-US" altLang="en-US" sz="1200" smtClean="0">
                <a:latin typeface="Bahnschrift" panose="020B0502040204020203" pitchFamily="34" charset="0"/>
                <a:cs typeface="+mn-cs"/>
              </a:rPr>
              <a:pPr/>
              <a:t>626</a:t>
            </a:fld>
            <a:endParaRPr lang="en-US" sz="1200" dirty="0">
              <a:latin typeface="Bahnschrift" panose="020B0502040204020203" pitchFamily="34" charset="0"/>
              <a:cs typeface="+mn-cs"/>
            </a:endParaRPr>
          </a:p>
        </p:txBody>
      </p:sp>
      <p:sp>
        <p:nvSpPr>
          <p:cNvPr id="89" name="Text Placeholder 4">
            <a:extLst>
              <a:ext uri="{FF2B5EF4-FFF2-40B4-BE49-F238E27FC236}">
                <a16:creationId xmlns:a16="http://schemas.microsoft.com/office/drawing/2014/main" id="{1E717276-8115-47CA-A147-D7D50D14FEA9}"/>
              </a:ext>
            </a:extLst>
          </p:cNvPr>
          <p:cNvSpPr>
            <a:spLocks noGrp="1"/>
          </p:cNvSpPr>
          <p:nvPr>
            <p:custDataLst>
              <p:tags r:id="rId29"/>
            </p:custDataLst>
          </p:nvPr>
        </p:nvSpPr>
        <p:spPr bwMode="auto">
          <a:xfrm>
            <a:off x="5705475" y="5986463"/>
            <a:ext cx="171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0FF902D8-449A-4C96-B808-D4B2D66675B8}" type="datetime'''''''1''''''''''''''''5'">
              <a:rPr lang="en-US" altLang="en-US" sz="1200" smtClean="0">
                <a:latin typeface="Bahnschrift" panose="020B0502040204020203" pitchFamily="34" charset="0"/>
                <a:cs typeface="+mn-cs"/>
              </a:rPr>
              <a:pPr/>
              <a:t>15</a:t>
            </a:fld>
            <a:endParaRPr lang="en-US" sz="1200" dirty="0">
              <a:latin typeface="Bahnschrift" panose="020B0502040204020203" pitchFamily="34" charset="0"/>
              <a:cs typeface="+mn-cs"/>
            </a:endParaRPr>
          </a:p>
        </p:txBody>
      </p:sp>
      <p:sp>
        <p:nvSpPr>
          <p:cNvPr id="92" name="Text Placeholder 4">
            <a:extLst>
              <a:ext uri="{FF2B5EF4-FFF2-40B4-BE49-F238E27FC236}">
                <a16:creationId xmlns:a16="http://schemas.microsoft.com/office/drawing/2014/main" id="{8E0BB4C2-DD8B-464E-B6F6-9EA57E9C40E0}"/>
              </a:ext>
            </a:extLst>
          </p:cNvPr>
          <p:cNvSpPr>
            <a:spLocks noGrp="1"/>
          </p:cNvSpPr>
          <p:nvPr>
            <p:custDataLst>
              <p:tags r:id="rId30"/>
            </p:custDataLst>
          </p:nvPr>
        </p:nvSpPr>
        <p:spPr bwMode="auto">
          <a:xfrm>
            <a:off x="6113463" y="5986463"/>
            <a:ext cx="171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BC4DE5F8-0E88-4AEE-89F0-D4225FC17335}" type="datetime'''''''''''1''''''''''''''6'''''''''">
              <a:rPr lang="en-US" altLang="en-US" sz="1200" smtClean="0">
                <a:latin typeface="Bahnschrift" panose="020B0502040204020203" pitchFamily="34" charset="0"/>
                <a:cs typeface="+mn-cs"/>
              </a:rPr>
              <a:pPr/>
              <a:t>16</a:t>
            </a:fld>
            <a:endParaRPr lang="en-US" sz="1200" dirty="0">
              <a:latin typeface="Bahnschrift" panose="020B0502040204020203" pitchFamily="34" charset="0"/>
              <a:cs typeface="+mn-cs"/>
            </a:endParaRPr>
          </a:p>
        </p:txBody>
      </p:sp>
      <p:sp>
        <p:nvSpPr>
          <p:cNvPr id="95" name="Text Placeholder 4">
            <a:extLst>
              <a:ext uri="{FF2B5EF4-FFF2-40B4-BE49-F238E27FC236}">
                <a16:creationId xmlns:a16="http://schemas.microsoft.com/office/drawing/2014/main" id="{CFF4F034-181D-4D73-A168-01668B7AE0A8}"/>
              </a:ext>
            </a:extLst>
          </p:cNvPr>
          <p:cNvSpPr>
            <a:spLocks noGrp="1"/>
          </p:cNvSpPr>
          <p:nvPr>
            <p:custDataLst>
              <p:tags r:id="rId31"/>
            </p:custDataLst>
          </p:nvPr>
        </p:nvSpPr>
        <p:spPr bwMode="auto">
          <a:xfrm>
            <a:off x="6523038" y="5986463"/>
            <a:ext cx="171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36257A7-E089-41EF-A82A-7823973767FC}" type="datetime'''''''''''17'">
              <a:rPr lang="en-US" altLang="en-US" sz="1200" smtClean="0">
                <a:latin typeface="Bahnschrift" panose="020B0502040204020203" pitchFamily="34" charset="0"/>
                <a:cs typeface="+mn-cs"/>
              </a:rPr>
              <a:pPr/>
              <a:t>17</a:t>
            </a:fld>
            <a:endParaRPr lang="en-US" sz="1200" dirty="0">
              <a:latin typeface="Bahnschrift" panose="020B0502040204020203" pitchFamily="34" charset="0"/>
              <a:cs typeface="+mn-cs"/>
            </a:endParaRPr>
          </a:p>
        </p:txBody>
      </p:sp>
      <p:sp>
        <p:nvSpPr>
          <p:cNvPr id="98" name="Text Placeholder 4">
            <a:extLst>
              <a:ext uri="{FF2B5EF4-FFF2-40B4-BE49-F238E27FC236}">
                <a16:creationId xmlns:a16="http://schemas.microsoft.com/office/drawing/2014/main" id="{AF369EE8-5C97-4AB1-BEA9-252FD319A18C}"/>
              </a:ext>
            </a:extLst>
          </p:cNvPr>
          <p:cNvSpPr>
            <a:spLocks noGrp="1"/>
          </p:cNvSpPr>
          <p:nvPr>
            <p:custDataLst>
              <p:tags r:id="rId32"/>
            </p:custDataLst>
          </p:nvPr>
        </p:nvSpPr>
        <p:spPr bwMode="auto">
          <a:xfrm>
            <a:off x="6931025" y="5986463"/>
            <a:ext cx="171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CB84976-97D4-40A7-AFC9-2B275AAB081B}" type="datetime'''''''''''1''''''''8'''''''''''''''''''''">
              <a:rPr lang="en-US" altLang="en-US" sz="1200" smtClean="0">
                <a:latin typeface="Bahnschrift" panose="020B0502040204020203" pitchFamily="34" charset="0"/>
                <a:cs typeface="+mn-cs"/>
              </a:rPr>
              <a:pPr/>
              <a:t>18</a:t>
            </a:fld>
            <a:endParaRPr lang="en-US" sz="1200" dirty="0">
              <a:latin typeface="Bahnschrift" panose="020B0502040204020203" pitchFamily="34" charset="0"/>
              <a:cs typeface="+mn-cs"/>
            </a:endParaRPr>
          </a:p>
        </p:txBody>
      </p:sp>
      <p:sp>
        <p:nvSpPr>
          <p:cNvPr id="107" name="Text Placeholder 4">
            <a:extLst>
              <a:ext uri="{FF2B5EF4-FFF2-40B4-BE49-F238E27FC236}">
                <a16:creationId xmlns:a16="http://schemas.microsoft.com/office/drawing/2014/main" id="{72660373-5F99-40A7-80AC-E9FDFC08587D}"/>
              </a:ext>
            </a:extLst>
          </p:cNvPr>
          <p:cNvSpPr>
            <a:spLocks noGrp="1"/>
          </p:cNvSpPr>
          <p:nvPr>
            <p:custDataLst>
              <p:tags r:id="rId33"/>
            </p:custDataLst>
          </p:nvPr>
        </p:nvSpPr>
        <p:spPr bwMode="auto">
          <a:xfrm>
            <a:off x="8158163" y="5986463"/>
            <a:ext cx="1714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375CF4F8-9CBF-4530-8AD1-5AE3AC996780}" type="datetime'''''2''1'''''''''''''''''''''''''''''''''''''''''''''''''''''">
              <a:rPr lang="en-US" altLang="en-US" sz="1200" smtClean="0">
                <a:latin typeface="Bahnschrift" panose="020B0502040204020203" pitchFamily="34" charset="0"/>
                <a:cs typeface="+mn-cs"/>
              </a:rPr>
              <a:pPr/>
              <a:t>21</a:t>
            </a:fld>
            <a:endParaRPr lang="en-US" sz="1200" dirty="0">
              <a:latin typeface="Bahnschrift" panose="020B0502040204020203" pitchFamily="34" charset="0"/>
              <a:cs typeface="+mn-cs"/>
            </a:endParaRPr>
          </a:p>
        </p:txBody>
      </p:sp>
      <p:sp>
        <p:nvSpPr>
          <p:cNvPr id="111" name="Text Placeholder 4">
            <a:extLst>
              <a:ext uri="{FF2B5EF4-FFF2-40B4-BE49-F238E27FC236}">
                <a16:creationId xmlns:a16="http://schemas.microsoft.com/office/drawing/2014/main" id="{3B3DEBE1-1F1E-4C0E-84B6-9EEDA105099A}"/>
              </a:ext>
            </a:extLst>
          </p:cNvPr>
          <p:cNvSpPr>
            <a:spLocks noGrp="1"/>
          </p:cNvSpPr>
          <p:nvPr>
            <p:custDataLst>
              <p:tags r:id="rId34"/>
            </p:custDataLst>
          </p:nvPr>
        </p:nvSpPr>
        <p:spPr bwMode="auto">
          <a:xfrm>
            <a:off x="8486775" y="5986463"/>
            <a:ext cx="330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3CB0DA6-F4A8-4109-8379-5997D7384E1C}" type="datetime'''2''''''''''0''''''''''2''''''''2'''''''''''">
              <a:rPr lang="en-US" altLang="en-US" sz="1200" smtClean="0">
                <a:latin typeface="Bahnschrift" panose="020B0502040204020203" pitchFamily="34" charset="0"/>
                <a:cs typeface="+mn-cs"/>
              </a:rPr>
              <a:pPr/>
              <a:t>2022</a:t>
            </a:fld>
            <a:endParaRPr lang="en-US" sz="1200" dirty="0">
              <a:latin typeface="Bahnschrift" panose="020B0502040204020203" pitchFamily="34" charset="0"/>
              <a:cs typeface="+mn-cs"/>
            </a:endParaRPr>
          </a:p>
        </p:txBody>
      </p:sp>
      <p:sp>
        <p:nvSpPr>
          <p:cNvPr id="159" name="Text Placeholder 4">
            <a:extLst>
              <a:ext uri="{FF2B5EF4-FFF2-40B4-BE49-F238E27FC236}">
                <a16:creationId xmlns:a16="http://schemas.microsoft.com/office/drawing/2014/main" id="{4C1F3293-4EFE-461D-940D-7EE66BAE31C5}"/>
              </a:ext>
            </a:extLst>
          </p:cNvPr>
          <p:cNvSpPr>
            <a:spLocks noGrp="1"/>
          </p:cNvSpPr>
          <p:nvPr>
            <p:custDataLst>
              <p:tags r:id="rId35"/>
            </p:custDataLst>
          </p:nvPr>
        </p:nvSpPr>
        <p:spPr bwMode="gray">
          <a:xfrm>
            <a:off x="6057900" y="4502150"/>
            <a:ext cx="2825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C8734CE-B1F2-4C76-BE6D-3C5323526814}" type="datetime'''4''''2''''''''''''''''''''''2'''''''">
              <a:rPr lang="en-US" altLang="en-US" sz="1200" smtClean="0">
                <a:latin typeface="Bahnschrift" panose="020B0502040204020203" pitchFamily="34" charset="0"/>
                <a:cs typeface="+mn-cs"/>
              </a:rPr>
              <a:pPr/>
              <a:t>422</a:t>
            </a:fld>
            <a:endParaRPr lang="en-US" sz="1200" dirty="0">
              <a:latin typeface="Bahnschrift" panose="020B0502040204020203" pitchFamily="34" charset="0"/>
              <a:cs typeface="+mn-cs"/>
            </a:endParaRPr>
          </a:p>
        </p:txBody>
      </p:sp>
      <p:sp>
        <p:nvSpPr>
          <p:cNvPr id="163" name="Text Placeholder 4">
            <a:extLst>
              <a:ext uri="{FF2B5EF4-FFF2-40B4-BE49-F238E27FC236}">
                <a16:creationId xmlns:a16="http://schemas.microsoft.com/office/drawing/2014/main" id="{4C1F3293-4EFE-461D-940D-7EE66BAE31C5}"/>
              </a:ext>
            </a:extLst>
          </p:cNvPr>
          <p:cNvSpPr>
            <a:spLocks noGrp="1"/>
          </p:cNvSpPr>
          <p:nvPr>
            <p:custDataLst>
              <p:tags r:id="rId36"/>
            </p:custDataLst>
          </p:nvPr>
        </p:nvSpPr>
        <p:spPr bwMode="gray">
          <a:xfrm>
            <a:off x="6467475" y="4368800"/>
            <a:ext cx="2825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EA481645-37B0-41C6-A018-7E49B9F19A7B}" type="datetime'''''''''''''4''''''''''68'''''''">
              <a:rPr lang="en-US" altLang="en-US" sz="1200" smtClean="0">
                <a:latin typeface="Bahnschrift" panose="020B0502040204020203" pitchFamily="34" charset="0"/>
                <a:cs typeface="+mn-cs"/>
              </a:rPr>
              <a:pPr/>
              <a:t>468</a:t>
            </a:fld>
            <a:endParaRPr lang="en-US" sz="1200" dirty="0">
              <a:latin typeface="Bahnschrift" panose="020B0502040204020203" pitchFamily="34" charset="0"/>
              <a:cs typeface="+mn-cs"/>
            </a:endParaRPr>
          </a:p>
        </p:txBody>
      </p:sp>
      <p:sp>
        <p:nvSpPr>
          <p:cNvPr id="181" name="Text Placeholder 4">
            <a:extLst>
              <a:ext uri="{FF2B5EF4-FFF2-40B4-BE49-F238E27FC236}">
                <a16:creationId xmlns:a16="http://schemas.microsoft.com/office/drawing/2014/main" id="{4C1F3293-4EFE-461D-940D-7EE66BAE31C5}"/>
              </a:ext>
            </a:extLst>
          </p:cNvPr>
          <p:cNvSpPr>
            <a:spLocks noGrp="1"/>
          </p:cNvSpPr>
          <p:nvPr>
            <p:custDataLst>
              <p:tags r:id="rId37"/>
            </p:custDataLst>
          </p:nvPr>
        </p:nvSpPr>
        <p:spPr bwMode="gray">
          <a:xfrm>
            <a:off x="8443913" y="2505075"/>
            <a:ext cx="4175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9055184-5EBC-4DBE-B70F-BAC15D241DE2}" type="datetime'''''''1'''',''''''''''1''''''''1''''''''0'''''''''">
              <a:rPr lang="en-US" altLang="en-US" sz="1200" smtClean="0">
                <a:latin typeface="Bahnschrift" panose="020B0502040204020203" pitchFamily="34" charset="0"/>
                <a:cs typeface="+mn-cs"/>
              </a:rPr>
              <a:pPr/>
              <a:t>1,110</a:t>
            </a:fld>
            <a:endParaRPr lang="en-US" sz="1200" dirty="0">
              <a:latin typeface="Bahnschrift" panose="020B0502040204020203" pitchFamily="34" charset="0"/>
              <a:cs typeface="+mn-cs"/>
            </a:endParaRPr>
          </a:p>
        </p:txBody>
      </p:sp>
      <p:sp>
        <p:nvSpPr>
          <p:cNvPr id="167" name="Text Placeholder 4">
            <a:extLst>
              <a:ext uri="{FF2B5EF4-FFF2-40B4-BE49-F238E27FC236}">
                <a16:creationId xmlns:a16="http://schemas.microsoft.com/office/drawing/2014/main" id="{4C1F3293-4EFE-461D-940D-7EE66BAE31C5}"/>
              </a:ext>
            </a:extLst>
          </p:cNvPr>
          <p:cNvSpPr>
            <a:spLocks noGrp="1"/>
          </p:cNvSpPr>
          <p:nvPr>
            <p:custDataLst>
              <p:tags r:id="rId38"/>
            </p:custDataLst>
          </p:nvPr>
        </p:nvSpPr>
        <p:spPr bwMode="gray">
          <a:xfrm>
            <a:off x="6875463" y="4327525"/>
            <a:ext cx="2825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53310A0-C6E6-4282-BAD2-3196B323C6CE}" type="datetime'''''''''''''''''''''''''4''''''''''''''''''8''''''''2'">
              <a:rPr lang="en-US" altLang="en-US" sz="1200" smtClean="0">
                <a:latin typeface="Bahnschrift" panose="020B0502040204020203" pitchFamily="34" charset="0"/>
                <a:cs typeface="+mn-cs"/>
              </a:rPr>
              <a:pPr/>
              <a:t>482</a:t>
            </a:fld>
            <a:endParaRPr lang="en-US" sz="1200" dirty="0">
              <a:latin typeface="Bahnschrift" panose="020B0502040204020203" pitchFamily="34" charset="0"/>
              <a:cs typeface="+mn-cs"/>
            </a:endParaRPr>
          </a:p>
        </p:txBody>
      </p:sp>
      <p:sp>
        <p:nvSpPr>
          <p:cNvPr id="360" name="Rectangle 359">
            <a:extLst>
              <a:ext uri="{FF2B5EF4-FFF2-40B4-BE49-F238E27FC236}">
                <a16:creationId xmlns:a16="http://schemas.microsoft.com/office/drawing/2014/main" id="{494515E6-5805-4B1A-9768-6EDDD1AA25E5}"/>
              </a:ext>
            </a:extLst>
          </p:cNvPr>
          <p:cNvSpPr/>
          <p:nvPr>
            <p:custDataLst>
              <p:tags r:id="rId39"/>
            </p:custDataLst>
          </p:nvPr>
        </p:nvSpPr>
        <p:spPr bwMode="auto">
          <a:xfrm>
            <a:off x="3829050" y="2562225"/>
            <a:ext cx="138113" cy="138113"/>
          </a:xfrm>
          <a:prstGeom prst="rect">
            <a:avLst/>
          </a:prstGeom>
          <a:solidFill>
            <a:schemeClr val="accent3"/>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Bahnschrift" panose="020B0502040204020203" pitchFamily="34" charset="0"/>
            </a:endParaRPr>
          </a:p>
        </p:txBody>
      </p:sp>
      <p:sp>
        <p:nvSpPr>
          <p:cNvPr id="359" name="Rectangle 358">
            <a:extLst>
              <a:ext uri="{FF2B5EF4-FFF2-40B4-BE49-F238E27FC236}">
                <a16:creationId xmlns:a16="http://schemas.microsoft.com/office/drawing/2014/main" id="{D9D8B9D3-E4F8-4F85-995F-A23DB22E278E}"/>
              </a:ext>
            </a:extLst>
          </p:cNvPr>
          <p:cNvSpPr/>
          <p:nvPr>
            <p:custDataLst>
              <p:tags r:id="rId40"/>
            </p:custDataLst>
          </p:nvPr>
        </p:nvSpPr>
        <p:spPr bwMode="auto">
          <a:xfrm>
            <a:off x="3829050" y="2359025"/>
            <a:ext cx="138113" cy="138113"/>
          </a:xfrm>
          <a:prstGeom prst="rect">
            <a:avLst/>
          </a:prstGeom>
          <a:solidFill>
            <a:srgbClr val="C76009"/>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Bahnschrift" panose="020B0502040204020203" pitchFamily="34" charset="0"/>
            </a:endParaRPr>
          </a:p>
        </p:txBody>
      </p:sp>
      <p:sp>
        <p:nvSpPr>
          <p:cNvPr id="364" name="Rectangle 363">
            <a:extLst>
              <a:ext uri="{FF2B5EF4-FFF2-40B4-BE49-F238E27FC236}">
                <a16:creationId xmlns:a16="http://schemas.microsoft.com/office/drawing/2014/main" id="{E9911276-6502-4494-B643-BC685AC9ECBE}"/>
              </a:ext>
            </a:extLst>
          </p:cNvPr>
          <p:cNvSpPr/>
          <p:nvPr>
            <p:custDataLst>
              <p:tags r:id="rId41"/>
            </p:custDataLst>
          </p:nvPr>
        </p:nvSpPr>
        <p:spPr bwMode="auto">
          <a:xfrm>
            <a:off x="5478463" y="2562225"/>
            <a:ext cx="138113" cy="138113"/>
          </a:xfrm>
          <a:prstGeom prst="rect">
            <a:avLst/>
          </a:prstGeom>
          <a:solidFill>
            <a:srgbClr val="92D050"/>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Bahnschrift" panose="020B0502040204020203" pitchFamily="34" charset="0"/>
            </a:endParaRPr>
          </a:p>
        </p:txBody>
      </p:sp>
      <p:sp>
        <p:nvSpPr>
          <p:cNvPr id="361" name="Rectangle 360">
            <a:extLst>
              <a:ext uri="{FF2B5EF4-FFF2-40B4-BE49-F238E27FC236}">
                <a16:creationId xmlns:a16="http://schemas.microsoft.com/office/drawing/2014/main" id="{B1735AE5-ED3F-4488-BA88-FEA822541F6A}"/>
              </a:ext>
            </a:extLst>
          </p:cNvPr>
          <p:cNvSpPr/>
          <p:nvPr>
            <p:custDataLst>
              <p:tags r:id="rId42"/>
            </p:custDataLst>
          </p:nvPr>
        </p:nvSpPr>
        <p:spPr bwMode="auto">
          <a:xfrm>
            <a:off x="3829050" y="2765425"/>
            <a:ext cx="138113" cy="138113"/>
          </a:xfrm>
          <a:prstGeom prst="rect">
            <a:avLst/>
          </a:prstGeom>
          <a:solidFill>
            <a:srgbClr val="CA3B30"/>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Bahnschrift" panose="020B0502040204020203" pitchFamily="34" charset="0"/>
            </a:endParaRPr>
          </a:p>
        </p:txBody>
      </p:sp>
      <p:sp>
        <p:nvSpPr>
          <p:cNvPr id="362" name="Rectangle 361">
            <a:extLst>
              <a:ext uri="{FF2B5EF4-FFF2-40B4-BE49-F238E27FC236}">
                <a16:creationId xmlns:a16="http://schemas.microsoft.com/office/drawing/2014/main" id="{DEC687D5-7D2C-4234-93A7-AEFC9F2CAFD6}"/>
              </a:ext>
            </a:extLst>
          </p:cNvPr>
          <p:cNvSpPr/>
          <p:nvPr>
            <p:custDataLst>
              <p:tags r:id="rId43"/>
            </p:custDataLst>
          </p:nvPr>
        </p:nvSpPr>
        <p:spPr bwMode="auto">
          <a:xfrm>
            <a:off x="3829050" y="2968625"/>
            <a:ext cx="138113" cy="138113"/>
          </a:xfrm>
          <a:prstGeom prst="rect">
            <a:avLst/>
          </a:prstGeom>
          <a:solidFill>
            <a:srgbClr val="FAA082"/>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Bahnschrift" panose="020B0502040204020203" pitchFamily="34" charset="0"/>
            </a:endParaRPr>
          </a:p>
        </p:txBody>
      </p:sp>
      <p:sp>
        <p:nvSpPr>
          <p:cNvPr id="363" name="Rectangle 362">
            <a:extLst>
              <a:ext uri="{FF2B5EF4-FFF2-40B4-BE49-F238E27FC236}">
                <a16:creationId xmlns:a16="http://schemas.microsoft.com/office/drawing/2014/main" id="{25AB3091-E76F-4F34-B163-3E7582961DC6}"/>
              </a:ext>
            </a:extLst>
          </p:cNvPr>
          <p:cNvSpPr/>
          <p:nvPr>
            <p:custDataLst>
              <p:tags r:id="rId44"/>
            </p:custDataLst>
          </p:nvPr>
        </p:nvSpPr>
        <p:spPr bwMode="auto">
          <a:xfrm>
            <a:off x="5478463" y="2359025"/>
            <a:ext cx="138113" cy="138113"/>
          </a:xfrm>
          <a:prstGeom prst="rect">
            <a:avLst/>
          </a:prstGeom>
          <a:solidFill>
            <a:srgbClr val="71D2F1"/>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Bahnschrift" panose="020B0502040204020203" pitchFamily="34" charset="0"/>
            </a:endParaRPr>
          </a:p>
        </p:txBody>
      </p:sp>
      <p:sp>
        <p:nvSpPr>
          <p:cNvPr id="366" name="Rectangle 365">
            <a:extLst>
              <a:ext uri="{FF2B5EF4-FFF2-40B4-BE49-F238E27FC236}">
                <a16:creationId xmlns:a16="http://schemas.microsoft.com/office/drawing/2014/main" id="{4A74801C-646E-4B65-BF1A-1E543A1005F2}"/>
              </a:ext>
            </a:extLst>
          </p:cNvPr>
          <p:cNvSpPr/>
          <p:nvPr>
            <p:custDataLst>
              <p:tags r:id="rId45"/>
            </p:custDataLst>
          </p:nvPr>
        </p:nvSpPr>
        <p:spPr bwMode="auto">
          <a:xfrm>
            <a:off x="5478463" y="2968625"/>
            <a:ext cx="138113" cy="138113"/>
          </a:xfrm>
          <a:prstGeom prst="rect">
            <a:avLst/>
          </a:prstGeom>
          <a:solidFill>
            <a:schemeClr val="accent1"/>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Bahnschrift" panose="020B0502040204020203" pitchFamily="34" charset="0"/>
            </a:endParaRPr>
          </a:p>
        </p:txBody>
      </p:sp>
      <p:sp>
        <p:nvSpPr>
          <p:cNvPr id="365" name="Rectangle 364">
            <a:extLst>
              <a:ext uri="{FF2B5EF4-FFF2-40B4-BE49-F238E27FC236}">
                <a16:creationId xmlns:a16="http://schemas.microsoft.com/office/drawing/2014/main" id="{3C78E214-0F66-47E1-9644-77EF4DBF9F42}"/>
              </a:ext>
            </a:extLst>
          </p:cNvPr>
          <p:cNvSpPr/>
          <p:nvPr>
            <p:custDataLst>
              <p:tags r:id="rId46"/>
            </p:custDataLst>
          </p:nvPr>
        </p:nvSpPr>
        <p:spPr bwMode="auto">
          <a:xfrm>
            <a:off x="5478463" y="2765425"/>
            <a:ext cx="138113" cy="138113"/>
          </a:xfrm>
          <a:prstGeom prst="rect">
            <a:avLst/>
          </a:prstGeom>
          <a:solidFill>
            <a:schemeClr val="accent2"/>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latin typeface="Bahnschrift" panose="020B0502040204020203" pitchFamily="34" charset="0"/>
            </a:endParaRPr>
          </a:p>
        </p:txBody>
      </p:sp>
      <p:sp>
        <p:nvSpPr>
          <p:cNvPr id="56" name="Text Placeholder 4">
            <a:extLst>
              <a:ext uri="{FF2B5EF4-FFF2-40B4-BE49-F238E27FC236}">
                <a16:creationId xmlns:a16="http://schemas.microsoft.com/office/drawing/2014/main" id="{4C1F3293-4EFE-461D-940D-7EE66BAE31C5}"/>
              </a:ext>
            </a:extLst>
          </p:cNvPr>
          <p:cNvSpPr>
            <a:spLocks noGrp="1"/>
          </p:cNvSpPr>
          <p:nvPr>
            <p:custDataLst>
              <p:tags r:id="rId47"/>
            </p:custDataLst>
          </p:nvPr>
        </p:nvSpPr>
        <p:spPr bwMode="auto">
          <a:xfrm>
            <a:off x="5667375" y="2355850"/>
            <a:ext cx="212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53323706-63D8-4B06-A731-68E5EFB08FDB}" type="datetime'''''''''''''C''''''''''''''''C''''''''''S'''''">
              <a:rPr lang="en-US" altLang="en-US" sz="1000" smtClean="0">
                <a:effectLst/>
                <a:latin typeface="Bahnschrift" panose="020B0502040204020203" pitchFamily="34" charset="0"/>
                <a:cs typeface="+mn-cs"/>
              </a:rPr>
              <a:pPr>
                <a:spcBef>
                  <a:spcPct val="0"/>
                </a:spcBef>
                <a:spcAft>
                  <a:spcPct val="0"/>
                </a:spcAft>
              </a:pPr>
              <a:t>CCS</a:t>
            </a:fld>
            <a:endParaRPr lang="en-US" sz="1000" dirty="0">
              <a:latin typeface="Bahnschrift" panose="020B0502040204020203" pitchFamily="34" charset="0"/>
              <a:cs typeface="+mn-cs"/>
            </a:endParaRPr>
          </a:p>
        </p:txBody>
      </p:sp>
      <p:sp>
        <p:nvSpPr>
          <p:cNvPr id="52" name="Text Placeholder 4">
            <a:extLst>
              <a:ext uri="{FF2B5EF4-FFF2-40B4-BE49-F238E27FC236}">
                <a16:creationId xmlns:a16="http://schemas.microsoft.com/office/drawing/2014/main" id="{4C1F3293-4EFE-461D-940D-7EE66BAE31C5}"/>
              </a:ext>
            </a:extLst>
          </p:cNvPr>
          <p:cNvSpPr>
            <a:spLocks noGrp="1"/>
          </p:cNvSpPr>
          <p:nvPr>
            <p:custDataLst>
              <p:tags r:id="rId48"/>
            </p:custDataLst>
          </p:nvPr>
        </p:nvSpPr>
        <p:spPr bwMode="auto">
          <a:xfrm>
            <a:off x="4017962" y="2355850"/>
            <a:ext cx="13589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1000" dirty="0" err="1">
                <a:effectLst/>
                <a:latin typeface="Bahnschrift" panose="020B0502040204020203" pitchFamily="34" charset="0"/>
                <a:cs typeface="+mn-cs"/>
              </a:rPr>
              <a:t>Nachhaltige</a:t>
            </a:r>
            <a:r>
              <a:rPr lang="en-US" altLang="en-US" sz="1000" dirty="0">
                <a:effectLst/>
                <a:latin typeface="Bahnschrift" panose="020B0502040204020203" pitchFamily="34" charset="0"/>
                <a:cs typeface="+mn-cs"/>
              </a:rPr>
              <a:t> </a:t>
            </a:r>
            <a:r>
              <a:rPr lang="en-US" altLang="en-US" sz="1000" dirty="0" err="1">
                <a:effectLst/>
                <a:latin typeface="Bahnschrift" panose="020B0502040204020203" pitchFamily="34" charset="0"/>
                <a:cs typeface="+mn-cs"/>
              </a:rPr>
              <a:t>Materialien</a:t>
            </a:r>
            <a:endParaRPr lang="en-US" sz="1000" dirty="0">
              <a:latin typeface="Bahnschrift" panose="020B0502040204020203" pitchFamily="34" charset="0"/>
              <a:cs typeface="+mn-cs"/>
            </a:endParaRPr>
          </a:p>
        </p:txBody>
      </p:sp>
      <p:sp>
        <p:nvSpPr>
          <p:cNvPr id="53" name="Text Placeholder 4">
            <a:extLst>
              <a:ext uri="{FF2B5EF4-FFF2-40B4-BE49-F238E27FC236}">
                <a16:creationId xmlns:a16="http://schemas.microsoft.com/office/drawing/2014/main" id="{4C1F3293-4EFE-461D-940D-7EE66BAE31C5}"/>
              </a:ext>
            </a:extLst>
          </p:cNvPr>
          <p:cNvSpPr>
            <a:spLocks noGrp="1"/>
          </p:cNvSpPr>
          <p:nvPr>
            <p:custDataLst>
              <p:tags r:id="rId49"/>
            </p:custDataLst>
          </p:nvPr>
        </p:nvSpPr>
        <p:spPr bwMode="auto">
          <a:xfrm>
            <a:off x="4017963" y="2559050"/>
            <a:ext cx="11080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sz="1000" dirty="0" err="1">
                <a:latin typeface="Bahnschrift" panose="020B0502040204020203" pitchFamily="34" charset="0"/>
                <a:cs typeface="+mn-cs"/>
              </a:rPr>
              <a:t>Elektrisches</a:t>
            </a:r>
            <a:r>
              <a:rPr lang="en-US" sz="1000" dirty="0">
                <a:latin typeface="Bahnschrift" panose="020B0502040204020203" pitchFamily="34" charset="0"/>
                <a:cs typeface="+mn-cs"/>
              </a:rPr>
              <a:t> </a:t>
            </a:r>
            <a:r>
              <a:rPr lang="en-US" sz="1000" dirty="0" err="1">
                <a:latin typeface="Bahnschrift" panose="020B0502040204020203" pitchFamily="34" charset="0"/>
                <a:cs typeface="+mn-cs"/>
              </a:rPr>
              <a:t>Heizen</a:t>
            </a:r>
            <a:endParaRPr lang="en-US" sz="1000" dirty="0">
              <a:latin typeface="Bahnschrift" panose="020B0502040204020203" pitchFamily="34" charset="0"/>
              <a:cs typeface="+mn-cs"/>
            </a:endParaRPr>
          </a:p>
        </p:txBody>
      </p:sp>
      <p:sp>
        <p:nvSpPr>
          <p:cNvPr id="54" name="Text Placeholder 4">
            <a:extLst>
              <a:ext uri="{FF2B5EF4-FFF2-40B4-BE49-F238E27FC236}">
                <a16:creationId xmlns:a16="http://schemas.microsoft.com/office/drawing/2014/main" id="{4C1F3293-4EFE-461D-940D-7EE66BAE31C5}"/>
              </a:ext>
            </a:extLst>
          </p:cNvPr>
          <p:cNvSpPr>
            <a:spLocks noGrp="1"/>
          </p:cNvSpPr>
          <p:nvPr>
            <p:custDataLst>
              <p:tags r:id="rId50"/>
            </p:custDataLst>
          </p:nvPr>
        </p:nvSpPr>
        <p:spPr bwMode="auto">
          <a:xfrm>
            <a:off x="4017963" y="2762250"/>
            <a:ext cx="11636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1000" dirty="0" err="1">
                <a:latin typeface="Bahnschrift" panose="020B0502040204020203" pitchFamily="34" charset="0"/>
                <a:cs typeface="+mn-cs"/>
              </a:rPr>
              <a:t>Elektrischer</a:t>
            </a:r>
            <a:r>
              <a:rPr lang="en-US" altLang="en-US" sz="1000" dirty="0">
                <a:latin typeface="Bahnschrift" panose="020B0502040204020203" pitchFamily="34" charset="0"/>
                <a:cs typeface="+mn-cs"/>
              </a:rPr>
              <a:t> </a:t>
            </a:r>
            <a:r>
              <a:rPr lang="en-US" altLang="en-US" sz="1000" dirty="0" err="1">
                <a:latin typeface="Bahnschrift" panose="020B0502040204020203" pitchFamily="34" charset="0"/>
                <a:cs typeface="+mn-cs"/>
              </a:rPr>
              <a:t>Verkehr</a:t>
            </a:r>
            <a:endParaRPr lang="en-US" sz="1000" dirty="0">
              <a:latin typeface="Bahnschrift" panose="020B0502040204020203" pitchFamily="34" charset="0"/>
              <a:cs typeface="+mn-cs"/>
            </a:endParaRPr>
          </a:p>
        </p:txBody>
      </p:sp>
      <p:sp>
        <p:nvSpPr>
          <p:cNvPr id="55" name="Text Placeholder 4">
            <a:extLst>
              <a:ext uri="{FF2B5EF4-FFF2-40B4-BE49-F238E27FC236}">
                <a16:creationId xmlns:a16="http://schemas.microsoft.com/office/drawing/2014/main" id="{4C1F3293-4EFE-461D-940D-7EE66BAE31C5}"/>
              </a:ext>
            </a:extLst>
          </p:cNvPr>
          <p:cNvSpPr>
            <a:spLocks noGrp="1"/>
          </p:cNvSpPr>
          <p:nvPr>
            <p:custDataLst>
              <p:tags r:id="rId51"/>
            </p:custDataLst>
          </p:nvPr>
        </p:nvSpPr>
        <p:spPr bwMode="auto">
          <a:xfrm>
            <a:off x="4017963" y="2965450"/>
            <a:ext cx="660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1000" dirty="0" err="1">
                <a:effectLst/>
                <a:latin typeface="Bahnschrift" panose="020B0502040204020203" pitchFamily="34" charset="0"/>
                <a:cs typeface="+mn-cs"/>
              </a:rPr>
              <a:t>Wasserstoff</a:t>
            </a:r>
            <a:endParaRPr lang="en-US" sz="1000" dirty="0">
              <a:latin typeface="Bahnschrift" panose="020B0502040204020203" pitchFamily="34" charset="0"/>
              <a:cs typeface="+mn-cs"/>
            </a:endParaRPr>
          </a:p>
        </p:txBody>
      </p:sp>
      <p:sp>
        <p:nvSpPr>
          <p:cNvPr id="57" name="Text Placeholder 4">
            <a:extLst>
              <a:ext uri="{FF2B5EF4-FFF2-40B4-BE49-F238E27FC236}">
                <a16:creationId xmlns:a16="http://schemas.microsoft.com/office/drawing/2014/main" id="{4C1F3293-4EFE-461D-940D-7EE66BAE31C5}"/>
              </a:ext>
            </a:extLst>
          </p:cNvPr>
          <p:cNvSpPr>
            <a:spLocks noGrp="1"/>
          </p:cNvSpPr>
          <p:nvPr>
            <p:custDataLst>
              <p:tags r:id="rId52"/>
            </p:custDataLst>
          </p:nvPr>
        </p:nvSpPr>
        <p:spPr bwMode="auto">
          <a:xfrm>
            <a:off x="5667375" y="2559050"/>
            <a:ext cx="1111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1000" dirty="0" err="1">
                <a:effectLst/>
                <a:latin typeface="Bahnschrift" panose="020B0502040204020203" pitchFamily="34" charset="0"/>
                <a:cs typeface="+mn-cs"/>
              </a:rPr>
              <a:t>Energiespeicherung</a:t>
            </a:r>
            <a:endParaRPr lang="en-US" sz="1000" dirty="0">
              <a:latin typeface="Bahnschrift" panose="020B0502040204020203" pitchFamily="34" charset="0"/>
              <a:cs typeface="+mn-cs"/>
            </a:endParaRPr>
          </a:p>
        </p:txBody>
      </p:sp>
      <p:sp>
        <p:nvSpPr>
          <p:cNvPr id="58" name="Text Placeholder 4">
            <a:extLst>
              <a:ext uri="{FF2B5EF4-FFF2-40B4-BE49-F238E27FC236}">
                <a16:creationId xmlns:a16="http://schemas.microsoft.com/office/drawing/2014/main" id="{4C1F3293-4EFE-461D-940D-7EE66BAE31C5}"/>
              </a:ext>
            </a:extLst>
          </p:cNvPr>
          <p:cNvSpPr>
            <a:spLocks noGrp="1"/>
          </p:cNvSpPr>
          <p:nvPr>
            <p:custDataLst>
              <p:tags r:id="rId53"/>
            </p:custDataLst>
          </p:nvPr>
        </p:nvSpPr>
        <p:spPr bwMode="auto">
          <a:xfrm>
            <a:off x="5667375" y="2762250"/>
            <a:ext cx="4381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1000" dirty="0" err="1">
                <a:effectLst/>
                <a:latin typeface="Bahnschrift" panose="020B0502040204020203" pitchFamily="34" charset="0"/>
                <a:cs typeface="+mn-cs"/>
              </a:rPr>
              <a:t>Nuklear</a:t>
            </a:r>
            <a:endParaRPr lang="en-US" sz="1000" dirty="0">
              <a:latin typeface="Bahnschrift" panose="020B0502040204020203" pitchFamily="34" charset="0"/>
              <a:cs typeface="+mn-cs"/>
            </a:endParaRPr>
          </a:p>
        </p:txBody>
      </p:sp>
      <p:sp>
        <p:nvSpPr>
          <p:cNvPr id="59" name="Text Placeholder 4">
            <a:extLst>
              <a:ext uri="{FF2B5EF4-FFF2-40B4-BE49-F238E27FC236}">
                <a16:creationId xmlns:a16="http://schemas.microsoft.com/office/drawing/2014/main" id="{4C1F3293-4EFE-461D-940D-7EE66BAE31C5}"/>
              </a:ext>
            </a:extLst>
          </p:cNvPr>
          <p:cNvSpPr>
            <a:spLocks noGrp="1"/>
          </p:cNvSpPr>
          <p:nvPr>
            <p:custDataLst>
              <p:tags r:id="rId54"/>
            </p:custDataLst>
          </p:nvPr>
        </p:nvSpPr>
        <p:spPr bwMode="auto">
          <a:xfrm>
            <a:off x="5667375" y="2965450"/>
            <a:ext cx="1168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1000" dirty="0" err="1">
                <a:effectLst/>
                <a:latin typeface="Bahnschrift" panose="020B0502040204020203" pitchFamily="34" charset="0"/>
                <a:cs typeface="+mn-cs"/>
              </a:rPr>
              <a:t>Erneuerbare</a:t>
            </a:r>
            <a:r>
              <a:rPr lang="en-US" altLang="en-US" sz="1000" dirty="0">
                <a:effectLst/>
                <a:latin typeface="Bahnschrift" panose="020B0502040204020203" pitchFamily="34" charset="0"/>
                <a:cs typeface="+mn-cs"/>
              </a:rPr>
              <a:t> </a:t>
            </a:r>
            <a:r>
              <a:rPr lang="en-US" altLang="en-US" sz="1000" dirty="0" err="1">
                <a:effectLst/>
                <a:latin typeface="Bahnschrift" panose="020B0502040204020203" pitchFamily="34" charset="0"/>
                <a:cs typeface="+mn-cs"/>
              </a:rPr>
              <a:t>Energie</a:t>
            </a:r>
            <a:endParaRPr lang="en-US" sz="1000" dirty="0">
              <a:latin typeface="Bahnschrift" panose="020B0502040204020203" pitchFamily="34" charset="0"/>
              <a:cs typeface="+mn-cs"/>
            </a:endParaRPr>
          </a:p>
        </p:txBody>
      </p:sp>
      <p:cxnSp>
        <p:nvCxnSpPr>
          <p:cNvPr id="373" name="Straight Connector 372">
            <a:extLst>
              <a:ext uri="{FF2B5EF4-FFF2-40B4-BE49-F238E27FC236}">
                <a16:creationId xmlns:a16="http://schemas.microsoft.com/office/drawing/2014/main" id="{12987C86-3692-4291-A712-155DE8276E7C}"/>
              </a:ext>
            </a:extLst>
          </p:cNvPr>
          <p:cNvCxnSpPr>
            <a:cxnSpLocks/>
          </p:cNvCxnSpPr>
          <p:nvPr/>
        </p:nvCxnSpPr>
        <p:spPr>
          <a:xfrm>
            <a:off x="3830638" y="2266950"/>
            <a:ext cx="143192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71" name="Straight Connector 470">
            <a:extLst>
              <a:ext uri="{FF2B5EF4-FFF2-40B4-BE49-F238E27FC236}">
                <a16:creationId xmlns:a16="http://schemas.microsoft.com/office/drawing/2014/main" id="{909BBF53-B522-4863-9E97-636071013000}"/>
              </a:ext>
            </a:extLst>
          </p:cNvPr>
          <p:cNvCxnSpPr>
            <a:cxnSpLocks/>
          </p:cNvCxnSpPr>
          <p:nvPr/>
        </p:nvCxnSpPr>
        <p:spPr>
          <a:xfrm>
            <a:off x="5340351" y="2266950"/>
            <a:ext cx="2390775"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77" name="TextBox 376">
            <a:extLst>
              <a:ext uri="{FF2B5EF4-FFF2-40B4-BE49-F238E27FC236}">
                <a16:creationId xmlns:a16="http://schemas.microsoft.com/office/drawing/2014/main" id="{08EA55AD-48BA-4938-AAA3-2DAC7ED5FDE0}"/>
              </a:ext>
            </a:extLst>
          </p:cNvPr>
          <p:cNvSpPr txBox="1">
            <a:spLocks/>
          </p:cNvSpPr>
          <p:nvPr/>
        </p:nvSpPr>
        <p:spPr>
          <a:xfrm>
            <a:off x="3830638" y="2078038"/>
            <a:ext cx="1431925" cy="153988"/>
          </a:xfrm>
          <a:prstGeom prst="rect">
            <a:avLst/>
          </a:prstGeom>
        </p:spPr>
        <p:txBody>
          <a:bodyPr vert="horz" wrap="square" lIns="0" tIns="0" rIns="0" bIns="0" rtlCol="0">
            <a:sp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182880" lvl="1" indent="-182880" defTabSz="91440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dirty="0">
                <a:latin typeface="+mn-lt"/>
              </a:defRPr>
            </a:lvl2pPr>
            <a:lvl3pPr marL="365760" lvl="2" indent="-182880" defTabSz="91440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dirty="0">
                <a:latin typeface="+mn-lt"/>
              </a:defRPr>
            </a:lvl3pPr>
            <a:lvl4pPr marL="548640" lvl="3" indent="-182880" defTabSz="91440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dirty="0">
                <a:latin typeface="+mn-lt"/>
              </a:defRPr>
            </a:lvl4pPr>
            <a:lvl5pPr marL="731520" lvl="4" indent="-182880" defTabSz="91440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r>
              <a:rPr lang="en-US" sz="1000" b="1" dirty="0" err="1">
                <a:latin typeface="Bahnschrift" panose="020B0502040204020203" pitchFamily="34" charset="0"/>
              </a:rPr>
              <a:t>Energiebedarf</a:t>
            </a:r>
            <a:endParaRPr lang="en-US" sz="1000" b="1" dirty="0">
              <a:latin typeface="Bahnschrift" panose="020B0502040204020203" pitchFamily="34" charset="0"/>
            </a:endParaRPr>
          </a:p>
        </p:txBody>
      </p:sp>
      <p:sp>
        <p:nvSpPr>
          <p:cNvPr id="474" name="TextBox 473">
            <a:extLst>
              <a:ext uri="{FF2B5EF4-FFF2-40B4-BE49-F238E27FC236}">
                <a16:creationId xmlns:a16="http://schemas.microsoft.com/office/drawing/2014/main" id="{C640C300-2181-4E16-9C26-E2E59AAC14AC}"/>
              </a:ext>
            </a:extLst>
          </p:cNvPr>
          <p:cNvSpPr txBox="1">
            <a:spLocks/>
          </p:cNvSpPr>
          <p:nvPr/>
        </p:nvSpPr>
        <p:spPr>
          <a:xfrm>
            <a:off x="5340351" y="2078038"/>
            <a:ext cx="2390775" cy="153988"/>
          </a:xfrm>
          <a:prstGeom prst="rect">
            <a:avLst/>
          </a:prstGeom>
        </p:spPr>
        <p:txBody>
          <a:bodyPr vert="horz" wrap="square" lIns="0" tIns="0" rIns="0" bIns="0" rtlCol="0">
            <a:noAutofit/>
          </a:bodyPr>
          <a:lstStyle>
            <a:lvl1pPr marL="0" lvl="0" indent="0" defTabSz="91440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mn-lt"/>
                <a:cs typeface="Arial" panose="020B0604020202020204" pitchFamily="34" charset="0"/>
              </a:defRPr>
            </a:lvl1pPr>
            <a:lvl2pPr marL="182880" lvl="1" indent="-182880" defTabSz="91440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dirty="0">
                <a:latin typeface="+mn-lt"/>
              </a:defRPr>
            </a:lvl2pPr>
            <a:lvl3pPr marL="365760" lvl="2" indent="-182880" defTabSz="91440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dirty="0">
                <a:latin typeface="+mn-lt"/>
              </a:defRPr>
            </a:lvl3pPr>
            <a:lvl4pPr marL="548640" lvl="3" indent="-182880" defTabSz="91440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dirty="0">
                <a:latin typeface="+mn-lt"/>
              </a:defRPr>
            </a:lvl4pPr>
            <a:lvl5pPr marL="731520" lvl="4" indent="-182880" defTabSz="91440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dirty="0">
                <a:latin typeface="+mn-lt"/>
              </a:defRPr>
            </a:lvl5pPr>
            <a:lvl6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latin typeface="+mn-lt"/>
                <a:cs typeface="Arial" panose="020B0604020202020204" pitchFamily="34" charset="0"/>
              </a:defRPr>
            </a:lvl9pPr>
          </a:lstStyle>
          <a:p>
            <a:r>
              <a:rPr lang="en-US" sz="1000" b="1" dirty="0" err="1">
                <a:latin typeface="Bahnschrift" panose="020B0502040204020203" pitchFamily="34" charset="0"/>
              </a:rPr>
              <a:t>Energieversorgung</a:t>
            </a:r>
            <a:endParaRPr lang="en-US" sz="1000" b="1" dirty="0">
              <a:latin typeface="Bahnschrift" panose="020B0502040204020203" pitchFamily="34" charset="0"/>
            </a:endParaRPr>
          </a:p>
        </p:txBody>
      </p:sp>
      <p:cxnSp>
        <p:nvCxnSpPr>
          <p:cNvPr id="73" name="Straight Connector 72">
            <a:extLst>
              <a:ext uri="{FF2B5EF4-FFF2-40B4-BE49-F238E27FC236}">
                <a16:creationId xmlns:a16="http://schemas.microsoft.com/office/drawing/2014/main" id="{248A7D88-5D5C-43DC-A595-8077F6B08744}"/>
              </a:ext>
            </a:extLst>
          </p:cNvPr>
          <p:cNvCxnSpPr>
            <a:cxnSpLocks/>
          </p:cNvCxnSpPr>
          <p:nvPr/>
        </p:nvCxnSpPr>
        <p:spPr>
          <a:xfrm>
            <a:off x="9186704" y="1479770"/>
            <a:ext cx="0" cy="4600990"/>
          </a:xfrm>
          <a:prstGeom prst="line">
            <a:avLst/>
          </a:prstGeom>
          <a:ln w="19050">
            <a:solidFill>
              <a:srgbClr val="004FA1"/>
            </a:solidFill>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CF964C02-4894-4F3F-8EA0-3DC4120C2B87}"/>
              </a:ext>
            </a:extLst>
          </p:cNvPr>
          <p:cNvSpPr txBox="1">
            <a:spLocks/>
          </p:cNvSpPr>
          <p:nvPr/>
        </p:nvSpPr>
        <p:spPr>
          <a:xfrm>
            <a:off x="9456420" y="1490458"/>
            <a:ext cx="2392679"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de-DE" sz="1600" b="1" i="0" u="none" strike="noStrike" kern="1200" cap="none" spc="0" normalizeH="0" baseline="0" noProof="0" dirty="0">
                <a:ln>
                  <a:noFill/>
                </a:ln>
                <a:solidFill>
                  <a:srgbClr val="000000"/>
                </a:solidFill>
                <a:effectLst/>
                <a:uLnTx/>
                <a:uFillTx/>
                <a:latin typeface="Bahnschrift" panose="020B0502040204020203" pitchFamily="34" charset="0"/>
              </a:rPr>
              <a:t>Synthese</a:t>
            </a:r>
          </a:p>
        </p:txBody>
      </p:sp>
      <p:cxnSp>
        <p:nvCxnSpPr>
          <p:cNvPr id="80" name="Straight Connector 79">
            <a:extLst>
              <a:ext uri="{FF2B5EF4-FFF2-40B4-BE49-F238E27FC236}">
                <a16:creationId xmlns:a16="http://schemas.microsoft.com/office/drawing/2014/main" id="{240799C0-70A9-4C2E-8B2A-04EAA48C3163}"/>
              </a:ext>
            </a:extLst>
          </p:cNvPr>
          <p:cNvCxnSpPr>
            <a:cxnSpLocks/>
          </p:cNvCxnSpPr>
          <p:nvPr/>
        </p:nvCxnSpPr>
        <p:spPr>
          <a:xfrm>
            <a:off x="920495" y="1809448"/>
            <a:ext cx="7938389" cy="0"/>
          </a:xfrm>
          <a:prstGeom prst="line">
            <a:avLst/>
          </a:prstGeom>
          <a:ln w="12700">
            <a:solidFill>
              <a:srgbClr val="004FA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E9BFA106-66C5-48E9-B8DD-4546639B8F2D}"/>
              </a:ext>
            </a:extLst>
          </p:cNvPr>
          <p:cNvCxnSpPr>
            <a:cxnSpLocks/>
          </p:cNvCxnSpPr>
          <p:nvPr/>
        </p:nvCxnSpPr>
        <p:spPr>
          <a:xfrm>
            <a:off x="9456420" y="1809448"/>
            <a:ext cx="2392678" cy="0"/>
          </a:xfrm>
          <a:prstGeom prst="line">
            <a:avLst/>
          </a:prstGeom>
          <a:ln w="12700">
            <a:solidFill>
              <a:srgbClr val="004FA1"/>
            </a:solidFill>
          </a:ln>
        </p:spPr>
        <p:style>
          <a:lnRef idx="1">
            <a:schemeClr val="accent1"/>
          </a:lnRef>
          <a:fillRef idx="0">
            <a:schemeClr val="accent1"/>
          </a:fillRef>
          <a:effectRef idx="0">
            <a:schemeClr val="accent1"/>
          </a:effectRef>
          <a:fontRef idx="minor">
            <a:schemeClr val="tx1"/>
          </a:fontRef>
        </p:style>
      </p:cxnSp>
      <p:sp>
        <p:nvSpPr>
          <p:cNvPr id="99" name="5. Source">
            <a:extLst>
              <a:ext uri="{FF2B5EF4-FFF2-40B4-BE49-F238E27FC236}">
                <a16:creationId xmlns:a16="http://schemas.microsoft.com/office/drawing/2014/main" id="{47F299F8-EC27-4B46-ADCE-9BA0EDDF12E4}"/>
              </a:ext>
            </a:extLst>
          </p:cNvPr>
          <p:cNvSpPr txBox="1"/>
          <p:nvPr>
            <p:custDataLst>
              <p:tags r:id="rId55"/>
            </p:custDataLst>
          </p:nvPr>
        </p:nvSpPr>
        <p:spPr>
          <a:xfrm>
            <a:off x="989012" y="6248340"/>
            <a:ext cx="804703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buNone/>
            </a:pPr>
            <a:r>
              <a:rPr lang="de-DE" dirty="0">
                <a:solidFill>
                  <a:srgbClr val="004FA1"/>
                </a:solidFill>
                <a:latin typeface="Bahnschrift" panose="020B0502040204020203" pitchFamily="34" charset="0"/>
                <a:cs typeface="+mn-cs"/>
              </a:rPr>
              <a:t>Anmerkung auf Basis der BloombergNEF Datenquelle: Die Anfangsjahre sind je nach Sektor unterschiedlich, aber alle Sektoren sind ab 2019 vertreten. Die Zahlen für Nuklearenergie beginnen im Jahr 2015.</a:t>
            </a:r>
          </a:p>
        </p:txBody>
      </p:sp>
      <p:sp>
        <p:nvSpPr>
          <p:cNvPr id="100" name="5. Source">
            <a:extLst>
              <a:ext uri="{FF2B5EF4-FFF2-40B4-BE49-F238E27FC236}">
                <a16:creationId xmlns:a16="http://schemas.microsoft.com/office/drawing/2014/main" id="{F513281E-EC5E-4C9C-9059-BBB57A4BE126}"/>
              </a:ext>
            </a:extLst>
          </p:cNvPr>
          <p:cNvSpPr txBox="1"/>
          <p:nvPr>
            <p:custDataLst>
              <p:tags r:id="rId56"/>
            </p:custDataLst>
          </p:nvPr>
        </p:nvSpPr>
        <p:spPr>
          <a:xfrm>
            <a:off x="7240840" y="6577094"/>
            <a:ext cx="3317281" cy="123111"/>
          </a:xfrm>
          <a:prstGeom prst="rect">
            <a:avLst/>
          </a:prstGeom>
          <a:noFill/>
        </p:spPr>
        <p:txBody>
          <a:bodyPr vert="horz" wrap="square" lIns="0" tIns="0" rIns="0" bIns="0" rtlCol="0" anchor="b" anchorCtr="0">
            <a:spAutoFit/>
          </a:bodyPr>
          <a:lstStyle/>
          <a:p>
            <a:r>
              <a:rPr lang="fr-FR" sz="800" dirty="0">
                <a:solidFill>
                  <a:srgbClr val="004FA1"/>
                </a:solidFill>
                <a:latin typeface="Bahnschrift" panose="020B0502040204020203" pitchFamily="34" charset="0"/>
              </a:rPr>
              <a:t>Quelle: </a:t>
            </a:r>
            <a:r>
              <a:rPr lang="fr-FR" sz="800" dirty="0" err="1">
                <a:solidFill>
                  <a:srgbClr val="004FA1"/>
                </a:solidFill>
                <a:latin typeface="Bahnschrift" panose="020B0502040204020203" pitchFamily="34" charset="0"/>
              </a:rPr>
              <a:t>BloombergNEF</a:t>
            </a:r>
            <a:endParaRPr lang="de-DE" sz="800" dirty="0">
              <a:solidFill>
                <a:srgbClr val="004FA1"/>
              </a:solidFill>
              <a:latin typeface="Bahnschrift" panose="020B0502040204020203" pitchFamily="34" charset="0"/>
            </a:endParaRPr>
          </a:p>
        </p:txBody>
      </p:sp>
    </p:spTree>
    <p:extLst>
      <p:ext uri="{BB962C8B-B14F-4D97-AF65-F5344CB8AC3E}">
        <p14:creationId xmlns:p14="http://schemas.microsoft.com/office/powerpoint/2010/main" val="28106129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6" hidden="1">
            <a:extLst>
              <a:ext uri="{FF2B5EF4-FFF2-40B4-BE49-F238E27FC236}">
                <a16:creationId xmlns:a16="http://schemas.microsoft.com/office/drawing/2014/main" id="{921C2FD8-BE0B-F530-6DAB-10C17E5AEF90}"/>
              </a:ext>
            </a:extLst>
          </p:cNvPr>
          <p:cNvGraphicFramePr>
            <a:graphicFrameLocks noChangeAspect="1"/>
          </p:cNvGraphicFramePr>
          <p:nvPr>
            <p:custDataLst>
              <p:tags r:id="rId1"/>
            </p:custDataLst>
            <p:extLst>
              <p:ext uri="{D42A27DB-BD31-4B8C-83A1-F6EECF244321}">
                <p14:modId xmlns:p14="http://schemas.microsoft.com/office/powerpoint/2010/main" val="1678356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08" imgH="408" progId="TCLayout.ActiveDocument.1">
                  <p:embed/>
                </p:oleObj>
              </mc:Choice>
              <mc:Fallback>
                <p:oleObj name="think-cell Slide" r:id="rId29" imgW="408" imgH="408" progId="TCLayout.ActiveDocument.1">
                  <p:embed/>
                  <p:pic>
                    <p:nvPicPr>
                      <p:cNvPr id="54" name="Object 6" hidden="1">
                        <a:extLst>
                          <a:ext uri="{FF2B5EF4-FFF2-40B4-BE49-F238E27FC236}">
                            <a16:creationId xmlns:a16="http://schemas.microsoft.com/office/drawing/2014/main" id="{921C2FD8-BE0B-F530-6DAB-10C17E5AEF90}"/>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A8BFA709-A7AF-C5B1-E866-CE4C2719D8AA}"/>
              </a:ext>
            </a:extLst>
          </p:cNvPr>
          <p:cNvSpPr>
            <a:spLocks noGrp="1"/>
          </p:cNvSpPr>
          <p:nvPr>
            <p:ph type="title"/>
            <p:custDataLst>
              <p:tags r:id="rId2"/>
            </p:custDataLst>
          </p:nvPr>
        </p:nvSpPr>
        <p:spPr>
          <a:xfrm>
            <a:off x="838799" y="343789"/>
            <a:ext cx="9540001" cy="781752"/>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de-DE" dirty="0"/>
              <a:t>Wind und Solar 2022 erstmals mit höchstem Anteil an der Stromerzeugung in der EU</a:t>
            </a:r>
          </a:p>
        </p:txBody>
      </p:sp>
      <p:graphicFrame>
        <p:nvGraphicFramePr>
          <p:cNvPr id="4" name="Chart 3">
            <a:extLst>
              <a:ext uri="{FF2B5EF4-FFF2-40B4-BE49-F238E27FC236}">
                <a16:creationId xmlns:a16="http://schemas.microsoft.com/office/drawing/2014/main" id="{03AD76F0-6592-F818-CCCD-47A414DEBDE2}"/>
              </a:ext>
            </a:extLst>
          </p:cNvPr>
          <p:cNvGraphicFramePr/>
          <p:nvPr>
            <p:custDataLst>
              <p:tags r:id="rId3"/>
            </p:custDataLst>
            <p:extLst>
              <p:ext uri="{D42A27DB-BD31-4B8C-83A1-F6EECF244321}">
                <p14:modId xmlns:p14="http://schemas.microsoft.com/office/powerpoint/2010/main" val="984458365"/>
              </p:ext>
            </p:extLst>
          </p:nvPr>
        </p:nvGraphicFramePr>
        <p:xfrm>
          <a:off x="1052513" y="1824038"/>
          <a:ext cx="8575675" cy="4164012"/>
        </p:xfrm>
        <a:graphic>
          <a:graphicData uri="http://schemas.openxmlformats.org/drawingml/2006/chart">
            <c:chart xmlns:c="http://schemas.openxmlformats.org/drawingml/2006/chart" xmlns:r="http://schemas.openxmlformats.org/officeDocument/2006/relationships" r:id="rId31"/>
          </a:graphicData>
        </a:graphic>
      </p:graphicFrame>
      <p:sp>
        <p:nvSpPr>
          <p:cNvPr id="163" name="Text Placeholder 4">
            <a:extLst>
              <a:ext uri="{FF2B5EF4-FFF2-40B4-BE49-F238E27FC236}">
                <a16:creationId xmlns:a16="http://schemas.microsoft.com/office/drawing/2014/main" id="{4C1F3293-4EFE-461D-940D-7EE66BAE31C5}"/>
              </a:ext>
            </a:extLst>
          </p:cNvPr>
          <p:cNvSpPr>
            <a:spLocks noGrp="1"/>
          </p:cNvSpPr>
          <p:nvPr>
            <p:custDataLst>
              <p:tags r:id="rId4"/>
            </p:custDataLst>
          </p:nvPr>
        </p:nvSpPr>
        <p:spPr bwMode="gray">
          <a:xfrm>
            <a:off x="6159500" y="5964238"/>
            <a:ext cx="3508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BBC2690-93F5-4773-B14D-36B4C90243E4}" type="datetime'''''''''''''''2''0''''''1''''''''4'''''''''''''''''''''">
              <a:rPr kumimoji="0" lang="en-US"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14</a:t>
            </a:fld>
            <a:endPar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endParaRPr>
          </a:p>
        </p:txBody>
      </p:sp>
      <p:sp>
        <p:nvSpPr>
          <p:cNvPr id="149" name="Text Placeholder 4">
            <a:extLst>
              <a:ext uri="{FF2B5EF4-FFF2-40B4-BE49-F238E27FC236}">
                <a16:creationId xmlns:a16="http://schemas.microsoft.com/office/drawing/2014/main" id="{4C1F3293-4EFE-461D-940D-7EE66BAE31C5}"/>
              </a:ext>
            </a:extLst>
          </p:cNvPr>
          <p:cNvSpPr>
            <a:spLocks noGrp="1"/>
          </p:cNvSpPr>
          <p:nvPr>
            <p:custDataLst>
              <p:tags r:id="rId5"/>
            </p:custDataLst>
          </p:nvPr>
        </p:nvSpPr>
        <p:spPr bwMode="gray">
          <a:xfrm>
            <a:off x="941388" y="5964238"/>
            <a:ext cx="3873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2AF07342-4C01-4629-8282-EC7DC7F1DB56}" type="datetime'''''''''''''''2''''''''''''0''''''''''0''''''0'''''''">
              <a:rPr kumimoji="0" lang="en-US"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00</a:t>
            </a:fld>
            <a:endPar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endParaRPr>
          </a:p>
        </p:txBody>
      </p:sp>
      <p:sp>
        <p:nvSpPr>
          <p:cNvPr id="151" name="Text Placeholder 4">
            <a:extLst>
              <a:ext uri="{FF2B5EF4-FFF2-40B4-BE49-F238E27FC236}">
                <a16:creationId xmlns:a16="http://schemas.microsoft.com/office/drawing/2014/main" id="{4C1F3293-4EFE-461D-940D-7EE66BAE31C5}"/>
              </a:ext>
            </a:extLst>
          </p:cNvPr>
          <p:cNvSpPr>
            <a:spLocks noGrp="1"/>
          </p:cNvSpPr>
          <p:nvPr>
            <p:custDataLst>
              <p:tags r:id="rId6"/>
            </p:custDataLst>
          </p:nvPr>
        </p:nvSpPr>
        <p:spPr bwMode="gray">
          <a:xfrm>
            <a:off x="1687513" y="5964238"/>
            <a:ext cx="3810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6A196FC-CCF8-40DB-ABA4-22F8340D1604}" type="datetime'''''2''''''''0''''''''''''''''''''''''0''''''2'''''''''''''">
              <a:rPr kumimoji="0" lang="en-US"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02</a:t>
            </a:fld>
            <a:endPar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endParaRPr>
          </a:p>
        </p:txBody>
      </p:sp>
      <p:sp>
        <p:nvSpPr>
          <p:cNvPr id="161" name="Text Placeholder 4">
            <a:extLst>
              <a:ext uri="{FF2B5EF4-FFF2-40B4-BE49-F238E27FC236}">
                <a16:creationId xmlns:a16="http://schemas.microsoft.com/office/drawing/2014/main" id="{4C1F3293-4EFE-461D-940D-7EE66BAE31C5}"/>
              </a:ext>
            </a:extLst>
          </p:cNvPr>
          <p:cNvSpPr>
            <a:spLocks noGrp="1"/>
          </p:cNvSpPr>
          <p:nvPr>
            <p:custDataLst>
              <p:tags r:id="rId7"/>
            </p:custDataLst>
          </p:nvPr>
        </p:nvSpPr>
        <p:spPr bwMode="gray">
          <a:xfrm>
            <a:off x="5421313" y="5964238"/>
            <a:ext cx="3413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FAD0307-4520-4E1B-93A8-333812338D2E}" type="datetime'''''2''''''''''''0''''''''''''''''1''''''''''''2'">
              <a:rPr kumimoji="0" lang="en-US"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12</a:t>
            </a:fld>
            <a:endPar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endParaRPr>
          </a:p>
        </p:txBody>
      </p:sp>
      <p:sp>
        <p:nvSpPr>
          <p:cNvPr id="153"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gray">
          <a:xfrm>
            <a:off x="2425700" y="5964238"/>
            <a:ext cx="3905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68AED0A-8ABE-4D4B-A5BE-9499A782DD94}" type="datetime'''''''''''2''''''0''''''''''''0''''4'''''''">
              <a:rPr kumimoji="0" lang="en-US"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04</a:t>
            </a:fld>
            <a:endPar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endParaRPr>
          </a:p>
        </p:txBody>
      </p:sp>
      <p:sp>
        <p:nvSpPr>
          <p:cNvPr id="159" name="Text Placeholder 4">
            <a:extLst>
              <a:ext uri="{FF2B5EF4-FFF2-40B4-BE49-F238E27FC236}">
                <a16:creationId xmlns:a16="http://schemas.microsoft.com/office/drawing/2014/main" id="{4C1F3293-4EFE-461D-940D-7EE66BAE31C5}"/>
              </a:ext>
            </a:extLst>
          </p:cNvPr>
          <p:cNvSpPr>
            <a:spLocks noGrp="1"/>
          </p:cNvSpPr>
          <p:nvPr>
            <p:custDataLst>
              <p:tags r:id="rId9"/>
            </p:custDataLst>
          </p:nvPr>
        </p:nvSpPr>
        <p:spPr bwMode="gray">
          <a:xfrm>
            <a:off x="4676775" y="5964238"/>
            <a:ext cx="3476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929C68D-5A3C-4F33-9E79-E7C2E3DED1FD}" type="datetime'2''''''0''1''''''''''''''''''''''''''''''''''''''0'''''">
              <a:rPr kumimoji="0" lang="en-US"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10</a:t>
            </a:fld>
            <a:endPar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endParaRPr>
          </a:p>
        </p:txBody>
      </p:sp>
      <p:sp>
        <p:nvSpPr>
          <p:cNvPr id="155"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3175000" y="5964238"/>
            <a:ext cx="3794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C6F6ABA-60A9-4349-A842-2113103E9272}" type="datetime'''''2''''0''0''6'''''''''''''''''''''''''''''''">
              <a:rPr kumimoji="0" lang="en-US"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06</a:t>
            </a:fld>
            <a:endPar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endParaRPr>
          </a:p>
        </p:txBody>
      </p:sp>
      <p:sp>
        <p:nvSpPr>
          <p:cNvPr id="157"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3913188" y="5964238"/>
            <a:ext cx="3889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22EE00E-3092-497C-9401-7FA2497DDAE6}" type="datetime'''''''2''''''''''''0''''''''''''0''''8'''''''''''''''''''">
              <a:rPr kumimoji="0" lang="en-US"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08</a:t>
            </a:fld>
            <a:endPar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endParaRPr>
          </a:p>
        </p:txBody>
      </p:sp>
      <p:sp>
        <p:nvSpPr>
          <p:cNvPr id="83"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825500" y="2371725"/>
            <a:ext cx="1920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8E0BAF2-F988-48AF-89AB-EB79E03B1D23}" type="datetime'''3''''''''''0'''''''''''''''''''''''''''''''''''''''''">
              <a:rPr kumimoji="0" lang="en-US"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0</a:t>
            </a:fld>
            <a:endPar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endParaRPr>
          </a:p>
        </p:txBody>
      </p:sp>
      <p:sp>
        <p:nvSpPr>
          <p:cNvPr id="165"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6907213" y="5964238"/>
            <a:ext cx="3397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40CC053-8A4D-427A-AC21-44C2C54933D4}" type="datetime'''''''''''2''''''''0''''''''''''16'''''''''">
              <a:rPr kumimoji="0" lang="en-US"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16</a:t>
            </a:fld>
            <a:endPar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endParaRPr>
          </a:p>
        </p:txBody>
      </p:sp>
      <p:sp>
        <p:nvSpPr>
          <p:cNvPr id="167"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7645400" y="5964238"/>
            <a:ext cx="3492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EE6B6F00-E6F3-4FD2-943C-9D13330F11D8}" type="datetime'''2''''''0''''''''''''''''''''1''''''8'''''''">
              <a:rPr kumimoji="0" lang="en-US"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18</a:t>
            </a:fld>
            <a:endPar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endParaRPr>
          </a:p>
        </p:txBody>
      </p:sp>
      <p:sp>
        <p:nvSpPr>
          <p:cNvPr id="169"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gray">
          <a:xfrm>
            <a:off x="8372475" y="5964238"/>
            <a:ext cx="3810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F41FB7D-6817-41E4-B5A0-286ABE8ACB6E}" type="datetime'''''''''''''20''''''''''''''''''''''''''2''''''0'''''''">
              <a:rPr kumimoji="0" lang="en-US"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20</a:t>
            </a:fld>
            <a:endPar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endParaRPr>
          </a:p>
        </p:txBody>
      </p:sp>
      <p:sp>
        <p:nvSpPr>
          <p:cNvPr id="92"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9118600" y="5964238"/>
            <a:ext cx="374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F67B007-24C8-4257-A136-81818367C56C}" type="datetime'''''''''''''''''''2''''''0''''''''2''''''''2'''''''''''''''">
              <a:rPr kumimoji="0" lang="en-US"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22</a:t>
            </a:fld>
            <a:endPar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endParaRPr>
          </a:p>
        </p:txBody>
      </p:sp>
      <p:sp>
        <p:nvSpPr>
          <p:cNvPr id="81"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gray">
          <a:xfrm>
            <a:off x="827088" y="3514725"/>
            <a:ext cx="1905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F1570279-01D7-4B3C-99B5-DE7497182C86}" type="datetime'''''''''''''''''''''''''''2''0'''''''''''">
              <a:rPr kumimoji="0" lang="en-US"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0</a:t>
            </a:fld>
            <a:endPar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endParaRPr>
          </a:p>
        </p:txBody>
      </p:sp>
      <p:sp>
        <p:nvSpPr>
          <p:cNvPr id="41" name="Text Placeholder 4">
            <a:extLst>
              <a:ext uri="{FF2B5EF4-FFF2-40B4-BE49-F238E27FC236}">
                <a16:creationId xmlns:a16="http://schemas.microsoft.com/office/drawing/2014/main" id="{4C1F3293-4EFE-461D-940D-7EE66BAE31C5}"/>
              </a:ext>
            </a:extLst>
          </p:cNvPr>
          <p:cNvSpPr>
            <a:spLocks noGrp="1"/>
          </p:cNvSpPr>
          <p:nvPr>
            <p:custDataLst>
              <p:tags r:id="rId18"/>
            </p:custDataLst>
          </p:nvPr>
        </p:nvSpPr>
        <p:spPr bwMode="gray">
          <a:xfrm>
            <a:off x="919163" y="5799138"/>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59490FC-7680-4476-9AC4-9BBF49086492}" type="datetime'''''''''''''''''''''''0'''''''''''''''''''''''">
              <a:rPr kumimoji="0" lang="en-US"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0</a:t>
            </a:fld>
            <a:endPar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endParaRPr>
          </a:p>
        </p:txBody>
      </p:sp>
      <p:sp>
        <p:nvSpPr>
          <p:cNvPr id="279" name="Text Placeholder 4">
            <a:extLst>
              <a:ext uri="{FF2B5EF4-FFF2-40B4-BE49-F238E27FC236}">
                <a16:creationId xmlns:a16="http://schemas.microsoft.com/office/drawing/2014/main" id="{4C1F3293-4EFE-461D-940D-7EE66BAE31C5}"/>
              </a:ext>
            </a:extLst>
          </p:cNvPr>
          <p:cNvSpPr>
            <a:spLocks noGrp="1"/>
          </p:cNvSpPr>
          <p:nvPr>
            <p:custDataLst>
              <p:tags r:id="rId19"/>
            </p:custDataLst>
          </p:nvPr>
        </p:nvSpPr>
        <p:spPr bwMode="gray">
          <a:xfrm>
            <a:off x="920750" y="5227638"/>
            <a:ext cx="968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CDDEE45-C7C0-4493-A588-2EDF3B26C932}" type="datetime'''''''''5'''''''''''''''''''''''''''''''''''">
              <a:rPr kumimoji="0" lang="en-US"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5</a:t>
            </a:fld>
            <a:endPar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endParaRPr>
          </a:p>
        </p:txBody>
      </p:sp>
      <p:sp>
        <p:nvSpPr>
          <p:cNvPr id="79" name="Text Placeholder 4">
            <a:extLst>
              <a:ext uri="{FF2B5EF4-FFF2-40B4-BE49-F238E27FC236}">
                <a16:creationId xmlns:a16="http://schemas.microsoft.com/office/drawing/2014/main" id="{4C1F3293-4EFE-461D-940D-7EE66BAE31C5}"/>
              </a:ext>
            </a:extLst>
          </p:cNvPr>
          <p:cNvSpPr>
            <a:spLocks noGrp="1"/>
          </p:cNvSpPr>
          <p:nvPr>
            <p:custDataLst>
              <p:tags r:id="rId20"/>
            </p:custDataLst>
          </p:nvPr>
        </p:nvSpPr>
        <p:spPr bwMode="gray">
          <a:xfrm>
            <a:off x="860425" y="4656138"/>
            <a:ext cx="1571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F4EF9A5-F913-4C68-AF6B-9C875364B5A9}" type="datetime'''''1''''''''''''''''''''''0'''''''''''''''''''''''''''''''''">
              <a:rPr kumimoji="0" lang="en-US"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0</a:t>
            </a:fld>
            <a:endPar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endParaRPr>
          </a:p>
        </p:txBody>
      </p:sp>
      <p:sp>
        <p:nvSpPr>
          <p:cNvPr id="280" name="Text Placeholder 4">
            <a:extLst>
              <a:ext uri="{FF2B5EF4-FFF2-40B4-BE49-F238E27FC236}">
                <a16:creationId xmlns:a16="http://schemas.microsoft.com/office/drawing/2014/main" id="{4C1F3293-4EFE-461D-940D-7EE66BAE31C5}"/>
              </a:ext>
            </a:extLst>
          </p:cNvPr>
          <p:cNvSpPr>
            <a:spLocks noGrp="1"/>
          </p:cNvSpPr>
          <p:nvPr>
            <p:custDataLst>
              <p:tags r:id="rId21"/>
            </p:custDataLst>
          </p:nvPr>
        </p:nvSpPr>
        <p:spPr bwMode="gray">
          <a:xfrm>
            <a:off x="862013" y="4084638"/>
            <a:ext cx="1555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5BB61CE-B224-443F-9EA1-D9AAD274CDFD}" type="datetime'''''''''''''''''''1''''5'''''''''">
              <a:rPr kumimoji="0" lang="en-US"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5</a:t>
            </a:fld>
            <a:endPar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endParaRPr>
          </a:p>
        </p:txBody>
      </p:sp>
      <p:sp>
        <p:nvSpPr>
          <p:cNvPr id="281" name="Text Placeholder 4">
            <a:extLst>
              <a:ext uri="{FF2B5EF4-FFF2-40B4-BE49-F238E27FC236}">
                <a16:creationId xmlns:a16="http://schemas.microsoft.com/office/drawing/2014/main" id="{4C1F3293-4EFE-461D-940D-7EE66BAE31C5}"/>
              </a:ext>
            </a:extLst>
          </p:cNvPr>
          <p:cNvSpPr>
            <a:spLocks noGrp="1"/>
          </p:cNvSpPr>
          <p:nvPr>
            <p:custDataLst>
              <p:tags r:id="rId22"/>
            </p:custDataLst>
          </p:nvPr>
        </p:nvSpPr>
        <p:spPr bwMode="gray">
          <a:xfrm>
            <a:off x="828675" y="2943225"/>
            <a:ext cx="1889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5F3CCDC-37AA-431F-87D5-2EE9A1B03733}" type="datetime'''''''''''''''''''''''''2''''''''''''''''''''''''''5'''''''''">
              <a:rPr kumimoji="0" lang="en-US"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5</a:t>
            </a:fld>
            <a:endPar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endParaRPr>
          </a:p>
        </p:txBody>
      </p:sp>
      <p:sp>
        <p:nvSpPr>
          <p:cNvPr id="282" name="Text Placeholder 4">
            <a:extLst>
              <a:ext uri="{FF2B5EF4-FFF2-40B4-BE49-F238E27FC236}">
                <a16:creationId xmlns:a16="http://schemas.microsoft.com/office/drawing/2014/main" id="{4C1F3293-4EFE-461D-940D-7EE66BAE31C5}"/>
              </a:ext>
            </a:extLst>
          </p:cNvPr>
          <p:cNvSpPr>
            <a:spLocks noGrp="1"/>
          </p:cNvSpPr>
          <p:nvPr>
            <p:custDataLst>
              <p:tags r:id="rId23"/>
            </p:custDataLst>
          </p:nvPr>
        </p:nvSpPr>
        <p:spPr bwMode="gray">
          <a:xfrm>
            <a:off x="827088" y="1800225"/>
            <a:ext cx="1905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
                <a:schemeClr val="accent2"/>
              </a:buClr>
              <a:buSzPct val="100000"/>
              <a:buFont typeface="Wingdings" panose="05000000000000000000" pitchFamily="2" charset="2"/>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
                <a:schemeClr val="tx1"/>
              </a:buClr>
              <a:buSzPct val="100000"/>
              <a:buFont typeface="Symbol" panose="05050102010706020507" pitchFamily="18" charset="2"/>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
                <a:srgbClr val="6F6F6F"/>
              </a:buClr>
              <a:buSzPct val="100000"/>
              <a:buFont typeface="Symbol" panose="05050102010706020507" pitchFamily="18" charset="2"/>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03D9F60-63CC-426D-BA81-07D061FA46E8}" type="datetime'3''5'''''''''''''''''''''''''''''''''">
              <a:rPr kumimoji="0" lang="en-US" altLang="en-US" sz="1400" b="0" i="0" u="none" strike="noStrike" kern="1200" cap="none" spc="0" normalizeH="0" baseline="0" noProof="0" smtClean="0">
                <a:ln>
                  <a:noFill/>
                </a:ln>
                <a:solidFill>
                  <a:srgbClr val="000000"/>
                </a:solidFill>
                <a:effectLst/>
                <a:uLnTx/>
                <a:uFillTx/>
                <a:latin typeface="Bahnschrift" panose="020B0502040204020203" pitchFamily="34" charset="0"/>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35</a:t>
            </a:fld>
            <a:endPar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endParaRPr>
          </a:p>
        </p:txBody>
      </p:sp>
      <p:sp>
        <p:nvSpPr>
          <p:cNvPr id="355" name="TextBox 354">
            <a:extLst>
              <a:ext uri="{FF2B5EF4-FFF2-40B4-BE49-F238E27FC236}">
                <a16:creationId xmlns:a16="http://schemas.microsoft.com/office/drawing/2014/main" id="{99F06D1F-820C-AF17-726E-551A015E80FD}"/>
              </a:ext>
            </a:extLst>
          </p:cNvPr>
          <p:cNvSpPr txBox="1">
            <a:spLocks/>
          </p:cNvSpPr>
          <p:nvPr/>
        </p:nvSpPr>
        <p:spPr>
          <a:xfrm>
            <a:off x="838799" y="1333773"/>
            <a:ext cx="10957610" cy="246221"/>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dirty="0" err="1">
                <a:ln>
                  <a:noFill/>
                </a:ln>
                <a:solidFill>
                  <a:srgbClr val="000000"/>
                </a:solidFill>
                <a:effectLst/>
                <a:uLnTx/>
                <a:uFillTx/>
                <a:latin typeface="Bahnschrift" panose="020B0502040204020203" pitchFamily="34" charset="0"/>
                <a:ea typeface="+mn-ea"/>
                <a:cs typeface="Arial" panose="020B0604020202020204" pitchFamily="34" charset="0"/>
              </a:rPr>
              <a:t>Anteil</a:t>
            </a:r>
            <a:r>
              <a:rPr kumimoji="0" lang="en-US" sz="16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 an der </a:t>
            </a:r>
            <a:r>
              <a:rPr kumimoji="0" lang="en-US" sz="1600" b="1" i="0" u="none" strike="noStrike" kern="1200" cap="none" spc="0" normalizeH="0" baseline="0" noProof="0" dirty="0" err="1">
                <a:ln>
                  <a:noFill/>
                </a:ln>
                <a:solidFill>
                  <a:srgbClr val="000000"/>
                </a:solidFill>
                <a:effectLst/>
                <a:uLnTx/>
                <a:uFillTx/>
                <a:latin typeface="Bahnschrift" panose="020B0502040204020203" pitchFamily="34" charset="0"/>
                <a:ea typeface="+mn-ea"/>
                <a:cs typeface="Arial" panose="020B0604020202020204" pitchFamily="34" charset="0"/>
              </a:rPr>
              <a:t>Stromerzeugung</a:t>
            </a:r>
            <a:r>
              <a:rPr kumimoji="0" lang="en-US" sz="1600" b="1"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 </a:t>
            </a:r>
            <a:r>
              <a:rPr kumimoji="0" lang="en-US" sz="160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a:t>
            </a:r>
          </a:p>
        </p:txBody>
      </p:sp>
      <p:cxnSp>
        <p:nvCxnSpPr>
          <p:cNvPr id="370" name="LineSeparatorDefault 370">
            <a:extLst>
              <a:ext uri="{FF2B5EF4-FFF2-40B4-BE49-F238E27FC236}">
                <a16:creationId xmlns:a16="http://schemas.microsoft.com/office/drawing/2014/main" id="{B834C220-4A41-DDD5-1B0B-8664699F4B5C}"/>
              </a:ext>
            </a:extLst>
          </p:cNvPr>
          <p:cNvCxnSpPr>
            <a:cxnSpLocks/>
          </p:cNvCxnSpPr>
          <p:nvPr>
            <p:custDataLst>
              <p:tags r:id="rId24"/>
            </p:custDataLst>
          </p:nvPr>
        </p:nvCxnSpPr>
        <p:spPr>
          <a:xfrm>
            <a:off x="838799" y="1705622"/>
            <a:ext cx="10957610" cy="0"/>
          </a:xfrm>
          <a:prstGeom prst="straightConnector1">
            <a:avLst/>
          </a:prstGeom>
          <a:ln w="12700" cap="flat">
            <a:solidFill>
              <a:srgbClr val="004FA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5. Source" hidden="1">
            <a:extLst>
              <a:ext uri="{FF2B5EF4-FFF2-40B4-BE49-F238E27FC236}">
                <a16:creationId xmlns:a16="http://schemas.microsoft.com/office/drawing/2014/main" id="{74CED4D1-CF2D-1777-81A2-67A54A5AE6A4}"/>
              </a:ext>
            </a:extLst>
          </p:cNvPr>
          <p:cNvSpPr txBox="1"/>
          <p:nvPr>
            <p:custDataLst>
              <p:tags r:id="rId25"/>
            </p:custDataLst>
          </p:nvPr>
        </p:nvSpPr>
        <p:spPr>
          <a:xfrm>
            <a:off x="830960" y="6514142"/>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de-DE" sz="8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Quelle: …</a:t>
            </a:r>
          </a:p>
        </p:txBody>
      </p:sp>
      <p:sp>
        <p:nvSpPr>
          <p:cNvPr id="6" name="5. Source">
            <a:extLst>
              <a:ext uri="{FF2B5EF4-FFF2-40B4-BE49-F238E27FC236}">
                <a16:creationId xmlns:a16="http://schemas.microsoft.com/office/drawing/2014/main" id="{B06B0624-4004-8BF4-ADDD-BFFBBF9300C2}"/>
              </a:ext>
            </a:extLst>
          </p:cNvPr>
          <p:cNvSpPr txBox="1"/>
          <p:nvPr>
            <p:custDataLst>
              <p:tags r:id="rId26"/>
            </p:custDataLst>
          </p:nvPr>
        </p:nvSpPr>
        <p:spPr>
          <a:xfrm>
            <a:off x="8846924" y="6576599"/>
            <a:ext cx="2260599" cy="123111"/>
          </a:xfrm>
          <a:prstGeom prst="rect">
            <a:avLst/>
          </a:prstGeom>
          <a:noFill/>
        </p:spPr>
        <p:txBody>
          <a:bodyPr vert="horz" wrap="square" lIns="0" tIns="0" rIns="0" bIns="0" rtlCol="0" anchor="b" anchorCtr="0">
            <a:spAutoFit/>
          </a:bodyPr>
          <a:lstStyle>
            <a:defPPr>
              <a:defRPr lang="de-AT"/>
            </a:defPPr>
            <a:lvl1pPr>
              <a:defRPr sz="800">
                <a:latin typeface="Bahnschrift" panose="020B0502040204020203" pitchFamily="34" charset="0"/>
              </a:defRPr>
            </a:lvl1pPr>
          </a:lstStyle>
          <a:p>
            <a:r>
              <a:rPr lang="de-DE" dirty="0">
                <a:solidFill>
                  <a:srgbClr val="004FA1"/>
                </a:solidFill>
              </a:rPr>
              <a:t>Quelle: </a:t>
            </a:r>
            <a:r>
              <a:rPr lang="en-US" dirty="0">
                <a:solidFill>
                  <a:srgbClr val="004FA1"/>
                </a:solidFill>
              </a:rPr>
              <a:t>Ember</a:t>
            </a:r>
            <a:endParaRPr lang="de-DE" dirty="0">
              <a:solidFill>
                <a:srgbClr val="004FA1"/>
              </a:solidFill>
            </a:endParaRPr>
          </a:p>
        </p:txBody>
      </p:sp>
      <p:sp>
        <p:nvSpPr>
          <p:cNvPr id="107" name="TextBox 106">
            <a:extLst>
              <a:ext uri="{FF2B5EF4-FFF2-40B4-BE49-F238E27FC236}">
                <a16:creationId xmlns:a16="http://schemas.microsoft.com/office/drawing/2014/main" id="{1401578F-0AAF-E205-9EE8-09F0BC90BF57}"/>
              </a:ext>
            </a:extLst>
          </p:cNvPr>
          <p:cNvSpPr txBox="1"/>
          <p:nvPr/>
        </p:nvSpPr>
        <p:spPr>
          <a:xfrm>
            <a:off x="10422422" y="3407003"/>
            <a:ext cx="1214842"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Atom</a:t>
            </a:r>
          </a:p>
        </p:txBody>
      </p:sp>
      <p:cxnSp>
        <p:nvCxnSpPr>
          <p:cNvPr id="119" name="Straight Connector 118">
            <a:extLst>
              <a:ext uri="{FF2B5EF4-FFF2-40B4-BE49-F238E27FC236}">
                <a16:creationId xmlns:a16="http://schemas.microsoft.com/office/drawing/2014/main" id="{B62D9FB3-0B73-83C9-05CA-3A215EE95584}"/>
              </a:ext>
            </a:extLst>
          </p:cNvPr>
          <p:cNvCxnSpPr>
            <a:cxnSpLocks/>
          </p:cNvCxnSpPr>
          <p:nvPr/>
        </p:nvCxnSpPr>
        <p:spPr>
          <a:xfrm flipH="1">
            <a:off x="9992613" y="3514725"/>
            <a:ext cx="336550" cy="0"/>
          </a:xfrm>
          <a:prstGeom prst="line">
            <a:avLst/>
          </a:prstGeom>
          <a:ln w="3810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ED1E97FF-19FC-F4D1-92EF-375E43EB0CB2}"/>
              </a:ext>
            </a:extLst>
          </p:cNvPr>
          <p:cNvSpPr txBox="1"/>
          <p:nvPr/>
        </p:nvSpPr>
        <p:spPr>
          <a:xfrm>
            <a:off x="10422422" y="3931951"/>
            <a:ext cx="1214842"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err="1">
                <a:ln>
                  <a:noFill/>
                </a:ln>
                <a:solidFill>
                  <a:srgbClr val="000000"/>
                </a:solidFill>
                <a:effectLst/>
                <a:uLnTx/>
                <a:uFillTx/>
                <a:latin typeface="Bahnschrift" panose="020B0502040204020203" pitchFamily="34" charset="0"/>
                <a:ea typeface="+mn-ea"/>
                <a:cs typeface="Arial" panose="020B0604020202020204" pitchFamily="34" charset="0"/>
              </a:rPr>
              <a:t>Kohle</a:t>
            </a:r>
            <a:endPar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endParaRPr>
          </a:p>
        </p:txBody>
      </p:sp>
      <p:cxnSp>
        <p:nvCxnSpPr>
          <p:cNvPr id="120" name="Straight Connector 119">
            <a:extLst>
              <a:ext uri="{FF2B5EF4-FFF2-40B4-BE49-F238E27FC236}">
                <a16:creationId xmlns:a16="http://schemas.microsoft.com/office/drawing/2014/main" id="{ADB230E4-5913-8971-1E01-B773B5E3DA93}"/>
              </a:ext>
            </a:extLst>
          </p:cNvPr>
          <p:cNvCxnSpPr>
            <a:cxnSpLocks/>
          </p:cNvCxnSpPr>
          <p:nvPr/>
        </p:nvCxnSpPr>
        <p:spPr>
          <a:xfrm flipH="1">
            <a:off x="9992613" y="4039673"/>
            <a:ext cx="336550" cy="0"/>
          </a:xfrm>
          <a:prstGeom prst="line">
            <a:avLst/>
          </a:prstGeom>
          <a:ln w="381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16F9BAED-C3AE-3D2A-ECB2-7A262B0AA270}"/>
              </a:ext>
            </a:extLst>
          </p:cNvPr>
          <p:cNvSpPr txBox="1"/>
          <p:nvPr/>
        </p:nvSpPr>
        <p:spPr>
          <a:xfrm>
            <a:off x="10422422" y="3619319"/>
            <a:ext cx="1214842"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Gas</a:t>
            </a:r>
          </a:p>
        </p:txBody>
      </p:sp>
      <p:cxnSp>
        <p:nvCxnSpPr>
          <p:cNvPr id="121" name="Straight Connector 120">
            <a:extLst>
              <a:ext uri="{FF2B5EF4-FFF2-40B4-BE49-F238E27FC236}">
                <a16:creationId xmlns:a16="http://schemas.microsoft.com/office/drawing/2014/main" id="{160A06B9-8D73-4C96-CED2-9B889525B5DF}"/>
              </a:ext>
            </a:extLst>
          </p:cNvPr>
          <p:cNvCxnSpPr>
            <a:cxnSpLocks/>
          </p:cNvCxnSpPr>
          <p:nvPr/>
        </p:nvCxnSpPr>
        <p:spPr>
          <a:xfrm flipH="1">
            <a:off x="9992613" y="3727041"/>
            <a:ext cx="336550" cy="0"/>
          </a:xfrm>
          <a:prstGeom prst="line">
            <a:avLst/>
          </a:prstGeom>
          <a:ln w="38100"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0" name="TextBox 109">
            <a:extLst>
              <a:ext uri="{FF2B5EF4-FFF2-40B4-BE49-F238E27FC236}">
                <a16:creationId xmlns:a16="http://schemas.microsoft.com/office/drawing/2014/main" id="{056BE764-2A35-6C26-D88E-FDFC149D9DB2}"/>
              </a:ext>
            </a:extLst>
          </p:cNvPr>
          <p:cNvSpPr txBox="1"/>
          <p:nvPr/>
        </p:nvSpPr>
        <p:spPr>
          <a:xfrm>
            <a:off x="10422422" y="4678558"/>
            <a:ext cx="1214842"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Hydro</a:t>
            </a:r>
          </a:p>
        </p:txBody>
      </p:sp>
      <p:cxnSp>
        <p:nvCxnSpPr>
          <p:cNvPr id="122" name="Straight Connector 121">
            <a:extLst>
              <a:ext uri="{FF2B5EF4-FFF2-40B4-BE49-F238E27FC236}">
                <a16:creationId xmlns:a16="http://schemas.microsoft.com/office/drawing/2014/main" id="{3649322D-AFB3-A65C-AF74-1BF672D3B6B8}"/>
              </a:ext>
            </a:extLst>
          </p:cNvPr>
          <p:cNvCxnSpPr>
            <a:cxnSpLocks/>
          </p:cNvCxnSpPr>
          <p:nvPr/>
        </p:nvCxnSpPr>
        <p:spPr>
          <a:xfrm flipH="1">
            <a:off x="9992613" y="4786280"/>
            <a:ext cx="336550" cy="0"/>
          </a:xfrm>
          <a:prstGeom prst="line">
            <a:avLst/>
          </a:prstGeom>
          <a:ln w="38100" cap="flat">
            <a:solidFill>
              <a:schemeClr val="accent4"/>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F40DADBC-11D5-4BBF-0ED5-DB89941B47DB}"/>
              </a:ext>
            </a:extLst>
          </p:cNvPr>
          <p:cNvSpPr txBox="1"/>
          <p:nvPr/>
        </p:nvSpPr>
        <p:spPr>
          <a:xfrm>
            <a:off x="10422422" y="5116708"/>
            <a:ext cx="1214842"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err="1">
                <a:ln>
                  <a:noFill/>
                </a:ln>
                <a:solidFill>
                  <a:srgbClr val="000000"/>
                </a:solidFill>
                <a:effectLst/>
                <a:uLnTx/>
                <a:uFillTx/>
                <a:latin typeface="Bahnschrift" panose="020B0502040204020203" pitchFamily="34" charset="0"/>
                <a:ea typeface="+mn-ea"/>
                <a:cs typeface="Arial" panose="020B0604020202020204" pitchFamily="34" charset="0"/>
              </a:rPr>
              <a:t>Bioenergie</a:t>
            </a:r>
            <a:endPar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endParaRPr>
          </a:p>
        </p:txBody>
      </p:sp>
      <p:cxnSp>
        <p:nvCxnSpPr>
          <p:cNvPr id="123" name="Straight Connector 122">
            <a:extLst>
              <a:ext uri="{FF2B5EF4-FFF2-40B4-BE49-F238E27FC236}">
                <a16:creationId xmlns:a16="http://schemas.microsoft.com/office/drawing/2014/main" id="{84261E24-193E-6180-48C8-E0A4B37FB0AD}"/>
              </a:ext>
            </a:extLst>
          </p:cNvPr>
          <p:cNvCxnSpPr>
            <a:cxnSpLocks/>
          </p:cNvCxnSpPr>
          <p:nvPr/>
        </p:nvCxnSpPr>
        <p:spPr>
          <a:xfrm flipH="1">
            <a:off x="9992613" y="5224430"/>
            <a:ext cx="336550" cy="0"/>
          </a:xfrm>
          <a:prstGeom prst="line">
            <a:avLst/>
          </a:prstGeom>
          <a:ln w="38100" cap="flat">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99956C36-12AE-B216-C278-02129E84EF83}"/>
              </a:ext>
            </a:extLst>
          </p:cNvPr>
          <p:cNvSpPr txBox="1"/>
          <p:nvPr/>
        </p:nvSpPr>
        <p:spPr>
          <a:xfrm>
            <a:off x="10422422" y="3206872"/>
            <a:ext cx="1214842"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182880" lvl="1" indent="-182880">
              <a:lnSpc>
                <a:spcPct val="100000"/>
              </a:lnSpc>
              <a:spcBef>
                <a:spcPts val="0"/>
              </a:spcBef>
              <a:spcAft>
                <a:spcPts val="300"/>
              </a:spcAft>
              <a:buClr>
                <a:schemeClr val="accent2"/>
              </a:buClr>
              <a:buSzPct val="100000"/>
              <a:buFont typeface="Wingdings" panose="05000000000000000000" pitchFamily="2" charset="2"/>
              <a:buChar char=""/>
              <a:defRPr lang="en-US" sz="1600" dirty="0"/>
            </a:lvl2pPr>
            <a:lvl3pPr marL="365760" lvl="2" indent="-182880">
              <a:lnSpc>
                <a:spcPct val="100000"/>
              </a:lnSpc>
              <a:spcBef>
                <a:spcPts val="0"/>
              </a:spcBef>
              <a:spcAft>
                <a:spcPts val="300"/>
              </a:spcAft>
              <a:buClr>
                <a:schemeClr val="tx1"/>
              </a:buClr>
              <a:buSzPct val="100000"/>
              <a:buFont typeface="Symbol" panose="05050102010706020507" pitchFamily="18" charset="2"/>
              <a:buChar char="-"/>
              <a:defRPr lang="en-US" sz="1600" dirty="0"/>
            </a:lvl3pPr>
            <a:lvl4pPr marL="548640" lvl="3" indent="-182880">
              <a:lnSpc>
                <a:spcPct val="100000"/>
              </a:lnSpc>
              <a:spcBef>
                <a:spcPts val="0"/>
              </a:spcBef>
              <a:spcAft>
                <a:spcPts val="300"/>
              </a:spcAft>
              <a:buClr>
                <a:srgbClr val="6F6F6F"/>
              </a:buClr>
              <a:buSzPct val="100000"/>
              <a:buFont typeface="Symbol" panose="05050102010706020507" pitchFamily="18" charset="2"/>
              <a:buChar char="-"/>
              <a:defRPr lang="en-US" sz="1600" dirty="0"/>
            </a:lvl4pPr>
            <a:lvl5pPr marL="731520" lvl="4" indent="-182880">
              <a:lnSpc>
                <a:spcPct val="100000"/>
              </a:lnSpc>
              <a:spcBef>
                <a:spcPts val="0"/>
              </a:spcBef>
              <a:spcAft>
                <a:spcPts val="300"/>
              </a:spcAft>
              <a:buClr>
                <a:srgbClr val="6F6F6F"/>
              </a:buClr>
              <a:buSzPct val="100000"/>
              <a:buFont typeface="Symbol" panose="05050102010706020507" pitchFamily="18" charset="2"/>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Bahnschrift" panose="020B0502040204020203" pitchFamily="34" charset="0"/>
                <a:ea typeface="+mn-ea"/>
                <a:cs typeface="Arial" panose="020B0604020202020204" pitchFamily="34" charset="0"/>
              </a:rPr>
              <a:t>Wind und Solar</a:t>
            </a:r>
          </a:p>
        </p:txBody>
      </p:sp>
      <p:cxnSp>
        <p:nvCxnSpPr>
          <p:cNvPr id="124" name="Straight Connector 123">
            <a:extLst>
              <a:ext uri="{FF2B5EF4-FFF2-40B4-BE49-F238E27FC236}">
                <a16:creationId xmlns:a16="http://schemas.microsoft.com/office/drawing/2014/main" id="{B7EFEE4D-BAF0-4094-2FE3-5BA753ABFC65}"/>
              </a:ext>
            </a:extLst>
          </p:cNvPr>
          <p:cNvCxnSpPr>
            <a:cxnSpLocks/>
          </p:cNvCxnSpPr>
          <p:nvPr/>
        </p:nvCxnSpPr>
        <p:spPr>
          <a:xfrm flipH="1">
            <a:off x="9992613" y="3314594"/>
            <a:ext cx="336550" cy="0"/>
          </a:xfrm>
          <a:prstGeom prst="line">
            <a:avLst/>
          </a:prstGeom>
          <a:ln w="38100" cap="flat">
            <a:solidFill>
              <a:srgbClr val="FFC000"/>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2CE918CC-4853-F4C9-4580-768344EEAA2A}"/>
              </a:ext>
            </a:extLst>
          </p:cNvPr>
          <p:cNvPicPr>
            <a:picLocks/>
          </p:cNvPicPr>
          <p:nvPr/>
        </p:nvPicPr>
        <p:blipFill>
          <a:blip r:embed="rId32"/>
          <a:stretch>
            <a:fillRect/>
          </a:stretch>
        </p:blipFill>
        <p:spPr>
          <a:xfrm>
            <a:off x="11319669" y="345199"/>
            <a:ext cx="512054" cy="341370"/>
          </a:xfrm>
          <a:prstGeom prst="rect">
            <a:avLst/>
          </a:prstGeom>
          <a:ln>
            <a:solidFill>
              <a:srgbClr val="D0D0D0"/>
            </a:solidFill>
          </a:ln>
        </p:spPr>
      </p:pic>
      <p:sp>
        <p:nvSpPr>
          <p:cNvPr id="21" name="Slide Number Placeholder 20">
            <a:extLst>
              <a:ext uri="{FF2B5EF4-FFF2-40B4-BE49-F238E27FC236}">
                <a16:creationId xmlns:a16="http://schemas.microsoft.com/office/drawing/2014/main" id="{A03F111D-62D6-44E5-A592-870B4BB5CFA0}"/>
              </a:ext>
            </a:extLst>
          </p:cNvPr>
          <p:cNvSpPr>
            <a:spLocks noGrp="1"/>
          </p:cNvSpPr>
          <p:nvPr>
            <p:ph type="sldNum" sz="quarter" idx="10"/>
          </p:nvPr>
        </p:nvSpPr>
        <p:spPr>
          <a:xfrm>
            <a:off x="167426" y="6245225"/>
            <a:ext cx="751738" cy="476250"/>
          </a:xfrm>
        </p:spPr>
        <p:txBody>
          <a:bodyPr/>
          <a:lstStyle/>
          <a:p>
            <a:fld id="{01920E2B-FC99-4A38-BFFD-416A818AECB0}" type="slidenum">
              <a:rPr lang="de-AT" smtClean="0"/>
              <a:pPr/>
              <a:t>9</a:t>
            </a:fld>
            <a:endParaRPr lang="de-AT" dirty="0"/>
          </a:p>
        </p:txBody>
      </p:sp>
    </p:spTree>
    <p:extLst>
      <p:ext uri="{BB962C8B-B14F-4D97-AF65-F5344CB8AC3E}">
        <p14:creationId xmlns:p14="http://schemas.microsoft.com/office/powerpoint/2010/main" val="2718395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SCLIENT" val="True"/>
  <p:tag name="CUSTOMLAYOUT" val="F"/>
  <p:tag name="THINKCELLPRESENTATIONDONOTDELETE" val="&lt;?xml version=&quot;1.0&quot; encoding=&quot;UTF-16&quot; standalone=&quot;yes&quot;?&gt;&lt;root reqver=&quot;27037&quot;&gt;&lt;version val=&quot;3302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1.55610000000000003872E+00&quot;&gt;&lt;m_msothmcolidx val=&quot;0&quot;/&gt;&lt;m_rgb r=&quot;9E&quot; g=&quot;DE&quot; b=&quot;CB&quot;/&gt;&lt;/elem&gt;&lt;elem m_fUsage=&quot;1.53899999999999992362E+00&quot;&gt;&lt;m_msothmcolidx val=&quot;0&quot;/&gt;&lt;m_rgb r=&quot;FF&quot; g=&quot;C0&quot; b=&quot;00&quot;/&gt;&lt;/elem&gt;&lt;elem m_fUsage=&quot;1.00000000000000000000E+00&quot;&gt;&lt;m_msothmcolidx val=&quot;0&quot;/&gt;&lt;m_rgb r=&quot;92&quot; g=&quot;D0&quot; b=&quot;5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Qe9Cht1F5PVslafbfEj5zA"/>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2LLUgv7SH4YtgMyjqgi56w"/>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k7_dHOa0oJpdja71DwhH8g"/>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2I33Wvc3j0E9xvU.2gB5jw"/>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LS.oK5GoGawCm1Iq90YRnw"/>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MEu5QcwqjyY.Cyfx6EwvK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kQtlU0cAZm5f9JdrHfPs.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aJOXfnHCnsowsylTneWuS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hN80Ds6QUS2ssbpFeSd.BQ"/>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o31Aqjh3mhUYgh9yG.SVoA"/>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pC0icWQOxkSfJGMP7whxFg"/>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lHqyU.dMPRhz7REaRQtHyA"/>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m.2yeAoIh6qm6__VOIiPh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yegr9WYIECwUyDcpsbQ1Ng"/>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r_gZvpe3hSrxnr2kNyW_zQ"/>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4bjChE.Z3lDkODhDRckzWw"/>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pQD5p5SCImKwo3kwKyVZ2w"/>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a_CHNen5vuSqskH3E807Ng"/>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2EKTMfktQZ3RLNTU1wgY9g"/>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sTbb4X1lpTGTQPKen.YoD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7bZjoKWrcm3oFJBUqHCcQ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QdfODsVzFpwHKi5.Tf36pA"/>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Lr2hArq0bwm6Sg8kGQTYuA"/>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_wNQ583f8.62JGBv68v30A"/>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KqnQ3rWSzhd3JVcco3Yf0w"/>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3Xo.XxcGSNN7Mf7bgHWKrA"/>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GThvLYeaMFO4cc3xHDVNSQ"/>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l4oV_HYbbiznV7oOTLq.cA"/>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zgmsg72YAe0NlZrV_97efw"/>
</p:tagLst>
</file>

<file path=ppt/tags/tag102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03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31.xml><?xml version="1.0" encoding="utf-8"?>
<p:tagLst xmlns:a="http://schemas.openxmlformats.org/drawingml/2006/main" xmlns:r="http://schemas.openxmlformats.org/officeDocument/2006/relationships" xmlns:p="http://schemas.openxmlformats.org/presentationml/2006/main">
  <p:tag name="NAME" val="CustomIcon"/>
</p:tagLst>
</file>

<file path=ppt/tags/tag1032.xml><?xml version="1.0" encoding="utf-8"?>
<p:tagLst xmlns:a="http://schemas.openxmlformats.org/drawingml/2006/main" xmlns:r="http://schemas.openxmlformats.org/officeDocument/2006/relationships" xmlns:p="http://schemas.openxmlformats.org/presentationml/2006/main">
  <p:tag name="NAME" val="CustomIcon"/>
</p:tagLst>
</file>

<file path=ppt/tags/tag1033.xml><?xml version="1.0" encoding="utf-8"?>
<p:tagLst xmlns:a="http://schemas.openxmlformats.org/drawingml/2006/main" xmlns:r="http://schemas.openxmlformats.org/officeDocument/2006/relationships" xmlns:p="http://schemas.openxmlformats.org/presentationml/2006/main">
  <p:tag name="NAME" val="4. Footnote"/>
</p:tagLst>
</file>

<file path=ppt/tags/tag10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5.xml><?xml version="1.0" encoding="utf-8"?>
<p:tagLst xmlns:a="http://schemas.openxmlformats.org/drawingml/2006/main" xmlns:r="http://schemas.openxmlformats.org/officeDocument/2006/relationships" xmlns:p="http://schemas.openxmlformats.org/presentationml/2006/main">
  <p:tag name="SHAPENAME" val="5. Source"/>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7.xml><?xml version="1.0" encoding="utf-8"?>
<p:tagLst xmlns:a="http://schemas.openxmlformats.org/drawingml/2006/main" xmlns:r="http://schemas.openxmlformats.org/officeDocument/2006/relationships" xmlns:p="http://schemas.openxmlformats.org/presentationml/2006/main">
  <p:tag name="DYNAMICLOCATIONTITLE" val="T"/>
  <p:tag name="TITLEPOS_" val="47,48567_104,5001"/>
  <p:tag name="TITLEBOTTOM_" val="457,9441_124,7654"/>
</p:tagLst>
</file>

<file path=ppt/tags/tag1038.xml><?xml version="1.0" encoding="utf-8"?>
<p:tagLst xmlns:a="http://schemas.openxmlformats.org/drawingml/2006/main" xmlns:r="http://schemas.openxmlformats.org/officeDocument/2006/relationships" xmlns:p="http://schemas.openxmlformats.org/presentationml/2006/main">
  <p:tag name="DYNAMICLOCATIONTITLE" val="T"/>
  <p:tag name="TITLEPOS_" val="47,48567_104,5001"/>
  <p:tag name="TITLEBOTTOM_" val="457,9441_124,7654"/>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9J1WQsWbrJIptXIx6uhv5w"/>
</p:tagLst>
</file>

<file path=ppt/tags/tag1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Eqo0TKuIWp5n1g.wjH4mbg"/>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LUBwv0Ka0DHh_GShDkf5yQ"/>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uBD2CGb_2FdZfapxST2FoA"/>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z02ruwicX2PFBOXg9k6M0g"/>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ztnqV4ieHuesPDfkND12v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GPFbM.7UxWrhy_iEIwqWvQ"/>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Qvd42Gti9xhn2XyCK7WnFA"/>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etPQOWbfysWslHz0X5OrDQ"/>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P9i9WxWJJ6sgxtFVqOjIuA"/>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wij8mpJLpjSEYlpC_YNwAg"/>
</p:tagLst>
</file>

<file path=ppt/tags/tag10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_cVJfd67NkKA7zgOd1_EIA"/>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mm9WtluDAS8qiAs4J2MMJg"/>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hI.D9JEJ2kff6HYRXYVhmg"/>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scO9gY8S1R.vCukwHAwC5A"/>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e2kVYrxhEvO0S6kZdr1G7g"/>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jqVCptd4GwFMCRtW0AoO.g"/>
</p:tagLst>
</file>

<file path=ppt/tags/tag1056.xml><?xml version="1.0" encoding="utf-8"?>
<p:tagLst xmlns:a="http://schemas.openxmlformats.org/drawingml/2006/main" xmlns:r="http://schemas.openxmlformats.org/officeDocument/2006/relationships" xmlns:p="http://schemas.openxmlformats.org/presentationml/2006/main">
  <p:tag name="NAME" val="5. Source"/>
</p:tagLst>
</file>

<file path=ppt/tags/tag1057.xml><?xml version="1.0" encoding="utf-8"?>
<p:tagLst xmlns:a="http://schemas.openxmlformats.org/drawingml/2006/main" xmlns:r="http://schemas.openxmlformats.org/officeDocument/2006/relationships" xmlns:p="http://schemas.openxmlformats.org/presentationml/2006/main">
  <p:tag name="NAME" val="4. Footnote"/>
</p:tagLst>
</file>

<file path=ppt/tags/tag10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59.xml><?xml version="1.0" encoding="utf-8"?>
<p:tagLst xmlns:a="http://schemas.openxmlformats.org/drawingml/2006/main" xmlns:r="http://schemas.openxmlformats.org/officeDocument/2006/relationships" xmlns:p="http://schemas.openxmlformats.org/presentationml/2006/main">
  <p:tag name="1LEVEL" val="9"/>
  <p:tag name="2LEVEL" val="4.5"/>
  <p:tag name="3LEVEL" val="2.25"/>
  <p:tag name="4LEVEL" val="1.12"/>
  <p:tag name="5LEVEL" val="0.56"/>
</p:tagLst>
</file>

<file path=ppt/tags/tag1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60.xml><?xml version="1.0" encoding="utf-8"?>
<p:tagLst xmlns:a="http://schemas.openxmlformats.org/drawingml/2006/main" xmlns:r="http://schemas.openxmlformats.org/officeDocument/2006/relationships" xmlns:p="http://schemas.openxmlformats.org/presentationml/2006/main">
  <p:tag name="SHAPENAME" val="5. Source"/>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H3sHRGy33RzIMYmfJeiX0g"/>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N.uL.MgysmoelofQGcxMhw"/>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HG89sM3NINt6tz0SmEqXGA"/>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0URXOEAOb8fZ.efvK.mEMg"/>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ad4snm7EkSutbZXvIaxUWA"/>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JcHb1SiMOW52KAzS8_mJQ"/>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CijqogwUdJynKtdeBExMWg"/>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Y4ck.IwCUO3g_KJhKhNwsw"/>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kbDMTPDTZdfNZOhiiGfJQQ"/>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Hx2JJqHIN4sSK6IBMkGN3g"/>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2tM8l5BI15i5HiDbioqY2g"/>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GLlnYIThTLeAYIZ8TZJmdQ"/>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FWlnk_nhayMgVcDPppL08g"/>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2rCHRgrvwSEFSxkUYX_izw"/>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FjdK4o9MnFo4dXvEwZG.BQ"/>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rOMkJg8URRn9PBChLEgapw"/>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GNDaHR25Eqrb3DjGsGxe_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5KF_.1yZ6v5SfwhYNWkulw"/>
</p:tagLst>
</file>

<file path=ppt/tags/tag107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8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8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8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8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8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ZO1rJ0V_z9M0nntNukhlCg"/>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6kghdU5l9VPmmNqleXfvhg"/>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Yx0K3vje88R7OJWQKshwvA"/>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k4VHikZMHdi_BnS_vvgV_Q"/>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r.MJ4BH7rFiQERwiq6w4dA"/>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8aSQbVaPsGnW78qTl3dBFg"/>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HML2Fd82s9K56M6eQieBRw"/>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soVPSpr2lrcuvBqkVryyHg"/>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Si7yfw3tn.ZwQK0c.gXpQw"/>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lkZtDUAt6qV9EKsAIf2zSQ"/>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KP4udPhd3DECxBBoBQOIpw"/>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GSPyk3duhUoWU1xq4ZiP_w"/>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o9apO86RjrzDm_X0LAiFd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lB711P5gOqgSXF.1pW6iu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30ZSuBaz_8grkQppx6cuAQ"/>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6jmgcGfFdUciwyoTdSAO6w"/>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lvm7yV1VYROr84AZ46WGdg"/>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HMrOy5_CZP8hxOpfdwRoAA"/>
</p:tagLst>
</file>

<file path=ppt/tags/tag1104.xml><?xml version="1.0" encoding="utf-8"?>
<p:tagLst xmlns:a="http://schemas.openxmlformats.org/drawingml/2006/main" xmlns:r="http://schemas.openxmlformats.org/officeDocument/2006/relationships" xmlns:p="http://schemas.openxmlformats.org/presentationml/2006/main">
  <p:tag name="NAME" val="CustomIcon"/>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WG36lTJssvk8A8BwsoM8XQ"/>
</p:tagLst>
</file>

<file path=ppt/tags/tag110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4rbBZXmFRvD4xkuX7LZ_ww"/>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2_0xGGHMeAaCSPXftYDiE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FowEocJmar0_RFwy9rFToQ"/>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_4Y5rKFW9yHsm0cK1c5Q1w"/>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Fp9ppaWRMfXeEJbXRPWqzw"/>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QRrbR1RLRkHY0D8iV9aByw"/>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NCGBVu1EOeZeDMQnpPVV1Q"/>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5sZPlLeGViqeo9ZG2HbyYg"/>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6lnQPTpgVYKaaIZbO3zwSQ"/>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848dFmZTWi64mDfYsU8Bag"/>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Ut6Yk6fYfMfZqnftHzKkwg"/>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nsWJ0aPkU5wrIp_V4pu6xQ"/>
</p:tagLst>
</file>

<file path=ppt/tags/tag11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_pSXDI7JSc8tA7jkqGCvVg"/>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xNKhNSXj4mzIQKpThi..pg"/>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DO9Z_2v1PDAYpWoQgBaUvw"/>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9c79nqr8Eqy00.AVF5sVCA"/>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onNVJS5jpB7UhGv7P.PVLA"/>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BS741dqYYsLEDB0InZSNlg"/>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oj2GE.CtUTjrC60xVJP26Q"/>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eGCW7R65mPLzboLr.c4cKg"/>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xw0rjRVZjRwCmEjWJl3cnw"/>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oxeYz.wo3ixmpYOdwq4Z4w"/>
</p:tagLst>
</file>

<file path=ppt/tags/tag1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wLGBeMQoreoPmzFMc0fEOQ"/>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0J.hBZEainegEkjUYphgFQ"/>
</p:tagLst>
</file>

<file path=ppt/tags/tag1132.xml><?xml version="1.0" encoding="utf-8"?>
<p:tagLst xmlns:a="http://schemas.openxmlformats.org/drawingml/2006/main" xmlns:r="http://schemas.openxmlformats.org/officeDocument/2006/relationships" xmlns:p="http://schemas.openxmlformats.org/presentationml/2006/main">
  <p:tag name="DYNAMICLOCATIONTITLE" val="T"/>
  <p:tag name="TITLEPOS_" val="47,48567_104,5001"/>
  <p:tag name="TITLEBOTTOM_" val="457,9441_124,7654"/>
</p:tagLst>
</file>

<file path=ppt/tags/tag1133.xml><?xml version="1.0" encoding="utf-8"?>
<p:tagLst xmlns:a="http://schemas.openxmlformats.org/drawingml/2006/main" xmlns:r="http://schemas.openxmlformats.org/officeDocument/2006/relationships" xmlns:p="http://schemas.openxmlformats.org/presentationml/2006/main">
  <p:tag name="NAME" val="5. Source"/>
</p:tagLst>
</file>

<file path=ppt/tags/tag1134.xml><?xml version="1.0" encoding="utf-8"?>
<p:tagLst xmlns:a="http://schemas.openxmlformats.org/drawingml/2006/main" xmlns:r="http://schemas.openxmlformats.org/officeDocument/2006/relationships" xmlns:p="http://schemas.openxmlformats.org/presentationml/2006/main">
  <p:tag name="NAME" val="5. Source"/>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0hg0R3IyOqX0cFbKsEnh5A"/>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i7f0sRN6CFZRuLT3Sg1cCA"/>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GAZeYNKJ9U5RT3lVwrxzPA"/>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hDruCbKWFfwjgw1lFb2.Gw"/>
</p:tagLst>
</file>

<file path=ppt/tags/tag1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rWzap.QpNiIYGFc6OK5C.g"/>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bq_WYJakAfu_bBcKSsOXdA"/>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JhRC..oZxfINYDg8G_TdyA"/>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L_MqqVlFmcRGChv5yeD1rA"/>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Q0Rb3_oSctommqHtjutS3A"/>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ysNCjt1bcYyJ7HEHuENfJA"/>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13dQia5hyHcCl8Drp0ZHuA"/>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qz9IeqyzMWxDsgNjleahyA"/>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dfSwFfhPTOtvkirAc.3ucA"/>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DKVcR5mw41bdVkg.GELidA"/>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_sDz14K1QkqvfMlTD4duew"/>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Qz20_em3UBR7Q4FecZ.ZSw"/>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VX7MM.ZOZQPgNWyMmoUKEg"/>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Jq3inILwpW1ctnWQ5q8O9g"/>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cN7yxHrkwSYrf3wdT5lkRg"/>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q4kcvCbnW2xPz608yAp9qw"/>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C.P7EHtZmYTgE1H8mwnoUA"/>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SXXUW_2SpRWlfPUQZWJCfA"/>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ccCp1PvDhSMO6Etj5jU.5g"/>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L.C9T2sIKsEoJAM2_kdfEQ"/>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DyukBx4tN28E7BODkRHaFA"/>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c2WCDARCqrCYkAycbc4QxA"/>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qZ0dGqtFqKYLZEBYGPQWYw"/>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cX75eu30QN8zb1kid5FogA"/>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3dZeXjcNcmAqztXOYfYHXg"/>
</p:tagLst>
</file>

<file path=ppt/tags/tag116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6.xml><?xml version="1.0" encoding="utf-8"?>
<p:tagLst xmlns:a="http://schemas.openxmlformats.org/drawingml/2006/main" xmlns:r="http://schemas.openxmlformats.org/officeDocument/2006/relationships" xmlns:p="http://schemas.openxmlformats.org/presentationml/2006/main">
  <p:tag name="NAME" val="5. Source"/>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8.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9raC73FN.QqQBpntR6gUg"/>
</p:tagLst>
</file>

<file path=ppt/tags/tag117.xml><?xml version="1.0" encoding="utf-8"?>
<p:tagLst xmlns:a="http://schemas.openxmlformats.org/drawingml/2006/main" xmlns:r="http://schemas.openxmlformats.org/officeDocument/2006/relationships" xmlns:p="http://schemas.openxmlformats.org/presentationml/2006/main">
  <p:tag name="SHAPENAME" val="5. Source"/>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it31E2bYlnUMIQza_0wSXg"/>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4nXlNCRheg8qdqV04HqkEQ"/>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7Vm.ugwXXTQKXSYRbkWJDg"/>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796T.jnOPxrXX5Pby2vMZg"/>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iAfdWYmG3BfaFyxrlzxYTw"/>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880VGf4p1EE3huX8SumhGQ"/>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lU_GtEXu.DudIqtkf.gSOg"/>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_I4WyA0ptrxieuEWJlkx2Q"/>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8icqE94qUUcr0qVfhTRCkQ"/>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gS4e.VALOr_mv_ouXYzPx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tM.O0QpkUPptr13v6WZimA"/>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S9X7SIHtrGosY3xL2Km1qA"/>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Wd4Jtp.6j5sVbFY4RkK54g"/>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WaMwAE93DYlUXzHwt0POng"/>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tufMuIC4ExwFBcXiZ3m3PQ"/>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vYz_KmLKXngBbWitIB1jag"/>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tBntLCxbVqaCZpN_fiR65g"/>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1vMEKyEyT1pQcqKdm9SmCw"/>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J3A2pKRYcWhnKRzzEdgXgw"/>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vi_jtiYv3j5eZ.fWgE5gR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kCKoWnLu2YhLutpc0K3z.A"/>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DJ_xW9OePbVgh8f5KP5XXw"/>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RqGl62gvURbhnTJKtINxyA"/>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DCsW.jjWEhXUCd.scUFJ1g"/>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va5fZ7tA9.iazZD90harmA"/>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c.pVGVQmw6Sn4NY2gNePpg"/>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tDaZ8zwWhfEkVXWiHPDpS.Q"/>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tCT2fKPSeMac9xaLAYCZm4w"/>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tXyhjccmIW4wQ.jWFO_EtBA"/>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ayHdaklWO7q85_vn4kUzs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tuocS6xMrVjsfDXihZC_E9g"/>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tyEgtqVGKUzIc79YagQyyRQ"/>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B9RV9k9JaH3yKuuPkva7fg"/>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rn0eqLHcUZ8xUWxGBT3cuw"/>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WEB9ONZ1nYmiw1gAi4QjQg"/>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se3lKXCdrSkeiCOrfYCxJQ"/>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B0X1lBetH0R.yLGTH4JVnw"/>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PxSkL8j4wq6fYkWC7ssrVg"/>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tuPpywFzHBBTdUJ0mt2s55Q"/>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PaJrWuqM2A62ed8XJiI4VQ"/>
</p:tagLst>
</file>

<file path=ppt/tags/tag1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t0aLiCehg2adXHQH82ECG9A"/>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t59MiBtLLo8vAzgJCRWCudQ"/>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weMvLFyFSP3wbNUBzHd5og"/>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tcyOe5h5SAUQZfcma06LmQw"/>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tT2K6w1PjO1H9SBP1CTq4Uw"/>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YNeiNg6WM5RFxV.UQyn9Ug"/>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XF0d9PzIs_kFhlR9s6aw3g"/>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ewS6FeDw4LUn6UiRiIEobQ"/>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Rl3jtXrSHjWsIWFhvhI.6w"/>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Xe.UUtfcXKvYOopyV2DBhg"/>
</p:tagLst>
</file>

<file path=ppt/tags/tag1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tnNFz1YpGEGcRUd.dfUFcOw"/>
</p:tagLst>
</file>

<file path=ppt/tags/tag1221.xml><?xml version="1.0" encoding="utf-8"?>
<p:tagLst xmlns:a="http://schemas.openxmlformats.org/drawingml/2006/main" xmlns:r="http://schemas.openxmlformats.org/officeDocument/2006/relationships" xmlns:p="http://schemas.openxmlformats.org/presentationml/2006/main">
  <p:tag name="SHAPENAME" val="5. Source"/>
</p:tagLst>
</file>

<file path=ppt/tags/tag1222.xml><?xml version="1.0" encoding="utf-8"?>
<p:tagLst xmlns:a="http://schemas.openxmlformats.org/drawingml/2006/main" xmlns:r="http://schemas.openxmlformats.org/officeDocument/2006/relationships" xmlns:p="http://schemas.openxmlformats.org/presentationml/2006/main">
  <p:tag name="NAME" val="5. Source"/>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7R3kQmA0vW.iQksiaiMVxQ"/>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UwLXYkDALzeNE4qhoUVUNQ"/>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twCQxPbXIbUwU2IaFBGJR6A"/>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6TnfygKBN1YfXjZm7xjjaQ"/>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tvtRl63A1yEJ80SZIYi8kBQ"/>
</p:tagLst>
</file>

<file path=ppt/tags/tag123.xml><?xml version="1.0" encoding="utf-8"?>
<p:tagLst xmlns:a="http://schemas.openxmlformats.org/drawingml/2006/main" xmlns:r="http://schemas.openxmlformats.org/officeDocument/2006/relationships" xmlns:p="http://schemas.openxmlformats.org/presentationml/2006/main">
  <p:tag name="SHAPENAME" val="5. Source"/>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Azwodj2La1cINSJJ4RYDSA"/>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tLc9EkLVjxwmHPJIIxTIULg"/>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t7UDMurqg6AlRSbGxRxUM6w"/>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_ku9e2ZcuDQqAsTRXeF_5w"/>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hUjYN5Ygc0ZoaXDsqoQGzg"/>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wN5Yk4cxtwGEAhW9iCbzUA"/>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ZwTXqwbW4UJAzpsePqAm6A"/>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tSo.ZAOlMIrnPK_vqe6_jNw"/>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WOyDc2X8zaEM6EJjK7JZQA"/>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t9wKtafTZq6JjbPPL0foul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tUN16O.gFI027l6WOCV.MHQ"/>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_wz0nfyAjFMljWT78Kb62Q"/>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3IRo7qBVvJLkE2WuuPdz.g"/>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5autEfnK780nh.kMCbE_sA"/>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HqNmQRVq5BTvx9lOxvnPAg"/>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tBTQr8BmH_iJTNpIkFxrfbw"/>
</p:tagLst>
</file>

<file path=ppt/tags/tag1246.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1247.xml><?xml version="1.0" encoding="utf-8"?>
<p:tagLst xmlns:a="http://schemas.openxmlformats.org/drawingml/2006/main" xmlns:r="http://schemas.openxmlformats.org/officeDocument/2006/relationships" xmlns:p="http://schemas.openxmlformats.org/presentationml/2006/main">
  <p:tag name="SHAPENAME" val="5. Source"/>
</p:tagLst>
</file>

<file path=ppt/tags/tag1248.xml><?xml version="1.0" encoding="utf-8"?>
<p:tagLst xmlns:a="http://schemas.openxmlformats.org/drawingml/2006/main" xmlns:r="http://schemas.openxmlformats.org/officeDocument/2006/relationships" xmlns:p="http://schemas.openxmlformats.org/presentationml/2006/main">
  <p:tag name="SHAPENAME" val="5. Source"/>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ZThZxBRLytGd2hhaq5sJGQ"/>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tc2sU5M_3_cZ64FoUj5vQvg"/>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tqRk.oYq1dTYTmr5jkfyCUA"/>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tC06yQ3s45w0KZblOYQ3Grw"/>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tLLLpLMrmYhQTi5gvusjUCA"/>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tljn.IK8H6iznYkbOWokacA"/>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fsDBYnJoMFj7O_Cvfc_tHA"/>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QXCM4zG5eVF1lT4tWIa89Q"/>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tmrJFoI8KSL6S.nYeDXLjQg"/>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tQ2dPXGJ9U_b_gL_JLFS2ag"/>
</p:tagLst>
</file>

<file path=ppt/tags/tag1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tJIv0poi1sNhCLGkslM83Zg"/>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tQRgt6vUDtW9mD_StlWBVOQ"/>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U4xN357veayzUuvRw7jIkg"/>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tdhtJJtHCal0M0Or.LyuX_g"/>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taL2f8wUp52KeXJ3J_AKiiw"/>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t1gpz6HRJ8rN_wVMN8OhH0w"/>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t9y9ACvOyURxBHZzjxcQLkg"/>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t8NIpGW4Llg29Wtx9tPpfw"/>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tsDs.FUYPZbXEkide96pa9g"/>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ts.RS8.ffydUpbq451WqCcw"/>
</p:tagLst>
</file>

<file path=ppt/tags/tag127.xml><?xml version="1.0" encoding="utf-8"?>
<p:tagLst xmlns:a="http://schemas.openxmlformats.org/drawingml/2006/main" xmlns:r="http://schemas.openxmlformats.org/officeDocument/2006/relationships" xmlns:p="http://schemas.openxmlformats.org/presentationml/2006/main">
  <p:tag name="SHAPENAME" val="5. Source"/>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teWQ3fyCpnvHBfsUcYWyuzQ"/>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t9zXxBoEZskUnBF.kh9iq8g"/>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tKeP.puAOgZj00H2pqykbPg"/>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tGfzdHhUMCgc8GhUORc36Rw"/>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tCU0Psi.rDEeMrRCKX.MgVA"/>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tOPyzentQtxfJ4SoOAH4tBQ"/>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t9KAMU_ZOtpKucllkFcOeKA"/>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tvHYk7K8UXi1Ns01iL2R5tg"/>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tEdUxrwgmH_YpBFHZbMdlow"/>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tJkzL73G71rS8QZv82qvlS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t5NAjJnjyYl9zJBmbCPbsug"/>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tPJV9epYPZuMQ9h9akUUSSg"/>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tXLBrNpDdmKZGUEyh16g26g"/>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i0nCXeF6qDF3FnY8mIK2bA"/>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tFDA7hWzu2ktRYwdvPnvAEg"/>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tKdhZ2CVqPnev8EHqg8hReA"/>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tqLcMZQl0gT0AB8wV8FXaeA"/>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tZHbeC4GHre12UNpl.8uwsw"/>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ttvoQHt6KI16e6dS3m3UJ_Q"/>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t1ZmgAG9RZqV4s04UG2wxK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tkRFzBBPjumkVsnqbPMgMmg"/>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tlBjhrS1A2_pzc86r2OqlNg"/>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tUhpm8tWm4KZjLQTMKVY0nw"/>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tOr51fqhhdTIqA97V5KWfjw"/>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ththJb9E.LQDGsPZvYVl6TA"/>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tS1kIjyIWRNFLZuq2JaIcpA"/>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txjQYsup4KEA664yVmymXuQ"/>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tbPuxaIm0wJHhiJ.ADoZ9Hg"/>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tm0W5QVMsNH3WVju9dTPoVg"/>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tRD2FzrQMimFuqPhCIiW9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SHAPENAME" val="4. Footnote"/>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tb__MdMkEFeYEbg0_Tq170w"/>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tu2t.Wi5iDwm5uwDLJmK46w"/>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tPi.kbz6eYbB.__wuwMP5DA"/>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t4lKgdmBoPa.Bv2ChoulUsg"/>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tlvnPIFZw3kgRCoOJ9R2w_A"/>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t2exOK4gI0U2MvNJim3hnwg"/>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t8LY8EJKi9tsbv6eAhDZ.bg"/>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tsE.7c9iSEPRIt6LKEWnWeQ"/>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tUDdObu2YdvZdFo3XWFcSnA"/>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ttbwA78TpQu2_VSfyxoB9Jw"/>
</p:tagLst>
</file>

<file path=ppt/tags/tag1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t0p1Y2.i5XiHr7nSjr55r1A"/>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t1lyY9Q_qTd1oKHGDDeYyPw"/>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tXcWcj0h_551Z4ke9SBKQvg"/>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tWtlAdjsuI2EH6vtXGZFjZw"/>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tMV1SsdUlGxqZ2HhBe10vUA"/>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t4pMO6hlGNvINvKf00oP0WA"/>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tlnjoPhRwJhuNgoj3ErtXQg"/>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tP4T3PX.hlHI5kg2J6tq4XQ"/>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tCQTh2nUVGOaqEDbclMH24g"/>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tfFyFNAki7d1d.tMocfH5Uw"/>
</p:tagLst>
</file>

<file path=ppt/tags/tag132.xml><?xml version="1.0" encoding="utf-8"?>
<p:tagLst xmlns:a="http://schemas.openxmlformats.org/drawingml/2006/main" xmlns:r="http://schemas.openxmlformats.org/officeDocument/2006/relationships" xmlns:p="http://schemas.openxmlformats.org/presentationml/2006/main">
  <p:tag name="NAME" val="ACET"/>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OQwRpibuUDAtt0.3drZPJw"/>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tGwU_zFnwFPYF2kzF8Q_Nrg"/>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trxIcs_KVHbMg4lDcBHFoHQ"/>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te6XbVYN1IKVK.pi6VV_E0w"/>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tcrijV1RzePRrAVoRKN1Jzg"/>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touXJMmugzvT1nXSH_BnTow"/>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tfClvxonqfsqINfPGUB4wrg"/>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tHpNKoE9FSSJQqNP1xcR4JQ"/>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tjnZq9IA6wy4Fql6PiQ7nQg"/>
</p:tagLst>
</file>

<file path=ppt/tags/tag13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NAME" val="Moon"/>
</p:tagLst>
</file>

<file path=ppt/tags/tag1330.xml><?xml version="1.0" encoding="utf-8"?>
<p:tagLst xmlns:a="http://schemas.openxmlformats.org/drawingml/2006/main" xmlns:r="http://schemas.openxmlformats.org/officeDocument/2006/relationships" xmlns:p="http://schemas.openxmlformats.org/presentationml/2006/main">
  <p:tag name="NAME" val="4. Footnote"/>
</p:tagLst>
</file>

<file path=ppt/tags/tag1331.xml><?xml version="1.0" encoding="utf-8"?>
<p:tagLst xmlns:a="http://schemas.openxmlformats.org/drawingml/2006/main" xmlns:r="http://schemas.openxmlformats.org/officeDocument/2006/relationships" xmlns:p="http://schemas.openxmlformats.org/presentationml/2006/main">
  <p:tag name="NAME" val="5. Source"/>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t53ZZ.gIHRtt0OGqxWHTIXw"/>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tvqXoJpIriwY4X6NkGTPuZw"/>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336.xml><?xml version="1.0" encoding="utf-8"?>
<p:tagLst xmlns:a="http://schemas.openxmlformats.org/drawingml/2006/main" xmlns:r="http://schemas.openxmlformats.org/officeDocument/2006/relationships" xmlns:p="http://schemas.openxmlformats.org/presentationml/2006/main">
  <p:tag name="NAME" val="CustomIcon"/>
</p:tagLst>
</file>

<file path=ppt/tags/tag1337.xml><?xml version="1.0" encoding="utf-8"?>
<p:tagLst xmlns:a="http://schemas.openxmlformats.org/drawingml/2006/main" xmlns:r="http://schemas.openxmlformats.org/officeDocument/2006/relationships" xmlns:p="http://schemas.openxmlformats.org/presentationml/2006/main">
  <p:tag name="NAME" val="CustomIcon"/>
</p:tagLst>
</file>

<file path=ppt/tags/tag1338.xml><?xml version="1.0" encoding="utf-8"?>
<p:tagLst xmlns:a="http://schemas.openxmlformats.org/drawingml/2006/main" xmlns:r="http://schemas.openxmlformats.org/officeDocument/2006/relationships" xmlns:p="http://schemas.openxmlformats.org/presentationml/2006/main">
  <p:tag name="NAME" val="CustomIcon"/>
</p:tagLst>
</file>

<file path=ppt/tags/tag1339.xml><?xml version="1.0" encoding="utf-8"?>
<p:tagLst xmlns:a="http://schemas.openxmlformats.org/drawingml/2006/main" xmlns:r="http://schemas.openxmlformats.org/officeDocument/2006/relationships" xmlns:p="http://schemas.openxmlformats.org/presentationml/2006/main">
  <p:tag name="NAME" val="CustomIcon"/>
</p:tagLst>
</file>

<file path=ppt/tags/tag134.xml><?xml version="1.0" encoding="utf-8"?>
<p:tagLst xmlns:a="http://schemas.openxmlformats.org/drawingml/2006/main" xmlns:r="http://schemas.openxmlformats.org/officeDocument/2006/relationships" xmlns:p="http://schemas.openxmlformats.org/presentationml/2006/main">
  <p:tag name="NAME" val="Moon"/>
</p:tagLst>
</file>

<file path=ppt/tags/tag1340.xml><?xml version="1.0" encoding="utf-8"?>
<p:tagLst xmlns:a="http://schemas.openxmlformats.org/drawingml/2006/main" xmlns:r="http://schemas.openxmlformats.org/officeDocument/2006/relationships" xmlns:p="http://schemas.openxmlformats.org/presentationml/2006/main">
  <p:tag name="NAME" val="5. Source"/>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tVSlTrvR0fOuiRGUiIH20Cw"/>
</p:tagLst>
</file>

<file path=ppt/tags/tag13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44.xml><?xml version="1.0" encoding="utf-8"?>
<p:tagLst xmlns:a="http://schemas.openxmlformats.org/drawingml/2006/main" xmlns:r="http://schemas.openxmlformats.org/officeDocument/2006/relationships" xmlns:p="http://schemas.openxmlformats.org/presentationml/2006/main">
  <p:tag name="NAME" val="LineBasicStrong"/>
</p:tagLst>
</file>

<file path=ppt/tags/tag1345.xml><?xml version="1.0" encoding="utf-8"?>
<p:tagLst xmlns:a="http://schemas.openxmlformats.org/drawingml/2006/main" xmlns:r="http://schemas.openxmlformats.org/officeDocument/2006/relationships" xmlns:p="http://schemas.openxmlformats.org/presentationml/2006/main">
  <p:tag name="NAME" val="5. Source"/>
</p:tagLst>
</file>

<file path=ppt/tags/tag1346.xml><?xml version="1.0" encoding="utf-8"?>
<p:tagLst xmlns:a="http://schemas.openxmlformats.org/drawingml/2006/main" xmlns:r="http://schemas.openxmlformats.org/officeDocument/2006/relationships" xmlns:p="http://schemas.openxmlformats.org/presentationml/2006/main">
  <p:tag name="SHAPENAME" val="4. Footnote"/>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tjJdFyOBYX0dyyzTsOACL8w"/>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tidPXmj1IXDzfenT1bPxiFQ"/>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totDvjDDwRWBo7oDUx.Ivmg"/>
</p:tagLst>
</file>

<file path=ppt/tags/tag135.xml><?xml version="1.0" encoding="utf-8"?>
<p:tagLst xmlns:a="http://schemas.openxmlformats.org/drawingml/2006/main" xmlns:r="http://schemas.openxmlformats.org/officeDocument/2006/relationships" xmlns:p="http://schemas.openxmlformats.org/presentationml/2006/main">
  <p:tag name="NAME" val="Moon"/>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tPQC2CRSE2tlIejmstpOqog"/>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tInzRlZZKWNcEBDs98d9TUA"/>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tz1F8YoVu33LItabJ19STAQ"/>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t8WFAWhcsuJSGrJqKooGWGQ"/>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t5i3TarvytyKoQaiAbRBkqA"/>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tS4YxrzR8_wAXdunSSPkutg"/>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tXbZbYoMqLDmI5HZq11TwYA"/>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tRr5e349bMYAEN1pbtM0KQg"/>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tiYbWWFrZwiMsr1d4aY8wxA"/>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tExCDMgj4mkcCoupwRD21gQ"/>
</p:tagLst>
</file>

<file path=ppt/tags/tag136.xml><?xml version="1.0" encoding="utf-8"?>
<p:tagLst xmlns:a="http://schemas.openxmlformats.org/drawingml/2006/main" xmlns:r="http://schemas.openxmlformats.org/officeDocument/2006/relationships" xmlns:p="http://schemas.openxmlformats.org/presentationml/2006/main">
  <p:tag name="NAME" val="Moon"/>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vBO.SrjqkAYgI220DcBIIg"/>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81nyj_HPHd8.00TFEtCCIQ"/>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ta9.X0JO7sdQoq4stOC9jBw"/>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tknWlehgWGrPLnNByPyxIjQ"/>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K4wkL30wACDYh9xr0FIhzg"/>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tQ7KZYCJubeIdzCQ.vvZaEQ"/>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tfHQeO.efWuldLoe67j.5yA"/>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t3_A7eim0Bymzpb7.qrJmYw"/>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tbNxzNufMQMdwESRWVHDfSA"/>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tjKlnz69rtoX.ns2G1b32GQ"/>
</p:tagLst>
</file>

<file path=ppt/tags/tag137.xml><?xml version="1.0" encoding="utf-8"?>
<p:tagLst xmlns:a="http://schemas.openxmlformats.org/drawingml/2006/main" xmlns:r="http://schemas.openxmlformats.org/officeDocument/2006/relationships" xmlns:p="http://schemas.openxmlformats.org/presentationml/2006/main">
  <p:tag name="NAME" val="Moon"/>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tsjFkJwM6L7FHMLpSKTzqWA"/>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tbLML1bet387KVCuxGTa2kw"/>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tvsBxdYKHl9zZDo0ehmWjrQ"/>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tlhojXeWuOMVa2UdIkYYwxQ"/>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tizosZMvnUsv2aO4Mof5tzA"/>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tUXtiYaJaXCMtI8pIXV9U0w"/>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tiLZdSN6DZSgPTzem0rFPYw"/>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t3VsJ4T_N8ohOrzPpcevvgg"/>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tAo3uIO7c3ljlF8glwS6ZUw"/>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tctCidw2slnhbhEA9qlawvw"/>
</p:tagLst>
</file>

<file path=ppt/tags/tag138.xml><?xml version="1.0" encoding="utf-8"?>
<p:tagLst xmlns:a="http://schemas.openxmlformats.org/drawingml/2006/main" xmlns:r="http://schemas.openxmlformats.org/officeDocument/2006/relationships" xmlns:p="http://schemas.openxmlformats.org/presentationml/2006/main">
  <p:tag name="ANGLE" val="5"/>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ty6GpjqmIe8Iq4JU4TrH5qw"/>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tk9_7DCpSXVu9rjxB9PltMw"/>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tcERHl1YcQZ5vN62mGxWWmg"/>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t3EteX9gqzDz2EoCrjvXWlg"/>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t30FjfwZ3YgHL5drruhzfdw"/>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talPE46FdtU7KzAPuhUmGzA"/>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t.eT7P.ABJWCqG1FPWr8Uaw"/>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tFWQVeDaNrRVsDt.PpIHF.w"/>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tPqMi1GtenjBeigSoqHGjAw"/>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tFWQVeDaNrRVsDt.PpIHF.w"/>
</p:tagLst>
</file>

<file path=ppt/tags/tag139.xml><?xml version="1.0" encoding="utf-8"?>
<p:tagLst xmlns:a="http://schemas.openxmlformats.org/drawingml/2006/main" xmlns:r="http://schemas.openxmlformats.org/officeDocument/2006/relationships" xmlns:p="http://schemas.openxmlformats.org/presentationml/2006/main">
  <p:tag name="ANGLE" val="5"/>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tPqMi1GtenjBeigSoqHGjAw"/>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tFWQVeDaNrRVsDt.PpIHF.w"/>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tPqMi1GtenjBeigSoqHGjAw"/>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tq.ul_CGI5rWk5wzMvBOCfA"/>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t6miI.6KgT4.mO7ar6hJYfQ"/>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t6Uw5uykHRmZoFZLxv2ZIaw"/>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tD_PgHYoFW40zDwlOBUjozw"/>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tG0Y08zE9Wl8cmTM3uDq0xw"/>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tFWQVeDaNrRVsDt.PpIHF.w"/>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t1z5Q2iYgtkUwD.X4dVqSN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ANGLE" val="4"/>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tvsLWi4Ufj979bGdPc3cNnA"/>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tUXqQdlZUzekeHliLTZfO5A"/>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tPqMi1GtenjBeigSoqHGjAw"/>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tKxSh.1cXMY4guKz31AuR2A"/>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tOrP4x_N1qsReR0gKLXqv_A"/>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tDyukzSwXRDV.18VQeTbKew"/>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tRmTPJPZCZkHslMVVxE2bvQ"/>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tu0Fi4ZkAuiaDIhJSvfEIWQ"/>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tvC93rwNMWrCjO.0PCiiApQ"/>
</p:tagLst>
</file>

<file path=ppt/tags/tag141.xml><?xml version="1.0" encoding="utf-8"?>
<p:tagLst xmlns:a="http://schemas.openxmlformats.org/drawingml/2006/main" xmlns:r="http://schemas.openxmlformats.org/officeDocument/2006/relationships" xmlns:p="http://schemas.openxmlformats.org/presentationml/2006/main">
  <p:tag name="ANGLE" val="4"/>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tKsbYCm15xfm89wE3Qvam_Q"/>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tLI6IkCUCx_f5OLJS6lQ1uw"/>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tmUewS4UzHOvJkpVXlTzquA"/>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txTLsmApuTaSLHtxopRWyVA"/>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tODUtjGm.mIt5jDc.YmOapg"/>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tratU_tCJTKv9uayo4AmtTQ"/>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tasAjbM4b5x51R801jfmsnQ"/>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tMO27FP_bklgg1ubzw0WjlQ"/>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tS.qei9tqRJ6dDCm6vn4uWg"/>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tQnzLfl7USIPvaqf9RPLjXQ"/>
</p:tagLst>
</file>

<file path=ppt/tags/tag142.xml><?xml version="1.0" encoding="utf-8"?>
<p:tagLst xmlns:a="http://schemas.openxmlformats.org/drawingml/2006/main" xmlns:r="http://schemas.openxmlformats.org/officeDocument/2006/relationships" xmlns:p="http://schemas.openxmlformats.org/presentationml/2006/main">
  <p:tag name="ANGLE" val="3"/>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tzANqD37HA1BG0ncS3ntvqQ"/>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tur_NLYM5RK0JOU.9en28HQ"/>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tPjT8RI47GdsE9SxgEG8K.g"/>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ttXyY4RMB7aXhKNKT4S.ZcQ"/>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t.Yvug96QiplB6DN6WF.H8Q"/>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twOudM6ZiYrIA3M4h54whZw"/>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t4tUM_48AuKJAvkWvWwhjCA"/>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t6uc5Zb7WRA2GM7DLvADCvA"/>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tT4Zpd3UDKFHGqbYU90QeeQ"/>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tDoseaPIf7CjE.BExjxeuyg"/>
</p:tagLst>
</file>

<file path=ppt/tags/tag143.xml><?xml version="1.0" encoding="utf-8"?>
<p:tagLst xmlns:a="http://schemas.openxmlformats.org/drawingml/2006/main" xmlns:r="http://schemas.openxmlformats.org/officeDocument/2006/relationships" xmlns:p="http://schemas.openxmlformats.org/presentationml/2006/main">
  <p:tag name="ANGLE" val="3"/>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tdB9zYOsQg8TrQd7ZXxDQEw"/>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tZjnSIVuZle0uot5.HV0Rrw"/>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tuUhQZt61pqkQh8Dk55xU_g"/>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tUzqqV8rrw8mfJQ9uXdiL5A"/>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tzyAvWkB9ZJfwU2C5CPBsdw"/>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txRJTfx7AAe_9tYHnVJJKMw"/>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thsQUWd6fuBxkz8cp3nsIKQ"/>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ti.ep9IUN2qgsLl37P6qZVg"/>
</p:tagLst>
</file>

<file path=ppt/tags/tag14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39.xml><?xml version="1.0" encoding="utf-8"?>
<p:tagLst xmlns:a="http://schemas.openxmlformats.org/drawingml/2006/main" xmlns:r="http://schemas.openxmlformats.org/officeDocument/2006/relationships" xmlns:p="http://schemas.openxmlformats.org/presentationml/2006/main">
  <p:tag name="SHAPENAME" val="5. Source"/>
</p:tagLst>
</file>

<file path=ppt/tags/tag144.xml><?xml version="1.0" encoding="utf-8"?>
<p:tagLst xmlns:a="http://schemas.openxmlformats.org/drawingml/2006/main" xmlns:r="http://schemas.openxmlformats.org/officeDocument/2006/relationships" xmlns:p="http://schemas.openxmlformats.org/presentationml/2006/main">
  <p:tag name="ANGLE" val="2"/>
</p:tagLst>
</file>

<file path=ppt/tags/tag1440.xml><?xml version="1.0" encoding="utf-8"?>
<p:tagLst xmlns:a="http://schemas.openxmlformats.org/drawingml/2006/main" xmlns:r="http://schemas.openxmlformats.org/officeDocument/2006/relationships" xmlns:p="http://schemas.openxmlformats.org/presentationml/2006/main">
  <p:tag name="NAME" val="LineBasicStrong"/>
</p:tagLst>
</file>

<file path=ppt/tags/tag1441.xml><?xml version="1.0" encoding="utf-8"?>
<p:tagLst xmlns:a="http://schemas.openxmlformats.org/drawingml/2006/main" xmlns:r="http://schemas.openxmlformats.org/officeDocument/2006/relationships" xmlns:p="http://schemas.openxmlformats.org/presentationml/2006/main">
  <p:tag name="1LEVEL" val="10"/>
  <p:tag name="2LEVEL" val="5"/>
  <p:tag name="3LEVEL" val="2.5"/>
  <p:tag name="4LEVEL" val="1.25"/>
  <p:tag name="5LEVEL" val="0.62"/>
</p:tagLst>
</file>

<file path=ppt/tags/tag1442.xml><?xml version="1.0" encoding="utf-8"?>
<p:tagLst xmlns:a="http://schemas.openxmlformats.org/drawingml/2006/main" xmlns:r="http://schemas.openxmlformats.org/officeDocument/2006/relationships" xmlns:p="http://schemas.openxmlformats.org/presentationml/2006/main">
  <p:tag name="NAME" val="LineBasicStrong"/>
</p:tagLst>
</file>

<file path=ppt/tags/tag1443.xml><?xml version="1.0" encoding="utf-8"?>
<p:tagLst xmlns:a="http://schemas.openxmlformats.org/drawingml/2006/main" xmlns:r="http://schemas.openxmlformats.org/officeDocument/2006/relationships" xmlns:p="http://schemas.openxmlformats.org/presentationml/2006/main">
  <p:tag name="NAME" val="4. Footnote"/>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6.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47.xml><?xml version="1.0" encoding="utf-8"?>
<p:tagLst xmlns:a="http://schemas.openxmlformats.org/drawingml/2006/main" xmlns:r="http://schemas.openxmlformats.org/officeDocument/2006/relationships" xmlns:p="http://schemas.openxmlformats.org/presentationml/2006/main">
  <p:tag name="SHAPENAME" val="5. Source"/>
</p:tagLst>
</file>

<file path=ppt/tags/tag1448.xml><?xml version="1.0" encoding="utf-8"?>
<p:tagLst xmlns:a="http://schemas.openxmlformats.org/drawingml/2006/main" xmlns:r="http://schemas.openxmlformats.org/officeDocument/2006/relationships" xmlns:p="http://schemas.openxmlformats.org/presentationml/2006/main">
  <p:tag name="NAME" val="CustomIcon"/>
</p:tagLst>
</file>

<file path=ppt/tags/tag1449.xml><?xml version="1.0" encoding="utf-8"?>
<p:tagLst xmlns:a="http://schemas.openxmlformats.org/drawingml/2006/main" xmlns:r="http://schemas.openxmlformats.org/officeDocument/2006/relationships" xmlns:p="http://schemas.openxmlformats.org/presentationml/2006/main">
  <p:tag name="NAME" val="CustomIcon"/>
</p:tagLst>
</file>

<file path=ppt/tags/tag145.xml><?xml version="1.0" encoding="utf-8"?>
<p:tagLst xmlns:a="http://schemas.openxmlformats.org/drawingml/2006/main" xmlns:r="http://schemas.openxmlformats.org/officeDocument/2006/relationships" xmlns:p="http://schemas.openxmlformats.org/presentationml/2006/main">
  <p:tag name="ANGLE" val="2"/>
</p:tagLst>
</file>

<file path=ppt/tags/tag1450.xml><?xml version="1.0" encoding="utf-8"?>
<p:tagLst xmlns:a="http://schemas.openxmlformats.org/drawingml/2006/main" xmlns:r="http://schemas.openxmlformats.org/officeDocument/2006/relationships" xmlns:p="http://schemas.openxmlformats.org/presentationml/2006/main">
  <p:tag name="NAME" val="CustomIcon"/>
</p:tagLst>
</file>

<file path=ppt/tags/tag1451.xml><?xml version="1.0" encoding="utf-8"?>
<p:tagLst xmlns:a="http://schemas.openxmlformats.org/drawingml/2006/main" xmlns:r="http://schemas.openxmlformats.org/officeDocument/2006/relationships" xmlns:p="http://schemas.openxmlformats.org/presentationml/2006/main">
  <p:tag name="NAME" val="CustomIcon"/>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tPSr9D5_86UhqwsWDLcGS3Q"/>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tPMvdLaytSdyy6tD2m0l.RQ"/>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tFYHvdlbUyfA34urJnsCiYg"/>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tnnlPaWTdk5sbHjlM4GuepQ"/>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tqOHlVyvZedd7UJTWqk9sHQ"/>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tanMiszNO..WGkg_uuphYbw"/>
</p:tagLst>
</file>

<file path=ppt/tags/tag146.xml><?xml version="1.0" encoding="utf-8"?>
<p:tagLst xmlns:a="http://schemas.openxmlformats.org/drawingml/2006/main" xmlns:r="http://schemas.openxmlformats.org/officeDocument/2006/relationships" xmlns:p="http://schemas.openxmlformats.org/presentationml/2006/main">
  <p:tag name="ANGLE" val="1"/>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txUVnfGHsCuT8iMz0ZdH4cw"/>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tS7G_H53YjTF807un7ZYztA"/>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tey5XUlmSgzwpWMPzrb10Nw"/>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t_4cS3khH38rgUuveLneyiQ"/>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t_CzJ3wpUOM99GChQsBqyQA"/>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t0Qsdm87QQoKByMhGgdatmw"/>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t6UHCxXYyv4D7AikcfmFoHg"/>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t4DAE3owmyPa49GcggBbptA"/>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tJlUg4LMOWAl0AEMMZT_vHg"/>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t0_Z.LJ7HIFeACLyyn7UwnQ"/>
</p:tagLst>
</file>

<file path=ppt/tags/tag147.xml><?xml version="1.0" encoding="utf-8"?>
<p:tagLst xmlns:a="http://schemas.openxmlformats.org/drawingml/2006/main" xmlns:r="http://schemas.openxmlformats.org/officeDocument/2006/relationships" xmlns:p="http://schemas.openxmlformats.org/presentationml/2006/main">
  <p:tag name="ANGLE" val="1"/>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tpD.DmXWDEHXpE9pNvC9Qkw"/>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tmAN9Smv.Jtf_efTHRZKcDQ"/>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tQhaGrfokMcmqXmzBx09Amg"/>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t7dYouWZJzze97IHFsPVLzw"/>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tVGu63u1CweOoOqzR8eI5lQ"/>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tprM.Oc81GAU9WmIU__SRCg"/>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tPqafoJzQ9XGYaF5IjEQTng"/>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tD46Jb3YfvfXFnqLRgQICSA"/>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tnZ4yXPRMSL.vhCHDh0jLfQ"/>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tgreeJ1pP2V0MFZwyO15Qq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tSfZilPuVs8cHn2P9AunPdw"/>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tX3lpp4P5tYcGWvB4bh_O7g"/>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tHLLxS14W8.0PJF_jcPpngg"/>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tg9wXqwJM5CqWBRR6kLYkqQ"/>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tQBkD6idUdtWezqh.GQghAQ"/>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taE_0Y4SZjQwoxN_z8sJ7iA"/>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tfBdZkNKviRVrIX.tbfMpaQ"/>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tvsvAneRL2kayOXqfgfE7Jg"/>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tBlR74ubz5LULPoXJ7Ezl_Q"/>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tjrANkYSwEo0_tsJQFJEQz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tTCOjpHEEWRJKBMXdNFPgig"/>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t2E9WVUFh5Qf2.XZyPXK1bg"/>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tyDCqyFXfCJTZyVeHNi7k5Q"/>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tbuKqi.r2hiUVXjoui6qlXg"/>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teCgO4ftuWSEx_7HVSkFMtQ"/>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t1TtD7ogGDL3AnnkRzOXyYA"/>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txG3q6fUQtfxdQdRQzuws1w"/>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tYgfB9Ztd6CI75vnx22TXXw"/>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tuF472X1rgVxC00sXst6IRA"/>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tXdhMsNWJxhIq2CP0wzcl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t.tKBE6e2YF.Kemhsn0PZYw"/>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t0ksplyRwWr9whpXtrzXYmg"/>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t.owMvtT8xZu4NdAE5JKJoQ"/>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tGP1bd5Z2RDsFD7L3ueVGwQ"/>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tf_Qnk9lEO25MCbnIQHdTjg"/>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tyCEr7HdiF284Du9YeUfDbw"/>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tePK.0Ub8seBKy6Qu5Ywl9A"/>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tsz0Moq5NxU7QpMj_k_Dhfw"/>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ty5UKDiQebQ6l9xeF2aRh9Q"/>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tRCUxgf4yglFKAe26tHNGbA"/>
</p:tagLst>
</file>

<file path=ppt/tags/tag1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tcnbRDYwBoeYcR31G.A5nQg"/>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t4RzNt0GhU00pNHK8eZZ1zQ"/>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tdgCXPdZZFzV1kfMMHENe7g"/>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tnAFDHAXaYH7weUCyGhY_3w"/>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t2SBSgWY1FmA9WKYLN6Z7FQ"/>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tSEvC3zeJ3HQ0FwYhI4lkMw"/>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tiA2T6pVaQ_yqDKe7Fw8Zfw"/>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tmN5X50ByQaxzxvoaxThgqA"/>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tOAeGW9qdGZ5t8Mio6Xlqig"/>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thebYUK1EN24QBIQWlpGing"/>
</p:tagLst>
</file>

<file path=ppt/tags/tag1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tOurxziSNSdoSNG.2Aj_Ksw"/>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tqxlpTpqHx2rGZxX_Sh6KNQ"/>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tQ5Q5bKDLxfCi5Y9Ame1QSA"/>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tNVy3Et0YSq0bTdQBq2Vaeg"/>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tvIjkkbA4n21fUm80KlDC2Q"/>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td8GPkqX5D_6KAhpFqZDa2Q"/>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tjugvayx3985j0cAaT1fW.g"/>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tVBrTxIPeLp4UuH6kOCyTrg"/>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tTLLRmvLny2cmad9sjTn.KQ"/>
</p:tagLst>
</file>

<file path=ppt/tags/tag152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3.xml><?xml version="1.0" encoding="utf-8"?>
<p:tagLst xmlns:a="http://schemas.openxmlformats.org/drawingml/2006/main" xmlns:r="http://schemas.openxmlformats.org/officeDocument/2006/relationships" xmlns:p="http://schemas.openxmlformats.org/presentationml/2006/main">
  <p:tag name="SHAPENAME" val="5. Source"/>
</p:tagLst>
</file>

<file path=ppt/tags/tag1530.xml><?xml version="1.0" encoding="utf-8"?>
<p:tagLst xmlns:a="http://schemas.openxmlformats.org/drawingml/2006/main" xmlns:r="http://schemas.openxmlformats.org/officeDocument/2006/relationships" xmlns:p="http://schemas.openxmlformats.org/presentationml/2006/main">
  <p:tag name="SHAPENAME" val="5. Source"/>
</p:tagLst>
</file>

<file path=ppt/tags/tag1531.xml><?xml version="1.0" encoding="utf-8"?>
<p:tagLst xmlns:a="http://schemas.openxmlformats.org/drawingml/2006/main" xmlns:r="http://schemas.openxmlformats.org/officeDocument/2006/relationships" xmlns:p="http://schemas.openxmlformats.org/presentationml/2006/main">
  <p:tag name="1LEVEL" val="15"/>
  <p:tag name="2LEVEL" val="7.5"/>
  <p:tag name="3LEVEL" val="3.75"/>
  <p:tag name="4LEVEL" val="1.88"/>
  <p:tag name="5LEVEL" val="0.94"/>
</p:tagLst>
</file>

<file path=ppt/tags/tag1532.xml><?xml version="1.0" encoding="utf-8"?>
<p:tagLst xmlns:a="http://schemas.openxmlformats.org/drawingml/2006/main" xmlns:r="http://schemas.openxmlformats.org/officeDocument/2006/relationships" xmlns:p="http://schemas.openxmlformats.org/presentationml/2006/main">
  <p:tag name="NAME" val="LineBasicStrong"/>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tcRQBcPTtUVI8CZxBXrdQWQ"/>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trFJ3r8B34AYXFIBX8AZX1g"/>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tXMjeUD6W8OLFc_L8WQ3zLA"/>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tEmhayUJcYhsONZA2IU.x2g"/>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tyVwI2R6Ko4SlVpVZMd..Zg"/>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t3CGEmbP5Bqk0PyTguqA5AQ"/>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tDkP3BW7.FFia9_FEBbl2ZA"/>
</p:tagLst>
</file>

<file path=ppt/tags/tag1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tEz2ziuK7YK4o_0phrVJ2YA"/>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tsSrBE8P2HdFxuL6DUUBn3Q"/>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tFqVEZ0wPMUQd8ghzYaykvQ"/>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tpGkqhcHN0IQvhr9gXalIqw"/>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tPg8pFNxLkP91zFcSdPha0Q"/>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tiHO4wExW98PRLAPfNpFstw"/>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ts6ZPohDe8reCesm0VfjnfA"/>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tiOyJvsxJuMdc4gSVsOEEbg"/>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t_KSlnBuF2N4MhLCmBcRb8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tOOISA98dsXJzga_r2opvrw"/>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tvg8DG_OGxzM7MKpPMT8OIw"/>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t3n0DLC6kuzxQiWwLDOExJw"/>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tuc2MPqrGp2.DgBamma8aVg"/>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ttfJ1SKAz2DXswYELJUEDPQ"/>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tv0jffZjgH9HDL.gzQeiA1g"/>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tyldna5NzoigesFilgOhctg"/>
</p:tagLst>
</file>

<file path=ppt/tags/tag1557.xml><?xml version="1.0" encoding="utf-8"?>
<p:tagLst xmlns:a="http://schemas.openxmlformats.org/drawingml/2006/main" xmlns:r="http://schemas.openxmlformats.org/officeDocument/2006/relationships" xmlns:p="http://schemas.openxmlformats.org/presentationml/2006/main">
  <p:tag name="THINKCELLSHAPEDONOTDELETE" val="tXQxI95JDr75XG2bdxUm1yg"/>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tsZltpD.txPkzycMfVGZ0Ig"/>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tRD4VfsG2fHmJEw3XqiEAw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560.xml><?xml version="1.0" encoding="utf-8"?>
<p:tagLst xmlns:a="http://schemas.openxmlformats.org/drawingml/2006/main" xmlns:r="http://schemas.openxmlformats.org/officeDocument/2006/relationships" xmlns:p="http://schemas.openxmlformats.org/presentationml/2006/main">
  <p:tag name="THINKCELLSHAPEDONOTDELETE" val="txE9I45SXKgBXDGRtW4OyoQ"/>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tF9H8NotAWBuE7XE8._VbMw"/>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t8sEQocsfpAjX4NAMpSRr2A"/>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tK9NIFmXsvBUy0Rn_tgVdkQ"/>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t1IzcclASnaWBAU2H0f_lBw"/>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tTKHyHuBKPkgVofJKsUfmMA"/>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t4gRrrGRp4UmRAfIJvcLgzw"/>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tbjRZ_5RxKcZQrK4yrFiC3g"/>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tSVLqS.nOKMbFAFruy1px9w"/>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tgtmftdjc91zP6Ndm0cvqhQ"/>
</p:tagLst>
</file>

<file path=ppt/tags/tag1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tGtpJk3Pl8LFY5QZcBWnrWg"/>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td5VwwGNydJL7xMSluVSfgA"/>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tjrstIjgwvMNaBoKjLx7XKg"/>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t9I7jXRD_PvqcCrOq9qmnog"/>
</p:tagLst>
</file>

<file path=ppt/tags/tag1574.xml><?xml version="1.0" encoding="utf-8"?>
<p:tagLst xmlns:a="http://schemas.openxmlformats.org/drawingml/2006/main" xmlns:r="http://schemas.openxmlformats.org/officeDocument/2006/relationships" xmlns:p="http://schemas.openxmlformats.org/presentationml/2006/main">
  <p:tag name="THINKCELLSHAPEDONOTDELETE" val="tEJp10wkyW3zSF_Fn08d8bg"/>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tJtM2LzAkaXbOa798dBLhRg"/>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tsyRBv_vIdDqvxgJYi79kAA"/>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tPEFg6loEeP6hZjXCmD1kNQ"/>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t6Po4.XxQ3PJ.UAnFLBkrmw"/>
</p:tagLst>
</file>

<file path=ppt/tags/tag1579.xml><?xml version="1.0" encoding="utf-8"?>
<p:tagLst xmlns:a="http://schemas.openxmlformats.org/drawingml/2006/main" xmlns:r="http://schemas.openxmlformats.org/officeDocument/2006/relationships" xmlns:p="http://schemas.openxmlformats.org/presentationml/2006/main">
  <p:tag name="THINKCELLSHAPEDONOTDELETE" val="tpeS2v5wf0q8IJFFOptQoeg"/>
</p:tagLst>
</file>

<file path=ppt/tags/tag1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tuvqzijRauvEX7CyTQKNdNA"/>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tuvEGvG0kFdrXvcH2JJnROw"/>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tEUZwgZy1rlrzu8Ih_6TZxQ"/>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tTM3OH_pNuuPtvVHumgi.Yg"/>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tFt_W0bJS5TKm5XZpVENy0A"/>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tv9KrFzqshpyXbyZms8F7lQ"/>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t_QD6MC5vkDoa5gVgTH2Rew"/>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t4yw19OWEmbE0OkUd4nZWXg"/>
</p:tagLst>
</file>

<file path=ppt/tags/tag1588.xml><?xml version="1.0" encoding="utf-8"?>
<p:tagLst xmlns:a="http://schemas.openxmlformats.org/drawingml/2006/main" xmlns:r="http://schemas.openxmlformats.org/officeDocument/2006/relationships" xmlns:p="http://schemas.openxmlformats.org/presentationml/2006/main">
  <p:tag name="THINKCELLSHAPEDONOTDELETE" val="tWgoUj75Mrp.5knnApoxxtg"/>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tNv8.98CNMEC9mF9tfC1PuA"/>
</p:tagLst>
</file>

<file path=ppt/tags/tag1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90.xml><?xml version="1.0" encoding="utf-8"?>
<p:tagLst xmlns:a="http://schemas.openxmlformats.org/drawingml/2006/main" xmlns:r="http://schemas.openxmlformats.org/officeDocument/2006/relationships" xmlns:p="http://schemas.openxmlformats.org/presentationml/2006/main">
  <p:tag name="THINKCELLSHAPEDONOTDELETE" val="toscXj.B0gKPQHU_ulPjQFA"/>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tZ_d.MWmK3CSTgDbOKQoGyA"/>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tXkQY1lEvzMfSNTYvYlag0A"/>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tMqTeU2yrOdYK0Vw7Kl5vzw"/>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t0xLTuP5VRMwoHlG1r0XRqQ"/>
</p:tagLst>
</file>

<file path=ppt/tags/tag1595.xml><?xml version="1.0" encoding="utf-8"?>
<p:tagLst xmlns:a="http://schemas.openxmlformats.org/drawingml/2006/main" xmlns:r="http://schemas.openxmlformats.org/officeDocument/2006/relationships" xmlns:p="http://schemas.openxmlformats.org/presentationml/2006/main">
  <p:tag name="THINKCELLSHAPEDONOTDELETE" val="tHllHpqiJ1zx3T8tLAVoW1g"/>
</p:tagLst>
</file>

<file path=ppt/tags/tag1596.xml><?xml version="1.0" encoding="utf-8"?>
<p:tagLst xmlns:a="http://schemas.openxmlformats.org/drawingml/2006/main" xmlns:r="http://schemas.openxmlformats.org/officeDocument/2006/relationships" xmlns:p="http://schemas.openxmlformats.org/presentationml/2006/main">
  <p:tag name="THINKCELLSHAPEDONOTDELETE" val="tNDsthFDChRj8yCIuDZX_Vw"/>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t9YCIrOv5_F3KsFupC8.1wg"/>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t1YQCCMB0LxMR1sDzuGvKHg"/>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tw5fCIbR1n1qj5_keOxkcXA"/>
</p:tagLst>
</file>

<file path=ppt/tags/tag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0.xml><?xml version="1.0" encoding="utf-8"?>
<p:tagLst xmlns:a="http://schemas.openxmlformats.org/drawingml/2006/main" xmlns:r="http://schemas.openxmlformats.org/officeDocument/2006/relationships" xmlns:p="http://schemas.openxmlformats.org/presentationml/2006/main">
  <p:tag name="SHAPENAME" val="5. Source"/>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t.lXwGcvUFpn9TkCBccCWQw"/>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tgUBcY_HaTHsFEJJujGQ99A"/>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thheVL0nt5luvZtIjBJ4SSA"/>
</p:tagLst>
</file>

<file path=ppt/tags/tag160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04.xml><?xml version="1.0" encoding="utf-8"?>
<p:tagLst xmlns:a="http://schemas.openxmlformats.org/drawingml/2006/main" xmlns:r="http://schemas.openxmlformats.org/officeDocument/2006/relationships" xmlns:p="http://schemas.openxmlformats.org/presentationml/2006/main">
  <p:tag name="SHAPENAME" val="5. Source"/>
</p:tagLst>
</file>

<file path=ppt/tags/tag1605.xml><?xml version="1.0" encoding="utf-8"?>
<p:tagLst xmlns:a="http://schemas.openxmlformats.org/drawingml/2006/main" xmlns:r="http://schemas.openxmlformats.org/officeDocument/2006/relationships" xmlns:p="http://schemas.openxmlformats.org/presentationml/2006/main">
  <p:tag name="1LEVEL" val="13"/>
  <p:tag name="2LEVEL" val="6.5"/>
  <p:tag name="3LEVEL" val="3.25"/>
  <p:tag name="4LEVEL" val="1.62"/>
  <p:tag name="5LEVEL" val="0.81"/>
</p:tagLst>
</file>

<file path=ppt/tags/tag1606.xml><?xml version="1.0" encoding="utf-8"?>
<p:tagLst xmlns:a="http://schemas.openxmlformats.org/drawingml/2006/main" xmlns:r="http://schemas.openxmlformats.org/officeDocument/2006/relationships" xmlns:p="http://schemas.openxmlformats.org/presentationml/2006/main">
  <p:tag name="SHAPENAME" val="4. Footnote"/>
</p:tagLst>
</file>

<file path=ppt/tags/tag160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08.xml><?xml version="1.0" encoding="utf-8"?>
<p:tagLst xmlns:a="http://schemas.openxmlformats.org/drawingml/2006/main" xmlns:r="http://schemas.openxmlformats.org/officeDocument/2006/relationships" xmlns:p="http://schemas.openxmlformats.org/presentationml/2006/main">
  <p:tag name="NAME" val="CustomIcon"/>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tRD4VfsG2fHmJEw3XqiEAwQ"/>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tXQxI95JDr75XG2bdxUm1yg"/>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ttfJ1SKAz2DXswYELJUEDPQ"/>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tyldna5NzoigesFilgOhctg"/>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tv0jffZjgH9HDL.gzQeiA1g"/>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tuc2MPqrGp2.DgBamma8aVg"/>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t_KSlnBuF2N4MhLCmBcRb8Q"/>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t1IzcclASnaWBAU2H0f_lBw"/>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tK9NIFmXsvBUy0Rn_tgVdkQ"/>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tF9H8NotAWBuE7XE8._VbM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txE9I45SXKgBXDGRtW4OyoQ"/>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t8sEQocsfpAjX4NAMpSRr2A"/>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tsZltpD.txPkzycMfVGZ0Ig"/>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t3n0DLC6kuzxQiWwLDOExJw"/>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tvg8DG_OGxzM7MKpPMT8OIw"/>
</p:tagLst>
</file>

<file path=ppt/tags/tag1625.xml><?xml version="1.0" encoding="utf-8"?>
<p:tagLst xmlns:a="http://schemas.openxmlformats.org/drawingml/2006/main" xmlns:r="http://schemas.openxmlformats.org/officeDocument/2006/relationships" xmlns:p="http://schemas.openxmlformats.org/presentationml/2006/main">
  <p:tag name="THINKCELLSHAPEDONOTDELETE" val="tbjRZ_5RxKcZQrK4yrFiC3g"/>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tiOyJvsxJuMdc4gSVsOEEbg"/>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tOOISA98dsXJzga_r2opvrw"/>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tGtpJk3Pl8LFY5QZcBWnrWg"/>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tev2OPXrzwDusjs30gogB.Q"/>
</p:tagLst>
</file>

<file path=ppt/tags/tag1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tNGJBsnZzNLaopz2ayxGZqw"/>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tzMcCVBJkPc52Ud31RWNTaA"/>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t6Po4.XxQ3PJ.UAnFLBkrmw"/>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tEUZwgZy1rlrzu8Ih_6TZxQ"/>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tEJp10wkyW3zSF_Fn08d8bg"/>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tuvEGvG0kFdrXvcH2JJnROw"/>
</p:tagLst>
</file>

<file path=ppt/tags/tag1636.xml><?xml version="1.0" encoding="utf-8"?>
<p:tagLst xmlns:a="http://schemas.openxmlformats.org/drawingml/2006/main" xmlns:r="http://schemas.openxmlformats.org/officeDocument/2006/relationships" xmlns:p="http://schemas.openxmlformats.org/presentationml/2006/main">
  <p:tag name="THINKCELLSHAPEDONOTDELETE" val="tFt_W0bJS5TKm5XZpVENy0A"/>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t0E64PvwsmxjdHlggeEjfBg"/>
</p:tagLst>
</file>

<file path=ppt/tags/tag1638.xml><?xml version="1.0" encoding="utf-8"?>
<p:tagLst xmlns:a="http://schemas.openxmlformats.org/drawingml/2006/main" xmlns:r="http://schemas.openxmlformats.org/officeDocument/2006/relationships" xmlns:p="http://schemas.openxmlformats.org/presentationml/2006/main">
  <p:tag name="THINKCELLSHAPEDONOTDELETE" val="tdoI07V1Fvg.AbQ0aVggBMg"/>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tXkQY1lEvzMfSNTYvYlag0A"/>
</p:tagLst>
</file>

<file path=ppt/tags/tag1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tTM3OH_pNuuPtvVHumgi.Yg"/>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t_QD6MC5vkDoa5gVgTH2Rew"/>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tNv8.98CNMEC9mF9tfC1PuA"/>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t.lXwGcvUFpn9TkCBccCWQw"/>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t1YQCCMB0LxMR1sDzuGvKHg"/>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tJtM2LzAkaXbOa798dBLhRg"/>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toscXj.B0gKPQHU_ulPjQFA"/>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tZ_d.MWmK3CSTgDbOKQoGyA"/>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tpeS2v5wf0q8IJFFOptQoeg"/>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t4yw19OWEmbE0OkUd4nZWXg"/>
</p:tagLst>
</file>

<file path=ppt/tags/tag1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tNDsthFDChRj8yCIuDZX_Vw"/>
</p:tagLst>
</file>

<file path=ppt/tags/tag1651.xml><?xml version="1.0" encoding="utf-8"?>
<p:tagLst xmlns:a="http://schemas.openxmlformats.org/drawingml/2006/main" xmlns:r="http://schemas.openxmlformats.org/officeDocument/2006/relationships" xmlns:p="http://schemas.openxmlformats.org/presentationml/2006/main">
  <p:tag name="THINKCELLSHAPEDONOTDELETE" val="tuvqzijRauvEX7CyTQKNdNA"/>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t5xQzaYfLNC.Z363BkEFaGw"/>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tFVlu7_yW8jylCbTv1KV_Ng"/>
</p:tagLst>
</file>

<file path=ppt/tags/tag1654.xml><?xml version="1.0" encoding="utf-8"?>
<p:tagLst xmlns:a="http://schemas.openxmlformats.org/drawingml/2006/main" xmlns:r="http://schemas.openxmlformats.org/officeDocument/2006/relationships" xmlns:p="http://schemas.openxmlformats.org/presentationml/2006/main">
  <p:tag name="THINKCELLSHAPEDONOTDELETE" val="tPEFg6loEeP6hZjXCmD1kNQ"/>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tWgoUj75Mrp.5knnApoxxtg"/>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tsyRBv_vIdDqvxgJYi79kAA"/>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tgUBcY_HaTHsFEJJujGQ99A"/>
</p:tagLst>
</file>

<file path=ppt/tags/tag1658.xml><?xml version="1.0" encoding="utf-8"?>
<p:tagLst xmlns:a="http://schemas.openxmlformats.org/drawingml/2006/main" xmlns:r="http://schemas.openxmlformats.org/officeDocument/2006/relationships" xmlns:p="http://schemas.openxmlformats.org/presentationml/2006/main">
  <p:tag name="THINKCELLSHAPEDONOTDELETE" val="thheVL0nt5luvZtIjBJ4SSA"/>
</p:tagLst>
</file>

<file path=ppt/tags/tag165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6.xml><?xml version="1.0" encoding="utf-8"?>
<p:tagLst xmlns:a="http://schemas.openxmlformats.org/drawingml/2006/main" xmlns:r="http://schemas.openxmlformats.org/officeDocument/2006/relationships" xmlns:p="http://schemas.openxmlformats.org/presentationml/2006/main">
  <p:tag name="SHAPENAME" val="5. Source"/>
</p:tagLst>
</file>

<file path=ppt/tags/tag1660.xml><?xml version="1.0" encoding="utf-8"?>
<p:tagLst xmlns:a="http://schemas.openxmlformats.org/drawingml/2006/main" xmlns:r="http://schemas.openxmlformats.org/officeDocument/2006/relationships" xmlns:p="http://schemas.openxmlformats.org/presentationml/2006/main">
  <p:tag name="SHAPENAME" val="4. Footnote"/>
</p:tagLst>
</file>

<file path=ppt/tags/tag1661.xml><?xml version="1.0" encoding="utf-8"?>
<p:tagLst xmlns:a="http://schemas.openxmlformats.org/drawingml/2006/main" xmlns:r="http://schemas.openxmlformats.org/officeDocument/2006/relationships" xmlns:p="http://schemas.openxmlformats.org/presentationml/2006/main">
  <p:tag name="SHAPENAME" val="5. Source"/>
</p:tagLst>
</file>

<file path=ppt/tags/tag1662.xml><?xml version="1.0" encoding="utf-8"?>
<p:tagLst xmlns:a="http://schemas.openxmlformats.org/drawingml/2006/main" xmlns:r="http://schemas.openxmlformats.org/officeDocument/2006/relationships" xmlns:p="http://schemas.openxmlformats.org/presentationml/2006/main">
  <p:tag name="1LEVEL" val="13"/>
  <p:tag name="2LEVEL" val="6.5"/>
  <p:tag name="3LEVEL" val="3.25"/>
  <p:tag name="4LEVEL" val="1.62"/>
  <p:tag name="5LEVEL" val="0.81"/>
</p:tagLst>
</file>

<file path=ppt/tags/tag166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64.xml><?xml version="1.0" encoding="utf-8"?>
<p:tagLst xmlns:a="http://schemas.openxmlformats.org/drawingml/2006/main" xmlns:r="http://schemas.openxmlformats.org/officeDocument/2006/relationships" xmlns:p="http://schemas.openxmlformats.org/presentationml/2006/main">
  <p:tag name="NAME" val="CustomIcon"/>
</p:tagLst>
</file>

<file path=ppt/tags/tag1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6.xml><?xml version="1.0" encoding="utf-8"?>
<p:tagLst xmlns:a="http://schemas.openxmlformats.org/drawingml/2006/main" xmlns:r="http://schemas.openxmlformats.org/officeDocument/2006/relationships" xmlns:p="http://schemas.openxmlformats.org/presentationml/2006/main">
  <p:tag name="THINKCELLSHAPEDONOTDELETE" val="t6qzxCBqrvQ1D5JJbv.FAXQ"/>
</p:tagLst>
</file>

<file path=ppt/tags/tag1667.xml><?xml version="1.0" encoding="utf-8"?>
<p:tagLst xmlns:a="http://schemas.openxmlformats.org/drawingml/2006/main" xmlns:r="http://schemas.openxmlformats.org/officeDocument/2006/relationships" xmlns:p="http://schemas.openxmlformats.org/presentationml/2006/main">
  <p:tag name="THINKCELLSHAPEDONOTDELETE" val="tEXlPJk65.kvicNj5wRHMtw"/>
</p:tagLst>
</file>

<file path=ppt/tags/tag1668.xml><?xml version="1.0" encoding="utf-8"?>
<p:tagLst xmlns:a="http://schemas.openxmlformats.org/drawingml/2006/main" xmlns:r="http://schemas.openxmlformats.org/officeDocument/2006/relationships" xmlns:p="http://schemas.openxmlformats.org/presentationml/2006/main">
  <p:tag name="THINKCELLSHAPEDONOTDELETE" val="tNm_LqGEzBbMYae4a6fXF4w"/>
</p:tagLst>
</file>

<file path=ppt/tags/tag1669.xml><?xml version="1.0" encoding="utf-8"?>
<p:tagLst xmlns:a="http://schemas.openxmlformats.org/drawingml/2006/main" xmlns:r="http://schemas.openxmlformats.org/officeDocument/2006/relationships" xmlns:p="http://schemas.openxmlformats.org/presentationml/2006/main">
  <p:tag name="THINKCELLSHAPEDONOTDELETE" val="tMws1oW3U.U.sfMKu9KtboQ"/>
</p:tagLst>
</file>

<file path=ppt/tags/tag167.xml><?xml version="1.0" encoding="utf-8"?>
<p:tagLst xmlns:a="http://schemas.openxmlformats.org/drawingml/2006/main" xmlns:r="http://schemas.openxmlformats.org/officeDocument/2006/relationships" xmlns:p="http://schemas.openxmlformats.org/presentationml/2006/main">
  <p:tag name="INLINETEXTSHAPEGUID" val="b92a6250-2500-4859-a206-0f9f7bc46871"/>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tpv65y_6CBx5BqRKCguvuIA"/>
</p:tagLst>
</file>

<file path=ppt/tags/tag1671.xml><?xml version="1.0" encoding="utf-8"?>
<p:tagLst xmlns:a="http://schemas.openxmlformats.org/drawingml/2006/main" xmlns:r="http://schemas.openxmlformats.org/officeDocument/2006/relationships" xmlns:p="http://schemas.openxmlformats.org/presentationml/2006/main">
  <p:tag name="THINKCELLSHAPEDONOTDELETE" val="tQyTbGK5MTtMfdC5NhElPAg"/>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tEYoEQTH8X.e3gBneTVJ55w"/>
</p:tagLst>
</file>

<file path=ppt/tags/tag1673.xml><?xml version="1.0" encoding="utf-8"?>
<p:tagLst xmlns:a="http://schemas.openxmlformats.org/drawingml/2006/main" xmlns:r="http://schemas.openxmlformats.org/officeDocument/2006/relationships" xmlns:p="http://schemas.openxmlformats.org/presentationml/2006/main">
  <p:tag name="THINKCELLSHAPEDONOTDELETE" val="t7n.Nln5mlyX4mRG7W7.inQ"/>
</p:tagLst>
</file>

<file path=ppt/tags/tag1674.xml><?xml version="1.0" encoding="utf-8"?>
<p:tagLst xmlns:a="http://schemas.openxmlformats.org/drawingml/2006/main" xmlns:r="http://schemas.openxmlformats.org/officeDocument/2006/relationships" xmlns:p="http://schemas.openxmlformats.org/presentationml/2006/main">
  <p:tag name="THINKCELLSHAPEDONOTDELETE" val="toh9bPTqs3mie1Hh8da33fQ"/>
</p:tagLst>
</file>

<file path=ppt/tags/tag1675.xml><?xml version="1.0" encoding="utf-8"?>
<p:tagLst xmlns:a="http://schemas.openxmlformats.org/drawingml/2006/main" xmlns:r="http://schemas.openxmlformats.org/officeDocument/2006/relationships" xmlns:p="http://schemas.openxmlformats.org/presentationml/2006/main">
  <p:tag name="THINKCELLSHAPEDONOTDELETE" val="tqxa4OqTyJz2FIoTDqthKQA"/>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tC22V3Y7DKZwSri4Kmuo5wg"/>
</p:tagLst>
</file>

<file path=ppt/tags/tag1677.xml><?xml version="1.0" encoding="utf-8"?>
<p:tagLst xmlns:a="http://schemas.openxmlformats.org/drawingml/2006/main" xmlns:r="http://schemas.openxmlformats.org/officeDocument/2006/relationships" xmlns:p="http://schemas.openxmlformats.org/presentationml/2006/main">
  <p:tag name="THINKCELLSHAPEDONOTDELETE" val="tBxGXQhzsSZpCNHNwnPS89A"/>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tx9LicC2wIxCZwpzL_tMUKA"/>
</p:tagLst>
</file>

<file path=ppt/tags/tag1679.xml><?xml version="1.0" encoding="utf-8"?>
<p:tagLst xmlns:a="http://schemas.openxmlformats.org/drawingml/2006/main" xmlns:r="http://schemas.openxmlformats.org/officeDocument/2006/relationships" xmlns:p="http://schemas.openxmlformats.org/presentationml/2006/main">
  <p:tag name="THINKCELLSHAPEDONOTDELETE" val="tuA5UxkGmHk_rVplUb73V0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tQcdg0KBMdJfx7vXIckkcUw"/>
</p:tagLst>
</file>

<file path=ppt/tags/tag1681.xml><?xml version="1.0" encoding="utf-8"?>
<p:tagLst xmlns:a="http://schemas.openxmlformats.org/drawingml/2006/main" xmlns:r="http://schemas.openxmlformats.org/officeDocument/2006/relationships" xmlns:p="http://schemas.openxmlformats.org/presentationml/2006/main">
  <p:tag name="THINKCELLSHAPEDONOTDELETE" val="tuFVcvJCDV3OJhos05OeQmg"/>
</p:tagLst>
</file>

<file path=ppt/tags/tag1682.xml><?xml version="1.0" encoding="utf-8"?>
<p:tagLst xmlns:a="http://schemas.openxmlformats.org/drawingml/2006/main" xmlns:r="http://schemas.openxmlformats.org/officeDocument/2006/relationships" xmlns:p="http://schemas.openxmlformats.org/presentationml/2006/main">
  <p:tag name="THINKCELLSHAPEDONOTDELETE" val="t8HJNY.Fi1MC2mE68cxpD1g"/>
</p:tagLst>
</file>

<file path=ppt/tags/tag1683.xml><?xml version="1.0" encoding="utf-8"?>
<p:tagLst xmlns:a="http://schemas.openxmlformats.org/drawingml/2006/main" xmlns:r="http://schemas.openxmlformats.org/officeDocument/2006/relationships" xmlns:p="http://schemas.openxmlformats.org/presentationml/2006/main">
  <p:tag name="THINKCELLSHAPEDONOTDELETE" val="tFf39k2Mu8qcXtBDCBrndvA"/>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tb4cIkQDb8ZXwfMLEwP8OVQ"/>
</p:tagLst>
</file>

<file path=ppt/tags/tag1685.xml><?xml version="1.0" encoding="utf-8"?>
<p:tagLst xmlns:a="http://schemas.openxmlformats.org/drawingml/2006/main" xmlns:r="http://schemas.openxmlformats.org/officeDocument/2006/relationships" xmlns:p="http://schemas.openxmlformats.org/presentationml/2006/main">
  <p:tag name="THINKCELLSHAPEDONOTDELETE" val="t6eMe8vIjFKSVLqcg3O_6Gg"/>
</p:tagLst>
</file>

<file path=ppt/tags/tag1686.xml><?xml version="1.0" encoding="utf-8"?>
<p:tagLst xmlns:a="http://schemas.openxmlformats.org/drawingml/2006/main" xmlns:r="http://schemas.openxmlformats.org/officeDocument/2006/relationships" xmlns:p="http://schemas.openxmlformats.org/presentationml/2006/main">
  <p:tag name="THINKCELLSHAPEDONOTDELETE" val="tzQ0RLYegXc0v1zSqCwf5AA"/>
</p:tagLst>
</file>

<file path=ppt/tags/tag1687.xml><?xml version="1.0" encoding="utf-8"?>
<p:tagLst xmlns:a="http://schemas.openxmlformats.org/drawingml/2006/main" xmlns:r="http://schemas.openxmlformats.org/officeDocument/2006/relationships" xmlns:p="http://schemas.openxmlformats.org/presentationml/2006/main">
  <p:tag name="THINKCELLSHAPEDONOTDELETE" val="tK3_ILrB5iA6crGgiU6pkcg"/>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tCzR9iULNFufnvSTmy0049w"/>
</p:tagLst>
</file>

<file path=ppt/tags/tag1689.xml><?xml version="1.0" encoding="utf-8"?>
<p:tagLst xmlns:a="http://schemas.openxmlformats.org/drawingml/2006/main" xmlns:r="http://schemas.openxmlformats.org/officeDocument/2006/relationships" xmlns:p="http://schemas.openxmlformats.org/presentationml/2006/main">
  <p:tag name="THINKCELLSHAPEDONOTDELETE" val="t7HpOBciGIMwHhfy3htHFy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690.xml><?xml version="1.0" encoding="utf-8"?>
<p:tagLst xmlns:a="http://schemas.openxmlformats.org/drawingml/2006/main" xmlns:r="http://schemas.openxmlformats.org/officeDocument/2006/relationships" xmlns:p="http://schemas.openxmlformats.org/presentationml/2006/main">
  <p:tag name="THINKCELLSHAPEDONOTDELETE" val="tMRc0GKC6W9R7oNZn.XhmfQ"/>
</p:tagLst>
</file>

<file path=ppt/tags/tag1691.xml><?xml version="1.0" encoding="utf-8"?>
<p:tagLst xmlns:a="http://schemas.openxmlformats.org/drawingml/2006/main" xmlns:r="http://schemas.openxmlformats.org/officeDocument/2006/relationships" xmlns:p="http://schemas.openxmlformats.org/presentationml/2006/main">
  <p:tag name="THINKCELLSHAPEDONOTDELETE" val="tUPpB1zjWinqCpgNLbbwd5A"/>
</p:tagLst>
</file>

<file path=ppt/tags/tag1692.xml><?xml version="1.0" encoding="utf-8"?>
<p:tagLst xmlns:a="http://schemas.openxmlformats.org/drawingml/2006/main" xmlns:r="http://schemas.openxmlformats.org/officeDocument/2006/relationships" xmlns:p="http://schemas.openxmlformats.org/presentationml/2006/main">
  <p:tag name="THINKCELLSHAPEDONOTDELETE" val="tFOelXvRF3cb1aOpB8XKpuQ"/>
</p:tagLst>
</file>

<file path=ppt/tags/tag1693.xml><?xml version="1.0" encoding="utf-8"?>
<p:tagLst xmlns:a="http://schemas.openxmlformats.org/drawingml/2006/main" xmlns:r="http://schemas.openxmlformats.org/officeDocument/2006/relationships" xmlns:p="http://schemas.openxmlformats.org/presentationml/2006/main">
  <p:tag name="THINKCELLSHAPEDONOTDELETE" val="tiGFyMLGYczknR4hHLR6Crw"/>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ty7Cwzn8g.kkU718xd9LJ3A"/>
</p:tagLst>
</file>

<file path=ppt/tags/tag1695.xml><?xml version="1.0" encoding="utf-8"?>
<p:tagLst xmlns:a="http://schemas.openxmlformats.org/drawingml/2006/main" xmlns:r="http://schemas.openxmlformats.org/officeDocument/2006/relationships" xmlns:p="http://schemas.openxmlformats.org/presentationml/2006/main">
  <p:tag name="THINKCELLSHAPEDONOTDELETE" val="t4NvLCV8picWDsaZP2JEsjw"/>
</p:tagLst>
</file>

<file path=ppt/tags/tag1696.xml><?xml version="1.0" encoding="utf-8"?>
<p:tagLst xmlns:a="http://schemas.openxmlformats.org/drawingml/2006/main" xmlns:r="http://schemas.openxmlformats.org/officeDocument/2006/relationships" xmlns:p="http://schemas.openxmlformats.org/presentationml/2006/main">
  <p:tag name="SHAPENAME" val="5. Source"/>
</p:tagLst>
</file>

<file path=ppt/tags/tag1697.xml><?xml version="1.0" encoding="utf-8"?>
<p:tagLst xmlns:a="http://schemas.openxmlformats.org/drawingml/2006/main" xmlns:r="http://schemas.openxmlformats.org/officeDocument/2006/relationships" xmlns:p="http://schemas.openxmlformats.org/presentationml/2006/main">
  <p:tag name="NAME" val="TrackerNumWhite"/>
</p:tagLst>
</file>

<file path=ppt/tags/tag1698.xml><?xml version="1.0" encoding="utf-8"?>
<p:tagLst xmlns:a="http://schemas.openxmlformats.org/drawingml/2006/main" xmlns:r="http://schemas.openxmlformats.org/officeDocument/2006/relationships" xmlns:p="http://schemas.openxmlformats.org/presentationml/2006/main">
  <p:tag name="NAME" val="TrackerNumWhite"/>
</p:tagLst>
</file>

<file path=ppt/tags/tag1699.xml><?xml version="1.0" encoding="utf-8"?>
<p:tagLst xmlns:a="http://schemas.openxmlformats.org/drawingml/2006/main" xmlns:r="http://schemas.openxmlformats.org/officeDocument/2006/relationships" xmlns:p="http://schemas.openxmlformats.org/presentationml/2006/main">
  <p:tag name="NAME" val="TrackerNumWhite"/>
</p:tagLst>
</file>

<file path=ppt/tags/tag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00.xml><?xml version="1.0" encoding="utf-8"?>
<p:tagLst xmlns:a="http://schemas.openxmlformats.org/drawingml/2006/main" xmlns:r="http://schemas.openxmlformats.org/officeDocument/2006/relationships" xmlns:p="http://schemas.openxmlformats.org/presentationml/2006/main">
  <p:tag name="NAME" val="TrackerNumWhite"/>
</p:tagLst>
</file>

<file path=ppt/tags/tag1701.xml><?xml version="1.0" encoding="utf-8"?>
<p:tagLst xmlns:a="http://schemas.openxmlformats.org/drawingml/2006/main" xmlns:r="http://schemas.openxmlformats.org/officeDocument/2006/relationships" xmlns:p="http://schemas.openxmlformats.org/presentationml/2006/main">
  <p:tag name="THINKCELLSHAPEDONOTDELETE" val="tBxGXQhzsSZpCNHNwnPS89A"/>
</p:tagLst>
</file>

<file path=ppt/tags/tag17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0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704.xml><?xml version="1.0" encoding="utf-8"?>
<p:tagLst xmlns:a="http://schemas.openxmlformats.org/drawingml/2006/main" xmlns:r="http://schemas.openxmlformats.org/officeDocument/2006/relationships" xmlns:p="http://schemas.openxmlformats.org/presentationml/2006/main">
  <p:tag name="NAME" val="TrackerNumWhite"/>
</p:tagLst>
</file>

<file path=ppt/tags/tag170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706.xml><?xml version="1.0" encoding="utf-8"?>
<p:tagLst xmlns:a="http://schemas.openxmlformats.org/drawingml/2006/main" xmlns:r="http://schemas.openxmlformats.org/officeDocument/2006/relationships" xmlns:p="http://schemas.openxmlformats.org/presentationml/2006/main">
  <p:tag name="NAME" val="TrackerNumWhite"/>
</p:tagLst>
</file>

<file path=ppt/tags/tag1707.xml><?xml version="1.0" encoding="utf-8"?>
<p:tagLst xmlns:a="http://schemas.openxmlformats.org/drawingml/2006/main" xmlns:r="http://schemas.openxmlformats.org/officeDocument/2006/relationships" xmlns:p="http://schemas.openxmlformats.org/presentationml/2006/main">
  <p:tag name="NAME" val="TrackerNumWhite"/>
</p:tagLst>
</file>

<file path=ppt/tags/tag1708.xml><?xml version="1.0" encoding="utf-8"?>
<p:tagLst xmlns:a="http://schemas.openxmlformats.org/drawingml/2006/main" xmlns:r="http://schemas.openxmlformats.org/officeDocument/2006/relationships" xmlns:p="http://schemas.openxmlformats.org/presentationml/2006/main">
  <p:tag name="NAME" val="TrackerNumWhite"/>
</p:tagLst>
</file>

<file path=ppt/tags/tag170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12.xml><?xml version="1.0" encoding="utf-8"?>
<p:tagLst xmlns:a="http://schemas.openxmlformats.org/drawingml/2006/main" xmlns:r="http://schemas.openxmlformats.org/officeDocument/2006/relationships" xmlns:p="http://schemas.openxmlformats.org/presentationml/2006/main">
  <p:tag name="SYMBOLNAME" val="DoubleArrow"/>
  <p:tag name="CIRCLESTATUS" val="Blue"/>
  <p:tag name="NAME" val="DoubleArrowBlue"/>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15.xml><?xml version="1.0" encoding="utf-8"?>
<p:tagLst xmlns:a="http://schemas.openxmlformats.org/drawingml/2006/main" xmlns:r="http://schemas.openxmlformats.org/officeDocument/2006/relationships" xmlns:p="http://schemas.openxmlformats.org/presentationml/2006/main">
  <p:tag name="1LEVEL" val="8"/>
  <p:tag name="2LEVEL" val="4"/>
  <p:tag name="3LEVEL" val="2"/>
  <p:tag name="4LEVEL" val="1"/>
  <p:tag name="5LEVEL" val="0.5"/>
</p:tagLst>
</file>

<file path=ppt/tags/tag1716.xml><?xml version="1.0" encoding="utf-8"?>
<p:tagLst xmlns:a="http://schemas.openxmlformats.org/drawingml/2006/main" xmlns:r="http://schemas.openxmlformats.org/officeDocument/2006/relationships" xmlns:p="http://schemas.openxmlformats.org/presentationml/2006/main">
  <p:tag name="SHAPENAME" val="5. Source"/>
</p:tagLst>
</file>

<file path=ppt/tags/tag1717.xml><?xml version="1.0" encoding="utf-8"?>
<p:tagLst xmlns:a="http://schemas.openxmlformats.org/drawingml/2006/main" xmlns:r="http://schemas.openxmlformats.org/officeDocument/2006/relationships" xmlns:p="http://schemas.openxmlformats.org/presentationml/2006/main">
  <p:tag name="NAME" val="CustomIcon"/>
</p:tagLst>
</file>

<file path=ppt/tags/tag1718.xml><?xml version="1.0" encoding="utf-8"?>
<p:tagLst xmlns:a="http://schemas.openxmlformats.org/drawingml/2006/main" xmlns:r="http://schemas.openxmlformats.org/officeDocument/2006/relationships" xmlns:p="http://schemas.openxmlformats.org/presentationml/2006/main">
  <p:tag name="NAME" val="CustomIcon"/>
</p:tagLst>
</file>

<file path=ppt/tags/tag1719.xml><?xml version="1.0" encoding="utf-8"?>
<p:tagLst xmlns:a="http://schemas.openxmlformats.org/drawingml/2006/main" xmlns:r="http://schemas.openxmlformats.org/officeDocument/2006/relationships" xmlns:p="http://schemas.openxmlformats.org/presentationml/2006/main">
  <p:tag name="NAME" val="CustomIcon"/>
</p:tagLst>
</file>

<file path=ppt/tags/tag1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20.xml><?xml version="1.0" encoding="utf-8"?>
<p:tagLst xmlns:a="http://schemas.openxmlformats.org/drawingml/2006/main" xmlns:r="http://schemas.openxmlformats.org/officeDocument/2006/relationships" xmlns:p="http://schemas.openxmlformats.org/presentationml/2006/main">
  <p:tag name="NAME" val="CustomIcon"/>
</p:tagLst>
</file>

<file path=ppt/tags/tag1721.xml><?xml version="1.0" encoding="utf-8"?>
<p:tagLst xmlns:a="http://schemas.openxmlformats.org/drawingml/2006/main" xmlns:r="http://schemas.openxmlformats.org/officeDocument/2006/relationships" xmlns:p="http://schemas.openxmlformats.org/presentationml/2006/main">
  <p:tag name="NAME" val="CustomIcon"/>
</p:tagLst>
</file>

<file path=ppt/tags/tag1722.xml><?xml version="1.0" encoding="utf-8"?>
<p:tagLst xmlns:a="http://schemas.openxmlformats.org/drawingml/2006/main" xmlns:r="http://schemas.openxmlformats.org/officeDocument/2006/relationships" xmlns:p="http://schemas.openxmlformats.org/presentationml/2006/main">
  <p:tag name="NAME" val="CustomIcon"/>
</p:tagLst>
</file>

<file path=ppt/tags/tag1723.xml><?xml version="1.0" encoding="utf-8"?>
<p:tagLst xmlns:a="http://schemas.openxmlformats.org/drawingml/2006/main" xmlns:r="http://schemas.openxmlformats.org/officeDocument/2006/relationships" xmlns:p="http://schemas.openxmlformats.org/presentationml/2006/main">
  <p:tag name="NAME" val="CustomIcon"/>
</p:tagLst>
</file>

<file path=ppt/tags/tag1724.xml><?xml version="1.0" encoding="utf-8"?>
<p:tagLst xmlns:a="http://schemas.openxmlformats.org/drawingml/2006/main" xmlns:r="http://schemas.openxmlformats.org/officeDocument/2006/relationships" xmlns:p="http://schemas.openxmlformats.org/presentationml/2006/main">
  <p:tag name="NAME" val="CustomIcon"/>
</p:tagLst>
</file>

<file path=ppt/tags/tag1725.xml><?xml version="1.0" encoding="utf-8"?>
<p:tagLst xmlns:a="http://schemas.openxmlformats.org/drawingml/2006/main" xmlns:r="http://schemas.openxmlformats.org/officeDocument/2006/relationships" xmlns:p="http://schemas.openxmlformats.org/presentationml/2006/main">
  <p:tag name="NAME" val="CustomIcon"/>
</p:tagLst>
</file>

<file path=ppt/tags/tag1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7.xml><?xml version="1.0" encoding="utf-8"?>
<p:tagLst xmlns:a="http://schemas.openxmlformats.org/drawingml/2006/main" xmlns:r="http://schemas.openxmlformats.org/officeDocument/2006/relationships" xmlns:p="http://schemas.openxmlformats.org/presentationml/2006/main">
  <p:tag name="THINKCELLSHAPEDONOTDELETE" val="t7bcN4JvSiOvE5gbHaALmvg"/>
</p:tagLst>
</file>

<file path=ppt/tags/tag1728.xml><?xml version="1.0" encoding="utf-8"?>
<p:tagLst xmlns:a="http://schemas.openxmlformats.org/drawingml/2006/main" xmlns:r="http://schemas.openxmlformats.org/officeDocument/2006/relationships" xmlns:p="http://schemas.openxmlformats.org/presentationml/2006/main">
  <p:tag name="THINKCELLSHAPEDONOTDELETE" val="tfDu1n6NEkHa_RTMljrSGQw"/>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tPIeHfKHnxkLszHa9vaHLTQ"/>
</p:tagLst>
</file>

<file path=ppt/tags/tag173.xml><?xml version="1.0" encoding="utf-8"?>
<p:tagLst xmlns:a="http://schemas.openxmlformats.org/drawingml/2006/main" xmlns:r="http://schemas.openxmlformats.org/officeDocument/2006/relationships" xmlns:p="http://schemas.openxmlformats.org/presentationml/2006/main">
  <p:tag name="SHAPENAME" val="5. Source"/>
</p:tagLst>
</file>

<file path=ppt/tags/tag1730.xml><?xml version="1.0" encoding="utf-8"?>
<p:tagLst xmlns:a="http://schemas.openxmlformats.org/drawingml/2006/main" xmlns:r="http://schemas.openxmlformats.org/officeDocument/2006/relationships" xmlns:p="http://schemas.openxmlformats.org/presentationml/2006/main">
  <p:tag name="THINKCELLSHAPEDONOTDELETE" val="t_sxvDfj5SYF53Yu5zkzEKg"/>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tc7T_JfSRsP687nNdSpSz9A"/>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t3eoxxkVDtv6Y1RMUmT1VVg"/>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tr1jsdZpbrMtibv08gFqT7g"/>
</p:tagLst>
</file>

<file path=ppt/tags/tag1734.xml><?xml version="1.0" encoding="utf-8"?>
<p:tagLst xmlns:a="http://schemas.openxmlformats.org/drawingml/2006/main" xmlns:r="http://schemas.openxmlformats.org/officeDocument/2006/relationships" xmlns:p="http://schemas.openxmlformats.org/presentationml/2006/main">
  <p:tag name="THINKCELLSHAPEDONOTDELETE" val="t1xShIdnXMu.oJvzYtWrdPw"/>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tZPfbezO.mi6Xd_9iBzXBZA"/>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t_bIsLKXVKsCeV011EzQ1Bg"/>
</p:tagLst>
</file>

<file path=ppt/tags/tag1737.xml><?xml version="1.0" encoding="utf-8"?>
<p:tagLst xmlns:a="http://schemas.openxmlformats.org/drawingml/2006/main" xmlns:r="http://schemas.openxmlformats.org/officeDocument/2006/relationships" xmlns:p="http://schemas.openxmlformats.org/presentationml/2006/main">
  <p:tag name="THINKCELLSHAPEDONOTDELETE" val="t57PeA1ncMUT35eE34QNwoA"/>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tFyKK9bpOZEkb8pMY.7lwxw"/>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tSSlaVokzGWtWzufNs.Wn7A"/>
</p:tagLst>
</file>

<file path=ppt/tags/tag174.xml><?xml version="1.0" encoding="utf-8"?>
<p:tagLst xmlns:a="http://schemas.openxmlformats.org/drawingml/2006/main" xmlns:r="http://schemas.openxmlformats.org/officeDocument/2006/relationships" xmlns:p="http://schemas.openxmlformats.org/presentationml/2006/main">
  <p:tag name="INLINETEXTSHAPEGUID" val="b92a6250-2500-4859-a206-0f9f7bc46871"/>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tDVXWQq35yQjz1yz79GHOIw"/>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t9aDvC3PiatDwG1exSg6wWQ"/>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thYP_ECpp5ZT5r6HEg.wAzw"/>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tY72hVMv6j3hA5vzmXWa6cw"/>
</p:tagLst>
</file>

<file path=ppt/tags/tag1744.xml><?xml version="1.0" encoding="utf-8"?>
<p:tagLst xmlns:a="http://schemas.openxmlformats.org/drawingml/2006/main" xmlns:r="http://schemas.openxmlformats.org/officeDocument/2006/relationships" xmlns:p="http://schemas.openxmlformats.org/presentationml/2006/main">
  <p:tag name="THINKCELLSHAPEDONOTDELETE" val="tCe_09xU44HDMac0gTvMTow"/>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twDd5wiGnyZgLZ2EDJDuutA"/>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tpBC.mkwsQvWobs94XDyJTQ"/>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tlwI96aHOeIAGD5xbu.ZPQg"/>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tEHWvfrDClkAo2llAxuqyPg"/>
</p:tagLst>
</file>

<file path=ppt/tags/tag1749.xml><?xml version="1.0" encoding="utf-8"?>
<p:tagLst xmlns:a="http://schemas.openxmlformats.org/drawingml/2006/main" xmlns:r="http://schemas.openxmlformats.org/officeDocument/2006/relationships" xmlns:p="http://schemas.openxmlformats.org/presentationml/2006/main">
  <p:tag name="THINKCELLSHAPEDONOTDELETE" val="tr76v0pJLLo24g00gzAY14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0.xml><?xml version="1.0" encoding="utf-8"?>
<p:tagLst xmlns:a="http://schemas.openxmlformats.org/drawingml/2006/main" xmlns:r="http://schemas.openxmlformats.org/officeDocument/2006/relationships" xmlns:p="http://schemas.openxmlformats.org/presentationml/2006/main">
  <p:tag name="THINKCELLSHAPEDONOTDELETE" val="ttsl_dzZiH7djKEeKuEYIZw"/>
</p:tagLst>
</file>

<file path=ppt/tags/tag1751.xml><?xml version="1.0" encoding="utf-8"?>
<p:tagLst xmlns:a="http://schemas.openxmlformats.org/drawingml/2006/main" xmlns:r="http://schemas.openxmlformats.org/officeDocument/2006/relationships" xmlns:p="http://schemas.openxmlformats.org/presentationml/2006/main">
  <p:tag name="THINKCELLSHAPEDONOTDELETE" val="t1_vxJAuqyudtYwLafq7rKg"/>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tbeDoewZXaQgr_CcwO2NTOA"/>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tGqBB2TfzZORZSITMKmXP0Q"/>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t6UDu76z_CyqSqMB3l7_rzQ"/>
</p:tagLst>
</file>

<file path=ppt/tags/tag1755.xml><?xml version="1.0" encoding="utf-8"?>
<p:tagLst xmlns:a="http://schemas.openxmlformats.org/drawingml/2006/main" xmlns:r="http://schemas.openxmlformats.org/officeDocument/2006/relationships" xmlns:p="http://schemas.openxmlformats.org/presentationml/2006/main">
  <p:tag name="NAME" val="4. Footnote"/>
</p:tagLst>
</file>

<file path=ppt/tags/tag1756.xml><?xml version="1.0" encoding="utf-8"?>
<p:tagLst xmlns:a="http://schemas.openxmlformats.org/drawingml/2006/main" xmlns:r="http://schemas.openxmlformats.org/officeDocument/2006/relationships" xmlns:p="http://schemas.openxmlformats.org/presentationml/2006/main">
  <p:tag name="NAME" val="5. Source"/>
</p:tagLst>
</file>

<file path=ppt/tags/tag175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58.xml><?xml version="1.0" encoding="utf-8"?>
<p:tagLst xmlns:a="http://schemas.openxmlformats.org/drawingml/2006/main" xmlns:r="http://schemas.openxmlformats.org/officeDocument/2006/relationships" xmlns:p="http://schemas.openxmlformats.org/presentationml/2006/main">
  <p:tag name="NAME" val="LineBasicStrong"/>
</p:tagLst>
</file>

<file path=ppt/tags/tag1759.xml><?xml version="1.0" encoding="utf-8"?>
<p:tagLst xmlns:a="http://schemas.openxmlformats.org/drawingml/2006/main" xmlns:r="http://schemas.openxmlformats.org/officeDocument/2006/relationships" xmlns:p="http://schemas.openxmlformats.org/presentationml/2006/main">
  <p:tag name="1LEVEL" val="11"/>
  <p:tag name="2LEVEL" val="5.5"/>
  <p:tag name="3LEVEL" val="2.75"/>
  <p:tag name="4LEVEL" val="1.38"/>
  <p:tag name="5LEVEL" val="0.69"/>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760.xml><?xml version="1.0" encoding="utf-8"?>
<p:tagLst xmlns:a="http://schemas.openxmlformats.org/drawingml/2006/main" xmlns:r="http://schemas.openxmlformats.org/officeDocument/2006/relationships" xmlns:p="http://schemas.openxmlformats.org/presentationml/2006/main">
  <p:tag name="NAME" val="CustomIcon"/>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2.xml><?xml version="1.0" encoding="utf-8"?>
<p:tagLst xmlns:a="http://schemas.openxmlformats.org/drawingml/2006/main" xmlns:r="http://schemas.openxmlformats.org/officeDocument/2006/relationships" xmlns:p="http://schemas.openxmlformats.org/presentationml/2006/main">
  <p:tag name="THINKCELLSHAPEDONOTDELETE" val="tmYpr_xnibl.UqObI8bIXOw"/>
</p:tagLst>
</file>

<file path=ppt/tags/tag1763.xml><?xml version="1.0" encoding="utf-8"?>
<p:tagLst xmlns:a="http://schemas.openxmlformats.org/drawingml/2006/main" xmlns:r="http://schemas.openxmlformats.org/officeDocument/2006/relationships" xmlns:p="http://schemas.openxmlformats.org/presentationml/2006/main">
  <p:tag name="THINKCELLSHAPEDONOTDELETE" val="tWfXNVHx53bJ4b2ovnbCYWw"/>
</p:tagLst>
</file>

<file path=ppt/tags/tag1764.xml><?xml version="1.0" encoding="utf-8"?>
<p:tagLst xmlns:a="http://schemas.openxmlformats.org/drawingml/2006/main" xmlns:r="http://schemas.openxmlformats.org/officeDocument/2006/relationships" xmlns:p="http://schemas.openxmlformats.org/presentationml/2006/main">
  <p:tag name="THINKCELLSHAPEDONOTDELETE" val="tFiAqnkn2O6czsEujOA.P0w"/>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t6dA0ygIl2Bwb5BQVfPPE8g"/>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t7BCfGyL7_6BuScA9DSNWAQ"/>
</p:tagLst>
</file>

<file path=ppt/tags/tag1767.xml><?xml version="1.0" encoding="utf-8"?>
<p:tagLst xmlns:a="http://schemas.openxmlformats.org/drawingml/2006/main" xmlns:r="http://schemas.openxmlformats.org/officeDocument/2006/relationships" xmlns:p="http://schemas.openxmlformats.org/presentationml/2006/main">
  <p:tag name="THINKCELLSHAPEDONOTDELETE" val="t3eEeNbjaBxMe3xSJNhwSdg"/>
</p:tagLst>
</file>

<file path=ppt/tags/tag1768.xml><?xml version="1.0" encoding="utf-8"?>
<p:tagLst xmlns:a="http://schemas.openxmlformats.org/drawingml/2006/main" xmlns:r="http://schemas.openxmlformats.org/officeDocument/2006/relationships" xmlns:p="http://schemas.openxmlformats.org/presentationml/2006/main">
  <p:tag name="THINKCELLSHAPEDONOTDELETE" val="tux5SZCPMN1wxT0DVZcYP0A"/>
</p:tagLst>
</file>

<file path=ppt/tags/tag1769.xml><?xml version="1.0" encoding="utf-8"?>
<p:tagLst xmlns:a="http://schemas.openxmlformats.org/drawingml/2006/main" xmlns:r="http://schemas.openxmlformats.org/officeDocument/2006/relationships" xmlns:p="http://schemas.openxmlformats.org/presentationml/2006/main">
  <p:tag name="THINKCELLSHAPEDONOTDELETE" val="tePoEcgP9kOzAg40thnfsSA"/>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tVzkUeAq2LxktqMSw7H481g"/>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tjn7wTUe3uKlOD7m2YLH7zw"/>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t1AanzJwkQ8Zb5Ea56Y99vw"/>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tmr.ywuPm11UPZ7lYesRPrQ"/>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t72ihct3mS.bkA90gv0fyRg"/>
</p:tagLst>
</file>

<file path=ppt/tags/tag1775.xml><?xml version="1.0" encoding="utf-8"?>
<p:tagLst xmlns:a="http://schemas.openxmlformats.org/drawingml/2006/main" xmlns:r="http://schemas.openxmlformats.org/officeDocument/2006/relationships" xmlns:p="http://schemas.openxmlformats.org/presentationml/2006/main">
  <p:tag name="THINKCELLSHAPEDONOTDELETE" val="tVAnblPz_8VTkC341I5MpgQ"/>
</p:tagLst>
</file>

<file path=ppt/tags/tag1776.xml><?xml version="1.0" encoding="utf-8"?>
<p:tagLst xmlns:a="http://schemas.openxmlformats.org/drawingml/2006/main" xmlns:r="http://schemas.openxmlformats.org/officeDocument/2006/relationships" xmlns:p="http://schemas.openxmlformats.org/presentationml/2006/main">
  <p:tag name="THINKCELLSHAPEDONOTDELETE" val="tlWapoP7bemKPjdvOX2J6BA"/>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tmJvGpgLO02piOQW64PqPQQ"/>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tQAhI2Mn59pLQHkINO_GmaQ"/>
</p:tagLst>
</file>

<file path=ppt/tags/tag17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tDUbbwGvPu7.j3qi7vw0K2g"/>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t8B6aW.d40gkz.mvHg1IKMw"/>
</p:tagLst>
</file>

<file path=ppt/tags/tag1782.xml><?xml version="1.0" encoding="utf-8"?>
<p:tagLst xmlns:a="http://schemas.openxmlformats.org/drawingml/2006/main" xmlns:r="http://schemas.openxmlformats.org/officeDocument/2006/relationships" xmlns:p="http://schemas.openxmlformats.org/presentationml/2006/main">
  <p:tag name="THINKCELLSHAPEDONOTDELETE" val="tVqSiSN87Nx_GhVDK3oxVPg"/>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tRb8t9jaKNLcCaz3SK7kMIQ"/>
</p:tagLst>
</file>

<file path=ppt/tags/tag178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85.xml><?xml version="1.0" encoding="utf-8"?>
<p:tagLst xmlns:a="http://schemas.openxmlformats.org/drawingml/2006/main" xmlns:r="http://schemas.openxmlformats.org/officeDocument/2006/relationships" xmlns:p="http://schemas.openxmlformats.org/presentationml/2006/main">
  <p:tag name="NAME" val="LineBasicStrong"/>
</p:tagLst>
</file>

<file path=ppt/tags/tag1786.xml><?xml version="1.0" encoding="utf-8"?>
<p:tagLst xmlns:a="http://schemas.openxmlformats.org/drawingml/2006/main" xmlns:r="http://schemas.openxmlformats.org/officeDocument/2006/relationships" xmlns:p="http://schemas.openxmlformats.org/presentationml/2006/main">
  <p:tag name="1LEVEL" val="11"/>
  <p:tag name="2LEVEL" val="5.5"/>
  <p:tag name="3LEVEL" val="2.75"/>
  <p:tag name="4LEVEL" val="1.38"/>
  <p:tag name="5LEVEL" val="0.69"/>
</p:tagLst>
</file>

<file path=ppt/tags/tag1787.xml><?xml version="1.0" encoding="utf-8"?>
<p:tagLst xmlns:a="http://schemas.openxmlformats.org/drawingml/2006/main" xmlns:r="http://schemas.openxmlformats.org/officeDocument/2006/relationships" xmlns:p="http://schemas.openxmlformats.org/presentationml/2006/main">
  <p:tag name="NAME" val="CustomIcon"/>
</p:tagLst>
</file>

<file path=ppt/tags/tag1788.xml><?xml version="1.0" encoding="utf-8"?>
<p:tagLst xmlns:a="http://schemas.openxmlformats.org/drawingml/2006/main" xmlns:r="http://schemas.openxmlformats.org/officeDocument/2006/relationships" xmlns:p="http://schemas.openxmlformats.org/presentationml/2006/main">
  <p:tag name="NAME" val="4. Footnote"/>
</p:tagLst>
</file>

<file path=ppt/tags/tag1789.xml><?xml version="1.0" encoding="utf-8"?>
<p:tagLst xmlns:a="http://schemas.openxmlformats.org/drawingml/2006/main" xmlns:r="http://schemas.openxmlformats.org/officeDocument/2006/relationships" xmlns:p="http://schemas.openxmlformats.org/presentationml/2006/main">
  <p:tag name="NAME" val="5. Sourc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92.xml><?xml version="1.0" encoding="utf-8"?>
<p:tagLst xmlns:a="http://schemas.openxmlformats.org/drawingml/2006/main" xmlns:r="http://schemas.openxmlformats.org/officeDocument/2006/relationships" xmlns:p="http://schemas.openxmlformats.org/presentationml/2006/main">
  <p:tag name="THINKCELLSHAPEDONOTDELETE" val="tRzqcJV2Aa2keS4jp5n3_ZQ"/>
</p:tagLst>
</file>

<file path=ppt/tags/tag1793.xml><?xml version="1.0" encoding="utf-8"?>
<p:tagLst xmlns:a="http://schemas.openxmlformats.org/drawingml/2006/main" xmlns:r="http://schemas.openxmlformats.org/officeDocument/2006/relationships" xmlns:p="http://schemas.openxmlformats.org/presentationml/2006/main">
  <p:tag name="THINKCELLSHAPEDONOTDELETE" val="thuQTPLMW7xsDDgPwKHTARA"/>
</p:tagLst>
</file>

<file path=ppt/tags/tag1794.xml><?xml version="1.0" encoding="utf-8"?>
<p:tagLst xmlns:a="http://schemas.openxmlformats.org/drawingml/2006/main" xmlns:r="http://schemas.openxmlformats.org/officeDocument/2006/relationships" xmlns:p="http://schemas.openxmlformats.org/presentationml/2006/main">
  <p:tag name="THINKCELLSHAPEDONOTDELETE" val="t9Gq2SArje9cBmrPLhP67cg"/>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tA_JGwFi.y3DujvSZfgxhbw"/>
</p:tagLst>
</file>

<file path=ppt/tags/tag1796.xml><?xml version="1.0" encoding="utf-8"?>
<p:tagLst xmlns:a="http://schemas.openxmlformats.org/drawingml/2006/main" xmlns:r="http://schemas.openxmlformats.org/officeDocument/2006/relationships" xmlns:p="http://schemas.openxmlformats.org/presentationml/2006/main">
  <p:tag name="THINKCELLSHAPEDONOTDELETE" val="tHDoH0Mbv2Jkz6HuyX.F3yw"/>
</p:tagLst>
</file>

<file path=ppt/tags/tag1797.xml><?xml version="1.0" encoding="utf-8"?>
<p:tagLst xmlns:a="http://schemas.openxmlformats.org/drawingml/2006/main" xmlns:r="http://schemas.openxmlformats.org/officeDocument/2006/relationships" xmlns:p="http://schemas.openxmlformats.org/presentationml/2006/main">
  <p:tag name="THINKCELLSHAPEDONOTDELETE" val="tVeWbQE2VnHZPwiMLJRod4g"/>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tuo49m9ysAsSNS3ikP5qu7g"/>
</p:tagLst>
</file>

<file path=ppt/tags/tag1799.xml><?xml version="1.0" encoding="utf-8"?>
<p:tagLst xmlns:a="http://schemas.openxmlformats.org/drawingml/2006/main" xmlns:r="http://schemas.openxmlformats.org/officeDocument/2006/relationships" xmlns:p="http://schemas.openxmlformats.org/presentationml/2006/main">
  <p:tag name="THINKCELLSHAPEDONOTDELETE" val="tGkcPM13blLn5_USJciZFcg"/>
</p:tagLst>
</file>

<file path=ppt/tags/tag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00.xml><?xml version="1.0" encoding="utf-8"?>
<p:tagLst xmlns:a="http://schemas.openxmlformats.org/drawingml/2006/main" xmlns:r="http://schemas.openxmlformats.org/officeDocument/2006/relationships" xmlns:p="http://schemas.openxmlformats.org/presentationml/2006/main">
  <p:tag name="THINKCELLSHAPEDONOTDELETE" val="tY_Nci5liOIHuxCpU8itWXA"/>
</p:tagLst>
</file>

<file path=ppt/tags/tag1801.xml><?xml version="1.0" encoding="utf-8"?>
<p:tagLst xmlns:a="http://schemas.openxmlformats.org/drawingml/2006/main" xmlns:r="http://schemas.openxmlformats.org/officeDocument/2006/relationships" xmlns:p="http://schemas.openxmlformats.org/presentationml/2006/main">
  <p:tag name="THINKCELLSHAPEDONOTDELETE" val="t5zWH7._UNTyFf_Nx9A.1VA"/>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tCQ4.OuO2q4aWii82RyBelQ"/>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taZa1lkGUjpMdq0xd3rTq6g"/>
</p:tagLst>
</file>

<file path=ppt/tags/tag1804.xml><?xml version="1.0" encoding="utf-8"?>
<p:tagLst xmlns:a="http://schemas.openxmlformats.org/drawingml/2006/main" xmlns:r="http://schemas.openxmlformats.org/officeDocument/2006/relationships" xmlns:p="http://schemas.openxmlformats.org/presentationml/2006/main">
  <p:tag name="THINKCELLSHAPEDONOTDELETE" val="tUWyQRaf5WBiBFk6g9.DyJw"/>
</p:tagLst>
</file>

<file path=ppt/tags/tag1805.xml><?xml version="1.0" encoding="utf-8"?>
<p:tagLst xmlns:a="http://schemas.openxmlformats.org/drawingml/2006/main" xmlns:r="http://schemas.openxmlformats.org/officeDocument/2006/relationships" xmlns:p="http://schemas.openxmlformats.org/presentationml/2006/main">
  <p:tag name="THINKCELLSHAPEDONOTDELETE" val="tsqbXFnliN1Z4gp8_EfEJQw"/>
</p:tagLst>
</file>

<file path=ppt/tags/tag1806.xml><?xml version="1.0" encoding="utf-8"?>
<p:tagLst xmlns:a="http://schemas.openxmlformats.org/drawingml/2006/main" xmlns:r="http://schemas.openxmlformats.org/officeDocument/2006/relationships" xmlns:p="http://schemas.openxmlformats.org/presentationml/2006/main">
  <p:tag name="THINKCELLSHAPEDONOTDELETE" val="tjB6PP.SLSabydEVA2u9YIQ"/>
</p:tagLst>
</file>

<file path=ppt/tags/tag1807.xml><?xml version="1.0" encoding="utf-8"?>
<p:tagLst xmlns:a="http://schemas.openxmlformats.org/drawingml/2006/main" xmlns:r="http://schemas.openxmlformats.org/officeDocument/2006/relationships" xmlns:p="http://schemas.openxmlformats.org/presentationml/2006/main">
  <p:tag name="THINKCELLSHAPEDONOTDELETE" val="tiQ7TjMFIVt0I_ihOOu9NTg"/>
</p:tagLst>
</file>

<file path=ppt/tags/tag1808.xml><?xml version="1.0" encoding="utf-8"?>
<p:tagLst xmlns:a="http://schemas.openxmlformats.org/drawingml/2006/main" xmlns:r="http://schemas.openxmlformats.org/officeDocument/2006/relationships" xmlns:p="http://schemas.openxmlformats.org/presentationml/2006/main">
  <p:tag name="THINKCELLSHAPEDONOTDELETE" val="tSzkmHeopRft46myjbvyiNg"/>
</p:tagLst>
</file>

<file path=ppt/tags/tag1809.xml><?xml version="1.0" encoding="utf-8"?>
<p:tagLst xmlns:a="http://schemas.openxmlformats.org/drawingml/2006/main" xmlns:r="http://schemas.openxmlformats.org/officeDocument/2006/relationships" xmlns:p="http://schemas.openxmlformats.org/presentationml/2006/main">
  <p:tag name="NAME" val="LineBasicStrong"/>
</p:tagLst>
</file>

<file path=ppt/tags/tag181.xml><?xml version="1.0" encoding="utf-8"?>
<p:tagLst xmlns:a="http://schemas.openxmlformats.org/drawingml/2006/main" xmlns:r="http://schemas.openxmlformats.org/officeDocument/2006/relationships" xmlns:p="http://schemas.openxmlformats.org/presentationml/2006/main">
  <p:tag name="SHAPENAME" val="5. Source"/>
</p:tagLst>
</file>

<file path=ppt/tags/tag1810.xml><?xml version="1.0" encoding="utf-8"?>
<p:tagLst xmlns:a="http://schemas.openxmlformats.org/drawingml/2006/main" xmlns:r="http://schemas.openxmlformats.org/officeDocument/2006/relationships" xmlns:p="http://schemas.openxmlformats.org/presentationml/2006/main">
  <p:tag name="1LEVEL" val="13"/>
  <p:tag name="2LEVEL" val="6.5"/>
  <p:tag name="3LEVEL" val="3.25"/>
  <p:tag name="4LEVEL" val="1.62"/>
  <p:tag name="5LEVEL" val="0.81"/>
</p:tagLst>
</file>

<file path=ppt/tags/tag1811.xml><?xml version="1.0" encoding="utf-8"?>
<p:tagLst xmlns:a="http://schemas.openxmlformats.org/drawingml/2006/main" xmlns:r="http://schemas.openxmlformats.org/officeDocument/2006/relationships" xmlns:p="http://schemas.openxmlformats.org/presentationml/2006/main">
  <p:tag name="NAME" val="CustomIcon"/>
</p:tagLst>
</file>

<file path=ppt/tags/tag1812.xml><?xml version="1.0" encoding="utf-8"?>
<p:tagLst xmlns:a="http://schemas.openxmlformats.org/drawingml/2006/main" xmlns:r="http://schemas.openxmlformats.org/officeDocument/2006/relationships" xmlns:p="http://schemas.openxmlformats.org/presentationml/2006/main">
  <p:tag name="NAME" val="4. Footnote"/>
</p:tagLst>
</file>

<file path=ppt/tags/tag1813.xml><?xml version="1.0" encoding="utf-8"?>
<p:tagLst xmlns:a="http://schemas.openxmlformats.org/drawingml/2006/main" xmlns:r="http://schemas.openxmlformats.org/officeDocument/2006/relationships" xmlns:p="http://schemas.openxmlformats.org/presentationml/2006/main">
  <p:tag name="NAME" val="5. Source"/>
</p:tagLst>
</file>

<file path=ppt/tags/tag1814.xml><?xml version="1.0" encoding="utf-8"?>
<p:tagLst xmlns:a="http://schemas.openxmlformats.org/drawingml/2006/main" xmlns:r="http://schemas.openxmlformats.org/officeDocument/2006/relationships" xmlns:p="http://schemas.openxmlformats.org/presentationml/2006/main">
  <p:tag name="NAME" val="LineBasicStrong"/>
</p:tagLst>
</file>

<file path=ppt/tags/tag1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8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9.xml><?xml version="1.0" encoding="utf-8"?>
<p:tagLst xmlns:a="http://schemas.openxmlformats.org/drawingml/2006/main" xmlns:r="http://schemas.openxmlformats.org/officeDocument/2006/relationships" xmlns:p="http://schemas.openxmlformats.org/presentationml/2006/main">
  <p:tag name="THINKCELLSHAPEDONOTDELETE" val="tRF2Aw_DdP5FKeP8VP2wbgA"/>
</p:tagLst>
</file>

<file path=ppt/tags/tag182.xml><?xml version="1.0" encoding="utf-8"?>
<p:tagLst xmlns:a="http://schemas.openxmlformats.org/drawingml/2006/main" xmlns:r="http://schemas.openxmlformats.org/officeDocument/2006/relationships" xmlns:p="http://schemas.openxmlformats.org/presentationml/2006/main">
  <p:tag name="INLINETEXTSHAPEGUID" val="b92a6250-2500-4859-a206-0f9f7bc46871"/>
</p:tagLst>
</file>

<file path=ppt/tags/tag1820.xml><?xml version="1.0" encoding="utf-8"?>
<p:tagLst xmlns:a="http://schemas.openxmlformats.org/drawingml/2006/main" xmlns:r="http://schemas.openxmlformats.org/officeDocument/2006/relationships" xmlns:p="http://schemas.openxmlformats.org/presentationml/2006/main">
  <p:tag name="THINKCELLSHAPEDONOTDELETE" val="tIdbPM0ItQFu0adgtK5wVbw"/>
</p:tagLst>
</file>

<file path=ppt/tags/tag1821.xml><?xml version="1.0" encoding="utf-8"?>
<p:tagLst xmlns:a="http://schemas.openxmlformats.org/drawingml/2006/main" xmlns:r="http://schemas.openxmlformats.org/officeDocument/2006/relationships" xmlns:p="http://schemas.openxmlformats.org/presentationml/2006/main">
  <p:tag name="THINKCELLSHAPEDONOTDELETE" val="tWQ7_K_ekZbos8.n83Vee.A"/>
</p:tagLst>
</file>

<file path=ppt/tags/tag1822.xml><?xml version="1.0" encoding="utf-8"?>
<p:tagLst xmlns:a="http://schemas.openxmlformats.org/drawingml/2006/main" xmlns:r="http://schemas.openxmlformats.org/officeDocument/2006/relationships" xmlns:p="http://schemas.openxmlformats.org/presentationml/2006/main">
  <p:tag name="THINKCELLSHAPEDONOTDELETE" val="tjitlBXLUt4OJIichM4oyVQ"/>
</p:tagLst>
</file>

<file path=ppt/tags/tag1823.xml><?xml version="1.0" encoding="utf-8"?>
<p:tagLst xmlns:a="http://schemas.openxmlformats.org/drawingml/2006/main" xmlns:r="http://schemas.openxmlformats.org/officeDocument/2006/relationships" xmlns:p="http://schemas.openxmlformats.org/presentationml/2006/main">
  <p:tag name="THINKCELLSHAPEDONOTDELETE" val="tnCV2yqfFzs8mkqRFuwYnZg"/>
</p:tagLst>
</file>

<file path=ppt/tags/tag1824.xml><?xml version="1.0" encoding="utf-8"?>
<p:tagLst xmlns:a="http://schemas.openxmlformats.org/drawingml/2006/main" xmlns:r="http://schemas.openxmlformats.org/officeDocument/2006/relationships" xmlns:p="http://schemas.openxmlformats.org/presentationml/2006/main">
  <p:tag name="THINKCELLSHAPEDONOTDELETE" val="tqaAq8_I6JKjr7Zf8o1cg3w"/>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trrm7.g30_7l_vj_qb5fuFg"/>
</p:tagLst>
</file>

<file path=ppt/tags/tag1826.xml><?xml version="1.0" encoding="utf-8"?>
<p:tagLst xmlns:a="http://schemas.openxmlformats.org/drawingml/2006/main" xmlns:r="http://schemas.openxmlformats.org/officeDocument/2006/relationships" xmlns:p="http://schemas.openxmlformats.org/presentationml/2006/main">
  <p:tag name="THINKCELLSHAPEDONOTDELETE" val="tw6BNsZx5xi.yZSsZEcJiVA"/>
</p:tagLst>
</file>

<file path=ppt/tags/tag182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2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2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3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3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3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834.xml><?xml version="1.0" encoding="utf-8"?>
<p:tagLst xmlns:a="http://schemas.openxmlformats.org/drawingml/2006/main" xmlns:r="http://schemas.openxmlformats.org/officeDocument/2006/relationships" xmlns:p="http://schemas.openxmlformats.org/presentationml/2006/main">
  <p:tag name="NAME" val="TrackerNumBlue"/>
</p:tagLst>
</file>

<file path=ppt/tags/tag1835.xml><?xml version="1.0" encoding="utf-8"?>
<p:tagLst xmlns:a="http://schemas.openxmlformats.org/drawingml/2006/main" xmlns:r="http://schemas.openxmlformats.org/officeDocument/2006/relationships" xmlns:p="http://schemas.openxmlformats.org/presentationml/2006/main">
  <p:tag name="NAME" val="TrackerNumBlue"/>
</p:tagLst>
</file>

<file path=ppt/tags/tag1836.xml><?xml version="1.0" encoding="utf-8"?>
<p:tagLst xmlns:a="http://schemas.openxmlformats.org/drawingml/2006/main" xmlns:r="http://schemas.openxmlformats.org/officeDocument/2006/relationships" xmlns:p="http://schemas.openxmlformats.org/presentationml/2006/main">
  <p:tag name="NAME" val="TrackerNumBlue"/>
</p:tagLst>
</file>

<file path=ppt/tags/tag1837.xml><?xml version="1.0" encoding="utf-8"?>
<p:tagLst xmlns:a="http://schemas.openxmlformats.org/drawingml/2006/main" xmlns:r="http://schemas.openxmlformats.org/officeDocument/2006/relationships" xmlns:p="http://schemas.openxmlformats.org/presentationml/2006/main">
  <p:tag name="NAME" val="TrackerNumBlue"/>
</p:tagLst>
</file>

<file path=ppt/tags/tag1838.xml><?xml version="1.0" encoding="utf-8"?>
<p:tagLst xmlns:a="http://schemas.openxmlformats.org/drawingml/2006/main" xmlns:r="http://schemas.openxmlformats.org/officeDocument/2006/relationships" xmlns:p="http://schemas.openxmlformats.org/presentationml/2006/main">
  <p:tag name="NAME" val="TrackerNumBlue"/>
</p:tagLst>
</file>

<file path=ppt/tags/tag1839.xml><?xml version="1.0" encoding="utf-8"?>
<p:tagLst xmlns:a="http://schemas.openxmlformats.org/drawingml/2006/main" xmlns:r="http://schemas.openxmlformats.org/officeDocument/2006/relationships" xmlns:p="http://schemas.openxmlformats.org/presentationml/2006/main">
  <p:tag name="NAME" val="TrackerNumBlu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840.xml><?xml version="1.0" encoding="utf-8"?>
<p:tagLst xmlns:a="http://schemas.openxmlformats.org/drawingml/2006/main" xmlns:r="http://schemas.openxmlformats.org/officeDocument/2006/relationships" xmlns:p="http://schemas.openxmlformats.org/presentationml/2006/main">
  <p:tag name="NAME" val="TrackerNumBlue"/>
</p:tagLst>
</file>

<file path=ppt/tags/tag1841.xml><?xml version="1.0" encoding="utf-8"?>
<p:tagLst xmlns:a="http://schemas.openxmlformats.org/drawingml/2006/main" xmlns:r="http://schemas.openxmlformats.org/officeDocument/2006/relationships" xmlns:p="http://schemas.openxmlformats.org/presentationml/2006/main">
  <p:tag name="NAME" val="TrackerNumBlue"/>
</p:tagLst>
</file>

<file path=ppt/tags/tag1842.xml><?xml version="1.0" encoding="utf-8"?>
<p:tagLst xmlns:a="http://schemas.openxmlformats.org/drawingml/2006/main" xmlns:r="http://schemas.openxmlformats.org/officeDocument/2006/relationships" xmlns:p="http://schemas.openxmlformats.org/presentationml/2006/main">
  <p:tag name="NAME" val="TrackerNumBlue"/>
</p:tagLst>
</file>

<file path=ppt/tags/tag1843.xml><?xml version="1.0" encoding="utf-8"?>
<p:tagLst xmlns:a="http://schemas.openxmlformats.org/drawingml/2006/main" xmlns:r="http://schemas.openxmlformats.org/officeDocument/2006/relationships" xmlns:p="http://schemas.openxmlformats.org/presentationml/2006/main">
  <p:tag name="NAME" val="TrackerNumBlue"/>
</p:tagLst>
</file>

<file path=ppt/tags/tag1844.xml><?xml version="1.0" encoding="utf-8"?>
<p:tagLst xmlns:a="http://schemas.openxmlformats.org/drawingml/2006/main" xmlns:r="http://schemas.openxmlformats.org/officeDocument/2006/relationships" xmlns:p="http://schemas.openxmlformats.org/presentationml/2006/main">
  <p:tag name="NAME" val="TrackerNumBlue"/>
</p:tagLst>
</file>

<file path=ppt/tags/tag1845.xml><?xml version="1.0" encoding="utf-8"?>
<p:tagLst xmlns:a="http://schemas.openxmlformats.org/drawingml/2006/main" xmlns:r="http://schemas.openxmlformats.org/officeDocument/2006/relationships" xmlns:p="http://schemas.openxmlformats.org/presentationml/2006/main">
  <p:tag name="NAME" val="TrackerNumBlue"/>
</p:tagLst>
</file>

<file path=ppt/tags/tag1846.xml><?xml version="1.0" encoding="utf-8"?>
<p:tagLst xmlns:a="http://schemas.openxmlformats.org/drawingml/2006/main" xmlns:r="http://schemas.openxmlformats.org/officeDocument/2006/relationships" xmlns:p="http://schemas.openxmlformats.org/presentationml/2006/main">
  <p:tag name="NAME" val="TrackerNumBlue"/>
</p:tagLst>
</file>

<file path=ppt/tags/tag1847.xml><?xml version="1.0" encoding="utf-8"?>
<p:tagLst xmlns:a="http://schemas.openxmlformats.org/drawingml/2006/main" xmlns:r="http://schemas.openxmlformats.org/officeDocument/2006/relationships" xmlns:p="http://schemas.openxmlformats.org/presentationml/2006/main">
  <p:tag name="NAME" val="TrackerNumBlue"/>
</p:tagLst>
</file>

<file path=ppt/tags/tag1848.xml><?xml version="1.0" encoding="utf-8"?>
<p:tagLst xmlns:a="http://schemas.openxmlformats.org/drawingml/2006/main" xmlns:r="http://schemas.openxmlformats.org/officeDocument/2006/relationships" xmlns:p="http://schemas.openxmlformats.org/presentationml/2006/main">
  <p:tag name="NAME" val="5. Source"/>
</p:tagLst>
</file>

<file path=ppt/tags/tag1849.xml><?xml version="1.0" encoding="utf-8"?>
<p:tagLst xmlns:a="http://schemas.openxmlformats.org/drawingml/2006/main" xmlns:r="http://schemas.openxmlformats.org/officeDocument/2006/relationships" xmlns:p="http://schemas.openxmlformats.org/presentationml/2006/main">
  <p:tag name="GUID" val="28b92287-a29a-4bd6-b30d-99fce990998e"/>
  <p:tag name="SLIDEID" val="2147475397"/>
</p:tagLst>
</file>

<file path=ppt/tags/tag1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2.xml><?xml version="1.0" encoding="utf-8"?>
<p:tagLst xmlns:a="http://schemas.openxmlformats.org/drawingml/2006/main" xmlns:r="http://schemas.openxmlformats.org/officeDocument/2006/relationships" xmlns:p="http://schemas.openxmlformats.org/presentationml/2006/main">
  <p:tag name="NAME" val="4. Footnote"/>
</p:tagLst>
</file>

<file path=ppt/tags/tag1853.xml><?xml version="1.0" encoding="utf-8"?>
<p:tagLst xmlns:a="http://schemas.openxmlformats.org/drawingml/2006/main" xmlns:r="http://schemas.openxmlformats.org/officeDocument/2006/relationships" xmlns:p="http://schemas.openxmlformats.org/presentationml/2006/main">
  <p:tag name="NAME" val="5. Source"/>
</p:tagLst>
</file>

<file path=ppt/tags/tag1854.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1855.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1856.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1857.xml><?xml version="1.0" encoding="utf-8"?>
<p:tagLst xmlns:a="http://schemas.openxmlformats.org/drawingml/2006/main" xmlns:r="http://schemas.openxmlformats.org/officeDocument/2006/relationships" xmlns:p="http://schemas.openxmlformats.org/presentationml/2006/main">
  <p:tag name="SYMBOLNAME" val="StatusGauge"/>
  <p:tag name="NAME" val="StatusGauge"/>
</p:tagLst>
</file>

<file path=ppt/tags/tag1858.xml><?xml version="1.0" encoding="utf-8"?>
<p:tagLst xmlns:a="http://schemas.openxmlformats.org/drawingml/2006/main" xmlns:r="http://schemas.openxmlformats.org/officeDocument/2006/relationships" xmlns:p="http://schemas.openxmlformats.org/presentationml/2006/main">
  <p:tag name="SYMBOLNAME" val="StatusGauge"/>
  <p:tag name="NAME" val="StatusGauge"/>
</p:tagLst>
</file>

<file path=ppt/tags/tag1859.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1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61.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1862.xml><?xml version="1.0" encoding="utf-8"?>
<p:tagLst xmlns:a="http://schemas.openxmlformats.org/drawingml/2006/main" xmlns:r="http://schemas.openxmlformats.org/officeDocument/2006/relationships" xmlns:p="http://schemas.openxmlformats.org/presentationml/2006/main">
  <p:tag name="SYMBOLNAME" val="StatusGauge"/>
  <p:tag name="NAME" val="StatusGauge"/>
</p:tagLst>
</file>

<file path=ppt/tags/tag1863.xml><?xml version="1.0" encoding="utf-8"?>
<p:tagLst xmlns:a="http://schemas.openxmlformats.org/drawingml/2006/main" xmlns:r="http://schemas.openxmlformats.org/officeDocument/2006/relationships" xmlns:p="http://schemas.openxmlformats.org/presentationml/2006/main">
  <p:tag name="SYMBOLNAME" val="StatusGauge"/>
  <p:tag name="NAME" val="StatusGauge"/>
</p:tagLst>
</file>

<file path=ppt/tags/tag1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5.xml><?xml version="1.0" encoding="utf-8"?>
<p:tagLst xmlns:a="http://schemas.openxmlformats.org/drawingml/2006/main" xmlns:r="http://schemas.openxmlformats.org/officeDocument/2006/relationships" xmlns:p="http://schemas.openxmlformats.org/presentationml/2006/main">
  <p:tag name="NAME" val="5. Source"/>
</p:tagLst>
</file>

<file path=ppt/tags/tag1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7.xml><?xml version="1.0" encoding="utf-8"?>
<p:tagLst xmlns:a="http://schemas.openxmlformats.org/drawingml/2006/main" xmlns:r="http://schemas.openxmlformats.org/officeDocument/2006/relationships" xmlns:p="http://schemas.openxmlformats.org/presentationml/2006/main">
  <p:tag name="NAME" val="BigStat"/>
  <p:tag name="1LEVEL" val="0"/>
  <p:tag name="2LEVEL" val="0"/>
  <p:tag name="3LEVEL" val="0"/>
  <p:tag name="4LEVEL" val="0"/>
  <p:tag name="5LEVEL" val="0"/>
</p:tagLst>
</file>

<file path=ppt/tags/tag1868.xml><?xml version="1.0" encoding="utf-8"?>
<p:tagLst xmlns:a="http://schemas.openxmlformats.org/drawingml/2006/main" xmlns:r="http://schemas.openxmlformats.org/officeDocument/2006/relationships" xmlns:p="http://schemas.openxmlformats.org/presentationml/2006/main">
  <p:tag name="NAME" val="BigStat"/>
  <p:tag name="1LEVEL" val="0"/>
  <p:tag name="2LEVEL" val="0"/>
  <p:tag name="3LEVEL" val="0"/>
  <p:tag name="4LEVEL" val="0"/>
  <p:tag name="5LEVEL" val="0"/>
</p:tagLst>
</file>

<file path=ppt/tags/tag1869.xml><?xml version="1.0" encoding="utf-8"?>
<p:tagLst xmlns:a="http://schemas.openxmlformats.org/drawingml/2006/main" xmlns:r="http://schemas.openxmlformats.org/officeDocument/2006/relationships" xmlns:p="http://schemas.openxmlformats.org/presentationml/2006/main">
  <p:tag name="NAME" val="BigStat"/>
  <p:tag name="1LEVEL" val="0"/>
  <p:tag name="2LEVEL" val="0"/>
  <p:tag name="3LEVEL" val="0"/>
  <p:tag name="4LEVEL" val="0"/>
  <p:tag name="5LEVEL" val="0"/>
</p:tagLst>
</file>

<file path=ppt/tags/tag1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72.xml><?xml version="1.0" encoding="utf-8"?>
<p:tagLst xmlns:a="http://schemas.openxmlformats.org/drawingml/2006/main" xmlns:r="http://schemas.openxmlformats.org/officeDocument/2006/relationships" xmlns:p="http://schemas.openxmlformats.org/presentationml/2006/main">
  <p:tag name="NAME" val="Flow"/>
</p:tagLst>
</file>

<file path=ppt/tags/tag1873.xml><?xml version="1.0" encoding="utf-8"?>
<p:tagLst xmlns:a="http://schemas.openxmlformats.org/drawingml/2006/main" xmlns:r="http://schemas.openxmlformats.org/officeDocument/2006/relationships" xmlns:p="http://schemas.openxmlformats.org/presentationml/2006/main">
  <p:tag name="NAME" val="SingleBoatShape"/>
</p:tagLst>
</file>

<file path=ppt/tags/tag1874.xml><?xml version="1.0" encoding="utf-8"?>
<p:tagLst xmlns:a="http://schemas.openxmlformats.org/drawingml/2006/main" xmlns:r="http://schemas.openxmlformats.org/officeDocument/2006/relationships" xmlns:p="http://schemas.openxmlformats.org/presentationml/2006/main">
  <p:tag name="NAME" val="SingleBoatText"/>
</p:tagLst>
</file>

<file path=ppt/tags/tag1875.xml><?xml version="1.0" encoding="utf-8"?>
<p:tagLst xmlns:a="http://schemas.openxmlformats.org/drawingml/2006/main" xmlns:r="http://schemas.openxmlformats.org/officeDocument/2006/relationships" xmlns:p="http://schemas.openxmlformats.org/presentationml/2006/main">
  <p:tag name="NAME" val="SingleBoatShape"/>
</p:tagLst>
</file>

<file path=ppt/tags/tag1876.xml><?xml version="1.0" encoding="utf-8"?>
<p:tagLst xmlns:a="http://schemas.openxmlformats.org/drawingml/2006/main" xmlns:r="http://schemas.openxmlformats.org/officeDocument/2006/relationships" xmlns:p="http://schemas.openxmlformats.org/presentationml/2006/main">
  <p:tag name="NAME" val="SingleBoatText"/>
</p:tagLst>
</file>

<file path=ppt/tags/tag1877.xml><?xml version="1.0" encoding="utf-8"?>
<p:tagLst xmlns:a="http://schemas.openxmlformats.org/drawingml/2006/main" xmlns:r="http://schemas.openxmlformats.org/officeDocument/2006/relationships" xmlns:p="http://schemas.openxmlformats.org/presentationml/2006/main">
  <p:tag name="NAME" val="Flow"/>
</p:tagLst>
</file>

<file path=ppt/tags/tag1878.xml><?xml version="1.0" encoding="utf-8"?>
<p:tagLst xmlns:a="http://schemas.openxmlformats.org/drawingml/2006/main" xmlns:r="http://schemas.openxmlformats.org/officeDocument/2006/relationships" xmlns:p="http://schemas.openxmlformats.org/presentationml/2006/main">
  <p:tag name="NAME" val="4. Footnote"/>
</p:tagLst>
</file>

<file path=ppt/tags/tag1879.xml><?xml version="1.0" encoding="utf-8"?>
<p:tagLst xmlns:a="http://schemas.openxmlformats.org/drawingml/2006/main" xmlns:r="http://schemas.openxmlformats.org/officeDocument/2006/relationships" xmlns:p="http://schemas.openxmlformats.org/presentationml/2006/main">
  <p:tag name="SHAPENAME" val="5. Source"/>
</p:tagLst>
</file>

<file path=ppt/tags/tag1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0.xml><?xml version="1.0" encoding="utf-8"?>
<p:tagLst xmlns:a="http://schemas.openxmlformats.org/drawingml/2006/main" xmlns:r="http://schemas.openxmlformats.org/officeDocument/2006/relationships" xmlns:p="http://schemas.openxmlformats.org/presentationml/2006/main">
  <p:tag name="NAME" val="SingleBoatShape"/>
</p:tagLst>
</file>

<file path=ppt/tags/tag1881.xml><?xml version="1.0" encoding="utf-8"?>
<p:tagLst xmlns:a="http://schemas.openxmlformats.org/drawingml/2006/main" xmlns:r="http://schemas.openxmlformats.org/officeDocument/2006/relationships" xmlns:p="http://schemas.openxmlformats.org/presentationml/2006/main">
  <p:tag name="NAME" val="SingleBoatText"/>
</p:tagLst>
</file>

<file path=ppt/tags/tag1882.xml><?xml version="1.0" encoding="utf-8"?>
<p:tagLst xmlns:a="http://schemas.openxmlformats.org/drawingml/2006/main" xmlns:r="http://schemas.openxmlformats.org/officeDocument/2006/relationships" xmlns:p="http://schemas.openxmlformats.org/presentationml/2006/main">
  <p:tag name="NAME" val="SingleBoatShape"/>
</p:tagLst>
</file>

<file path=ppt/tags/tag1883.xml><?xml version="1.0" encoding="utf-8"?>
<p:tagLst xmlns:a="http://schemas.openxmlformats.org/drawingml/2006/main" xmlns:r="http://schemas.openxmlformats.org/officeDocument/2006/relationships" xmlns:p="http://schemas.openxmlformats.org/presentationml/2006/main">
  <p:tag name="NAME" val="SingleBoatText"/>
</p:tagLst>
</file>

<file path=ppt/tags/tag1884.xml><?xml version="1.0" encoding="utf-8"?>
<p:tagLst xmlns:a="http://schemas.openxmlformats.org/drawingml/2006/main" xmlns:r="http://schemas.openxmlformats.org/officeDocument/2006/relationships" xmlns:p="http://schemas.openxmlformats.org/presentationml/2006/main">
  <p:tag name="NAME" val="SingleBoatShape"/>
</p:tagLst>
</file>

<file path=ppt/tags/tag1885.xml><?xml version="1.0" encoding="utf-8"?>
<p:tagLst xmlns:a="http://schemas.openxmlformats.org/drawingml/2006/main" xmlns:r="http://schemas.openxmlformats.org/officeDocument/2006/relationships" xmlns:p="http://schemas.openxmlformats.org/presentationml/2006/main">
  <p:tag name="NAME" val="SingleBoatText"/>
</p:tagLst>
</file>

<file path=ppt/tags/tag1886.xml><?xml version="1.0" encoding="utf-8"?>
<p:tagLst xmlns:a="http://schemas.openxmlformats.org/drawingml/2006/main" xmlns:r="http://schemas.openxmlformats.org/officeDocument/2006/relationships" xmlns:p="http://schemas.openxmlformats.org/presentationml/2006/main">
  <p:tag name="NAME" val="SingleBoatShape"/>
</p:tagLst>
</file>

<file path=ppt/tags/tag1887.xml><?xml version="1.0" encoding="utf-8"?>
<p:tagLst xmlns:a="http://schemas.openxmlformats.org/drawingml/2006/main" xmlns:r="http://schemas.openxmlformats.org/officeDocument/2006/relationships" xmlns:p="http://schemas.openxmlformats.org/presentationml/2006/main">
  <p:tag name="NAME" val="SingleBoatText"/>
</p:tagLst>
</file>

<file path=ppt/tags/tag188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889.xml><?xml version="1.0" encoding="utf-8"?>
<p:tagLst xmlns:a="http://schemas.openxmlformats.org/drawingml/2006/main" xmlns:r="http://schemas.openxmlformats.org/officeDocument/2006/relationships" xmlns:p="http://schemas.openxmlformats.org/presentationml/2006/main">
  <p:tag name="NAME" val="SingleBoatText"/>
</p:tagLst>
</file>

<file path=ppt/tags/tag1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90.xml><?xml version="1.0" encoding="utf-8"?>
<p:tagLst xmlns:a="http://schemas.openxmlformats.org/drawingml/2006/main" xmlns:r="http://schemas.openxmlformats.org/officeDocument/2006/relationships" xmlns:p="http://schemas.openxmlformats.org/presentationml/2006/main">
  <p:tag name="NAME" val="SingleBoatShape"/>
</p:tagLst>
</file>

<file path=ppt/tags/tag1891.xml><?xml version="1.0" encoding="utf-8"?>
<p:tagLst xmlns:a="http://schemas.openxmlformats.org/drawingml/2006/main" xmlns:r="http://schemas.openxmlformats.org/officeDocument/2006/relationships" xmlns:p="http://schemas.openxmlformats.org/presentationml/2006/main">
  <p:tag name="NAME" val="SingleBoatText"/>
</p:tagLst>
</file>

<file path=ppt/tags/tag1892.xml><?xml version="1.0" encoding="utf-8"?>
<p:tagLst xmlns:a="http://schemas.openxmlformats.org/drawingml/2006/main" xmlns:r="http://schemas.openxmlformats.org/officeDocument/2006/relationships" xmlns:p="http://schemas.openxmlformats.org/presentationml/2006/main">
  <p:tag name="NAME" val="SingleBoatShape"/>
</p:tagLst>
</file>

<file path=ppt/tags/tag1893.xml><?xml version="1.0" encoding="utf-8"?>
<p:tagLst xmlns:a="http://schemas.openxmlformats.org/drawingml/2006/main" xmlns:r="http://schemas.openxmlformats.org/officeDocument/2006/relationships" xmlns:p="http://schemas.openxmlformats.org/presentationml/2006/main">
  <p:tag name="NAME" val="SingleBoatText"/>
</p:tagLst>
</file>

<file path=ppt/tags/tag18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5.xml><?xml version="1.0" encoding="utf-8"?>
<p:tagLst xmlns:a="http://schemas.openxmlformats.org/drawingml/2006/main" xmlns:r="http://schemas.openxmlformats.org/officeDocument/2006/relationships" xmlns:p="http://schemas.openxmlformats.org/presentationml/2006/main">
  <p:tag name="APLORISLIBID" val="L0e9029d1-2240-49be-8d1c-efeecf783165.1.u64hnA=="/>
  <p:tag name="APLORISLIBHASH" val="1.162_rtk+cpv4J6PZlCqzcbl3KhafNuk="/>
</p:tagLst>
</file>

<file path=ppt/tags/tag18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7.xml><?xml version="1.0" encoding="utf-8"?>
<p:tagLst xmlns:a="http://schemas.openxmlformats.org/drawingml/2006/main" xmlns:r="http://schemas.openxmlformats.org/officeDocument/2006/relationships" xmlns:p="http://schemas.openxmlformats.org/presentationml/2006/main">
  <p:tag name="NAME" val="CustomIcon"/>
</p:tagLst>
</file>

<file path=ppt/tags/tag1898.xml><?xml version="1.0" encoding="utf-8"?>
<p:tagLst xmlns:a="http://schemas.openxmlformats.org/drawingml/2006/main" xmlns:r="http://schemas.openxmlformats.org/officeDocument/2006/relationships" xmlns:p="http://schemas.openxmlformats.org/presentationml/2006/main">
  <p:tag name="NAME" val="CustomIcon"/>
</p:tagLst>
</file>

<file path=ppt/tags/tag1899.xml><?xml version="1.0" encoding="utf-8"?>
<p:tagLst xmlns:a="http://schemas.openxmlformats.org/drawingml/2006/main" xmlns:r="http://schemas.openxmlformats.org/officeDocument/2006/relationships" xmlns:p="http://schemas.openxmlformats.org/presentationml/2006/main">
  <p:tag name="NAME" val="CustomIcon"/>
</p:tagLst>
</file>

<file path=ppt/tags/tag19.xml><?xml version="1.0" encoding="utf-8"?>
<p:tagLst xmlns:a="http://schemas.openxmlformats.org/drawingml/2006/main" xmlns:r="http://schemas.openxmlformats.org/officeDocument/2006/relationships" xmlns:p="http://schemas.openxmlformats.org/presentationml/2006/main">
  <p:tag name="SHAPENAME" val="5. Source"/>
</p:tagLst>
</file>

<file path=ppt/tags/tag190.xml><?xml version="1.0" encoding="utf-8"?>
<p:tagLst xmlns:a="http://schemas.openxmlformats.org/drawingml/2006/main" xmlns:r="http://schemas.openxmlformats.org/officeDocument/2006/relationships" xmlns:p="http://schemas.openxmlformats.org/presentationml/2006/main">
  <p:tag name="SHAPENAME" val="5. Source"/>
</p:tagLst>
</file>

<file path=ppt/tags/tag1900.xml><?xml version="1.0" encoding="utf-8"?>
<p:tagLst xmlns:a="http://schemas.openxmlformats.org/drawingml/2006/main" xmlns:r="http://schemas.openxmlformats.org/officeDocument/2006/relationships" xmlns:p="http://schemas.openxmlformats.org/presentationml/2006/main">
  <p:tag name="NAME" val="CustomIcon"/>
</p:tagLst>
</file>

<file path=ppt/tags/tag1901.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1902.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9.727638"/>
  <p:tag name="HEIGHT" val="8.353543"/>
</p:tagLst>
</file>

<file path=ppt/tags/tag1903.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9.727638"/>
  <p:tag name="HEIGHT" val="8.353543"/>
</p:tagLst>
</file>

<file path=ppt/tags/tag1904.xml><?xml version="1.0" encoding="utf-8"?>
<p:tagLst xmlns:a="http://schemas.openxmlformats.org/drawingml/2006/main" xmlns:r="http://schemas.openxmlformats.org/officeDocument/2006/relationships" xmlns:p="http://schemas.openxmlformats.org/presentationml/2006/main">
  <p:tag name="NAME" val="CustomIcon"/>
</p:tagLst>
</file>

<file path=ppt/tags/tag1905.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9.727638"/>
  <p:tag name="HEIGHT" val="8.353543"/>
</p:tagLst>
</file>

<file path=ppt/tags/tag1906.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57.5"/>
  <p:tag name="TOP" val="9.727638"/>
  <p:tag name="HEIGHT" val="8.353543"/>
</p:tagLst>
</file>

<file path=ppt/tags/tag1907.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9.727638"/>
  <p:tag name="HEIGHT" val="8.353543"/>
</p:tagLst>
</file>

<file path=ppt/tags/tag1908.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9.727638"/>
  <p:tag name="HEIGHT" val="8.353543"/>
</p:tagLst>
</file>

<file path=ppt/tags/tag1909.xml><?xml version="1.0" encoding="utf-8"?>
<p:tagLst xmlns:a="http://schemas.openxmlformats.org/drawingml/2006/main" xmlns:r="http://schemas.openxmlformats.org/officeDocument/2006/relationships" xmlns:p="http://schemas.openxmlformats.org/presentationml/2006/main">
  <p:tag name="NAME" val="CustomIcon"/>
</p:tagLst>
</file>

<file path=ppt/tags/tag191.xml><?xml version="1.0" encoding="utf-8"?>
<p:tagLst xmlns:a="http://schemas.openxmlformats.org/drawingml/2006/main" xmlns:r="http://schemas.openxmlformats.org/officeDocument/2006/relationships" xmlns:p="http://schemas.openxmlformats.org/presentationml/2006/main">
  <p:tag name="INLINETEXTSHAPEGUID" val="b92a6250-2500-4859-a206-0f9f7bc46871"/>
</p:tagLst>
</file>

<file path=ppt/tags/tag1910.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95"/>
  <p:tag name="TOP" val="9.727638"/>
  <p:tag name="HEIGHT" val="8.353543"/>
</p:tagLst>
</file>

<file path=ppt/tags/tag1911.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9.727638"/>
  <p:tag name="HEIGHT" val="8.353543"/>
</p:tagLst>
</file>

<file path=ppt/tags/tag1912.xml><?xml version="1.0" encoding="utf-8"?>
<p:tagLst xmlns:a="http://schemas.openxmlformats.org/drawingml/2006/main" xmlns:r="http://schemas.openxmlformats.org/officeDocument/2006/relationships" xmlns:p="http://schemas.openxmlformats.org/presentationml/2006/main">
  <p:tag name="NAME" val="CustomIcon"/>
</p:tagLst>
</file>

<file path=ppt/tags/tag1913.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9.727638"/>
  <p:tag name="HEIGHT" val="8.353543"/>
</p:tagLst>
</file>

<file path=ppt/tags/tag1914.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94.78833"/>
  <p:tag name="HEIGHT" val="8.353543"/>
</p:tagLst>
</file>

<file path=ppt/tags/tag1915.xml><?xml version="1.0" encoding="utf-8"?>
<p:tagLst xmlns:a="http://schemas.openxmlformats.org/drawingml/2006/main" xmlns:r="http://schemas.openxmlformats.org/officeDocument/2006/relationships" xmlns:p="http://schemas.openxmlformats.org/presentationml/2006/main">
  <p:tag name="NAME" val="TrackerNumBlue"/>
</p:tagLst>
</file>

<file path=ppt/tags/tag1916.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9.727638"/>
  <p:tag name="HEIGHT" val="8.353543"/>
</p:tagLst>
</file>

<file path=ppt/tags/tag1917.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9.727638"/>
  <p:tag name="HEIGHT" val="8.353543"/>
</p:tagLst>
</file>

<file path=ppt/tags/tag1918.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9.727638"/>
  <p:tag name="HEIGHT" val="8.353543"/>
</p:tagLst>
</file>

<file path=ppt/tags/tag1919.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9.727638"/>
  <p:tag name="HEIGHT" val="8.353543"/>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0.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9.727638"/>
  <p:tag name="HEIGHT" val="8.353543"/>
</p:tagLst>
</file>

<file path=ppt/tags/tag1921.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9.727638"/>
  <p:tag name="HEIGHT" val="8.353543"/>
</p:tagLst>
</file>

<file path=ppt/tags/tag1922.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66.43477"/>
  <p:tag name="HEIGHT" val="8.353543"/>
</p:tagLst>
</file>

<file path=ppt/tags/tag1923.xml><?xml version="1.0" encoding="utf-8"?>
<p:tagLst xmlns:a="http://schemas.openxmlformats.org/drawingml/2006/main" xmlns:r="http://schemas.openxmlformats.org/officeDocument/2006/relationships" xmlns:p="http://schemas.openxmlformats.org/presentationml/2006/main">
  <p:tag name="NAME" val="TrackerNumBlue"/>
</p:tagLst>
</file>

<file path=ppt/tags/tag1924.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9.727638"/>
  <p:tag name="HEIGHT" val="8.353543"/>
</p:tagLst>
</file>

<file path=ppt/tags/tag1925.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9.727638"/>
  <p:tag name="HEIGHT" val="8.353543"/>
</p:tagLst>
</file>

<file path=ppt/tags/tag1926.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9.727638"/>
  <p:tag name="HEIGHT" val="8.353543"/>
</p:tagLst>
</file>

<file path=ppt/tags/tag1927.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9.727638"/>
  <p:tag name="HEIGHT" val="8.353543"/>
</p:tagLst>
</file>

<file path=ppt/tags/tag1928.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9.727638"/>
  <p:tag name="HEIGHT" val="8.353543"/>
</p:tagLst>
</file>

<file path=ppt/tags/tag1929.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9.727638"/>
  <p:tag name="HEIGHT" val="8.353543"/>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930.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38.0812"/>
  <p:tag name="HEIGHT" val="8.353543"/>
</p:tagLst>
</file>

<file path=ppt/tags/tag1931.xml><?xml version="1.0" encoding="utf-8"?>
<p:tagLst xmlns:a="http://schemas.openxmlformats.org/drawingml/2006/main" xmlns:r="http://schemas.openxmlformats.org/officeDocument/2006/relationships" xmlns:p="http://schemas.openxmlformats.org/presentationml/2006/main">
  <p:tag name="NAME" val="TrackerNumBlue"/>
</p:tagLst>
</file>

<file path=ppt/tags/tag1932.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9.727638"/>
  <p:tag name="HEIGHT" val="8.353543"/>
</p:tagLst>
</file>

<file path=ppt/tags/tag1933.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9.727638"/>
  <p:tag name="HEIGHT" val="8.353543"/>
</p:tagLst>
</file>

<file path=ppt/tags/tag1934.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9.727638"/>
  <p:tag name="HEIGHT" val="8.353543"/>
</p:tagLst>
</file>

<file path=ppt/tags/tag1935.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9.727638"/>
  <p:tag name="HEIGHT" val="8.353543"/>
</p:tagLst>
</file>

<file path=ppt/tags/tag1936.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9.727638"/>
  <p:tag name="HEIGHT" val="8.353543"/>
</p:tagLst>
</file>

<file path=ppt/tags/tag1937.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9.727638"/>
  <p:tag name="HEIGHT" val="8.353543"/>
</p:tagLst>
</file>

<file path=ppt/tags/tag1938.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38.0812"/>
  <p:tag name="HEIGHT" val="8.353543"/>
</p:tagLst>
</file>

<file path=ppt/tags/tag1939.xml><?xml version="1.0" encoding="utf-8"?>
<p:tagLst xmlns:a="http://schemas.openxmlformats.org/drawingml/2006/main" xmlns:r="http://schemas.openxmlformats.org/officeDocument/2006/relationships" xmlns:p="http://schemas.openxmlformats.org/presentationml/2006/main">
  <p:tag name="NAME" val="TrackerNumBlue"/>
</p:tagLst>
</file>

<file path=ppt/tags/tag1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40.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9.727638"/>
  <p:tag name="HEIGHT" val="8.353543"/>
</p:tagLst>
</file>

<file path=ppt/tags/tag1941.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9.727638"/>
  <p:tag name="HEIGHT" val="8.353543"/>
</p:tagLst>
</file>

<file path=ppt/tags/tag1942.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9.727638"/>
  <p:tag name="HEIGHT" val="8.353543"/>
</p:tagLst>
</file>

<file path=ppt/tags/tag1943.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9.727638"/>
  <p:tag name="HEIGHT" val="8.353543"/>
</p:tagLst>
</file>

<file path=ppt/tags/tag1944.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9.727638"/>
  <p:tag name="HEIGHT" val="8.353543"/>
</p:tagLst>
</file>

<file path=ppt/tags/tag1945.xml><?xml version="1.0" encoding="utf-8"?>
<p:tagLst xmlns:a="http://schemas.openxmlformats.org/drawingml/2006/main" xmlns:r="http://schemas.openxmlformats.org/officeDocument/2006/relationships" xmlns:p="http://schemas.openxmlformats.org/presentationml/2006/main">
  <p:tag name="WIDTH" val="17.5"/>
  <p:tag name="MTTABLE" val="Cell"/>
  <p:tag name="MTNUMBER" val="0.119239237215016"/>
  <p:tag name="LEFT" val="820"/>
  <p:tag name="TOP" val="9.727638"/>
  <p:tag name="HEIGHT" val="8.353543"/>
</p:tagLst>
</file>

<file path=ppt/tags/tag1946.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1947.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1948.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1949.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50.xml><?xml version="1.0" encoding="utf-8"?>
<p:tagLst xmlns:a="http://schemas.openxmlformats.org/drawingml/2006/main" xmlns:r="http://schemas.openxmlformats.org/officeDocument/2006/relationships" xmlns:p="http://schemas.openxmlformats.org/presentationml/2006/main">
  <p:tag name="NAME" val="TrackerAlphaBlue"/>
</p:tagLst>
</file>

<file path=ppt/tags/tag1951.xml><?xml version="1.0" encoding="utf-8"?>
<p:tagLst xmlns:a="http://schemas.openxmlformats.org/drawingml/2006/main" xmlns:r="http://schemas.openxmlformats.org/officeDocument/2006/relationships" xmlns:p="http://schemas.openxmlformats.org/presentationml/2006/main">
  <p:tag name="NAME" val="LineSeparatorStrong"/>
</p:tagLst>
</file>

<file path=ppt/tags/tag1952.xml><?xml version="1.0" encoding="utf-8"?>
<p:tagLst xmlns:a="http://schemas.openxmlformats.org/drawingml/2006/main" xmlns:r="http://schemas.openxmlformats.org/officeDocument/2006/relationships" xmlns:p="http://schemas.openxmlformats.org/presentationml/2006/main">
  <p:tag name="NAME" val="LineSeparatorStrong"/>
</p:tagLst>
</file>

<file path=ppt/tags/tag19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0.xml><?xml version="1.0" encoding="utf-8"?>
<p:tagLst xmlns:a="http://schemas.openxmlformats.org/drawingml/2006/main" xmlns:r="http://schemas.openxmlformats.org/officeDocument/2006/relationships" xmlns:p="http://schemas.openxmlformats.org/presentationml/2006/main">
  <p:tag name="INLINETEXTSHAPEGUID" val="b92a6250-2500-4859-a206-0f9f7bc46871"/>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8.xml><?xml version="1.0" encoding="utf-8"?>
<p:tagLst xmlns:a="http://schemas.openxmlformats.org/drawingml/2006/main" xmlns:r="http://schemas.openxmlformats.org/officeDocument/2006/relationships" xmlns:p="http://schemas.openxmlformats.org/presentationml/2006/main">
  <p:tag name="SHAPENAME" val="5. Source"/>
</p:tagLst>
</file>

<file path=ppt/tags/tag209.xml><?xml version="1.0" encoding="utf-8"?>
<p:tagLst xmlns:a="http://schemas.openxmlformats.org/drawingml/2006/main" xmlns:r="http://schemas.openxmlformats.org/officeDocument/2006/relationships" xmlns:p="http://schemas.openxmlformats.org/presentationml/2006/main">
  <p:tag name="INLINETEXTSHAPEGUID" val="b92a6250-2500-4859-a206-0f9f7bc4687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7.xml><?xml version="1.0" encoding="utf-8"?>
<p:tagLst xmlns:a="http://schemas.openxmlformats.org/drawingml/2006/main" xmlns:r="http://schemas.openxmlformats.org/officeDocument/2006/relationships" xmlns:p="http://schemas.openxmlformats.org/presentationml/2006/main">
  <p:tag name="SHAPENAME" val="5. Source"/>
</p:tagLst>
</file>

<file path=ppt/tags/tag218.xml><?xml version="1.0" encoding="utf-8"?>
<p:tagLst xmlns:a="http://schemas.openxmlformats.org/drawingml/2006/main" xmlns:r="http://schemas.openxmlformats.org/officeDocument/2006/relationships" xmlns:p="http://schemas.openxmlformats.org/presentationml/2006/main">
  <p:tag name="INLINETEXTSHAPEGUID" val="b92a6250-2500-4859-a206-0f9f7bc46871"/>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2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6.xml><?xml version="1.0" encoding="utf-8"?>
<p:tagLst xmlns:a="http://schemas.openxmlformats.org/drawingml/2006/main" xmlns:r="http://schemas.openxmlformats.org/officeDocument/2006/relationships" xmlns:p="http://schemas.openxmlformats.org/presentationml/2006/main">
  <p:tag name="SHAPENAME" val="5. Source"/>
</p:tagLst>
</file>

<file path=ppt/tags/tag227.xml><?xml version="1.0" encoding="utf-8"?>
<p:tagLst xmlns:a="http://schemas.openxmlformats.org/drawingml/2006/main" xmlns:r="http://schemas.openxmlformats.org/officeDocument/2006/relationships" xmlns:p="http://schemas.openxmlformats.org/presentationml/2006/main">
  <p:tag name="INLINETEXTSHAPEGUID" val="b92a6250-2500-4859-a206-0f9f7bc46871"/>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3.xml><?xml version="1.0" encoding="utf-8"?>
<p:tagLst xmlns:a="http://schemas.openxmlformats.org/drawingml/2006/main" xmlns:r="http://schemas.openxmlformats.org/officeDocument/2006/relationships" xmlns:p="http://schemas.openxmlformats.org/presentationml/2006/main">
  <p:tag name="SHAPENAME" val="4. Footnote"/>
</p:tagLst>
</file>

<file path=ppt/tags/tag2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3.xml><?xml version="1.0" encoding="utf-8"?>
<p:tagLst xmlns:a="http://schemas.openxmlformats.org/drawingml/2006/main" xmlns:r="http://schemas.openxmlformats.org/officeDocument/2006/relationships" xmlns:p="http://schemas.openxmlformats.org/presentationml/2006/main">
  <p:tag name="SHAPENAME" val="5. Source"/>
</p:tagLst>
</file>

<file path=ppt/tags/tag234.xml><?xml version="1.0" encoding="utf-8"?>
<p:tagLst xmlns:a="http://schemas.openxmlformats.org/drawingml/2006/main" xmlns:r="http://schemas.openxmlformats.org/officeDocument/2006/relationships" xmlns:p="http://schemas.openxmlformats.org/presentationml/2006/main">
  <p:tag name="INLINETEXTSHAPEGUID" val="b92a6250-2500-4859-a206-0f9f7bc46871"/>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8.xml><?xml version="1.0" encoding="utf-8"?>
<p:tagLst xmlns:a="http://schemas.openxmlformats.org/drawingml/2006/main" xmlns:r="http://schemas.openxmlformats.org/officeDocument/2006/relationships" xmlns:p="http://schemas.openxmlformats.org/presentationml/2006/main">
  <p:tag name="SHAPENAME" val="5. Source"/>
</p:tagLst>
</file>

<file path=ppt/tags/tag239.xml><?xml version="1.0" encoding="utf-8"?>
<p:tagLst xmlns:a="http://schemas.openxmlformats.org/drawingml/2006/main" xmlns:r="http://schemas.openxmlformats.org/officeDocument/2006/relationships" xmlns:p="http://schemas.openxmlformats.org/presentationml/2006/main">
  <p:tag name="INLINETEXTSHAPEGUID" val="b92a6250-2500-4859-a206-0f9f7bc46871"/>
</p:tagLst>
</file>

<file path=ppt/tags/tag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SHAPENAME" val="5. Source"/>
</p:tagLst>
</file>

<file path=ppt/tags/tag242.xml><?xml version="1.0" encoding="utf-8"?>
<p:tagLst xmlns:a="http://schemas.openxmlformats.org/drawingml/2006/main" xmlns:r="http://schemas.openxmlformats.org/officeDocument/2006/relationships" xmlns:p="http://schemas.openxmlformats.org/presentationml/2006/main">
  <p:tag name="INLINETEXTSHAPEGUID" val="b92a6250-2500-4859-a206-0f9f7bc46871"/>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INLINETEXTSHAPEGUID" val="b92a6250-2500-4859-a206-0f9f7bc46871"/>
</p:tagLst>
</file>

<file path=ppt/tags/tag245.xml><?xml version="1.0" encoding="utf-8"?>
<p:tagLst xmlns:a="http://schemas.openxmlformats.org/drawingml/2006/main" xmlns:r="http://schemas.openxmlformats.org/officeDocument/2006/relationships" xmlns:p="http://schemas.openxmlformats.org/presentationml/2006/main">
  <p:tag name="INLINETEXTSHAPEGUID" val="b92a6250-2500-4859-a206-0f9f7bc46871"/>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248.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249.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25.xml><?xml version="1.0" encoding="utf-8"?>
<p:tagLst xmlns:a="http://schemas.openxmlformats.org/drawingml/2006/main" xmlns:r="http://schemas.openxmlformats.org/officeDocument/2006/relationships" xmlns:p="http://schemas.openxmlformats.org/presentationml/2006/main">
  <p:tag name="NAME" val="ACET"/>
</p:tagLst>
</file>

<file path=ppt/tags/tag250.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251.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252.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60.xml><?xml version="1.0" encoding="utf-8"?>
<p:tagLst xmlns:a="http://schemas.openxmlformats.org/drawingml/2006/main" xmlns:r="http://schemas.openxmlformats.org/officeDocument/2006/relationships" xmlns:p="http://schemas.openxmlformats.org/presentationml/2006/main">
  <p:tag name="SHAPENAME" val="5. Source"/>
</p:tagLst>
</file>

<file path=ppt/tags/tag261.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7.xml><?xml version="1.0" encoding="utf-8"?>
<p:tagLst xmlns:a="http://schemas.openxmlformats.org/drawingml/2006/main" xmlns:r="http://schemas.openxmlformats.org/officeDocument/2006/relationships" xmlns:p="http://schemas.openxmlformats.org/presentationml/2006/main">
  <p:tag name="SHAPENAME" val="5. Source"/>
</p:tagLst>
</file>

<file path=ppt/tags/tag2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71.xml><?xml version="1.0" encoding="utf-8"?>
<p:tagLst xmlns:a="http://schemas.openxmlformats.org/drawingml/2006/main" xmlns:r="http://schemas.openxmlformats.org/officeDocument/2006/relationships" xmlns:p="http://schemas.openxmlformats.org/presentationml/2006/main">
  <p:tag name="SHAPENAME" val="4. Footnote"/>
</p:tagLst>
</file>

<file path=ppt/tags/tag2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3.xml><?xml version="1.0" encoding="utf-8"?>
<p:tagLst xmlns:a="http://schemas.openxmlformats.org/drawingml/2006/main" xmlns:r="http://schemas.openxmlformats.org/officeDocument/2006/relationships" xmlns:p="http://schemas.openxmlformats.org/presentationml/2006/main">
  <p:tag name="NAME" val="ACET"/>
</p:tagLst>
</file>

<file path=ppt/tags/tag274.xml><?xml version="1.0" encoding="utf-8"?>
<p:tagLst xmlns:a="http://schemas.openxmlformats.org/drawingml/2006/main" xmlns:r="http://schemas.openxmlformats.org/officeDocument/2006/relationships" xmlns:p="http://schemas.openxmlformats.org/presentationml/2006/main">
  <p:tag name="NAME" val="Moon"/>
</p:tagLst>
</file>

<file path=ppt/tags/tag275.xml><?xml version="1.0" encoding="utf-8"?>
<p:tagLst xmlns:a="http://schemas.openxmlformats.org/drawingml/2006/main" xmlns:r="http://schemas.openxmlformats.org/officeDocument/2006/relationships" xmlns:p="http://schemas.openxmlformats.org/presentationml/2006/main">
  <p:tag name="NAME" val="Moon"/>
</p:tagLst>
</file>

<file path=ppt/tags/tag276.xml><?xml version="1.0" encoding="utf-8"?>
<p:tagLst xmlns:a="http://schemas.openxmlformats.org/drawingml/2006/main" xmlns:r="http://schemas.openxmlformats.org/officeDocument/2006/relationships" xmlns:p="http://schemas.openxmlformats.org/presentationml/2006/main">
  <p:tag name="NAME" val="Moon"/>
</p:tagLst>
</file>

<file path=ppt/tags/tag277.xml><?xml version="1.0" encoding="utf-8"?>
<p:tagLst xmlns:a="http://schemas.openxmlformats.org/drawingml/2006/main" xmlns:r="http://schemas.openxmlformats.org/officeDocument/2006/relationships" xmlns:p="http://schemas.openxmlformats.org/presentationml/2006/main">
  <p:tag name="NAME" val="Moon"/>
</p:tagLst>
</file>

<file path=ppt/tags/tag278.xml><?xml version="1.0" encoding="utf-8"?>
<p:tagLst xmlns:a="http://schemas.openxmlformats.org/drawingml/2006/main" xmlns:r="http://schemas.openxmlformats.org/officeDocument/2006/relationships" xmlns:p="http://schemas.openxmlformats.org/presentationml/2006/main">
  <p:tag name="NAME" val="Moon"/>
</p:tagLst>
</file>

<file path=ppt/tags/tag279.xml><?xml version="1.0" encoding="utf-8"?>
<p:tagLst xmlns:a="http://schemas.openxmlformats.org/drawingml/2006/main" xmlns:r="http://schemas.openxmlformats.org/officeDocument/2006/relationships" xmlns:p="http://schemas.openxmlformats.org/presentationml/2006/main">
  <p:tag name="ANGLE" val="5"/>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80.xml><?xml version="1.0" encoding="utf-8"?>
<p:tagLst xmlns:a="http://schemas.openxmlformats.org/drawingml/2006/main" xmlns:r="http://schemas.openxmlformats.org/officeDocument/2006/relationships" xmlns:p="http://schemas.openxmlformats.org/presentationml/2006/main">
  <p:tag name="ANGLE" val="5"/>
</p:tagLst>
</file>

<file path=ppt/tags/tag281.xml><?xml version="1.0" encoding="utf-8"?>
<p:tagLst xmlns:a="http://schemas.openxmlformats.org/drawingml/2006/main" xmlns:r="http://schemas.openxmlformats.org/officeDocument/2006/relationships" xmlns:p="http://schemas.openxmlformats.org/presentationml/2006/main">
  <p:tag name="ANGLE" val="4"/>
</p:tagLst>
</file>

<file path=ppt/tags/tag282.xml><?xml version="1.0" encoding="utf-8"?>
<p:tagLst xmlns:a="http://schemas.openxmlformats.org/drawingml/2006/main" xmlns:r="http://schemas.openxmlformats.org/officeDocument/2006/relationships" xmlns:p="http://schemas.openxmlformats.org/presentationml/2006/main">
  <p:tag name="ANGLE" val="4"/>
</p:tagLst>
</file>

<file path=ppt/tags/tag283.xml><?xml version="1.0" encoding="utf-8"?>
<p:tagLst xmlns:a="http://schemas.openxmlformats.org/drawingml/2006/main" xmlns:r="http://schemas.openxmlformats.org/officeDocument/2006/relationships" xmlns:p="http://schemas.openxmlformats.org/presentationml/2006/main">
  <p:tag name="ANGLE" val="3"/>
</p:tagLst>
</file>

<file path=ppt/tags/tag284.xml><?xml version="1.0" encoding="utf-8"?>
<p:tagLst xmlns:a="http://schemas.openxmlformats.org/drawingml/2006/main" xmlns:r="http://schemas.openxmlformats.org/officeDocument/2006/relationships" xmlns:p="http://schemas.openxmlformats.org/presentationml/2006/main">
  <p:tag name="ANGLE" val="3"/>
</p:tagLst>
</file>

<file path=ppt/tags/tag285.xml><?xml version="1.0" encoding="utf-8"?>
<p:tagLst xmlns:a="http://schemas.openxmlformats.org/drawingml/2006/main" xmlns:r="http://schemas.openxmlformats.org/officeDocument/2006/relationships" xmlns:p="http://schemas.openxmlformats.org/presentationml/2006/main">
  <p:tag name="ANGLE" val="2"/>
</p:tagLst>
</file>

<file path=ppt/tags/tag286.xml><?xml version="1.0" encoding="utf-8"?>
<p:tagLst xmlns:a="http://schemas.openxmlformats.org/drawingml/2006/main" xmlns:r="http://schemas.openxmlformats.org/officeDocument/2006/relationships" xmlns:p="http://schemas.openxmlformats.org/presentationml/2006/main">
  <p:tag name="ANGLE" val="2"/>
</p:tagLst>
</file>

<file path=ppt/tags/tag287.xml><?xml version="1.0" encoding="utf-8"?>
<p:tagLst xmlns:a="http://schemas.openxmlformats.org/drawingml/2006/main" xmlns:r="http://schemas.openxmlformats.org/officeDocument/2006/relationships" xmlns:p="http://schemas.openxmlformats.org/presentationml/2006/main">
  <p:tag name="ANGLE" val="1"/>
</p:tagLst>
</file>

<file path=ppt/tags/tag288.xml><?xml version="1.0" encoding="utf-8"?>
<p:tagLst xmlns:a="http://schemas.openxmlformats.org/drawingml/2006/main" xmlns:r="http://schemas.openxmlformats.org/officeDocument/2006/relationships" xmlns:p="http://schemas.openxmlformats.org/presentationml/2006/main">
  <p:tag name="ANGLE" val="1"/>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9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2.xml><?xml version="1.0" encoding="utf-8"?>
<p:tagLst xmlns:a="http://schemas.openxmlformats.org/drawingml/2006/main" xmlns:r="http://schemas.openxmlformats.org/officeDocument/2006/relationships" xmlns:p="http://schemas.openxmlformats.org/presentationml/2006/main">
  <p:tag name="SHAPENAME" val="Subtitle"/>
</p:tagLst>
</file>

<file path=ppt/tags/tag293.xml><?xml version="1.0" encoding="utf-8"?>
<p:tagLst xmlns:a="http://schemas.openxmlformats.org/drawingml/2006/main" xmlns:r="http://schemas.openxmlformats.org/officeDocument/2006/relationships" xmlns:p="http://schemas.openxmlformats.org/presentationml/2006/main">
  <p:tag name="SHAPENAME" val="Titl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9.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1.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7.xml><?xml version="1.0" encoding="utf-8"?>
<p:tagLst xmlns:a="http://schemas.openxmlformats.org/drawingml/2006/main" xmlns:r="http://schemas.openxmlformats.org/officeDocument/2006/relationships" xmlns:p="http://schemas.openxmlformats.org/presentationml/2006/main">
  <p:tag name="SHAPENAME" val="5. Source"/>
</p:tagLst>
</file>

<file path=ppt/tags/tag308.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NGLE" val="5"/>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3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xml><?xml version="1.0" encoding="utf-8"?>
<p:tagLst xmlns:a="http://schemas.openxmlformats.org/drawingml/2006/main" xmlns:r="http://schemas.openxmlformats.org/officeDocument/2006/relationships" xmlns:p="http://schemas.openxmlformats.org/presentationml/2006/main">
  <p:tag name="ANGLE" val="5"/>
</p:tagLst>
</file>

<file path=ppt/tags/tag3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1.xml><?xml version="1.0" encoding="utf-8"?>
<p:tagLst xmlns:a="http://schemas.openxmlformats.org/drawingml/2006/main" xmlns:r="http://schemas.openxmlformats.org/officeDocument/2006/relationships" xmlns:p="http://schemas.openxmlformats.org/presentationml/2006/main">
  <p:tag name="SHAPENAME" val="5. Source"/>
</p:tagLst>
</file>

<file path=ppt/tags/tag322.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3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9.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ANGLE" val="4"/>
</p:tagLst>
</file>

<file path=ppt/tags/tag330.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3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8.xml><?xml version="1.0" encoding="utf-8"?>
<p:tagLst xmlns:a="http://schemas.openxmlformats.org/drawingml/2006/main" xmlns:r="http://schemas.openxmlformats.org/officeDocument/2006/relationships" xmlns:p="http://schemas.openxmlformats.org/presentationml/2006/main">
  <p:tag name="SHAPENAME" val="5. Source"/>
</p:tagLst>
</file>

<file path=ppt/tags/tag339.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34.xml><?xml version="1.0" encoding="utf-8"?>
<p:tagLst xmlns:a="http://schemas.openxmlformats.org/drawingml/2006/main" xmlns:r="http://schemas.openxmlformats.org/officeDocument/2006/relationships" xmlns:p="http://schemas.openxmlformats.org/presentationml/2006/main">
  <p:tag name="ANGLE" val="4"/>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4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7.xml><?xml version="1.0" encoding="utf-8"?>
<p:tagLst xmlns:a="http://schemas.openxmlformats.org/drawingml/2006/main" xmlns:r="http://schemas.openxmlformats.org/officeDocument/2006/relationships" xmlns:p="http://schemas.openxmlformats.org/presentationml/2006/main">
  <p:tag name="SHAPENAME" val="5. Source"/>
</p:tagLst>
</file>

<file path=ppt/tags/tag348.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ANGLE" val="3"/>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5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6.xml><?xml version="1.0" encoding="utf-8"?>
<p:tagLst xmlns:a="http://schemas.openxmlformats.org/drawingml/2006/main" xmlns:r="http://schemas.openxmlformats.org/officeDocument/2006/relationships" xmlns:p="http://schemas.openxmlformats.org/presentationml/2006/main">
  <p:tag name="SHAPENAME" val="5. Source"/>
</p:tagLst>
</file>

<file path=ppt/tags/tag357.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6.xml><?xml version="1.0" encoding="utf-8"?>
<p:tagLst xmlns:a="http://schemas.openxmlformats.org/drawingml/2006/main" xmlns:r="http://schemas.openxmlformats.org/officeDocument/2006/relationships" xmlns:p="http://schemas.openxmlformats.org/presentationml/2006/main">
  <p:tag name="ANGLE" val="3"/>
</p:tagLst>
</file>

<file path=ppt/tags/tag3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5.xml><?xml version="1.0" encoding="utf-8"?>
<p:tagLst xmlns:a="http://schemas.openxmlformats.org/drawingml/2006/main" xmlns:r="http://schemas.openxmlformats.org/officeDocument/2006/relationships" xmlns:p="http://schemas.openxmlformats.org/presentationml/2006/main">
  <p:tag name="SHAPENAME" val="5. Sourc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xml><?xml version="1.0" encoding="utf-8"?>
<p:tagLst xmlns:a="http://schemas.openxmlformats.org/drawingml/2006/main" xmlns:r="http://schemas.openxmlformats.org/officeDocument/2006/relationships" xmlns:p="http://schemas.openxmlformats.org/presentationml/2006/main">
  <p:tag name="ANGLE" val="2"/>
</p:tagLst>
</file>

<file path=ppt/tags/tag3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3.xml><?xml version="1.0" encoding="utf-8"?>
<p:tagLst xmlns:a="http://schemas.openxmlformats.org/drawingml/2006/main" xmlns:r="http://schemas.openxmlformats.org/officeDocument/2006/relationships" xmlns:p="http://schemas.openxmlformats.org/presentationml/2006/main">
  <p:tag name="SHAPENAME" val="5. Source"/>
</p:tagLst>
</file>

<file path=ppt/tags/tag374.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ANGLE" val="2"/>
</p:tagLst>
</file>

<file path=ppt/tags/tag380.xml><?xml version="1.0" encoding="utf-8"?>
<p:tagLst xmlns:a="http://schemas.openxmlformats.org/drawingml/2006/main" xmlns:r="http://schemas.openxmlformats.org/officeDocument/2006/relationships" xmlns:p="http://schemas.openxmlformats.org/presentationml/2006/main">
  <p:tag name="SHAPENAME" val="5. Source"/>
</p:tagLst>
</file>

<file path=ppt/tags/tag381.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5.xml><?xml version="1.0" encoding="utf-8"?>
<p:tagLst xmlns:a="http://schemas.openxmlformats.org/drawingml/2006/main" xmlns:r="http://schemas.openxmlformats.org/officeDocument/2006/relationships" xmlns:p="http://schemas.openxmlformats.org/presentationml/2006/main">
  <p:tag name="SHAPENAME" val="5. Source"/>
</p:tagLst>
</file>

<file path=ppt/tags/tag386.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SHAPENAME" val="5. Source"/>
</p:tagLst>
</file>

<file path=ppt/tags/tag389.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39.xml><?xml version="1.0" encoding="utf-8"?>
<p:tagLst xmlns:a="http://schemas.openxmlformats.org/drawingml/2006/main" xmlns:r="http://schemas.openxmlformats.org/officeDocument/2006/relationships" xmlns:p="http://schemas.openxmlformats.org/presentationml/2006/main">
  <p:tag name="ANGLE" val="1"/>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392.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3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6.xml><?xml version="1.0" encoding="utf-8"?>
<p:tagLst xmlns:a="http://schemas.openxmlformats.org/drawingml/2006/main" xmlns:r="http://schemas.openxmlformats.org/officeDocument/2006/relationships" xmlns:p="http://schemas.openxmlformats.org/presentationml/2006/main">
  <p:tag name="SHAPENAME" val="Grid"/>
</p:tagLst>
</file>

<file path=ppt/tags/tag397.xml><?xml version="1.0" encoding="utf-8"?>
<p:tagLst xmlns:a="http://schemas.openxmlformats.org/drawingml/2006/main" xmlns:r="http://schemas.openxmlformats.org/officeDocument/2006/relationships" xmlns:p="http://schemas.openxmlformats.org/presentationml/2006/main">
  <p:tag name="SHAPENAME" val="4. Footnote"/>
</p:tagLst>
</file>

<file path=ppt/tags/tag398.xml><?xml version="1.0" encoding="utf-8"?>
<p:tagLst xmlns:a="http://schemas.openxmlformats.org/drawingml/2006/main" xmlns:r="http://schemas.openxmlformats.org/officeDocument/2006/relationships" xmlns:p="http://schemas.openxmlformats.org/presentationml/2006/main">
  <p:tag name="NAME" val="ACET"/>
</p:tagLst>
</file>

<file path=ppt/tags/tag399.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INLINETEXTSHAPEGUID" val="b92a6250-2500-4859-a206-0f9f7bc46871"/>
</p:tagLst>
</file>

<file path=ppt/tags/tag40.xml><?xml version="1.0" encoding="utf-8"?>
<p:tagLst xmlns:a="http://schemas.openxmlformats.org/drawingml/2006/main" xmlns:r="http://schemas.openxmlformats.org/officeDocument/2006/relationships" xmlns:p="http://schemas.openxmlformats.org/presentationml/2006/main">
  <p:tag name="ANGLE" val="1"/>
</p:tagLst>
</file>

<file path=ppt/tags/tag400.xml><?xml version="1.0" encoding="utf-8"?>
<p:tagLst xmlns:a="http://schemas.openxmlformats.org/drawingml/2006/main" xmlns:r="http://schemas.openxmlformats.org/officeDocument/2006/relationships" xmlns:p="http://schemas.openxmlformats.org/presentationml/2006/main">
  <p:tag name="NAME" val="Moon"/>
</p:tagLst>
</file>

<file path=ppt/tags/tag401.xml><?xml version="1.0" encoding="utf-8"?>
<p:tagLst xmlns:a="http://schemas.openxmlformats.org/drawingml/2006/main" xmlns:r="http://schemas.openxmlformats.org/officeDocument/2006/relationships" xmlns:p="http://schemas.openxmlformats.org/presentationml/2006/main">
  <p:tag name="NAME" val="Moon"/>
</p:tagLst>
</file>

<file path=ppt/tags/tag402.xml><?xml version="1.0" encoding="utf-8"?>
<p:tagLst xmlns:a="http://schemas.openxmlformats.org/drawingml/2006/main" xmlns:r="http://schemas.openxmlformats.org/officeDocument/2006/relationships" xmlns:p="http://schemas.openxmlformats.org/presentationml/2006/main">
  <p:tag name="NAME" val="Moon"/>
</p:tagLst>
</file>

<file path=ppt/tags/tag403.xml><?xml version="1.0" encoding="utf-8"?>
<p:tagLst xmlns:a="http://schemas.openxmlformats.org/drawingml/2006/main" xmlns:r="http://schemas.openxmlformats.org/officeDocument/2006/relationships" xmlns:p="http://schemas.openxmlformats.org/presentationml/2006/main">
  <p:tag name="NAME" val="Moon"/>
</p:tagLst>
</file>

<file path=ppt/tags/tag404.xml><?xml version="1.0" encoding="utf-8"?>
<p:tagLst xmlns:a="http://schemas.openxmlformats.org/drawingml/2006/main" xmlns:r="http://schemas.openxmlformats.org/officeDocument/2006/relationships" xmlns:p="http://schemas.openxmlformats.org/presentationml/2006/main">
  <p:tag name="ANGLE" val="5"/>
</p:tagLst>
</file>

<file path=ppt/tags/tag405.xml><?xml version="1.0" encoding="utf-8"?>
<p:tagLst xmlns:a="http://schemas.openxmlformats.org/drawingml/2006/main" xmlns:r="http://schemas.openxmlformats.org/officeDocument/2006/relationships" xmlns:p="http://schemas.openxmlformats.org/presentationml/2006/main">
  <p:tag name="ANGLE" val="5"/>
</p:tagLst>
</file>

<file path=ppt/tags/tag406.xml><?xml version="1.0" encoding="utf-8"?>
<p:tagLst xmlns:a="http://schemas.openxmlformats.org/drawingml/2006/main" xmlns:r="http://schemas.openxmlformats.org/officeDocument/2006/relationships" xmlns:p="http://schemas.openxmlformats.org/presentationml/2006/main">
  <p:tag name="ANGLE" val="4"/>
</p:tagLst>
</file>

<file path=ppt/tags/tag407.xml><?xml version="1.0" encoding="utf-8"?>
<p:tagLst xmlns:a="http://schemas.openxmlformats.org/drawingml/2006/main" xmlns:r="http://schemas.openxmlformats.org/officeDocument/2006/relationships" xmlns:p="http://schemas.openxmlformats.org/presentationml/2006/main">
  <p:tag name="ANGLE" val="4"/>
</p:tagLst>
</file>

<file path=ppt/tags/tag408.xml><?xml version="1.0" encoding="utf-8"?>
<p:tagLst xmlns:a="http://schemas.openxmlformats.org/drawingml/2006/main" xmlns:r="http://schemas.openxmlformats.org/officeDocument/2006/relationships" xmlns:p="http://schemas.openxmlformats.org/presentationml/2006/main">
  <p:tag name="ANGLE" val="3"/>
</p:tagLst>
</file>

<file path=ppt/tags/tag409.xml><?xml version="1.0" encoding="utf-8"?>
<p:tagLst xmlns:a="http://schemas.openxmlformats.org/drawingml/2006/main" xmlns:r="http://schemas.openxmlformats.org/officeDocument/2006/relationships" xmlns:p="http://schemas.openxmlformats.org/presentationml/2006/main">
  <p:tag name="ANGLE" val="3"/>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ANGLE" val="2"/>
</p:tagLst>
</file>

<file path=ppt/tags/tag411.xml><?xml version="1.0" encoding="utf-8"?>
<p:tagLst xmlns:a="http://schemas.openxmlformats.org/drawingml/2006/main" xmlns:r="http://schemas.openxmlformats.org/officeDocument/2006/relationships" xmlns:p="http://schemas.openxmlformats.org/presentationml/2006/main">
  <p:tag name="ANGLE" val="2"/>
</p:tagLst>
</file>

<file path=ppt/tags/tag412.xml><?xml version="1.0" encoding="utf-8"?>
<p:tagLst xmlns:a="http://schemas.openxmlformats.org/drawingml/2006/main" xmlns:r="http://schemas.openxmlformats.org/officeDocument/2006/relationships" xmlns:p="http://schemas.openxmlformats.org/presentationml/2006/main">
  <p:tag name="ANGLE" val="1"/>
</p:tagLst>
</file>

<file path=ppt/tags/tag413.xml><?xml version="1.0" encoding="utf-8"?>
<p:tagLst xmlns:a="http://schemas.openxmlformats.org/drawingml/2006/main" xmlns:r="http://schemas.openxmlformats.org/officeDocument/2006/relationships" xmlns:p="http://schemas.openxmlformats.org/presentationml/2006/main">
  <p:tag name="ANGLE" val="1"/>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tqFrSAa3deTGI.RhGuqwCg"/>
</p:tagLst>
</file>

<file path=ppt/tags/tag41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17.xml><?xml version="1.0" encoding="utf-8"?>
<p:tagLst xmlns:a="http://schemas.openxmlformats.org/drawingml/2006/main" xmlns:r="http://schemas.openxmlformats.org/officeDocument/2006/relationships" xmlns:p="http://schemas.openxmlformats.org/presentationml/2006/main">
  <p:tag name="SHAPENAME" val="Subtitle"/>
</p:tagLst>
</file>

<file path=ppt/tags/tag418.xml><?xml version="1.0" encoding="utf-8"?>
<p:tagLst xmlns:a="http://schemas.openxmlformats.org/drawingml/2006/main" xmlns:r="http://schemas.openxmlformats.org/officeDocument/2006/relationships" xmlns:p="http://schemas.openxmlformats.org/presentationml/2006/main">
  <p:tag name="SHAPENAME" val="Title"/>
</p:tagLst>
</file>

<file path=ppt/tags/tag419.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4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6.xml><?xml version="1.0" encoding="utf-8"?>
<p:tagLst xmlns:a="http://schemas.openxmlformats.org/drawingml/2006/main" xmlns:r="http://schemas.openxmlformats.org/officeDocument/2006/relationships" xmlns:p="http://schemas.openxmlformats.org/presentationml/2006/main">
  <p:tag name="SHAPENAME" val="5. Source"/>
</p:tagLst>
</file>

<file path=ppt/tags/tag427.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4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3.xml><?xml version="1.0" encoding="utf-8"?>
<p:tagLst xmlns:a="http://schemas.openxmlformats.org/drawingml/2006/main" xmlns:r="http://schemas.openxmlformats.org/officeDocument/2006/relationships" xmlns:p="http://schemas.openxmlformats.org/presentationml/2006/main">
  <p:tag name="SHAPENAME" val="5. Source"/>
</p:tagLst>
</file>

<file path=ppt/tags/tag434.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4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xml><?xml version="1.0" encoding="utf-8"?>
<p:tagLst xmlns:a="http://schemas.openxmlformats.org/drawingml/2006/main" xmlns:r="http://schemas.openxmlformats.org/officeDocument/2006/relationships" xmlns:p="http://schemas.openxmlformats.org/presentationml/2006/main">
  <p:tag name="SHAPENAME" val="Subtitle"/>
</p:tagLst>
</file>

<file path=ppt/tags/tag440.xml><?xml version="1.0" encoding="utf-8"?>
<p:tagLst xmlns:a="http://schemas.openxmlformats.org/drawingml/2006/main" xmlns:r="http://schemas.openxmlformats.org/officeDocument/2006/relationships" xmlns:p="http://schemas.openxmlformats.org/presentationml/2006/main">
  <p:tag name="SHAPENAME" val="5. Source"/>
</p:tagLst>
</file>

<file path=ppt/tags/tag441.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4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7.xml><?xml version="1.0" encoding="utf-8"?>
<p:tagLst xmlns:a="http://schemas.openxmlformats.org/drawingml/2006/main" xmlns:r="http://schemas.openxmlformats.org/officeDocument/2006/relationships" xmlns:p="http://schemas.openxmlformats.org/presentationml/2006/main">
  <p:tag name="SHAPENAME" val="5. Source"/>
</p:tagLst>
</file>

<file path=ppt/tags/tag448.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SHAPENAME" val="Titl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4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5.xml><?xml version="1.0" encoding="utf-8"?>
<p:tagLst xmlns:a="http://schemas.openxmlformats.org/drawingml/2006/main" xmlns:r="http://schemas.openxmlformats.org/officeDocument/2006/relationships" xmlns:p="http://schemas.openxmlformats.org/presentationml/2006/main">
  <p:tag name="SHAPENAME" val="5. Source"/>
</p:tagLst>
</file>

<file path=ppt/tags/tag456.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45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4.xml><?xml version="1.0" encoding="utf-8"?>
<p:tagLst xmlns:a="http://schemas.openxmlformats.org/drawingml/2006/main" xmlns:r="http://schemas.openxmlformats.org/officeDocument/2006/relationships" xmlns:p="http://schemas.openxmlformats.org/presentationml/2006/main">
  <p:tag name="SHAPENAME" val="5. Source"/>
</p:tagLst>
</file>

<file path=ppt/tags/tag465.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4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3.xml><?xml version="1.0" encoding="utf-8"?>
<p:tagLst xmlns:a="http://schemas.openxmlformats.org/drawingml/2006/main" xmlns:r="http://schemas.openxmlformats.org/officeDocument/2006/relationships" xmlns:p="http://schemas.openxmlformats.org/presentationml/2006/main">
  <p:tag name="SHAPENAME" val="5. Source"/>
</p:tagLst>
</file>

<file path=ppt/tags/tag474.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47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2.xml><?xml version="1.0" encoding="utf-8"?>
<p:tagLst xmlns:a="http://schemas.openxmlformats.org/drawingml/2006/main" xmlns:r="http://schemas.openxmlformats.org/officeDocument/2006/relationships" xmlns:p="http://schemas.openxmlformats.org/presentationml/2006/main">
  <p:tag name="SHAPENAME" val="5. Source"/>
</p:tagLst>
</file>

<file path=ppt/tags/tag483.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4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1.xml><?xml version="1.0" encoding="utf-8"?>
<p:tagLst xmlns:a="http://schemas.openxmlformats.org/drawingml/2006/main" xmlns:r="http://schemas.openxmlformats.org/officeDocument/2006/relationships" xmlns:p="http://schemas.openxmlformats.org/presentationml/2006/main">
  <p:tag name="SHAPENAME" val="5. Source"/>
</p:tagLst>
</file>

<file path=ppt/tags/tag492.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4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0.xml><?xml version="1.0" encoding="utf-8"?>
<p:tagLst xmlns:a="http://schemas.openxmlformats.org/drawingml/2006/main" xmlns:r="http://schemas.openxmlformats.org/officeDocument/2006/relationships" xmlns:p="http://schemas.openxmlformats.org/presentationml/2006/main">
  <p:tag name="SHAPENAME" val="5. Source"/>
</p:tagLst>
</file>

<file path=ppt/tags/tag501.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50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9.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10.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51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8.xml><?xml version="1.0" encoding="utf-8"?>
<p:tagLst xmlns:a="http://schemas.openxmlformats.org/drawingml/2006/main" xmlns:r="http://schemas.openxmlformats.org/officeDocument/2006/relationships" xmlns:p="http://schemas.openxmlformats.org/presentationml/2006/main">
  <p:tag name="SHAPENAME" val="5. Source"/>
</p:tagLst>
</file>

<file path=ppt/tags/tag519.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52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7.xml><?xml version="1.0" encoding="utf-8"?>
<p:tagLst xmlns:a="http://schemas.openxmlformats.org/drawingml/2006/main" xmlns:r="http://schemas.openxmlformats.org/officeDocument/2006/relationships" xmlns:p="http://schemas.openxmlformats.org/presentationml/2006/main">
  <p:tag name="SHAPENAME" val="5. Source"/>
</p:tagLst>
</file>

<file path=ppt/tags/tag528.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5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4.xml><?xml version="1.0" encoding="utf-8"?>
<p:tagLst xmlns:a="http://schemas.openxmlformats.org/drawingml/2006/main" xmlns:r="http://schemas.openxmlformats.org/officeDocument/2006/relationships" xmlns:p="http://schemas.openxmlformats.org/presentationml/2006/main">
  <p:tag name="SHAPENAME" val="5. Source"/>
</p:tagLst>
</file>

<file path=ppt/tags/tag535.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9.xml><?xml version="1.0" encoding="utf-8"?>
<p:tagLst xmlns:a="http://schemas.openxmlformats.org/drawingml/2006/main" xmlns:r="http://schemas.openxmlformats.org/officeDocument/2006/relationships" xmlns:p="http://schemas.openxmlformats.org/presentationml/2006/main">
  <p:tag name="SHAPENAME" val="5. Sourc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40.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SHAPENAME" val="5. Source"/>
</p:tagLst>
</file>

<file path=ppt/tags/tag543.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546.xml><?xml version="1.0" encoding="utf-8"?>
<p:tagLst xmlns:a="http://schemas.openxmlformats.org/drawingml/2006/main" xmlns:r="http://schemas.openxmlformats.org/officeDocument/2006/relationships" xmlns:p="http://schemas.openxmlformats.org/presentationml/2006/main">
  <p:tag name="SHAPENAME" val="4. Footnote"/>
</p:tagLst>
</file>

<file path=ppt/tags/tag5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8.xml><?xml version="1.0" encoding="utf-8"?>
<p:tagLst xmlns:a="http://schemas.openxmlformats.org/drawingml/2006/main" xmlns:r="http://schemas.openxmlformats.org/officeDocument/2006/relationships" xmlns:p="http://schemas.openxmlformats.org/presentationml/2006/main">
  <p:tag name="NAME" val="ACET"/>
</p:tagLst>
</file>

<file path=ppt/tags/tag549.xml><?xml version="1.0" encoding="utf-8"?>
<p:tagLst xmlns:a="http://schemas.openxmlformats.org/drawingml/2006/main" xmlns:r="http://schemas.openxmlformats.org/officeDocument/2006/relationships" xmlns:p="http://schemas.openxmlformats.org/presentationml/2006/main">
  <p:tag name="NAME" val="Moon"/>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0.xml><?xml version="1.0" encoding="utf-8"?>
<p:tagLst xmlns:a="http://schemas.openxmlformats.org/drawingml/2006/main" xmlns:r="http://schemas.openxmlformats.org/officeDocument/2006/relationships" xmlns:p="http://schemas.openxmlformats.org/presentationml/2006/main">
  <p:tag name="NAME" val="Moon"/>
</p:tagLst>
</file>

<file path=ppt/tags/tag551.xml><?xml version="1.0" encoding="utf-8"?>
<p:tagLst xmlns:a="http://schemas.openxmlformats.org/drawingml/2006/main" xmlns:r="http://schemas.openxmlformats.org/officeDocument/2006/relationships" xmlns:p="http://schemas.openxmlformats.org/presentationml/2006/main">
  <p:tag name="NAME" val="Moon"/>
</p:tagLst>
</file>

<file path=ppt/tags/tag552.xml><?xml version="1.0" encoding="utf-8"?>
<p:tagLst xmlns:a="http://schemas.openxmlformats.org/drawingml/2006/main" xmlns:r="http://schemas.openxmlformats.org/officeDocument/2006/relationships" xmlns:p="http://schemas.openxmlformats.org/presentationml/2006/main">
  <p:tag name="NAME" val="Moon"/>
</p:tagLst>
</file>

<file path=ppt/tags/tag553.xml><?xml version="1.0" encoding="utf-8"?>
<p:tagLst xmlns:a="http://schemas.openxmlformats.org/drawingml/2006/main" xmlns:r="http://schemas.openxmlformats.org/officeDocument/2006/relationships" xmlns:p="http://schemas.openxmlformats.org/presentationml/2006/main">
  <p:tag name="NAME" val="Moon"/>
</p:tagLst>
</file>

<file path=ppt/tags/tag554.xml><?xml version="1.0" encoding="utf-8"?>
<p:tagLst xmlns:a="http://schemas.openxmlformats.org/drawingml/2006/main" xmlns:r="http://schemas.openxmlformats.org/officeDocument/2006/relationships" xmlns:p="http://schemas.openxmlformats.org/presentationml/2006/main">
  <p:tag name="ANGLE" val="5"/>
</p:tagLst>
</file>

<file path=ppt/tags/tag555.xml><?xml version="1.0" encoding="utf-8"?>
<p:tagLst xmlns:a="http://schemas.openxmlformats.org/drawingml/2006/main" xmlns:r="http://schemas.openxmlformats.org/officeDocument/2006/relationships" xmlns:p="http://schemas.openxmlformats.org/presentationml/2006/main">
  <p:tag name="ANGLE" val="5"/>
</p:tagLst>
</file>

<file path=ppt/tags/tag556.xml><?xml version="1.0" encoding="utf-8"?>
<p:tagLst xmlns:a="http://schemas.openxmlformats.org/drawingml/2006/main" xmlns:r="http://schemas.openxmlformats.org/officeDocument/2006/relationships" xmlns:p="http://schemas.openxmlformats.org/presentationml/2006/main">
  <p:tag name="ANGLE" val="4"/>
</p:tagLst>
</file>

<file path=ppt/tags/tag557.xml><?xml version="1.0" encoding="utf-8"?>
<p:tagLst xmlns:a="http://schemas.openxmlformats.org/drawingml/2006/main" xmlns:r="http://schemas.openxmlformats.org/officeDocument/2006/relationships" xmlns:p="http://schemas.openxmlformats.org/presentationml/2006/main">
  <p:tag name="ANGLE" val="4"/>
</p:tagLst>
</file>

<file path=ppt/tags/tag558.xml><?xml version="1.0" encoding="utf-8"?>
<p:tagLst xmlns:a="http://schemas.openxmlformats.org/drawingml/2006/main" xmlns:r="http://schemas.openxmlformats.org/officeDocument/2006/relationships" xmlns:p="http://schemas.openxmlformats.org/presentationml/2006/main">
  <p:tag name="ANGLE" val="3"/>
</p:tagLst>
</file>

<file path=ppt/tags/tag559.xml><?xml version="1.0" encoding="utf-8"?>
<p:tagLst xmlns:a="http://schemas.openxmlformats.org/drawingml/2006/main" xmlns:r="http://schemas.openxmlformats.org/officeDocument/2006/relationships" xmlns:p="http://schemas.openxmlformats.org/presentationml/2006/main">
  <p:tag name="ANGLE" val="3"/>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0.xml><?xml version="1.0" encoding="utf-8"?>
<p:tagLst xmlns:a="http://schemas.openxmlformats.org/drawingml/2006/main" xmlns:r="http://schemas.openxmlformats.org/officeDocument/2006/relationships" xmlns:p="http://schemas.openxmlformats.org/presentationml/2006/main">
  <p:tag name="ANGLE" val="2"/>
</p:tagLst>
</file>

<file path=ppt/tags/tag561.xml><?xml version="1.0" encoding="utf-8"?>
<p:tagLst xmlns:a="http://schemas.openxmlformats.org/drawingml/2006/main" xmlns:r="http://schemas.openxmlformats.org/officeDocument/2006/relationships" xmlns:p="http://schemas.openxmlformats.org/presentationml/2006/main">
  <p:tag name="ANGLE" val="2"/>
</p:tagLst>
</file>

<file path=ppt/tags/tag562.xml><?xml version="1.0" encoding="utf-8"?>
<p:tagLst xmlns:a="http://schemas.openxmlformats.org/drawingml/2006/main" xmlns:r="http://schemas.openxmlformats.org/officeDocument/2006/relationships" xmlns:p="http://schemas.openxmlformats.org/presentationml/2006/main">
  <p:tag name="ANGLE" val="1"/>
</p:tagLst>
</file>

<file path=ppt/tags/tag563.xml><?xml version="1.0" encoding="utf-8"?>
<p:tagLst xmlns:a="http://schemas.openxmlformats.org/drawingml/2006/main" xmlns:r="http://schemas.openxmlformats.org/officeDocument/2006/relationships" xmlns:p="http://schemas.openxmlformats.org/presentationml/2006/main">
  <p:tag name="ANGLE" val="1"/>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5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67.xml><?xml version="1.0" encoding="utf-8"?>
<p:tagLst xmlns:a="http://schemas.openxmlformats.org/drawingml/2006/main" xmlns:r="http://schemas.openxmlformats.org/officeDocument/2006/relationships" xmlns:p="http://schemas.openxmlformats.org/presentationml/2006/main">
  <p:tag name="SHAPENAME" val="Subtitle"/>
</p:tagLst>
</file>

<file path=ppt/tags/tag568.xml><?xml version="1.0" encoding="utf-8"?>
<p:tagLst xmlns:a="http://schemas.openxmlformats.org/drawingml/2006/main" xmlns:r="http://schemas.openxmlformats.org/officeDocument/2006/relationships" xmlns:p="http://schemas.openxmlformats.org/presentationml/2006/main">
  <p:tag name="SHAPENAME" val="Title"/>
</p:tagLst>
</file>

<file path=ppt/tags/tag569.xml><?xml version="1.0" encoding="utf-8"?>
<p:tagLst xmlns:a="http://schemas.openxmlformats.org/drawingml/2006/main" xmlns:r="http://schemas.openxmlformats.org/officeDocument/2006/relationships" xmlns:p="http://schemas.openxmlformats.org/presentationml/2006/main">
  <p:tag name="SHAPENAME" val="Subtitle"/>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5.xml><?xml version="1.0" encoding="utf-8"?>
<p:tagLst xmlns:a="http://schemas.openxmlformats.org/drawingml/2006/main" xmlns:r="http://schemas.openxmlformats.org/officeDocument/2006/relationships" xmlns:p="http://schemas.openxmlformats.org/presentationml/2006/main">
  <p:tag name="SHAPENAME" val="5. Source"/>
</p:tagLst>
</file>

<file path=ppt/tags/tag5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2.xml><?xml version="1.0" encoding="utf-8"?>
<p:tagLst xmlns:a="http://schemas.openxmlformats.org/drawingml/2006/main" xmlns:r="http://schemas.openxmlformats.org/officeDocument/2006/relationships" xmlns:p="http://schemas.openxmlformats.org/presentationml/2006/main">
  <p:tag name="SHAPENAME" val="5. Sourc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5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8.xml><?xml version="1.0" encoding="utf-8"?>
<p:tagLst xmlns:a="http://schemas.openxmlformats.org/drawingml/2006/main" xmlns:r="http://schemas.openxmlformats.org/officeDocument/2006/relationships" xmlns:p="http://schemas.openxmlformats.org/presentationml/2006/main">
  <p:tag name="SHAPENAME" val="5. Sourc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4.xml><?xml version="1.0" encoding="utf-8"?>
<p:tagLst xmlns:a="http://schemas.openxmlformats.org/drawingml/2006/main" xmlns:r="http://schemas.openxmlformats.org/officeDocument/2006/relationships" xmlns:p="http://schemas.openxmlformats.org/presentationml/2006/main">
  <p:tag name="SHAPENAME" val="5. Sourc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6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1.xml><?xml version="1.0" encoding="utf-8"?>
<p:tagLst xmlns:a="http://schemas.openxmlformats.org/drawingml/2006/main" xmlns:r="http://schemas.openxmlformats.org/officeDocument/2006/relationships" xmlns:p="http://schemas.openxmlformats.org/presentationml/2006/main">
  <p:tag name="SHAPENAME" val="5. Sourc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6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9.xml><?xml version="1.0" encoding="utf-8"?>
<p:tagLst xmlns:a="http://schemas.openxmlformats.org/drawingml/2006/main" xmlns:r="http://schemas.openxmlformats.org/officeDocument/2006/relationships" xmlns:p="http://schemas.openxmlformats.org/presentationml/2006/main">
  <p:tag name="SHAPENAME" val="5. Source"/>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1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7.xml><?xml version="1.0" encoding="utf-8"?>
<p:tagLst xmlns:a="http://schemas.openxmlformats.org/drawingml/2006/main" xmlns:r="http://schemas.openxmlformats.org/officeDocument/2006/relationships" xmlns:p="http://schemas.openxmlformats.org/presentationml/2006/main">
  <p:tag name="SHAPENAME" val="5. Source"/>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5.xml><?xml version="1.0" encoding="utf-8"?>
<p:tagLst xmlns:a="http://schemas.openxmlformats.org/drawingml/2006/main" xmlns:r="http://schemas.openxmlformats.org/officeDocument/2006/relationships" xmlns:p="http://schemas.openxmlformats.org/presentationml/2006/main">
  <p:tag name="SHAPENAME" val="5. Sourc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6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3.xml><?xml version="1.0" encoding="utf-8"?>
<p:tagLst xmlns:a="http://schemas.openxmlformats.org/drawingml/2006/main" xmlns:r="http://schemas.openxmlformats.org/officeDocument/2006/relationships" xmlns:p="http://schemas.openxmlformats.org/presentationml/2006/main">
  <p:tag name="SHAPENAME" val="5. Sourc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63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1.xml><?xml version="1.0" encoding="utf-8"?>
<p:tagLst xmlns:a="http://schemas.openxmlformats.org/drawingml/2006/main" xmlns:r="http://schemas.openxmlformats.org/officeDocument/2006/relationships" xmlns:p="http://schemas.openxmlformats.org/presentationml/2006/main">
  <p:tag name="SHAPENAME" val="5. Source"/>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6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7.xml><?xml version="1.0" encoding="utf-8"?>
<p:tagLst xmlns:a="http://schemas.openxmlformats.org/drawingml/2006/main" xmlns:r="http://schemas.openxmlformats.org/officeDocument/2006/relationships" xmlns:p="http://schemas.openxmlformats.org/presentationml/2006/main">
  <p:tag name="SHAPENAME" val="5. Source"/>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1.xml><?xml version="1.0" encoding="utf-8"?>
<p:tagLst xmlns:a="http://schemas.openxmlformats.org/drawingml/2006/main" xmlns:r="http://schemas.openxmlformats.org/officeDocument/2006/relationships" xmlns:p="http://schemas.openxmlformats.org/presentationml/2006/main">
  <p:tag name="SHAPENAME" val="5. Source"/>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SHAPENAME" val="5. Sourc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6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660.xml><?xml version="1.0" encoding="utf-8"?>
<p:tagLst xmlns:a="http://schemas.openxmlformats.org/drawingml/2006/main" xmlns:r="http://schemas.openxmlformats.org/officeDocument/2006/relationships" xmlns:p="http://schemas.openxmlformats.org/presentationml/2006/main">
  <p:tag name="SHAPENAME" val="5. Sourc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664.xml><?xml version="1.0" encoding="utf-8"?>
<p:tagLst xmlns:a="http://schemas.openxmlformats.org/drawingml/2006/main" xmlns:r="http://schemas.openxmlformats.org/officeDocument/2006/relationships" xmlns:p="http://schemas.openxmlformats.org/presentationml/2006/main">
  <p:tag name="SHAPENAME" val="4. Footnote"/>
</p:tagLst>
</file>

<file path=ppt/tags/tag6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6.xml><?xml version="1.0" encoding="utf-8"?>
<p:tagLst xmlns:a="http://schemas.openxmlformats.org/drawingml/2006/main" xmlns:r="http://schemas.openxmlformats.org/officeDocument/2006/relationships" xmlns:p="http://schemas.openxmlformats.org/presentationml/2006/main">
  <p:tag name="NAME" val="ACET"/>
</p:tagLst>
</file>

<file path=ppt/tags/tag667.xml><?xml version="1.0" encoding="utf-8"?>
<p:tagLst xmlns:a="http://schemas.openxmlformats.org/drawingml/2006/main" xmlns:r="http://schemas.openxmlformats.org/officeDocument/2006/relationships" xmlns:p="http://schemas.openxmlformats.org/presentationml/2006/main">
  <p:tag name="NAME" val="Moon"/>
</p:tagLst>
</file>

<file path=ppt/tags/tag668.xml><?xml version="1.0" encoding="utf-8"?>
<p:tagLst xmlns:a="http://schemas.openxmlformats.org/drawingml/2006/main" xmlns:r="http://schemas.openxmlformats.org/officeDocument/2006/relationships" xmlns:p="http://schemas.openxmlformats.org/presentationml/2006/main">
  <p:tag name="NAME" val="Moon"/>
</p:tagLst>
</file>

<file path=ppt/tags/tag669.xml><?xml version="1.0" encoding="utf-8"?>
<p:tagLst xmlns:a="http://schemas.openxmlformats.org/drawingml/2006/main" xmlns:r="http://schemas.openxmlformats.org/officeDocument/2006/relationships" xmlns:p="http://schemas.openxmlformats.org/presentationml/2006/main">
  <p:tag name="NAME" val="Moon"/>
</p:tagLst>
</file>

<file path=ppt/tags/tag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0.xml><?xml version="1.0" encoding="utf-8"?>
<p:tagLst xmlns:a="http://schemas.openxmlformats.org/drawingml/2006/main" xmlns:r="http://schemas.openxmlformats.org/officeDocument/2006/relationships" xmlns:p="http://schemas.openxmlformats.org/presentationml/2006/main">
  <p:tag name="NAME" val="Moon"/>
</p:tagLst>
</file>

<file path=ppt/tags/tag671.xml><?xml version="1.0" encoding="utf-8"?>
<p:tagLst xmlns:a="http://schemas.openxmlformats.org/drawingml/2006/main" xmlns:r="http://schemas.openxmlformats.org/officeDocument/2006/relationships" xmlns:p="http://schemas.openxmlformats.org/presentationml/2006/main">
  <p:tag name="NAME" val="Moon"/>
</p:tagLst>
</file>

<file path=ppt/tags/tag672.xml><?xml version="1.0" encoding="utf-8"?>
<p:tagLst xmlns:a="http://schemas.openxmlformats.org/drawingml/2006/main" xmlns:r="http://schemas.openxmlformats.org/officeDocument/2006/relationships" xmlns:p="http://schemas.openxmlformats.org/presentationml/2006/main">
  <p:tag name="ANGLE" val="5"/>
</p:tagLst>
</file>

<file path=ppt/tags/tag673.xml><?xml version="1.0" encoding="utf-8"?>
<p:tagLst xmlns:a="http://schemas.openxmlformats.org/drawingml/2006/main" xmlns:r="http://schemas.openxmlformats.org/officeDocument/2006/relationships" xmlns:p="http://schemas.openxmlformats.org/presentationml/2006/main">
  <p:tag name="ANGLE" val="5"/>
</p:tagLst>
</file>

<file path=ppt/tags/tag674.xml><?xml version="1.0" encoding="utf-8"?>
<p:tagLst xmlns:a="http://schemas.openxmlformats.org/drawingml/2006/main" xmlns:r="http://schemas.openxmlformats.org/officeDocument/2006/relationships" xmlns:p="http://schemas.openxmlformats.org/presentationml/2006/main">
  <p:tag name="ANGLE" val="4"/>
</p:tagLst>
</file>

<file path=ppt/tags/tag675.xml><?xml version="1.0" encoding="utf-8"?>
<p:tagLst xmlns:a="http://schemas.openxmlformats.org/drawingml/2006/main" xmlns:r="http://schemas.openxmlformats.org/officeDocument/2006/relationships" xmlns:p="http://schemas.openxmlformats.org/presentationml/2006/main">
  <p:tag name="ANGLE" val="4"/>
</p:tagLst>
</file>

<file path=ppt/tags/tag676.xml><?xml version="1.0" encoding="utf-8"?>
<p:tagLst xmlns:a="http://schemas.openxmlformats.org/drawingml/2006/main" xmlns:r="http://schemas.openxmlformats.org/officeDocument/2006/relationships" xmlns:p="http://schemas.openxmlformats.org/presentationml/2006/main">
  <p:tag name="ANGLE" val="3"/>
</p:tagLst>
</file>

<file path=ppt/tags/tag677.xml><?xml version="1.0" encoding="utf-8"?>
<p:tagLst xmlns:a="http://schemas.openxmlformats.org/drawingml/2006/main" xmlns:r="http://schemas.openxmlformats.org/officeDocument/2006/relationships" xmlns:p="http://schemas.openxmlformats.org/presentationml/2006/main">
  <p:tag name="ANGLE" val="3"/>
</p:tagLst>
</file>

<file path=ppt/tags/tag678.xml><?xml version="1.0" encoding="utf-8"?>
<p:tagLst xmlns:a="http://schemas.openxmlformats.org/drawingml/2006/main" xmlns:r="http://schemas.openxmlformats.org/officeDocument/2006/relationships" xmlns:p="http://schemas.openxmlformats.org/presentationml/2006/main">
  <p:tag name="ANGLE" val="2"/>
</p:tagLst>
</file>

<file path=ppt/tags/tag679.xml><?xml version="1.0" encoding="utf-8"?>
<p:tagLst xmlns:a="http://schemas.openxmlformats.org/drawingml/2006/main" xmlns:r="http://schemas.openxmlformats.org/officeDocument/2006/relationships" xmlns:p="http://schemas.openxmlformats.org/presentationml/2006/main">
  <p:tag name="ANGLE" val="2"/>
</p:tagLst>
</file>

<file path=ppt/tags/tag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0.xml><?xml version="1.0" encoding="utf-8"?>
<p:tagLst xmlns:a="http://schemas.openxmlformats.org/drawingml/2006/main" xmlns:r="http://schemas.openxmlformats.org/officeDocument/2006/relationships" xmlns:p="http://schemas.openxmlformats.org/presentationml/2006/main">
  <p:tag name="ANGLE" val="1"/>
</p:tagLst>
</file>

<file path=ppt/tags/tag681.xml><?xml version="1.0" encoding="utf-8"?>
<p:tagLst xmlns:a="http://schemas.openxmlformats.org/drawingml/2006/main" xmlns:r="http://schemas.openxmlformats.org/officeDocument/2006/relationships" xmlns:p="http://schemas.openxmlformats.org/presentationml/2006/main">
  <p:tag name="ANGLE" val="1"/>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68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85.xml><?xml version="1.0" encoding="utf-8"?>
<p:tagLst xmlns:a="http://schemas.openxmlformats.org/drawingml/2006/main" xmlns:r="http://schemas.openxmlformats.org/officeDocument/2006/relationships" xmlns:p="http://schemas.openxmlformats.org/presentationml/2006/main">
  <p:tag name="SHAPENAME" val="Subtitle"/>
</p:tagLst>
</file>

<file path=ppt/tags/tag686.xml><?xml version="1.0" encoding="utf-8"?>
<p:tagLst xmlns:a="http://schemas.openxmlformats.org/drawingml/2006/main" xmlns:r="http://schemas.openxmlformats.org/officeDocument/2006/relationships" xmlns:p="http://schemas.openxmlformats.org/presentationml/2006/main">
  <p:tag name="SHAPENAME" val="Title"/>
</p:tagLst>
</file>

<file path=ppt/tags/tag687.xml><?xml version="1.0" encoding="utf-8"?>
<p:tagLst xmlns:a="http://schemas.openxmlformats.org/drawingml/2006/main" xmlns:r="http://schemas.openxmlformats.org/officeDocument/2006/relationships" xmlns:p="http://schemas.openxmlformats.org/presentationml/2006/main">
  <p:tag name="SHAPENAME" val="Subtitl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3.xml><?xml version="1.0" encoding="utf-8"?>
<p:tagLst xmlns:a="http://schemas.openxmlformats.org/drawingml/2006/main" xmlns:r="http://schemas.openxmlformats.org/officeDocument/2006/relationships" xmlns:p="http://schemas.openxmlformats.org/presentationml/2006/main">
  <p:tag name="SHAPENAME" val="5. Source"/>
</p:tagLst>
</file>

<file path=ppt/tags/tag6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6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SHAPENAME" val="5. Source"/>
</p:tagLst>
</file>

<file path=ppt/tags/tag700.xml><?xml version="1.0" encoding="utf-8"?>
<p:tagLst xmlns:a="http://schemas.openxmlformats.org/drawingml/2006/main" xmlns:r="http://schemas.openxmlformats.org/officeDocument/2006/relationships" xmlns:p="http://schemas.openxmlformats.org/presentationml/2006/main">
  <p:tag name="SHAPENAME" val="5. Source"/>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7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06.xml><?xml version="1.0" encoding="utf-8"?>
<p:tagLst xmlns:a="http://schemas.openxmlformats.org/drawingml/2006/main" xmlns:r="http://schemas.openxmlformats.org/officeDocument/2006/relationships" xmlns:p="http://schemas.openxmlformats.org/presentationml/2006/main">
  <p:tag name="SHAPENAME" val="5. Source"/>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7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2.xml><?xml version="1.0" encoding="utf-8"?>
<p:tagLst xmlns:a="http://schemas.openxmlformats.org/drawingml/2006/main" xmlns:r="http://schemas.openxmlformats.org/officeDocument/2006/relationships" xmlns:p="http://schemas.openxmlformats.org/presentationml/2006/main">
  <p:tag name="SHAPENAME" val="5. Source"/>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7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9.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72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7.xml><?xml version="1.0" encoding="utf-8"?>
<p:tagLst xmlns:a="http://schemas.openxmlformats.org/drawingml/2006/main" xmlns:r="http://schemas.openxmlformats.org/officeDocument/2006/relationships" xmlns:p="http://schemas.openxmlformats.org/presentationml/2006/main">
  <p:tag name="SHAPENAME" val="5. Sourc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5.xml><?xml version="1.0" encoding="utf-8"?>
<p:tagLst xmlns:a="http://schemas.openxmlformats.org/drawingml/2006/main" xmlns:r="http://schemas.openxmlformats.org/officeDocument/2006/relationships" xmlns:p="http://schemas.openxmlformats.org/presentationml/2006/main">
  <p:tag name="SHAPENAME" val="5. Sourc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3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3.xml><?xml version="1.0" encoding="utf-8"?>
<p:tagLst xmlns:a="http://schemas.openxmlformats.org/drawingml/2006/main" xmlns:r="http://schemas.openxmlformats.org/officeDocument/2006/relationships" xmlns:p="http://schemas.openxmlformats.org/presentationml/2006/main">
  <p:tag name="SHAPENAME" val="5. Sourc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7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1.xml><?xml version="1.0" encoding="utf-8"?>
<p:tagLst xmlns:a="http://schemas.openxmlformats.org/drawingml/2006/main" xmlns:r="http://schemas.openxmlformats.org/officeDocument/2006/relationships" xmlns:p="http://schemas.openxmlformats.org/presentationml/2006/main">
  <p:tag name="SHAPENAME" val="5. Source"/>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7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9.xml><?xml version="1.0" encoding="utf-8"?>
<p:tagLst xmlns:a="http://schemas.openxmlformats.org/drawingml/2006/main" xmlns:r="http://schemas.openxmlformats.org/officeDocument/2006/relationships" xmlns:p="http://schemas.openxmlformats.org/presentationml/2006/main">
  <p:tag name="SHAPENAME" val="5. Source"/>
</p:tagLst>
</file>

<file path=ppt/tags/tag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7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5.xml><?xml version="1.0" encoding="utf-8"?>
<p:tagLst xmlns:a="http://schemas.openxmlformats.org/drawingml/2006/main" xmlns:r="http://schemas.openxmlformats.org/officeDocument/2006/relationships" xmlns:p="http://schemas.openxmlformats.org/presentationml/2006/main">
  <p:tag name="SHAPENAME" val="5. Source"/>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9.xml><?xml version="1.0" encoding="utf-8"?>
<p:tagLst xmlns:a="http://schemas.openxmlformats.org/drawingml/2006/main" xmlns:r="http://schemas.openxmlformats.org/officeDocument/2006/relationships" xmlns:p="http://schemas.openxmlformats.org/presentationml/2006/main">
  <p:tag name="SHAPENAME" val="5. Source"/>
</p:tagLst>
</file>

<file path=ppt/tags/tag77.xml><?xml version="1.0" encoding="utf-8"?>
<p:tagLst xmlns:a="http://schemas.openxmlformats.org/drawingml/2006/main" xmlns:r="http://schemas.openxmlformats.org/officeDocument/2006/relationships" xmlns:p="http://schemas.openxmlformats.org/presentationml/2006/main">
  <p:tag name="SHAPENAME" val="5. Source"/>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1.xml><?xml version="1.0" encoding="utf-8"?>
<p:tagLst xmlns:a="http://schemas.openxmlformats.org/drawingml/2006/main" xmlns:r="http://schemas.openxmlformats.org/officeDocument/2006/relationships" xmlns:p="http://schemas.openxmlformats.org/presentationml/2006/main">
  <p:tag name="SHAPENAME" val="5. Source"/>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7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8.xml><?xml version="1.0" encoding="utf-8"?>
<p:tagLst xmlns:a="http://schemas.openxmlformats.org/drawingml/2006/main" xmlns:r="http://schemas.openxmlformats.org/officeDocument/2006/relationships" xmlns:p="http://schemas.openxmlformats.org/presentationml/2006/main">
  <p:tag name="SHAPENAME" val="5. Source"/>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8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82.xml><?xml version="1.0" encoding="utf-8"?>
<p:tagLst xmlns:a="http://schemas.openxmlformats.org/drawingml/2006/main" xmlns:r="http://schemas.openxmlformats.org/officeDocument/2006/relationships" xmlns:p="http://schemas.openxmlformats.org/presentationml/2006/main">
  <p:tag name="SHAPENAME" val="Subtitle"/>
</p:tagLst>
</file>

<file path=ppt/tags/tag783.xml><?xml version="1.0" encoding="utf-8"?>
<p:tagLst xmlns:a="http://schemas.openxmlformats.org/drawingml/2006/main" xmlns:r="http://schemas.openxmlformats.org/officeDocument/2006/relationships" xmlns:p="http://schemas.openxmlformats.org/presentationml/2006/main">
  <p:tag name="SHAPENAME" val="Title"/>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7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7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1.xml><?xml version="1.0" encoding="utf-8"?>
<p:tagLst xmlns:a="http://schemas.openxmlformats.org/drawingml/2006/main" xmlns:r="http://schemas.openxmlformats.org/officeDocument/2006/relationships" xmlns:p="http://schemas.openxmlformats.org/presentationml/2006/main">
  <p:tag name="SHAPENAME" val="5. Source"/>
</p:tagLst>
</file>

<file path=ppt/tags/tag792.xml><?xml version="1.0" encoding="utf-8"?>
<p:tagLst xmlns:a="http://schemas.openxmlformats.org/drawingml/2006/main" xmlns:r="http://schemas.openxmlformats.org/officeDocument/2006/relationships" xmlns:p="http://schemas.openxmlformats.org/presentationml/2006/main">
  <p:tag name="INLINETEXTSHAPEGUID" val="63e23058-e55f-43aa-a5ea-a48e8728a115"/>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7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00.xml><?xml version="1.0" encoding="utf-8"?>
<p:tagLst xmlns:a="http://schemas.openxmlformats.org/drawingml/2006/main" xmlns:r="http://schemas.openxmlformats.org/officeDocument/2006/relationships" xmlns:p="http://schemas.openxmlformats.org/presentationml/2006/main">
  <p:tag name="SHAPENAME" val="5. Sourc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8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8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08.xml><?xml version="1.0" encoding="utf-8"?>
<p:tagLst xmlns:a="http://schemas.openxmlformats.org/drawingml/2006/main" xmlns:r="http://schemas.openxmlformats.org/officeDocument/2006/relationships" xmlns:p="http://schemas.openxmlformats.org/presentationml/2006/main">
  <p:tag name="SHAPENAME" val="5. Source"/>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4.xml><?xml version="1.0" encoding="utf-8"?>
<p:tagLst xmlns:a="http://schemas.openxmlformats.org/drawingml/2006/main" xmlns:r="http://schemas.openxmlformats.org/officeDocument/2006/relationships" xmlns:p="http://schemas.openxmlformats.org/presentationml/2006/main">
  <p:tag name="SHAPENAME" val="5. Source"/>
</p:tagLst>
</file>

<file path=ppt/tags/tag8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818.xml><?xml version="1.0" encoding="utf-8"?>
<p:tagLst xmlns:a="http://schemas.openxmlformats.org/drawingml/2006/main" xmlns:r="http://schemas.openxmlformats.org/officeDocument/2006/relationships" xmlns:p="http://schemas.openxmlformats.org/presentationml/2006/main">
  <p:tag name="SHAPENAME" val="4. Footnote"/>
</p:tagLst>
</file>

<file path=ppt/tags/tag8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0.xml><?xml version="1.0" encoding="utf-8"?>
<p:tagLst xmlns:a="http://schemas.openxmlformats.org/drawingml/2006/main" xmlns:r="http://schemas.openxmlformats.org/officeDocument/2006/relationships" xmlns:p="http://schemas.openxmlformats.org/presentationml/2006/main">
  <p:tag name="NAME" val="ACET"/>
</p:tagLst>
</file>

<file path=ppt/tags/tag821.xml><?xml version="1.0" encoding="utf-8"?>
<p:tagLst xmlns:a="http://schemas.openxmlformats.org/drawingml/2006/main" xmlns:r="http://schemas.openxmlformats.org/officeDocument/2006/relationships" xmlns:p="http://schemas.openxmlformats.org/presentationml/2006/main">
  <p:tag name="NAME" val="Moon"/>
</p:tagLst>
</file>

<file path=ppt/tags/tag822.xml><?xml version="1.0" encoding="utf-8"?>
<p:tagLst xmlns:a="http://schemas.openxmlformats.org/drawingml/2006/main" xmlns:r="http://schemas.openxmlformats.org/officeDocument/2006/relationships" xmlns:p="http://schemas.openxmlformats.org/presentationml/2006/main">
  <p:tag name="NAME" val="Moon"/>
</p:tagLst>
</file>

<file path=ppt/tags/tag823.xml><?xml version="1.0" encoding="utf-8"?>
<p:tagLst xmlns:a="http://schemas.openxmlformats.org/drawingml/2006/main" xmlns:r="http://schemas.openxmlformats.org/officeDocument/2006/relationships" xmlns:p="http://schemas.openxmlformats.org/presentationml/2006/main">
  <p:tag name="NAME" val="Moon"/>
</p:tagLst>
</file>

<file path=ppt/tags/tag824.xml><?xml version="1.0" encoding="utf-8"?>
<p:tagLst xmlns:a="http://schemas.openxmlformats.org/drawingml/2006/main" xmlns:r="http://schemas.openxmlformats.org/officeDocument/2006/relationships" xmlns:p="http://schemas.openxmlformats.org/presentationml/2006/main">
  <p:tag name="NAME" val="Moon"/>
</p:tagLst>
</file>

<file path=ppt/tags/tag825.xml><?xml version="1.0" encoding="utf-8"?>
<p:tagLst xmlns:a="http://schemas.openxmlformats.org/drawingml/2006/main" xmlns:r="http://schemas.openxmlformats.org/officeDocument/2006/relationships" xmlns:p="http://schemas.openxmlformats.org/presentationml/2006/main">
  <p:tag name="NAME" val="Moon"/>
</p:tagLst>
</file>

<file path=ppt/tags/tag826.xml><?xml version="1.0" encoding="utf-8"?>
<p:tagLst xmlns:a="http://schemas.openxmlformats.org/drawingml/2006/main" xmlns:r="http://schemas.openxmlformats.org/officeDocument/2006/relationships" xmlns:p="http://schemas.openxmlformats.org/presentationml/2006/main">
  <p:tag name="ANGLE" val="5"/>
</p:tagLst>
</file>

<file path=ppt/tags/tag827.xml><?xml version="1.0" encoding="utf-8"?>
<p:tagLst xmlns:a="http://schemas.openxmlformats.org/drawingml/2006/main" xmlns:r="http://schemas.openxmlformats.org/officeDocument/2006/relationships" xmlns:p="http://schemas.openxmlformats.org/presentationml/2006/main">
  <p:tag name="ANGLE" val="5"/>
</p:tagLst>
</file>

<file path=ppt/tags/tag828.xml><?xml version="1.0" encoding="utf-8"?>
<p:tagLst xmlns:a="http://schemas.openxmlformats.org/drawingml/2006/main" xmlns:r="http://schemas.openxmlformats.org/officeDocument/2006/relationships" xmlns:p="http://schemas.openxmlformats.org/presentationml/2006/main">
  <p:tag name="ANGLE" val="4"/>
</p:tagLst>
</file>

<file path=ppt/tags/tag829.xml><?xml version="1.0" encoding="utf-8"?>
<p:tagLst xmlns:a="http://schemas.openxmlformats.org/drawingml/2006/main" xmlns:r="http://schemas.openxmlformats.org/officeDocument/2006/relationships" xmlns:p="http://schemas.openxmlformats.org/presentationml/2006/main">
  <p:tag name="ANGLE" val="4"/>
</p:tagLst>
</file>

<file path=ppt/tags/tag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0.xml><?xml version="1.0" encoding="utf-8"?>
<p:tagLst xmlns:a="http://schemas.openxmlformats.org/drawingml/2006/main" xmlns:r="http://schemas.openxmlformats.org/officeDocument/2006/relationships" xmlns:p="http://schemas.openxmlformats.org/presentationml/2006/main">
  <p:tag name="ANGLE" val="3"/>
</p:tagLst>
</file>

<file path=ppt/tags/tag831.xml><?xml version="1.0" encoding="utf-8"?>
<p:tagLst xmlns:a="http://schemas.openxmlformats.org/drawingml/2006/main" xmlns:r="http://schemas.openxmlformats.org/officeDocument/2006/relationships" xmlns:p="http://schemas.openxmlformats.org/presentationml/2006/main">
  <p:tag name="ANGLE" val="3"/>
</p:tagLst>
</file>

<file path=ppt/tags/tag832.xml><?xml version="1.0" encoding="utf-8"?>
<p:tagLst xmlns:a="http://schemas.openxmlformats.org/drawingml/2006/main" xmlns:r="http://schemas.openxmlformats.org/officeDocument/2006/relationships" xmlns:p="http://schemas.openxmlformats.org/presentationml/2006/main">
  <p:tag name="ANGLE" val="2"/>
</p:tagLst>
</file>

<file path=ppt/tags/tag833.xml><?xml version="1.0" encoding="utf-8"?>
<p:tagLst xmlns:a="http://schemas.openxmlformats.org/drawingml/2006/main" xmlns:r="http://schemas.openxmlformats.org/officeDocument/2006/relationships" xmlns:p="http://schemas.openxmlformats.org/presentationml/2006/main">
  <p:tag name="ANGLE" val="2"/>
</p:tagLst>
</file>

<file path=ppt/tags/tag834.xml><?xml version="1.0" encoding="utf-8"?>
<p:tagLst xmlns:a="http://schemas.openxmlformats.org/drawingml/2006/main" xmlns:r="http://schemas.openxmlformats.org/officeDocument/2006/relationships" xmlns:p="http://schemas.openxmlformats.org/presentationml/2006/main">
  <p:tag name="ANGLE" val="1"/>
</p:tagLst>
</file>

<file path=ppt/tags/tag835.xml><?xml version="1.0" encoding="utf-8"?>
<p:tagLst xmlns:a="http://schemas.openxmlformats.org/drawingml/2006/main" xmlns:r="http://schemas.openxmlformats.org/officeDocument/2006/relationships" xmlns:p="http://schemas.openxmlformats.org/presentationml/2006/main">
  <p:tag name="ANGLE" val="1"/>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83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39.xml><?xml version="1.0" encoding="utf-8"?>
<p:tagLst xmlns:a="http://schemas.openxmlformats.org/drawingml/2006/main" xmlns:r="http://schemas.openxmlformats.org/officeDocument/2006/relationships" xmlns:p="http://schemas.openxmlformats.org/presentationml/2006/main">
  <p:tag name="SHAPENAME" val="Subtitle"/>
</p:tagLst>
</file>

<file path=ppt/tags/tag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0.xml><?xml version="1.0" encoding="utf-8"?>
<p:tagLst xmlns:a="http://schemas.openxmlformats.org/drawingml/2006/main" xmlns:r="http://schemas.openxmlformats.org/officeDocument/2006/relationships" xmlns:p="http://schemas.openxmlformats.org/presentationml/2006/main">
  <p:tag name="SHAPENAME" val="Title"/>
</p:tagLst>
</file>

<file path=ppt/tags/tag841.xml><?xml version="1.0" encoding="utf-8"?>
<p:tagLst xmlns:a="http://schemas.openxmlformats.org/drawingml/2006/main" xmlns:r="http://schemas.openxmlformats.org/officeDocument/2006/relationships" xmlns:p="http://schemas.openxmlformats.org/presentationml/2006/main">
  <p:tag name="SHAPENAME" val="Subtitle"/>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8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7.xml><?xml version="1.0" encoding="utf-8"?>
<p:tagLst xmlns:a="http://schemas.openxmlformats.org/drawingml/2006/main" xmlns:r="http://schemas.openxmlformats.org/officeDocument/2006/relationships" xmlns:p="http://schemas.openxmlformats.org/presentationml/2006/main">
  <p:tag name="SHAPENAME" val="5. Source"/>
</p:tagLst>
</file>

<file path=ppt/tags/tag8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SHAPENAME" val="5. Source"/>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8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54.xml><?xml version="1.0" encoding="utf-8"?>
<p:tagLst xmlns:a="http://schemas.openxmlformats.org/drawingml/2006/main" xmlns:r="http://schemas.openxmlformats.org/officeDocument/2006/relationships" xmlns:p="http://schemas.openxmlformats.org/presentationml/2006/main">
  <p:tag name="SHAPENAME" val="5. Source"/>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8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0.xml><?xml version="1.0" encoding="utf-8"?>
<p:tagLst xmlns:a="http://schemas.openxmlformats.org/drawingml/2006/main" xmlns:r="http://schemas.openxmlformats.org/officeDocument/2006/relationships" xmlns:p="http://schemas.openxmlformats.org/presentationml/2006/main">
  <p:tag name="SHAPENAME" val="5. Source"/>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8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6.xml><?xml version="1.0" encoding="utf-8"?>
<p:tagLst xmlns:a="http://schemas.openxmlformats.org/drawingml/2006/main" xmlns:r="http://schemas.openxmlformats.org/officeDocument/2006/relationships" xmlns:p="http://schemas.openxmlformats.org/presentationml/2006/main">
  <p:tag name="SHAPENAME" val="5. Source"/>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8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8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3.xml><?xml version="1.0" encoding="utf-8"?>
<p:tagLst xmlns:a="http://schemas.openxmlformats.org/drawingml/2006/main" xmlns:r="http://schemas.openxmlformats.org/officeDocument/2006/relationships" xmlns:p="http://schemas.openxmlformats.org/presentationml/2006/main">
  <p:tag name="SHAPENAME" val="5. Source"/>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8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1.xml><?xml version="1.0" encoding="utf-8"?>
<p:tagLst xmlns:a="http://schemas.openxmlformats.org/drawingml/2006/main" xmlns:r="http://schemas.openxmlformats.org/officeDocument/2006/relationships" xmlns:p="http://schemas.openxmlformats.org/presentationml/2006/main">
  <p:tag name="SHAPENAME" val="5. Source"/>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8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9.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8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7.xml><?xml version="1.0" encoding="utf-8"?>
<p:tagLst xmlns:a="http://schemas.openxmlformats.org/drawingml/2006/main" xmlns:r="http://schemas.openxmlformats.org/officeDocument/2006/relationships" xmlns:p="http://schemas.openxmlformats.org/presentationml/2006/main">
  <p:tag name="SHAPENAME" val="5. Source"/>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9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0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9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05.xml><?xml version="1.0" encoding="utf-8"?>
<p:tagLst xmlns:a="http://schemas.openxmlformats.org/drawingml/2006/main" xmlns:r="http://schemas.openxmlformats.org/officeDocument/2006/relationships" xmlns:p="http://schemas.openxmlformats.org/presentationml/2006/main">
  <p:tag name="SHAPENAME" val="5. Source"/>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0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9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3.xml><?xml version="1.0" encoding="utf-8"?>
<p:tagLst xmlns:a="http://schemas.openxmlformats.org/drawingml/2006/main" xmlns:r="http://schemas.openxmlformats.org/officeDocument/2006/relationships" xmlns:p="http://schemas.openxmlformats.org/presentationml/2006/main">
  <p:tag name="SHAPENAME" val="5. Source"/>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9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9.xml><?xml version="1.0" encoding="utf-8"?>
<p:tagLst xmlns:a="http://schemas.openxmlformats.org/drawingml/2006/main" xmlns:r="http://schemas.openxmlformats.org/officeDocument/2006/relationships" xmlns:p="http://schemas.openxmlformats.org/presentationml/2006/main">
  <p:tag name="SHAPENAME" val="5. Source"/>
</p:tagLst>
</file>

<file path=ppt/tags/tag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3.xml><?xml version="1.0" encoding="utf-8"?>
<p:tagLst xmlns:a="http://schemas.openxmlformats.org/drawingml/2006/main" xmlns:r="http://schemas.openxmlformats.org/officeDocument/2006/relationships" xmlns:p="http://schemas.openxmlformats.org/presentationml/2006/main">
  <p:tag name="SHAPENAME" val="5. Source"/>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5.xml><?xml version="1.0" encoding="utf-8"?>
<p:tagLst xmlns:a="http://schemas.openxmlformats.org/drawingml/2006/main" xmlns:r="http://schemas.openxmlformats.org/officeDocument/2006/relationships" xmlns:p="http://schemas.openxmlformats.org/presentationml/2006/main">
  <p:tag name="SHAPENAME" val="5. Source"/>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9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3.xml><?xml version="1.0" encoding="utf-8"?>
<p:tagLst xmlns:a="http://schemas.openxmlformats.org/drawingml/2006/main" xmlns:r="http://schemas.openxmlformats.org/officeDocument/2006/relationships" xmlns:p="http://schemas.openxmlformats.org/presentationml/2006/main">
  <p:tag name="SHAPENAME" val="5. Source"/>
</p:tagLst>
</file>

<file path=ppt/tags/tag930.xml><?xml version="1.0" encoding="utf-8"?>
<p:tagLst xmlns:a="http://schemas.openxmlformats.org/drawingml/2006/main" xmlns:r="http://schemas.openxmlformats.org/officeDocument/2006/relationships" xmlns:p="http://schemas.openxmlformats.org/presentationml/2006/main">
  <p:tag name="SHAPENAME" val="Subtitle"/>
</p:tagLst>
</file>

<file path=ppt/tags/tag931.xml><?xml version="1.0" encoding="utf-8"?>
<p:tagLst xmlns:a="http://schemas.openxmlformats.org/drawingml/2006/main" xmlns:r="http://schemas.openxmlformats.org/officeDocument/2006/relationships" xmlns:p="http://schemas.openxmlformats.org/presentationml/2006/main">
  <p:tag name="SHAPENAME" val="Title"/>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9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9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9.xml><?xml version="1.0" encoding="utf-8"?>
<p:tagLst xmlns:a="http://schemas.openxmlformats.org/drawingml/2006/main" xmlns:r="http://schemas.openxmlformats.org/officeDocument/2006/relationships" xmlns:p="http://schemas.openxmlformats.org/presentationml/2006/main">
  <p:tag name="SHAPENAME" val="5. Sourc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95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53.xml><?xml version="1.0" encoding="utf-8"?>
<p:tagLst xmlns:a="http://schemas.openxmlformats.org/drawingml/2006/main" xmlns:r="http://schemas.openxmlformats.org/officeDocument/2006/relationships" xmlns:p="http://schemas.openxmlformats.org/presentationml/2006/main">
  <p:tag name="SHAPENAME" val="Subtitle"/>
</p:tagLst>
</file>

<file path=ppt/tags/tag954.xml><?xml version="1.0" encoding="utf-8"?>
<p:tagLst xmlns:a="http://schemas.openxmlformats.org/drawingml/2006/main" xmlns:r="http://schemas.openxmlformats.org/officeDocument/2006/relationships" xmlns:p="http://schemas.openxmlformats.org/presentationml/2006/main">
  <p:tag name="SHAPENAME" val="Title"/>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7daKI2D5SAYftE3c14ChQ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rIiVVSSGIVucgjcwtvgFHw"/>
</p:tagLst>
</file>

<file path=ppt/tags/tag9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Badtmf.oGfrmBvO7rXqUj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Tgso1ObshROV.NG7pIUprA"/>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gNpOQr1X92u_VoHxdgh1oQ"/>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aAdld7AFZL4gi_SJ.0M20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PefqFvY36vkb1f3M4KTcSA"/>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FJDJYdcm1r99Q.Qjr9KcgQ"/>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HstAiFNCBOo8IxSsUEVJhA"/>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kewz4iXmanc740NL9DuMKA"/>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wpkSs3e3XfeYgRSHWHWGGQ"/>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dOz37Cz9m7PItGmP75q4wA"/>
</p:tagLst>
</file>

<file path=ppt/tags/tag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JtE.Drw_IH_Jdoe3ngxVGg"/>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vVkZnK9_LHc8aqCs4vBQnw"/>
</p:tagLst>
</file>

<file path=ppt/tags/tag972.xml><?xml version="1.0" encoding="utf-8"?>
<p:tagLst xmlns:a="http://schemas.openxmlformats.org/drawingml/2006/main" xmlns:r="http://schemas.openxmlformats.org/officeDocument/2006/relationships" xmlns:p="http://schemas.openxmlformats.org/presentationml/2006/main">
  <p:tag name="NAME" val="CustomIcon"/>
</p:tagLst>
</file>

<file path=ppt/tags/tag973.xml><?xml version="1.0" encoding="utf-8"?>
<p:tagLst xmlns:a="http://schemas.openxmlformats.org/drawingml/2006/main" xmlns:r="http://schemas.openxmlformats.org/officeDocument/2006/relationships" xmlns:p="http://schemas.openxmlformats.org/presentationml/2006/main">
  <p:tag name="NAME" val="CustomIcon"/>
</p:tagLst>
</file>

<file path=ppt/tags/tag974.xml><?xml version="1.0" encoding="utf-8"?>
<p:tagLst xmlns:a="http://schemas.openxmlformats.org/drawingml/2006/main" xmlns:r="http://schemas.openxmlformats.org/officeDocument/2006/relationships" xmlns:p="http://schemas.openxmlformats.org/presentationml/2006/main">
  <p:tag name="NAME" val="CustomIcon"/>
</p:tagLst>
</file>

<file path=ppt/tags/tag975.xml><?xml version="1.0" encoding="utf-8"?>
<p:tagLst xmlns:a="http://schemas.openxmlformats.org/drawingml/2006/main" xmlns:r="http://schemas.openxmlformats.org/officeDocument/2006/relationships" xmlns:p="http://schemas.openxmlformats.org/presentationml/2006/main">
  <p:tag name="NAME" val="CustomIcon"/>
</p:tagLst>
</file>

<file path=ppt/tags/tag976.xml><?xml version="1.0" encoding="utf-8"?>
<p:tagLst xmlns:a="http://schemas.openxmlformats.org/drawingml/2006/main" xmlns:r="http://schemas.openxmlformats.org/officeDocument/2006/relationships" xmlns:p="http://schemas.openxmlformats.org/presentationml/2006/main">
  <p:tag name="NAME" val="CustomIcon"/>
</p:tagLst>
</file>

<file path=ppt/tags/tag977.xml><?xml version="1.0" encoding="utf-8"?>
<p:tagLst xmlns:a="http://schemas.openxmlformats.org/drawingml/2006/main" xmlns:r="http://schemas.openxmlformats.org/officeDocument/2006/relationships" xmlns:p="http://schemas.openxmlformats.org/presentationml/2006/main">
  <p:tag name="NAME" val="4. Footnote"/>
</p:tagLst>
</file>

<file path=ppt/tags/tag978.xml><?xml version="1.0" encoding="utf-8"?>
<p:tagLst xmlns:a="http://schemas.openxmlformats.org/drawingml/2006/main" xmlns:r="http://schemas.openxmlformats.org/officeDocument/2006/relationships" xmlns:p="http://schemas.openxmlformats.org/presentationml/2006/main">
  <p:tag name="NAME" val="5. Source"/>
</p:tagLst>
</file>

<file path=ppt/tags/tag9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980.xml><?xml version="1.0" encoding="utf-8"?>
<p:tagLst xmlns:a="http://schemas.openxmlformats.org/drawingml/2006/main" xmlns:r="http://schemas.openxmlformats.org/officeDocument/2006/relationships" xmlns:p="http://schemas.openxmlformats.org/presentationml/2006/main">
  <p:tag name="NAME" val="CustomIcon"/>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ZubhjK8JSFNos9eP3.P9qQ"/>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EffrW832xf7X8dANnqxjSw"/>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Orkqs1dY.N9r0k4uuvfrGA"/>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1GlDa9idD4OOXT0i07qglg"/>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kGgKt6gOzPLzf3ZY7Y2Weg"/>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dYBvUgslUm8kZwt3Eqp4iA"/>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jDp2ZJocqBtNWvetDTNyw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XdwBB3AiiHGmWl4RIIyfaQ"/>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TE30xjZycnzZZef57w4pfg"/>
</p:tagLst>
</file>

<file path=ppt/tags/tag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KNWxTYQIkc6r9Zd9mKx7aw"/>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jRfrUiL9EmI1fBIG1Q7Bsg"/>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fZbs9RQY_YXjqHITn_nMPA"/>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u._x3pgbv4f85B9iweMBCg"/>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YhC51H4279x5VjW60oVGW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b5ufwxWwWhF2cMTEGLLvmg"/>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pNqUB2bzeJqAqzKAc6HN_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dXWY_qcWdEnr79b4eZqqt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s68vSsiVP7SWWwnazjLSlQ"/>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_oUkasldIILOuMGXhDyE0g"/>
</p:tagLst>
</file>

<file path=ppt/theme/theme1.xml><?xml version="1.0" encoding="utf-8"?>
<a:theme xmlns:a="http://schemas.openxmlformats.org/drawingml/2006/main" name="Default Theme">
  <a:themeElements>
    <a:clrScheme name="Energie">
      <a:dk1>
        <a:sysClr val="windowText" lastClr="000000"/>
      </a:dk1>
      <a:lt1>
        <a:sysClr val="window" lastClr="FFFFFF"/>
      </a:lt1>
      <a:dk2>
        <a:srgbClr val="000000"/>
      </a:dk2>
      <a:lt2>
        <a:srgbClr val="F8F8F8"/>
      </a:lt2>
      <a:accent1>
        <a:srgbClr val="004FA1"/>
      </a:accent1>
      <a:accent2>
        <a:srgbClr val="5CC8A8"/>
      </a:accent2>
      <a:accent3>
        <a:srgbClr val="FF8A2B"/>
      </a:accent3>
      <a:accent4>
        <a:srgbClr val="808080"/>
      </a:accent4>
      <a:accent5>
        <a:srgbClr val="5F5F5F"/>
      </a:accent5>
      <a:accent6>
        <a:srgbClr val="4D4D4D"/>
      </a:accent6>
      <a:hlink>
        <a:srgbClr val="002060"/>
      </a:hlink>
      <a:folHlink>
        <a:srgbClr val="919191"/>
      </a:folHlink>
    </a:clrScheme>
    <a:fontScheme name="Profil">
      <a:majorFont>
        <a:latin typeface="Trebuchet MS"/>
        <a:ea typeface=""/>
        <a:cs typeface=""/>
      </a:majorFont>
      <a:minorFont>
        <a:latin typeface="Trebuchet M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w="12700">
          <a:solidFill>
            <a:srgbClr val="4C5D68"/>
          </a:solidFill>
        </a:ln>
      </a:spPr>
      <a:bodyPr rtlCol="0" anchor="ctr"/>
      <a:lstStyle>
        <a:defPPr algn="ctr">
          <a:defRPr dirty="0" err="1" smtClean="0">
            <a:solidFill>
              <a:schemeClr val="tx1"/>
            </a:solidFill>
            <a:latin typeface="Verdana" pitchFamily="34" charset="0"/>
            <a:ea typeface="Verdana" pitchFamily="34" charset="0"/>
            <a:cs typeface="Verdana"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dirty="0" smtClean="0">
            <a:latin typeface="Trebuchet MS" pitchFamily="34" charset="0"/>
          </a:defRPr>
        </a:defPPr>
      </a:lstStyle>
    </a:txDef>
  </a:objectDefaults>
  <a:extraClrSchemeLst>
    <a:extraClrScheme>
      <a:clrScheme name="Profil 1">
        <a:dk1>
          <a:srgbClr val="A50021"/>
        </a:dk1>
        <a:lt1>
          <a:srgbClr val="FFFFFF"/>
        </a:lt1>
        <a:dk2>
          <a:srgbClr val="800000"/>
        </a:dk2>
        <a:lt2>
          <a:srgbClr val="FFFFFF"/>
        </a:lt2>
        <a:accent1>
          <a:srgbClr val="FF9900"/>
        </a:accent1>
        <a:accent2>
          <a:srgbClr val="FF3300"/>
        </a:accent2>
        <a:accent3>
          <a:srgbClr val="C0AAAA"/>
        </a:accent3>
        <a:accent4>
          <a:srgbClr val="DADADA"/>
        </a:accent4>
        <a:accent5>
          <a:srgbClr val="FFCAAA"/>
        </a:accent5>
        <a:accent6>
          <a:srgbClr val="E72D00"/>
        </a:accent6>
        <a:hlink>
          <a:srgbClr val="FFFFCC"/>
        </a:hlink>
        <a:folHlink>
          <a:srgbClr val="FFCC99"/>
        </a:folHlink>
      </a:clrScheme>
      <a:clrMap bg1="dk2" tx1="lt1" bg2="dk1" tx2="lt2" accent1="accent1" accent2="accent2" accent3="accent3" accent4="accent4" accent5="accent5" accent6="accent6" hlink="hlink" folHlink="folHlink"/>
    </a:extraClrScheme>
    <a:extraClrScheme>
      <a:clrScheme name="Profil 2">
        <a:dk1>
          <a:srgbClr val="3C001E"/>
        </a:dk1>
        <a:lt1>
          <a:srgbClr val="FFFFFF"/>
        </a:lt1>
        <a:dk2>
          <a:srgbClr val="51072E"/>
        </a:dk2>
        <a:lt2>
          <a:srgbClr val="FFFFFF"/>
        </a:lt2>
        <a:accent1>
          <a:srgbClr val="89A38F"/>
        </a:accent1>
        <a:accent2>
          <a:srgbClr val="666699"/>
        </a:accent2>
        <a:accent3>
          <a:srgbClr val="B3AAAD"/>
        </a:accent3>
        <a:accent4>
          <a:srgbClr val="DADADA"/>
        </a:accent4>
        <a:accent5>
          <a:srgbClr val="C4CEC6"/>
        </a:accent5>
        <a:accent6>
          <a:srgbClr val="5C5C8A"/>
        </a:accent6>
        <a:hlink>
          <a:srgbClr val="808000"/>
        </a:hlink>
        <a:folHlink>
          <a:srgbClr val="666633"/>
        </a:folHlink>
      </a:clrScheme>
      <a:clrMap bg1="dk2" tx1="lt1" bg2="dk1" tx2="lt2" accent1="accent1" accent2="accent2" accent3="accent3" accent4="accent4" accent5="accent5" accent6="accent6" hlink="hlink" folHlink="folHlink"/>
    </a:extraClrScheme>
    <a:extraClrScheme>
      <a:clrScheme name="Profil 3">
        <a:dk1>
          <a:srgbClr val="333333"/>
        </a:dk1>
        <a:lt1>
          <a:srgbClr val="FFFFFF"/>
        </a:lt1>
        <a:dk2>
          <a:srgbClr val="000000"/>
        </a:dk2>
        <a:lt2>
          <a:srgbClr val="FFFFFF"/>
        </a:lt2>
        <a:accent1>
          <a:srgbClr val="3399FF"/>
        </a:accent1>
        <a:accent2>
          <a:srgbClr val="CC0000"/>
        </a:accent2>
        <a:accent3>
          <a:srgbClr val="AAAAAA"/>
        </a:accent3>
        <a:accent4>
          <a:srgbClr val="DADADA"/>
        </a:accent4>
        <a:accent5>
          <a:srgbClr val="ADCAFF"/>
        </a:accent5>
        <a:accent6>
          <a:srgbClr val="B90000"/>
        </a:accent6>
        <a:hlink>
          <a:srgbClr val="666699"/>
        </a:hlink>
        <a:folHlink>
          <a:srgbClr val="6600CC"/>
        </a:folHlink>
      </a:clrScheme>
      <a:clrMap bg1="dk2" tx1="lt1" bg2="dk1" tx2="lt2" accent1="accent1" accent2="accent2" accent3="accent3" accent4="accent4" accent5="accent5" accent6="accent6" hlink="hlink" folHlink="folHlink"/>
    </a:extraClrScheme>
    <a:extraClrScheme>
      <a:clrScheme name="Profil 4">
        <a:dk1>
          <a:srgbClr val="4B3D1B"/>
        </a:dk1>
        <a:lt1>
          <a:srgbClr val="FFFFFF"/>
        </a:lt1>
        <a:dk2>
          <a:srgbClr val="330000"/>
        </a:dk2>
        <a:lt2>
          <a:srgbClr val="FFFFFF"/>
        </a:lt2>
        <a:accent1>
          <a:srgbClr val="CC9900"/>
        </a:accent1>
        <a:accent2>
          <a:srgbClr val="CC6600"/>
        </a:accent2>
        <a:accent3>
          <a:srgbClr val="ADAAAA"/>
        </a:accent3>
        <a:accent4>
          <a:srgbClr val="DADADA"/>
        </a:accent4>
        <a:accent5>
          <a:srgbClr val="E2CAAA"/>
        </a:accent5>
        <a:accent6>
          <a:srgbClr val="B95C00"/>
        </a:accent6>
        <a:hlink>
          <a:srgbClr val="666699"/>
        </a:hlink>
        <a:folHlink>
          <a:srgbClr val="CCCC00"/>
        </a:folHlink>
      </a:clrScheme>
      <a:clrMap bg1="dk2" tx1="lt1" bg2="dk1" tx2="lt2" accent1="accent1" accent2="accent2" accent3="accent3" accent4="accent4" accent5="accent5" accent6="accent6" hlink="hlink" folHlink="folHlink"/>
    </a:extraClrScheme>
    <a:extraClrScheme>
      <a:clrScheme name="Profil 5">
        <a:dk1>
          <a:srgbClr val="006666"/>
        </a:dk1>
        <a:lt1>
          <a:srgbClr val="FFFFFF"/>
        </a:lt1>
        <a:dk2>
          <a:srgbClr val="003366"/>
        </a:dk2>
        <a:lt2>
          <a:srgbClr val="FFFFFF"/>
        </a:lt2>
        <a:accent1>
          <a:srgbClr val="0099CC"/>
        </a:accent1>
        <a:accent2>
          <a:srgbClr val="6666FF"/>
        </a:accent2>
        <a:accent3>
          <a:srgbClr val="AAADB8"/>
        </a:accent3>
        <a:accent4>
          <a:srgbClr val="DADADA"/>
        </a:accent4>
        <a:accent5>
          <a:srgbClr val="AACAE2"/>
        </a:accent5>
        <a:accent6>
          <a:srgbClr val="5C5CE7"/>
        </a:accent6>
        <a:hlink>
          <a:srgbClr val="FFFFCC"/>
        </a:hlink>
        <a:folHlink>
          <a:srgbClr val="FFCC00"/>
        </a:folHlink>
      </a:clrScheme>
      <a:clrMap bg1="dk2" tx1="lt1" bg2="dk1" tx2="lt2" accent1="accent1" accent2="accent2" accent3="accent3" accent4="accent4" accent5="accent5" accent6="accent6" hlink="hlink" folHlink="folHlink"/>
    </a:extraClrScheme>
    <a:extraClrScheme>
      <a:clrScheme name="Profil 6">
        <a:dk1>
          <a:srgbClr val="003366"/>
        </a:dk1>
        <a:lt1>
          <a:srgbClr val="FFFFFF"/>
        </a:lt1>
        <a:dk2>
          <a:srgbClr val="006666"/>
        </a:dk2>
        <a:lt2>
          <a:srgbClr val="FFFFFF"/>
        </a:lt2>
        <a:accent1>
          <a:srgbClr val="6699FF"/>
        </a:accent1>
        <a:accent2>
          <a:srgbClr val="00CCFF"/>
        </a:accent2>
        <a:accent3>
          <a:srgbClr val="AAB8B8"/>
        </a:accent3>
        <a:accent4>
          <a:srgbClr val="DADADA"/>
        </a:accent4>
        <a:accent5>
          <a:srgbClr val="B8CAFF"/>
        </a:accent5>
        <a:accent6>
          <a:srgbClr val="00B9E7"/>
        </a:accent6>
        <a:hlink>
          <a:srgbClr val="FFFFCC"/>
        </a:hlink>
        <a:folHlink>
          <a:srgbClr val="33CCCC"/>
        </a:folHlink>
      </a:clrScheme>
      <a:clrMap bg1="dk2" tx1="lt1" bg2="dk1" tx2="lt2" accent1="accent1" accent2="accent2" accent3="accent3" accent4="accent4" accent5="accent5" accent6="accent6" hlink="hlink" folHlink="folHlink"/>
    </a:extraClrScheme>
    <a:extraClrScheme>
      <a:clrScheme name="Profil 7">
        <a:dk1>
          <a:srgbClr val="000000"/>
        </a:dk1>
        <a:lt1>
          <a:srgbClr val="619CB1"/>
        </a:lt1>
        <a:dk2>
          <a:srgbClr val="FFFFFF"/>
        </a:dk2>
        <a:lt2>
          <a:srgbClr val="4E899E"/>
        </a:lt2>
        <a:accent1>
          <a:srgbClr val="FFCC00"/>
        </a:accent1>
        <a:accent2>
          <a:srgbClr val="B6523E"/>
        </a:accent2>
        <a:accent3>
          <a:srgbClr val="B7CBD5"/>
        </a:accent3>
        <a:accent4>
          <a:srgbClr val="000000"/>
        </a:accent4>
        <a:accent5>
          <a:srgbClr val="FFE2AA"/>
        </a:accent5>
        <a:accent6>
          <a:srgbClr val="A54937"/>
        </a:accent6>
        <a:hlink>
          <a:srgbClr val="99CC00"/>
        </a:hlink>
        <a:folHlink>
          <a:srgbClr val="666699"/>
        </a:folHlink>
      </a:clrScheme>
      <a:clrMap bg1="lt1" tx1="dk1" bg2="lt2" tx2="dk2" accent1="accent1" accent2="accent2" accent3="accent3" accent4="accent4" accent5="accent5" accent6="accent6" hlink="hlink" folHlink="folHlink"/>
    </a:extraClrScheme>
    <a:extraClrScheme>
      <a:clrScheme name="Profil 8">
        <a:dk1>
          <a:srgbClr val="598600"/>
        </a:dk1>
        <a:lt1>
          <a:srgbClr val="FFFFFF"/>
        </a:lt1>
        <a:dk2>
          <a:srgbClr val="336600"/>
        </a:dk2>
        <a:lt2>
          <a:srgbClr val="FFFFFF"/>
        </a:lt2>
        <a:accent1>
          <a:srgbClr val="33CC33"/>
        </a:accent1>
        <a:accent2>
          <a:srgbClr val="99CC00"/>
        </a:accent2>
        <a:accent3>
          <a:srgbClr val="ADB8AA"/>
        </a:accent3>
        <a:accent4>
          <a:srgbClr val="DADADA"/>
        </a:accent4>
        <a:accent5>
          <a:srgbClr val="ADE2AD"/>
        </a:accent5>
        <a:accent6>
          <a:srgbClr val="8AB900"/>
        </a:accent6>
        <a:hlink>
          <a:srgbClr val="FFCC00"/>
        </a:hlink>
        <a:folHlink>
          <a:srgbClr val="FFFF99"/>
        </a:folHlink>
      </a:clrScheme>
      <a:clrMap bg1="dk2" tx1="lt1" bg2="dk1" tx2="lt2" accent1="accent1" accent2="accent2" accent3="accent3" accent4="accent4" accent5="accent5" accent6="accent6" hlink="hlink" folHlink="folHlink"/>
    </a:extraClrScheme>
    <a:extraClrScheme>
      <a:clrScheme name="Profil 9">
        <a:dk1>
          <a:srgbClr val="000000"/>
        </a:dk1>
        <a:lt1>
          <a:srgbClr val="FFFFFF"/>
        </a:lt1>
        <a:dk2>
          <a:srgbClr val="000000"/>
        </a:dk2>
        <a:lt2>
          <a:srgbClr val="DDDDDD"/>
        </a:lt2>
        <a:accent1>
          <a:srgbClr val="A3B2C1"/>
        </a:accent1>
        <a:accent2>
          <a:srgbClr val="CC0000"/>
        </a:accent2>
        <a:accent3>
          <a:srgbClr val="FFFFFF"/>
        </a:accent3>
        <a:accent4>
          <a:srgbClr val="000000"/>
        </a:accent4>
        <a:accent5>
          <a:srgbClr val="CED5DD"/>
        </a:accent5>
        <a:accent6>
          <a:srgbClr val="B90000"/>
        </a:accent6>
        <a:hlink>
          <a:srgbClr val="336699"/>
        </a:hlink>
        <a:folHlink>
          <a:srgbClr val="003366"/>
        </a:folHlink>
      </a:clrScheme>
      <a:clrMap bg1="lt1" tx1="dk1" bg2="lt2" tx2="dk2" accent1="accent1" accent2="accent2" accent3="accent3" accent4="accent4" accent5="accent5" accent6="accent6" hlink="hlink" folHlink="folHlink"/>
    </a:extraClrScheme>
    <a:extraClrScheme>
      <a:clrScheme name="Profil 10">
        <a:dk1>
          <a:srgbClr val="000000"/>
        </a:dk1>
        <a:lt1>
          <a:srgbClr val="FFFFFF"/>
        </a:lt1>
        <a:dk2>
          <a:srgbClr val="000000"/>
        </a:dk2>
        <a:lt2>
          <a:srgbClr val="DDDDDD"/>
        </a:lt2>
        <a:accent1>
          <a:srgbClr val="A3B2C1"/>
        </a:accent1>
        <a:accent2>
          <a:srgbClr val="CC0000"/>
        </a:accent2>
        <a:accent3>
          <a:srgbClr val="FFFFFF"/>
        </a:accent3>
        <a:accent4>
          <a:srgbClr val="000000"/>
        </a:accent4>
        <a:accent5>
          <a:srgbClr val="CED5DD"/>
        </a:accent5>
        <a:accent6>
          <a:srgbClr val="B90000"/>
        </a:accent6>
        <a:hlink>
          <a:srgbClr val="000000"/>
        </a:hlink>
        <a:folHlink>
          <a:srgbClr val="003366"/>
        </a:folHlink>
      </a:clrScheme>
      <a:clrMap bg1="lt1" tx1="dk1" bg2="lt2" tx2="dk2" accent1="accent1" accent2="accent2" accent3="accent3" accent4="accent4" accent5="accent5" accent6="accent6" hlink="hlink" folHlink="folHlink"/>
    </a:extraClrScheme>
    <a:extraClrScheme>
      <a:clrScheme name="Profil 11">
        <a:dk1>
          <a:srgbClr val="000000"/>
        </a:dk1>
        <a:lt1>
          <a:srgbClr val="FFFFFF"/>
        </a:lt1>
        <a:dk2>
          <a:srgbClr val="000000"/>
        </a:dk2>
        <a:lt2>
          <a:srgbClr val="DDDDDD"/>
        </a:lt2>
        <a:accent1>
          <a:srgbClr val="A3B2C1"/>
        </a:accent1>
        <a:accent2>
          <a:srgbClr val="CC0000"/>
        </a:accent2>
        <a:accent3>
          <a:srgbClr val="FFFFFF"/>
        </a:accent3>
        <a:accent4>
          <a:srgbClr val="000000"/>
        </a:accent4>
        <a:accent5>
          <a:srgbClr val="CED5DD"/>
        </a:accent5>
        <a:accent6>
          <a:srgbClr val="B90000"/>
        </a:accent6>
        <a:hlink>
          <a:srgbClr val="000000"/>
        </a:hlink>
        <a:folHlink>
          <a:srgbClr val="000000"/>
        </a:folHlink>
      </a:clrScheme>
      <a:clrMap bg1="lt1" tx1="dk1" bg2="lt2" tx2="dk2" accent1="accent1" accent2="accent2" accent3="accent3" accent4="accent4" accent5="accent5" accent6="accent6" hlink="hlink" folHlink="folHlink"/>
    </a:extraClrScheme>
    <a:extraClrScheme>
      <a:clrScheme name="Profil 12">
        <a:dk1>
          <a:srgbClr val="000000"/>
        </a:dk1>
        <a:lt1>
          <a:srgbClr val="FFFFFF"/>
        </a:lt1>
        <a:dk2>
          <a:srgbClr val="000000"/>
        </a:dk2>
        <a:lt2>
          <a:srgbClr val="DDDDDD"/>
        </a:lt2>
        <a:accent1>
          <a:srgbClr val="A3B2C1"/>
        </a:accent1>
        <a:accent2>
          <a:srgbClr val="FF0000"/>
        </a:accent2>
        <a:accent3>
          <a:srgbClr val="FFFFFF"/>
        </a:accent3>
        <a:accent4>
          <a:srgbClr val="000000"/>
        </a:accent4>
        <a:accent5>
          <a:srgbClr val="CED5DD"/>
        </a:accent5>
        <a:accent6>
          <a:srgbClr val="E70000"/>
        </a:accent6>
        <a:hlink>
          <a:srgbClr val="336699"/>
        </a:hlink>
        <a:folHlink>
          <a:srgbClr val="003366"/>
        </a:folHlink>
      </a:clrScheme>
      <a:clrMap bg1="lt1" tx1="dk1" bg2="lt2" tx2="dk2" accent1="accent1" accent2="accent2" accent3="accent3" accent4="accent4" accent5="accent5" accent6="accent6" hlink="hlink" folHlink="folHlink"/>
    </a:extraClrScheme>
    <a:extraClrScheme>
      <a:clrScheme name="Profil 13">
        <a:dk1>
          <a:srgbClr val="000000"/>
        </a:dk1>
        <a:lt1>
          <a:srgbClr val="FFFFFF"/>
        </a:lt1>
        <a:dk2>
          <a:srgbClr val="000000"/>
        </a:dk2>
        <a:lt2>
          <a:srgbClr val="DDDDDD"/>
        </a:lt2>
        <a:accent1>
          <a:srgbClr val="A3B2C1"/>
        </a:accent1>
        <a:accent2>
          <a:srgbClr val="FF0000"/>
        </a:accent2>
        <a:accent3>
          <a:srgbClr val="FFFFFF"/>
        </a:accent3>
        <a:accent4>
          <a:srgbClr val="000000"/>
        </a:accent4>
        <a:accent5>
          <a:srgbClr val="CED5DD"/>
        </a:accent5>
        <a:accent6>
          <a:srgbClr val="E70000"/>
        </a:accent6>
        <a:hlink>
          <a:srgbClr val="4C5D68"/>
        </a:hlink>
        <a:folHlink>
          <a:srgbClr val="4C5D68"/>
        </a:folHlink>
      </a:clrScheme>
      <a:clrMap bg1="lt1" tx1="dk1" bg2="lt2" tx2="dk2" accent1="accent1" accent2="accent2" accent3="accent3" accent4="accent4" accent5="accent5" accent6="accent6" hlink="hlink" folHlink="folHlink"/>
    </a:extraClrScheme>
    <a:extraClrScheme>
      <a:clrScheme name="Profil 14">
        <a:dk1>
          <a:srgbClr val="000000"/>
        </a:dk1>
        <a:lt1>
          <a:srgbClr val="FFFFFF"/>
        </a:lt1>
        <a:dk2>
          <a:srgbClr val="000000"/>
        </a:dk2>
        <a:lt2>
          <a:srgbClr val="DDDDDD"/>
        </a:lt2>
        <a:accent1>
          <a:srgbClr val="E6EAF0"/>
        </a:accent1>
        <a:accent2>
          <a:srgbClr val="FF0000"/>
        </a:accent2>
        <a:accent3>
          <a:srgbClr val="FFFFFF"/>
        </a:accent3>
        <a:accent4>
          <a:srgbClr val="000000"/>
        </a:accent4>
        <a:accent5>
          <a:srgbClr val="F0F3F6"/>
        </a:accent5>
        <a:accent6>
          <a:srgbClr val="E70000"/>
        </a:accent6>
        <a:hlink>
          <a:srgbClr val="4C5D68"/>
        </a:hlink>
        <a:folHlink>
          <a:srgbClr val="4C5D6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fault Theme" id="{1BA71DE1-AD6A-44A9-B10F-9764C9FCB468}" vid="{2572A711-CF25-4D25-A710-F19E835B9966}"/>
    </a:ext>
  </a:extLst>
</a:theme>
</file>

<file path=ppt/theme/theme10.xml><?xml version="1.0" encoding="utf-8"?>
<a:theme xmlns:a="http://schemas.openxmlformats.org/drawingml/2006/main" name="2_Default Theme">
  <a:themeElements>
    <a:clrScheme name="Energie">
      <a:dk1>
        <a:sysClr val="windowText" lastClr="000000"/>
      </a:dk1>
      <a:lt1>
        <a:sysClr val="window" lastClr="FFFFFF"/>
      </a:lt1>
      <a:dk2>
        <a:srgbClr val="000000"/>
      </a:dk2>
      <a:lt2>
        <a:srgbClr val="F8F8F8"/>
      </a:lt2>
      <a:accent1>
        <a:srgbClr val="004FA1"/>
      </a:accent1>
      <a:accent2>
        <a:srgbClr val="5CC8A8"/>
      </a:accent2>
      <a:accent3>
        <a:srgbClr val="FF8A2B"/>
      </a:accent3>
      <a:accent4>
        <a:srgbClr val="808080"/>
      </a:accent4>
      <a:accent5>
        <a:srgbClr val="5F5F5F"/>
      </a:accent5>
      <a:accent6>
        <a:srgbClr val="4D4D4D"/>
      </a:accent6>
      <a:hlink>
        <a:srgbClr val="002060"/>
      </a:hlink>
      <a:folHlink>
        <a:srgbClr val="919191"/>
      </a:folHlink>
    </a:clrScheme>
    <a:fontScheme name="Profil">
      <a:majorFont>
        <a:latin typeface="Trebuchet MS"/>
        <a:ea typeface=""/>
        <a:cs typeface=""/>
      </a:majorFont>
      <a:minorFont>
        <a:latin typeface="Trebuchet M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w="12700">
          <a:solidFill>
            <a:srgbClr val="4C5D68"/>
          </a:solidFill>
        </a:ln>
      </a:spPr>
      <a:bodyPr rtlCol="0" anchor="ctr"/>
      <a:lstStyle>
        <a:defPPr algn="ctr">
          <a:defRPr dirty="0" err="1" smtClean="0">
            <a:solidFill>
              <a:schemeClr val="tx1"/>
            </a:solidFill>
            <a:latin typeface="Verdana" pitchFamily="34" charset="0"/>
            <a:ea typeface="Verdana" pitchFamily="34" charset="0"/>
            <a:cs typeface="Verdana"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dirty="0" smtClean="0">
            <a:latin typeface="Trebuchet MS" pitchFamily="34" charset="0"/>
          </a:defRPr>
        </a:defPPr>
      </a:lstStyle>
    </a:txDef>
  </a:objectDefaults>
  <a:extraClrSchemeLst>
    <a:extraClrScheme>
      <a:clrScheme name="Profil 1">
        <a:dk1>
          <a:srgbClr val="A50021"/>
        </a:dk1>
        <a:lt1>
          <a:srgbClr val="FFFFFF"/>
        </a:lt1>
        <a:dk2>
          <a:srgbClr val="800000"/>
        </a:dk2>
        <a:lt2>
          <a:srgbClr val="FFFFFF"/>
        </a:lt2>
        <a:accent1>
          <a:srgbClr val="FF9900"/>
        </a:accent1>
        <a:accent2>
          <a:srgbClr val="FF3300"/>
        </a:accent2>
        <a:accent3>
          <a:srgbClr val="C0AAAA"/>
        </a:accent3>
        <a:accent4>
          <a:srgbClr val="DADADA"/>
        </a:accent4>
        <a:accent5>
          <a:srgbClr val="FFCAAA"/>
        </a:accent5>
        <a:accent6>
          <a:srgbClr val="E72D00"/>
        </a:accent6>
        <a:hlink>
          <a:srgbClr val="FFFFCC"/>
        </a:hlink>
        <a:folHlink>
          <a:srgbClr val="FFCC99"/>
        </a:folHlink>
      </a:clrScheme>
      <a:clrMap bg1="dk2" tx1="lt1" bg2="dk1" tx2="lt2" accent1="accent1" accent2="accent2" accent3="accent3" accent4="accent4" accent5="accent5" accent6="accent6" hlink="hlink" folHlink="folHlink"/>
    </a:extraClrScheme>
    <a:extraClrScheme>
      <a:clrScheme name="Profil 2">
        <a:dk1>
          <a:srgbClr val="3C001E"/>
        </a:dk1>
        <a:lt1>
          <a:srgbClr val="FFFFFF"/>
        </a:lt1>
        <a:dk2>
          <a:srgbClr val="51072E"/>
        </a:dk2>
        <a:lt2>
          <a:srgbClr val="FFFFFF"/>
        </a:lt2>
        <a:accent1>
          <a:srgbClr val="89A38F"/>
        </a:accent1>
        <a:accent2>
          <a:srgbClr val="666699"/>
        </a:accent2>
        <a:accent3>
          <a:srgbClr val="B3AAAD"/>
        </a:accent3>
        <a:accent4>
          <a:srgbClr val="DADADA"/>
        </a:accent4>
        <a:accent5>
          <a:srgbClr val="C4CEC6"/>
        </a:accent5>
        <a:accent6>
          <a:srgbClr val="5C5C8A"/>
        </a:accent6>
        <a:hlink>
          <a:srgbClr val="808000"/>
        </a:hlink>
        <a:folHlink>
          <a:srgbClr val="666633"/>
        </a:folHlink>
      </a:clrScheme>
      <a:clrMap bg1="dk2" tx1="lt1" bg2="dk1" tx2="lt2" accent1="accent1" accent2="accent2" accent3="accent3" accent4="accent4" accent5="accent5" accent6="accent6" hlink="hlink" folHlink="folHlink"/>
    </a:extraClrScheme>
    <a:extraClrScheme>
      <a:clrScheme name="Profil 3">
        <a:dk1>
          <a:srgbClr val="333333"/>
        </a:dk1>
        <a:lt1>
          <a:srgbClr val="FFFFFF"/>
        </a:lt1>
        <a:dk2>
          <a:srgbClr val="000000"/>
        </a:dk2>
        <a:lt2>
          <a:srgbClr val="FFFFFF"/>
        </a:lt2>
        <a:accent1>
          <a:srgbClr val="3399FF"/>
        </a:accent1>
        <a:accent2>
          <a:srgbClr val="CC0000"/>
        </a:accent2>
        <a:accent3>
          <a:srgbClr val="AAAAAA"/>
        </a:accent3>
        <a:accent4>
          <a:srgbClr val="DADADA"/>
        </a:accent4>
        <a:accent5>
          <a:srgbClr val="ADCAFF"/>
        </a:accent5>
        <a:accent6>
          <a:srgbClr val="B90000"/>
        </a:accent6>
        <a:hlink>
          <a:srgbClr val="666699"/>
        </a:hlink>
        <a:folHlink>
          <a:srgbClr val="6600CC"/>
        </a:folHlink>
      </a:clrScheme>
      <a:clrMap bg1="dk2" tx1="lt1" bg2="dk1" tx2="lt2" accent1="accent1" accent2="accent2" accent3="accent3" accent4="accent4" accent5="accent5" accent6="accent6" hlink="hlink" folHlink="folHlink"/>
    </a:extraClrScheme>
    <a:extraClrScheme>
      <a:clrScheme name="Profil 4">
        <a:dk1>
          <a:srgbClr val="4B3D1B"/>
        </a:dk1>
        <a:lt1>
          <a:srgbClr val="FFFFFF"/>
        </a:lt1>
        <a:dk2>
          <a:srgbClr val="330000"/>
        </a:dk2>
        <a:lt2>
          <a:srgbClr val="FFFFFF"/>
        </a:lt2>
        <a:accent1>
          <a:srgbClr val="CC9900"/>
        </a:accent1>
        <a:accent2>
          <a:srgbClr val="CC6600"/>
        </a:accent2>
        <a:accent3>
          <a:srgbClr val="ADAAAA"/>
        </a:accent3>
        <a:accent4>
          <a:srgbClr val="DADADA"/>
        </a:accent4>
        <a:accent5>
          <a:srgbClr val="E2CAAA"/>
        </a:accent5>
        <a:accent6>
          <a:srgbClr val="B95C00"/>
        </a:accent6>
        <a:hlink>
          <a:srgbClr val="666699"/>
        </a:hlink>
        <a:folHlink>
          <a:srgbClr val="CCCC00"/>
        </a:folHlink>
      </a:clrScheme>
      <a:clrMap bg1="dk2" tx1="lt1" bg2="dk1" tx2="lt2" accent1="accent1" accent2="accent2" accent3="accent3" accent4="accent4" accent5="accent5" accent6="accent6" hlink="hlink" folHlink="folHlink"/>
    </a:extraClrScheme>
    <a:extraClrScheme>
      <a:clrScheme name="Profil 5">
        <a:dk1>
          <a:srgbClr val="006666"/>
        </a:dk1>
        <a:lt1>
          <a:srgbClr val="FFFFFF"/>
        </a:lt1>
        <a:dk2>
          <a:srgbClr val="003366"/>
        </a:dk2>
        <a:lt2>
          <a:srgbClr val="FFFFFF"/>
        </a:lt2>
        <a:accent1>
          <a:srgbClr val="0099CC"/>
        </a:accent1>
        <a:accent2>
          <a:srgbClr val="6666FF"/>
        </a:accent2>
        <a:accent3>
          <a:srgbClr val="AAADB8"/>
        </a:accent3>
        <a:accent4>
          <a:srgbClr val="DADADA"/>
        </a:accent4>
        <a:accent5>
          <a:srgbClr val="AACAE2"/>
        </a:accent5>
        <a:accent6>
          <a:srgbClr val="5C5CE7"/>
        </a:accent6>
        <a:hlink>
          <a:srgbClr val="FFFFCC"/>
        </a:hlink>
        <a:folHlink>
          <a:srgbClr val="FFCC00"/>
        </a:folHlink>
      </a:clrScheme>
      <a:clrMap bg1="dk2" tx1="lt1" bg2="dk1" tx2="lt2" accent1="accent1" accent2="accent2" accent3="accent3" accent4="accent4" accent5="accent5" accent6="accent6" hlink="hlink" folHlink="folHlink"/>
    </a:extraClrScheme>
    <a:extraClrScheme>
      <a:clrScheme name="Profil 6">
        <a:dk1>
          <a:srgbClr val="003366"/>
        </a:dk1>
        <a:lt1>
          <a:srgbClr val="FFFFFF"/>
        </a:lt1>
        <a:dk2>
          <a:srgbClr val="006666"/>
        </a:dk2>
        <a:lt2>
          <a:srgbClr val="FFFFFF"/>
        </a:lt2>
        <a:accent1>
          <a:srgbClr val="6699FF"/>
        </a:accent1>
        <a:accent2>
          <a:srgbClr val="00CCFF"/>
        </a:accent2>
        <a:accent3>
          <a:srgbClr val="AAB8B8"/>
        </a:accent3>
        <a:accent4>
          <a:srgbClr val="DADADA"/>
        </a:accent4>
        <a:accent5>
          <a:srgbClr val="B8CAFF"/>
        </a:accent5>
        <a:accent6>
          <a:srgbClr val="00B9E7"/>
        </a:accent6>
        <a:hlink>
          <a:srgbClr val="FFFFCC"/>
        </a:hlink>
        <a:folHlink>
          <a:srgbClr val="33CCCC"/>
        </a:folHlink>
      </a:clrScheme>
      <a:clrMap bg1="dk2" tx1="lt1" bg2="dk1" tx2="lt2" accent1="accent1" accent2="accent2" accent3="accent3" accent4="accent4" accent5="accent5" accent6="accent6" hlink="hlink" folHlink="folHlink"/>
    </a:extraClrScheme>
    <a:extraClrScheme>
      <a:clrScheme name="Profil 7">
        <a:dk1>
          <a:srgbClr val="000000"/>
        </a:dk1>
        <a:lt1>
          <a:srgbClr val="619CB1"/>
        </a:lt1>
        <a:dk2>
          <a:srgbClr val="FFFFFF"/>
        </a:dk2>
        <a:lt2>
          <a:srgbClr val="4E899E"/>
        </a:lt2>
        <a:accent1>
          <a:srgbClr val="FFCC00"/>
        </a:accent1>
        <a:accent2>
          <a:srgbClr val="B6523E"/>
        </a:accent2>
        <a:accent3>
          <a:srgbClr val="B7CBD5"/>
        </a:accent3>
        <a:accent4>
          <a:srgbClr val="000000"/>
        </a:accent4>
        <a:accent5>
          <a:srgbClr val="FFE2AA"/>
        </a:accent5>
        <a:accent6>
          <a:srgbClr val="A54937"/>
        </a:accent6>
        <a:hlink>
          <a:srgbClr val="99CC00"/>
        </a:hlink>
        <a:folHlink>
          <a:srgbClr val="666699"/>
        </a:folHlink>
      </a:clrScheme>
      <a:clrMap bg1="lt1" tx1="dk1" bg2="lt2" tx2="dk2" accent1="accent1" accent2="accent2" accent3="accent3" accent4="accent4" accent5="accent5" accent6="accent6" hlink="hlink" folHlink="folHlink"/>
    </a:extraClrScheme>
    <a:extraClrScheme>
      <a:clrScheme name="Profil 8">
        <a:dk1>
          <a:srgbClr val="598600"/>
        </a:dk1>
        <a:lt1>
          <a:srgbClr val="FFFFFF"/>
        </a:lt1>
        <a:dk2>
          <a:srgbClr val="336600"/>
        </a:dk2>
        <a:lt2>
          <a:srgbClr val="FFFFFF"/>
        </a:lt2>
        <a:accent1>
          <a:srgbClr val="33CC33"/>
        </a:accent1>
        <a:accent2>
          <a:srgbClr val="99CC00"/>
        </a:accent2>
        <a:accent3>
          <a:srgbClr val="ADB8AA"/>
        </a:accent3>
        <a:accent4>
          <a:srgbClr val="DADADA"/>
        </a:accent4>
        <a:accent5>
          <a:srgbClr val="ADE2AD"/>
        </a:accent5>
        <a:accent6>
          <a:srgbClr val="8AB900"/>
        </a:accent6>
        <a:hlink>
          <a:srgbClr val="FFCC00"/>
        </a:hlink>
        <a:folHlink>
          <a:srgbClr val="FFFF99"/>
        </a:folHlink>
      </a:clrScheme>
      <a:clrMap bg1="dk2" tx1="lt1" bg2="dk1" tx2="lt2" accent1="accent1" accent2="accent2" accent3="accent3" accent4="accent4" accent5="accent5" accent6="accent6" hlink="hlink" folHlink="folHlink"/>
    </a:extraClrScheme>
    <a:extraClrScheme>
      <a:clrScheme name="Profil 9">
        <a:dk1>
          <a:srgbClr val="000000"/>
        </a:dk1>
        <a:lt1>
          <a:srgbClr val="FFFFFF"/>
        </a:lt1>
        <a:dk2>
          <a:srgbClr val="000000"/>
        </a:dk2>
        <a:lt2>
          <a:srgbClr val="DDDDDD"/>
        </a:lt2>
        <a:accent1>
          <a:srgbClr val="A3B2C1"/>
        </a:accent1>
        <a:accent2>
          <a:srgbClr val="CC0000"/>
        </a:accent2>
        <a:accent3>
          <a:srgbClr val="FFFFFF"/>
        </a:accent3>
        <a:accent4>
          <a:srgbClr val="000000"/>
        </a:accent4>
        <a:accent5>
          <a:srgbClr val="CED5DD"/>
        </a:accent5>
        <a:accent6>
          <a:srgbClr val="B90000"/>
        </a:accent6>
        <a:hlink>
          <a:srgbClr val="336699"/>
        </a:hlink>
        <a:folHlink>
          <a:srgbClr val="003366"/>
        </a:folHlink>
      </a:clrScheme>
      <a:clrMap bg1="lt1" tx1="dk1" bg2="lt2" tx2="dk2" accent1="accent1" accent2="accent2" accent3="accent3" accent4="accent4" accent5="accent5" accent6="accent6" hlink="hlink" folHlink="folHlink"/>
    </a:extraClrScheme>
    <a:extraClrScheme>
      <a:clrScheme name="Profil 10">
        <a:dk1>
          <a:srgbClr val="000000"/>
        </a:dk1>
        <a:lt1>
          <a:srgbClr val="FFFFFF"/>
        </a:lt1>
        <a:dk2>
          <a:srgbClr val="000000"/>
        </a:dk2>
        <a:lt2>
          <a:srgbClr val="DDDDDD"/>
        </a:lt2>
        <a:accent1>
          <a:srgbClr val="A3B2C1"/>
        </a:accent1>
        <a:accent2>
          <a:srgbClr val="CC0000"/>
        </a:accent2>
        <a:accent3>
          <a:srgbClr val="FFFFFF"/>
        </a:accent3>
        <a:accent4>
          <a:srgbClr val="000000"/>
        </a:accent4>
        <a:accent5>
          <a:srgbClr val="CED5DD"/>
        </a:accent5>
        <a:accent6>
          <a:srgbClr val="B90000"/>
        </a:accent6>
        <a:hlink>
          <a:srgbClr val="000000"/>
        </a:hlink>
        <a:folHlink>
          <a:srgbClr val="003366"/>
        </a:folHlink>
      </a:clrScheme>
      <a:clrMap bg1="lt1" tx1="dk1" bg2="lt2" tx2="dk2" accent1="accent1" accent2="accent2" accent3="accent3" accent4="accent4" accent5="accent5" accent6="accent6" hlink="hlink" folHlink="folHlink"/>
    </a:extraClrScheme>
    <a:extraClrScheme>
      <a:clrScheme name="Profil 11">
        <a:dk1>
          <a:srgbClr val="000000"/>
        </a:dk1>
        <a:lt1>
          <a:srgbClr val="FFFFFF"/>
        </a:lt1>
        <a:dk2>
          <a:srgbClr val="000000"/>
        </a:dk2>
        <a:lt2>
          <a:srgbClr val="DDDDDD"/>
        </a:lt2>
        <a:accent1>
          <a:srgbClr val="A3B2C1"/>
        </a:accent1>
        <a:accent2>
          <a:srgbClr val="CC0000"/>
        </a:accent2>
        <a:accent3>
          <a:srgbClr val="FFFFFF"/>
        </a:accent3>
        <a:accent4>
          <a:srgbClr val="000000"/>
        </a:accent4>
        <a:accent5>
          <a:srgbClr val="CED5DD"/>
        </a:accent5>
        <a:accent6>
          <a:srgbClr val="B90000"/>
        </a:accent6>
        <a:hlink>
          <a:srgbClr val="000000"/>
        </a:hlink>
        <a:folHlink>
          <a:srgbClr val="000000"/>
        </a:folHlink>
      </a:clrScheme>
      <a:clrMap bg1="lt1" tx1="dk1" bg2="lt2" tx2="dk2" accent1="accent1" accent2="accent2" accent3="accent3" accent4="accent4" accent5="accent5" accent6="accent6" hlink="hlink" folHlink="folHlink"/>
    </a:extraClrScheme>
    <a:extraClrScheme>
      <a:clrScheme name="Profil 12">
        <a:dk1>
          <a:srgbClr val="000000"/>
        </a:dk1>
        <a:lt1>
          <a:srgbClr val="FFFFFF"/>
        </a:lt1>
        <a:dk2>
          <a:srgbClr val="000000"/>
        </a:dk2>
        <a:lt2>
          <a:srgbClr val="DDDDDD"/>
        </a:lt2>
        <a:accent1>
          <a:srgbClr val="A3B2C1"/>
        </a:accent1>
        <a:accent2>
          <a:srgbClr val="FF0000"/>
        </a:accent2>
        <a:accent3>
          <a:srgbClr val="FFFFFF"/>
        </a:accent3>
        <a:accent4>
          <a:srgbClr val="000000"/>
        </a:accent4>
        <a:accent5>
          <a:srgbClr val="CED5DD"/>
        </a:accent5>
        <a:accent6>
          <a:srgbClr val="E70000"/>
        </a:accent6>
        <a:hlink>
          <a:srgbClr val="336699"/>
        </a:hlink>
        <a:folHlink>
          <a:srgbClr val="003366"/>
        </a:folHlink>
      </a:clrScheme>
      <a:clrMap bg1="lt1" tx1="dk1" bg2="lt2" tx2="dk2" accent1="accent1" accent2="accent2" accent3="accent3" accent4="accent4" accent5="accent5" accent6="accent6" hlink="hlink" folHlink="folHlink"/>
    </a:extraClrScheme>
    <a:extraClrScheme>
      <a:clrScheme name="Profil 13">
        <a:dk1>
          <a:srgbClr val="000000"/>
        </a:dk1>
        <a:lt1>
          <a:srgbClr val="FFFFFF"/>
        </a:lt1>
        <a:dk2>
          <a:srgbClr val="000000"/>
        </a:dk2>
        <a:lt2>
          <a:srgbClr val="DDDDDD"/>
        </a:lt2>
        <a:accent1>
          <a:srgbClr val="A3B2C1"/>
        </a:accent1>
        <a:accent2>
          <a:srgbClr val="FF0000"/>
        </a:accent2>
        <a:accent3>
          <a:srgbClr val="FFFFFF"/>
        </a:accent3>
        <a:accent4>
          <a:srgbClr val="000000"/>
        </a:accent4>
        <a:accent5>
          <a:srgbClr val="CED5DD"/>
        </a:accent5>
        <a:accent6>
          <a:srgbClr val="E70000"/>
        </a:accent6>
        <a:hlink>
          <a:srgbClr val="4C5D68"/>
        </a:hlink>
        <a:folHlink>
          <a:srgbClr val="4C5D68"/>
        </a:folHlink>
      </a:clrScheme>
      <a:clrMap bg1="lt1" tx1="dk1" bg2="lt2" tx2="dk2" accent1="accent1" accent2="accent2" accent3="accent3" accent4="accent4" accent5="accent5" accent6="accent6" hlink="hlink" folHlink="folHlink"/>
    </a:extraClrScheme>
    <a:extraClrScheme>
      <a:clrScheme name="Profil 14">
        <a:dk1>
          <a:srgbClr val="000000"/>
        </a:dk1>
        <a:lt1>
          <a:srgbClr val="FFFFFF"/>
        </a:lt1>
        <a:dk2>
          <a:srgbClr val="000000"/>
        </a:dk2>
        <a:lt2>
          <a:srgbClr val="DDDDDD"/>
        </a:lt2>
        <a:accent1>
          <a:srgbClr val="E6EAF0"/>
        </a:accent1>
        <a:accent2>
          <a:srgbClr val="FF0000"/>
        </a:accent2>
        <a:accent3>
          <a:srgbClr val="FFFFFF"/>
        </a:accent3>
        <a:accent4>
          <a:srgbClr val="000000"/>
        </a:accent4>
        <a:accent5>
          <a:srgbClr val="F0F3F6"/>
        </a:accent5>
        <a:accent6>
          <a:srgbClr val="E70000"/>
        </a:accent6>
        <a:hlink>
          <a:srgbClr val="4C5D68"/>
        </a:hlink>
        <a:folHlink>
          <a:srgbClr val="4C5D6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fault Theme" id="{1BA71DE1-AD6A-44A9-B10F-9764C9FCB468}" vid="{2572A711-CF25-4D25-A710-F19E835B9966}"/>
    </a:ext>
  </a:extLst>
</a:theme>
</file>

<file path=ppt/theme/theme11.xml><?xml version="1.0" encoding="utf-8"?>
<a:theme xmlns:a="http://schemas.openxmlformats.org/drawingml/2006/main" name="3_Default Theme">
  <a:themeElements>
    <a:clrScheme name="Energie">
      <a:dk1>
        <a:sysClr val="windowText" lastClr="000000"/>
      </a:dk1>
      <a:lt1>
        <a:sysClr val="window" lastClr="FFFFFF"/>
      </a:lt1>
      <a:dk2>
        <a:srgbClr val="000000"/>
      </a:dk2>
      <a:lt2>
        <a:srgbClr val="F8F8F8"/>
      </a:lt2>
      <a:accent1>
        <a:srgbClr val="004FA1"/>
      </a:accent1>
      <a:accent2>
        <a:srgbClr val="5CC8A8"/>
      </a:accent2>
      <a:accent3>
        <a:srgbClr val="FF8A2B"/>
      </a:accent3>
      <a:accent4>
        <a:srgbClr val="808080"/>
      </a:accent4>
      <a:accent5>
        <a:srgbClr val="5F5F5F"/>
      </a:accent5>
      <a:accent6>
        <a:srgbClr val="4D4D4D"/>
      </a:accent6>
      <a:hlink>
        <a:srgbClr val="002060"/>
      </a:hlink>
      <a:folHlink>
        <a:srgbClr val="919191"/>
      </a:folHlink>
    </a:clrScheme>
    <a:fontScheme name="Profil">
      <a:majorFont>
        <a:latin typeface="Trebuchet MS"/>
        <a:ea typeface=""/>
        <a:cs typeface=""/>
      </a:majorFont>
      <a:minorFont>
        <a:latin typeface="Trebuchet M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w="12700">
          <a:solidFill>
            <a:srgbClr val="4C5D68"/>
          </a:solidFill>
        </a:ln>
      </a:spPr>
      <a:bodyPr rtlCol="0" anchor="ctr"/>
      <a:lstStyle>
        <a:defPPr algn="ctr">
          <a:defRPr dirty="0" err="1" smtClean="0">
            <a:solidFill>
              <a:schemeClr val="tx1"/>
            </a:solidFill>
            <a:latin typeface="Verdana" pitchFamily="34" charset="0"/>
            <a:ea typeface="Verdana" pitchFamily="34" charset="0"/>
            <a:cs typeface="Verdana"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dirty="0" smtClean="0">
            <a:latin typeface="Trebuchet MS" pitchFamily="34" charset="0"/>
          </a:defRPr>
        </a:defPPr>
      </a:lstStyle>
    </a:txDef>
  </a:objectDefaults>
  <a:extraClrSchemeLst>
    <a:extraClrScheme>
      <a:clrScheme name="Profil 1">
        <a:dk1>
          <a:srgbClr val="A50021"/>
        </a:dk1>
        <a:lt1>
          <a:srgbClr val="FFFFFF"/>
        </a:lt1>
        <a:dk2>
          <a:srgbClr val="800000"/>
        </a:dk2>
        <a:lt2>
          <a:srgbClr val="FFFFFF"/>
        </a:lt2>
        <a:accent1>
          <a:srgbClr val="FF9900"/>
        </a:accent1>
        <a:accent2>
          <a:srgbClr val="FF3300"/>
        </a:accent2>
        <a:accent3>
          <a:srgbClr val="C0AAAA"/>
        </a:accent3>
        <a:accent4>
          <a:srgbClr val="DADADA"/>
        </a:accent4>
        <a:accent5>
          <a:srgbClr val="FFCAAA"/>
        </a:accent5>
        <a:accent6>
          <a:srgbClr val="E72D00"/>
        </a:accent6>
        <a:hlink>
          <a:srgbClr val="FFFFCC"/>
        </a:hlink>
        <a:folHlink>
          <a:srgbClr val="FFCC99"/>
        </a:folHlink>
      </a:clrScheme>
      <a:clrMap bg1="dk2" tx1="lt1" bg2="dk1" tx2="lt2" accent1="accent1" accent2="accent2" accent3="accent3" accent4="accent4" accent5="accent5" accent6="accent6" hlink="hlink" folHlink="folHlink"/>
    </a:extraClrScheme>
    <a:extraClrScheme>
      <a:clrScheme name="Profil 2">
        <a:dk1>
          <a:srgbClr val="3C001E"/>
        </a:dk1>
        <a:lt1>
          <a:srgbClr val="FFFFFF"/>
        </a:lt1>
        <a:dk2>
          <a:srgbClr val="51072E"/>
        </a:dk2>
        <a:lt2>
          <a:srgbClr val="FFFFFF"/>
        </a:lt2>
        <a:accent1>
          <a:srgbClr val="89A38F"/>
        </a:accent1>
        <a:accent2>
          <a:srgbClr val="666699"/>
        </a:accent2>
        <a:accent3>
          <a:srgbClr val="B3AAAD"/>
        </a:accent3>
        <a:accent4>
          <a:srgbClr val="DADADA"/>
        </a:accent4>
        <a:accent5>
          <a:srgbClr val="C4CEC6"/>
        </a:accent5>
        <a:accent6>
          <a:srgbClr val="5C5C8A"/>
        </a:accent6>
        <a:hlink>
          <a:srgbClr val="808000"/>
        </a:hlink>
        <a:folHlink>
          <a:srgbClr val="666633"/>
        </a:folHlink>
      </a:clrScheme>
      <a:clrMap bg1="dk2" tx1="lt1" bg2="dk1" tx2="lt2" accent1="accent1" accent2="accent2" accent3="accent3" accent4="accent4" accent5="accent5" accent6="accent6" hlink="hlink" folHlink="folHlink"/>
    </a:extraClrScheme>
    <a:extraClrScheme>
      <a:clrScheme name="Profil 3">
        <a:dk1>
          <a:srgbClr val="333333"/>
        </a:dk1>
        <a:lt1>
          <a:srgbClr val="FFFFFF"/>
        </a:lt1>
        <a:dk2>
          <a:srgbClr val="000000"/>
        </a:dk2>
        <a:lt2>
          <a:srgbClr val="FFFFFF"/>
        </a:lt2>
        <a:accent1>
          <a:srgbClr val="3399FF"/>
        </a:accent1>
        <a:accent2>
          <a:srgbClr val="CC0000"/>
        </a:accent2>
        <a:accent3>
          <a:srgbClr val="AAAAAA"/>
        </a:accent3>
        <a:accent4>
          <a:srgbClr val="DADADA"/>
        </a:accent4>
        <a:accent5>
          <a:srgbClr val="ADCAFF"/>
        </a:accent5>
        <a:accent6>
          <a:srgbClr val="B90000"/>
        </a:accent6>
        <a:hlink>
          <a:srgbClr val="666699"/>
        </a:hlink>
        <a:folHlink>
          <a:srgbClr val="6600CC"/>
        </a:folHlink>
      </a:clrScheme>
      <a:clrMap bg1="dk2" tx1="lt1" bg2="dk1" tx2="lt2" accent1="accent1" accent2="accent2" accent3="accent3" accent4="accent4" accent5="accent5" accent6="accent6" hlink="hlink" folHlink="folHlink"/>
    </a:extraClrScheme>
    <a:extraClrScheme>
      <a:clrScheme name="Profil 4">
        <a:dk1>
          <a:srgbClr val="4B3D1B"/>
        </a:dk1>
        <a:lt1>
          <a:srgbClr val="FFFFFF"/>
        </a:lt1>
        <a:dk2>
          <a:srgbClr val="330000"/>
        </a:dk2>
        <a:lt2>
          <a:srgbClr val="FFFFFF"/>
        </a:lt2>
        <a:accent1>
          <a:srgbClr val="CC9900"/>
        </a:accent1>
        <a:accent2>
          <a:srgbClr val="CC6600"/>
        </a:accent2>
        <a:accent3>
          <a:srgbClr val="ADAAAA"/>
        </a:accent3>
        <a:accent4>
          <a:srgbClr val="DADADA"/>
        </a:accent4>
        <a:accent5>
          <a:srgbClr val="E2CAAA"/>
        </a:accent5>
        <a:accent6>
          <a:srgbClr val="B95C00"/>
        </a:accent6>
        <a:hlink>
          <a:srgbClr val="666699"/>
        </a:hlink>
        <a:folHlink>
          <a:srgbClr val="CCCC00"/>
        </a:folHlink>
      </a:clrScheme>
      <a:clrMap bg1="dk2" tx1="lt1" bg2="dk1" tx2="lt2" accent1="accent1" accent2="accent2" accent3="accent3" accent4="accent4" accent5="accent5" accent6="accent6" hlink="hlink" folHlink="folHlink"/>
    </a:extraClrScheme>
    <a:extraClrScheme>
      <a:clrScheme name="Profil 5">
        <a:dk1>
          <a:srgbClr val="006666"/>
        </a:dk1>
        <a:lt1>
          <a:srgbClr val="FFFFFF"/>
        </a:lt1>
        <a:dk2>
          <a:srgbClr val="003366"/>
        </a:dk2>
        <a:lt2>
          <a:srgbClr val="FFFFFF"/>
        </a:lt2>
        <a:accent1>
          <a:srgbClr val="0099CC"/>
        </a:accent1>
        <a:accent2>
          <a:srgbClr val="6666FF"/>
        </a:accent2>
        <a:accent3>
          <a:srgbClr val="AAADB8"/>
        </a:accent3>
        <a:accent4>
          <a:srgbClr val="DADADA"/>
        </a:accent4>
        <a:accent5>
          <a:srgbClr val="AACAE2"/>
        </a:accent5>
        <a:accent6>
          <a:srgbClr val="5C5CE7"/>
        </a:accent6>
        <a:hlink>
          <a:srgbClr val="FFFFCC"/>
        </a:hlink>
        <a:folHlink>
          <a:srgbClr val="FFCC00"/>
        </a:folHlink>
      </a:clrScheme>
      <a:clrMap bg1="dk2" tx1="lt1" bg2="dk1" tx2="lt2" accent1="accent1" accent2="accent2" accent3="accent3" accent4="accent4" accent5="accent5" accent6="accent6" hlink="hlink" folHlink="folHlink"/>
    </a:extraClrScheme>
    <a:extraClrScheme>
      <a:clrScheme name="Profil 6">
        <a:dk1>
          <a:srgbClr val="003366"/>
        </a:dk1>
        <a:lt1>
          <a:srgbClr val="FFFFFF"/>
        </a:lt1>
        <a:dk2>
          <a:srgbClr val="006666"/>
        </a:dk2>
        <a:lt2>
          <a:srgbClr val="FFFFFF"/>
        </a:lt2>
        <a:accent1>
          <a:srgbClr val="6699FF"/>
        </a:accent1>
        <a:accent2>
          <a:srgbClr val="00CCFF"/>
        </a:accent2>
        <a:accent3>
          <a:srgbClr val="AAB8B8"/>
        </a:accent3>
        <a:accent4>
          <a:srgbClr val="DADADA"/>
        </a:accent4>
        <a:accent5>
          <a:srgbClr val="B8CAFF"/>
        </a:accent5>
        <a:accent6>
          <a:srgbClr val="00B9E7"/>
        </a:accent6>
        <a:hlink>
          <a:srgbClr val="FFFFCC"/>
        </a:hlink>
        <a:folHlink>
          <a:srgbClr val="33CCCC"/>
        </a:folHlink>
      </a:clrScheme>
      <a:clrMap bg1="dk2" tx1="lt1" bg2="dk1" tx2="lt2" accent1="accent1" accent2="accent2" accent3="accent3" accent4="accent4" accent5="accent5" accent6="accent6" hlink="hlink" folHlink="folHlink"/>
    </a:extraClrScheme>
    <a:extraClrScheme>
      <a:clrScheme name="Profil 7">
        <a:dk1>
          <a:srgbClr val="000000"/>
        </a:dk1>
        <a:lt1>
          <a:srgbClr val="619CB1"/>
        </a:lt1>
        <a:dk2>
          <a:srgbClr val="FFFFFF"/>
        </a:dk2>
        <a:lt2>
          <a:srgbClr val="4E899E"/>
        </a:lt2>
        <a:accent1>
          <a:srgbClr val="FFCC00"/>
        </a:accent1>
        <a:accent2>
          <a:srgbClr val="B6523E"/>
        </a:accent2>
        <a:accent3>
          <a:srgbClr val="B7CBD5"/>
        </a:accent3>
        <a:accent4>
          <a:srgbClr val="000000"/>
        </a:accent4>
        <a:accent5>
          <a:srgbClr val="FFE2AA"/>
        </a:accent5>
        <a:accent6>
          <a:srgbClr val="A54937"/>
        </a:accent6>
        <a:hlink>
          <a:srgbClr val="99CC00"/>
        </a:hlink>
        <a:folHlink>
          <a:srgbClr val="666699"/>
        </a:folHlink>
      </a:clrScheme>
      <a:clrMap bg1="lt1" tx1="dk1" bg2="lt2" tx2="dk2" accent1="accent1" accent2="accent2" accent3="accent3" accent4="accent4" accent5="accent5" accent6="accent6" hlink="hlink" folHlink="folHlink"/>
    </a:extraClrScheme>
    <a:extraClrScheme>
      <a:clrScheme name="Profil 8">
        <a:dk1>
          <a:srgbClr val="598600"/>
        </a:dk1>
        <a:lt1>
          <a:srgbClr val="FFFFFF"/>
        </a:lt1>
        <a:dk2>
          <a:srgbClr val="336600"/>
        </a:dk2>
        <a:lt2>
          <a:srgbClr val="FFFFFF"/>
        </a:lt2>
        <a:accent1>
          <a:srgbClr val="33CC33"/>
        </a:accent1>
        <a:accent2>
          <a:srgbClr val="99CC00"/>
        </a:accent2>
        <a:accent3>
          <a:srgbClr val="ADB8AA"/>
        </a:accent3>
        <a:accent4>
          <a:srgbClr val="DADADA"/>
        </a:accent4>
        <a:accent5>
          <a:srgbClr val="ADE2AD"/>
        </a:accent5>
        <a:accent6>
          <a:srgbClr val="8AB900"/>
        </a:accent6>
        <a:hlink>
          <a:srgbClr val="FFCC00"/>
        </a:hlink>
        <a:folHlink>
          <a:srgbClr val="FFFF99"/>
        </a:folHlink>
      </a:clrScheme>
      <a:clrMap bg1="dk2" tx1="lt1" bg2="dk1" tx2="lt2" accent1="accent1" accent2="accent2" accent3="accent3" accent4="accent4" accent5="accent5" accent6="accent6" hlink="hlink" folHlink="folHlink"/>
    </a:extraClrScheme>
    <a:extraClrScheme>
      <a:clrScheme name="Profil 9">
        <a:dk1>
          <a:srgbClr val="000000"/>
        </a:dk1>
        <a:lt1>
          <a:srgbClr val="FFFFFF"/>
        </a:lt1>
        <a:dk2>
          <a:srgbClr val="000000"/>
        </a:dk2>
        <a:lt2>
          <a:srgbClr val="DDDDDD"/>
        </a:lt2>
        <a:accent1>
          <a:srgbClr val="A3B2C1"/>
        </a:accent1>
        <a:accent2>
          <a:srgbClr val="CC0000"/>
        </a:accent2>
        <a:accent3>
          <a:srgbClr val="FFFFFF"/>
        </a:accent3>
        <a:accent4>
          <a:srgbClr val="000000"/>
        </a:accent4>
        <a:accent5>
          <a:srgbClr val="CED5DD"/>
        </a:accent5>
        <a:accent6>
          <a:srgbClr val="B90000"/>
        </a:accent6>
        <a:hlink>
          <a:srgbClr val="336699"/>
        </a:hlink>
        <a:folHlink>
          <a:srgbClr val="003366"/>
        </a:folHlink>
      </a:clrScheme>
      <a:clrMap bg1="lt1" tx1="dk1" bg2="lt2" tx2="dk2" accent1="accent1" accent2="accent2" accent3="accent3" accent4="accent4" accent5="accent5" accent6="accent6" hlink="hlink" folHlink="folHlink"/>
    </a:extraClrScheme>
    <a:extraClrScheme>
      <a:clrScheme name="Profil 10">
        <a:dk1>
          <a:srgbClr val="000000"/>
        </a:dk1>
        <a:lt1>
          <a:srgbClr val="FFFFFF"/>
        </a:lt1>
        <a:dk2>
          <a:srgbClr val="000000"/>
        </a:dk2>
        <a:lt2>
          <a:srgbClr val="DDDDDD"/>
        </a:lt2>
        <a:accent1>
          <a:srgbClr val="A3B2C1"/>
        </a:accent1>
        <a:accent2>
          <a:srgbClr val="CC0000"/>
        </a:accent2>
        <a:accent3>
          <a:srgbClr val="FFFFFF"/>
        </a:accent3>
        <a:accent4>
          <a:srgbClr val="000000"/>
        </a:accent4>
        <a:accent5>
          <a:srgbClr val="CED5DD"/>
        </a:accent5>
        <a:accent6>
          <a:srgbClr val="B90000"/>
        </a:accent6>
        <a:hlink>
          <a:srgbClr val="000000"/>
        </a:hlink>
        <a:folHlink>
          <a:srgbClr val="003366"/>
        </a:folHlink>
      </a:clrScheme>
      <a:clrMap bg1="lt1" tx1="dk1" bg2="lt2" tx2="dk2" accent1="accent1" accent2="accent2" accent3="accent3" accent4="accent4" accent5="accent5" accent6="accent6" hlink="hlink" folHlink="folHlink"/>
    </a:extraClrScheme>
    <a:extraClrScheme>
      <a:clrScheme name="Profil 11">
        <a:dk1>
          <a:srgbClr val="000000"/>
        </a:dk1>
        <a:lt1>
          <a:srgbClr val="FFFFFF"/>
        </a:lt1>
        <a:dk2>
          <a:srgbClr val="000000"/>
        </a:dk2>
        <a:lt2>
          <a:srgbClr val="DDDDDD"/>
        </a:lt2>
        <a:accent1>
          <a:srgbClr val="A3B2C1"/>
        </a:accent1>
        <a:accent2>
          <a:srgbClr val="CC0000"/>
        </a:accent2>
        <a:accent3>
          <a:srgbClr val="FFFFFF"/>
        </a:accent3>
        <a:accent4>
          <a:srgbClr val="000000"/>
        </a:accent4>
        <a:accent5>
          <a:srgbClr val="CED5DD"/>
        </a:accent5>
        <a:accent6>
          <a:srgbClr val="B90000"/>
        </a:accent6>
        <a:hlink>
          <a:srgbClr val="000000"/>
        </a:hlink>
        <a:folHlink>
          <a:srgbClr val="000000"/>
        </a:folHlink>
      </a:clrScheme>
      <a:clrMap bg1="lt1" tx1="dk1" bg2="lt2" tx2="dk2" accent1="accent1" accent2="accent2" accent3="accent3" accent4="accent4" accent5="accent5" accent6="accent6" hlink="hlink" folHlink="folHlink"/>
    </a:extraClrScheme>
    <a:extraClrScheme>
      <a:clrScheme name="Profil 12">
        <a:dk1>
          <a:srgbClr val="000000"/>
        </a:dk1>
        <a:lt1>
          <a:srgbClr val="FFFFFF"/>
        </a:lt1>
        <a:dk2>
          <a:srgbClr val="000000"/>
        </a:dk2>
        <a:lt2>
          <a:srgbClr val="DDDDDD"/>
        </a:lt2>
        <a:accent1>
          <a:srgbClr val="A3B2C1"/>
        </a:accent1>
        <a:accent2>
          <a:srgbClr val="FF0000"/>
        </a:accent2>
        <a:accent3>
          <a:srgbClr val="FFFFFF"/>
        </a:accent3>
        <a:accent4>
          <a:srgbClr val="000000"/>
        </a:accent4>
        <a:accent5>
          <a:srgbClr val="CED5DD"/>
        </a:accent5>
        <a:accent6>
          <a:srgbClr val="E70000"/>
        </a:accent6>
        <a:hlink>
          <a:srgbClr val="336699"/>
        </a:hlink>
        <a:folHlink>
          <a:srgbClr val="003366"/>
        </a:folHlink>
      </a:clrScheme>
      <a:clrMap bg1="lt1" tx1="dk1" bg2="lt2" tx2="dk2" accent1="accent1" accent2="accent2" accent3="accent3" accent4="accent4" accent5="accent5" accent6="accent6" hlink="hlink" folHlink="folHlink"/>
    </a:extraClrScheme>
    <a:extraClrScheme>
      <a:clrScheme name="Profil 13">
        <a:dk1>
          <a:srgbClr val="000000"/>
        </a:dk1>
        <a:lt1>
          <a:srgbClr val="FFFFFF"/>
        </a:lt1>
        <a:dk2>
          <a:srgbClr val="000000"/>
        </a:dk2>
        <a:lt2>
          <a:srgbClr val="DDDDDD"/>
        </a:lt2>
        <a:accent1>
          <a:srgbClr val="A3B2C1"/>
        </a:accent1>
        <a:accent2>
          <a:srgbClr val="FF0000"/>
        </a:accent2>
        <a:accent3>
          <a:srgbClr val="FFFFFF"/>
        </a:accent3>
        <a:accent4>
          <a:srgbClr val="000000"/>
        </a:accent4>
        <a:accent5>
          <a:srgbClr val="CED5DD"/>
        </a:accent5>
        <a:accent6>
          <a:srgbClr val="E70000"/>
        </a:accent6>
        <a:hlink>
          <a:srgbClr val="4C5D68"/>
        </a:hlink>
        <a:folHlink>
          <a:srgbClr val="4C5D68"/>
        </a:folHlink>
      </a:clrScheme>
      <a:clrMap bg1="lt1" tx1="dk1" bg2="lt2" tx2="dk2" accent1="accent1" accent2="accent2" accent3="accent3" accent4="accent4" accent5="accent5" accent6="accent6" hlink="hlink" folHlink="folHlink"/>
    </a:extraClrScheme>
    <a:extraClrScheme>
      <a:clrScheme name="Profil 14">
        <a:dk1>
          <a:srgbClr val="000000"/>
        </a:dk1>
        <a:lt1>
          <a:srgbClr val="FFFFFF"/>
        </a:lt1>
        <a:dk2>
          <a:srgbClr val="000000"/>
        </a:dk2>
        <a:lt2>
          <a:srgbClr val="DDDDDD"/>
        </a:lt2>
        <a:accent1>
          <a:srgbClr val="E6EAF0"/>
        </a:accent1>
        <a:accent2>
          <a:srgbClr val="FF0000"/>
        </a:accent2>
        <a:accent3>
          <a:srgbClr val="FFFFFF"/>
        </a:accent3>
        <a:accent4>
          <a:srgbClr val="000000"/>
        </a:accent4>
        <a:accent5>
          <a:srgbClr val="F0F3F6"/>
        </a:accent5>
        <a:accent6>
          <a:srgbClr val="E70000"/>
        </a:accent6>
        <a:hlink>
          <a:srgbClr val="4C5D68"/>
        </a:hlink>
        <a:folHlink>
          <a:srgbClr val="4C5D6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fault Theme" id="{1BA71DE1-AD6A-44A9-B10F-9764C9FCB468}" vid="{2572A711-CF25-4D25-A710-F19E835B9966}"/>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_Z3STZC_OF_16x9_GER_V1">
  <a:themeElements>
    <a:clrScheme name="Scheme1">
      <a:dk1>
        <a:srgbClr val="000000"/>
      </a:dk1>
      <a:lt1>
        <a:srgbClr val="FFFFFF"/>
      </a:lt1>
      <a:dk2>
        <a:srgbClr val="FFFFFF"/>
      </a:dk2>
      <a:lt2>
        <a:srgbClr val="FFFFFF"/>
      </a:lt2>
      <a:accent1>
        <a:srgbClr val="304C59"/>
      </a:accent1>
      <a:accent2>
        <a:srgbClr val="E20613"/>
      </a:accent2>
      <a:accent3>
        <a:srgbClr val="4A66AC"/>
      </a:accent3>
      <a:accent4>
        <a:srgbClr val="629DD1"/>
      </a:accent4>
      <a:accent5>
        <a:srgbClr val="297FD5"/>
      </a:accent5>
      <a:accent6>
        <a:srgbClr val="7F8FA9"/>
      </a:accent6>
      <a:hlink>
        <a:srgbClr val="0000FF"/>
      </a:hlink>
      <a:folHlink>
        <a:srgbClr val="800080"/>
      </a:folHlink>
    </a:clrScheme>
    <a:fontScheme name="Custom">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04C59"/>
        </a:accent1>
        <a:accent2>
          <a:srgbClr val="E20613"/>
        </a:accent2>
        <a:accent3>
          <a:srgbClr val="4A66AC"/>
        </a:accent3>
        <a:accent4>
          <a:srgbClr val="629DD1"/>
        </a:accent4>
        <a:accent5>
          <a:srgbClr val="297FD5"/>
        </a:accent5>
        <a:accent6>
          <a:srgbClr val="7F8FA9"/>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ACCBF9"/>
    </a:custClr>
    <a:custClr name="Custom Color7">
      <a:srgbClr val="242852"/>
    </a:custClr>
    <a:custClr name="Custom Color8">
      <a:srgbClr val="5AA2AE"/>
    </a:custClr>
    <a:custClr name="Custom Color9">
      <a:srgbClr val="9D90A0"/>
    </a:custClr>
    <a:custClr name="Custom Color10">
      <a:srgbClr val="6F6F6F"/>
    </a:custClr>
  </a:custClrLst>
  <a:extLst>
    <a:ext uri="{05A4C25C-085E-4340-85A3-A5531E510DB2}">
      <thm15:themeFamily xmlns:thm15="http://schemas.microsoft.com/office/thememl/2012/main" name="Z3STZC_OF_16x9_GER_V1.potx" id="{CFD82978-FEE9-4D2D-915E-A86DFB9B6804}" vid="{383B6488-6FE2-4154-A7EC-91A2632934CC}"/>
    </a:ext>
  </a:extLst>
</a:theme>
</file>

<file path=ppt/theme/theme3.xml><?xml version="1.0" encoding="utf-8"?>
<a:theme xmlns:a="http://schemas.openxmlformats.org/drawingml/2006/main" name="1_White_Z3STZC_OF_16x9_GER_V1">
  <a:themeElements>
    <a:clrScheme name="Scheme1">
      <a:dk1>
        <a:srgbClr val="000000"/>
      </a:dk1>
      <a:lt1>
        <a:srgbClr val="FFFFFF"/>
      </a:lt1>
      <a:dk2>
        <a:srgbClr val="FFFFFF"/>
      </a:dk2>
      <a:lt2>
        <a:srgbClr val="FFFFFF"/>
      </a:lt2>
      <a:accent1>
        <a:srgbClr val="304C59"/>
      </a:accent1>
      <a:accent2>
        <a:srgbClr val="E20613"/>
      </a:accent2>
      <a:accent3>
        <a:srgbClr val="4A66AC"/>
      </a:accent3>
      <a:accent4>
        <a:srgbClr val="629DD1"/>
      </a:accent4>
      <a:accent5>
        <a:srgbClr val="297FD5"/>
      </a:accent5>
      <a:accent6>
        <a:srgbClr val="7F8FA9"/>
      </a:accent6>
      <a:hlink>
        <a:srgbClr val="0000FF"/>
      </a:hlink>
      <a:folHlink>
        <a:srgbClr val="800080"/>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04C59"/>
        </a:accent1>
        <a:accent2>
          <a:srgbClr val="E20613"/>
        </a:accent2>
        <a:accent3>
          <a:srgbClr val="4A66AC"/>
        </a:accent3>
        <a:accent4>
          <a:srgbClr val="629DD1"/>
        </a:accent4>
        <a:accent5>
          <a:srgbClr val="297FD5"/>
        </a:accent5>
        <a:accent6>
          <a:srgbClr val="7F8FA9"/>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ACCBF9"/>
    </a:custClr>
    <a:custClr name="Custom Color7">
      <a:srgbClr val="242852"/>
    </a:custClr>
    <a:custClr name="Custom Color8">
      <a:srgbClr val="5AA2AE"/>
    </a:custClr>
    <a:custClr name="Custom Color9">
      <a:srgbClr val="9D90A0"/>
    </a:custClr>
    <a:custClr name="Custom Color10">
      <a:srgbClr val="6F6F6F"/>
    </a:custClr>
  </a:custClrLst>
  <a:extLst>
    <a:ext uri="{05A4C25C-085E-4340-85A3-A5531E510DB2}">
      <thm15:themeFamily xmlns:thm15="http://schemas.microsoft.com/office/thememl/2012/main" name="Z3STZC_OF_16x9_GER_V1.potx" id="{CFD82978-FEE9-4D2D-915E-A86DFB9B6804}" vid="{383B6488-6FE2-4154-A7EC-91A2632934CC}"/>
    </a:ext>
  </a:extLst>
</a:theme>
</file>

<file path=ppt/theme/theme4.xml><?xml version="1.0" encoding="utf-8"?>
<a:theme xmlns:a="http://schemas.openxmlformats.org/drawingml/2006/main" name="1_Default Theme">
  <a:themeElements>
    <a:clrScheme name="Energie">
      <a:dk1>
        <a:sysClr val="windowText" lastClr="000000"/>
      </a:dk1>
      <a:lt1>
        <a:sysClr val="window" lastClr="FFFFFF"/>
      </a:lt1>
      <a:dk2>
        <a:srgbClr val="000000"/>
      </a:dk2>
      <a:lt2>
        <a:srgbClr val="F8F8F8"/>
      </a:lt2>
      <a:accent1>
        <a:srgbClr val="004FA1"/>
      </a:accent1>
      <a:accent2>
        <a:srgbClr val="5CC8A8"/>
      </a:accent2>
      <a:accent3>
        <a:srgbClr val="FF8A2B"/>
      </a:accent3>
      <a:accent4>
        <a:srgbClr val="808080"/>
      </a:accent4>
      <a:accent5>
        <a:srgbClr val="5F5F5F"/>
      </a:accent5>
      <a:accent6>
        <a:srgbClr val="4D4D4D"/>
      </a:accent6>
      <a:hlink>
        <a:srgbClr val="002060"/>
      </a:hlink>
      <a:folHlink>
        <a:srgbClr val="919191"/>
      </a:folHlink>
    </a:clrScheme>
    <a:fontScheme name="Profil">
      <a:majorFont>
        <a:latin typeface="Trebuchet MS"/>
        <a:ea typeface=""/>
        <a:cs typeface=""/>
      </a:majorFont>
      <a:minorFont>
        <a:latin typeface="Trebuchet M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w="12700">
          <a:solidFill>
            <a:srgbClr val="4C5D68"/>
          </a:solidFill>
        </a:ln>
      </a:spPr>
      <a:bodyPr rtlCol="0" anchor="ctr"/>
      <a:lstStyle>
        <a:defPPr algn="ctr">
          <a:defRPr dirty="0" err="1" smtClean="0">
            <a:solidFill>
              <a:schemeClr val="tx1"/>
            </a:solidFill>
            <a:latin typeface="Verdana" pitchFamily="34" charset="0"/>
            <a:ea typeface="Verdana" pitchFamily="34" charset="0"/>
            <a:cs typeface="Verdana"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dirty="0" smtClean="0">
            <a:latin typeface="Trebuchet MS" pitchFamily="34" charset="0"/>
          </a:defRPr>
        </a:defPPr>
      </a:lstStyle>
    </a:txDef>
  </a:objectDefaults>
  <a:extraClrSchemeLst>
    <a:extraClrScheme>
      <a:clrScheme name="Profil 1">
        <a:dk1>
          <a:srgbClr val="A50021"/>
        </a:dk1>
        <a:lt1>
          <a:srgbClr val="FFFFFF"/>
        </a:lt1>
        <a:dk2>
          <a:srgbClr val="800000"/>
        </a:dk2>
        <a:lt2>
          <a:srgbClr val="FFFFFF"/>
        </a:lt2>
        <a:accent1>
          <a:srgbClr val="FF9900"/>
        </a:accent1>
        <a:accent2>
          <a:srgbClr val="FF3300"/>
        </a:accent2>
        <a:accent3>
          <a:srgbClr val="C0AAAA"/>
        </a:accent3>
        <a:accent4>
          <a:srgbClr val="DADADA"/>
        </a:accent4>
        <a:accent5>
          <a:srgbClr val="FFCAAA"/>
        </a:accent5>
        <a:accent6>
          <a:srgbClr val="E72D00"/>
        </a:accent6>
        <a:hlink>
          <a:srgbClr val="FFFFCC"/>
        </a:hlink>
        <a:folHlink>
          <a:srgbClr val="FFCC99"/>
        </a:folHlink>
      </a:clrScheme>
      <a:clrMap bg1="dk2" tx1="lt1" bg2="dk1" tx2="lt2" accent1="accent1" accent2="accent2" accent3="accent3" accent4="accent4" accent5="accent5" accent6="accent6" hlink="hlink" folHlink="folHlink"/>
    </a:extraClrScheme>
    <a:extraClrScheme>
      <a:clrScheme name="Profil 2">
        <a:dk1>
          <a:srgbClr val="3C001E"/>
        </a:dk1>
        <a:lt1>
          <a:srgbClr val="FFFFFF"/>
        </a:lt1>
        <a:dk2>
          <a:srgbClr val="51072E"/>
        </a:dk2>
        <a:lt2>
          <a:srgbClr val="FFFFFF"/>
        </a:lt2>
        <a:accent1>
          <a:srgbClr val="89A38F"/>
        </a:accent1>
        <a:accent2>
          <a:srgbClr val="666699"/>
        </a:accent2>
        <a:accent3>
          <a:srgbClr val="B3AAAD"/>
        </a:accent3>
        <a:accent4>
          <a:srgbClr val="DADADA"/>
        </a:accent4>
        <a:accent5>
          <a:srgbClr val="C4CEC6"/>
        </a:accent5>
        <a:accent6>
          <a:srgbClr val="5C5C8A"/>
        </a:accent6>
        <a:hlink>
          <a:srgbClr val="808000"/>
        </a:hlink>
        <a:folHlink>
          <a:srgbClr val="666633"/>
        </a:folHlink>
      </a:clrScheme>
      <a:clrMap bg1="dk2" tx1="lt1" bg2="dk1" tx2="lt2" accent1="accent1" accent2="accent2" accent3="accent3" accent4="accent4" accent5="accent5" accent6="accent6" hlink="hlink" folHlink="folHlink"/>
    </a:extraClrScheme>
    <a:extraClrScheme>
      <a:clrScheme name="Profil 3">
        <a:dk1>
          <a:srgbClr val="333333"/>
        </a:dk1>
        <a:lt1>
          <a:srgbClr val="FFFFFF"/>
        </a:lt1>
        <a:dk2>
          <a:srgbClr val="000000"/>
        </a:dk2>
        <a:lt2>
          <a:srgbClr val="FFFFFF"/>
        </a:lt2>
        <a:accent1>
          <a:srgbClr val="3399FF"/>
        </a:accent1>
        <a:accent2>
          <a:srgbClr val="CC0000"/>
        </a:accent2>
        <a:accent3>
          <a:srgbClr val="AAAAAA"/>
        </a:accent3>
        <a:accent4>
          <a:srgbClr val="DADADA"/>
        </a:accent4>
        <a:accent5>
          <a:srgbClr val="ADCAFF"/>
        </a:accent5>
        <a:accent6>
          <a:srgbClr val="B90000"/>
        </a:accent6>
        <a:hlink>
          <a:srgbClr val="666699"/>
        </a:hlink>
        <a:folHlink>
          <a:srgbClr val="6600CC"/>
        </a:folHlink>
      </a:clrScheme>
      <a:clrMap bg1="dk2" tx1="lt1" bg2="dk1" tx2="lt2" accent1="accent1" accent2="accent2" accent3="accent3" accent4="accent4" accent5="accent5" accent6="accent6" hlink="hlink" folHlink="folHlink"/>
    </a:extraClrScheme>
    <a:extraClrScheme>
      <a:clrScheme name="Profil 4">
        <a:dk1>
          <a:srgbClr val="4B3D1B"/>
        </a:dk1>
        <a:lt1>
          <a:srgbClr val="FFFFFF"/>
        </a:lt1>
        <a:dk2>
          <a:srgbClr val="330000"/>
        </a:dk2>
        <a:lt2>
          <a:srgbClr val="FFFFFF"/>
        </a:lt2>
        <a:accent1>
          <a:srgbClr val="CC9900"/>
        </a:accent1>
        <a:accent2>
          <a:srgbClr val="CC6600"/>
        </a:accent2>
        <a:accent3>
          <a:srgbClr val="ADAAAA"/>
        </a:accent3>
        <a:accent4>
          <a:srgbClr val="DADADA"/>
        </a:accent4>
        <a:accent5>
          <a:srgbClr val="E2CAAA"/>
        </a:accent5>
        <a:accent6>
          <a:srgbClr val="B95C00"/>
        </a:accent6>
        <a:hlink>
          <a:srgbClr val="666699"/>
        </a:hlink>
        <a:folHlink>
          <a:srgbClr val="CCCC00"/>
        </a:folHlink>
      </a:clrScheme>
      <a:clrMap bg1="dk2" tx1="lt1" bg2="dk1" tx2="lt2" accent1="accent1" accent2="accent2" accent3="accent3" accent4="accent4" accent5="accent5" accent6="accent6" hlink="hlink" folHlink="folHlink"/>
    </a:extraClrScheme>
    <a:extraClrScheme>
      <a:clrScheme name="Profil 5">
        <a:dk1>
          <a:srgbClr val="006666"/>
        </a:dk1>
        <a:lt1>
          <a:srgbClr val="FFFFFF"/>
        </a:lt1>
        <a:dk2>
          <a:srgbClr val="003366"/>
        </a:dk2>
        <a:lt2>
          <a:srgbClr val="FFFFFF"/>
        </a:lt2>
        <a:accent1>
          <a:srgbClr val="0099CC"/>
        </a:accent1>
        <a:accent2>
          <a:srgbClr val="6666FF"/>
        </a:accent2>
        <a:accent3>
          <a:srgbClr val="AAADB8"/>
        </a:accent3>
        <a:accent4>
          <a:srgbClr val="DADADA"/>
        </a:accent4>
        <a:accent5>
          <a:srgbClr val="AACAE2"/>
        </a:accent5>
        <a:accent6>
          <a:srgbClr val="5C5CE7"/>
        </a:accent6>
        <a:hlink>
          <a:srgbClr val="FFFFCC"/>
        </a:hlink>
        <a:folHlink>
          <a:srgbClr val="FFCC00"/>
        </a:folHlink>
      </a:clrScheme>
      <a:clrMap bg1="dk2" tx1="lt1" bg2="dk1" tx2="lt2" accent1="accent1" accent2="accent2" accent3="accent3" accent4="accent4" accent5="accent5" accent6="accent6" hlink="hlink" folHlink="folHlink"/>
    </a:extraClrScheme>
    <a:extraClrScheme>
      <a:clrScheme name="Profil 6">
        <a:dk1>
          <a:srgbClr val="003366"/>
        </a:dk1>
        <a:lt1>
          <a:srgbClr val="FFFFFF"/>
        </a:lt1>
        <a:dk2>
          <a:srgbClr val="006666"/>
        </a:dk2>
        <a:lt2>
          <a:srgbClr val="FFFFFF"/>
        </a:lt2>
        <a:accent1>
          <a:srgbClr val="6699FF"/>
        </a:accent1>
        <a:accent2>
          <a:srgbClr val="00CCFF"/>
        </a:accent2>
        <a:accent3>
          <a:srgbClr val="AAB8B8"/>
        </a:accent3>
        <a:accent4>
          <a:srgbClr val="DADADA"/>
        </a:accent4>
        <a:accent5>
          <a:srgbClr val="B8CAFF"/>
        </a:accent5>
        <a:accent6>
          <a:srgbClr val="00B9E7"/>
        </a:accent6>
        <a:hlink>
          <a:srgbClr val="FFFFCC"/>
        </a:hlink>
        <a:folHlink>
          <a:srgbClr val="33CCCC"/>
        </a:folHlink>
      </a:clrScheme>
      <a:clrMap bg1="dk2" tx1="lt1" bg2="dk1" tx2="lt2" accent1="accent1" accent2="accent2" accent3="accent3" accent4="accent4" accent5="accent5" accent6="accent6" hlink="hlink" folHlink="folHlink"/>
    </a:extraClrScheme>
    <a:extraClrScheme>
      <a:clrScheme name="Profil 7">
        <a:dk1>
          <a:srgbClr val="000000"/>
        </a:dk1>
        <a:lt1>
          <a:srgbClr val="619CB1"/>
        </a:lt1>
        <a:dk2>
          <a:srgbClr val="FFFFFF"/>
        </a:dk2>
        <a:lt2>
          <a:srgbClr val="4E899E"/>
        </a:lt2>
        <a:accent1>
          <a:srgbClr val="FFCC00"/>
        </a:accent1>
        <a:accent2>
          <a:srgbClr val="B6523E"/>
        </a:accent2>
        <a:accent3>
          <a:srgbClr val="B7CBD5"/>
        </a:accent3>
        <a:accent4>
          <a:srgbClr val="000000"/>
        </a:accent4>
        <a:accent5>
          <a:srgbClr val="FFE2AA"/>
        </a:accent5>
        <a:accent6>
          <a:srgbClr val="A54937"/>
        </a:accent6>
        <a:hlink>
          <a:srgbClr val="99CC00"/>
        </a:hlink>
        <a:folHlink>
          <a:srgbClr val="666699"/>
        </a:folHlink>
      </a:clrScheme>
      <a:clrMap bg1="lt1" tx1="dk1" bg2="lt2" tx2="dk2" accent1="accent1" accent2="accent2" accent3="accent3" accent4="accent4" accent5="accent5" accent6="accent6" hlink="hlink" folHlink="folHlink"/>
    </a:extraClrScheme>
    <a:extraClrScheme>
      <a:clrScheme name="Profil 8">
        <a:dk1>
          <a:srgbClr val="598600"/>
        </a:dk1>
        <a:lt1>
          <a:srgbClr val="FFFFFF"/>
        </a:lt1>
        <a:dk2>
          <a:srgbClr val="336600"/>
        </a:dk2>
        <a:lt2>
          <a:srgbClr val="FFFFFF"/>
        </a:lt2>
        <a:accent1>
          <a:srgbClr val="33CC33"/>
        </a:accent1>
        <a:accent2>
          <a:srgbClr val="99CC00"/>
        </a:accent2>
        <a:accent3>
          <a:srgbClr val="ADB8AA"/>
        </a:accent3>
        <a:accent4>
          <a:srgbClr val="DADADA"/>
        </a:accent4>
        <a:accent5>
          <a:srgbClr val="ADE2AD"/>
        </a:accent5>
        <a:accent6>
          <a:srgbClr val="8AB900"/>
        </a:accent6>
        <a:hlink>
          <a:srgbClr val="FFCC00"/>
        </a:hlink>
        <a:folHlink>
          <a:srgbClr val="FFFF99"/>
        </a:folHlink>
      </a:clrScheme>
      <a:clrMap bg1="dk2" tx1="lt1" bg2="dk1" tx2="lt2" accent1="accent1" accent2="accent2" accent3="accent3" accent4="accent4" accent5="accent5" accent6="accent6" hlink="hlink" folHlink="folHlink"/>
    </a:extraClrScheme>
    <a:extraClrScheme>
      <a:clrScheme name="Profil 9">
        <a:dk1>
          <a:srgbClr val="000000"/>
        </a:dk1>
        <a:lt1>
          <a:srgbClr val="FFFFFF"/>
        </a:lt1>
        <a:dk2>
          <a:srgbClr val="000000"/>
        </a:dk2>
        <a:lt2>
          <a:srgbClr val="DDDDDD"/>
        </a:lt2>
        <a:accent1>
          <a:srgbClr val="A3B2C1"/>
        </a:accent1>
        <a:accent2>
          <a:srgbClr val="CC0000"/>
        </a:accent2>
        <a:accent3>
          <a:srgbClr val="FFFFFF"/>
        </a:accent3>
        <a:accent4>
          <a:srgbClr val="000000"/>
        </a:accent4>
        <a:accent5>
          <a:srgbClr val="CED5DD"/>
        </a:accent5>
        <a:accent6>
          <a:srgbClr val="B90000"/>
        </a:accent6>
        <a:hlink>
          <a:srgbClr val="336699"/>
        </a:hlink>
        <a:folHlink>
          <a:srgbClr val="003366"/>
        </a:folHlink>
      </a:clrScheme>
      <a:clrMap bg1="lt1" tx1="dk1" bg2="lt2" tx2="dk2" accent1="accent1" accent2="accent2" accent3="accent3" accent4="accent4" accent5="accent5" accent6="accent6" hlink="hlink" folHlink="folHlink"/>
    </a:extraClrScheme>
    <a:extraClrScheme>
      <a:clrScheme name="Profil 10">
        <a:dk1>
          <a:srgbClr val="000000"/>
        </a:dk1>
        <a:lt1>
          <a:srgbClr val="FFFFFF"/>
        </a:lt1>
        <a:dk2>
          <a:srgbClr val="000000"/>
        </a:dk2>
        <a:lt2>
          <a:srgbClr val="DDDDDD"/>
        </a:lt2>
        <a:accent1>
          <a:srgbClr val="A3B2C1"/>
        </a:accent1>
        <a:accent2>
          <a:srgbClr val="CC0000"/>
        </a:accent2>
        <a:accent3>
          <a:srgbClr val="FFFFFF"/>
        </a:accent3>
        <a:accent4>
          <a:srgbClr val="000000"/>
        </a:accent4>
        <a:accent5>
          <a:srgbClr val="CED5DD"/>
        </a:accent5>
        <a:accent6>
          <a:srgbClr val="B90000"/>
        </a:accent6>
        <a:hlink>
          <a:srgbClr val="000000"/>
        </a:hlink>
        <a:folHlink>
          <a:srgbClr val="003366"/>
        </a:folHlink>
      </a:clrScheme>
      <a:clrMap bg1="lt1" tx1="dk1" bg2="lt2" tx2="dk2" accent1="accent1" accent2="accent2" accent3="accent3" accent4="accent4" accent5="accent5" accent6="accent6" hlink="hlink" folHlink="folHlink"/>
    </a:extraClrScheme>
    <a:extraClrScheme>
      <a:clrScheme name="Profil 11">
        <a:dk1>
          <a:srgbClr val="000000"/>
        </a:dk1>
        <a:lt1>
          <a:srgbClr val="FFFFFF"/>
        </a:lt1>
        <a:dk2>
          <a:srgbClr val="000000"/>
        </a:dk2>
        <a:lt2>
          <a:srgbClr val="DDDDDD"/>
        </a:lt2>
        <a:accent1>
          <a:srgbClr val="A3B2C1"/>
        </a:accent1>
        <a:accent2>
          <a:srgbClr val="CC0000"/>
        </a:accent2>
        <a:accent3>
          <a:srgbClr val="FFFFFF"/>
        </a:accent3>
        <a:accent4>
          <a:srgbClr val="000000"/>
        </a:accent4>
        <a:accent5>
          <a:srgbClr val="CED5DD"/>
        </a:accent5>
        <a:accent6>
          <a:srgbClr val="B90000"/>
        </a:accent6>
        <a:hlink>
          <a:srgbClr val="000000"/>
        </a:hlink>
        <a:folHlink>
          <a:srgbClr val="000000"/>
        </a:folHlink>
      </a:clrScheme>
      <a:clrMap bg1="lt1" tx1="dk1" bg2="lt2" tx2="dk2" accent1="accent1" accent2="accent2" accent3="accent3" accent4="accent4" accent5="accent5" accent6="accent6" hlink="hlink" folHlink="folHlink"/>
    </a:extraClrScheme>
    <a:extraClrScheme>
      <a:clrScheme name="Profil 12">
        <a:dk1>
          <a:srgbClr val="000000"/>
        </a:dk1>
        <a:lt1>
          <a:srgbClr val="FFFFFF"/>
        </a:lt1>
        <a:dk2>
          <a:srgbClr val="000000"/>
        </a:dk2>
        <a:lt2>
          <a:srgbClr val="DDDDDD"/>
        </a:lt2>
        <a:accent1>
          <a:srgbClr val="A3B2C1"/>
        </a:accent1>
        <a:accent2>
          <a:srgbClr val="FF0000"/>
        </a:accent2>
        <a:accent3>
          <a:srgbClr val="FFFFFF"/>
        </a:accent3>
        <a:accent4>
          <a:srgbClr val="000000"/>
        </a:accent4>
        <a:accent5>
          <a:srgbClr val="CED5DD"/>
        </a:accent5>
        <a:accent6>
          <a:srgbClr val="E70000"/>
        </a:accent6>
        <a:hlink>
          <a:srgbClr val="336699"/>
        </a:hlink>
        <a:folHlink>
          <a:srgbClr val="003366"/>
        </a:folHlink>
      </a:clrScheme>
      <a:clrMap bg1="lt1" tx1="dk1" bg2="lt2" tx2="dk2" accent1="accent1" accent2="accent2" accent3="accent3" accent4="accent4" accent5="accent5" accent6="accent6" hlink="hlink" folHlink="folHlink"/>
    </a:extraClrScheme>
    <a:extraClrScheme>
      <a:clrScheme name="Profil 13">
        <a:dk1>
          <a:srgbClr val="000000"/>
        </a:dk1>
        <a:lt1>
          <a:srgbClr val="FFFFFF"/>
        </a:lt1>
        <a:dk2>
          <a:srgbClr val="000000"/>
        </a:dk2>
        <a:lt2>
          <a:srgbClr val="DDDDDD"/>
        </a:lt2>
        <a:accent1>
          <a:srgbClr val="A3B2C1"/>
        </a:accent1>
        <a:accent2>
          <a:srgbClr val="FF0000"/>
        </a:accent2>
        <a:accent3>
          <a:srgbClr val="FFFFFF"/>
        </a:accent3>
        <a:accent4>
          <a:srgbClr val="000000"/>
        </a:accent4>
        <a:accent5>
          <a:srgbClr val="CED5DD"/>
        </a:accent5>
        <a:accent6>
          <a:srgbClr val="E70000"/>
        </a:accent6>
        <a:hlink>
          <a:srgbClr val="4C5D68"/>
        </a:hlink>
        <a:folHlink>
          <a:srgbClr val="4C5D68"/>
        </a:folHlink>
      </a:clrScheme>
      <a:clrMap bg1="lt1" tx1="dk1" bg2="lt2" tx2="dk2" accent1="accent1" accent2="accent2" accent3="accent3" accent4="accent4" accent5="accent5" accent6="accent6" hlink="hlink" folHlink="folHlink"/>
    </a:extraClrScheme>
    <a:extraClrScheme>
      <a:clrScheme name="Profil 14">
        <a:dk1>
          <a:srgbClr val="000000"/>
        </a:dk1>
        <a:lt1>
          <a:srgbClr val="FFFFFF"/>
        </a:lt1>
        <a:dk2>
          <a:srgbClr val="000000"/>
        </a:dk2>
        <a:lt2>
          <a:srgbClr val="DDDDDD"/>
        </a:lt2>
        <a:accent1>
          <a:srgbClr val="E6EAF0"/>
        </a:accent1>
        <a:accent2>
          <a:srgbClr val="FF0000"/>
        </a:accent2>
        <a:accent3>
          <a:srgbClr val="FFFFFF"/>
        </a:accent3>
        <a:accent4>
          <a:srgbClr val="000000"/>
        </a:accent4>
        <a:accent5>
          <a:srgbClr val="F0F3F6"/>
        </a:accent5>
        <a:accent6>
          <a:srgbClr val="E70000"/>
        </a:accent6>
        <a:hlink>
          <a:srgbClr val="4C5D68"/>
        </a:hlink>
        <a:folHlink>
          <a:srgbClr val="4C5D6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fault Theme" id="{1BA71DE1-AD6A-44A9-B10F-9764C9FCB468}" vid="{2572A711-CF25-4D25-A710-F19E835B9966}"/>
    </a:ext>
  </a:extLst>
</a:theme>
</file>

<file path=ppt/theme/theme5.xml><?xml version="1.0" encoding="utf-8"?>
<a:theme xmlns:a="http://schemas.openxmlformats.org/drawingml/2006/main" name="2_White_Z3STZC_OF_16x9_GER_V1">
  <a:themeElements>
    <a:clrScheme name="Scheme1">
      <a:dk1>
        <a:srgbClr val="000000"/>
      </a:dk1>
      <a:lt1>
        <a:srgbClr val="FFFFFF"/>
      </a:lt1>
      <a:dk2>
        <a:srgbClr val="FFFFFF"/>
      </a:dk2>
      <a:lt2>
        <a:srgbClr val="FFFFFF"/>
      </a:lt2>
      <a:accent1>
        <a:srgbClr val="304C59"/>
      </a:accent1>
      <a:accent2>
        <a:srgbClr val="E20613"/>
      </a:accent2>
      <a:accent3>
        <a:srgbClr val="4A66AC"/>
      </a:accent3>
      <a:accent4>
        <a:srgbClr val="629DD1"/>
      </a:accent4>
      <a:accent5>
        <a:srgbClr val="297FD5"/>
      </a:accent5>
      <a:accent6>
        <a:srgbClr val="7F8FA9"/>
      </a:accent6>
      <a:hlink>
        <a:srgbClr val="0000FF"/>
      </a:hlink>
      <a:folHlink>
        <a:srgbClr val="800080"/>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04C59"/>
        </a:accent1>
        <a:accent2>
          <a:srgbClr val="E20613"/>
        </a:accent2>
        <a:accent3>
          <a:srgbClr val="4A66AC"/>
        </a:accent3>
        <a:accent4>
          <a:srgbClr val="629DD1"/>
        </a:accent4>
        <a:accent5>
          <a:srgbClr val="297FD5"/>
        </a:accent5>
        <a:accent6>
          <a:srgbClr val="7F8FA9"/>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ACCBF9"/>
    </a:custClr>
    <a:custClr name="Custom Color7">
      <a:srgbClr val="242852"/>
    </a:custClr>
    <a:custClr name="Custom Color8">
      <a:srgbClr val="5AA2AE"/>
    </a:custClr>
    <a:custClr name="Custom Color9">
      <a:srgbClr val="9D90A0"/>
    </a:custClr>
    <a:custClr name="Custom Color10">
      <a:srgbClr val="6F6F6F"/>
    </a:custClr>
  </a:custClrLst>
  <a:extLst>
    <a:ext uri="{05A4C25C-085E-4340-85A3-A5531E510DB2}">
      <thm15:themeFamily xmlns:thm15="http://schemas.microsoft.com/office/thememl/2012/main" name="Z3STZC_OF_16x9_GER_V1.potx" id="{CFD82978-FEE9-4D2D-915E-A86DFB9B6804}" vid="{383B6488-6FE2-4154-A7EC-91A2632934CC}"/>
    </a:ext>
  </a:extLst>
</a:theme>
</file>

<file path=ppt/theme/theme6.xml><?xml version="1.0" encoding="utf-8"?>
<a:theme xmlns:a="http://schemas.openxmlformats.org/drawingml/2006/main" name="1_Contrast_Z3STZC_OF_16x9_GER_SANJ_V1">
  <a:themeElements>
    <a:clrScheme name="Scheme2">
      <a:dk1>
        <a:srgbClr val="FFFFFF"/>
      </a:dk1>
      <a:lt1>
        <a:srgbClr val="242852"/>
      </a:lt1>
      <a:dk2>
        <a:srgbClr val="000000"/>
      </a:dk2>
      <a:lt2>
        <a:srgbClr val="000000"/>
      </a:lt2>
      <a:accent1>
        <a:srgbClr val="FFFFFF"/>
      </a:accent1>
      <a:accent2>
        <a:srgbClr val="4A66AC"/>
      </a:accent2>
      <a:accent3>
        <a:srgbClr val="629DD1"/>
      </a:accent3>
      <a:accent4>
        <a:srgbClr val="297FD5"/>
      </a:accent4>
      <a:accent5>
        <a:srgbClr val="7F8FA9"/>
      </a:accent5>
      <a:accent6>
        <a:srgbClr val="5AA2AE"/>
      </a:accent6>
      <a:hlink>
        <a:srgbClr val="0000FF"/>
      </a:hlink>
      <a:folHlink>
        <a:srgbClr val="800080"/>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242852"/>
        </a:lt1>
        <a:dk2>
          <a:srgbClr val="000000"/>
        </a:dk2>
        <a:lt2>
          <a:srgbClr val="000000"/>
        </a:lt2>
        <a:accent1>
          <a:srgbClr val="FFFFFF"/>
        </a:accent1>
        <a:accent2>
          <a:srgbClr val="4A66AC"/>
        </a:accent2>
        <a:accent3>
          <a:srgbClr val="629DD1"/>
        </a:accent3>
        <a:accent4>
          <a:srgbClr val="297FD5"/>
        </a:accent4>
        <a:accent5>
          <a:srgbClr val="7F8FA9"/>
        </a:accent5>
        <a:accent6>
          <a:srgbClr val="5AA2AE"/>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Z3STZC_OF_16x9_GER_SANJ_V1.potx" id="{94ED7D68-1362-44BB-9A61-66DE542D123E}" vid="{2C76B975-EF05-492F-A388-36921726EDE6}"/>
    </a:ext>
  </a:extLst>
</a:theme>
</file>

<file path=ppt/theme/theme7.xml><?xml version="1.0" encoding="utf-8"?>
<a:theme xmlns:a="http://schemas.openxmlformats.org/drawingml/2006/main" name="White_Z8XKHZ_OF_16x9_GER_SANJ_V1">
  <a:themeElements>
    <a:clrScheme name="Scheme1">
      <a:dk1>
        <a:srgbClr val="000000"/>
      </a:dk1>
      <a:lt1>
        <a:srgbClr val="FFFFFF"/>
      </a:lt1>
      <a:dk2>
        <a:srgbClr val="FFFFFF"/>
      </a:dk2>
      <a:lt2>
        <a:srgbClr val="FFFFFF"/>
      </a:lt2>
      <a:accent1>
        <a:srgbClr val="004FA1"/>
      </a:accent1>
      <a:accent2>
        <a:srgbClr val="5CC8A8"/>
      </a:accent2>
      <a:accent3>
        <a:srgbClr val="FF8A2B"/>
      </a:accent3>
      <a:accent4>
        <a:srgbClr val="808080"/>
      </a:accent4>
      <a:accent5>
        <a:srgbClr val="5F5F5F"/>
      </a:accent5>
      <a:accent6>
        <a:srgbClr val="4D4D4D"/>
      </a:accent6>
      <a:hlink>
        <a:srgbClr val="0000FF"/>
      </a:hlink>
      <a:folHlink>
        <a:srgbClr val="800080"/>
      </a:folHlink>
    </a:clrScheme>
    <a:fontScheme name="Custom">
      <a:majorFont>
        <a:latin typeface="Bahnschrift"/>
        <a:ea typeface=""/>
        <a:cs typeface=""/>
      </a:majorFont>
      <a:minorFont>
        <a:latin typeface="Bahnschrif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4FA1"/>
        </a:accent1>
        <a:accent2>
          <a:srgbClr val="5CC8A8"/>
        </a:accent2>
        <a:accent3>
          <a:srgbClr val="FF8A2B"/>
        </a:accent3>
        <a:accent4>
          <a:srgbClr val="808080"/>
        </a:accent4>
        <a:accent5>
          <a:srgbClr val="5F5F5F"/>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Z8XKHZ_OF_16x9_GER_SANJ_V1.potx" id="{CFDD8228-5564-443F-84AD-5504A7CB2495}" vid="{77B5A934-02A4-4F1A-B5A6-034B61B62206}"/>
    </a:ext>
  </a:extLst>
</a:theme>
</file>

<file path=ppt/theme/theme8.xml><?xml version="1.0" encoding="utf-8"?>
<a:theme xmlns:a="http://schemas.openxmlformats.org/drawingml/2006/main" name="1_White_Z8XKHZ_OF_16x9_GER_SANJ_V1">
  <a:themeElements>
    <a:clrScheme name="Scheme1">
      <a:dk1>
        <a:srgbClr val="000000"/>
      </a:dk1>
      <a:lt1>
        <a:srgbClr val="FFFFFF"/>
      </a:lt1>
      <a:dk2>
        <a:srgbClr val="FFFFFF"/>
      </a:dk2>
      <a:lt2>
        <a:srgbClr val="FFFFFF"/>
      </a:lt2>
      <a:accent1>
        <a:srgbClr val="004FA1"/>
      </a:accent1>
      <a:accent2>
        <a:srgbClr val="5CC8A8"/>
      </a:accent2>
      <a:accent3>
        <a:srgbClr val="FF8A2B"/>
      </a:accent3>
      <a:accent4>
        <a:srgbClr val="808080"/>
      </a:accent4>
      <a:accent5>
        <a:srgbClr val="5F5F5F"/>
      </a:accent5>
      <a:accent6>
        <a:srgbClr val="4D4D4D"/>
      </a:accent6>
      <a:hlink>
        <a:srgbClr val="0000FF"/>
      </a:hlink>
      <a:folHlink>
        <a:srgbClr val="800080"/>
      </a:folHlink>
    </a:clrScheme>
    <a:fontScheme name="Custom">
      <a:majorFont>
        <a:latin typeface="Bahnschrift"/>
        <a:ea typeface=""/>
        <a:cs typeface=""/>
      </a:majorFont>
      <a:minorFont>
        <a:latin typeface="Bahnschrif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4FA1"/>
        </a:accent1>
        <a:accent2>
          <a:srgbClr val="5CC8A8"/>
        </a:accent2>
        <a:accent3>
          <a:srgbClr val="FF8A2B"/>
        </a:accent3>
        <a:accent4>
          <a:srgbClr val="808080"/>
        </a:accent4>
        <a:accent5>
          <a:srgbClr val="5F5F5F"/>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Z8XKHZ_OF_16x9_GER_SANJ_V1.potx" id="{CFDD8228-5564-443F-84AD-5504A7CB2495}" vid="{77B5A934-02A4-4F1A-B5A6-034B61B62206}"/>
    </a:ext>
  </a:extLst>
</a:theme>
</file>

<file path=ppt/theme/theme9.xml><?xml version="1.0" encoding="utf-8"?>
<a:theme xmlns:a="http://schemas.openxmlformats.org/drawingml/2006/main" name="2_White_Z8XKHZ_OF_16x9_GER_SANJ_V1">
  <a:themeElements>
    <a:clrScheme name="Scheme1">
      <a:dk1>
        <a:srgbClr val="000000"/>
      </a:dk1>
      <a:lt1>
        <a:srgbClr val="FFFFFF"/>
      </a:lt1>
      <a:dk2>
        <a:srgbClr val="FFFFFF"/>
      </a:dk2>
      <a:lt2>
        <a:srgbClr val="FFFFFF"/>
      </a:lt2>
      <a:accent1>
        <a:srgbClr val="004FA1"/>
      </a:accent1>
      <a:accent2>
        <a:srgbClr val="5CC8A8"/>
      </a:accent2>
      <a:accent3>
        <a:srgbClr val="FF8A2B"/>
      </a:accent3>
      <a:accent4>
        <a:srgbClr val="808080"/>
      </a:accent4>
      <a:accent5>
        <a:srgbClr val="5F5F5F"/>
      </a:accent5>
      <a:accent6>
        <a:srgbClr val="4D4D4D"/>
      </a:accent6>
      <a:hlink>
        <a:srgbClr val="0000FF"/>
      </a:hlink>
      <a:folHlink>
        <a:srgbClr val="800080"/>
      </a:folHlink>
    </a:clrScheme>
    <a:fontScheme name="Custom">
      <a:majorFont>
        <a:latin typeface="Bahnschrift"/>
        <a:ea typeface=""/>
        <a:cs typeface=""/>
      </a:majorFont>
      <a:minorFont>
        <a:latin typeface="Bahnschrif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4FA1"/>
        </a:accent1>
        <a:accent2>
          <a:srgbClr val="5CC8A8"/>
        </a:accent2>
        <a:accent3>
          <a:srgbClr val="FF8A2B"/>
        </a:accent3>
        <a:accent4>
          <a:srgbClr val="808080"/>
        </a:accent4>
        <a:accent5>
          <a:srgbClr val="5F5F5F"/>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Z8XKHZ_OF_16x9_GER_SANJ_V1.potx" id="{CFDD8228-5564-443F-84AD-5504A7CB2495}" vid="{77B5A934-02A4-4F1A-B5A6-034B61B6220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EigeneReferenz xmlns="b58756d0-43df-4472-8fa0-f3230e519893" xsi:nil="true"/>
    <StartdatumDSGVOBehaltefrist xmlns="15909d5e-1b51-4d5f-bae6-f3544bb622d4" xsi:nil="true"/>
    <i81311beb0544c4aa422f905e1b3a6fe xmlns="b58756d0-43df-4472-8fa0-f3230e519893">
      <Terms xmlns="http://schemas.microsoft.com/office/infopath/2007/PartnerControls"/>
    </i81311beb0544c4aa422f905e1b3a6fe>
    <LöschdatumDSGVO xmlns="15909d5e-1b51-4d5f-bae6-f3544bb622d4" xsi:nil="true"/>
    <bff30819c633402896553d10c37d1e77 xmlns="b58756d0-43df-4472-8fa0-f3230e519893">
      <Terms xmlns="http://schemas.microsoft.com/office/infopath/2007/PartnerControls"/>
    </bff30819c633402896553d10c37d1e77>
    <Fremdsystemreferenzen xmlns="b58756d0-43df-4472-8fa0-f3230e519893" xsi:nil="true"/>
    <TaxCatchAll xmlns="b58756d0-43df-4472-8fa0-f3230e519893" xsi:nil="true"/>
    <Vertraulichkeit xmlns="b58756d0-43df-4472-8fa0-f3230e519893" xsi:nil="true"/>
    <Kundenreferenz xmlns="b58756d0-43df-4472-8fa0-f3230e519893" xsi:nil="true"/>
    <lcf76f155ced4ddcb4097134ff3c332f xmlns="b36791d1-3812-4681-ba9c-988ba56fda45">
      <Terms xmlns="http://schemas.microsoft.com/office/infopath/2007/PartnerControls"/>
    </lcf76f155ced4ddcb4097134ff3c332f>
    <Poststelle xmlns="b58756d0-43df-4472-8fa0-f3230e519893" xsi:nil="true"/>
    <Dokumentgueltigbis xmlns="15909d5e-1b51-4d5f-bae6-f3544bb622d4" xsi:nil="true"/>
    <FreiesMetadatenfeld xmlns="b58756d0-43df-4472-8fa0-f3230e519893" xsi:nil="true"/>
    <Dokumentgueltigvon xmlns="15909d5e-1b51-4d5f-bae6-f3544bb622d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WKOE DMS" ma:contentTypeID="0x0101006D1B276472279944ADFD6BF7388E76EA00714B23BE63CD494D9BB969E99C35E0E4" ma:contentTypeVersion="25" ma:contentTypeDescription="Content Type for DMS" ma:contentTypeScope="" ma:versionID="9e3988b28b571d0d0f5922764333f882">
  <xsd:schema xmlns:xsd="http://www.w3.org/2001/XMLSchema" xmlns:xs="http://www.w3.org/2001/XMLSchema" xmlns:p="http://schemas.microsoft.com/office/2006/metadata/properties" xmlns:ns2="15909d5e-1b51-4d5f-bae6-f3544bb622d4" xmlns:ns3="b58756d0-43df-4472-8fa0-f3230e519893" xmlns:ns4="b36791d1-3812-4681-ba9c-988ba56fda45" targetNamespace="http://schemas.microsoft.com/office/2006/metadata/properties" ma:root="true" ma:fieldsID="98c08bc08542b24ee1e2c05563e43787" ns2:_="" ns3:_="" ns4:_="">
    <xsd:import namespace="15909d5e-1b51-4d5f-bae6-f3544bb622d4"/>
    <xsd:import namespace="b58756d0-43df-4472-8fa0-f3230e519893"/>
    <xsd:import namespace="b36791d1-3812-4681-ba9c-988ba56fda45"/>
    <xsd:element name="properties">
      <xsd:complexType>
        <xsd:sequence>
          <xsd:element name="documentManagement">
            <xsd:complexType>
              <xsd:all>
                <xsd:element ref="ns2:StartdatumDSGVOBehaltefrist" minOccurs="0"/>
                <xsd:element ref="ns2:LöschdatumDSGVO" minOccurs="0"/>
                <xsd:element ref="ns3:i81311beb0544c4aa422f905e1b3a6fe" minOccurs="0"/>
                <xsd:element ref="ns3:TaxCatchAll" minOccurs="0"/>
                <xsd:element ref="ns3:TaxCatchAllLabel" minOccurs="0"/>
                <xsd:element ref="ns3:bff30819c633402896553d10c37d1e77" minOccurs="0"/>
                <xsd:element ref="ns3:EigeneReferenz" minOccurs="0"/>
                <xsd:element ref="ns3:Kundenreferenz" minOccurs="0"/>
                <xsd:element ref="ns3:Fremdsystemreferenzen" minOccurs="0"/>
                <xsd:element ref="ns2:Dokumentgueltigvon" minOccurs="0"/>
                <xsd:element ref="ns2:Dokumentgueltigbis" minOccurs="0"/>
                <xsd:element ref="ns3:Poststelle" minOccurs="0"/>
                <xsd:element ref="ns3:FreiesMetadatenfeld" minOccurs="0"/>
                <xsd:element ref="ns3:Vertraulichkeit" minOccurs="0"/>
                <xsd:element ref="ns3:_dlc_DocId" minOccurs="0"/>
                <xsd:element ref="ns3:_dlc_DocIdUrl" minOccurs="0"/>
                <xsd:element ref="ns3:_dlc_DocIdPersistId" minOccurs="0"/>
                <xsd:element ref="ns4:MediaServiceMetadata" minOccurs="0"/>
                <xsd:element ref="ns4:MediaServiceFastMetadata" minOccurs="0"/>
                <xsd:element ref="ns4:MediaServiceSearchProperties" minOccurs="0"/>
                <xsd:element ref="ns4:MediaServiceObjectDetectorVersions" minOccurs="0"/>
                <xsd:element ref="ns4:lcf76f155ced4ddcb4097134ff3c332f" minOccurs="0"/>
                <xsd:element ref="ns4:MediaServiceDateTaken" minOccurs="0"/>
                <xsd:element ref="ns4:MediaServiceGenerationTime" minOccurs="0"/>
                <xsd:element ref="ns4:MediaServiceEventHashCode" minOccurs="0"/>
                <xsd:element ref="ns3:SharedWithUsers" minOccurs="0"/>
                <xsd:element ref="ns3:SharedWithDetails"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5909d5e-1b51-4d5f-bae6-f3544bb622d4" elementFormDefault="qualified">
    <xsd:import namespace="http://schemas.microsoft.com/office/2006/documentManagement/types"/>
    <xsd:import namespace="http://schemas.microsoft.com/office/infopath/2007/PartnerControls"/>
    <xsd:element name="StartdatumDSGVOBehaltefrist" ma:index="8" nillable="true" ma:displayName="Startdatum DSGVO Behaltefrist" ma:format="DateOnly" ma:internalName="StartdatumDSGVOBehaltefrist">
      <xsd:simpleType>
        <xsd:restriction base="dms:DateTime"/>
      </xsd:simpleType>
    </xsd:element>
    <xsd:element name="LöschdatumDSGVO" ma:index="9" nillable="true" ma:displayName="Löschdatum DSGVO" ma:format="DateOnly" ma:internalName="L_x00f6_schdatumDSGVO">
      <xsd:simpleType>
        <xsd:restriction base="dms:DateTime"/>
      </xsd:simpleType>
    </xsd:element>
    <xsd:element name="Dokumentgueltigvon" ma:index="19" nillable="true" ma:displayName="Dokument gültig von" ma:format="DateOnly" ma:internalName="Dokumentgueltigvon">
      <xsd:simpleType>
        <xsd:restriction base="dms:DateTime"/>
      </xsd:simpleType>
    </xsd:element>
    <xsd:element name="Dokumentgueltigbis" ma:index="20" nillable="true" ma:displayName="Dokument gültig bis" ma:format="DateOnly" ma:internalName="Dokumentgueltigbis">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b58756d0-43df-4472-8fa0-f3230e519893" elementFormDefault="qualified">
    <xsd:import namespace="http://schemas.microsoft.com/office/2006/documentManagement/types"/>
    <xsd:import namespace="http://schemas.microsoft.com/office/infopath/2007/PartnerControls"/>
    <xsd:element name="i81311beb0544c4aa422f905e1b3a6fe" ma:index="10" nillable="true" ma:taxonomy="true" ma:internalName="i81311beb0544c4aa422f905e1b3a6fe" ma:taxonomyFieldName="Taetigkeitsbereich" ma:displayName="Tätigkeitsbereich" ma:fieldId="{281311be-b054-4c4a-a422-f905e1b3a6fe}" ma:sspId="020107af-191c-445d-bfa4-3fed7916d217" ma:termSetId="6d6bf09e-5387-4cf0-b739-ac0a98477dd2" ma:anchorId="00000000-0000-0000-0000-000000000000" ma:open="false" ma:isKeyword="false">
      <xsd:complexType>
        <xsd:sequence>
          <xsd:element ref="pc:Terms" minOccurs="0" maxOccurs="1"/>
        </xsd:sequence>
      </xsd:complexType>
    </xsd:element>
    <xsd:element name="TaxCatchAll" ma:index="11" nillable="true" ma:displayName="Taxonomy Catch All Column" ma:hidden="true" ma:list="{6424a5cc-f825-4f79-986d-b4bd8620379c}" ma:internalName="TaxCatchAll" ma:showField="CatchAllData" ma:web="b58756d0-43df-4472-8fa0-f3230e519893">
      <xsd:complexType>
        <xsd:complexContent>
          <xsd:extension base="dms:MultiChoiceLookup">
            <xsd:sequence>
              <xsd:element name="Value" type="dms:Lookup" maxOccurs="unbounded" minOccurs="0" nillable="true"/>
            </xsd:sequence>
          </xsd:extension>
        </xsd:complexContent>
      </xsd:complexType>
    </xsd:element>
    <xsd:element name="TaxCatchAllLabel" ma:index="12" nillable="true" ma:displayName="Taxonomy Catch All Column1" ma:hidden="true" ma:list="{6424a5cc-f825-4f79-986d-b4bd8620379c}" ma:internalName="TaxCatchAllLabel" ma:readOnly="true" ma:showField="CatchAllDataLabel" ma:web="b58756d0-43df-4472-8fa0-f3230e519893">
      <xsd:complexType>
        <xsd:complexContent>
          <xsd:extension base="dms:MultiChoiceLookup">
            <xsd:sequence>
              <xsd:element name="Value" type="dms:Lookup" maxOccurs="unbounded" minOccurs="0" nillable="true"/>
            </xsd:sequence>
          </xsd:extension>
        </xsd:complexContent>
      </xsd:complexType>
    </xsd:element>
    <xsd:element name="bff30819c633402896553d10c37d1e77" ma:index="14" nillable="true" ma:taxonomy="true" ma:internalName="bff30819c633402896553d10c37d1e77" ma:taxonomyFieldName="Dokumentenart" ma:displayName="Dokumentenart" ma:fieldId="{bff30819-c633-4028-9655-3d10c37d1e77}" ma:sspId="020107af-191c-445d-bfa4-3fed7916d217" ma:termSetId="23b79b47-28e1-4de8-8860-b3445e64caa5" ma:anchorId="00000000-0000-0000-0000-000000000000" ma:open="false" ma:isKeyword="false">
      <xsd:complexType>
        <xsd:sequence>
          <xsd:element ref="pc:Terms" minOccurs="0" maxOccurs="1"/>
        </xsd:sequence>
      </xsd:complexType>
    </xsd:element>
    <xsd:element name="EigeneReferenz" ma:index="16" nillable="true" ma:displayName="Eigene Referenz" ma:internalName="EigeneReferenz">
      <xsd:simpleType>
        <xsd:restriction base="dms:Text"/>
      </xsd:simpleType>
    </xsd:element>
    <xsd:element name="Kundenreferenz" ma:index="17" nillable="true" ma:displayName="Kundenreferenz" ma:internalName="Kundenreferenz">
      <xsd:simpleType>
        <xsd:restriction base="dms:Text"/>
      </xsd:simpleType>
    </xsd:element>
    <xsd:element name="Fremdsystemreferenzen" ma:index="18" nillable="true" ma:displayName="Fremdsystemreferenzen" ma:internalName="Fremdsystemreferenzen">
      <xsd:simpleType>
        <xsd:restriction base="dms:Note">
          <xsd:maxLength value="255"/>
        </xsd:restriction>
      </xsd:simpleType>
    </xsd:element>
    <xsd:element name="Poststelle" ma:index="21" nillable="true" ma:displayName="Poststelle" ma:internalName="Poststelle">
      <xsd:simpleType>
        <xsd:restriction base="dms:Note">
          <xsd:maxLength value="255"/>
        </xsd:restriction>
      </xsd:simpleType>
    </xsd:element>
    <xsd:element name="FreiesMetadatenfeld" ma:index="22" nillable="true" ma:displayName="Freies Metadatenfeld" ma:internalName="FreiesMetadatenfeld">
      <xsd:simpleType>
        <xsd:restriction base="dms:Note">
          <xsd:maxLength value="255"/>
        </xsd:restriction>
      </xsd:simpleType>
    </xsd:element>
    <xsd:element name="Vertraulichkeit" ma:index="23" nillable="true" ma:displayName="Vertraulichkeit" ma:internalName="Vertraulichkeit">
      <xsd:simpleType>
        <xsd:restriction base="dms:Text"/>
      </xsd:simpleType>
    </xsd:element>
    <xsd:element name="_dlc_DocId" ma:index="24" nillable="true" ma:displayName="Wert der Dokument-ID" ma:description="Der Wert der diesem Element zugewiesenen Dokument-ID." ma:indexed="true" ma:internalName="_dlc_DocId" ma:readOnly="true">
      <xsd:simpleType>
        <xsd:restriction base="dms:Text"/>
      </xsd:simpleType>
    </xsd:element>
    <xsd:element name="_dlc_DocIdUrl" ma:index="25"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6" nillable="true" ma:displayName="Beständige ID" ma:description="ID beim Hinzufügen beibehalten." ma:hidden="true" ma:internalName="_dlc_DocIdPersistId" ma:readOnly="true">
      <xsd:simpleType>
        <xsd:restriction base="dms:Boolean"/>
      </xsd:simpleType>
    </xsd:element>
    <xsd:element name="SharedWithUsers" ma:index="36"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7" nillable="true" ma:displayName="Freigegeben für -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36791d1-3812-4681-ba9c-988ba56fda45" elementFormDefault="qualified">
    <xsd:import namespace="http://schemas.microsoft.com/office/2006/documentManagement/types"/>
    <xsd:import namespace="http://schemas.microsoft.com/office/infopath/2007/PartnerControls"/>
    <xsd:element name="MediaServiceMetadata" ma:index="27" nillable="true" ma:displayName="MediaServiceMetadata" ma:hidden="true" ma:internalName="MediaServiceMetadata" ma:readOnly="true">
      <xsd:simpleType>
        <xsd:restriction base="dms:Note"/>
      </xsd:simpleType>
    </xsd:element>
    <xsd:element name="MediaServiceFastMetadata" ma:index="28" nillable="true" ma:displayName="MediaServiceFastMetadata" ma:hidden="true" ma:internalName="MediaServiceFastMetadata" ma:readOnly="true">
      <xsd:simpleType>
        <xsd:restriction base="dms:Note"/>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ObjectDetectorVersions" ma:index="30" nillable="true" ma:displayName="MediaServiceObjectDetectorVersions" ma:hidden="true" ma:indexed="true" ma:internalName="MediaServiceObjectDetectorVersions" ma:readOnly="true">
      <xsd:simpleType>
        <xsd:restriction base="dms:Text"/>
      </xsd:simpleType>
    </xsd:element>
    <xsd:element name="lcf76f155ced4ddcb4097134ff3c332f" ma:index="32" nillable="true" ma:taxonomy="true" ma:internalName="lcf76f155ced4ddcb4097134ff3c332f" ma:taxonomyFieldName="MediaServiceImageTags" ma:displayName="Bildmarkierungen" ma:readOnly="false" ma:fieldId="{5cf76f15-5ced-4ddc-b409-7134ff3c332f}" ma:taxonomyMulti="true" ma:sspId="020107af-191c-445d-bfa4-3fed7916d217" ma:termSetId="09814cd3-568e-fe90-9814-8d621ff8fb84" ma:anchorId="fba54fb3-c3e1-fe81-a776-ca4b69148c4d" ma:open="true" ma:isKeyword="false">
      <xsd:complexType>
        <xsd:sequence>
          <xsd:element ref="pc:Terms" minOccurs="0" maxOccurs="1"/>
        </xsd:sequence>
      </xsd:complexType>
    </xsd:element>
    <xsd:element name="MediaServiceDateTaken" ma:index="33" nillable="true" ma:displayName="MediaServiceDateTaken" ma:hidden="true" ma:indexed="true" ma:internalName="MediaServiceDateTaken" ma:readOnly="true">
      <xsd:simpleType>
        <xsd:restriction base="dms:Text"/>
      </xsd:simpleType>
    </xsd:element>
    <xsd:element name="MediaServiceGenerationTime" ma:index="34" nillable="true" ma:displayName="MediaServiceGenerationTime" ma:hidden="true" ma:internalName="MediaServiceGenerationTime" ma:readOnly="true">
      <xsd:simpleType>
        <xsd:restriction base="dms:Text"/>
      </xsd:simpleType>
    </xsd:element>
    <xsd:element name="MediaServiceEventHashCode" ma:index="35" nillable="true" ma:displayName="MediaServiceEventHashCode" ma:hidden="true" ma:internalName="MediaServiceEventHashCode" ma:readOnly="true">
      <xsd:simpleType>
        <xsd:restriction base="dms:Text"/>
      </xsd:simpleType>
    </xsd:element>
    <xsd:element name="MediaServiceOCR" ma:index="38"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74514567-D420-4E68-BA5D-2581370862F7}">
  <ds:schemaRefs>
    <ds:schemaRef ds:uri="http://schemas.microsoft.com/sharepoint/v3/contenttype/forms"/>
  </ds:schemaRefs>
</ds:datastoreItem>
</file>

<file path=customXml/itemProps2.xml><?xml version="1.0" encoding="utf-8"?>
<ds:datastoreItem xmlns:ds="http://schemas.openxmlformats.org/officeDocument/2006/customXml" ds:itemID="{D0987122-AAD1-4330-8661-BA55490DABBB}">
  <ds:schemaRefs>
    <ds:schemaRef ds:uri="http://purl.org/dc/dcmitype/"/>
    <ds:schemaRef ds:uri="http://purl.org/dc/elements/1.1/"/>
    <ds:schemaRef ds:uri="http://schemas.microsoft.com/office/infopath/2007/PartnerControls"/>
    <ds:schemaRef ds:uri="http://schemas.microsoft.com/office/2006/metadata/properties"/>
    <ds:schemaRef ds:uri="http://www.w3.org/XML/1998/namespace"/>
    <ds:schemaRef ds:uri="http://schemas.microsoft.com/office/2006/documentManagement/types"/>
    <ds:schemaRef ds:uri="6C13F5D4-9975-48B1-9EC3-FF80927F9536"/>
    <ds:schemaRef ds:uri="http://schemas.openxmlformats.org/package/2006/metadata/core-properties"/>
    <ds:schemaRef ds:uri="e978d581-8bcc-4602-9f4f-6663d34cc733"/>
    <ds:schemaRef ds:uri="http://purl.org/dc/terms/"/>
  </ds:schemaRefs>
</ds:datastoreItem>
</file>

<file path=customXml/itemProps3.xml><?xml version="1.0" encoding="utf-8"?>
<ds:datastoreItem xmlns:ds="http://schemas.openxmlformats.org/officeDocument/2006/customXml" ds:itemID="{6412F4AF-456D-4D11-BE39-E26C6DDF98EF}"/>
</file>

<file path=customXml/itemProps4.xml><?xml version="1.0" encoding="utf-8"?>
<ds:datastoreItem xmlns:ds="http://schemas.openxmlformats.org/officeDocument/2006/customXml" ds:itemID="{EE1619D5-157E-40E5-88A8-DE54FA31A273}"/>
</file>

<file path=docProps/app.xml><?xml version="1.0" encoding="utf-8"?>
<Properties xmlns="http://schemas.openxmlformats.org/officeDocument/2006/extended-properties" xmlns:vt="http://schemas.openxmlformats.org/officeDocument/2006/docPropsVTypes">
  <Template>Default Theme</Template>
  <TotalTime>0</TotalTime>
  <Words>5369</Words>
  <Application>Microsoft Office PowerPoint</Application>
  <PresentationFormat>Breitbild</PresentationFormat>
  <Paragraphs>1203</Paragraphs>
  <Slides>32</Slides>
  <Notes>24</Notes>
  <HiddenSlides>0</HiddenSlides>
  <MMClips>0</MMClips>
  <ScaleCrop>false</ScaleCrop>
  <HeadingPairs>
    <vt:vector size="8" baseType="variant">
      <vt:variant>
        <vt:lpstr>Verwendete Schriftarten</vt:lpstr>
      </vt:variant>
      <vt:variant>
        <vt:i4>8</vt:i4>
      </vt:variant>
      <vt:variant>
        <vt:lpstr>Design</vt:lpstr>
      </vt:variant>
      <vt:variant>
        <vt:i4>11</vt:i4>
      </vt:variant>
      <vt:variant>
        <vt:lpstr>Eingebettete OLE-Server</vt:lpstr>
      </vt:variant>
      <vt:variant>
        <vt:i4>1</vt:i4>
      </vt:variant>
      <vt:variant>
        <vt:lpstr>Folientitel</vt:lpstr>
      </vt:variant>
      <vt:variant>
        <vt:i4>32</vt:i4>
      </vt:variant>
    </vt:vector>
  </HeadingPairs>
  <TitlesOfParts>
    <vt:vector size="52" baseType="lpstr">
      <vt:lpstr>Arial</vt:lpstr>
      <vt:lpstr>Bahnschrift</vt:lpstr>
      <vt:lpstr>Calibri</vt:lpstr>
      <vt:lpstr>Segoe UI</vt:lpstr>
      <vt:lpstr>Symbol</vt:lpstr>
      <vt:lpstr>Trebuchet MS</vt:lpstr>
      <vt:lpstr>Verdana</vt:lpstr>
      <vt:lpstr>Wingdings</vt:lpstr>
      <vt:lpstr>Default Theme</vt:lpstr>
      <vt:lpstr>White_Z3STZC_OF_16x9_GER_V1</vt:lpstr>
      <vt:lpstr>1_White_Z3STZC_OF_16x9_GER_V1</vt:lpstr>
      <vt:lpstr>1_Default Theme</vt:lpstr>
      <vt:lpstr>2_White_Z3STZC_OF_16x9_GER_V1</vt:lpstr>
      <vt:lpstr>1_Contrast_Z3STZC_OF_16x9_GER_SANJ_V1</vt:lpstr>
      <vt:lpstr>White_Z8XKHZ_OF_16x9_GER_SANJ_V1</vt:lpstr>
      <vt:lpstr>1_White_Z8XKHZ_OF_16x9_GER_SANJ_V1</vt:lpstr>
      <vt:lpstr>2_White_Z8XKHZ_OF_16x9_GER_SANJ_V1</vt:lpstr>
      <vt:lpstr>2_Default Theme</vt:lpstr>
      <vt:lpstr>3_Default Theme</vt:lpstr>
      <vt:lpstr>think-cell Slide</vt:lpstr>
      <vt:lpstr>Energiemasterplan für Österreich Für die Wirtschaft. Für uns ALLE.   </vt:lpstr>
      <vt:lpstr>Energie in Österreich kommt zu fast 60% aus Öl und Gas, dadurch Abhängigkeit von einigen wenigen Ländern</vt:lpstr>
      <vt:lpstr>Historisch hatte Österreich höhere Strom- und Gaspreise, diese Differenz wurde in den letzten Jahren verstärkt</vt:lpstr>
      <vt:lpstr>Der Fachkräftemangel stellt ein erhebliches Risiko für die Energietransformation dar</vt:lpstr>
      <vt:lpstr>PowerPoint-Präsentation</vt:lpstr>
      <vt:lpstr>Bis zu 99% der notwendigen mineralischen Rohstoffe für erneuerbare Technologien werden aktuell importiert</vt:lpstr>
      <vt:lpstr>Man beachte die globale Trendwende: Erstmals gleich hohe Investitionen in die Energiewende wie in fossile Brennstoffe</vt:lpstr>
      <vt:lpstr>Globale Trendwende: Investitionen in die Energiewende übersteigen im Jahr 2022 die Marke von 1 Billion USD</vt:lpstr>
      <vt:lpstr>Wind und Solar 2022 erstmals mit höchstem Anteil an der Stromerzeugung in der EU</vt:lpstr>
      <vt:lpstr>Österreich muss die Reduktion an Treibhausgasen massiv beschleunigen, um die gesetzten Ziele zu erreichen</vt:lpstr>
      <vt:lpstr>Die Bundesregierung hat sich ambitionierte Ziele gesetzt: 100% Grünstrom bis 2030 und Klimaneutralität bis 2040</vt:lpstr>
      <vt:lpstr>Nur durch Umsetzung zusätzlicher Maßnahmen sind die Ziele der Bundesregierung erreichbar</vt:lpstr>
      <vt:lpstr>Szenarien zum Stromverbrauch 2040 divergieren – ein Anstieg um den Faktor 2-2,5 erscheint realistisch</vt:lpstr>
      <vt:lpstr>27 TWh an erneuerbarem Strom sollen bis 2030 ausgebaut werden</vt:lpstr>
      <vt:lpstr>Österreich hat bei Wind und Solar grundsätzlich solide Voraussetzungen zur Stromproduktion</vt:lpstr>
      <vt:lpstr>Bis 2030 ~12 GW installierte PV-Leistung nötig - mit zuletzt hoher Ausbaugeschwindigkeit kann Ziel leicht übertroffen werden</vt:lpstr>
      <vt:lpstr>Bis 2030 Windkraft mit ~7,5 GW installierter Leistung nötig, dafür muss Ausbaugeschwindigkeit verdoppelt werden</vt:lpstr>
      <vt:lpstr>Durch Mehrverbrauch kann sich trotz Ausbau der Erneuerbaren Energien bis 2040 eine Stromlücke ergeben</vt:lpstr>
      <vt:lpstr>Für erneuerbaren Strom braucht es kurz-, mittel- und langfristige Speicher, um Schwankungen in Produktion sowie Verbrauch auszugleichen</vt:lpstr>
      <vt:lpstr>Die Energiewende ist mit Investitionen verbunden, die sich bis 2030 auf 70 Mrd. EUR belaufen können</vt:lpstr>
      <vt:lpstr>Fossile machen in Haushalten nach wie vor einen wichtigen Teil des Energieverbrauchs aus – hauptsächlich für Raumwärme</vt:lpstr>
      <vt:lpstr>Nachhaltige Steigerung der thermisch-energetischen Sanierungsrate von ~3% senkt Heizwärmebedarf und ermöglicht CO2 Emissionsreduktion</vt:lpstr>
      <vt:lpstr>Klimaneutrales Gas soll fossile Energieträger ersetzen – die Produktion in Österreich ist derzeit unter Potenzial</vt:lpstr>
      <vt:lpstr>Biogas und -methanproduktion erfolgt europaweit;  relevante Erdgassubstitution erfolgt vor allem in Skandinavien</vt:lpstr>
      <vt:lpstr>Anbindung beispielhafter österreichischer Industriestandorte an die Gasinfrastruktur</vt:lpstr>
      <vt:lpstr>Global werden bis 2030 etwa USD 320 Mrd. zur Umsetzung der an-gekündigten Projekte investiert, &gt;1.000 Projekte sind angekündigt</vt:lpstr>
      <vt:lpstr>Für die Deckung seines Bedarfs benötigt Österreich Wasserstoff-importe, gleichzeitig gibt es das Potenzial, zur H2-Drehscheibe zu werden</vt:lpstr>
      <vt:lpstr>Über Baustein 4 hinaus – Österreich hat sehr gute Voraussetzungen, um die wettbewerbsfreundliche und zukunftssicherere Transformation zu ermöglichen</vt:lpstr>
      <vt:lpstr>Was soll der Energiemasterplan bewirken?</vt:lpstr>
      <vt:lpstr>Mit Hilfe des Energiemasterplans soll die Energiewende beschleunigt werden, die Wettbewerbsfähigkeit und soziale Akzeptanz in die Mitte stellt</vt:lpstr>
      <vt:lpstr>PowerPoint-Präsentation</vt:lpstr>
      <vt:lpstr>Gemeinsam für Österreichs Energiezukunft Für die Wirtschaft. Für uns ALLE.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KO_Kick_Off_V5_Sounding_Board</dc:title>
  <dc:creator>Bach Elisabeth | WKOE</dc:creator>
  <cp:lastModifiedBy>Buchmayr Sylvia | WKOE</cp:lastModifiedBy>
  <cp:revision>243</cp:revision>
  <cp:lastPrinted>2023-04-11T08:46:02Z</cp:lastPrinted>
  <dcterms:created xsi:type="dcterms:W3CDTF">2023-03-22T08:29:47Z</dcterms:created>
  <dcterms:modified xsi:type="dcterms:W3CDTF">2024-05-27T08:00: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42E27D5A3F6B44889E4781599BD0EE1</vt:lpwstr>
  </property>
</Properties>
</file>